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6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4"/>
    <p:sldMasterId id="2147483764" r:id="rId5"/>
  </p:sldMasterIdLst>
  <p:notesMasterIdLst>
    <p:notesMasterId r:id="rId34"/>
  </p:notesMasterIdLst>
  <p:sldIdLst>
    <p:sldId id="2147481460" r:id="rId6"/>
    <p:sldId id="2147483502" r:id="rId7"/>
    <p:sldId id="2147482285" r:id="rId8"/>
    <p:sldId id="2147483512" r:id="rId9"/>
    <p:sldId id="2147483514" r:id="rId10"/>
    <p:sldId id="2147483515" r:id="rId11"/>
    <p:sldId id="2147483517" r:id="rId12"/>
    <p:sldId id="2147483518" r:id="rId13"/>
    <p:sldId id="2147483511" r:id="rId14"/>
    <p:sldId id="2147483519" r:id="rId15"/>
    <p:sldId id="2147483520" r:id="rId16"/>
    <p:sldId id="2147483523" r:id="rId17"/>
    <p:sldId id="2147483531" r:id="rId18"/>
    <p:sldId id="2147483524" r:id="rId19"/>
    <p:sldId id="2147483525" r:id="rId20"/>
    <p:sldId id="2147483534" r:id="rId21"/>
    <p:sldId id="2147483526" r:id="rId22"/>
    <p:sldId id="2147483527" r:id="rId23"/>
    <p:sldId id="2147483528" r:id="rId24"/>
    <p:sldId id="2147483529" r:id="rId25"/>
    <p:sldId id="2147483530" r:id="rId26"/>
    <p:sldId id="2147483533" r:id="rId27"/>
    <p:sldId id="2147483289" r:id="rId28"/>
    <p:sldId id="2147481434" r:id="rId29"/>
    <p:sldId id="2147481420" r:id="rId30"/>
    <p:sldId id="2147481459" r:id="rId31"/>
    <p:sldId id="2147483532" r:id="rId32"/>
    <p:sldId id="2147483506" r:id="rId33"/>
  </p:sldIdLst>
  <p:sldSz cx="12192000" cy="6858000"/>
  <p:notesSz cx="6858000" cy="9144000"/>
  <p:embeddedFontLst>
    <p:embeddedFont>
      <p:font typeface="Aleo" pitchFamily="2" charset="0"/>
      <p:regular r:id="rId35"/>
      <p:bold r:id="rId35"/>
      <p:italic r:id="rId35"/>
      <p:boldItalic r:id="rId35"/>
    </p:embeddedFont>
    <p:embeddedFont>
      <p:font typeface="Aleo Medium" pitchFamily="2" charset="0"/>
      <p:regular r:id="rId36"/>
      <p:italic r:id="rId37"/>
    </p:embeddedFont>
    <p:embeddedFont>
      <p:font typeface="Aleo SemiBold" pitchFamily="2" charset="0"/>
      <p:regular r:id="rId35"/>
      <p:bold r:id="rId35"/>
      <p:italic r:id="rId35"/>
      <p:boldItalic r:id="rId35"/>
    </p:embeddedFont>
    <p:embeddedFont>
      <p:font typeface="DM Sans" pitchFamily="2" charset="0"/>
      <p:regular r:id="rId35"/>
      <p:bold r:id="rId35"/>
      <p:italic r:id="rId35"/>
      <p:boldItalic r:id="rId35"/>
    </p:embeddedFont>
    <p:embeddedFont>
      <p:font typeface="Roboto" panose="02000000000000000000" pitchFamily="2" charset="0"/>
      <p:regular r:id="rId38"/>
      <p:bold r:id="rId39"/>
      <p:italic r:id="rId40"/>
      <p:boldItalic r:id="rId41"/>
    </p:embeddedFont>
  </p:embeddedFontLst>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F8E582E-B691-A344-9720-A1A76C9C67E3}">
          <p14:sldIdLst>
            <p14:sldId id="2147481460"/>
            <p14:sldId id="2147483502"/>
            <p14:sldId id="2147482285"/>
            <p14:sldId id="2147483512"/>
            <p14:sldId id="2147483514"/>
            <p14:sldId id="2147483515"/>
            <p14:sldId id="2147483517"/>
            <p14:sldId id="2147483518"/>
            <p14:sldId id="2147483511"/>
            <p14:sldId id="2147483519"/>
            <p14:sldId id="2147483520"/>
            <p14:sldId id="2147483523"/>
            <p14:sldId id="2147483531"/>
            <p14:sldId id="2147483524"/>
            <p14:sldId id="2147483525"/>
            <p14:sldId id="2147483534"/>
            <p14:sldId id="2147483526"/>
            <p14:sldId id="2147483527"/>
            <p14:sldId id="2147483528"/>
            <p14:sldId id="2147483529"/>
            <p14:sldId id="2147483530"/>
            <p14:sldId id="2147483533"/>
            <p14:sldId id="2147483289"/>
            <p14:sldId id="2147481434"/>
            <p14:sldId id="2147481420"/>
            <p14:sldId id="2147481459"/>
            <p14:sldId id="2147483532"/>
            <p14:sldId id="2147483506"/>
          </p14:sldIdLst>
        </p14:section>
        <p14:section name="backup" id="{9E1921A0-9E44-BA46-A32A-7385D195C5A4}">
          <p14:sldIdLst/>
        </p14:section>
        <p14:section name="Resources" id="{F5E73EFF-03E1-784B-96C6-00BAED38BBFB}">
          <p14:sldIdLst/>
        </p14:section>
      </p14:sectionLst>
    </p:ext>
    <p:ext uri="{EFAFB233-063F-42B5-8137-9DF3F51BA10A}">
      <p15:sldGuideLst xmlns:p15="http://schemas.microsoft.com/office/powerpoint/2012/main">
        <p15:guide id="1" pos="6244" userDrawn="1">
          <p15:clr>
            <a:srgbClr val="A4A3A4"/>
          </p15:clr>
        </p15:guide>
        <p15:guide id="2"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EBDA665-ED3A-FA1E-D098-B370A39B878D}" name="Moritz Mann" initials="MM" userId="S::moritz@ontinue.io::75866b18-66b0-438c-a39e-72ba0fef135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CD9C5"/>
    <a:srgbClr val="000000"/>
    <a:srgbClr val="A19AAE"/>
    <a:srgbClr val="736985"/>
    <a:srgbClr val="43355C"/>
    <a:srgbClr val="5B3ACB"/>
    <a:srgbClr val="170335"/>
    <a:srgbClr val="351B89"/>
    <a:srgbClr val="D231C9"/>
    <a:srgbClr val="3B30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419B297-B88B-4938-905E-8EF68651316D}" v="27" dt="2025-05-08T15:46:11.6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5897" autoAdjust="0"/>
  </p:normalViewPr>
  <p:slideViewPr>
    <p:cSldViewPr snapToGrid="0">
      <p:cViewPr>
        <p:scale>
          <a:sx n="80" d="100"/>
          <a:sy n="80" d="100"/>
        </p:scale>
        <p:origin x="680" y="-288"/>
      </p:cViewPr>
      <p:guideLst>
        <p:guide pos="6244"/>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font" Target="fonts/font5.fntdata"/><Relationship Id="rId21" Type="http://schemas.openxmlformats.org/officeDocument/2006/relationships/slide" Target="slides/slide16.xml"/><Relationship Id="rId34" Type="http://schemas.openxmlformats.org/officeDocument/2006/relationships/notesMaster" Target="notesMasters/notesMaster1.xml"/><Relationship Id="rId42" Type="http://schemas.openxmlformats.org/officeDocument/2006/relationships/tags" Target="tags/tag1.xml"/><Relationship Id="rId47"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font" Target="fonts/font3.fntdata"/><Relationship Id="rId40" Type="http://schemas.openxmlformats.org/officeDocument/2006/relationships/font" Target="fonts/font6.fntdata"/><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font" Target="fonts/font2.fntdata"/><Relationship Id="rId49"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font" Target="fonts/font1.fntdata"/><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font" Target="fonts/font4.fntdata"/><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font" Target="fonts/font7.fntdata"/><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annick Horvat" userId="9a9a76ee-e57c-43aa-b3cf-a1eb72acbaa3" providerId="ADAL" clId="{F317D438-468A-4AA6-A38F-E1F107C8DAF9}"/>
    <pc:docChg chg="undo redo custSel addSld delSld modSld sldOrd modSection">
      <pc:chgData name="Yannick Horvat" userId="9a9a76ee-e57c-43aa-b3cf-a1eb72acbaa3" providerId="ADAL" clId="{F317D438-468A-4AA6-A38F-E1F107C8DAF9}" dt="2025-05-05T14:15:54.798" v="152" actId="20577"/>
      <pc:docMkLst>
        <pc:docMk/>
      </pc:docMkLst>
      <pc:sldChg chg="ord">
        <pc:chgData name="Yannick Horvat" userId="9a9a76ee-e57c-43aa-b3cf-a1eb72acbaa3" providerId="ADAL" clId="{F317D438-468A-4AA6-A38F-E1F107C8DAF9}" dt="2025-05-02T07:19:08.724" v="11"/>
        <pc:sldMkLst>
          <pc:docMk/>
          <pc:sldMk cId="3453482818" sldId="2147479203"/>
        </pc:sldMkLst>
      </pc:sldChg>
      <pc:sldChg chg="mod modShow">
        <pc:chgData name="Yannick Horvat" userId="9a9a76ee-e57c-43aa-b3cf-a1eb72acbaa3" providerId="ADAL" clId="{F317D438-468A-4AA6-A38F-E1F107C8DAF9}" dt="2025-05-02T07:26:56.834" v="43" actId="729"/>
        <pc:sldMkLst>
          <pc:docMk/>
          <pc:sldMk cId="3259588511" sldId="2147481413"/>
        </pc:sldMkLst>
      </pc:sldChg>
      <pc:sldChg chg="mod modShow">
        <pc:chgData name="Yannick Horvat" userId="9a9a76ee-e57c-43aa-b3cf-a1eb72acbaa3" providerId="ADAL" clId="{F317D438-468A-4AA6-A38F-E1F107C8DAF9}" dt="2025-05-02T07:26:56.834" v="43" actId="729"/>
        <pc:sldMkLst>
          <pc:docMk/>
          <pc:sldMk cId="1415407183" sldId="2147481414"/>
        </pc:sldMkLst>
      </pc:sldChg>
      <pc:sldChg chg="mod ord modShow">
        <pc:chgData name="Yannick Horvat" userId="9a9a76ee-e57c-43aa-b3cf-a1eb72acbaa3" providerId="ADAL" clId="{F317D438-468A-4AA6-A38F-E1F107C8DAF9}" dt="2025-05-02T07:29:22.132" v="45"/>
        <pc:sldMkLst>
          <pc:docMk/>
          <pc:sldMk cId="3315954577" sldId="2147481456"/>
        </pc:sldMkLst>
      </pc:sldChg>
      <pc:sldChg chg="add">
        <pc:chgData name="Yannick Horvat" userId="9a9a76ee-e57c-43aa-b3cf-a1eb72acbaa3" providerId="ADAL" clId="{F317D438-468A-4AA6-A38F-E1F107C8DAF9}" dt="2025-05-02T07:22:09.162" v="24"/>
        <pc:sldMkLst>
          <pc:docMk/>
          <pc:sldMk cId="3244500913" sldId="2147481458"/>
        </pc:sldMkLst>
      </pc:sldChg>
      <pc:sldChg chg="del mod modShow">
        <pc:chgData name="Yannick Horvat" userId="9a9a76ee-e57c-43aa-b3cf-a1eb72acbaa3" providerId="ADAL" clId="{F317D438-468A-4AA6-A38F-E1F107C8DAF9}" dt="2025-05-02T07:22:05.449" v="23" actId="2696"/>
        <pc:sldMkLst>
          <pc:docMk/>
          <pc:sldMk cId="3727184513" sldId="2147481458"/>
        </pc:sldMkLst>
      </pc:sldChg>
      <pc:sldChg chg="mod modShow">
        <pc:chgData name="Yannick Horvat" userId="9a9a76ee-e57c-43aa-b3cf-a1eb72acbaa3" providerId="ADAL" clId="{F317D438-468A-4AA6-A38F-E1F107C8DAF9}" dt="2025-05-02T07:20:02.872" v="12" actId="729"/>
        <pc:sldMkLst>
          <pc:docMk/>
          <pc:sldMk cId="1091641846" sldId="2147482743"/>
        </pc:sldMkLst>
      </pc:sldChg>
      <pc:sldChg chg="mod modShow">
        <pc:chgData name="Yannick Horvat" userId="9a9a76ee-e57c-43aa-b3cf-a1eb72acbaa3" providerId="ADAL" clId="{F317D438-468A-4AA6-A38F-E1F107C8DAF9}" dt="2025-05-02T07:21:39.455" v="22" actId="729"/>
        <pc:sldMkLst>
          <pc:docMk/>
          <pc:sldMk cId="561526984" sldId="2147483453"/>
        </pc:sldMkLst>
      </pc:sldChg>
      <pc:sldChg chg="modSp mod">
        <pc:chgData name="Yannick Horvat" userId="9a9a76ee-e57c-43aa-b3cf-a1eb72acbaa3" providerId="ADAL" clId="{F317D438-468A-4AA6-A38F-E1F107C8DAF9}" dt="2025-05-02T07:20:19.332" v="20" actId="20577"/>
        <pc:sldMkLst>
          <pc:docMk/>
          <pc:sldMk cId="2130331955" sldId="2147483459"/>
        </pc:sldMkLst>
      </pc:sldChg>
      <pc:sldChg chg="modSp mod">
        <pc:chgData name="Yannick Horvat" userId="9a9a76ee-e57c-43aa-b3cf-a1eb72acbaa3" providerId="ADAL" clId="{F317D438-468A-4AA6-A38F-E1F107C8DAF9}" dt="2025-05-02T06:05:49.082" v="9" actId="313"/>
        <pc:sldMkLst>
          <pc:docMk/>
          <pc:sldMk cId="2446236888" sldId="2147483461"/>
        </pc:sldMkLst>
      </pc:sldChg>
      <pc:sldChg chg="modSp mod modNotesTx">
        <pc:chgData name="Yannick Horvat" userId="9a9a76ee-e57c-43aa-b3cf-a1eb72acbaa3" providerId="ADAL" clId="{F317D438-468A-4AA6-A38F-E1F107C8DAF9}" dt="2025-05-05T14:15:54.798" v="152" actId="20577"/>
        <pc:sldMkLst>
          <pc:docMk/>
          <pc:sldMk cId="2237086420" sldId="2147483503"/>
        </pc:sldMkLst>
      </pc:sldChg>
      <pc:sldChg chg="modSp mod">
        <pc:chgData name="Yannick Horvat" userId="9a9a76ee-e57c-43aa-b3cf-a1eb72acbaa3" providerId="ADAL" clId="{F317D438-468A-4AA6-A38F-E1F107C8DAF9}" dt="2025-05-01T14:47:55.469" v="2" actId="688"/>
        <pc:sldMkLst>
          <pc:docMk/>
          <pc:sldMk cId="558499590" sldId="2147483505"/>
        </pc:sldMkLst>
      </pc:sldChg>
      <pc:sldChg chg="addSp delSp modSp add mod delAnim modAnim">
        <pc:chgData name="Yannick Horvat" userId="9a9a76ee-e57c-43aa-b3cf-a1eb72acbaa3" providerId="ADAL" clId="{F317D438-468A-4AA6-A38F-E1F107C8DAF9}" dt="2025-05-02T07:26:35.367" v="42" actId="207"/>
        <pc:sldMkLst>
          <pc:docMk/>
          <pc:sldMk cId="956879168" sldId="2147483507"/>
        </pc:sldMkLst>
      </pc:sldChg>
      <pc:sldChg chg="modSp add mod modNotesTx">
        <pc:chgData name="Yannick Horvat" userId="9a9a76ee-e57c-43aa-b3cf-a1eb72acbaa3" providerId="ADAL" clId="{F317D438-468A-4AA6-A38F-E1F107C8DAF9}" dt="2025-05-02T07:52:50.524" v="149" actId="20577"/>
        <pc:sldMkLst>
          <pc:docMk/>
          <pc:sldMk cId="808285883" sldId="2147483510"/>
        </pc:sldMkLst>
      </pc:sldChg>
    </pc:docChg>
  </pc:docChgLst>
  <pc:docChgLst>
    <pc:chgData name="Yannick Horvat" userId="9a9a76ee-e57c-43aa-b3cf-a1eb72acbaa3" providerId="ADAL" clId="{C419B297-B88B-4938-905E-8EF68651316D}"/>
    <pc:docChg chg="undo custSel addSld delSld modSld sldOrd modSection">
      <pc:chgData name="Yannick Horvat" userId="9a9a76ee-e57c-43aa-b3cf-a1eb72acbaa3" providerId="ADAL" clId="{C419B297-B88B-4938-905E-8EF68651316D}" dt="2025-05-09T16:05:00.610" v="2426" actId="20577"/>
      <pc:docMkLst>
        <pc:docMk/>
      </pc:docMkLst>
      <pc:sldChg chg="del">
        <pc:chgData name="Yannick Horvat" userId="9a9a76ee-e57c-43aa-b3cf-a1eb72acbaa3" providerId="ADAL" clId="{C419B297-B88B-4938-905E-8EF68651316D}" dt="2025-05-07T13:53:02.756" v="14" actId="47"/>
        <pc:sldMkLst>
          <pc:docMk/>
          <pc:sldMk cId="2705929629" sldId="2147481375"/>
        </pc:sldMkLst>
      </pc:sldChg>
      <pc:sldChg chg="modNotesTx">
        <pc:chgData name="Yannick Horvat" userId="9a9a76ee-e57c-43aa-b3cf-a1eb72acbaa3" providerId="ADAL" clId="{C419B297-B88B-4938-905E-8EF68651316D}" dt="2025-05-09T06:55:03.857" v="2102" actId="20577"/>
        <pc:sldMkLst>
          <pc:docMk/>
          <pc:sldMk cId="3351734409" sldId="2147481460"/>
        </pc:sldMkLst>
      </pc:sldChg>
      <pc:sldChg chg="modNotesTx">
        <pc:chgData name="Yannick Horvat" userId="9a9a76ee-e57c-43aa-b3cf-a1eb72acbaa3" providerId="ADAL" clId="{C419B297-B88B-4938-905E-8EF68651316D}" dt="2025-05-09T07:05:09.803" v="2143"/>
        <pc:sldMkLst>
          <pc:docMk/>
          <pc:sldMk cId="3309325032" sldId="2147482285"/>
        </pc:sldMkLst>
      </pc:sldChg>
      <pc:sldChg chg="del">
        <pc:chgData name="Yannick Horvat" userId="9a9a76ee-e57c-43aa-b3cf-a1eb72acbaa3" providerId="ADAL" clId="{C419B297-B88B-4938-905E-8EF68651316D}" dt="2025-05-07T13:52:59.874" v="13" actId="47"/>
        <pc:sldMkLst>
          <pc:docMk/>
          <pc:sldMk cId="2046783842" sldId="2147482495"/>
        </pc:sldMkLst>
      </pc:sldChg>
      <pc:sldChg chg="modNotesTx">
        <pc:chgData name="Yannick Horvat" userId="9a9a76ee-e57c-43aa-b3cf-a1eb72acbaa3" providerId="ADAL" clId="{C419B297-B88B-4938-905E-8EF68651316D}" dt="2025-05-09T10:35:46.414" v="2421"/>
        <pc:sldMkLst>
          <pc:docMk/>
          <pc:sldMk cId="25704374" sldId="2147483289"/>
        </pc:sldMkLst>
      </pc:sldChg>
      <pc:sldChg chg="modSp mod modNotesTx">
        <pc:chgData name="Yannick Horvat" userId="9a9a76ee-e57c-43aa-b3cf-a1eb72acbaa3" providerId="ADAL" clId="{C419B297-B88B-4938-905E-8EF68651316D}" dt="2025-05-09T07:02:16.528" v="2116" actId="20577"/>
        <pc:sldMkLst>
          <pc:docMk/>
          <pc:sldMk cId="2903775660" sldId="2147483502"/>
        </pc:sldMkLst>
        <pc:spChg chg="mod">
          <ac:chgData name="Yannick Horvat" userId="9a9a76ee-e57c-43aa-b3cf-a1eb72acbaa3" providerId="ADAL" clId="{C419B297-B88B-4938-905E-8EF68651316D}" dt="2025-05-08T06:42:19.974" v="337" actId="20577"/>
          <ac:spMkLst>
            <pc:docMk/>
            <pc:sldMk cId="2903775660" sldId="2147483502"/>
            <ac:spMk id="4" creationId="{DC5BA9D8-CE6A-0B84-B127-FF92C5805CF2}"/>
          </ac:spMkLst>
        </pc:spChg>
      </pc:sldChg>
      <pc:sldChg chg="addSp modSp mod modNotesTx">
        <pc:chgData name="Yannick Horvat" userId="9a9a76ee-e57c-43aa-b3cf-a1eb72acbaa3" providerId="ADAL" clId="{C419B297-B88B-4938-905E-8EF68651316D}" dt="2025-05-09T10:36:53.604" v="2422"/>
        <pc:sldMkLst>
          <pc:docMk/>
          <pc:sldMk cId="67073251" sldId="2147483506"/>
        </pc:sldMkLst>
        <pc:spChg chg="mod">
          <ac:chgData name="Yannick Horvat" userId="9a9a76ee-e57c-43aa-b3cf-a1eb72acbaa3" providerId="ADAL" clId="{C419B297-B88B-4938-905E-8EF68651316D}" dt="2025-05-08T09:10:19.043" v="1991" actId="20577"/>
          <ac:spMkLst>
            <pc:docMk/>
            <pc:sldMk cId="67073251" sldId="2147483506"/>
            <ac:spMk id="3" creationId="{1956F1E1-A334-A8D3-52F6-374E973FC12B}"/>
          </ac:spMkLst>
        </pc:spChg>
        <pc:picChg chg="add mod">
          <ac:chgData name="Yannick Horvat" userId="9a9a76ee-e57c-43aa-b3cf-a1eb72acbaa3" providerId="ADAL" clId="{C419B297-B88B-4938-905E-8EF68651316D}" dt="2025-05-08T15:46:18.706" v="2029" actId="14100"/>
          <ac:picMkLst>
            <pc:docMk/>
            <pc:sldMk cId="67073251" sldId="2147483506"/>
            <ac:picMk id="2" creationId="{81637552-7DEA-4F77-9944-FB6FEDC6CBE3}"/>
          </ac:picMkLst>
        </pc:picChg>
      </pc:sldChg>
      <pc:sldChg chg="modNotesTx">
        <pc:chgData name="Yannick Horvat" userId="9a9a76ee-e57c-43aa-b3cf-a1eb72acbaa3" providerId="ADAL" clId="{C419B297-B88B-4938-905E-8EF68651316D}" dt="2025-05-09T07:08:09.020" v="2157" actId="20577"/>
        <pc:sldMkLst>
          <pc:docMk/>
          <pc:sldMk cId="567110566" sldId="2147483512"/>
        </pc:sldMkLst>
      </pc:sldChg>
      <pc:sldChg chg="modSp mod modAnim modNotesTx">
        <pc:chgData name="Yannick Horvat" userId="9a9a76ee-e57c-43aa-b3cf-a1eb72acbaa3" providerId="ADAL" clId="{C419B297-B88B-4938-905E-8EF68651316D}" dt="2025-05-09T07:19:53.280" v="2199"/>
        <pc:sldMkLst>
          <pc:docMk/>
          <pc:sldMk cId="3327041532" sldId="2147483514"/>
        </pc:sldMkLst>
        <pc:spChg chg="mod">
          <ac:chgData name="Yannick Horvat" userId="9a9a76ee-e57c-43aa-b3cf-a1eb72acbaa3" providerId="ADAL" clId="{C419B297-B88B-4938-905E-8EF68651316D}" dt="2025-05-07T13:51:43.798" v="1" actId="14100"/>
          <ac:spMkLst>
            <pc:docMk/>
            <pc:sldMk cId="3327041532" sldId="2147483514"/>
            <ac:spMk id="7" creationId="{C07FBA9D-74E3-D641-0077-DB20294B855D}"/>
          </ac:spMkLst>
        </pc:spChg>
      </pc:sldChg>
      <pc:sldChg chg="modAnim modNotesTx">
        <pc:chgData name="Yannick Horvat" userId="9a9a76ee-e57c-43aa-b3cf-a1eb72acbaa3" providerId="ADAL" clId="{C419B297-B88B-4938-905E-8EF68651316D}" dt="2025-05-09T07:46:07.064" v="2232" actId="20577"/>
        <pc:sldMkLst>
          <pc:docMk/>
          <pc:sldMk cId="1161845725" sldId="2147483515"/>
        </pc:sldMkLst>
      </pc:sldChg>
      <pc:sldChg chg="modNotesTx">
        <pc:chgData name="Yannick Horvat" userId="9a9a76ee-e57c-43aa-b3cf-a1eb72acbaa3" providerId="ADAL" clId="{C419B297-B88B-4938-905E-8EF68651316D}" dt="2025-05-09T07:59:36.607" v="2278"/>
        <pc:sldMkLst>
          <pc:docMk/>
          <pc:sldMk cId="4161911701" sldId="2147483517"/>
        </pc:sldMkLst>
      </pc:sldChg>
      <pc:sldChg chg="modAnim modNotesTx">
        <pc:chgData name="Yannick Horvat" userId="9a9a76ee-e57c-43aa-b3cf-a1eb72acbaa3" providerId="ADAL" clId="{C419B297-B88B-4938-905E-8EF68651316D}" dt="2025-05-09T08:08:16.629" v="2300"/>
        <pc:sldMkLst>
          <pc:docMk/>
          <pc:sldMk cId="3153353763" sldId="2147483518"/>
        </pc:sldMkLst>
      </pc:sldChg>
      <pc:sldChg chg="modNotesTx">
        <pc:chgData name="Yannick Horvat" userId="9a9a76ee-e57c-43aa-b3cf-a1eb72acbaa3" providerId="ADAL" clId="{C419B297-B88B-4938-905E-8EF68651316D}" dt="2025-05-09T08:17:09.811" v="2308"/>
        <pc:sldMkLst>
          <pc:docMk/>
          <pc:sldMk cId="3209676196" sldId="2147483519"/>
        </pc:sldMkLst>
      </pc:sldChg>
      <pc:sldChg chg="modNotesTx">
        <pc:chgData name="Yannick Horvat" userId="9a9a76ee-e57c-43aa-b3cf-a1eb72acbaa3" providerId="ADAL" clId="{C419B297-B88B-4938-905E-8EF68651316D}" dt="2025-05-09T08:32:28.851" v="2321"/>
        <pc:sldMkLst>
          <pc:docMk/>
          <pc:sldMk cId="2187071120" sldId="2147483520"/>
        </pc:sldMkLst>
      </pc:sldChg>
      <pc:sldChg chg="mod modShow modNotesTx">
        <pc:chgData name="Yannick Horvat" userId="9a9a76ee-e57c-43aa-b3cf-a1eb72acbaa3" providerId="ADAL" clId="{C419B297-B88B-4938-905E-8EF68651316D}" dt="2025-05-08T15:58:58.619" v="2030" actId="729"/>
        <pc:sldMkLst>
          <pc:docMk/>
          <pc:sldMk cId="1588863029" sldId="2147483523"/>
        </pc:sldMkLst>
      </pc:sldChg>
      <pc:sldChg chg="modSp mod modNotesTx">
        <pc:chgData name="Yannick Horvat" userId="9a9a76ee-e57c-43aa-b3cf-a1eb72acbaa3" providerId="ADAL" clId="{C419B297-B88B-4938-905E-8EF68651316D}" dt="2025-05-09T16:04:48.318" v="2424" actId="20577"/>
        <pc:sldMkLst>
          <pc:docMk/>
          <pc:sldMk cId="958781907" sldId="2147483524"/>
        </pc:sldMkLst>
        <pc:spChg chg="mod">
          <ac:chgData name="Yannick Horvat" userId="9a9a76ee-e57c-43aa-b3cf-a1eb72acbaa3" providerId="ADAL" clId="{C419B297-B88B-4938-905E-8EF68651316D}" dt="2025-05-09T16:04:48.318" v="2424" actId="20577"/>
          <ac:spMkLst>
            <pc:docMk/>
            <pc:sldMk cId="958781907" sldId="2147483524"/>
            <ac:spMk id="4" creationId="{D6C77DBA-D487-E801-905C-2D14371BADD3}"/>
          </ac:spMkLst>
        </pc:spChg>
      </pc:sldChg>
      <pc:sldChg chg="modNotesTx">
        <pc:chgData name="Yannick Horvat" userId="9a9a76ee-e57c-43aa-b3cf-a1eb72acbaa3" providerId="ADAL" clId="{C419B297-B88B-4938-905E-8EF68651316D}" dt="2025-05-09T08:40:34.803" v="2342"/>
        <pc:sldMkLst>
          <pc:docMk/>
          <pc:sldMk cId="3835430778" sldId="2147483525"/>
        </pc:sldMkLst>
      </pc:sldChg>
      <pc:sldChg chg="modSp mod modNotesTx">
        <pc:chgData name="Yannick Horvat" userId="9a9a76ee-e57c-43aa-b3cf-a1eb72acbaa3" providerId="ADAL" clId="{C419B297-B88B-4938-905E-8EF68651316D}" dt="2025-05-09T10:12:49.119" v="2363"/>
        <pc:sldMkLst>
          <pc:docMk/>
          <pc:sldMk cId="2667617358" sldId="2147483528"/>
        </pc:sldMkLst>
        <pc:picChg chg="mod">
          <ac:chgData name="Yannick Horvat" userId="9a9a76ee-e57c-43aa-b3cf-a1eb72acbaa3" providerId="ADAL" clId="{C419B297-B88B-4938-905E-8EF68651316D}" dt="2025-05-07T13:52:53.109" v="12" actId="14826"/>
          <ac:picMkLst>
            <pc:docMk/>
            <pc:sldMk cId="2667617358" sldId="2147483528"/>
            <ac:picMk id="6" creationId="{974CAA14-2E28-A717-C988-3A0DCDF546CD}"/>
          </ac:picMkLst>
        </pc:picChg>
      </pc:sldChg>
      <pc:sldChg chg="modSp mod modNotesTx">
        <pc:chgData name="Yannick Horvat" userId="9a9a76ee-e57c-43aa-b3cf-a1eb72acbaa3" providerId="ADAL" clId="{C419B297-B88B-4938-905E-8EF68651316D}" dt="2025-05-09T16:05:00.610" v="2426" actId="20577"/>
        <pc:sldMkLst>
          <pc:docMk/>
          <pc:sldMk cId="186678863" sldId="2147483529"/>
        </pc:sldMkLst>
        <pc:spChg chg="mod">
          <ac:chgData name="Yannick Horvat" userId="9a9a76ee-e57c-43aa-b3cf-a1eb72acbaa3" providerId="ADAL" clId="{C419B297-B88B-4938-905E-8EF68651316D}" dt="2025-05-09T16:05:00.610" v="2426" actId="20577"/>
          <ac:spMkLst>
            <pc:docMk/>
            <pc:sldMk cId="186678863" sldId="2147483529"/>
            <ac:spMk id="4" creationId="{3345EA32-2C1A-FAE3-0E5F-B218055CB978}"/>
          </ac:spMkLst>
        </pc:spChg>
      </pc:sldChg>
      <pc:sldChg chg="modNotesTx">
        <pc:chgData name="Yannick Horvat" userId="9a9a76ee-e57c-43aa-b3cf-a1eb72acbaa3" providerId="ADAL" clId="{C419B297-B88B-4938-905E-8EF68651316D}" dt="2025-05-09T10:31:03.491" v="2419"/>
        <pc:sldMkLst>
          <pc:docMk/>
          <pc:sldMk cId="2347987124" sldId="2147483530"/>
        </pc:sldMkLst>
      </pc:sldChg>
      <pc:sldChg chg="mod modAnim modShow modNotesTx">
        <pc:chgData name="Yannick Horvat" userId="9a9a76ee-e57c-43aa-b3cf-a1eb72acbaa3" providerId="ADAL" clId="{C419B297-B88B-4938-905E-8EF68651316D}" dt="2025-05-08T15:58:58.619" v="2030" actId="729"/>
        <pc:sldMkLst>
          <pc:docMk/>
          <pc:sldMk cId="4047157582" sldId="2147483531"/>
        </pc:sldMkLst>
      </pc:sldChg>
      <pc:sldChg chg="modNotesTx">
        <pc:chgData name="Yannick Horvat" userId="9a9a76ee-e57c-43aa-b3cf-a1eb72acbaa3" providerId="ADAL" clId="{C419B297-B88B-4938-905E-8EF68651316D}" dt="2025-05-08T08:54:08.272" v="1979" actId="20577"/>
        <pc:sldMkLst>
          <pc:docMk/>
          <pc:sldMk cId="2251044830" sldId="2147483532"/>
        </pc:sldMkLst>
      </pc:sldChg>
      <pc:sldChg chg="modSp add mod ord modNotesTx">
        <pc:chgData name="Yannick Horvat" userId="9a9a76ee-e57c-43aa-b3cf-a1eb72acbaa3" providerId="ADAL" clId="{C419B297-B88B-4938-905E-8EF68651316D}" dt="2025-05-09T10:34:02.876" v="2420"/>
        <pc:sldMkLst>
          <pc:docMk/>
          <pc:sldMk cId="3769962387" sldId="2147483533"/>
        </pc:sldMkLst>
        <pc:spChg chg="mod">
          <ac:chgData name="Yannick Horvat" userId="9a9a76ee-e57c-43aa-b3cf-a1eb72acbaa3" providerId="ADAL" clId="{C419B297-B88B-4938-905E-8EF68651316D}" dt="2025-05-07T13:52:09.430" v="7"/>
          <ac:spMkLst>
            <pc:docMk/>
            <pc:sldMk cId="3769962387" sldId="2147483533"/>
            <ac:spMk id="3" creationId="{F614410C-F60A-2570-EDE6-8E830EC442CD}"/>
          </ac:spMkLst>
        </pc:spChg>
      </pc:sldChg>
      <pc:sldChg chg="addSp delSp modSp add mod delAnim modAnim modNotesTx">
        <pc:chgData name="Yannick Horvat" userId="9a9a76ee-e57c-43aa-b3cf-a1eb72acbaa3" providerId="ADAL" clId="{C419B297-B88B-4938-905E-8EF68651316D}" dt="2025-05-09T08:49:54.015" v="2353" actId="20577"/>
        <pc:sldMkLst>
          <pc:docMk/>
          <pc:sldMk cId="1213929619" sldId="2147483534"/>
        </pc:sldMkLst>
        <pc:spChg chg="add mod">
          <ac:chgData name="Yannick Horvat" userId="9a9a76ee-e57c-43aa-b3cf-a1eb72acbaa3" providerId="ADAL" clId="{C419B297-B88B-4938-905E-8EF68651316D}" dt="2025-05-08T07:25:52.791" v="1383" actId="1076"/>
          <ac:spMkLst>
            <pc:docMk/>
            <pc:sldMk cId="1213929619" sldId="2147483534"/>
            <ac:spMk id="3" creationId="{A2534A0A-4130-AB17-AEF3-92A110044FE0}"/>
          </ac:spMkLst>
        </pc:spChg>
        <pc:spChg chg="add mod">
          <ac:chgData name="Yannick Horvat" userId="9a9a76ee-e57c-43aa-b3cf-a1eb72acbaa3" providerId="ADAL" clId="{C419B297-B88B-4938-905E-8EF68651316D}" dt="2025-05-08T07:25:52.791" v="1383" actId="1076"/>
          <ac:spMkLst>
            <pc:docMk/>
            <pc:sldMk cId="1213929619" sldId="2147483534"/>
            <ac:spMk id="4" creationId="{479B04D0-E7F6-CEC2-5843-72BE7F22B587}"/>
          </ac:spMkLst>
        </pc:spChg>
        <pc:spChg chg="add mod">
          <ac:chgData name="Yannick Horvat" userId="9a9a76ee-e57c-43aa-b3cf-a1eb72acbaa3" providerId="ADAL" clId="{C419B297-B88B-4938-905E-8EF68651316D}" dt="2025-05-08T07:26:36.877" v="1422" actId="20577"/>
          <ac:spMkLst>
            <pc:docMk/>
            <pc:sldMk cId="1213929619" sldId="2147483534"/>
            <ac:spMk id="6" creationId="{8B1E6976-23B8-AE58-511B-C9BE03A125DA}"/>
          </ac:spMkLst>
        </pc:spChg>
        <pc:spChg chg="del">
          <ac:chgData name="Yannick Horvat" userId="9a9a76ee-e57c-43aa-b3cf-a1eb72acbaa3" providerId="ADAL" clId="{C419B297-B88B-4938-905E-8EF68651316D}" dt="2025-05-08T07:24:50.283" v="1372" actId="478"/>
          <ac:spMkLst>
            <pc:docMk/>
            <pc:sldMk cId="1213929619" sldId="2147483534"/>
            <ac:spMk id="7" creationId="{6AE15A6E-D623-111F-F102-16C94083F11B}"/>
          </ac:spMkLst>
        </pc:spChg>
        <pc:spChg chg="del">
          <ac:chgData name="Yannick Horvat" userId="9a9a76ee-e57c-43aa-b3cf-a1eb72acbaa3" providerId="ADAL" clId="{C419B297-B88B-4938-905E-8EF68651316D}" dt="2025-05-08T07:25:14.692" v="1376" actId="478"/>
          <ac:spMkLst>
            <pc:docMk/>
            <pc:sldMk cId="1213929619" sldId="2147483534"/>
            <ac:spMk id="8" creationId="{5601536F-C087-6D9B-4CBC-D4164ADE7AE5}"/>
          </ac:spMkLst>
        </pc:spChg>
        <pc:spChg chg="del">
          <ac:chgData name="Yannick Horvat" userId="9a9a76ee-e57c-43aa-b3cf-a1eb72acbaa3" providerId="ADAL" clId="{C419B297-B88B-4938-905E-8EF68651316D}" dt="2025-05-08T07:25:14.692" v="1376" actId="478"/>
          <ac:spMkLst>
            <pc:docMk/>
            <pc:sldMk cId="1213929619" sldId="2147483534"/>
            <ac:spMk id="9" creationId="{57F56215-CCE4-15CD-ECFD-73D9C59823EC}"/>
          </ac:spMkLst>
        </pc:spChg>
        <pc:spChg chg="del">
          <ac:chgData name="Yannick Horvat" userId="9a9a76ee-e57c-43aa-b3cf-a1eb72acbaa3" providerId="ADAL" clId="{C419B297-B88B-4938-905E-8EF68651316D}" dt="2025-05-08T07:24:53.177" v="1373" actId="478"/>
          <ac:spMkLst>
            <pc:docMk/>
            <pc:sldMk cId="1213929619" sldId="2147483534"/>
            <ac:spMk id="10" creationId="{91A9AE3C-48CA-29C3-DF30-D00F2FEB4184}"/>
          </ac:spMkLst>
        </pc:spChg>
        <pc:spChg chg="del">
          <ac:chgData name="Yannick Horvat" userId="9a9a76ee-e57c-43aa-b3cf-a1eb72acbaa3" providerId="ADAL" clId="{C419B297-B88B-4938-905E-8EF68651316D}" dt="2025-05-08T07:24:58.190" v="1375" actId="478"/>
          <ac:spMkLst>
            <pc:docMk/>
            <pc:sldMk cId="1213929619" sldId="2147483534"/>
            <ac:spMk id="11" creationId="{FC9B0117-A4C2-49A5-0B7B-41FB01F0344F}"/>
          </ac:spMkLst>
        </pc:spChg>
        <pc:spChg chg="del">
          <ac:chgData name="Yannick Horvat" userId="9a9a76ee-e57c-43aa-b3cf-a1eb72acbaa3" providerId="ADAL" clId="{C419B297-B88B-4938-905E-8EF68651316D}" dt="2025-05-08T07:25:14.692" v="1376" actId="478"/>
          <ac:spMkLst>
            <pc:docMk/>
            <pc:sldMk cId="1213929619" sldId="2147483534"/>
            <ac:spMk id="12" creationId="{77C71F42-41BD-1861-0711-8DE1DB19645E}"/>
          </ac:spMkLst>
        </pc:spChg>
        <pc:picChg chg="del">
          <ac:chgData name="Yannick Horvat" userId="9a9a76ee-e57c-43aa-b3cf-a1eb72acbaa3" providerId="ADAL" clId="{C419B297-B88B-4938-905E-8EF68651316D}" dt="2025-05-08T07:24:55.193" v="1374" actId="478"/>
          <ac:picMkLst>
            <pc:docMk/>
            <pc:sldMk cId="1213929619" sldId="2147483534"/>
            <ac:picMk id="5" creationId="{253BB437-DBD8-6329-C431-881AE453E2A5}"/>
          </ac:picMkLst>
        </pc:picChg>
      </pc:sldChg>
    </pc:docChg>
  </pc:docChgLst>
  <pc:docChgLst>
    <pc:chgData name="Roman Innerbichler" userId="6aabfab5-15a7-460c-9a89-25ee5d7a776b" providerId="ADAL" clId="{FC125DAB-399F-9F4B-BEF1-333586B7BBC5}"/>
    <pc:docChg chg="undo custSel addSld delSld modSld sldOrd addSection modSection">
      <pc:chgData name="Roman Innerbichler" userId="6aabfab5-15a7-460c-9a89-25ee5d7a776b" providerId="ADAL" clId="{FC125DAB-399F-9F4B-BEF1-333586B7BBC5}" dt="2025-02-25T09:53:30.363" v="842" actId="20578"/>
      <pc:docMkLst>
        <pc:docMk/>
      </pc:docMkLst>
      <pc:sldChg chg="add del">
        <pc:chgData name="Roman Innerbichler" userId="6aabfab5-15a7-460c-9a89-25ee5d7a776b" providerId="ADAL" clId="{FC125DAB-399F-9F4B-BEF1-333586B7BBC5}" dt="2025-02-24T09:44:07.646" v="657" actId="2696"/>
        <pc:sldMkLst>
          <pc:docMk/>
          <pc:sldMk cId="3128320863" sldId="277"/>
        </pc:sldMkLst>
      </pc:sldChg>
      <pc:sldChg chg="del">
        <pc:chgData name="Roman Innerbichler" userId="6aabfab5-15a7-460c-9a89-25ee5d7a776b" providerId="ADAL" clId="{FC125DAB-399F-9F4B-BEF1-333586B7BBC5}" dt="2025-02-24T09:30:15.853" v="645" actId="2696"/>
        <pc:sldMkLst>
          <pc:docMk/>
          <pc:sldMk cId="3678498511" sldId="288"/>
        </pc:sldMkLst>
      </pc:sldChg>
      <pc:sldChg chg="del">
        <pc:chgData name="Roman Innerbichler" userId="6aabfab5-15a7-460c-9a89-25ee5d7a776b" providerId="ADAL" clId="{FC125DAB-399F-9F4B-BEF1-333586B7BBC5}" dt="2025-02-24T09:30:15.883" v="646" actId="2696"/>
        <pc:sldMkLst>
          <pc:docMk/>
          <pc:sldMk cId="658419289" sldId="307"/>
        </pc:sldMkLst>
      </pc:sldChg>
      <pc:sldChg chg="del">
        <pc:chgData name="Roman Innerbichler" userId="6aabfab5-15a7-460c-9a89-25ee5d7a776b" providerId="ADAL" clId="{FC125DAB-399F-9F4B-BEF1-333586B7BBC5}" dt="2025-02-24T09:30:15.776" v="644" actId="2696"/>
        <pc:sldMkLst>
          <pc:docMk/>
          <pc:sldMk cId="4242482901" sldId="308"/>
        </pc:sldMkLst>
      </pc:sldChg>
      <pc:sldChg chg="del">
        <pc:chgData name="Roman Innerbichler" userId="6aabfab5-15a7-460c-9a89-25ee5d7a776b" providerId="ADAL" clId="{FC125DAB-399F-9F4B-BEF1-333586B7BBC5}" dt="2025-02-24T09:30:15.895" v="647" actId="2696"/>
        <pc:sldMkLst>
          <pc:docMk/>
          <pc:sldMk cId="1049480467" sldId="310"/>
        </pc:sldMkLst>
      </pc:sldChg>
      <pc:sldChg chg="del">
        <pc:chgData name="Roman Innerbichler" userId="6aabfab5-15a7-460c-9a89-25ee5d7a776b" providerId="ADAL" clId="{FC125DAB-399F-9F4B-BEF1-333586B7BBC5}" dt="2025-02-24T09:30:15.906" v="648" actId="2696"/>
        <pc:sldMkLst>
          <pc:docMk/>
          <pc:sldMk cId="1675626617" sldId="311"/>
        </pc:sldMkLst>
      </pc:sldChg>
      <pc:sldChg chg="del">
        <pc:chgData name="Roman Innerbichler" userId="6aabfab5-15a7-460c-9a89-25ee5d7a776b" providerId="ADAL" clId="{FC125DAB-399F-9F4B-BEF1-333586B7BBC5}" dt="2025-02-24T09:30:15.770" v="642" actId="2696"/>
        <pc:sldMkLst>
          <pc:docMk/>
          <pc:sldMk cId="2535556278" sldId="347"/>
        </pc:sldMkLst>
      </pc:sldChg>
      <pc:sldChg chg="del">
        <pc:chgData name="Roman Innerbichler" userId="6aabfab5-15a7-460c-9a89-25ee5d7a776b" providerId="ADAL" clId="{FC125DAB-399F-9F4B-BEF1-333586B7BBC5}" dt="2025-02-24T09:30:15.774" v="643" actId="2696"/>
        <pc:sldMkLst>
          <pc:docMk/>
          <pc:sldMk cId="144489486" sldId="350"/>
        </pc:sldMkLst>
      </pc:sldChg>
      <pc:sldChg chg="mod modShow">
        <pc:chgData name="Roman Innerbichler" userId="6aabfab5-15a7-460c-9a89-25ee5d7a776b" providerId="ADAL" clId="{FC125DAB-399F-9F4B-BEF1-333586B7BBC5}" dt="2025-02-24T09:30:33.475" v="650" actId="729"/>
        <pc:sldMkLst>
          <pc:docMk/>
          <pc:sldMk cId="309948151" sldId="381"/>
        </pc:sldMkLst>
      </pc:sldChg>
      <pc:sldChg chg="del">
        <pc:chgData name="Roman Innerbichler" userId="6aabfab5-15a7-460c-9a89-25ee5d7a776b" providerId="ADAL" clId="{FC125DAB-399F-9F4B-BEF1-333586B7BBC5}" dt="2025-02-24T09:30:15.767" v="641" actId="2696"/>
        <pc:sldMkLst>
          <pc:docMk/>
          <pc:sldMk cId="1614977106" sldId="391"/>
        </pc:sldMkLst>
      </pc:sldChg>
      <pc:sldChg chg="delSp add del mod">
        <pc:chgData name="Roman Innerbichler" userId="6aabfab5-15a7-460c-9a89-25ee5d7a776b" providerId="ADAL" clId="{FC125DAB-399F-9F4B-BEF1-333586B7BBC5}" dt="2025-02-24T08:47:26.756" v="20" actId="2696"/>
        <pc:sldMkLst>
          <pc:docMk/>
          <pc:sldMk cId="3399689326" sldId="2147478900"/>
        </pc:sldMkLst>
      </pc:sldChg>
      <pc:sldChg chg="add del">
        <pc:chgData name="Roman Innerbichler" userId="6aabfab5-15a7-460c-9a89-25ee5d7a776b" providerId="ADAL" clId="{FC125DAB-399F-9F4B-BEF1-333586B7BBC5}" dt="2025-02-24T09:45:32.545" v="692" actId="2696"/>
        <pc:sldMkLst>
          <pc:docMk/>
          <pc:sldMk cId="115196869" sldId="2147478968"/>
        </pc:sldMkLst>
      </pc:sldChg>
      <pc:sldChg chg="addSp delSp modSp mod">
        <pc:chgData name="Roman Innerbichler" userId="6aabfab5-15a7-460c-9a89-25ee5d7a776b" providerId="ADAL" clId="{FC125DAB-399F-9F4B-BEF1-333586B7BBC5}" dt="2025-02-24T09:01:46.670" v="153" actId="20577"/>
        <pc:sldMkLst>
          <pc:docMk/>
          <pc:sldMk cId="3453482818" sldId="2147479203"/>
        </pc:sldMkLst>
      </pc:sldChg>
      <pc:sldChg chg="delSp mod ord modShow">
        <pc:chgData name="Roman Innerbichler" userId="6aabfab5-15a7-460c-9a89-25ee5d7a776b" providerId="ADAL" clId="{FC125DAB-399F-9F4B-BEF1-333586B7BBC5}" dt="2025-02-25T09:52:40.902" v="839" actId="478"/>
        <pc:sldMkLst>
          <pc:docMk/>
          <pc:sldMk cId="3397669399" sldId="2147481125"/>
        </pc:sldMkLst>
      </pc:sldChg>
      <pc:sldChg chg="delSp mod ord modShow">
        <pc:chgData name="Roman Innerbichler" userId="6aabfab5-15a7-460c-9a89-25ee5d7a776b" providerId="ADAL" clId="{FC125DAB-399F-9F4B-BEF1-333586B7BBC5}" dt="2025-02-25T09:52:45.478" v="840" actId="478"/>
        <pc:sldMkLst>
          <pc:docMk/>
          <pc:sldMk cId="1093025383" sldId="2147481126"/>
        </pc:sldMkLst>
      </pc:sldChg>
      <pc:sldChg chg="del mod ord modShow">
        <pc:chgData name="Roman Innerbichler" userId="6aabfab5-15a7-460c-9a89-25ee5d7a776b" providerId="ADAL" clId="{FC125DAB-399F-9F4B-BEF1-333586B7BBC5}" dt="2025-02-24T09:27:01.317" v="618" actId="2696"/>
        <pc:sldMkLst>
          <pc:docMk/>
          <pc:sldMk cId="2394367331" sldId="2147481127"/>
        </pc:sldMkLst>
      </pc:sldChg>
      <pc:sldChg chg="mod ord modShow">
        <pc:chgData name="Roman Innerbichler" userId="6aabfab5-15a7-460c-9a89-25ee5d7a776b" providerId="ADAL" clId="{FC125DAB-399F-9F4B-BEF1-333586B7BBC5}" dt="2025-02-24T09:26:34.814" v="617" actId="729"/>
        <pc:sldMkLst>
          <pc:docMk/>
          <pc:sldMk cId="1634945549" sldId="2147481128"/>
        </pc:sldMkLst>
      </pc:sldChg>
      <pc:sldChg chg="del mod ord modShow">
        <pc:chgData name="Roman Innerbichler" userId="6aabfab5-15a7-460c-9a89-25ee5d7a776b" providerId="ADAL" clId="{FC125DAB-399F-9F4B-BEF1-333586B7BBC5}" dt="2025-02-24T09:27:07.854" v="619" actId="2696"/>
        <pc:sldMkLst>
          <pc:docMk/>
          <pc:sldMk cId="1930319685" sldId="2147481136"/>
        </pc:sldMkLst>
      </pc:sldChg>
      <pc:sldChg chg="ord">
        <pc:chgData name="Roman Innerbichler" userId="6aabfab5-15a7-460c-9a89-25ee5d7a776b" providerId="ADAL" clId="{FC125DAB-399F-9F4B-BEF1-333586B7BBC5}" dt="2025-02-24T09:30:22.766" v="649" actId="20578"/>
        <pc:sldMkLst>
          <pc:docMk/>
          <pc:sldMk cId="2705929629" sldId="2147481375"/>
        </pc:sldMkLst>
      </pc:sldChg>
      <pc:sldChg chg="modSp mod ord">
        <pc:chgData name="Roman Innerbichler" userId="6aabfab5-15a7-460c-9a89-25ee5d7a776b" providerId="ADAL" clId="{FC125DAB-399F-9F4B-BEF1-333586B7BBC5}" dt="2025-02-24T10:26:24.929" v="816" actId="1076"/>
        <pc:sldMkLst>
          <pc:docMk/>
          <pc:sldMk cId="3259588511" sldId="2147481413"/>
        </pc:sldMkLst>
      </pc:sldChg>
      <pc:sldChg chg="addSp delSp modSp mod ord">
        <pc:chgData name="Roman Innerbichler" userId="6aabfab5-15a7-460c-9a89-25ee5d7a776b" providerId="ADAL" clId="{FC125DAB-399F-9F4B-BEF1-333586B7BBC5}" dt="2025-02-24T10:27:27.510" v="836" actId="20577"/>
        <pc:sldMkLst>
          <pc:docMk/>
          <pc:sldMk cId="1415407183" sldId="2147481414"/>
        </pc:sldMkLst>
      </pc:sldChg>
      <pc:sldChg chg="addSp modSp mod">
        <pc:chgData name="Roman Innerbichler" userId="6aabfab5-15a7-460c-9a89-25ee5d7a776b" providerId="ADAL" clId="{FC125DAB-399F-9F4B-BEF1-333586B7BBC5}" dt="2025-02-24T09:00:34.524" v="75" actId="123"/>
        <pc:sldMkLst>
          <pc:docMk/>
          <pc:sldMk cId="3989046545" sldId="2147481419"/>
        </pc:sldMkLst>
      </pc:sldChg>
      <pc:sldChg chg="ord">
        <pc:chgData name="Roman Innerbichler" userId="6aabfab5-15a7-460c-9a89-25ee5d7a776b" providerId="ADAL" clId="{FC125DAB-399F-9F4B-BEF1-333586B7BBC5}" dt="2025-02-24T08:51:33.041" v="52" actId="20578"/>
        <pc:sldMkLst>
          <pc:docMk/>
          <pc:sldMk cId="2075548059" sldId="2147481420"/>
        </pc:sldMkLst>
      </pc:sldChg>
      <pc:sldChg chg="modSp mod ord">
        <pc:chgData name="Roman Innerbichler" userId="6aabfab5-15a7-460c-9a89-25ee5d7a776b" providerId="ADAL" clId="{FC125DAB-399F-9F4B-BEF1-333586B7BBC5}" dt="2025-02-24T09:52:23.274" v="784" actId="255"/>
        <pc:sldMkLst>
          <pc:docMk/>
          <pc:sldMk cId="3735792400" sldId="2147481424"/>
        </pc:sldMkLst>
      </pc:sldChg>
      <pc:sldChg chg="ord">
        <pc:chgData name="Roman Innerbichler" userId="6aabfab5-15a7-460c-9a89-25ee5d7a776b" providerId="ADAL" clId="{FC125DAB-399F-9F4B-BEF1-333586B7BBC5}" dt="2025-02-24T08:51:09.782" v="50" actId="20578"/>
        <pc:sldMkLst>
          <pc:docMk/>
          <pc:sldMk cId="1869040675" sldId="2147481429"/>
        </pc:sldMkLst>
      </pc:sldChg>
      <pc:sldChg chg="ord">
        <pc:chgData name="Roman Innerbichler" userId="6aabfab5-15a7-460c-9a89-25ee5d7a776b" providerId="ADAL" clId="{FC125DAB-399F-9F4B-BEF1-333586B7BBC5}" dt="2025-02-24T08:51:33.041" v="52" actId="20578"/>
        <pc:sldMkLst>
          <pc:docMk/>
          <pc:sldMk cId="3616015754" sldId="2147481434"/>
        </pc:sldMkLst>
      </pc:sldChg>
      <pc:sldChg chg="ord">
        <pc:chgData name="Roman Innerbichler" userId="6aabfab5-15a7-460c-9a89-25ee5d7a776b" providerId="ADAL" clId="{FC125DAB-399F-9F4B-BEF1-333586B7BBC5}" dt="2025-02-24T08:51:09.782" v="50" actId="20578"/>
        <pc:sldMkLst>
          <pc:docMk/>
          <pc:sldMk cId="3881101159" sldId="2147481436"/>
        </pc:sldMkLst>
      </pc:sldChg>
      <pc:sldChg chg="addSp modSp mod">
        <pc:chgData name="Roman Innerbichler" userId="6aabfab5-15a7-460c-9a89-25ee5d7a776b" providerId="ADAL" clId="{FC125DAB-399F-9F4B-BEF1-333586B7BBC5}" dt="2025-02-24T09:01:52.416" v="157" actId="20577"/>
        <pc:sldMkLst>
          <pc:docMk/>
          <pc:sldMk cId="1805900080" sldId="2147481437"/>
        </pc:sldMkLst>
      </pc:sldChg>
      <pc:sldChg chg="modSp mod ord">
        <pc:chgData name="Roman Innerbichler" userId="6aabfab5-15a7-460c-9a89-25ee5d7a776b" providerId="ADAL" clId="{FC125DAB-399F-9F4B-BEF1-333586B7BBC5}" dt="2025-02-24T09:52:05.680" v="778" actId="403"/>
        <pc:sldMkLst>
          <pc:docMk/>
          <pc:sldMk cId="830703045" sldId="2147481438"/>
        </pc:sldMkLst>
      </pc:sldChg>
      <pc:sldChg chg="addSp delSp modSp mod modShow">
        <pc:chgData name="Roman Innerbichler" userId="6aabfab5-15a7-460c-9a89-25ee5d7a776b" providerId="ADAL" clId="{FC125DAB-399F-9F4B-BEF1-333586B7BBC5}" dt="2025-02-24T09:16:43.786" v="572" actId="20577"/>
        <pc:sldMkLst>
          <pc:docMk/>
          <pc:sldMk cId="519551223" sldId="2147481439"/>
        </pc:sldMkLst>
      </pc:sldChg>
      <pc:sldChg chg="ord">
        <pc:chgData name="Roman Innerbichler" userId="6aabfab5-15a7-460c-9a89-25ee5d7a776b" providerId="ADAL" clId="{FC125DAB-399F-9F4B-BEF1-333586B7BBC5}" dt="2025-02-24T08:51:09.782" v="50" actId="20578"/>
        <pc:sldMkLst>
          <pc:docMk/>
          <pc:sldMk cId="2201301700" sldId="2147481455"/>
        </pc:sldMkLst>
      </pc:sldChg>
      <pc:sldChg chg="ord">
        <pc:chgData name="Roman Innerbichler" userId="6aabfab5-15a7-460c-9a89-25ee5d7a776b" providerId="ADAL" clId="{FC125DAB-399F-9F4B-BEF1-333586B7BBC5}" dt="2025-02-24T08:51:14.809" v="51" actId="20578"/>
        <pc:sldMkLst>
          <pc:docMk/>
          <pc:sldMk cId="3727184513" sldId="2147481458"/>
        </pc:sldMkLst>
      </pc:sldChg>
      <pc:sldChg chg="ord">
        <pc:chgData name="Roman Innerbichler" userId="6aabfab5-15a7-460c-9a89-25ee5d7a776b" providerId="ADAL" clId="{FC125DAB-399F-9F4B-BEF1-333586B7BBC5}" dt="2025-02-24T08:51:33.041" v="52" actId="20578"/>
        <pc:sldMkLst>
          <pc:docMk/>
          <pc:sldMk cId="2955123538" sldId="2147481459"/>
        </pc:sldMkLst>
      </pc:sldChg>
      <pc:sldChg chg="modSp add del mod">
        <pc:chgData name="Roman Innerbichler" userId="6aabfab5-15a7-460c-9a89-25ee5d7a776b" providerId="ADAL" clId="{FC125DAB-399F-9F4B-BEF1-333586B7BBC5}" dt="2025-02-24T09:51:42.864" v="771" actId="2696"/>
        <pc:sldMkLst>
          <pc:docMk/>
          <pc:sldMk cId="576645229" sldId="2147481465"/>
        </pc:sldMkLst>
      </pc:sldChg>
      <pc:sldChg chg="mod modShow">
        <pc:chgData name="Roman Innerbichler" userId="6aabfab5-15a7-460c-9a89-25ee5d7a776b" providerId="ADAL" clId="{FC125DAB-399F-9F4B-BEF1-333586B7BBC5}" dt="2025-02-24T09:00:19.942" v="63" actId="729"/>
        <pc:sldMkLst>
          <pc:docMk/>
          <pc:sldMk cId="3156216838" sldId="2147482284"/>
        </pc:sldMkLst>
      </pc:sldChg>
      <pc:sldChg chg="mod modShow">
        <pc:chgData name="Roman Innerbichler" userId="6aabfab5-15a7-460c-9a89-25ee5d7a776b" providerId="ADAL" clId="{FC125DAB-399F-9F4B-BEF1-333586B7BBC5}" dt="2025-02-24T09:30:33.475" v="650" actId="729"/>
        <pc:sldMkLst>
          <pc:docMk/>
          <pc:sldMk cId="2046783842" sldId="2147482495"/>
        </pc:sldMkLst>
      </pc:sldChg>
      <pc:sldChg chg="ord">
        <pc:chgData name="Roman Innerbichler" userId="6aabfab5-15a7-460c-9a89-25ee5d7a776b" providerId="ADAL" clId="{FC125DAB-399F-9F4B-BEF1-333586B7BBC5}" dt="2025-02-24T09:17:07.897" v="576" actId="20578"/>
        <pc:sldMkLst>
          <pc:docMk/>
          <pc:sldMk cId="1091641846" sldId="2147482743"/>
        </pc:sldMkLst>
      </pc:sldChg>
      <pc:sldChg chg="del">
        <pc:chgData name="Roman Innerbichler" userId="6aabfab5-15a7-460c-9a89-25ee5d7a776b" providerId="ADAL" clId="{FC125DAB-399F-9F4B-BEF1-333586B7BBC5}" dt="2025-02-24T08:21:43.074" v="5" actId="2696"/>
        <pc:sldMkLst>
          <pc:docMk/>
          <pc:sldMk cId="2891237227" sldId="2147482828"/>
        </pc:sldMkLst>
      </pc:sldChg>
      <pc:sldChg chg="del">
        <pc:chgData name="Roman Innerbichler" userId="6aabfab5-15a7-460c-9a89-25ee5d7a776b" providerId="ADAL" clId="{FC125DAB-399F-9F4B-BEF1-333586B7BBC5}" dt="2025-02-24T08:21:47.410" v="8" actId="2696"/>
        <pc:sldMkLst>
          <pc:docMk/>
          <pc:sldMk cId="2823793801" sldId="2147482829"/>
        </pc:sldMkLst>
      </pc:sldChg>
      <pc:sldChg chg="del">
        <pc:chgData name="Roman Innerbichler" userId="6aabfab5-15a7-460c-9a89-25ee5d7a776b" providerId="ADAL" clId="{FC125DAB-399F-9F4B-BEF1-333586B7BBC5}" dt="2025-02-24T09:27:22.529" v="620" actId="2696"/>
        <pc:sldMkLst>
          <pc:docMk/>
          <pc:sldMk cId="3134382722" sldId="2147482832"/>
        </pc:sldMkLst>
      </pc:sldChg>
      <pc:sldChg chg="del">
        <pc:chgData name="Roman Innerbichler" userId="6aabfab5-15a7-460c-9a89-25ee5d7a776b" providerId="ADAL" clId="{FC125DAB-399F-9F4B-BEF1-333586B7BBC5}" dt="2025-02-24T08:51:42.157" v="55" actId="2696"/>
        <pc:sldMkLst>
          <pc:docMk/>
          <pc:sldMk cId="2933469718" sldId="2147482834"/>
        </pc:sldMkLst>
      </pc:sldChg>
      <pc:sldChg chg="mod ord modShow">
        <pc:chgData name="Roman Innerbichler" userId="6aabfab5-15a7-460c-9a89-25ee5d7a776b" providerId="ADAL" clId="{FC125DAB-399F-9F4B-BEF1-333586B7BBC5}" dt="2025-02-24T08:51:48.228" v="57" actId="729"/>
        <pc:sldMkLst>
          <pc:docMk/>
          <pc:sldMk cId="1722008478" sldId="2147482843"/>
        </pc:sldMkLst>
      </pc:sldChg>
      <pc:sldChg chg="del">
        <pc:chgData name="Roman Innerbichler" userId="6aabfab5-15a7-460c-9a89-25ee5d7a776b" providerId="ADAL" clId="{FC125DAB-399F-9F4B-BEF1-333586B7BBC5}" dt="2025-02-24T08:51:41.264" v="54" actId="2696"/>
        <pc:sldMkLst>
          <pc:docMk/>
          <pc:sldMk cId="874885191" sldId="2147482844"/>
        </pc:sldMkLst>
      </pc:sldChg>
      <pc:sldChg chg="del">
        <pc:chgData name="Roman Innerbichler" userId="6aabfab5-15a7-460c-9a89-25ee5d7a776b" providerId="ADAL" clId="{FC125DAB-399F-9F4B-BEF1-333586B7BBC5}" dt="2025-02-24T08:51:39.638" v="53" actId="2696"/>
        <pc:sldMkLst>
          <pc:docMk/>
          <pc:sldMk cId="2274589543" sldId="2147482845"/>
        </pc:sldMkLst>
      </pc:sldChg>
      <pc:sldChg chg="delSp mod ord">
        <pc:chgData name="Roman Innerbichler" userId="6aabfab5-15a7-460c-9a89-25ee5d7a776b" providerId="ADAL" clId="{FC125DAB-399F-9F4B-BEF1-333586B7BBC5}" dt="2025-02-24T09:01:01.508" v="77" actId="478"/>
        <pc:sldMkLst>
          <pc:docMk/>
          <pc:sldMk cId="2964443140" sldId="2147482847"/>
        </pc:sldMkLst>
      </pc:sldChg>
      <pc:sldChg chg="mod modShow">
        <pc:chgData name="Roman Innerbichler" userId="6aabfab5-15a7-460c-9a89-25ee5d7a776b" providerId="ADAL" clId="{FC125DAB-399F-9F4B-BEF1-333586B7BBC5}" dt="2025-02-24T09:30:33.475" v="650" actId="729"/>
        <pc:sldMkLst>
          <pc:docMk/>
          <pc:sldMk cId="1585295264" sldId="2147482980"/>
        </pc:sldMkLst>
      </pc:sldChg>
      <pc:sldChg chg="mod modShow">
        <pc:chgData name="Roman Innerbichler" userId="6aabfab5-15a7-460c-9a89-25ee5d7a776b" providerId="ADAL" clId="{FC125DAB-399F-9F4B-BEF1-333586B7BBC5}" dt="2025-02-24T09:30:33.475" v="650" actId="729"/>
        <pc:sldMkLst>
          <pc:docMk/>
          <pc:sldMk cId="890393288" sldId="2147483009"/>
        </pc:sldMkLst>
      </pc:sldChg>
      <pc:sldChg chg="mod modShow">
        <pc:chgData name="Roman Innerbichler" userId="6aabfab5-15a7-460c-9a89-25ee5d7a776b" providerId="ADAL" clId="{FC125DAB-399F-9F4B-BEF1-333586B7BBC5}" dt="2025-02-24T09:30:33.475" v="650" actId="729"/>
        <pc:sldMkLst>
          <pc:docMk/>
          <pc:sldMk cId="3042382035" sldId="2147483010"/>
        </pc:sldMkLst>
      </pc:sldChg>
      <pc:sldChg chg="mod modShow">
        <pc:chgData name="Roman Innerbichler" userId="6aabfab5-15a7-460c-9a89-25ee5d7a776b" providerId="ADAL" clId="{FC125DAB-399F-9F4B-BEF1-333586B7BBC5}" dt="2025-02-24T09:30:33.475" v="650" actId="729"/>
        <pc:sldMkLst>
          <pc:docMk/>
          <pc:sldMk cId="2706098893" sldId="2147483011"/>
        </pc:sldMkLst>
      </pc:sldChg>
      <pc:sldChg chg="mod modShow">
        <pc:chgData name="Roman Innerbichler" userId="6aabfab5-15a7-460c-9a89-25ee5d7a776b" providerId="ADAL" clId="{FC125DAB-399F-9F4B-BEF1-333586B7BBC5}" dt="2025-02-24T09:30:33.475" v="650" actId="729"/>
        <pc:sldMkLst>
          <pc:docMk/>
          <pc:sldMk cId="593438004" sldId="2147483012"/>
        </pc:sldMkLst>
      </pc:sldChg>
      <pc:sldChg chg="mod modShow">
        <pc:chgData name="Roman Innerbichler" userId="6aabfab5-15a7-460c-9a89-25ee5d7a776b" providerId="ADAL" clId="{FC125DAB-399F-9F4B-BEF1-333586B7BBC5}" dt="2025-02-24T09:30:33.475" v="650" actId="729"/>
        <pc:sldMkLst>
          <pc:docMk/>
          <pc:sldMk cId="2233310003" sldId="2147483019"/>
        </pc:sldMkLst>
      </pc:sldChg>
      <pc:sldChg chg="mod modShow">
        <pc:chgData name="Roman Innerbichler" userId="6aabfab5-15a7-460c-9a89-25ee5d7a776b" providerId="ADAL" clId="{FC125DAB-399F-9F4B-BEF1-333586B7BBC5}" dt="2025-02-24T09:30:33.475" v="650" actId="729"/>
        <pc:sldMkLst>
          <pc:docMk/>
          <pc:sldMk cId="2055176617" sldId="2147483020"/>
        </pc:sldMkLst>
      </pc:sldChg>
      <pc:sldChg chg="mod modShow">
        <pc:chgData name="Roman Innerbichler" userId="6aabfab5-15a7-460c-9a89-25ee5d7a776b" providerId="ADAL" clId="{FC125DAB-399F-9F4B-BEF1-333586B7BBC5}" dt="2025-02-24T09:30:33.475" v="650" actId="729"/>
        <pc:sldMkLst>
          <pc:docMk/>
          <pc:sldMk cId="4172631367" sldId="2147483021"/>
        </pc:sldMkLst>
      </pc:sldChg>
      <pc:sldChg chg="mod modShow">
        <pc:chgData name="Roman Innerbichler" userId="6aabfab5-15a7-460c-9a89-25ee5d7a776b" providerId="ADAL" clId="{FC125DAB-399F-9F4B-BEF1-333586B7BBC5}" dt="2025-02-24T09:30:33.475" v="650" actId="729"/>
        <pc:sldMkLst>
          <pc:docMk/>
          <pc:sldMk cId="3024054698" sldId="2147483022"/>
        </pc:sldMkLst>
      </pc:sldChg>
      <pc:sldChg chg="mod modShow">
        <pc:chgData name="Roman Innerbichler" userId="6aabfab5-15a7-460c-9a89-25ee5d7a776b" providerId="ADAL" clId="{FC125DAB-399F-9F4B-BEF1-333586B7BBC5}" dt="2025-02-24T09:30:33.475" v="650" actId="729"/>
        <pc:sldMkLst>
          <pc:docMk/>
          <pc:sldMk cId="2249233070" sldId="2147483040"/>
        </pc:sldMkLst>
      </pc:sldChg>
      <pc:sldChg chg="mod modShow">
        <pc:chgData name="Roman Innerbichler" userId="6aabfab5-15a7-460c-9a89-25ee5d7a776b" providerId="ADAL" clId="{FC125DAB-399F-9F4B-BEF1-333586B7BBC5}" dt="2025-02-24T09:30:33.475" v="650" actId="729"/>
        <pc:sldMkLst>
          <pc:docMk/>
          <pc:sldMk cId="2718531988" sldId="2147483042"/>
        </pc:sldMkLst>
      </pc:sldChg>
      <pc:sldChg chg="mod modShow">
        <pc:chgData name="Roman Innerbichler" userId="6aabfab5-15a7-460c-9a89-25ee5d7a776b" providerId="ADAL" clId="{FC125DAB-399F-9F4B-BEF1-333586B7BBC5}" dt="2025-02-24T09:30:33.475" v="650" actId="729"/>
        <pc:sldMkLst>
          <pc:docMk/>
          <pc:sldMk cId="3466887487" sldId="2147483043"/>
        </pc:sldMkLst>
      </pc:sldChg>
      <pc:sldChg chg="mod modShow">
        <pc:chgData name="Roman Innerbichler" userId="6aabfab5-15a7-460c-9a89-25ee5d7a776b" providerId="ADAL" clId="{FC125DAB-399F-9F4B-BEF1-333586B7BBC5}" dt="2025-02-24T09:30:33.475" v="650" actId="729"/>
        <pc:sldMkLst>
          <pc:docMk/>
          <pc:sldMk cId="2257436068" sldId="2147483044"/>
        </pc:sldMkLst>
      </pc:sldChg>
      <pc:sldChg chg="mod modShow">
        <pc:chgData name="Roman Innerbichler" userId="6aabfab5-15a7-460c-9a89-25ee5d7a776b" providerId="ADAL" clId="{FC125DAB-399F-9F4B-BEF1-333586B7BBC5}" dt="2025-02-24T09:30:33.475" v="650" actId="729"/>
        <pc:sldMkLst>
          <pc:docMk/>
          <pc:sldMk cId="215574216" sldId="2147483049"/>
        </pc:sldMkLst>
      </pc:sldChg>
      <pc:sldChg chg="mod modShow">
        <pc:chgData name="Roman Innerbichler" userId="6aabfab5-15a7-460c-9a89-25ee5d7a776b" providerId="ADAL" clId="{FC125DAB-399F-9F4B-BEF1-333586B7BBC5}" dt="2025-02-24T09:30:33.475" v="650" actId="729"/>
        <pc:sldMkLst>
          <pc:docMk/>
          <pc:sldMk cId="3765277600" sldId="2147483060"/>
        </pc:sldMkLst>
      </pc:sldChg>
      <pc:sldChg chg="mod modShow">
        <pc:chgData name="Roman Innerbichler" userId="6aabfab5-15a7-460c-9a89-25ee5d7a776b" providerId="ADAL" clId="{FC125DAB-399F-9F4B-BEF1-333586B7BBC5}" dt="2025-02-24T09:30:33.475" v="650" actId="729"/>
        <pc:sldMkLst>
          <pc:docMk/>
          <pc:sldMk cId="3300564514" sldId="2147483061"/>
        </pc:sldMkLst>
      </pc:sldChg>
      <pc:sldChg chg="mod modShow">
        <pc:chgData name="Roman Innerbichler" userId="6aabfab5-15a7-460c-9a89-25ee5d7a776b" providerId="ADAL" clId="{FC125DAB-399F-9F4B-BEF1-333586B7BBC5}" dt="2025-02-24T09:30:33.475" v="650" actId="729"/>
        <pc:sldMkLst>
          <pc:docMk/>
          <pc:sldMk cId="2105654533" sldId="2147483062"/>
        </pc:sldMkLst>
      </pc:sldChg>
      <pc:sldChg chg="mod modShow">
        <pc:chgData name="Roman Innerbichler" userId="6aabfab5-15a7-460c-9a89-25ee5d7a776b" providerId="ADAL" clId="{FC125DAB-399F-9F4B-BEF1-333586B7BBC5}" dt="2025-02-24T09:30:33.475" v="650" actId="729"/>
        <pc:sldMkLst>
          <pc:docMk/>
          <pc:sldMk cId="3046133150" sldId="2147483063"/>
        </pc:sldMkLst>
      </pc:sldChg>
      <pc:sldChg chg="mod modShow">
        <pc:chgData name="Roman Innerbichler" userId="6aabfab5-15a7-460c-9a89-25ee5d7a776b" providerId="ADAL" clId="{FC125DAB-399F-9F4B-BEF1-333586B7BBC5}" dt="2025-02-24T09:30:33.475" v="650" actId="729"/>
        <pc:sldMkLst>
          <pc:docMk/>
          <pc:sldMk cId="732386817" sldId="2147483066"/>
        </pc:sldMkLst>
      </pc:sldChg>
      <pc:sldChg chg="mod modShow">
        <pc:chgData name="Roman Innerbichler" userId="6aabfab5-15a7-460c-9a89-25ee5d7a776b" providerId="ADAL" clId="{FC125DAB-399F-9F4B-BEF1-333586B7BBC5}" dt="2025-02-24T09:30:33.475" v="650" actId="729"/>
        <pc:sldMkLst>
          <pc:docMk/>
          <pc:sldMk cId="4082144185" sldId="2147483067"/>
        </pc:sldMkLst>
      </pc:sldChg>
      <pc:sldChg chg="mod modShow">
        <pc:chgData name="Roman Innerbichler" userId="6aabfab5-15a7-460c-9a89-25ee5d7a776b" providerId="ADAL" clId="{FC125DAB-399F-9F4B-BEF1-333586B7BBC5}" dt="2025-02-24T09:30:33.475" v="650" actId="729"/>
        <pc:sldMkLst>
          <pc:docMk/>
          <pc:sldMk cId="3823495040" sldId="2147483068"/>
        </pc:sldMkLst>
      </pc:sldChg>
      <pc:sldChg chg="del">
        <pc:chgData name="Roman Innerbichler" userId="6aabfab5-15a7-460c-9a89-25ee5d7a776b" providerId="ADAL" clId="{FC125DAB-399F-9F4B-BEF1-333586B7BBC5}" dt="2025-02-24T09:29:29.319" v="630" actId="2696"/>
        <pc:sldMkLst>
          <pc:docMk/>
          <pc:sldMk cId="3230786630" sldId="2147483069"/>
        </pc:sldMkLst>
      </pc:sldChg>
      <pc:sldChg chg="del">
        <pc:chgData name="Roman Innerbichler" userId="6aabfab5-15a7-460c-9a89-25ee5d7a776b" providerId="ADAL" clId="{FC125DAB-399F-9F4B-BEF1-333586B7BBC5}" dt="2025-02-24T09:29:30.147" v="631" actId="2696"/>
        <pc:sldMkLst>
          <pc:docMk/>
          <pc:sldMk cId="1816144840" sldId="2147483070"/>
        </pc:sldMkLst>
      </pc:sldChg>
      <pc:sldChg chg="mod modShow">
        <pc:chgData name="Roman Innerbichler" userId="6aabfab5-15a7-460c-9a89-25ee5d7a776b" providerId="ADAL" clId="{FC125DAB-399F-9F4B-BEF1-333586B7BBC5}" dt="2025-02-24T09:30:33.475" v="650" actId="729"/>
        <pc:sldMkLst>
          <pc:docMk/>
          <pc:sldMk cId="1969252900" sldId="2147483075"/>
        </pc:sldMkLst>
      </pc:sldChg>
      <pc:sldChg chg="mod modShow">
        <pc:chgData name="Roman Innerbichler" userId="6aabfab5-15a7-460c-9a89-25ee5d7a776b" providerId="ADAL" clId="{FC125DAB-399F-9F4B-BEF1-333586B7BBC5}" dt="2025-02-24T09:30:33.475" v="650" actId="729"/>
        <pc:sldMkLst>
          <pc:docMk/>
          <pc:sldMk cId="2948865202" sldId="2147483077"/>
        </pc:sldMkLst>
      </pc:sldChg>
      <pc:sldChg chg="mod modShow">
        <pc:chgData name="Roman Innerbichler" userId="6aabfab5-15a7-460c-9a89-25ee5d7a776b" providerId="ADAL" clId="{FC125DAB-399F-9F4B-BEF1-333586B7BBC5}" dt="2025-02-24T09:30:33.475" v="650" actId="729"/>
        <pc:sldMkLst>
          <pc:docMk/>
          <pc:sldMk cId="893830691" sldId="2147483078"/>
        </pc:sldMkLst>
      </pc:sldChg>
      <pc:sldChg chg="mod modShow">
        <pc:chgData name="Roman Innerbichler" userId="6aabfab5-15a7-460c-9a89-25ee5d7a776b" providerId="ADAL" clId="{FC125DAB-399F-9F4B-BEF1-333586B7BBC5}" dt="2025-02-24T09:30:33.475" v="650" actId="729"/>
        <pc:sldMkLst>
          <pc:docMk/>
          <pc:sldMk cId="3928630330" sldId="2147483080"/>
        </pc:sldMkLst>
      </pc:sldChg>
      <pc:sldChg chg="mod modShow">
        <pc:chgData name="Roman Innerbichler" userId="6aabfab5-15a7-460c-9a89-25ee5d7a776b" providerId="ADAL" clId="{FC125DAB-399F-9F4B-BEF1-333586B7BBC5}" dt="2025-02-24T09:30:33.475" v="650" actId="729"/>
        <pc:sldMkLst>
          <pc:docMk/>
          <pc:sldMk cId="3847001921" sldId="2147483092"/>
        </pc:sldMkLst>
      </pc:sldChg>
      <pc:sldChg chg="mod modShow">
        <pc:chgData name="Roman Innerbichler" userId="6aabfab5-15a7-460c-9a89-25ee5d7a776b" providerId="ADAL" clId="{FC125DAB-399F-9F4B-BEF1-333586B7BBC5}" dt="2025-02-24T09:30:33.475" v="650" actId="729"/>
        <pc:sldMkLst>
          <pc:docMk/>
          <pc:sldMk cId="3325838346" sldId="2147483099"/>
        </pc:sldMkLst>
      </pc:sldChg>
      <pc:sldChg chg="mod modShow">
        <pc:chgData name="Roman Innerbichler" userId="6aabfab5-15a7-460c-9a89-25ee5d7a776b" providerId="ADAL" clId="{FC125DAB-399F-9F4B-BEF1-333586B7BBC5}" dt="2025-02-24T09:30:33.475" v="650" actId="729"/>
        <pc:sldMkLst>
          <pc:docMk/>
          <pc:sldMk cId="42787285" sldId="2147483102"/>
        </pc:sldMkLst>
      </pc:sldChg>
      <pc:sldChg chg="mod modShow">
        <pc:chgData name="Roman Innerbichler" userId="6aabfab5-15a7-460c-9a89-25ee5d7a776b" providerId="ADAL" clId="{FC125DAB-399F-9F4B-BEF1-333586B7BBC5}" dt="2025-02-24T09:30:33.475" v="650" actId="729"/>
        <pc:sldMkLst>
          <pc:docMk/>
          <pc:sldMk cId="1123572118" sldId="2147483111"/>
        </pc:sldMkLst>
      </pc:sldChg>
      <pc:sldChg chg="delSp modSp mod ord modShow">
        <pc:chgData name="Roman Innerbichler" userId="6aabfab5-15a7-460c-9a89-25ee5d7a776b" providerId="ADAL" clId="{FC125DAB-399F-9F4B-BEF1-333586B7BBC5}" dt="2025-02-24T09:26:20.156" v="615" actId="729"/>
        <pc:sldMkLst>
          <pc:docMk/>
          <pc:sldMk cId="1124976937" sldId="2147483137"/>
        </pc:sldMkLst>
      </pc:sldChg>
      <pc:sldChg chg="mod modShow">
        <pc:chgData name="Roman Innerbichler" userId="6aabfab5-15a7-460c-9a89-25ee5d7a776b" providerId="ADAL" clId="{FC125DAB-399F-9F4B-BEF1-333586B7BBC5}" dt="2025-02-24T09:30:33.475" v="650" actId="729"/>
        <pc:sldMkLst>
          <pc:docMk/>
          <pc:sldMk cId="2803165519" sldId="2147483139"/>
        </pc:sldMkLst>
      </pc:sldChg>
      <pc:sldChg chg="mod modShow">
        <pc:chgData name="Roman Innerbichler" userId="6aabfab5-15a7-460c-9a89-25ee5d7a776b" providerId="ADAL" clId="{FC125DAB-399F-9F4B-BEF1-333586B7BBC5}" dt="2025-02-24T09:30:33.475" v="650" actId="729"/>
        <pc:sldMkLst>
          <pc:docMk/>
          <pc:sldMk cId="3736766285" sldId="2147483140"/>
        </pc:sldMkLst>
      </pc:sldChg>
      <pc:sldChg chg="mod modShow">
        <pc:chgData name="Roman Innerbichler" userId="6aabfab5-15a7-460c-9a89-25ee5d7a776b" providerId="ADAL" clId="{FC125DAB-399F-9F4B-BEF1-333586B7BBC5}" dt="2025-02-24T09:30:33.475" v="650" actId="729"/>
        <pc:sldMkLst>
          <pc:docMk/>
          <pc:sldMk cId="1705665578" sldId="2147483141"/>
        </pc:sldMkLst>
      </pc:sldChg>
      <pc:sldChg chg="mod modShow">
        <pc:chgData name="Roman Innerbichler" userId="6aabfab5-15a7-460c-9a89-25ee5d7a776b" providerId="ADAL" clId="{FC125DAB-399F-9F4B-BEF1-333586B7BBC5}" dt="2025-02-24T09:30:33.475" v="650" actId="729"/>
        <pc:sldMkLst>
          <pc:docMk/>
          <pc:sldMk cId="1559276616" sldId="2147483142"/>
        </pc:sldMkLst>
      </pc:sldChg>
      <pc:sldChg chg="mod modShow">
        <pc:chgData name="Roman Innerbichler" userId="6aabfab5-15a7-460c-9a89-25ee5d7a776b" providerId="ADAL" clId="{FC125DAB-399F-9F4B-BEF1-333586B7BBC5}" dt="2025-02-24T09:30:33.475" v="650" actId="729"/>
        <pc:sldMkLst>
          <pc:docMk/>
          <pc:sldMk cId="677383197" sldId="2147483143"/>
        </pc:sldMkLst>
      </pc:sldChg>
      <pc:sldChg chg="mod modShow">
        <pc:chgData name="Roman Innerbichler" userId="6aabfab5-15a7-460c-9a89-25ee5d7a776b" providerId="ADAL" clId="{FC125DAB-399F-9F4B-BEF1-333586B7BBC5}" dt="2025-02-24T09:30:33.475" v="650" actId="729"/>
        <pc:sldMkLst>
          <pc:docMk/>
          <pc:sldMk cId="1543796415" sldId="2147483155"/>
        </pc:sldMkLst>
      </pc:sldChg>
      <pc:sldChg chg="mod modShow">
        <pc:chgData name="Roman Innerbichler" userId="6aabfab5-15a7-460c-9a89-25ee5d7a776b" providerId="ADAL" clId="{FC125DAB-399F-9F4B-BEF1-333586B7BBC5}" dt="2025-02-24T09:30:33.475" v="650" actId="729"/>
        <pc:sldMkLst>
          <pc:docMk/>
          <pc:sldMk cId="3360937515" sldId="2147483156"/>
        </pc:sldMkLst>
      </pc:sldChg>
      <pc:sldChg chg="mod modShow">
        <pc:chgData name="Roman Innerbichler" userId="6aabfab5-15a7-460c-9a89-25ee5d7a776b" providerId="ADAL" clId="{FC125DAB-399F-9F4B-BEF1-333586B7BBC5}" dt="2025-02-24T09:30:33.475" v="650" actId="729"/>
        <pc:sldMkLst>
          <pc:docMk/>
          <pc:sldMk cId="1369810607" sldId="2147483157"/>
        </pc:sldMkLst>
      </pc:sldChg>
      <pc:sldChg chg="mod modShow">
        <pc:chgData name="Roman Innerbichler" userId="6aabfab5-15a7-460c-9a89-25ee5d7a776b" providerId="ADAL" clId="{FC125DAB-399F-9F4B-BEF1-333586B7BBC5}" dt="2025-02-24T09:30:33.475" v="650" actId="729"/>
        <pc:sldMkLst>
          <pc:docMk/>
          <pc:sldMk cId="3860841775" sldId="2147483158"/>
        </pc:sldMkLst>
      </pc:sldChg>
      <pc:sldChg chg="mod modShow">
        <pc:chgData name="Roman Innerbichler" userId="6aabfab5-15a7-460c-9a89-25ee5d7a776b" providerId="ADAL" clId="{FC125DAB-399F-9F4B-BEF1-333586B7BBC5}" dt="2025-02-24T09:30:33.475" v="650" actId="729"/>
        <pc:sldMkLst>
          <pc:docMk/>
          <pc:sldMk cId="1821560240" sldId="2147483165"/>
        </pc:sldMkLst>
      </pc:sldChg>
      <pc:sldChg chg="mod modShow">
        <pc:chgData name="Roman Innerbichler" userId="6aabfab5-15a7-460c-9a89-25ee5d7a776b" providerId="ADAL" clId="{FC125DAB-399F-9F4B-BEF1-333586B7BBC5}" dt="2025-02-24T09:30:33.475" v="650" actId="729"/>
        <pc:sldMkLst>
          <pc:docMk/>
          <pc:sldMk cId="3276501714" sldId="2147483166"/>
        </pc:sldMkLst>
      </pc:sldChg>
      <pc:sldChg chg="mod modShow">
        <pc:chgData name="Roman Innerbichler" userId="6aabfab5-15a7-460c-9a89-25ee5d7a776b" providerId="ADAL" clId="{FC125DAB-399F-9F4B-BEF1-333586B7BBC5}" dt="2025-02-24T09:30:33.475" v="650" actId="729"/>
        <pc:sldMkLst>
          <pc:docMk/>
          <pc:sldMk cId="1944693348" sldId="2147483167"/>
        </pc:sldMkLst>
      </pc:sldChg>
      <pc:sldChg chg="mod modShow">
        <pc:chgData name="Roman Innerbichler" userId="6aabfab5-15a7-460c-9a89-25ee5d7a776b" providerId="ADAL" clId="{FC125DAB-399F-9F4B-BEF1-333586B7BBC5}" dt="2025-02-24T09:30:33.475" v="650" actId="729"/>
        <pc:sldMkLst>
          <pc:docMk/>
          <pc:sldMk cId="2549484486" sldId="2147483168"/>
        </pc:sldMkLst>
      </pc:sldChg>
      <pc:sldChg chg="del">
        <pc:chgData name="Roman Innerbichler" userId="6aabfab5-15a7-460c-9a89-25ee5d7a776b" providerId="ADAL" clId="{FC125DAB-399F-9F4B-BEF1-333586B7BBC5}" dt="2025-02-24T08:21:44.630" v="7" actId="2696"/>
        <pc:sldMkLst>
          <pc:docMk/>
          <pc:sldMk cId="3143902949" sldId="2147483180"/>
        </pc:sldMkLst>
      </pc:sldChg>
      <pc:sldChg chg="del">
        <pc:chgData name="Roman Innerbichler" userId="6aabfab5-15a7-460c-9a89-25ee5d7a776b" providerId="ADAL" clId="{FC125DAB-399F-9F4B-BEF1-333586B7BBC5}" dt="2025-02-24T08:21:42.435" v="4" actId="2696"/>
        <pc:sldMkLst>
          <pc:docMk/>
          <pc:sldMk cId="3831888032" sldId="2147483182"/>
        </pc:sldMkLst>
      </pc:sldChg>
      <pc:sldChg chg="del">
        <pc:chgData name="Roman Innerbichler" userId="6aabfab5-15a7-460c-9a89-25ee5d7a776b" providerId="ADAL" clId="{FC125DAB-399F-9F4B-BEF1-333586B7BBC5}" dt="2025-02-24T08:21:43.673" v="6" actId="2696"/>
        <pc:sldMkLst>
          <pc:docMk/>
          <pc:sldMk cId="1404631330" sldId="2147483183"/>
        </pc:sldMkLst>
      </pc:sldChg>
      <pc:sldChg chg="del">
        <pc:chgData name="Roman Innerbichler" userId="6aabfab5-15a7-460c-9a89-25ee5d7a776b" providerId="ADAL" clId="{FC125DAB-399F-9F4B-BEF1-333586B7BBC5}" dt="2025-02-24T08:22:38.939" v="13" actId="2696"/>
        <pc:sldMkLst>
          <pc:docMk/>
          <pc:sldMk cId="2394980178" sldId="2147483195"/>
        </pc:sldMkLst>
      </pc:sldChg>
      <pc:sldChg chg="del">
        <pc:chgData name="Roman Innerbichler" userId="6aabfab5-15a7-460c-9a89-25ee5d7a776b" providerId="ADAL" clId="{FC125DAB-399F-9F4B-BEF1-333586B7BBC5}" dt="2025-02-24T08:22:38.042" v="12" actId="2696"/>
        <pc:sldMkLst>
          <pc:docMk/>
          <pc:sldMk cId="2494413282" sldId="2147483196"/>
        </pc:sldMkLst>
      </pc:sldChg>
      <pc:sldChg chg="del">
        <pc:chgData name="Roman Innerbichler" userId="6aabfab5-15a7-460c-9a89-25ee5d7a776b" providerId="ADAL" clId="{FC125DAB-399F-9F4B-BEF1-333586B7BBC5}" dt="2025-02-24T09:28:06.063" v="628" actId="2696"/>
        <pc:sldMkLst>
          <pc:docMk/>
          <pc:sldMk cId="2839387522" sldId="2147483198"/>
        </pc:sldMkLst>
      </pc:sldChg>
      <pc:sldChg chg="del">
        <pc:chgData name="Roman Innerbichler" userId="6aabfab5-15a7-460c-9a89-25ee5d7a776b" providerId="ADAL" clId="{FC125DAB-399F-9F4B-BEF1-333586B7BBC5}" dt="2025-02-24T09:28:06.650" v="629" actId="2696"/>
        <pc:sldMkLst>
          <pc:docMk/>
          <pc:sldMk cId="2564331597" sldId="2147483199"/>
        </pc:sldMkLst>
      </pc:sldChg>
      <pc:sldChg chg="del">
        <pc:chgData name="Roman Innerbichler" userId="6aabfab5-15a7-460c-9a89-25ee5d7a776b" providerId="ADAL" clId="{FC125DAB-399F-9F4B-BEF1-333586B7BBC5}" dt="2025-02-24T09:29:39.137" v="632" actId="2696"/>
        <pc:sldMkLst>
          <pc:docMk/>
          <pc:sldMk cId="2921466071" sldId="2147483201"/>
        </pc:sldMkLst>
      </pc:sldChg>
      <pc:sldChg chg="del">
        <pc:chgData name="Roman Innerbichler" userId="6aabfab5-15a7-460c-9a89-25ee5d7a776b" providerId="ADAL" clId="{FC125DAB-399F-9F4B-BEF1-333586B7BBC5}" dt="2025-02-24T09:29:39.568" v="633" actId="2696"/>
        <pc:sldMkLst>
          <pc:docMk/>
          <pc:sldMk cId="1614067717" sldId="2147483202"/>
        </pc:sldMkLst>
      </pc:sldChg>
      <pc:sldChg chg="mod modShow">
        <pc:chgData name="Roman Innerbichler" userId="6aabfab5-15a7-460c-9a89-25ee5d7a776b" providerId="ADAL" clId="{FC125DAB-399F-9F4B-BEF1-333586B7BBC5}" dt="2025-02-24T09:30:33.475" v="650" actId="729"/>
        <pc:sldMkLst>
          <pc:docMk/>
          <pc:sldMk cId="1829870617" sldId="2147483227"/>
        </pc:sldMkLst>
      </pc:sldChg>
      <pc:sldChg chg="del">
        <pc:chgData name="Roman Innerbichler" userId="6aabfab5-15a7-460c-9a89-25ee5d7a776b" providerId="ADAL" clId="{FC125DAB-399F-9F4B-BEF1-333586B7BBC5}" dt="2025-02-24T09:22:40.536" v="577" actId="2696"/>
        <pc:sldMkLst>
          <pc:docMk/>
          <pc:sldMk cId="2639212824" sldId="2147483235"/>
        </pc:sldMkLst>
      </pc:sldChg>
      <pc:sldChg chg="del">
        <pc:chgData name="Roman Innerbichler" userId="6aabfab5-15a7-460c-9a89-25ee5d7a776b" providerId="ADAL" clId="{FC125DAB-399F-9F4B-BEF1-333586B7BBC5}" dt="2025-02-24T08:50:46.059" v="49" actId="2696"/>
        <pc:sldMkLst>
          <pc:docMk/>
          <pc:sldMk cId="1993675399" sldId="2147483240"/>
        </pc:sldMkLst>
      </pc:sldChg>
      <pc:sldChg chg="addSp delSp modSp mod ord">
        <pc:chgData name="Roman Innerbichler" userId="6aabfab5-15a7-460c-9a89-25ee5d7a776b" providerId="ADAL" clId="{FC125DAB-399F-9F4B-BEF1-333586B7BBC5}" dt="2025-02-24T09:26:07.426" v="612" actId="20577"/>
        <pc:sldMkLst>
          <pc:docMk/>
          <pc:sldMk cId="245425325" sldId="2147483264"/>
        </pc:sldMkLst>
      </pc:sldChg>
      <pc:sldChg chg="del">
        <pc:chgData name="Roman Innerbichler" userId="6aabfab5-15a7-460c-9a89-25ee5d7a776b" providerId="ADAL" clId="{FC125DAB-399F-9F4B-BEF1-333586B7BBC5}" dt="2025-02-24T09:29:50.454" v="635" actId="2696"/>
        <pc:sldMkLst>
          <pc:docMk/>
          <pc:sldMk cId="2697877647" sldId="2147483265"/>
        </pc:sldMkLst>
      </pc:sldChg>
      <pc:sldChg chg="ord">
        <pc:chgData name="Roman Innerbichler" userId="6aabfab5-15a7-460c-9a89-25ee5d7a776b" providerId="ADAL" clId="{FC125DAB-399F-9F4B-BEF1-333586B7BBC5}" dt="2025-02-24T09:30:38.075" v="651" actId="20578"/>
        <pc:sldMkLst>
          <pc:docMk/>
          <pc:sldMk cId="25704374" sldId="2147483289"/>
        </pc:sldMkLst>
      </pc:sldChg>
      <pc:sldChg chg="del">
        <pc:chgData name="Roman Innerbichler" userId="6aabfab5-15a7-460c-9a89-25ee5d7a776b" providerId="ADAL" clId="{FC125DAB-399F-9F4B-BEF1-333586B7BBC5}" dt="2025-02-24T09:29:56.672" v="637" actId="2696"/>
        <pc:sldMkLst>
          <pc:docMk/>
          <pc:sldMk cId="1451638038" sldId="2147483326"/>
        </pc:sldMkLst>
      </pc:sldChg>
      <pc:sldChg chg="del">
        <pc:chgData name="Roman Innerbichler" userId="6aabfab5-15a7-460c-9a89-25ee5d7a776b" providerId="ADAL" clId="{FC125DAB-399F-9F4B-BEF1-333586B7BBC5}" dt="2025-02-24T09:29:54.411" v="636" actId="2696"/>
        <pc:sldMkLst>
          <pc:docMk/>
          <pc:sldMk cId="1648478278" sldId="2147483327"/>
        </pc:sldMkLst>
      </pc:sldChg>
      <pc:sldChg chg="del">
        <pc:chgData name="Roman Innerbichler" userId="6aabfab5-15a7-460c-9a89-25ee5d7a776b" providerId="ADAL" clId="{FC125DAB-399F-9F4B-BEF1-333586B7BBC5}" dt="2025-02-24T09:27:22.781" v="627" actId="2696"/>
        <pc:sldMkLst>
          <pc:docMk/>
          <pc:sldMk cId="4142410118" sldId="2147483330"/>
        </pc:sldMkLst>
      </pc:sldChg>
      <pc:sldChg chg="del">
        <pc:chgData name="Roman Innerbichler" userId="6aabfab5-15a7-460c-9a89-25ee5d7a776b" providerId="ADAL" clId="{FC125DAB-399F-9F4B-BEF1-333586B7BBC5}" dt="2025-02-24T08:21:50.940" v="10" actId="2696"/>
        <pc:sldMkLst>
          <pc:docMk/>
          <pc:sldMk cId="578103025" sldId="2147483331"/>
        </pc:sldMkLst>
      </pc:sldChg>
      <pc:sldChg chg="del">
        <pc:chgData name="Roman Innerbichler" userId="6aabfab5-15a7-460c-9a89-25ee5d7a776b" providerId="ADAL" clId="{FC125DAB-399F-9F4B-BEF1-333586B7BBC5}" dt="2025-02-24T08:21:50.361" v="9" actId="2696"/>
        <pc:sldMkLst>
          <pc:docMk/>
          <pc:sldMk cId="465334378" sldId="2147483332"/>
        </pc:sldMkLst>
      </pc:sldChg>
      <pc:sldChg chg="mod modShow">
        <pc:chgData name="Roman Innerbichler" userId="6aabfab5-15a7-460c-9a89-25ee5d7a776b" providerId="ADAL" clId="{FC125DAB-399F-9F4B-BEF1-333586B7BBC5}" dt="2025-02-24T09:30:33.475" v="650" actId="729"/>
        <pc:sldMkLst>
          <pc:docMk/>
          <pc:sldMk cId="859262189" sldId="2147483368"/>
        </pc:sldMkLst>
      </pc:sldChg>
      <pc:sldChg chg="del">
        <pc:chgData name="Roman Innerbichler" userId="6aabfab5-15a7-460c-9a89-25ee5d7a776b" providerId="ADAL" clId="{FC125DAB-399F-9F4B-BEF1-333586B7BBC5}" dt="2025-02-24T09:29:47.754" v="634" actId="2696"/>
        <pc:sldMkLst>
          <pc:docMk/>
          <pc:sldMk cId="2734348709" sldId="2147483423"/>
        </pc:sldMkLst>
      </pc:sldChg>
      <pc:sldChg chg="del">
        <pc:chgData name="Roman Innerbichler" userId="6aabfab5-15a7-460c-9a89-25ee5d7a776b" providerId="ADAL" clId="{FC125DAB-399F-9F4B-BEF1-333586B7BBC5}" dt="2025-02-24T09:29:57.555" v="638" actId="2696"/>
        <pc:sldMkLst>
          <pc:docMk/>
          <pc:sldMk cId="4218162122" sldId="2147483424"/>
        </pc:sldMkLst>
      </pc:sldChg>
      <pc:sldChg chg="del">
        <pc:chgData name="Roman Innerbichler" userId="6aabfab5-15a7-460c-9a89-25ee5d7a776b" providerId="ADAL" clId="{FC125DAB-399F-9F4B-BEF1-333586B7BBC5}" dt="2025-02-24T09:27:22.557" v="621" actId="2696"/>
        <pc:sldMkLst>
          <pc:docMk/>
          <pc:sldMk cId="3212868703" sldId="2147483446"/>
        </pc:sldMkLst>
      </pc:sldChg>
      <pc:sldChg chg="del">
        <pc:chgData name="Roman Innerbichler" userId="6aabfab5-15a7-460c-9a89-25ee5d7a776b" providerId="ADAL" clId="{FC125DAB-399F-9F4B-BEF1-333586B7BBC5}" dt="2025-02-24T09:27:22.620" v="625" actId="2696"/>
        <pc:sldMkLst>
          <pc:docMk/>
          <pc:sldMk cId="3257040351" sldId="2147483447"/>
        </pc:sldMkLst>
      </pc:sldChg>
      <pc:sldChg chg="del">
        <pc:chgData name="Roman Innerbichler" userId="6aabfab5-15a7-460c-9a89-25ee5d7a776b" providerId="ADAL" clId="{FC125DAB-399F-9F4B-BEF1-333586B7BBC5}" dt="2025-02-24T09:27:22.612" v="624" actId="2696"/>
        <pc:sldMkLst>
          <pc:docMk/>
          <pc:sldMk cId="2637672366" sldId="2147483448"/>
        </pc:sldMkLst>
      </pc:sldChg>
      <pc:sldChg chg="del">
        <pc:chgData name="Roman Innerbichler" userId="6aabfab5-15a7-460c-9a89-25ee5d7a776b" providerId="ADAL" clId="{FC125DAB-399F-9F4B-BEF1-333586B7BBC5}" dt="2025-02-24T09:27:22.573" v="622" actId="2696"/>
        <pc:sldMkLst>
          <pc:docMk/>
          <pc:sldMk cId="3095190962" sldId="2147483449"/>
        </pc:sldMkLst>
      </pc:sldChg>
      <pc:sldChg chg="del">
        <pc:chgData name="Roman Innerbichler" userId="6aabfab5-15a7-460c-9a89-25ee5d7a776b" providerId="ADAL" clId="{FC125DAB-399F-9F4B-BEF1-333586B7BBC5}" dt="2025-02-24T09:27:22.639" v="626" actId="2696"/>
        <pc:sldMkLst>
          <pc:docMk/>
          <pc:sldMk cId="1206910383" sldId="2147483450"/>
        </pc:sldMkLst>
      </pc:sldChg>
      <pc:sldChg chg="del">
        <pc:chgData name="Roman Innerbichler" userId="6aabfab5-15a7-460c-9a89-25ee5d7a776b" providerId="ADAL" clId="{FC125DAB-399F-9F4B-BEF1-333586B7BBC5}" dt="2025-02-24T09:27:22.605" v="623" actId="2696"/>
        <pc:sldMkLst>
          <pc:docMk/>
          <pc:sldMk cId="2722078090" sldId="2147483451"/>
        </pc:sldMkLst>
      </pc:sldChg>
      <pc:sldChg chg="del">
        <pc:chgData name="Roman Innerbichler" userId="6aabfab5-15a7-460c-9a89-25ee5d7a776b" providerId="ADAL" clId="{FC125DAB-399F-9F4B-BEF1-333586B7BBC5}" dt="2025-02-24T08:22:07.061" v="11" actId="2696"/>
        <pc:sldMkLst>
          <pc:docMk/>
          <pc:sldMk cId="2478947271" sldId="2147483452"/>
        </pc:sldMkLst>
      </pc:sldChg>
      <pc:sldChg chg="ord">
        <pc:chgData name="Roman Innerbichler" userId="6aabfab5-15a7-460c-9a89-25ee5d7a776b" providerId="ADAL" clId="{FC125DAB-399F-9F4B-BEF1-333586B7BBC5}" dt="2025-02-24T09:17:04.111" v="574" actId="20578"/>
        <pc:sldMkLst>
          <pc:docMk/>
          <pc:sldMk cId="561526984" sldId="2147483453"/>
        </pc:sldMkLst>
      </pc:sldChg>
      <pc:sldChg chg="ord">
        <pc:chgData name="Roman Innerbichler" userId="6aabfab5-15a7-460c-9a89-25ee5d7a776b" providerId="ADAL" clId="{FC125DAB-399F-9F4B-BEF1-333586B7BBC5}" dt="2025-02-24T09:17:01.600" v="573" actId="20578"/>
        <pc:sldMkLst>
          <pc:docMk/>
          <pc:sldMk cId="1667428040" sldId="2147483456"/>
        </pc:sldMkLst>
      </pc:sldChg>
      <pc:sldChg chg="addSp new">
        <pc:chgData name="Roman Innerbichler" userId="6aabfab5-15a7-460c-9a89-25ee5d7a776b" providerId="ADAL" clId="{FC125DAB-399F-9F4B-BEF1-333586B7BBC5}" dt="2025-02-24T08:02:42.024" v="1"/>
        <pc:sldMkLst>
          <pc:docMk/>
          <pc:sldMk cId="1948813022" sldId="2147483457"/>
        </pc:sldMkLst>
      </pc:sldChg>
      <pc:sldChg chg="addSp delSp modSp new mod">
        <pc:chgData name="Roman Innerbichler" userId="6aabfab5-15a7-460c-9a89-25ee5d7a776b" providerId="ADAL" clId="{FC125DAB-399F-9F4B-BEF1-333586B7BBC5}" dt="2025-02-24T08:49:13.539" v="44" actId="478"/>
        <pc:sldMkLst>
          <pc:docMk/>
          <pc:sldMk cId="3400510202" sldId="2147483458"/>
        </pc:sldMkLst>
      </pc:sldChg>
      <pc:sldChg chg="addSp delSp modSp new mod ord">
        <pc:chgData name="Roman Innerbichler" userId="6aabfab5-15a7-460c-9a89-25ee5d7a776b" providerId="ADAL" clId="{FC125DAB-399F-9F4B-BEF1-333586B7BBC5}" dt="2025-02-25T09:53:24.055" v="841" actId="20578"/>
        <pc:sldMkLst>
          <pc:docMk/>
          <pc:sldMk cId="2130331955" sldId="2147483459"/>
        </pc:sldMkLst>
      </pc:sldChg>
      <pc:sldChg chg="delSp modSp add del mod delAnim">
        <pc:chgData name="Roman Innerbichler" userId="6aabfab5-15a7-460c-9a89-25ee5d7a776b" providerId="ADAL" clId="{FC125DAB-399F-9F4B-BEF1-333586B7BBC5}" dt="2025-02-24T09:43:33.372" v="655" actId="2696"/>
        <pc:sldMkLst>
          <pc:docMk/>
          <pc:sldMk cId="3114143102" sldId="2147483460"/>
        </pc:sldMkLst>
      </pc:sldChg>
      <pc:sldChg chg="addSp delSp modSp new mod modShow">
        <pc:chgData name="Roman Innerbichler" userId="6aabfab5-15a7-460c-9a89-25ee5d7a776b" providerId="ADAL" clId="{FC125DAB-399F-9F4B-BEF1-333586B7BBC5}" dt="2025-02-24T09:47:16.214" v="748" actId="729"/>
        <pc:sldMkLst>
          <pc:docMk/>
          <pc:sldMk cId="3871396161" sldId="2147483460"/>
        </pc:sldMkLst>
      </pc:sldChg>
      <pc:sldChg chg="addSp delSp modSp new mod ord">
        <pc:chgData name="Roman Innerbichler" userId="6aabfab5-15a7-460c-9a89-25ee5d7a776b" providerId="ADAL" clId="{FC125DAB-399F-9F4B-BEF1-333586B7BBC5}" dt="2025-02-25T09:53:30.363" v="842" actId="20578"/>
        <pc:sldMkLst>
          <pc:docMk/>
          <pc:sldMk cId="2446236888" sldId="2147483461"/>
        </pc:sldMkLst>
      </pc:sldChg>
      <pc:sldChg chg="modSp add mod">
        <pc:chgData name="Roman Innerbichler" userId="6aabfab5-15a7-460c-9a89-25ee5d7a776b" providerId="ADAL" clId="{FC125DAB-399F-9F4B-BEF1-333586B7BBC5}" dt="2025-02-24T09:48:12.280" v="762" actId="1582"/>
        <pc:sldMkLst>
          <pc:docMk/>
          <pc:sldMk cId="1527512940" sldId="2147483462"/>
        </pc:sldMkLst>
      </pc:sldChg>
      <pc:sldChg chg="addSp delSp modSp add mod">
        <pc:chgData name="Roman Innerbichler" userId="6aabfab5-15a7-460c-9a89-25ee5d7a776b" providerId="ADAL" clId="{FC125DAB-399F-9F4B-BEF1-333586B7BBC5}" dt="2025-02-24T09:51:35.233" v="770" actId="20577"/>
        <pc:sldMkLst>
          <pc:docMk/>
          <pc:sldMk cId="569843222" sldId="2147483463"/>
        </pc:sldMkLst>
      </pc:sldChg>
    </pc:docChg>
  </pc:docChgLst>
  <pc:docChgLst>
    <pc:chgData name="Roman Innerbichler" userId="6aabfab5-15a7-460c-9a89-25ee5d7a776b" providerId="ADAL" clId="{347E0FAF-B856-F944-9D38-4123DA13E546}"/>
    <pc:docChg chg="custSel delSld modSld modSection">
      <pc:chgData name="Roman Innerbichler" userId="6aabfab5-15a7-460c-9a89-25ee5d7a776b" providerId="ADAL" clId="{347E0FAF-B856-F944-9D38-4123DA13E546}" dt="2025-04-01T10:43:25.707" v="27" actId="14100"/>
      <pc:docMkLst>
        <pc:docMk/>
      </pc:docMkLst>
      <pc:sldChg chg="modSp">
        <pc:chgData name="Roman Innerbichler" userId="6aabfab5-15a7-460c-9a89-25ee5d7a776b" providerId="ADAL" clId="{347E0FAF-B856-F944-9D38-4123DA13E546}" dt="2025-03-26T12:19:43.063" v="0"/>
        <pc:sldMkLst>
          <pc:docMk/>
          <pc:sldMk cId="3453482818" sldId="2147479203"/>
        </pc:sldMkLst>
      </pc:sldChg>
      <pc:sldChg chg="modSp">
        <pc:chgData name="Roman Innerbichler" userId="6aabfab5-15a7-460c-9a89-25ee5d7a776b" providerId="ADAL" clId="{347E0FAF-B856-F944-9D38-4123DA13E546}" dt="2025-03-26T12:19:43.063" v="0"/>
        <pc:sldMkLst>
          <pc:docMk/>
          <pc:sldMk cId="873464237" sldId="2147481329"/>
        </pc:sldMkLst>
      </pc:sldChg>
      <pc:sldChg chg="modSp">
        <pc:chgData name="Roman Innerbichler" userId="6aabfab5-15a7-460c-9a89-25ee5d7a776b" providerId="ADAL" clId="{347E0FAF-B856-F944-9D38-4123DA13E546}" dt="2025-03-26T12:19:43.063" v="0"/>
        <pc:sldMkLst>
          <pc:docMk/>
          <pc:sldMk cId="899610351" sldId="2147481408"/>
        </pc:sldMkLst>
      </pc:sldChg>
      <pc:sldChg chg="modSp">
        <pc:chgData name="Roman Innerbichler" userId="6aabfab5-15a7-460c-9a89-25ee5d7a776b" providerId="ADAL" clId="{347E0FAF-B856-F944-9D38-4123DA13E546}" dt="2025-03-26T12:19:43.063" v="0"/>
        <pc:sldMkLst>
          <pc:docMk/>
          <pc:sldMk cId="1185626244" sldId="2147481411"/>
        </pc:sldMkLst>
      </pc:sldChg>
      <pc:sldChg chg="modSp">
        <pc:chgData name="Roman Innerbichler" userId="6aabfab5-15a7-460c-9a89-25ee5d7a776b" providerId="ADAL" clId="{347E0FAF-B856-F944-9D38-4123DA13E546}" dt="2025-03-26T12:19:43.063" v="0"/>
        <pc:sldMkLst>
          <pc:docMk/>
          <pc:sldMk cId="3989046545" sldId="2147481419"/>
        </pc:sldMkLst>
      </pc:sldChg>
      <pc:sldChg chg="mod modShow">
        <pc:chgData name="Roman Innerbichler" userId="6aabfab5-15a7-460c-9a89-25ee5d7a776b" providerId="ADAL" clId="{347E0FAF-B856-F944-9D38-4123DA13E546}" dt="2025-03-26T12:20:45.862" v="19" actId="729"/>
        <pc:sldMkLst>
          <pc:docMk/>
          <pc:sldMk cId="519551223" sldId="2147481439"/>
        </pc:sldMkLst>
      </pc:sldChg>
      <pc:sldChg chg="modSp mod">
        <pc:chgData name="Roman Innerbichler" userId="6aabfab5-15a7-460c-9a89-25ee5d7a776b" providerId="ADAL" clId="{347E0FAF-B856-F944-9D38-4123DA13E546}" dt="2025-04-01T10:37:43.192" v="20" actId="1076"/>
        <pc:sldMkLst>
          <pc:docMk/>
          <pc:sldMk cId="2201301700" sldId="2147481455"/>
        </pc:sldMkLst>
      </pc:sldChg>
      <pc:sldChg chg="modSp">
        <pc:chgData name="Roman Innerbichler" userId="6aabfab5-15a7-460c-9a89-25ee5d7a776b" providerId="ADAL" clId="{347E0FAF-B856-F944-9D38-4123DA13E546}" dt="2025-03-26T12:19:43.063" v="0"/>
        <pc:sldMkLst>
          <pc:docMk/>
          <pc:sldMk cId="3351734409" sldId="2147481460"/>
        </pc:sldMkLst>
        <pc:spChg chg="mod">
          <ac:chgData name="Roman Innerbichler" userId="6aabfab5-15a7-460c-9a89-25ee5d7a776b" providerId="ADAL" clId="{347E0FAF-B856-F944-9D38-4123DA13E546}" dt="2025-03-26T12:19:43.063" v="0"/>
          <ac:spMkLst>
            <pc:docMk/>
            <pc:sldMk cId="3351734409" sldId="2147481460"/>
            <ac:spMk id="4" creationId="{13E232DC-8123-49D8-38AD-5174907BA420}"/>
          </ac:spMkLst>
        </pc:spChg>
      </pc:sldChg>
      <pc:sldChg chg="modSp mod">
        <pc:chgData name="Roman Innerbichler" userId="6aabfab5-15a7-460c-9a89-25ee5d7a776b" providerId="ADAL" clId="{347E0FAF-B856-F944-9D38-4123DA13E546}" dt="2025-04-01T10:43:25.707" v="27" actId="14100"/>
        <pc:sldMkLst>
          <pc:docMk/>
          <pc:sldMk cId="2249233070" sldId="2147483040"/>
        </pc:sldMkLst>
      </pc:sldChg>
      <pc:sldChg chg="modSp">
        <pc:chgData name="Roman Innerbichler" userId="6aabfab5-15a7-460c-9a89-25ee5d7a776b" providerId="ADAL" clId="{347E0FAF-B856-F944-9D38-4123DA13E546}" dt="2025-04-01T10:43:04.387" v="23" actId="20577"/>
        <pc:sldMkLst>
          <pc:docMk/>
          <pc:sldMk cId="537665373" sldId="2147483419"/>
        </pc:sldMkLst>
      </pc:sldChg>
      <pc:sldChg chg="modSp mod">
        <pc:chgData name="Roman Innerbichler" userId="6aabfab5-15a7-460c-9a89-25ee5d7a776b" providerId="ADAL" clId="{347E0FAF-B856-F944-9D38-4123DA13E546}" dt="2025-03-26T12:20:13.956" v="16" actId="5793"/>
        <pc:sldMkLst>
          <pc:docMk/>
          <pc:sldMk cId="2947112631" sldId="2147483455"/>
        </pc:sldMkLst>
      </pc:sldChg>
      <pc:sldChg chg="delSp del mod">
        <pc:chgData name="Roman Innerbichler" userId="6aabfab5-15a7-460c-9a89-25ee5d7a776b" providerId="ADAL" clId="{347E0FAF-B856-F944-9D38-4123DA13E546}" dt="2025-03-26T12:19:46.580" v="2" actId="2696"/>
        <pc:sldMkLst>
          <pc:docMk/>
          <pc:sldMk cId="1948813022" sldId="2147483457"/>
        </pc:sldMkLst>
      </pc:sldChg>
      <pc:sldChg chg="mod modShow">
        <pc:chgData name="Roman Innerbichler" userId="6aabfab5-15a7-460c-9a89-25ee5d7a776b" providerId="ADAL" clId="{347E0FAF-B856-F944-9D38-4123DA13E546}" dt="2025-03-26T12:20:45.862" v="19" actId="729"/>
        <pc:sldMkLst>
          <pc:docMk/>
          <pc:sldMk cId="3400510202" sldId="2147483458"/>
        </pc:sldMkLst>
      </pc:sldChg>
      <pc:sldChg chg="modSp mod modShow">
        <pc:chgData name="Roman Innerbichler" userId="6aabfab5-15a7-460c-9a89-25ee5d7a776b" providerId="ADAL" clId="{347E0FAF-B856-F944-9D38-4123DA13E546}" dt="2025-03-26T12:20:39.324" v="17" actId="729"/>
        <pc:sldMkLst>
          <pc:docMk/>
          <pc:sldMk cId="2130331955" sldId="2147483459"/>
        </pc:sldMkLst>
      </pc:sldChg>
      <pc:sldChg chg="modSp mod modShow">
        <pc:chgData name="Roman Innerbichler" userId="6aabfab5-15a7-460c-9a89-25ee5d7a776b" providerId="ADAL" clId="{347E0FAF-B856-F944-9D38-4123DA13E546}" dt="2025-03-26T12:20:41.489" v="18" actId="729"/>
        <pc:sldMkLst>
          <pc:docMk/>
          <pc:sldMk cId="2446236888" sldId="2147483461"/>
        </pc:sldMkLst>
      </pc:sldChg>
      <pc:sldChg chg="del">
        <pc:chgData name="Roman Innerbichler" userId="6aabfab5-15a7-460c-9a89-25ee5d7a776b" providerId="ADAL" clId="{347E0FAF-B856-F944-9D38-4123DA13E546}" dt="2025-03-26T12:19:47.148" v="3" actId="2696"/>
        <pc:sldMkLst>
          <pc:docMk/>
          <pc:sldMk cId="1143460586" sldId="2147483464"/>
        </pc:sldMkLst>
      </pc:sldChg>
    </pc:docChg>
  </pc:docChgLst>
  <pc:docChgLst>
    <pc:chgData name="Alexander Krebs" userId="b873267e-75fc-4991-9494-65746bd14e8c" providerId="ADAL" clId="{89C947DB-E38D-4B43-8665-4B343266D217}"/>
    <pc:docChg chg="custSel modSld">
      <pc:chgData name="Alexander Krebs" userId="b873267e-75fc-4991-9494-65746bd14e8c" providerId="ADAL" clId="{89C947DB-E38D-4B43-8665-4B343266D217}" dt="2025-04-03T12:16:52.780" v="690" actId="20577"/>
      <pc:docMkLst>
        <pc:docMk/>
      </pc:docMkLst>
      <pc:sldChg chg="modSp mod">
        <pc:chgData name="Alexander Krebs" userId="b873267e-75fc-4991-9494-65746bd14e8c" providerId="ADAL" clId="{89C947DB-E38D-4B43-8665-4B343266D217}" dt="2025-04-01T07:19:41.390" v="140" actId="20577"/>
        <pc:sldMkLst>
          <pc:docMk/>
          <pc:sldMk cId="3453482818" sldId="2147479203"/>
        </pc:sldMkLst>
      </pc:sldChg>
      <pc:sldChg chg="modSp mod">
        <pc:chgData name="Alexander Krebs" userId="b873267e-75fc-4991-9494-65746bd14e8c" providerId="ADAL" clId="{89C947DB-E38D-4B43-8665-4B343266D217}" dt="2025-04-01T07:18:56.075" v="134" actId="20577"/>
        <pc:sldMkLst>
          <pc:docMk/>
          <pc:sldMk cId="873464237" sldId="2147481329"/>
        </pc:sldMkLst>
      </pc:sldChg>
      <pc:sldChg chg="modSp mod">
        <pc:chgData name="Alexander Krebs" userId="b873267e-75fc-4991-9494-65746bd14e8c" providerId="ADAL" clId="{89C947DB-E38D-4B43-8665-4B343266D217}" dt="2025-04-01T07:19:11.530" v="137" actId="20577"/>
        <pc:sldMkLst>
          <pc:docMk/>
          <pc:sldMk cId="1185626244" sldId="2147481411"/>
        </pc:sldMkLst>
      </pc:sldChg>
      <pc:sldChg chg="addSp modSp">
        <pc:chgData name="Alexander Krebs" userId="b873267e-75fc-4991-9494-65746bd14e8c" providerId="ADAL" clId="{89C947DB-E38D-4B43-8665-4B343266D217}" dt="2025-04-03T06:57:15.599" v="142" actId="767"/>
        <pc:sldMkLst>
          <pc:docMk/>
          <pc:sldMk cId="2201301700" sldId="2147481455"/>
        </pc:sldMkLst>
      </pc:sldChg>
      <pc:sldChg chg="mod modShow">
        <pc:chgData name="Alexander Krebs" userId="b873267e-75fc-4991-9494-65746bd14e8c" providerId="ADAL" clId="{89C947DB-E38D-4B43-8665-4B343266D217}" dt="2025-03-31T13:39:30.727" v="131" actId="729"/>
        <pc:sldMkLst>
          <pc:docMk/>
          <pc:sldMk cId="3156216838" sldId="2147482284"/>
        </pc:sldMkLst>
      </pc:sldChg>
      <pc:sldChg chg="modSp mod modShow">
        <pc:chgData name="Alexander Krebs" userId="b873267e-75fc-4991-9494-65746bd14e8c" providerId="ADAL" clId="{89C947DB-E38D-4B43-8665-4B343266D217}" dt="2025-04-03T12:16:52.780" v="690" actId="20577"/>
        <pc:sldMkLst>
          <pc:docMk/>
          <pc:sldMk cId="2947112631" sldId="2147483455"/>
        </pc:sldMkLst>
      </pc:sldChg>
      <pc:sldChg chg="addSp delSp modSp mod">
        <pc:chgData name="Alexander Krebs" userId="b873267e-75fc-4991-9494-65746bd14e8c" providerId="ADAL" clId="{89C947DB-E38D-4B43-8665-4B343266D217}" dt="2025-04-01T07:20:19.629" v="141" actId="478"/>
        <pc:sldMkLst>
          <pc:docMk/>
          <pc:sldMk cId="2130331955" sldId="2147483459"/>
        </pc:sldMkLst>
      </pc:sldChg>
    </pc:docChg>
  </pc:docChgLst>
  <pc:docChgLst>
    <pc:chgData name="Daniel Scheidl" userId="S::dsc@ontinue.io::c546f9d5-e464-4fd0-b62c-308843782c4d" providerId="AD" clId="Web-{C365E401-FAE9-2C83-BC37-FD311CD15E7A}"/>
    <pc:docChg chg="addSld modSld modSection">
      <pc:chgData name="Daniel Scheidl" userId="S::dsc@ontinue.io::c546f9d5-e464-4fd0-b62c-308843782c4d" providerId="AD" clId="Web-{C365E401-FAE9-2C83-BC37-FD311CD15E7A}" dt="2025-02-24T15:25:30.646" v="563"/>
      <pc:docMkLst>
        <pc:docMk/>
      </pc:docMkLst>
      <pc:sldChg chg="addSp delSp modSp add replId delAnim">
        <pc:chgData name="Daniel Scheidl" userId="S::dsc@ontinue.io::c546f9d5-e464-4fd0-b62c-308843782c4d" providerId="AD" clId="Web-{C365E401-FAE9-2C83-BC37-FD311CD15E7A}" dt="2025-02-24T15:25:30.646" v="563"/>
        <pc:sldMkLst>
          <pc:docMk/>
          <pc:sldMk cId="2533733942" sldId="2147483466"/>
        </pc:sldMkLst>
      </pc:sldChg>
    </pc:docChg>
  </pc:docChgLst>
  <pc:docChgLst>
    <pc:chgData name="Roman Innerbichler" userId="S::rin@ontinue.io::6aabfab5-15a7-460c-9a89-25ee5d7a776b" providerId="AD" clId="Web-{B806AC4C-7202-E8F7-96D9-5F7201C7EE75}"/>
    <pc:docChg chg="addSld delSld modSld sldOrd modSection">
      <pc:chgData name="Roman Innerbichler" userId="S::rin@ontinue.io::6aabfab5-15a7-460c-9a89-25ee5d7a776b" providerId="AD" clId="Web-{B806AC4C-7202-E8F7-96D9-5F7201C7EE75}" dt="2025-02-24T16:59:00.021" v="250"/>
      <pc:docMkLst>
        <pc:docMk/>
      </pc:docMkLst>
      <pc:sldChg chg="modSp">
        <pc:chgData name="Roman Innerbichler" userId="S::rin@ontinue.io::6aabfab5-15a7-460c-9a89-25ee5d7a776b" providerId="AD" clId="Web-{B806AC4C-7202-E8F7-96D9-5F7201C7EE75}" dt="2025-02-24T16:57:35.769" v="247" actId="1076"/>
        <pc:sldMkLst>
          <pc:docMk/>
          <pc:sldMk cId="3453482818" sldId="2147479203"/>
        </pc:sldMkLst>
      </pc:sldChg>
      <pc:sldChg chg="modSp">
        <pc:chgData name="Roman Innerbichler" userId="S::rin@ontinue.io::6aabfab5-15a7-460c-9a89-25ee5d7a776b" providerId="AD" clId="Web-{B806AC4C-7202-E8F7-96D9-5F7201C7EE75}" dt="2025-02-24T16:56:45.659" v="242"/>
        <pc:sldMkLst>
          <pc:docMk/>
          <pc:sldMk cId="873464237" sldId="2147481329"/>
        </pc:sldMkLst>
      </pc:sldChg>
      <pc:sldChg chg="add del">
        <pc:chgData name="Roman Innerbichler" userId="S::rin@ontinue.io::6aabfab5-15a7-460c-9a89-25ee5d7a776b" providerId="AD" clId="Web-{B806AC4C-7202-E8F7-96D9-5F7201C7EE75}" dt="2025-02-24T16:55:49.580" v="241"/>
        <pc:sldMkLst>
          <pc:docMk/>
          <pc:sldMk cId="1805900080" sldId="2147481437"/>
        </pc:sldMkLst>
      </pc:sldChg>
      <pc:sldChg chg="modSp">
        <pc:chgData name="Roman Innerbichler" userId="S::rin@ontinue.io::6aabfab5-15a7-460c-9a89-25ee5d7a776b" providerId="AD" clId="Web-{B806AC4C-7202-E8F7-96D9-5F7201C7EE75}" dt="2025-02-24T16:40:39.376" v="147" actId="20577"/>
        <pc:sldMkLst>
          <pc:docMk/>
          <pc:sldMk cId="2201301700" sldId="2147481455"/>
        </pc:sldMkLst>
      </pc:sldChg>
      <pc:sldChg chg="mod modShow">
        <pc:chgData name="Roman Innerbichler" userId="S::rin@ontinue.io::6aabfab5-15a7-460c-9a89-25ee5d7a776b" providerId="AD" clId="Web-{B806AC4C-7202-E8F7-96D9-5F7201C7EE75}" dt="2025-02-24T16:27:29.410" v="72"/>
        <pc:sldMkLst>
          <pc:docMk/>
          <pc:sldMk cId="3156216838" sldId="2147482284"/>
        </pc:sldMkLst>
      </pc:sldChg>
      <pc:sldChg chg="delSp">
        <pc:chgData name="Roman Innerbichler" userId="S::rin@ontinue.io::6aabfab5-15a7-460c-9a89-25ee5d7a776b" providerId="AD" clId="Web-{B806AC4C-7202-E8F7-96D9-5F7201C7EE75}" dt="2025-02-24T16:59:00.021" v="250"/>
        <pc:sldMkLst>
          <pc:docMk/>
          <pc:sldMk cId="1091641846" sldId="2147482743"/>
        </pc:sldMkLst>
      </pc:sldChg>
      <pc:sldChg chg="delSp modSp">
        <pc:chgData name="Roman Innerbichler" userId="S::rin@ontinue.io::6aabfab5-15a7-460c-9a89-25ee5d7a776b" providerId="AD" clId="Web-{B806AC4C-7202-E8F7-96D9-5F7201C7EE75}" dt="2025-02-24T16:58:01.488" v="248" actId="20577"/>
        <pc:sldMkLst>
          <pc:docMk/>
          <pc:sldMk cId="561526984" sldId="2147483453"/>
        </pc:sldMkLst>
      </pc:sldChg>
      <pc:sldChg chg="modSp">
        <pc:chgData name="Roman Innerbichler" userId="S::rin@ontinue.io::6aabfab5-15a7-460c-9a89-25ee5d7a776b" providerId="AD" clId="Web-{B806AC4C-7202-E8F7-96D9-5F7201C7EE75}" dt="2025-02-24T16:55:22.548" v="239" actId="20577"/>
        <pc:sldMkLst>
          <pc:docMk/>
          <pc:sldMk cId="2947112631" sldId="2147483455"/>
        </pc:sldMkLst>
      </pc:sldChg>
      <pc:sldChg chg="del">
        <pc:chgData name="Roman Innerbichler" userId="S::rin@ontinue.io::6aabfab5-15a7-460c-9a89-25ee5d7a776b" providerId="AD" clId="Web-{B806AC4C-7202-E8F7-96D9-5F7201C7EE75}" dt="2025-02-24T16:28:07.457" v="73"/>
        <pc:sldMkLst>
          <pc:docMk/>
          <pc:sldMk cId="1527512940" sldId="2147483462"/>
        </pc:sldMkLst>
      </pc:sldChg>
      <pc:sldChg chg="modSp">
        <pc:chgData name="Roman Innerbichler" userId="S::rin@ontinue.io::6aabfab5-15a7-460c-9a89-25ee5d7a776b" providerId="AD" clId="Web-{B806AC4C-7202-E8F7-96D9-5F7201C7EE75}" dt="2025-02-24T16:27:17.816" v="71" actId="20577"/>
        <pc:sldMkLst>
          <pc:docMk/>
          <pc:sldMk cId="1143460586" sldId="2147483464"/>
        </pc:sldMkLst>
      </pc:sldChg>
      <pc:sldChg chg="ord">
        <pc:chgData name="Roman Innerbichler" userId="S::rin@ontinue.io::6aabfab5-15a7-460c-9a89-25ee5d7a776b" providerId="AD" clId="Web-{B806AC4C-7202-E8F7-96D9-5F7201C7EE75}" dt="2025-02-24T16:34:32.136" v="111"/>
        <pc:sldMkLst>
          <pc:docMk/>
          <pc:sldMk cId="1503017334" sldId="2147483465"/>
        </pc:sldMkLst>
      </pc:sldChg>
      <pc:sldChg chg="delSp modSp mod modShow">
        <pc:chgData name="Roman Innerbichler" userId="S::rin@ontinue.io::6aabfab5-15a7-460c-9a89-25ee5d7a776b" providerId="AD" clId="Web-{B806AC4C-7202-E8F7-96D9-5F7201C7EE75}" dt="2025-02-24T16:33:46.572" v="106"/>
        <pc:sldMkLst>
          <pc:docMk/>
          <pc:sldMk cId="2533733942" sldId="2147483466"/>
        </pc:sldMkLst>
      </pc:sldChg>
    </pc:docChg>
  </pc:docChgLst>
  <pc:docChgLst>
    <pc:chgData name="Alexander Krebs" userId="S::atk@ontinue.io::b873267e-75fc-4991-9494-65746bd14e8c" providerId="AD" clId="Web-{14EA927A-7A21-7565-E2B4-2505FD15A037}"/>
    <pc:docChg chg="modSld">
      <pc:chgData name="Alexander Krebs" userId="S::atk@ontinue.io::b873267e-75fc-4991-9494-65746bd14e8c" providerId="AD" clId="Web-{14EA927A-7A21-7565-E2B4-2505FD15A037}" dt="2025-03-31T11:55:38.342" v="2" actId="20577"/>
      <pc:docMkLst>
        <pc:docMk/>
      </pc:docMkLst>
      <pc:sldChg chg="modSp">
        <pc:chgData name="Alexander Krebs" userId="S::atk@ontinue.io::b873267e-75fc-4991-9494-65746bd14e8c" providerId="AD" clId="Web-{14EA927A-7A21-7565-E2B4-2505FD15A037}" dt="2025-03-31T11:55:38.342" v="2" actId="20577"/>
        <pc:sldMkLst>
          <pc:docMk/>
          <pc:sldMk cId="899610351" sldId="2147481408"/>
        </pc:sldMkLst>
      </pc:sldChg>
      <pc:sldChg chg="modSp">
        <pc:chgData name="Alexander Krebs" userId="S::atk@ontinue.io::b873267e-75fc-4991-9494-65746bd14e8c" providerId="AD" clId="Web-{14EA927A-7A21-7565-E2B4-2505FD15A037}" dt="2025-03-31T11:55:24.404" v="1" actId="20577"/>
        <pc:sldMkLst>
          <pc:docMk/>
          <pc:sldMk cId="3989046545" sldId="2147481419"/>
        </pc:sldMkLst>
      </pc:sldChg>
    </pc:docChg>
  </pc:docChgLst>
  <pc:docChgLst>
    <pc:chgData name="Alexander Krebs" userId="S::atk@ontinue.io::b873267e-75fc-4991-9494-65746bd14e8c" providerId="AD" clId="Web-{E3B129B1-EBD8-D122-EE2A-F8546EFD25F7}"/>
    <pc:docChg chg="modSld">
      <pc:chgData name="Alexander Krebs" userId="S::atk@ontinue.io::b873267e-75fc-4991-9494-65746bd14e8c" providerId="AD" clId="Web-{E3B129B1-EBD8-D122-EE2A-F8546EFD25F7}" dt="2025-03-28T10:59:21.619" v="96"/>
      <pc:docMkLst>
        <pc:docMk/>
      </pc:docMkLst>
      <pc:sldChg chg="modSp">
        <pc:chgData name="Alexander Krebs" userId="S::atk@ontinue.io::b873267e-75fc-4991-9494-65746bd14e8c" providerId="AD" clId="Web-{E3B129B1-EBD8-D122-EE2A-F8546EFD25F7}" dt="2025-03-28T10:58:52.009" v="95" actId="1076"/>
        <pc:sldMkLst>
          <pc:docMk/>
          <pc:sldMk cId="2201301700" sldId="2147481455"/>
        </pc:sldMkLst>
      </pc:sldChg>
      <pc:sldChg chg="modSp">
        <pc:chgData name="Alexander Krebs" userId="S::atk@ontinue.io::b873267e-75fc-4991-9494-65746bd14e8c" providerId="AD" clId="Web-{E3B129B1-EBD8-D122-EE2A-F8546EFD25F7}" dt="2025-03-28T10:45:57.312" v="0" actId="20577"/>
        <pc:sldMkLst>
          <pc:docMk/>
          <pc:sldMk cId="3351734409" sldId="2147481460"/>
        </pc:sldMkLst>
        <pc:spChg chg="mod">
          <ac:chgData name="Alexander Krebs" userId="S::atk@ontinue.io::b873267e-75fc-4991-9494-65746bd14e8c" providerId="AD" clId="Web-{E3B129B1-EBD8-D122-EE2A-F8546EFD25F7}" dt="2025-03-28T10:45:57.312" v="0" actId="20577"/>
          <ac:spMkLst>
            <pc:docMk/>
            <pc:sldMk cId="3351734409" sldId="2147481460"/>
            <ac:spMk id="4" creationId="{13E232DC-8123-49D8-38AD-5174907BA420}"/>
          </ac:spMkLst>
        </pc:spChg>
      </pc:sldChg>
      <pc:sldChg chg="addSp delSp modSp">
        <pc:chgData name="Alexander Krebs" userId="S::atk@ontinue.io::b873267e-75fc-4991-9494-65746bd14e8c" providerId="AD" clId="Web-{E3B129B1-EBD8-D122-EE2A-F8546EFD25F7}" dt="2025-03-28T10:48:38.439" v="21" actId="20577"/>
        <pc:sldMkLst>
          <pc:docMk/>
          <pc:sldMk cId="2130331955" sldId="2147483459"/>
        </pc:sldMkLst>
      </pc:sldChg>
      <pc:sldChg chg="mod modShow">
        <pc:chgData name="Alexander Krebs" userId="S::atk@ontinue.io::b873267e-75fc-4991-9494-65746bd14e8c" providerId="AD" clId="Web-{E3B129B1-EBD8-D122-EE2A-F8546EFD25F7}" dt="2025-03-28T10:59:21.619" v="96"/>
        <pc:sldMkLst>
          <pc:docMk/>
          <pc:sldMk cId="2533733942" sldId="2147483466"/>
        </pc:sldMkLst>
      </pc:sldChg>
    </pc:docChg>
  </pc:docChgLst>
  <pc:docChgLst>
    <pc:chgData name="Roger Wattenhofer" userId="3179e8a2-528e-4734-a7fd-938a58a6855c" providerId="ADAL" clId="{F57401A5-9AEE-FE4C-9D09-05DCB200B594}"/>
    <pc:docChg chg="undo custSel addSld delSld modSld sldOrd delSection modSection">
      <pc:chgData name="Roger Wattenhofer" userId="3179e8a2-528e-4734-a7fd-938a58a6855c" providerId="ADAL" clId="{F57401A5-9AEE-FE4C-9D09-05DCB200B594}" dt="2025-05-05T15:01:35.770" v="2534" actId="20577"/>
      <pc:docMkLst>
        <pc:docMk/>
      </pc:docMkLst>
      <pc:sldChg chg="modSp mod">
        <pc:chgData name="Roger Wattenhofer" userId="3179e8a2-528e-4734-a7fd-938a58a6855c" providerId="ADAL" clId="{F57401A5-9AEE-FE4C-9D09-05DCB200B594}" dt="2025-04-15T07:38:45.143" v="45" actId="20577"/>
        <pc:sldMkLst>
          <pc:docMk/>
          <pc:sldMk cId="3453482818" sldId="2147479203"/>
        </pc:sldMkLst>
      </pc:sldChg>
      <pc:sldChg chg="modSp mod">
        <pc:chgData name="Roger Wattenhofer" userId="3179e8a2-528e-4734-a7fd-938a58a6855c" providerId="ADAL" clId="{F57401A5-9AEE-FE4C-9D09-05DCB200B594}" dt="2025-05-05T15:01:35.770" v="2534" actId="20577"/>
        <pc:sldMkLst>
          <pc:docMk/>
          <pc:sldMk cId="873464237" sldId="2147481329"/>
        </pc:sldMkLst>
      </pc:sldChg>
      <pc:sldChg chg="mod modShow">
        <pc:chgData name="Roger Wattenhofer" userId="3179e8a2-528e-4734-a7fd-938a58a6855c" providerId="ADAL" clId="{F57401A5-9AEE-FE4C-9D09-05DCB200B594}" dt="2025-04-29T12:06:25.022" v="595" actId="729"/>
        <pc:sldMkLst>
          <pc:docMk/>
          <pc:sldMk cId="2705929629" sldId="2147481375"/>
        </pc:sldMkLst>
      </pc:sldChg>
      <pc:sldChg chg="modSp mod">
        <pc:chgData name="Roger Wattenhofer" userId="3179e8a2-528e-4734-a7fd-938a58a6855c" providerId="ADAL" clId="{F57401A5-9AEE-FE4C-9D09-05DCB200B594}" dt="2025-04-15T07:37:29.798" v="14" actId="20577"/>
        <pc:sldMkLst>
          <pc:docMk/>
          <pc:sldMk cId="899610351" sldId="2147481408"/>
        </pc:sldMkLst>
      </pc:sldChg>
      <pc:sldChg chg="modSp mod modAnim">
        <pc:chgData name="Roger Wattenhofer" userId="3179e8a2-528e-4734-a7fd-938a58a6855c" providerId="ADAL" clId="{F57401A5-9AEE-FE4C-9D09-05DCB200B594}" dt="2025-05-01T10:06:46.565" v="1806"/>
        <pc:sldMkLst>
          <pc:docMk/>
          <pc:sldMk cId="1185626244" sldId="2147481411"/>
        </pc:sldMkLst>
      </pc:sldChg>
      <pc:sldChg chg="modSp mod">
        <pc:chgData name="Roger Wattenhofer" userId="3179e8a2-528e-4734-a7fd-938a58a6855c" providerId="ADAL" clId="{F57401A5-9AEE-FE4C-9D09-05DCB200B594}" dt="2025-04-15T07:37:48.139" v="20" actId="20577"/>
        <pc:sldMkLst>
          <pc:docMk/>
          <pc:sldMk cId="3989046545" sldId="2147481419"/>
        </pc:sldMkLst>
      </pc:sldChg>
      <pc:sldChg chg="del">
        <pc:chgData name="Roger Wattenhofer" userId="3179e8a2-528e-4734-a7fd-938a58a6855c" providerId="ADAL" clId="{F57401A5-9AEE-FE4C-9D09-05DCB200B594}" dt="2025-04-15T07:41:59.624" v="52" actId="2696"/>
        <pc:sldMkLst>
          <pc:docMk/>
          <pc:sldMk cId="3735792400" sldId="2147481424"/>
        </pc:sldMkLst>
      </pc:sldChg>
      <pc:sldChg chg="del">
        <pc:chgData name="Roger Wattenhofer" userId="3179e8a2-528e-4734-a7fd-938a58a6855c" providerId="ADAL" clId="{F57401A5-9AEE-FE4C-9D09-05DCB200B594}" dt="2025-04-15T07:41:59.602" v="51" actId="2696"/>
        <pc:sldMkLst>
          <pc:docMk/>
          <pc:sldMk cId="830703045" sldId="2147481438"/>
        </pc:sldMkLst>
      </pc:sldChg>
      <pc:sldChg chg="addSp delSp modSp mod modAnim">
        <pc:chgData name="Roger Wattenhofer" userId="3179e8a2-528e-4734-a7fd-938a58a6855c" providerId="ADAL" clId="{F57401A5-9AEE-FE4C-9D09-05DCB200B594}" dt="2025-05-01T10:04:11.123" v="1773"/>
        <pc:sldMkLst>
          <pc:docMk/>
          <pc:sldMk cId="2201301700" sldId="2147481455"/>
        </pc:sldMkLst>
      </pc:sldChg>
      <pc:sldChg chg="modSp mod">
        <pc:chgData name="Roger Wattenhofer" userId="3179e8a2-528e-4734-a7fd-938a58a6855c" providerId="ADAL" clId="{F57401A5-9AEE-FE4C-9D09-05DCB200B594}" dt="2025-04-15T07:41:27.519" v="50" actId="20577"/>
        <pc:sldMkLst>
          <pc:docMk/>
          <pc:sldMk cId="2955123538" sldId="2147481459"/>
        </pc:sldMkLst>
        <pc:spChg chg="mod">
          <ac:chgData name="Roger Wattenhofer" userId="3179e8a2-528e-4734-a7fd-938a58a6855c" providerId="ADAL" clId="{F57401A5-9AEE-FE4C-9D09-05DCB200B594}" dt="2025-04-15T07:41:27.519" v="50" actId="20577"/>
          <ac:spMkLst>
            <pc:docMk/>
            <pc:sldMk cId="2955123538" sldId="2147481459"/>
            <ac:spMk id="13" creationId="{782D259A-DF5A-3B9C-3F41-14E8C4ED747C}"/>
          </ac:spMkLst>
        </pc:spChg>
      </pc:sldChg>
      <pc:sldChg chg="modSp mod">
        <pc:chgData name="Roger Wattenhofer" userId="3179e8a2-528e-4734-a7fd-938a58a6855c" providerId="ADAL" clId="{F57401A5-9AEE-FE4C-9D09-05DCB200B594}" dt="2025-04-15T07:37:00.391" v="5" actId="20577"/>
        <pc:sldMkLst>
          <pc:docMk/>
          <pc:sldMk cId="3351734409" sldId="2147481460"/>
        </pc:sldMkLst>
        <pc:spChg chg="mod">
          <ac:chgData name="Roger Wattenhofer" userId="3179e8a2-528e-4734-a7fd-938a58a6855c" providerId="ADAL" clId="{F57401A5-9AEE-FE4C-9D09-05DCB200B594}" dt="2025-04-15T07:37:00.391" v="5" actId="20577"/>
          <ac:spMkLst>
            <pc:docMk/>
            <pc:sldMk cId="3351734409" sldId="2147481460"/>
            <ac:spMk id="4" creationId="{13E232DC-8123-49D8-38AD-5174907BA420}"/>
          </ac:spMkLst>
        </pc:spChg>
      </pc:sldChg>
      <pc:sldChg chg="add del mod modShow">
        <pc:chgData name="Roger Wattenhofer" userId="3179e8a2-528e-4734-a7fd-938a58a6855c" providerId="ADAL" clId="{F57401A5-9AEE-FE4C-9D09-05DCB200B594}" dt="2025-05-01T09:43:29.139" v="1170" actId="729"/>
        <pc:sldMkLst>
          <pc:docMk/>
          <pc:sldMk cId="1803867599" sldId="2147481467"/>
        </pc:sldMkLst>
      </pc:sldChg>
      <pc:sldChg chg="modSp mod">
        <pc:chgData name="Roger Wattenhofer" userId="3179e8a2-528e-4734-a7fd-938a58a6855c" providerId="ADAL" clId="{F57401A5-9AEE-FE4C-9D09-05DCB200B594}" dt="2025-04-15T07:38:38.151" v="40" actId="20577"/>
        <pc:sldMkLst>
          <pc:docMk/>
          <pc:sldMk cId="2557573078" sldId="2147482290"/>
        </pc:sldMkLst>
      </pc:sldChg>
      <pc:sldChg chg="modSp mod">
        <pc:chgData name="Roger Wattenhofer" userId="3179e8a2-528e-4734-a7fd-938a58a6855c" providerId="ADAL" clId="{F57401A5-9AEE-FE4C-9D09-05DCB200B594}" dt="2025-04-15T07:39:26.580" v="47" actId="20577"/>
        <pc:sldMkLst>
          <pc:docMk/>
          <pc:sldMk cId="1091641846" sldId="2147482743"/>
        </pc:sldMkLst>
      </pc:sldChg>
      <pc:sldChg chg="mod modShow">
        <pc:chgData name="Roger Wattenhofer" userId="3179e8a2-528e-4734-a7fd-938a58a6855c" providerId="ADAL" clId="{F57401A5-9AEE-FE4C-9D09-05DCB200B594}" dt="2025-04-29T12:04:55.159" v="594" actId="729"/>
        <pc:sldMkLst>
          <pc:docMk/>
          <pc:sldMk cId="25704374" sldId="2147483289"/>
        </pc:sldMkLst>
      </pc:sldChg>
      <pc:sldChg chg="ord">
        <pc:chgData name="Roger Wattenhofer" userId="3179e8a2-528e-4734-a7fd-938a58a6855c" providerId="ADAL" clId="{F57401A5-9AEE-FE4C-9D09-05DCB200B594}" dt="2025-05-01T10:08:26.430" v="1809" actId="20578"/>
        <pc:sldMkLst>
          <pc:docMk/>
          <pc:sldMk cId="537665373" sldId="2147483419"/>
        </pc:sldMkLst>
      </pc:sldChg>
      <pc:sldChg chg="del">
        <pc:chgData name="Roger Wattenhofer" userId="3179e8a2-528e-4734-a7fd-938a58a6855c" providerId="ADAL" clId="{F57401A5-9AEE-FE4C-9D09-05DCB200B594}" dt="2025-04-15T07:37:05.360" v="6" actId="2696"/>
        <pc:sldMkLst>
          <pc:docMk/>
          <pc:sldMk cId="2947112631" sldId="2147483455"/>
        </pc:sldMkLst>
      </pc:sldChg>
      <pc:sldChg chg="delSp modSp mod">
        <pc:chgData name="Roger Wattenhofer" userId="3179e8a2-528e-4734-a7fd-938a58a6855c" providerId="ADAL" clId="{F57401A5-9AEE-FE4C-9D09-05DCB200B594}" dt="2025-05-01T09:45:47.945" v="1178"/>
        <pc:sldMkLst>
          <pc:docMk/>
          <pc:sldMk cId="569843222" sldId="2147483463"/>
        </pc:sldMkLst>
      </pc:sldChg>
      <pc:sldChg chg="addSp delSp modSp add del mod">
        <pc:chgData name="Roger Wattenhofer" userId="3179e8a2-528e-4734-a7fd-938a58a6855c" providerId="ADAL" clId="{F57401A5-9AEE-FE4C-9D09-05DCB200B594}" dt="2025-05-05T15:00:06.386" v="2525"/>
        <pc:sldMkLst>
          <pc:docMk/>
          <pc:sldMk cId="387784430" sldId="2147483466"/>
        </pc:sldMkLst>
      </pc:sldChg>
      <pc:sldChg chg="del">
        <pc:chgData name="Roger Wattenhofer" userId="3179e8a2-528e-4734-a7fd-938a58a6855c" providerId="ADAL" clId="{F57401A5-9AEE-FE4C-9D09-05DCB200B594}" dt="2025-04-15T07:41:12.782" v="48" actId="2696"/>
        <pc:sldMkLst>
          <pc:docMk/>
          <pc:sldMk cId="2533733942" sldId="2147483466"/>
        </pc:sldMkLst>
      </pc:sldChg>
      <pc:sldChg chg="add">
        <pc:chgData name="Roger Wattenhofer" userId="3179e8a2-528e-4734-a7fd-938a58a6855c" providerId="ADAL" clId="{F57401A5-9AEE-FE4C-9D09-05DCB200B594}" dt="2025-04-15T07:42:19.046" v="53"/>
        <pc:sldMkLst>
          <pc:docMk/>
          <pc:sldMk cId="315404588" sldId="2147483500"/>
        </pc:sldMkLst>
      </pc:sldChg>
      <pc:sldChg chg="add">
        <pc:chgData name="Roger Wattenhofer" userId="3179e8a2-528e-4734-a7fd-938a58a6855c" providerId="ADAL" clId="{F57401A5-9AEE-FE4C-9D09-05DCB200B594}" dt="2025-04-15T07:42:19.046" v="53"/>
        <pc:sldMkLst>
          <pc:docMk/>
          <pc:sldMk cId="3803034671" sldId="2147483501"/>
        </pc:sldMkLst>
      </pc:sldChg>
      <pc:sldChg chg="addSp modSp add mod">
        <pc:chgData name="Roger Wattenhofer" userId="3179e8a2-528e-4734-a7fd-938a58a6855c" providerId="ADAL" clId="{F57401A5-9AEE-FE4C-9D09-05DCB200B594}" dt="2025-05-01T09:47:13.390" v="1199" actId="20577"/>
        <pc:sldMkLst>
          <pc:docMk/>
          <pc:sldMk cId="2903775660" sldId="2147483502"/>
        </pc:sldMkLst>
        <pc:spChg chg="mod">
          <ac:chgData name="Roger Wattenhofer" userId="3179e8a2-528e-4734-a7fd-938a58a6855c" providerId="ADAL" clId="{F57401A5-9AEE-FE4C-9D09-05DCB200B594}" dt="2025-05-01T09:30:04.776" v="603" actId="20577"/>
          <ac:spMkLst>
            <pc:docMk/>
            <pc:sldMk cId="2903775660" sldId="2147483502"/>
            <ac:spMk id="3" creationId="{D91559EE-B0DA-66B3-16D4-DACAEE331D0A}"/>
          </ac:spMkLst>
        </pc:spChg>
        <pc:spChg chg="add mod">
          <ac:chgData name="Roger Wattenhofer" userId="3179e8a2-528e-4734-a7fd-938a58a6855c" providerId="ADAL" clId="{F57401A5-9AEE-FE4C-9D09-05DCB200B594}" dt="2025-05-01T09:47:13.390" v="1199" actId="20577"/>
          <ac:spMkLst>
            <pc:docMk/>
            <pc:sldMk cId="2903775660" sldId="2147483502"/>
            <ac:spMk id="4" creationId="{DC5BA9D8-CE6A-0B84-B127-FF92C5805CF2}"/>
          </ac:spMkLst>
        </pc:spChg>
      </pc:sldChg>
      <pc:sldChg chg="addSp delSp modSp add mod delAnim">
        <pc:chgData name="Roger Wattenhofer" userId="3179e8a2-528e-4734-a7fd-938a58a6855c" providerId="ADAL" clId="{F57401A5-9AEE-FE4C-9D09-05DCB200B594}" dt="2025-05-02T07:59:09.006" v="2487" actId="20577"/>
        <pc:sldMkLst>
          <pc:docMk/>
          <pc:sldMk cId="2237086420" sldId="2147483503"/>
        </pc:sldMkLst>
      </pc:sldChg>
      <pc:sldChg chg="delSp add del mod delAnim">
        <pc:chgData name="Roger Wattenhofer" userId="3179e8a2-528e-4734-a7fd-938a58a6855c" providerId="ADAL" clId="{F57401A5-9AEE-FE4C-9D09-05DCB200B594}" dt="2025-05-01T09:35:50.298" v="808" actId="2696"/>
        <pc:sldMkLst>
          <pc:docMk/>
          <pc:sldMk cId="2613811572" sldId="2147483503"/>
        </pc:sldMkLst>
      </pc:sldChg>
      <pc:sldChg chg="add del">
        <pc:chgData name="Roger Wattenhofer" userId="3179e8a2-528e-4734-a7fd-938a58a6855c" providerId="ADAL" clId="{F57401A5-9AEE-FE4C-9D09-05DCB200B594}" dt="2025-05-01T09:35:33.576" v="805"/>
        <pc:sldMkLst>
          <pc:docMk/>
          <pc:sldMk cId="2701562773" sldId="2147483503"/>
        </pc:sldMkLst>
      </pc:sldChg>
      <pc:sldChg chg="add del">
        <pc:chgData name="Roger Wattenhofer" userId="3179e8a2-528e-4734-a7fd-938a58a6855c" providerId="ADAL" clId="{F57401A5-9AEE-FE4C-9D09-05DCB200B594}" dt="2025-05-01T09:36:02.507" v="810"/>
        <pc:sldMkLst>
          <pc:docMk/>
          <pc:sldMk cId="3939938595" sldId="2147483503"/>
        </pc:sldMkLst>
      </pc:sldChg>
      <pc:sldChg chg="modSp add del mod">
        <pc:chgData name="Roger Wattenhofer" userId="3179e8a2-528e-4734-a7fd-938a58a6855c" providerId="ADAL" clId="{F57401A5-9AEE-FE4C-9D09-05DCB200B594}" dt="2025-05-02T07:59:48.527" v="2503" actId="2696"/>
        <pc:sldMkLst>
          <pc:docMk/>
          <pc:sldMk cId="4133199912" sldId="2147483504"/>
        </pc:sldMkLst>
      </pc:sldChg>
      <pc:sldChg chg="addSp delSp modSp add mod modAnim">
        <pc:chgData name="Roger Wattenhofer" userId="3179e8a2-528e-4734-a7fd-938a58a6855c" providerId="ADAL" clId="{F57401A5-9AEE-FE4C-9D09-05DCB200B594}" dt="2025-05-01T10:15:58.555" v="1906" actId="20577"/>
        <pc:sldMkLst>
          <pc:docMk/>
          <pc:sldMk cId="558499590" sldId="2147483505"/>
        </pc:sldMkLst>
      </pc:sldChg>
      <pc:sldChg chg="addSp modSp add mod modAnim">
        <pc:chgData name="Roger Wattenhofer" userId="3179e8a2-528e-4734-a7fd-938a58a6855c" providerId="ADAL" clId="{F57401A5-9AEE-FE4C-9D09-05DCB200B594}" dt="2025-05-02T07:23:51.574" v="2025"/>
        <pc:sldMkLst>
          <pc:docMk/>
          <pc:sldMk cId="67073251" sldId="2147483506"/>
        </pc:sldMkLst>
        <pc:spChg chg="mod">
          <ac:chgData name="Roger Wattenhofer" userId="3179e8a2-528e-4734-a7fd-938a58a6855c" providerId="ADAL" clId="{F57401A5-9AEE-FE4C-9D09-05DCB200B594}" dt="2025-05-02T07:23:40.092" v="2024" actId="1036"/>
          <ac:spMkLst>
            <pc:docMk/>
            <pc:sldMk cId="67073251" sldId="2147483506"/>
            <ac:spMk id="4" creationId="{1139577E-7A78-5E62-6291-D37C66D898FA}"/>
          </ac:spMkLst>
        </pc:spChg>
      </pc:sldChg>
      <pc:sldChg chg="addSp delSp modSp add mod delAnim modShow">
        <pc:chgData name="Roger Wattenhofer" userId="3179e8a2-528e-4734-a7fd-938a58a6855c" providerId="ADAL" clId="{F57401A5-9AEE-FE4C-9D09-05DCB200B594}" dt="2025-05-05T07:55:47.543" v="2504" actId="729"/>
        <pc:sldMkLst>
          <pc:docMk/>
          <pc:sldMk cId="624043705" sldId="2147483508"/>
        </pc:sldMkLst>
      </pc:sldChg>
      <pc:sldChg chg="addSp delSp modSp add mod ord delAnim">
        <pc:chgData name="Roger Wattenhofer" userId="3179e8a2-528e-4734-a7fd-938a58a6855c" providerId="ADAL" clId="{F57401A5-9AEE-FE4C-9D09-05DCB200B594}" dt="2025-05-02T07:46:03.064" v="2357" actId="1035"/>
        <pc:sldMkLst>
          <pc:docMk/>
          <pc:sldMk cId="3805382475" sldId="2147483509"/>
        </pc:sldMkLst>
      </pc:sldChg>
      <pc:sldChg chg="modSp add mod">
        <pc:chgData name="Roger Wattenhofer" userId="3179e8a2-528e-4734-a7fd-938a58a6855c" providerId="ADAL" clId="{F57401A5-9AEE-FE4C-9D09-05DCB200B594}" dt="2025-05-02T07:59:44.692" v="2502" actId="20577"/>
        <pc:sldMkLst>
          <pc:docMk/>
          <pc:sldMk cId="398141924" sldId="2147483510"/>
        </pc:sldMkLst>
      </pc:sldChg>
      <pc:sldChg chg="del">
        <pc:chgData name="Roger Wattenhofer" userId="3179e8a2-528e-4734-a7fd-938a58a6855c" providerId="ADAL" clId="{F57401A5-9AEE-FE4C-9D09-05DCB200B594}" dt="2025-05-02T07:59:26.947" v="2488" actId="2696"/>
        <pc:sldMkLst>
          <pc:docMk/>
          <pc:sldMk cId="808285883" sldId="2147483510"/>
        </pc:sldMkLst>
      </pc:sldChg>
    </pc:docChg>
  </pc:docChgLst>
  <pc:docChgLst>
    <pc:chgData name="Daniel Scheidl" userId="S::dsc@ontinue.io::c546f9d5-e464-4fd0-b62c-308843782c4d" providerId="AD" clId="Web-{B2BA1F7C-9D44-D3DE-94D2-BBF88DAC157C}"/>
    <pc:docChg chg="modSld">
      <pc:chgData name="Daniel Scheidl" userId="S::dsc@ontinue.io::c546f9d5-e464-4fd0-b62c-308843782c4d" providerId="AD" clId="Web-{B2BA1F7C-9D44-D3DE-94D2-BBF88DAC157C}" dt="2025-02-24T13:22:05.866" v="87" actId="20577"/>
      <pc:docMkLst>
        <pc:docMk/>
      </pc:docMkLst>
      <pc:sldChg chg="delSp modSp">
        <pc:chgData name="Daniel Scheidl" userId="S::dsc@ontinue.io::c546f9d5-e464-4fd0-b62c-308843782c4d" providerId="AD" clId="Web-{B2BA1F7C-9D44-D3DE-94D2-BBF88DAC157C}" dt="2025-02-24T13:22:05.866" v="87" actId="20577"/>
        <pc:sldMkLst>
          <pc:docMk/>
          <pc:sldMk cId="2201301700" sldId="2147481455"/>
        </pc:sldMkLst>
      </pc:sldChg>
    </pc:docChg>
  </pc:docChgLst>
  <pc:docChgLst>
    <pc:chgData name="Roman Innerbichler" userId="S::rin@ontinue.io::6aabfab5-15a7-460c-9a89-25ee5d7a776b" providerId="AD" clId="Web-{CECE4B8F-17DB-76C1-F6E9-65AFFC0DA3E2}"/>
    <pc:docChg chg="addSld modSld modSection">
      <pc:chgData name="Roman Innerbichler" userId="S::rin@ontinue.io::6aabfab5-15a7-460c-9a89-25ee5d7a776b" providerId="AD" clId="Web-{CECE4B8F-17DB-76C1-F6E9-65AFFC0DA3E2}" dt="2025-02-24T13:43:53.224" v="53" actId="20577"/>
      <pc:docMkLst>
        <pc:docMk/>
      </pc:docMkLst>
      <pc:sldChg chg="modSp">
        <pc:chgData name="Roman Innerbichler" userId="S::rin@ontinue.io::6aabfab5-15a7-460c-9a89-25ee5d7a776b" providerId="AD" clId="Web-{CECE4B8F-17DB-76C1-F6E9-65AFFC0DA3E2}" dt="2025-02-24T13:43:53.224" v="53" actId="20577"/>
        <pc:sldMkLst>
          <pc:docMk/>
          <pc:sldMk cId="2201301700" sldId="2147481455"/>
        </pc:sldMkLst>
      </pc:sldChg>
      <pc:sldChg chg="modSp">
        <pc:chgData name="Roman Innerbichler" userId="S::rin@ontinue.io::6aabfab5-15a7-460c-9a89-25ee5d7a776b" providerId="AD" clId="Web-{CECE4B8F-17DB-76C1-F6E9-65AFFC0DA3E2}" dt="2025-02-24T13:39:20.140" v="39" actId="14100"/>
        <pc:sldMkLst>
          <pc:docMk/>
          <pc:sldMk cId="2947112631" sldId="2147483455"/>
        </pc:sldMkLst>
      </pc:sldChg>
      <pc:sldChg chg="addSp modSp new">
        <pc:chgData name="Roman Innerbichler" userId="S::rin@ontinue.io::6aabfab5-15a7-460c-9a89-25ee5d7a776b" providerId="AD" clId="Web-{CECE4B8F-17DB-76C1-F6E9-65AFFC0DA3E2}" dt="2025-02-24T11:37:14.483" v="36" actId="1076"/>
        <pc:sldMkLst>
          <pc:docMk/>
          <pc:sldMk cId="1143460586" sldId="2147483464"/>
        </pc:sldMkLst>
      </pc:sldChg>
      <pc:sldChg chg="addSp delSp modSp new mod modShow">
        <pc:chgData name="Roman Innerbichler" userId="S::rin@ontinue.io::6aabfab5-15a7-460c-9a89-25ee5d7a776b" providerId="AD" clId="Web-{CECE4B8F-17DB-76C1-F6E9-65AFFC0DA3E2}" dt="2025-02-24T13:42:43.082" v="47"/>
        <pc:sldMkLst>
          <pc:docMk/>
          <pc:sldMk cId="1503017334" sldId="2147483465"/>
        </pc:sldMkLst>
      </pc:sldChg>
    </pc:docChg>
  </pc:docChgLst>
  <pc:docChgLst>
    <pc:chgData name="Alexander Krebs" userId="b873267e-75fc-4991-9494-65746bd14e8c" providerId="ADAL" clId="{5A7CF788-D2CF-7B4F-843D-8A464A239EFD}"/>
    <pc:docChg chg="modSld">
      <pc:chgData name="Alexander Krebs" userId="b873267e-75fc-4991-9494-65746bd14e8c" providerId="ADAL" clId="{5A7CF788-D2CF-7B4F-843D-8A464A239EFD}" dt="2025-03-11T14:35:35.796" v="0" actId="20577"/>
      <pc:docMkLst>
        <pc:docMk/>
      </pc:docMkLst>
      <pc:sldChg chg="modSp mod">
        <pc:chgData name="Alexander Krebs" userId="b873267e-75fc-4991-9494-65746bd14e8c" providerId="ADAL" clId="{5A7CF788-D2CF-7B4F-843D-8A464A239EFD}" dt="2025-03-11T14:35:35.796" v="0" actId="20577"/>
        <pc:sldMkLst>
          <pc:docMk/>
          <pc:sldMk cId="2947112631" sldId="214748345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b="0" i="0">
                <a:latin typeface="DM Sans" pitchFamily="2" charset="77"/>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b="0" i="0">
                <a:latin typeface="DM Sans" pitchFamily="2" charset="77"/>
              </a:defRPr>
            </a:lvl1pPr>
          </a:lstStyle>
          <a:p>
            <a:fld id="{6E3CCC0B-A403-A14A-9FFD-C0CFD0F263DD}" type="datetimeFigureOut">
              <a:rPr lang="en-US" smtClean="0"/>
              <a:pPr/>
              <a:t>5/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b="0" i="0">
                <a:latin typeface="DM Sans" pitchFamily="2" charset="77"/>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b="0" i="0">
                <a:latin typeface="DM Sans" pitchFamily="2" charset="77"/>
              </a:defRPr>
            </a:lvl1pPr>
          </a:lstStyle>
          <a:p>
            <a:fld id="{0F7015D1-5F53-DE45-ABD7-4A40BB44AD40}" type="slidenum">
              <a:rPr lang="en-US" smtClean="0"/>
              <a:pPr/>
              <a:t>‹#›</a:t>
            </a:fld>
            <a:endParaRPr lang="en-US"/>
          </a:p>
        </p:txBody>
      </p:sp>
    </p:spTree>
    <p:extLst>
      <p:ext uri="{BB962C8B-B14F-4D97-AF65-F5344CB8AC3E}">
        <p14:creationId xmlns:p14="http://schemas.microsoft.com/office/powerpoint/2010/main" val="2026378941"/>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DM Sans" pitchFamily="2" charset="77"/>
        <a:ea typeface="+mn-ea"/>
        <a:cs typeface="+mn-cs"/>
      </a:defRPr>
    </a:lvl1pPr>
    <a:lvl2pPr marL="457200" algn="l" defTabSz="914400" rtl="0" eaLnBrk="1" latinLnBrk="0" hangingPunct="1">
      <a:defRPr sz="1200" b="0" i="0" kern="1200">
        <a:solidFill>
          <a:schemeClr val="tx1"/>
        </a:solidFill>
        <a:latin typeface="DM Sans" pitchFamily="2" charset="77"/>
        <a:ea typeface="+mn-ea"/>
        <a:cs typeface="+mn-cs"/>
      </a:defRPr>
    </a:lvl2pPr>
    <a:lvl3pPr marL="914400" algn="l" defTabSz="914400" rtl="0" eaLnBrk="1" latinLnBrk="0" hangingPunct="1">
      <a:defRPr sz="1200" b="0" i="0" kern="1200">
        <a:solidFill>
          <a:schemeClr val="tx1"/>
        </a:solidFill>
        <a:latin typeface="DM Sans" pitchFamily="2" charset="77"/>
        <a:ea typeface="+mn-ea"/>
        <a:cs typeface="+mn-cs"/>
      </a:defRPr>
    </a:lvl3pPr>
    <a:lvl4pPr marL="1371600" algn="l" defTabSz="914400" rtl="0" eaLnBrk="1" latinLnBrk="0" hangingPunct="1">
      <a:defRPr sz="1200" b="0" i="0" kern="1200">
        <a:solidFill>
          <a:schemeClr val="tx1"/>
        </a:solidFill>
        <a:latin typeface="DM Sans" pitchFamily="2" charset="77"/>
        <a:ea typeface="+mn-ea"/>
        <a:cs typeface="+mn-cs"/>
      </a:defRPr>
    </a:lvl4pPr>
    <a:lvl5pPr marL="1828800" algn="l" defTabSz="914400" rtl="0" eaLnBrk="1" latinLnBrk="0" hangingPunct="1">
      <a:defRPr sz="1200" b="0" i="0" kern="1200">
        <a:solidFill>
          <a:schemeClr val="tx1"/>
        </a:solidFill>
        <a:latin typeface="DM Sans"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CDE1C7-1195-0091-EF82-4F831EE99D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7BA363-F463-B4B1-D9AC-3C88B161FE7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DEFE3F4-5262-1E9F-03D1-C7486570739B}"/>
              </a:ext>
            </a:extLst>
          </p:cNvPr>
          <p:cNvSpPr>
            <a:spLocks noGrp="1"/>
          </p:cNvSpPr>
          <p:nvPr>
            <p:ph type="body" idx="1"/>
          </p:nvPr>
        </p:nvSpPr>
        <p:spPr/>
        <p:txBody>
          <a:bodyPr/>
          <a:lstStyle/>
          <a:p>
            <a:r>
              <a:rPr lang="en-GB" b="0" i="0" dirty="0">
                <a:solidFill>
                  <a:srgbClr val="736985"/>
                </a:solidFill>
                <a:effectLst/>
                <a:latin typeface="DM Sans" pitchFamily="2" charset="0"/>
              </a:rPr>
              <a:t>Cyber threats aren’t lurking in the shadows, waiting for the perfect moment to strike – they’re already scanning, probing, and hitting anything they can find </a:t>
            </a:r>
            <a:r>
              <a:rPr lang="en-GB" b="0" i="1" dirty="0">
                <a:solidFill>
                  <a:srgbClr val="736985"/>
                </a:solidFill>
                <a:effectLst/>
                <a:latin typeface="DM Sans" pitchFamily="2" charset="0"/>
              </a:rPr>
              <a:t>right now</a:t>
            </a:r>
            <a:r>
              <a:rPr lang="en-GB" b="0" i="0" dirty="0">
                <a:solidFill>
                  <a:srgbClr val="736985"/>
                </a:solidFill>
                <a:effectLst/>
                <a:latin typeface="DM Sans" pitchFamily="2" charset="0"/>
              </a:rPr>
              <a:t>. If a system is exposed and unpatched, attackers will find it within hours.</a:t>
            </a:r>
          </a:p>
          <a:p>
            <a:r>
              <a:rPr lang="en-GB" b="0" i="0" dirty="0">
                <a:solidFill>
                  <a:srgbClr val="736985"/>
                </a:solidFill>
                <a:effectLst/>
                <a:latin typeface="DM Sans" pitchFamily="2" charset="0"/>
                <a:cs typeface="Calibri"/>
              </a:rPr>
              <a:t>At </a:t>
            </a:r>
            <a:r>
              <a:rPr lang="en-GB" b="0" i="0" dirty="0" err="1">
                <a:solidFill>
                  <a:srgbClr val="736985"/>
                </a:solidFill>
                <a:effectLst/>
                <a:latin typeface="DM Sans" pitchFamily="2" charset="0"/>
                <a:cs typeface="Calibri"/>
              </a:rPr>
              <a:t>Ontinue</a:t>
            </a:r>
            <a:r>
              <a:rPr lang="en-GB" b="0" i="0" dirty="0">
                <a:solidFill>
                  <a:srgbClr val="736985"/>
                </a:solidFill>
                <a:effectLst/>
                <a:latin typeface="DM Sans" pitchFamily="2" charset="0"/>
                <a:cs typeface="Calibri"/>
              </a:rPr>
              <a:t>, we have a dedicated team, part of the Advanced Threat Operations, to understand what’s happening in the world. How do attackers evolve their tactics and what threat do organizations </a:t>
            </a:r>
            <a:r>
              <a:rPr lang="en-GB" b="0" i="0" dirty="0" err="1">
                <a:solidFill>
                  <a:srgbClr val="736985"/>
                </a:solidFill>
                <a:effectLst/>
                <a:latin typeface="DM Sans" pitchFamily="2" charset="0"/>
                <a:cs typeface="Calibri"/>
              </a:rPr>
              <a:t>fase</a:t>
            </a:r>
            <a:r>
              <a:rPr lang="en-GB" b="0" i="0" dirty="0">
                <a:solidFill>
                  <a:srgbClr val="736985"/>
                </a:solidFill>
                <a:effectLst/>
                <a:latin typeface="DM Sans" pitchFamily="2" charset="0"/>
                <a:cs typeface="Calibri"/>
              </a:rPr>
              <a:t>. In the next 15 minutes, let’s have a brief look at the key findings from last months.</a:t>
            </a:r>
          </a:p>
          <a:p>
            <a:r>
              <a:rPr lang="en-US" b="0" i="0" dirty="0">
                <a:solidFill>
                  <a:srgbClr val="736985"/>
                </a:solidFill>
                <a:effectLst/>
                <a:latin typeface="DM Sans" pitchFamily="2" charset="0"/>
                <a:cs typeface="Calibri"/>
              </a:rPr>
              <a:t>---</a:t>
            </a:r>
          </a:p>
          <a:p>
            <a:r>
              <a:rPr lang="en-US" b="0" i="0" dirty="0" err="1">
                <a:solidFill>
                  <a:srgbClr val="736985"/>
                </a:solidFill>
                <a:effectLst/>
                <a:latin typeface="DM Sans" pitchFamily="2" charset="0"/>
                <a:cs typeface="Calibri"/>
              </a:rPr>
              <a:t>Im</a:t>
            </a:r>
            <a:r>
              <a:rPr lang="en-US" b="0" i="0" dirty="0">
                <a:solidFill>
                  <a:srgbClr val="736985"/>
                </a:solidFill>
                <a:effectLst/>
                <a:latin typeface="DM Sans" pitchFamily="2" charset="0"/>
                <a:cs typeface="Calibri"/>
              </a:rPr>
              <a:t> Schatten</a:t>
            </a:r>
          </a:p>
          <a:p>
            <a:r>
              <a:rPr lang="en-US" b="0" i="0" dirty="0" err="1">
                <a:solidFill>
                  <a:srgbClr val="736985"/>
                </a:solidFill>
                <a:effectLst/>
                <a:latin typeface="DM Sans" pitchFamily="2" charset="0"/>
                <a:cs typeface="Calibri"/>
              </a:rPr>
              <a:t>Angrif</a:t>
            </a:r>
            <a:r>
              <a:rPr lang="en-US" b="0" i="0" dirty="0">
                <a:solidFill>
                  <a:srgbClr val="736985"/>
                </a:solidFill>
                <a:effectLst/>
                <a:latin typeface="DM Sans" pitchFamily="2" charset="0"/>
                <a:cs typeface="Calibri"/>
              </a:rPr>
              <a:t>/</a:t>
            </a:r>
            <a:r>
              <a:rPr lang="en-US" b="0" i="0" dirty="0" err="1">
                <a:solidFill>
                  <a:srgbClr val="736985"/>
                </a:solidFill>
                <a:effectLst/>
                <a:latin typeface="DM Sans" pitchFamily="2" charset="0"/>
                <a:cs typeface="Calibri"/>
              </a:rPr>
              <a:t>Angreifen</a:t>
            </a:r>
            <a:endParaRPr lang="en-US" b="0" i="0" dirty="0">
              <a:solidFill>
                <a:srgbClr val="736985"/>
              </a:solidFill>
              <a:effectLst/>
              <a:latin typeface="DM Sans" pitchFamily="2" charset="0"/>
              <a:cs typeface="Calibri"/>
            </a:endParaRPr>
          </a:p>
          <a:p>
            <a:r>
              <a:rPr lang="de-DE" b="0" i="0" dirty="0">
                <a:solidFill>
                  <a:srgbClr val="3C4043"/>
                </a:solidFill>
                <a:effectLst/>
                <a:latin typeface="Roboto" panose="02000000000000000000" pitchFamily="2" charset="0"/>
              </a:rPr>
              <a:t>es ist nur eine Frage der Zeit, bis sie es finden</a:t>
            </a:r>
          </a:p>
          <a:p>
            <a:r>
              <a:rPr lang="en-GB" b="0" i="0" dirty="0">
                <a:solidFill>
                  <a:srgbClr val="736985"/>
                </a:solidFill>
                <a:effectLst/>
                <a:latin typeface="DM Sans" pitchFamily="2" charset="0"/>
                <a:cs typeface="Calibri"/>
              </a:rPr>
              <a:t>Die </a:t>
            </a:r>
            <a:r>
              <a:rPr lang="en-GB" b="0" i="0" dirty="0" err="1">
                <a:solidFill>
                  <a:srgbClr val="736985"/>
                </a:solidFill>
                <a:effectLst/>
                <a:latin typeface="DM Sans" pitchFamily="2" charset="0"/>
                <a:cs typeface="Calibri"/>
              </a:rPr>
              <a:t>Bedrohung</a:t>
            </a:r>
            <a:endParaRPr lang="en-GB" b="0" i="0" dirty="0">
              <a:solidFill>
                <a:srgbClr val="736985"/>
              </a:solidFill>
              <a:effectLst/>
              <a:latin typeface="DM Sans" pitchFamily="2" charset="0"/>
              <a:cs typeface="Calibri"/>
            </a:endParaRPr>
          </a:p>
          <a:p>
            <a:r>
              <a:rPr lang="en-GB" b="0" i="0" dirty="0" err="1">
                <a:solidFill>
                  <a:srgbClr val="736985"/>
                </a:solidFill>
                <a:effectLst/>
                <a:latin typeface="DM Sans" pitchFamily="2" charset="0"/>
                <a:cs typeface="Calibri"/>
              </a:rPr>
              <a:t>Konfrontiert</a:t>
            </a:r>
            <a:endParaRPr lang="en-GB" b="0" i="0" dirty="0">
              <a:solidFill>
                <a:srgbClr val="736985"/>
              </a:solidFill>
              <a:effectLst/>
              <a:latin typeface="DM Sans" pitchFamily="2" charset="0"/>
              <a:cs typeface="Calibri"/>
            </a:endParaRPr>
          </a:p>
        </p:txBody>
      </p:sp>
      <p:sp>
        <p:nvSpPr>
          <p:cNvPr id="4" name="Slide Number Placeholder 3">
            <a:extLst>
              <a:ext uri="{FF2B5EF4-FFF2-40B4-BE49-F238E27FC236}">
                <a16:creationId xmlns:a16="http://schemas.microsoft.com/office/drawing/2014/main" id="{3153FF05-2C85-22A6-1A77-0A36AAA7A5BA}"/>
              </a:ext>
            </a:extLst>
          </p:cNvPr>
          <p:cNvSpPr>
            <a:spLocks noGrp="1"/>
          </p:cNvSpPr>
          <p:nvPr>
            <p:ph type="sldNum" sz="quarter" idx="5"/>
          </p:nvPr>
        </p:nvSpPr>
        <p:spPr/>
        <p:txBody>
          <a:bodyPr/>
          <a:lstStyle/>
          <a:p>
            <a:fld id="{0F7015D1-5F53-DE45-ABD7-4A40BB44AD40}" type="slidenum">
              <a:rPr lang="en-US" smtClean="0"/>
              <a:pPr/>
              <a:t>1</a:t>
            </a:fld>
            <a:endParaRPr lang="en-US"/>
          </a:p>
        </p:txBody>
      </p:sp>
    </p:spTree>
    <p:extLst>
      <p:ext uri="{BB962C8B-B14F-4D97-AF65-F5344CB8AC3E}">
        <p14:creationId xmlns:p14="http://schemas.microsoft.com/office/powerpoint/2010/main" val="28359307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E790B0-22D1-4E32-AD2B-95BA60313B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17C67F-077F-E270-AF54-49E142D1C8A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035FB5C-4032-E65A-3B37-45A0A2F6ECD6}"/>
              </a:ext>
            </a:extLst>
          </p:cNvPr>
          <p:cNvSpPr>
            <a:spLocks noGrp="1"/>
          </p:cNvSpPr>
          <p:nvPr>
            <p:ph type="body" idx="1"/>
          </p:nvPr>
        </p:nvSpPr>
        <p:spPr/>
        <p:txBody>
          <a:bodyPr/>
          <a:lstStyle/>
          <a:p>
            <a:r>
              <a:rPr lang="en-US" dirty="0">
                <a:cs typeface="Calibri"/>
              </a:rPr>
              <a:t>Attackers like using </a:t>
            </a:r>
            <a:r>
              <a:rPr lang="en-US" dirty="0" err="1">
                <a:cs typeface="Calibri"/>
              </a:rPr>
              <a:t>Mirosoft</a:t>
            </a:r>
            <a:r>
              <a:rPr lang="en-US" dirty="0">
                <a:cs typeface="Calibri"/>
              </a:rPr>
              <a:t> tools, built-in features, to slip past defenses.</a:t>
            </a:r>
          </a:p>
          <a:p>
            <a:endParaRPr lang="en-US" dirty="0">
              <a:cs typeface="Calibri"/>
            </a:endParaRPr>
          </a:p>
          <a:p>
            <a:r>
              <a:rPr lang="en-US" dirty="0">
                <a:cs typeface="Calibri"/>
              </a:rPr>
              <a:t>---</a:t>
            </a:r>
          </a:p>
          <a:p>
            <a:endParaRPr lang="en-US" dirty="0">
              <a:cs typeface="Calibri"/>
            </a:endParaRPr>
          </a:p>
          <a:p>
            <a:r>
              <a:rPr lang="de-DE" b="0" i="0" dirty="0">
                <a:solidFill>
                  <a:srgbClr val="3C4043"/>
                </a:solidFill>
                <a:effectLst/>
                <a:latin typeface="Roboto" panose="02000000000000000000" pitchFamily="2" charset="0"/>
              </a:rPr>
              <a:t>Angreifer nutzen gerne Microsoft-Tools und integrierte Funktionen, um Abwehrmaßnahmen zu umgehen.</a:t>
            </a:r>
            <a:endParaRPr lang="en-US" dirty="0">
              <a:cs typeface="Calibri"/>
            </a:endParaRPr>
          </a:p>
        </p:txBody>
      </p:sp>
      <p:sp>
        <p:nvSpPr>
          <p:cNvPr id="4" name="Slide Number Placeholder 3">
            <a:extLst>
              <a:ext uri="{FF2B5EF4-FFF2-40B4-BE49-F238E27FC236}">
                <a16:creationId xmlns:a16="http://schemas.microsoft.com/office/drawing/2014/main" id="{AB0B8DA6-579E-7493-9C30-8C88D5F2AA92}"/>
              </a:ext>
            </a:extLst>
          </p:cNvPr>
          <p:cNvSpPr>
            <a:spLocks noGrp="1"/>
          </p:cNvSpPr>
          <p:nvPr>
            <p:ph type="sldNum" sz="quarter" idx="5"/>
          </p:nvPr>
        </p:nvSpPr>
        <p:spPr/>
        <p:txBody>
          <a:bodyPr/>
          <a:lstStyle/>
          <a:p>
            <a:fld id="{0F7015D1-5F53-DE45-ABD7-4A40BB44AD40}" type="slidenum">
              <a:rPr lang="en-US" smtClean="0"/>
              <a:pPr/>
              <a:t>10</a:t>
            </a:fld>
            <a:endParaRPr lang="en-US"/>
          </a:p>
        </p:txBody>
      </p:sp>
    </p:spTree>
    <p:extLst>
      <p:ext uri="{BB962C8B-B14F-4D97-AF65-F5344CB8AC3E}">
        <p14:creationId xmlns:p14="http://schemas.microsoft.com/office/powerpoint/2010/main" val="1820239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EA09C-0A8D-BE87-E210-772B0C80F7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3037E8-EB3B-BF3E-A4F9-8F27DEDF18B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97BE29-B83B-396D-3AA0-C52693E50A91}"/>
              </a:ext>
            </a:extLst>
          </p:cNvPr>
          <p:cNvSpPr>
            <a:spLocks noGrp="1"/>
          </p:cNvSpPr>
          <p:nvPr>
            <p:ph type="body" idx="1"/>
          </p:nvPr>
        </p:nvSpPr>
        <p:spPr/>
        <p:txBody>
          <a:bodyPr/>
          <a:lstStyle/>
          <a:p>
            <a:r>
              <a:rPr lang="en-GB" dirty="0" err="1"/>
              <a:t>QuickAssist</a:t>
            </a:r>
            <a:r>
              <a:rPr lang="en-GB" dirty="0"/>
              <a:t>: pre-installed tool, designed to facilitate remote access for supporting end users.</a:t>
            </a:r>
          </a:p>
          <a:p>
            <a:r>
              <a:rPr lang="en-GB" dirty="0"/>
              <a:t>The attack vector: Spam Bomb attack and Fake Tech Support Scams.</a:t>
            </a:r>
          </a:p>
          <a:p>
            <a:r>
              <a:rPr lang="en-GB" dirty="0"/>
              <a:t>Once in, they can do a lot: create persistence, execute scripts or malware, data </a:t>
            </a:r>
            <a:r>
              <a:rPr lang="en-GB" dirty="0" err="1"/>
              <a:t>exfiltrations</a:t>
            </a:r>
            <a:r>
              <a:rPr lang="en-GB" dirty="0"/>
              <a:t>, system sabotage, etc.</a:t>
            </a:r>
          </a:p>
          <a:p>
            <a:endParaRPr lang="en-GB" dirty="0"/>
          </a:p>
          <a:p>
            <a:r>
              <a:rPr lang="en-GB" dirty="0"/>
              <a:t>Windows Hello: Windows Hello is Microsoft’s </a:t>
            </a:r>
            <a:r>
              <a:rPr lang="en-GB" dirty="0" err="1"/>
              <a:t>passwordless</a:t>
            </a:r>
            <a:r>
              <a:rPr lang="en-GB" dirty="0"/>
              <a:t> authentication technology designed to enhance security while improving user convenience. It supports biometric (facial recognition, fingerprint) or PIN-based authentication. Windows Hello is often considered phishing-resistant since authentication is bound to a specific device. However, attackers have identified ways to bypass these protections, compromising both persistence and Multi-Factor Authentication (MFA) security. (Enrolling a rogues device or trying to steal the private key used for authentication.</a:t>
            </a:r>
          </a:p>
          <a:p>
            <a:endParaRPr lang="en-GB" dirty="0"/>
          </a:p>
          <a:p>
            <a:r>
              <a:rPr lang="en-GB" dirty="0"/>
              <a:t>----</a:t>
            </a:r>
          </a:p>
          <a:p>
            <a:r>
              <a:rPr lang="de-DE" dirty="0"/>
              <a:t>vorinstalliertes Tool, das den Fernzugriff zur Unterstützung von Endbenutzern erleichtern soll.</a:t>
            </a:r>
          </a:p>
          <a:p>
            <a:r>
              <a:rPr lang="de-DE" b="0" i="0" dirty="0">
                <a:solidFill>
                  <a:srgbClr val="3C4043"/>
                </a:solidFill>
                <a:effectLst/>
                <a:latin typeface="Roboto" panose="02000000000000000000" pitchFamily="2" charset="0"/>
              </a:rPr>
              <a:t>Sie geben sich als authentischer technischer Support aus</a:t>
            </a:r>
          </a:p>
          <a:p>
            <a:endParaRPr lang="de-DE" b="0" i="0" dirty="0">
              <a:solidFill>
                <a:srgbClr val="3C4043"/>
              </a:solidFill>
              <a:effectLst/>
              <a:latin typeface="Roboto" panose="02000000000000000000" pitchFamily="2" charset="0"/>
            </a:endParaRPr>
          </a:p>
          <a:p>
            <a:r>
              <a:rPr lang="de-DE" dirty="0"/>
              <a:t>Windows Hello ist die passwortlose Authentifizierungstechnologie von Microsoft, die die Sicherheit erhöht und gleichzeitig den Benutzerkomfort verbessert. Sie unterstützt biometrische (Gesichtserkennung, Fingerabdruck) oder PIN-basierte Authentifizierung. Windows Hello gilt oft als Phishing-resistent, da die Authentifizierung an ein bestimmtes Gerät gebunden ist. Angreifer haben jedoch Möglichkeiten gefunden, diese Schutzmaßnahmen zu umgehen und so sowohl die Persistenz als auch die Sicherheit der Multi-Faktor-Authentifizierung (MFA) zu gefährden. (Registrierung eines nicht autorisierten Geräts oder der Versuch, den für die Authentifizierung verwendeten privaten Schlüssel zu stehlen.)</a:t>
            </a:r>
            <a:endParaRPr lang="en-CH" dirty="0"/>
          </a:p>
        </p:txBody>
      </p:sp>
      <p:sp>
        <p:nvSpPr>
          <p:cNvPr id="4" name="Slide Number Placeholder 3">
            <a:extLst>
              <a:ext uri="{FF2B5EF4-FFF2-40B4-BE49-F238E27FC236}">
                <a16:creationId xmlns:a16="http://schemas.microsoft.com/office/drawing/2014/main" id="{76C04A67-B0BB-46CE-EBB0-6DB6A4EC68C3}"/>
              </a:ext>
            </a:extLst>
          </p:cNvPr>
          <p:cNvSpPr>
            <a:spLocks noGrp="1"/>
          </p:cNvSpPr>
          <p:nvPr>
            <p:ph type="sldNum" sz="quarter" idx="5"/>
          </p:nvPr>
        </p:nvSpPr>
        <p:spPr/>
        <p:txBody>
          <a:bodyPr/>
          <a:lstStyle/>
          <a:p>
            <a:fld id="{0F7015D1-5F53-DE45-ABD7-4A40BB44AD40}" type="slidenum">
              <a:rPr lang="en-US" smtClean="0"/>
              <a:pPr/>
              <a:t>11</a:t>
            </a:fld>
            <a:endParaRPr lang="en-US"/>
          </a:p>
        </p:txBody>
      </p:sp>
    </p:spTree>
    <p:extLst>
      <p:ext uri="{BB962C8B-B14F-4D97-AF65-F5344CB8AC3E}">
        <p14:creationId xmlns:p14="http://schemas.microsoft.com/office/powerpoint/2010/main" val="1900902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98CAD7-7EE3-2B62-59DB-FAA0CF96546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E526B5-19C9-5FA1-9CCE-52F52715B3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25936E-6797-3BC7-3739-0E9CAECE67C9}"/>
              </a:ext>
            </a:extLst>
          </p:cNvPr>
          <p:cNvSpPr>
            <a:spLocks noGrp="1"/>
          </p:cNvSpPr>
          <p:nvPr>
            <p:ph type="body" idx="1"/>
          </p:nvPr>
        </p:nvSpPr>
        <p:spPr/>
        <p:txBody>
          <a:bodyPr/>
          <a:lstStyle/>
          <a:p>
            <a:r>
              <a:rPr lang="en-US" dirty="0">
                <a:cs typeface="Calibri"/>
              </a:rPr>
              <a:t>Still a common entry point for attackers, but </a:t>
            </a:r>
            <a:r>
              <a:rPr lang="en-US" dirty="0" err="1">
                <a:cs typeface="Calibri"/>
              </a:rPr>
              <a:t>Ontinue</a:t>
            </a:r>
            <a:r>
              <a:rPr lang="en-US" dirty="0">
                <a:cs typeface="Calibri"/>
              </a:rPr>
              <a:t> has noted trends in phishing schemes to lure victims to “man in the middle” sites to steal credentials or tokens.</a:t>
            </a:r>
          </a:p>
        </p:txBody>
      </p:sp>
      <p:sp>
        <p:nvSpPr>
          <p:cNvPr id="4" name="Slide Number Placeholder 3">
            <a:extLst>
              <a:ext uri="{FF2B5EF4-FFF2-40B4-BE49-F238E27FC236}">
                <a16:creationId xmlns:a16="http://schemas.microsoft.com/office/drawing/2014/main" id="{ABC1AEE7-F8BD-D440-6B24-1F9E50F0F514}"/>
              </a:ext>
            </a:extLst>
          </p:cNvPr>
          <p:cNvSpPr>
            <a:spLocks noGrp="1"/>
          </p:cNvSpPr>
          <p:nvPr>
            <p:ph type="sldNum" sz="quarter" idx="5"/>
          </p:nvPr>
        </p:nvSpPr>
        <p:spPr/>
        <p:txBody>
          <a:bodyPr/>
          <a:lstStyle/>
          <a:p>
            <a:fld id="{0F7015D1-5F53-DE45-ABD7-4A40BB44AD40}" type="slidenum">
              <a:rPr lang="en-US" smtClean="0"/>
              <a:pPr/>
              <a:t>12</a:t>
            </a:fld>
            <a:endParaRPr lang="en-US"/>
          </a:p>
        </p:txBody>
      </p:sp>
    </p:spTree>
    <p:extLst>
      <p:ext uri="{BB962C8B-B14F-4D97-AF65-F5344CB8AC3E}">
        <p14:creationId xmlns:p14="http://schemas.microsoft.com/office/powerpoint/2010/main" val="1717755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63DD4B-4DC8-EF96-ABD3-E457C44D56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E28676-6958-256A-D71D-76794E9F0B1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E3B1620-363F-5A19-98AC-69AB896BEBB8}"/>
              </a:ext>
            </a:extLst>
          </p:cNvPr>
          <p:cNvSpPr>
            <a:spLocks noGrp="1"/>
          </p:cNvSpPr>
          <p:nvPr>
            <p:ph type="body" idx="1"/>
          </p:nvPr>
        </p:nvSpPr>
        <p:spPr/>
        <p:txBody>
          <a:bodyPr/>
          <a:lstStyle/>
          <a:p>
            <a:r>
              <a:rPr lang="en-GB" b="1" dirty="0"/>
              <a:t>Using legit sites for the first landing page</a:t>
            </a:r>
          </a:p>
          <a:p>
            <a:r>
              <a:rPr lang="en-GB" dirty="0"/>
              <a:t>The URLs contained in phishing emails often lead to legitimate websites which redirect users to a more obscure and malicious domain. This tactic helps evade email security mechanisms which scan URLs and are more familiar to users increasing the likelihood they will interact with it. Such sites include compromised SharePoint domains, Microsoft Forms, WeTransfer and Google Drive.</a:t>
            </a:r>
          </a:p>
          <a:p>
            <a:endParaRPr lang="en-GB" dirty="0"/>
          </a:p>
          <a:p>
            <a:r>
              <a:rPr lang="en-GB" b="1" dirty="0"/>
              <a:t>Using ‘</a:t>
            </a:r>
            <a:r>
              <a:rPr lang="en-GB" b="1" dirty="0" err="1"/>
              <a:t>noreply</a:t>
            </a:r>
            <a:r>
              <a:rPr lang="en-GB" b="1" dirty="0"/>
              <a:t>’ sender addresses</a:t>
            </a:r>
          </a:p>
          <a:p>
            <a:r>
              <a:rPr lang="en-GB" dirty="0"/>
              <a:t>In line with the tactic above, threat actors frequently use legitimate ‘no-reply’ email addresses (e.g., ‘noreply@wetransfer.com’) to send phishing emails. This approach can circumvent email security checks that assess the sender’s address and appear more legitimate to recipients.</a:t>
            </a:r>
          </a:p>
          <a:p>
            <a:endParaRPr lang="en-GB" dirty="0"/>
          </a:p>
          <a:p>
            <a:r>
              <a:rPr lang="en-GB" b="1" dirty="0"/>
              <a:t>Using legitimate domains to redirect users</a:t>
            </a:r>
          </a:p>
          <a:p>
            <a:r>
              <a:rPr lang="en-GB" dirty="0" err="1"/>
              <a:t>Ontinue</a:t>
            </a:r>
            <a:r>
              <a:rPr lang="en-GB" dirty="0"/>
              <a:t> has also observed that threat actors commonly exploit legitimate domains with obscure URLs, such as those from google.com, apple.com, and bing.com, to redirect users to </a:t>
            </a:r>
            <a:r>
              <a:rPr lang="en-GB" dirty="0" err="1"/>
              <a:t>AiTM</a:t>
            </a:r>
            <a:r>
              <a:rPr lang="en-GB" dirty="0"/>
              <a:t> sites. These legitimate domains help in evading detection.</a:t>
            </a:r>
            <a:endParaRPr lang="en-GB" b="1" dirty="0"/>
          </a:p>
          <a:p>
            <a:endParaRPr lang="en-CH" dirty="0"/>
          </a:p>
        </p:txBody>
      </p:sp>
      <p:sp>
        <p:nvSpPr>
          <p:cNvPr id="4" name="Slide Number Placeholder 3">
            <a:extLst>
              <a:ext uri="{FF2B5EF4-FFF2-40B4-BE49-F238E27FC236}">
                <a16:creationId xmlns:a16="http://schemas.microsoft.com/office/drawing/2014/main" id="{BE500F2A-8BA7-C4BE-A46F-92CD1F099F9E}"/>
              </a:ext>
            </a:extLst>
          </p:cNvPr>
          <p:cNvSpPr>
            <a:spLocks noGrp="1"/>
          </p:cNvSpPr>
          <p:nvPr>
            <p:ph type="sldNum" sz="quarter" idx="5"/>
          </p:nvPr>
        </p:nvSpPr>
        <p:spPr/>
        <p:txBody>
          <a:bodyPr/>
          <a:lstStyle/>
          <a:p>
            <a:fld id="{0F7015D1-5F53-DE45-ABD7-4A40BB44AD40}" type="slidenum">
              <a:rPr lang="en-US" smtClean="0"/>
              <a:pPr/>
              <a:t>13</a:t>
            </a:fld>
            <a:endParaRPr lang="en-US"/>
          </a:p>
        </p:txBody>
      </p:sp>
    </p:spTree>
    <p:extLst>
      <p:ext uri="{BB962C8B-B14F-4D97-AF65-F5344CB8AC3E}">
        <p14:creationId xmlns:p14="http://schemas.microsoft.com/office/powerpoint/2010/main" val="2026096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0482F6-7ED1-F08B-6529-528832172E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7FB72B7-1409-FB2D-592D-68F16214A7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6E27A7D-DAE5-9EFC-4D9C-80F46546F168}"/>
              </a:ext>
            </a:extLst>
          </p:cNvPr>
          <p:cNvSpPr>
            <a:spLocks noGrp="1"/>
          </p:cNvSpPr>
          <p:nvPr>
            <p:ph type="body" idx="1"/>
          </p:nvPr>
        </p:nvSpPr>
        <p:spPr/>
        <p:txBody>
          <a:bodyPr/>
          <a:lstStyle/>
          <a:p>
            <a:r>
              <a:rPr lang="en-GB" dirty="0"/>
              <a:t>Vishing = phishing via phone instead of email.</a:t>
            </a:r>
          </a:p>
          <a:p>
            <a:r>
              <a:rPr lang="en-GB" dirty="0"/>
              <a:t>It’s effective. No automated security filters, no telemetry.</a:t>
            </a:r>
          </a:p>
          <a:p>
            <a:r>
              <a:rPr lang="en-GB" dirty="0"/>
              <a:t>Attackers convinces users to grant remote access (e.g. Quick Assists)</a:t>
            </a:r>
            <a:endParaRPr lang="en-CH" dirty="0"/>
          </a:p>
          <a:p>
            <a:endParaRPr lang="en-US" dirty="0">
              <a:cs typeface="Calibri"/>
            </a:endParaRPr>
          </a:p>
          <a:p>
            <a:r>
              <a:rPr lang="en-US" dirty="0">
                <a:cs typeface="Calibri"/>
              </a:rPr>
              <a:t>----</a:t>
            </a:r>
          </a:p>
          <a:p>
            <a:r>
              <a:rPr lang="de-DE" dirty="0">
                <a:cs typeface="Calibri"/>
              </a:rPr>
              <a:t>Angreifer überzeugen Benutzer, Fernzugriff zu gewähren</a:t>
            </a:r>
            <a:endParaRPr lang="en-US" dirty="0">
              <a:cs typeface="Calibri"/>
            </a:endParaRPr>
          </a:p>
        </p:txBody>
      </p:sp>
      <p:sp>
        <p:nvSpPr>
          <p:cNvPr id="4" name="Slide Number Placeholder 3">
            <a:extLst>
              <a:ext uri="{FF2B5EF4-FFF2-40B4-BE49-F238E27FC236}">
                <a16:creationId xmlns:a16="http://schemas.microsoft.com/office/drawing/2014/main" id="{2D2A6F55-2BB1-3A6A-EF6B-AA1EF2E6A209}"/>
              </a:ext>
            </a:extLst>
          </p:cNvPr>
          <p:cNvSpPr>
            <a:spLocks noGrp="1"/>
          </p:cNvSpPr>
          <p:nvPr>
            <p:ph type="sldNum" sz="quarter" idx="5"/>
          </p:nvPr>
        </p:nvSpPr>
        <p:spPr/>
        <p:txBody>
          <a:bodyPr/>
          <a:lstStyle/>
          <a:p>
            <a:fld id="{0F7015D1-5F53-DE45-ABD7-4A40BB44AD40}" type="slidenum">
              <a:rPr lang="en-US" smtClean="0"/>
              <a:pPr/>
              <a:t>14</a:t>
            </a:fld>
            <a:endParaRPr lang="en-US"/>
          </a:p>
        </p:txBody>
      </p:sp>
    </p:spTree>
    <p:extLst>
      <p:ext uri="{BB962C8B-B14F-4D97-AF65-F5344CB8AC3E}">
        <p14:creationId xmlns:p14="http://schemas.microsoft.com/office/powerpoint/2010/main" val="21352391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E9EF7-EF74-CB17-BFC0-A33A870598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8CFFA7-B030-647D-A453-BC434FEC06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2DC3672-75BC-FE42-5D56-898C9DA7EC98}"/>
              </a:ext>
            </a:extLst>
          </p:cNvPr>
          <p:cNvSpPr>
            <a:spLocks noGrp="1"/>
          </p:cNvSpPr>
          <p:nvPr>
            <p:ph type="body" idx="1"/>
          </p:nvPr>
        </p:nvSpPr>
        <p:spPr/>
        <p:txBody>
          <a:bodyPr/>
          <a:lstStyle/>
          <a:p>
            <a:r>
              <a:rPr lang="en-GB" dirty="0"/>
              <a:t>two notable techniques where </a:t>
            </a:r>
            <a:r>
              <a:rPr lang="en-GB" dirty="0" err="1"/>
              <a:t>Ontinue</a:t>
            </a:r>
            <a:r>
              <a:rPr lang="en-GB" dirty="0"/>
              <a:t> observed threat actors leveraging to create fictious scenarios before vishing attacks occur:</a:t>
            </a:r>
          </a:p>
          <a:p>
            <a:endParaRPr lang="en-GB" dirty="0"/>
          </a:p>
          <a:p>
            <a:r>
              <a:rPr lang="en-GB" b="1" dirty="0"/>
              <a:t>Email bombing</a:t>
            </a:r>
            <a:r>
              <a:rPr lang="en-GB" dirty="0"/>
              <a:t>:</a:t>
            </a:r>
          </a:p>
          <a:p>
            <a:r>
              <a:rPr lang="en-GB" dirty="0"/>
              <a:t>flood multiple users’ inboxes with an overwhelming volume of junk emails, rendering them unusable. This social engineering technique exploits the user’s frustration and urgency, increasing the likelihood of them granting access.</a:t>
            </a:r>
          </a:p>
          <a:p>
            <a:endParaRPr lang="en-GB" dirty="0"/>
          </a:p>
          <a:p>
            <a:r>
              <a:rPr lang="en-GB" b="1" dirty="0"/>
              <a:t>Malvertising</a:t>
            </a:r>
            <a:r>
              <a:rPr lang="en-GB" b="0" dirty="0"/>
              <a:t>:</a:t>
            </a:r>
          </a:p>
          <a:p>
            <a:r>
              <a:rPr lang="en-GB" dirty="0" err="1"/>
              <a:t>Ontinue</a:t>
            </a:r>
            <a:r>
              <a:rPr lang="en-GB" dirty="0"/>
              <a:t> has frequently observed users being redirected from malicious adverts to web pages which mislead users into believing their devices have been compromised, urging them to call a so-called ‘Microsoft Support’ number. Following this the threat actors will then try to convince the user to install a remote desktop application and give them control of their machine.</a:t>
            </a:r>
          </a:p>
          <a:p>
            <a:endParaRPr lang="en-GB" b="1" dirty="0"/>
          </a:p>
          <a:p>
            <a:r>
              <a:rPr lang="en-GB" b="1" dirty="0"/>
              <a:t>----</a:t>
            </a:r>
          </a:p>
          <a:p>
            <a:r>
              <a:rPr lang="de-DE" b="0" dirty="0" err="1"/>
              <a:t>Ontinue</a:t>
            </a:r>
            <a:r>
              <a:rPr lang="de-DE" b="0" dirty="0"/>
              <a:t> beobachtete, dass Bedrohungsakteure zwei bemerkenswerte Techniken nutzen, um fiktive Szenarien zu erstellen, bevor es zu </a:t>
            </a:r>
            <a:r>
              <a:rPr lang="de-DE" b="0" dirty="0" err="1"/>
              <a:t>Vishing</a:t>
            </a:r>
            <a:r>
              <a:rPr lang="de-DE" b="0" dirty="0"/>
              <a:t>-Angriffen kommt:</a:t>
            </a:r>
          </a:p>
          <a:p>
            <a:endParaRPr lang="de-DE" b="0" dirty="0"/>
          </a:p>
          <a:p>
            <a:r>
              <a:rPr lang="de-DE" b="0" dirty="0"/>
              <a:t>Überfluten Sie die Posteingänge mehrerer Benutzer mit einer überwältigenden Menge an Junk-E-Mails und machen Sie sie dadurch unbrauchbar. Diese </a:t>
            </a:r>
            <a:r>
              <a:rPr lang="de-DE" b="0" dirty="0" err="1"/>
              <a:t>Social</a:t>
            </a:r>
            <a:r>
              <a:rPr lang="de-DE" b="0" dirty="0"/>
              <a:t>-Engineering-Technik nutzt die Frustration und Dringlichkeit des Benutzers aus und erhöht so die Wahrscheinlichkeit, dass er Zugriff gewährt.</a:t>
            </a:r>
            <a:endParaRPr lang="en-CH" b="0" dirty="0"/>
          </a:p>
        </p:txBody>
      </p:sp>
      <p:sp>
        <p:nvSpPr>
          <p:cNvPr id="4" name="Slide Number Placeholder 3">
            <a:extLst>
              <a:ext uri="{FF2B5EF4-FFF2-40B4-BE49-F238E27FC236}">
                <a16:creationId xmlns:a16="http://schemas.microsoft.com/office/drawing/2014/main" id="{0DB8ED99-3A5D-8424-EA20-543694BA3D67}"/>
              </a:ext>
            </a:extLst>
          </p:cNvPr>
          <p:cNvSpPr>
            <a:spLocks noGrp="1"/>
          </p:cNvSpPr>
          <p:nvPr>
            <p:ph type="sldNum" sz="quarter" idx="5"/>
          </p:nvPr>
        </p:nvSpPr>
        <p:spPr/>
        <p:txBody>
          <a:bodyPr/>
          <a:lstStyle/>
          <a:p>
            <a:fld id="{0F7015D1-5F53-DE45-ABD7-4A40BB44AD40}" type="slidenum">
              <a:rPr lang="en-US" smtClean="0"/>
              <a:pPr/>
              <a:t>15</a:t>
            </a:fld>
            <a:endParaRPr lang="en-US"/>
          </a:p>
        </p:txBody>
      </p:sp>
    </p:spTree>
    <p:extLst>
      <p:ext uri="{BB962C8B-B14F-4D97-AF65-F5344CB8AC3E}">
        <p14:creationId xmlns:p14="http://schemas.microsoft.com/office/powerpoint/2010/main" val="21462447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3C3674-F40B-9D5C-DEA9-713B6BE3D13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5B7697-B2F8-E771-809B-17F955FF5D1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272AB4D-9998-A8AD-8059-992EFD0A47DE}"/>
              </a:ext>
            </a:extLst>
          </p:cNvPr>
          <p:cNvSpPr>
            <a:spLocks noGrp="1"/>
          </p:cNvSpPr>
          <p:nvPr>
            <p:ph type="body" idx="1"/>
          </p:nvPr>
        </p:nvSpPr>
        <p:spPr/>
        <p:txBody>
          <a:bodyPr/>
          <a:lstStyle/>
          <a:p>
            <a:r>
              <a:rPr lang="en-GB" dirty="0"/>
              <a:t>Vishing has become increasingly popular among threat actors as they continue to leverage artificial intelligence. By utilizing AI-driven voice cloning technologies, cybercriminals can create highly realistic audio deepfakes, impersonating trusted individuals to deceive victims into divulging sensitive information or transferring funds. The ATO team has observed a staggering 1633% increase in Vishing-related incidents compared to the previous quarter. And we predict it will only get worse.</a:t>
            </a:r>
          </a:p>
          <a:p>
            <a:endParaRPr lang="en-GB" dirty="0"/>
          </a:p>
          <a:p>
            <a:r>
              <a:rPr lang="en-GB" dirty="0"/>
              <a:t>-- </a:t>
            </a:r>
          </a:p>
          <a:p>
            <a:r>
              <a:rPr lang="en-GB" dirty="0"/>
              <a:t>Der </a:t>
            </a:r>
            <a:r>
              <a:rPr lang="en-GB" dirty="0" err="1"/>
              <a:t>besorgniserregende</a:t>
            </a:r>
            <a:r>
              <a:rPr lang="en-GB" dirty="0"/>
              <a:t> Teil</a:t>
            </a:r>
          </a:p>
          <a:p>
            <a:r>
              <a:rPr lang="de-DE" dirty="0"/>
              <a:t>Und wir gehen davon aus, dass es nur noch schlimmer wird.</a:t>
            </a:r>
            <a:endParaRPr lang="en-CH" dirty="0"/>
          </a:p>
        </p:txBody>
      </p:sp>
      <p:sp>
        <p:nvSpPr>
          <p:cNvPr id="4" name="Slide Number Placeholder 3">
            <a:extLst>
              <a:ext uri="{FF2B5EF4-FFF2-40B4-BE49-F238E27FC236}">
                <a16:creationId xmlns:a16="http://schemas.microsoft.com/office/drawing/2014/main" id="{8F5D7D3F-4BD5-D5F2-767D-59D2AEE8544E}"/>
              </a:ext>
            </a:extLst>
          </p:cNvPr>
          <p:cNvSpPr>
            <a:spLocks noGrp="1"/>
          </p:cNvSpPr>
          <p:nvPr>
            <p:ph type="sldNum" sz="quarter" idx="5"/>
          </p:nvPr>
        </p:nvSpPr>
        <p:spPr/>
        <p:txBody>
          <a:bodyPr/>
          <a:lstStyle/>
          <a:p>
            <a:fld id="{0F7015D1-5F53-DE45-ABD7-4A40BB44AD40}" type="slidenum">
              <a:rPr lang="en-US" smtClean="0"/>
              <a:pPr/>
              <a:t>16</a:t>
            </a:fld>
            <a:endParaRPr lang="en-US"/>
          </a:p>
        </p:txBody>
      </p:sp>
    </p:spTree>
    <p:extLst>
      <p:ext uri="{BB962C8B-B14F-4D97-AF65-F5344CB8AC3E}">
        <p14:creationId xmlns:p14="http://schemas.microsoft.com/office/powerpoint/2010/main" val="5392835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D7B9FC-2CB6-698E-4BEB-053B4CA9EC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E39C09-C2F6-8338-D5E5-D3166A2D9E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FB29658-409E-7A7F-A514-30FCE2053E8C}"/>
              </a:ext>
            </a:extLst>
          </p:cNvPr>
          <p:cNvSpPr>
            <a:spLocks noGrp="1"/>
          </p:cNvSpPr>
          <p:nvPr>
            <p:ph type="body" idx="1"/>
          </p:nvPr>
        </p:nvSpPr>
        <p:spPr/>
        <p:txBody>
          <a:bodyPr/>
          <a:lstStyle/>
          <a:p>
            <a:endParaRPr lang="en-US" dirty="0">
              <a:cs typeface="Calibri"/>
            </a:endParaRPr>
          </a:p>
        </p:txBody>
      </p:sp>
      <p:sp>
        <p:nvSpPr>
          <p:cNvPr id="4" name="Slide Number Placeholder 3">
            <a:extLst>
              <a:ext uri="{FF2B5EF4-FFF2-40B4-BE49-F238E27FC236}">
                <a16:creationId xmlns:a16="http://schemas.microsoft.com/office/drawing/2014/main" id="{E0C94528-56F7-395B-E441-3BC8052E2AF8}"/>
              </a:ext>
            </a:extLst>
          </p:cNvPr>
          <p:cNvSpPr>
            <a:spLocks noGrp="1"/>
          </p:cNvSpPr>
          <p:nvPr>
            <p:ph type="sldNum" sz="quarter" idx="5"/>
          </p:nvPr>
        </p:nvSpPr>
        <p:spPr/>
        <p:txBody>
          <a:bodyPr/>
          <a:lstStyle/>
          <a:p>
            <a:fld id="{0F7015D1-5F53-DE45-ABD7-4A40BB44AD40}" type="slidenum">
              <a:rPr lang="en-US" smtClean="0"/>
              <a:pPr/>
              <a:t>17</a:t>
            </a:fld>
            <a:endParaRPr lang="en-US"/>
          </a:p>
        </p:txBody>
      </p:sp>
    </p:spTree>
    <p:extLst>
      <p:ext uri="{BB962C8B-B14F-4D97-AF65-F5344CB8AC3E}">
        <p14:creationId xmlns:p14="http://schemas.microsoft.com/office/powerpoint/2010/main" val="16101109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8125C6-987E-C0DB-6264-A9909CF6C2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2DCF5C6-1198-7909-D887-360C9DB1E4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E2E116-2B2B-C0BB-27A7-CA64858D7044}"/>
              </a:ext>
            </a:extLst>
          </p:cNvPr>
          <p:cNvSpPr>
            <a:spLocks noGrp="1"/>
          </p:cNvSpPr>
          <p:nvPr>
            <p:ph type="body" idx="1"/>
          </p:nvPr>
        </p:nvSpPr>
        <p:spPr/>
        <p:txBody>
          <a:bodyPr/>
          <a:lstStyle/>
          <a:p>
            <a:endParaRPr lang="en-CH"/>
          </a:p>
        </p:txBody>
      </p:sp>
      <p:sp>
        <p:nvSpPr>
          <p:cNvPr id="4" name="Slide Number Placeholder 3">
            <a:extLst>
              <a:ext uri="{FF2B5EF4-FFF2-40B4-BE49-F238E27FC236}">
                <a16:creationId xmlns:a16="http://schemas.microsoft.com/office/drawing/2014/main" id="{20624AB8-9CC7-830B-2EDB-1B88ECABB526}"/>
              </a:ext>
            </a:extLst>
          </p:cNvPr>
          <p:cNvSpPr>
            <a:spLocks noGrp="1"/>
          </p:cNvSpPr>
          <p:nvPr>
            <p:ph type="sldNum" sz="quarter" idx="5"/>
          </p:nvPr>
        </p:nvSpPr>
        <p:spPr/>
        <p:txBody>
          <a:bodyPr/>
          <a:lstStyle/>
          <a:p>
            <a:fld id="{0F7015D1-5F53-DE45-ABD7-4A40BB44AD40}" type="slidenum">
              <a:rPr lang="en-US" smtClean="0"/>
              <a:pPr/>
              <a:t>18</a:t>
            </a:fld>
            <a:endParaRPr lang="en-US"/>
          </a:p>
        </p:txBody>
      </p:sp>
    </p:spTree>
    <p:extLst>
      <p:ext uri="{BB962C8B-B14F-4D97-AF65-F5344CB8AC3E}">
        <p14:creationId xmlns:p14="http://schemas.microsoft.com/office/powerpoint/2010/main" val="28047997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DDCAA-2E88-10C7-E360-0C68F3FAC79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AB0CB6-26A3-2F95-53C0-C27E5D70A4C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F07F4F-31D1-E134-54EB-5520B0F09B52}"/>
              </a:ext>
            </a:extLst>
          </p:cNvPr>
          <p:cNvSpPr>
            <a:spLocks noGrp="1"/>
          </p:cNvSpPr>
          <p:nvPr>
            <p:ph type="body" idx="1"/>
          </p:nvPr>
        </p:nvSpPr>
        <p:spPr/>
        <p:txBody>
          <a:bodyPr/>
          <a:lstStyle/>
          <a:p>
            <a:r>
              <a:rPr lang="en-US" dirty="0">
                <a:cs typeface="Calibri"/>
              </a:rPr>
              <a:t>There are always new threads or threats that were not much of an issues in the past, until now…</a:t>
            </a:r>
          </a:p>
          <a:p>
            <a:endParaRPr lang="en-US" dirty="0">
              <a:cs typeface="Calibri"/>
            </a:endParaRPr>
          </a:p>
          <a:p>
            <a:r>
              <a:rPr lang="en-US" dirty="0">
                <a:cs typeface="Calibri"/>
              </a:rPr>
              <a:t>-----</a:t>
            </a:r>
          </a:p>
          <a:p>
            <a:endParaRPr lang="en-US" dirty="0">
              <a:cs typeface="Calibri"/>
            </a:endParaRPr>
          </a:p>
          <a:p>
            <a:r>
              <a:rPr lang="de-DE" dirty="0">
                <a:cs typeface="Calibri"/>
              </a:rPr>
              <a:t>Es gibt immer neue Bedrohungen oder Bedrohungen, die in der Vergangenheit kein großes Problem darstellten, bis jetzt …</a:t>
            </a:r>
            <a:endParaRPr lang="en-US" dirty="0">
              <a:cs typeface="Calibri"/>
            </a:endParaRPr>
          </a:p>
        </p:txBody>
      </p:sp>
      <p:sp>
        <p:nvSpPr>
          <p:cNvPr id="4" name="Slide Number Placeholder 3">
            <a:extLst>
              <a:ext uri="{FF2B5EF4-FFF2-40B4-BE49-F238E27FC236}">
                <a16:creationId xmlns:a16="http://schemas.microsoft.com/office/drawing/2014/main" id="{4B4516CB-0FFD-15CF-3CAE-24515C392A00}"/>
              </a:ext>
            </a:extLst>
          </p:cNvPr>
          <p:cNvSpPr>
            <a:spLocks noGrp="1"/>
          </p:cNvSpPr>
          <p:nvPr>
            <p:ph type="sldNum" sz="quarter" idx="5"/>
          </p:nvPr>
        </p:nvSpPr>
        <p:spPr/>
        <p:txBody>
          <a:bodyPr/>
          <a:lstStyle/>
          <a:p>
            <a:fld id="{0F7015D1-5F53-DE45-ABD7-4A40BB44AD40}" type="slidenum">
              <a:rPr lang="en-US" smtClean="0"/>
              <a:pPr/>
              <a:t>19</a:t>
            </a:fld>
            <a:endParaRPr lang="en-US"/>
          </a:p>
        </p:txBody>
      </p:sp>
    </p:spTree>
    <p:extLst>
      <p:ext uri="{BB962C8B-B14F-4D97-AF65-F5344CB8AC3E}">
        <p14:creationId xmlns:p14="http://schemas.microsoft.com/office/powerpoint/2010/main" val="17587719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6E80BE-BF7B-28E9-8017-18A67E40FA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DCAFDF-E90C-A88F-3914-97BA42403F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89A3CD7-3E58-A680-FAA5-C060E5BD17D1}"/>
              </a:ext>
            </a:extLst>
          </p:cNvPr>
          <p:cNvSpPr>
            <a:spLocks noGrp="1"/>
          </p:cNvSpPr>
          <p:nvPr>
            <p:ph type="body" idx="1"/>
          </p:nvPr>
        </p:nvSpPr>
        <p:spPr/>
        <p:txBody>
          <a:bodyPr/>
          <a:lstStyle/>
          <a:p>
            <a:r>
              <a:rPr lang="en-US" dirty="0"/>
              <a:t>Aufmerksamkeit</a:t>
            </a:r>
          </a:p>
        </p:txBody>
      </p:sp>
      <p:sp>
        <p:nvSpPr>
          <p:cNvPr id="4" name="Slide Number Placeholder 3">
            <a:extLst>
              <a:ext uri="{FF2B5EF4-FFF2-40B4-BE49-F238E27FC236}">
                <a16:creationId xmlns:a16="http://schemas.microsoft.com/office/drawing/2014/main" id="{CC02E9BB-6486-B4F3-380E-5946076A7F0D}"/>
              </a:ext>
            </a:extLst>
          </p:cNvPr>
          <p:cNvSpPr>
            <a:spLocks noGrp="1"/>
          </p:cNvSpPr>
          <p:nvPr>
            <p:ph type="sldNum" sz="quarter" idx="5"/>
          </p:nvPr>
        </p:nvSpPr>
        <p:spPr/>
        <p:txBody>
          <a:bodyPr/>
          <a:lstStyle/>
          <a:p>
            <a:fld id="{0F7015D1-5F53-DE45-ABD7-4A40BB44AD40}" type="slidenum">
              <a:rPr lang="en-US" smtClean="0"/>
              <a:pPr/>
              <a:t>2</a:t>
            </a:fld>
            <a:endParaRPr lang="en-US"/>
          </a:p>
        </p:txBody>
      </p:sp>
    </p:spTree>
    <p:extLst>
      <p:ext uri="{BB962C8B-B14F-4D97-AF65-F5344CB8AC3E}">
        <p14:creationId xmlns:p14="http://schemas.microsoft.com/office/powerpoint/2010/main" val="9257525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F3FCFE-DC0F-256C-9261-0C6C52AD80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AC4051-A16C-E4F6-B634-492698682A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8D189A-068F-B4E1-EAE7-9AECD37DF9B6}"/>
              </a:ext>
            </a:extLst>
          </p:cNvPr>
          <p:cNvSpPr>
            <a:spLocks noGrp="1"/>
          </p:cNvSpPr>
          <p:nvPr>
            <p:ph type="body" idx="1"/>
          </p:nvPr>
        </p:nvSpPr>
        <p:spPr/>
        <p:txBody>
          <a:bodyPr/>
          <a:lstStyle/>
          <a:p>
            <a:r>
              <a:rPr lang="en-GB" dirty="0"/>
              <a:t>When we think about cybersecurity, IT networks and corporate systems usually come to mind—but what about the countless devices that operate outside of traditional IT oversight? Industrial machinery, power grids, surveillance cameras, and even smart thermostats all fall under the umbrella of Operational Technology (OT) and the Internet of Things (IoT). Unlike corporate IT environments, these devices often lack centralized security controls, making them prime targets for cyber threats.</a:t>
            </a:r>
          </a:p>
          <a:p>
            <a:r>
              <a:rPr lang="en-GB" dirty="0">
                <a:cs typeface="Calibri"/>
              </a:rPr>
              <a:t>---</a:t>
            </a:r>
          </a:p>
          <a:p>
            <a:r>
              <a:rPr lang="de-DE" dirty="0">
                <a:cs typeface="Calibri"/>
              </a:rPr>
              <a:t>Industriemaschinen, Stromnetze, Überwachungskameras und sogar intelligente Thermostate fallen alle unter den Begriff „Operational Technology“ (OT) und „Internet der Dinge“ (IoT). Im Gegensatz zu den IT-Umgebungen von Unternehmen verfügen diese Geräte häufig nicht über zentrale Sicherheitskontrollen, was sie zu bevorzugten Zielen für Cyberbedrohungen macht.</a:t>
            </a:r>
            <a:endParaRPr lang="en-US" dirty="0">
              <a:cs typeface="Calibri"/>
            </a:endParaRPr>
          </a:p>
        </p:txBody>
      </p:sp>
      <p:sp>
        <p:nvSpPr>
          <p:cNvPr id="4" name="Slide Number Placeholder 3">
            <a:extLst>
              <a:ext uri="{FF2B5EF4-FFF2-40B4-BE49-F238E27FC236}">
                <a16:creationId xmlns:a16="http://schemas.microsoft.com/office/drawing/2014/main" id="{6D00E2EC-E118-7E93-BB04-20521AA6BF19}"/>
              </a:ext>
            </a:extLst>
          </p:cNvPr>
          <p:cNvSpPr>
            <a:spLocks noGrp="1"/>
          </p:cNvSpPr>
          <p:nvPr>
            <p:ph type="sldNum" sz="quarter" idx="5"/>
          </p:nvPr>
        </p:nvSpPr>
        <p:spPr/>
        <p:txBody>
          <a:bodyPr/>
          <a:lstStyle/>
          <a:p>
            <a:fld id="{0F7015D1-5F53-DE45-ABD7-4A40BB44AD40}" type="slidenum">
              <a:rPr lang="en-US" smtClean="0"/>
              <a:pPr/>
              <a:t>20</a:t>
            </a:fld>
            <a:endParaRPr lang="en-US"/>
          </a:p>
        </p:txBody>
      </p:sp>
    </p:spTree>
    <p:extLst>
      <p:ext uri="{BB962C8B-B14F-4D97-AF65-F5344CB8AC3E}">
        <p14:creationId xmlns:p14="http://schemas.microsoft.com/office/powerpoint/2010/main" val="31201957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A04384-AB39-A875-35B6-083581EBC2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A997A6-7DA5-5E8A-9F01-42E9B3ECA8F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8D07B4A-F898-494B-497E-23D7746E9002}"/>
              </a:ext>
            </a:extLst>
          </p:cNvPr>
          <p:cNvSpPr>
            <a:spLocks noGrp="1"/>
          </p:cNvSpPr>
          <p:nvPr>
            <p:ph type="body" idx="1"/>
          </p:nvPr>
        </p:nvSpPr>
        <p:spPr/>
        <p:txBody>
          <a:bodyPr/>
          <a:lstStyle/>
          <a:p>
            <a:r>
              <a:rPr lang="en-GB" b="1" dirty="0"/>
              <a:t>Consumer and </a:t>
            </a:r>
            <a:r>
              <a:rPr lang="en-US" sz="1200" b="1" kern="0" dirty="0">
                <a:solidFill>
                  <a:srgbClr val="2CD9C5"/>
                </a:solidFill>
              </a:rPr>
              <a:t>Proprietary Collide</a:t>
            </a:r>
            <a:endParaRPr lang="en-GB" b="1" dirty="0"/>
          </a:p>
          <a:p>
            <a:r>
              <a:rPr lang="en-GB" dirty="0"/>
              <a:t>IoT devices are initially designed for and marketed to consumers for non-industrial use. , IoT-like hardware and software combinations often end up in OT products that are outwardly ruggedized, but internally similar or even identical to low-cost consumer devices. Notably, IoT devices are typically built so they can operate remotely and autonomously without being plugged into a laptop or any other computing device. </a:t>
            </a:r>
          </a:p>
          <a:p>
            <a:endParaRPr lang="en-GB" dirty="0"/>
          </a:p>
          <a:p>
            <a:r>
              <a:rPr lang="en-GB" dirty="0"/>
              <a:t>Today, we’re seeing that even those devices that are squarely aimed at consumers commonly find their way into and onto corporate networks, directly and indirectly:</a:t>
            </a:r>
          </a:p>
          <a:p>
            <a:pPr marL="171450" indent="-171450">
              <a:buFontTx/>
              <a:buChar char="-"/>
            </a:pPr>
            <a:r>
              <a:rPr lang="en-GB" dirty="0"/>
              <a:t>Staff working from home</a:t>
            </a:r>
          </a:p>
          <a:p>
            <a:pPr marL="171450" indent="-171450">
              <a:buFontTx/>
              <a:buChar char="-"/>
            </a:pPr>
            <a:r>
              <a:rPr lang="en-GB" dirty="0"/>
              <a:t>IoT devices such as webcams and light switches don’t care whether they’re on a company network or a home network</a:t>
            </a:r>
          </a:p>
          <a:p>
            <a:pPr marL="171450" indent="-171450">
              <a:buFontTx/>
              <a:buChar char="-"/>
            </a:pPr>
            <a:r>
              <a:rPr lang="en-GB" dirty="0"/>
              <a:t>Non-consumer OT devices may be based on IoT-like internals, so even specialized devices such as weather monitors or plant control systems could be exposed by the same already-known vulnerabilities as off-the-shelf consumer products.</a:t>
            </a:r>
          </a:p>
          <a:p>
            <a:pPr marL="171450" indent="-171450">
              <a:buFontTx/>
              <a:buChar char="-"/>
            </a:pPr>
            <a:endParaRPr lang="en-GB" dirty="0"/>
          </a:p>
          <a:p>
            <a:pPr marL="171450" indent="-171450">
              <a:buFontTx/>
              <a:buChar char="-"/>
            </a:pPr>
            <a:endParaRPr lang="en-GB" dirty="0"/>
          </a:p>
          <a:p>
            <a:pPr marL="0" indent="0">
              <a:buFontTx/>
              <a:buNone/>
            </a:pPr>
            <a:r>
              <a:rPr lang="en-GB" b="1" dirty="0"/>
              <a:t>Typical Abuses of IoT/OT</a:t>
            </a:r>
          </a:p>
          <a:p>
            <a:pPr marL="0" indent="0">
              <a:buFontTx/>
              <a:buNone/>
            </a:pPr>
            <a:r>
              <a:rPr lang="en-GB" dirty="0"/>
              <a:t>When IoT devices are built down to a price, their firmware is often built down to a price, too. IoT web services, for example, often rely on stripped-down networking software that runs with root privilege and performs its configuration operations simply by passing user-supplied data to the system via a command shell. This makes IoT devices notoriously vulnerable to command injection, remote code execution, and privilege escalation attacks.</a:t>
            </a:r>
          </a:p>
          <a:p>
            <a:pPr marL="0" indent="0">
              <a:buFontTx/>
              <a:buNone/>
            </a:pPr>
            <a:r>
              <a:rPr lang="en-GB" dirty="0"/>
              <a:t>These low-security devices usually have outbound access to the internet, even when they sit alongside work-related computers, with the result that hacked or badly configured IoT products can be exploited for a wide range of cybercrimes. (DDOS, Network mapping and vulnerability scans, remote access backdoors, hidden VPN services, etc.</a:t>
            </a:r>
          </a:p>
          <a:p>
            <a:pPr marL="0" indent="0">
              <a:buFontTx/>
              <a:buNone/>
            </a:pPr>
            <a:endParaRPr lang="en-GB" dirty="0"/>
          </a:p>
          <a:p>
            <a:pPr marL="0" indent="0">
              <a:buFontTx/>
              <a:buNone/>
            </a:pPr>
            <a:r>
              <a:rPr lang="en-GB" dirty="0"/>
              <a:t>Sie </a:t>
            </a:r>
            <a:r>
              <a:rPr lang="en-GB" dirty="0" err="1"/>
              <a:t>sind</a:t>
            </a:r>
            <a:r>
              <a:rPr lang="en-GB" dirty="0"/>
              <a:t> </a:t>
            </a:r>
            <a:r>
              <a:rPr lang="en-GB" dirty="0" err="1"/>
              <a:t>anfällig</a:t>
            </a:r>
            <a:r>
              <a:rPr lang="en-GB" dirty="0"/>
              <a:t> für, </a:t>
            </a:r>
            <a:r>
              <a:rPr lang="en-GB" dirty="0" err="1"/>
              <a:t>verstreckte</a:t>
            </a:r>
            <a:endParaRPr lang="en-GB" dirty="0"/>
          </a:p>
          <a:p>
            <a:pPr marL="0" indent="0">
              <a:buFontTx/>
              <a:buNone/>
            </a:pPr>
            <a:endParaRPr lang="en-GB" dirty="0"/>
          </a:p>
          <a:p>
            <a:pPr marL="0" indent="0">
              <a:buFontTx/>
              <a:buNone/>
            </a:pPr>
            <a:r>
              <a:rPr lang="sv-SE" b="1" dirty="0"/>
              <a:t>Recent </a:t>
            </a:r>
            <a:r>
              <a:rPr lang="sv-SE" b="1" dirty="0" err="1"/>
              <a:t>IoT</a:t>
            </a:r>
            <a:r>
              <a:rPr lang="sv-SE" b="1" dirty="0"/>
              <a:t>/OT Attack Scenario</a:t>
            </a:r>
            <a:endParaRPr lang="en-GB" b="1" dirty="0"/>
          </a:p>
          <a:p>
            <a:pPr marL="0" indent="0">
              <a:buFontTx/>
              <a:buNone/>
            </a:pPr>
            <a:r>
              <a:rPr lang="en-GB" dirty="0"/>
              <a:t>Unlike corporate networks, where security teams can deploy monitoring tools and enforce strict policies, IoT and OT environments frequently operate in silos, with little oversight and limited ability to detect or respond to threats. This lack of visibility makes it difficult to measure the true scale of the risk, but recent attacks have shown just how vulnerable these systems can be. From large-scale botnets leveraging unpatched IoT devices to sophisticated nation-state actors targeting industrial control systems, the evidence is clear: IoT and OT threats are not only increasing in frequency but also growing in complexity and impact. </a:t>
            </a:r>
          </a:p>
          <a:p>
            <a:pPr marL="0" indent="0">
              <a:buFontTx/>
              <a:buNone/>
            </a:pPr>
            <a:endParaRPr lang="en-GB" dirty="0"/>
          </a:p>
          <a:p>
            <a:pPr marL="0" indent="0">
              <a:buFontTx/>
              <a:buNone/>
            </a:pPr>
            <a:r>
              <a:rPr lang="de-DE" dirty="0"/>
              <a:t>Von groß angelegten Botnetzen, die </a:t>
            </a:r>
            <a:r>
              <a:rPr lang="de-DE" dirty="0" err="1"/>
              <a:t>ungepatchte</a:t>
            </a:r>
            <a:r>
              <a:rPr lang="de-DE" dirty="0"/>
              <a:t> IoT-Geräte ausnutzen, bis hin zu hochentwickelten staatlichen Akteuren, die es auf industrielle Steuerungssysteme abgesehen haben.</a:t>
            </a:r>
            <a:endParaRPr lang="en-GB" dirty="0"/>
          </a:p>
          <a:p>
            <a:pPr marL="0" indent="0">
              <a:buFontTx/>
              <a:buNone/>
            </a:pPr>
            <a:r>
              <a:rPr lang="en-GB" dirty="0"/>
              <a:t>-- </a:t>
            </a:r>
          </a:p>
          <a:p>
            <a:pPr marL="0" indent="0">
              <a:buFontTx/>
              <a:buNone/>
            </a:pPr>
            <a:r>
              <a:rPr lang="en-GB" dirty="0" err="1"/>
              <a:t>Gelangen</a:t>
            </a:r>
            <a:r>
              <a:rPr lang="en-GB" dirty="0"/>
              <a:t> = get there</a:t>
            </a:r>
          </a:p>
        </p:txBody>
      </p:sp>
      <p:sp>
        <p:nvSpPr>
          <p:cNvPr id="4" name="Slide Number Placeholder 3">
            <a:extLst>
              <a:ext uri="{FF2B5EF4-FFF2-40B4-BE49-F238E27FC236}">
                <a16:creationId xmlns:a16="http://schemas.microsoft.com/office/drawing/2014/main" id="{8E5F443B-0414-4067-A40B-1D13DDA8A98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7015D1-5F53-DE45-ABD7-4A40BB44AD40}" type="slidenum">
              <a:rPr kumimoji="0" lang="en-US" sz="1200" b="0" i="0" u="none" strike="noStrike" kern="1200" cap="none" spc="0" normalizeH="0" baseline="0" noProof="0" smtClean="0">
                <a:ln>
                  <a:noFill/>
                </a:ln>
                <a:solidFill>
                  <a:prstClr val="black"/>
                </a:solidFill>
                <a:effectLst/>
                <a:uLnTx/>
                <a:uFillTx/>
                <a:latin typeface="DM Sans"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DM Sans" pitchFamily="2" charset="77"/>
              <a:ea typeface="+mn-ea"/>
              <a:cs typeface="+mn-cs"/>
            </a:endParaRPr>
          </a:p>
        </p:txBody>
      </p:sp>
    </p:spTree>
    <p:extLst>
      <p:ext uri="{BB962C8B-B14F-4D97-AF65-F5344CB8AC3E}">
        <p14:creationId xmlns:p14="http://schemas.microsoft.com/office/powerpoint/2010/main" val="19191505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185B1B-CF2F-2855-B66A-20A73F9BD8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96466B-C749-F44F-DD0C-F174EBDB75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6662536-9EB6-3BE6-C075-6D17E35B86C1}"/>
              </a:ext>
            </a:extLst>
          </p:cNvPr>
          <p:cNvSpPr>
            <a:spLocks noGrp="1"/>
          </p:cNvSpPr>
          <p:nvPr>
            <p:ph type="body" idx="1"/>
          </p:nvPr>
        </p:nvSpPr>
        <p:spPr/>
        <p:txBody>
          <a:bodyPr/>
          <a:lstStyle/>
          <a:p>
            <a:r>
              <a:rPr lang="de-DE" dirty="0">
                <a:cs typeface="Calibri"/>
              </a:rPr>
              <a:t>Letzten Endes bleiben Cyberangriffe bestehen. Sie ändern zwar ihre Art, aber sie bleiben bestehen.</a:t>
            </a:r>
            <a:endParaRPr lang="en-US" dirty="0">
              <a:cs typeface="Calibri"/>
            </a:endParaRPr>
          </a:p>
        </p:txBody>
      </p:sp>
      <p:sp>
        <p:nvSpPr>
          <p:cNvPr id="4" name="Slide Number Placeholder 3">
            <a:extLst>
              <a:ext uri="{FF2B5EF4-FFF2-40B4-BE49-F238E27FC236}">
                <a16:creationId xmlns:a16="http://schemas.microsoft.com/office/drawing/2014/main" id="{0FAF1E25-72D9-83D0-555B-6A6738DB876E}"/>
              </a:ext>
            </a:extLst>
          </p:cNvPr>
          <p:cNvSpPr>
            <a:spLocks noGrp="1"/>
          </p:cNvSpPr>
          <p:nvPr>
            <p:ph type="sldNum" sz="quarter" idx="5"/>
          </p:nvPr>
        </p:nvSpPr>
        <p:spPr/>
        <p:txBody>
          <a:bodyPr/>
          <a:lstStyle/>
          <a:p>
            <a:fld id="{0F7015D1-5F53-DE45-ABD7-4A40BB44AD40}" type="slidenum">
              <a:rPr lang="en-US" smtClean="0"/>
              <a:pPr/>
              <a:t>22</a:t>
            </a:fld>
            <a:endParaRPr lang="en-US"/>
          </a:p>
        </p:txBody>
      </p:sp>
    </p:spTree>
    <p:extLst>
      <p:ext uri="{BB962C8B-B14F-4D97-AF65-F5344CB8AC3E}">
        <p14:creationId xmlns:p14="http://schemas.microsoft.com/office/powerpoint/2010/main" val="6852331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Sensibilisierungsschulung</a:t>
            </a:r>
            <a:r>
              <a:rPr lang="en-GB" dirty="0"/>
              <a:t> für das Personal</a:t>
            </a:r>
            <a:endParaRPr lang="en-CH" dirty="0"/>
          </a:p>
        </p:txBody>
      </p:sp>
      <p:sp>
        <p:nvSpPr>
          <p:cNvPr id="4" name="Slide Number Placeholder 3"/>
          <p:cNvSpPr>
            <a:spLocks noGrp="1"/>
          </p:cNvSpPr>
          <p:nvPr>
            <p:ph type="sldNum" sz="quarter" idx="5"/>
          </p:nvPr>
        </p:nvSpPr>
        <p:spPr/>
        <p:txBody>
          <a:bodyPr/>
          <a:lstStyle/>
          <a:p>
            <a:fld id="{0F7015D1-5F53-DE45-ABD7-4A40BB44AD40}" type="slidenum">
              <a:rPr lang="en-US" smtClean="0"/>
              <a:pPr/>
              <a:t>23</a:t>
            </a:fld>
            <a:endParaRPr lang="en-US"/>
          </a:p>
        </p:txBody>
      </p:sp>
    </p:spTree>
    <p:extLst>
      <p:ext uri="{BB962C8B-B14F-4D97-AF65-F5344CB8AC3E}">
        <p14:creationId xmlns:p14="http://schemas.microsoft.com/office/powerpoint/2010/main" val="34346282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nstop SecOps is a challenge to the industry to do better and hold themselves up to a higher standard.</a:t>
            </a:r>
          </a:p>
          <a:p>
            <a:endParaRPr lang="en-US" dirty="0"/>
          </a:p>
          <a:p>
            <a:r>
              <a:rPr lang="en-US" dirty="0"/>
              <a:t>One that puts trust, innovation, and empowerment above all else.</a:t>
            </a:r>
          </a:p>
        </p:txBody>
      </p:sp>
      <p:sp>
        <p:nvSpPr>
          <p:cNvPr id="4" name="Slide Number Placeholder 3"/>
          <p:cNvSpPr>
            <a:spLocks noGrp="1"/>
          </p:cNvSpPr>
          <p:nvPr>
            <p:ph type="sldNum" sz="quarter" idx="5"/>
          </p:nvPr>
        </p:nvSpPr>
        <p:spPr/>
        <p:txBody>
          <a:bodyPr/>
          <a:lstStyle/>
          <a:p>
            <a:fld id="{0F7015D1-5F53-DE45-ABD7-4A40BB44AD40}" type="slidenum">
              <a:rPr lang="en-US" smtClean="0"/>
              <a:pPr/>
              <a:t>24</a:t>
            </a:fld>
            <a:endParaRPr lang="en-US"/>
          </a:p>
        </p:txBody>
      </p:sp>
    </p:spTree>
    <p:extLst>
      <p:ext uri="{BB962C8B-B14F-4D97-AF65-F5344CB8AC3E}">
        <p14:creationId xmlns:p14="http://schemas.microsoft.com/office/powerpoint/2010/main" val="20550957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54462-25EC-A69F-50E7-2222156F09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187C79-687C-9D65-3459-DEDD4F7A75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7AF00D3-9B80-3D39-8A8B-8C47AA3CC405}"/>
              </a:ext>
            </a:extLst>
          </p:cNvPr>
          <p:cNvSpPr>
            <a:spLocks noGrp="1"/>
          </p:cNvSpPr>
          <p:nvPr>
            <p:ph type="body" idx="1"/>
          </p:nvPr>
        </p:nvSpPr>
        <p:spPr/>
        <p:txBody>
          <a:bodyPr/>
          <a:lstStyle/>
          <a:p>
            <a:r>
              <a:rPr lang="en-US" dirty="0">
                <a:cs typeface="Calibri"/>
              </a:rPr>
              <a:t>Include also the one in German</a:t>
            </a:r>
          </a:p>
        </p:txBody>
      </p:sp>
      <p:sp>
        <p:nvSpPr>
          <p:cNvPr id="4" name="Slide Number Placeholder 3">
            <a:extLst>
              <a:ext uri="{FF2B5EF4-FFF2-40B4-BE49-F238E27FC236}">
                <a16:creationId xmlns:a16="http://schemas.microsoft.com/office/drawing/2014/main" id="{62A9C626-7FD6-DA71-B335-BBE1CE3701A3}"/>
              </a:ext>
            </a:extLst>
          </p:cNvPr>
          <p:cNvSpPr>
            <a:spLocks noGrp="1"/>
          </p:cNvSpPr>
          <p:nvPr>
            <p:ph type="sldNum" sz="quarter" idx="5"/>
          </p:nvPr>
        </p:nvSpPr>
        <p:spPr/>
        <p:txBody>
          <a:bodyPr/>
          <a:lstStyle/>
          <a:p>
            <a:fld id="{0F7015D1-5F53-DE45-ABD7-4A40BB44AD40}" type="slidenum">
              <a:rPr lang="en-US" smtClean="0"/>
              <a:pPr/>
              <a:t>27</a:t>
            </a:fld>
            <a:endParaRPr lang="en-US"/>
          </a:p>
        </p:txBody>
      </p:sp>
    </p:spTree>
    <p:extLst>
      <p:ext uri="{BB962C8B-B14F-4D97-AF65-F5344CB8AC3E}">
        <p14:creationId xmlns:p14="http://schemas.microsoft.com/office/powerpoint/2010/main" val="4687615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FD2C9E-1F7A-D179-BFC9-4F9667D23FB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42D0D8-D9C8-1C8F-D841-0B938C6CDB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07C00C-3A4F-CF2B-B582-A3B942B88089}"/>
              </a:ext>
            </a:extLst>
          </p:cNvPr>
          <p:cNvSpPr>
            <a:spLocks noGrp="1"/>
          </p:cNvSpPr>
          <p:nvPr>
            <p:ph type="body" idx="1"/>
          </p:nvPr>
        </p:nvSpPr>
        <p:spPr/>
        <p:txBody>
          <a:bodyPr/>
          <a:lstStyle/>
          <a:p>
            <a:r>
              <a:rPr lang="de-DE" dirty="0">
                <a:cs typeface="Calibri"/>
              </a:rPr>
              <a:t>Wir laden Sie auch zu unserem Stand ein, um diese Präsentation weiter zu besprechen oder zu erklären, wie </a:t>
            </a:r>
            <a:r>
              <a:rPr lang="de-DE" dirty="0" err="1">
                <a:cs typeface="Calibri"/>
              </a:rPr>
              <a:t>Ontinue</a:t>
            </a:r>
            <a:r>
              <a:rPr lang="de-DE" dirty="0">
                <a:cs typeface="Calibri"/>
              </a:rPr>
              <a:t> bereits mehr als 200 Kunden dabei hilft, sicher zu bleiben.</a:t>
            </a:r>
            <a:endParaRPr lang="en-US" dirty="0">
              <a:cs typeface="Calibri"/>
            </a:endParaRPr>
          </a:p>
        </p:txBody>
      </p:sp>
      <p:sp>
        <p:nvSpPr>
          <p:cNvPr id="4" name="Slide Number Placeholder 3">
            <a:extLst>
              <a:ext uri="{FF2B5EF4-FFF2-40B4-BE49-F238E27FC236}">
                <a16:creationId xmlns:a16="http://schemas.microsoft.com/office/drawing/2014/main" id="{F8F1CC00-9118-C28B-8EFA-450CEAB42E4C}"/>
              </a:ext>
            </a:extLst>
          </p:cNvPr>
          <p:cNvSpPr>
            <a:spLocks noGrp="1"/>
          </p:cNvSpPr>
          <p:nvPr>
            <p:ph type="sldNum" sz="quarter" idx="5"/>
          </p:nvPr>
        </p:nvSpPr>
        <p:spPr/>
        <p:txBody>
          <a:bodyPr/>
          <a:lstStyle/>
          <a:p>
            <a:fld id="{0F7015D1-5F53-DE45-ABD7-4A40BB44AD40}" type="slidenum">
              <a:rPr lang="en-US" smtClean="0"/>
              <a:pPr/>
              <a:t>28</a:t>
            </a:fld>
            <a:endParaRPr lang="en-US"/>
          </a:p>
        </p:txBody>
      </p:sp>
    </p:spTree>
    <p:extLst>
      <p:ext uri="{BB962C8B-B14F-4D97-AF65-F5344CB8AC3E}">
        <p14:creationId xmlns:p14="http://schemas.microsoft.com/office/powerpoint/2010/main" val="9533028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C695AC-3FF0-D908-3A51-0679427F13B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E7E096-4CA4-32BF-1235-051117FC09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38D9F2D-5364-41C6-4237-F5A879050620}"/>
              </a:ext>
            </a:extLst>
          </p:cNvPr>
          <p:cNvSpPr>
            <a:spLocks noGrp="1"/>
          </p:cNvSpPr>
          <p:nvPr>
            <p:ph type="body" idx="1"/>
          </p:nvPr>
        </p:nvSpPr>
        <p:spPr/>
        <p:txBody>
          <a:bodyPr/>
          <a:lstStyle/>
          <a:p>
            <a:r>
              <a:rPr lang="en-US" dirty="0">
                <a:cs typeface="Calibri"/>
              </a:rPr>
              <a:t>We always see increases and decreased in attacks and techniques…mostly increases…but one that remains front and center is…</a:t>
            </a:r>
          </a:p>
          <a:p>
            <a:endParaRPr lang="en-US" dirty="0">
              <a:cs typeface="Calibri"/>
            </a:endParaRPr>
          </a:p>
          <a:p>
            <a:r>
              <a:rPr lang="en-US" dirty="0">
                <a:cs typeface="Calibri"/>
              </a:rPr>
              <a:t>----</a:t>
            </a:r>
          </a:p>
          <a:p>
            <a:r>
              <a:rPr lang="de-DE" dirty="0">
                <a:cs typeface="Calibri"/>
              </a:rPr>
              <a:t>Es gibt einen bestimmten Angriff, der immer wieder schlaflose Nächte bereitet</a:t>
            </a:r>
            <a:endParaRPr lang="en-US" dirty="0">
              <a:cs typeface="Calibri"/>
            </a:endParaRPr>
          </a:p>
          <a:p>
            <a:r>
              <a:rPr lang="en-US" dirty="0" err="1">
                <a:cs typeface="Calibri"/>
              </a:rPr>
              <a:t>Zunehmen</a:t>
            </a:r>
            <a:r>
              <a:rPr lang="en-US" dirty="0">
                <a:cs typeface="Calibri"/>
              </a:rPr>
              <a:t> </a:t>
            </a:r>
            <a:r>
              <a:rPr lang="en-US" dirty="0" err="1">
                <a:cs typeface="Calibri"/>
              </a:rPr>
              <a:t>abnehmen</a:t>
            </a:r>
            <a:endParaRPr lang="en-US" dirty="0">
              <a:cs typeface="Calibri"/>
            </a:endParaRPr>
          </a:p>
        </p:txBody>
      </p:sp>
      <p:sp>
        <p:nvSpPr>
          <p:cNvPr id="4" name="Slide Number Placeholder 3">
            <a:extLst>
              <a:ext uri="{FF2B5EF4-FFF2-40B4-BE49-F238E27FC236}">
                <a16:creationId xmlns:a16="http://schemas.microsoft.com/office/drawing/2014/main" id="{8541EEBD-5BC0-483B-A1ED-18360459CE99}"/>
              </a:ext>
            </a:extLst>
          </p:cNvPr>
          <p:cNvSpPr>
            <a:spLocks noGrp="1"/>
          </p:cNvSpPr>
          <p:nvPr>
            <p:ph type="sldNum" sz="quarter" idx="5"/>
          </p:nvPr>
        </p:nvSpPr>
        <p:spPr/>
        <p:txBody>
          <a:bodyPr/>
          <a:lstStyle/>
          <a:p>
            <a:fld id="{0F7015D1-5F53-DE45-ABD7-4A40BB44AD40}" type="slidenum">
              <a:rPr lang="en-US" smtClean="0"/>
              <a:pPr/>
              <a:t>3</a:t>
            </a:fld>
            <a:endParaRPr lang="en-US"/>
          </a:p>
        </p:txBody>
      </p:sp>
    </p:spTree>
    <p:extLst>
      <p:ext uri="{BB962C8B-B14F-4D97-AF65-F5344CB8AC3E}">
        <p14:creationId xmlns:p14="http://schemas.microsoft.com/office/powerpoint/2010/main" val="3224959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4BF695-B765-1B36-D2F8-7A1B47EAE0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F732700-29D8-A862-B7A9-221062A103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2FCEC4-EBCB-DF15-B531-65DDCEB389C1}"/>
              </a:ext>
            </a:extLst>
          </p:cNvPr>
          <p:cNvSpPr>
            <a:spLocks noGrp="1"/>
          </p:cNvSpPr>
          <p:nvPr>
            <p:ph type="body" idx="1"/>
          </p:nvPr>
        </p:nvSpPr>
        <p:spPr/>
        <p:txBody>
          <a:bodyPr/>
          <a:lstStyle/>
          <a:p>
            <a:pPr marR="0" lvl="0" defTabSz="914400" eaLnBrk="1" fontAlgn="auto" latinLnBrk="0" hangingPunct="1">
              <a:lnSpc>
                <a:spcPct val="100000"/>
              </a:lnSpc>
              <a:spcBef>
                <a:spcPts val="0"/>
              </a:spcBef>
              <a:spcAft>
                <a:spcPts val="0"/>
              </a:spcAft>
              <a:buClrTx/>
              <a:buSzTx/>
              <a:tabLst/>
              <a:defRPr/>
            </a:pPr>
            <a:r>
              <a:rPr kumimoji="0" lang="en-US" sz="1200" b="0" i="1" u="none" strike="noStrike" kern="0" cap="none" spc="0" normalizeH="0" baseline="0" noProof="0" dirty="0">
                <a:ln>
                  <a:noFill/>
                </a:ln>
                <a:solidFill>
                  <a:srgbClr val="FFFFFF"/>
                </a:solidFill>
                <a:effectLst/>
                <a:uLnTx/>
                <a:uFillTx/>
                <a:latin typeface="DM Sans" pitchFamily="2" charset="77"/>
              </a:rPr>
              <a:t>RaaS remains very popular. </a:t>
            </a:r>
            <a:r>
              <a:rPr kumimoji="0" lang="en-GB" sz="1200" b="0" i="1" u="none" strike="noStrike" kern="0" cap="none" spc="0" normalizeH="0" baseline="0" noProof="0" dirty="0">
                <a:ln>
                  <a:noFill/>
                </a:ln>
                <a:solidFill>
                  <a:srgbClr val="FFFFFF"/>
                </a:solidFill>
                <a:effectLst/>
                <a:uLnTx/>
                <a:uFillTx/>
                <a:latin typeface="DM Sans" pitchFamily="2" charset="77"/>
              </a:rPr>
              <a:t>R</a:t>
            </a:r>
            <a:r>
              <a:rPr lang="en-GB" b="0" dirty="0" err="1"/>
              <a:t>ansomware</a:t>
            </a:r>
            <a:r>
              <a:rPr lang="en-GB" b="0" dirty="0"/>
              <a:t> developers (operators) lease or sell their ransomware tools and infrastructure to other cybercriminals (affiliates). These affiliates then conduct ransomware attacks, and the profits from successful ransom payments are shared between the operator and the affiliate.</a:t>
            </a:r>
          </a:p>
          <a:p>
            <a:pPr marR="0" lvl="0" defTabSz="914400" eaLnBrk="1" fontAlgn="auto" latinLnBrk="0" hangingPunct="1">
              <a:lnSpc>
                <a:spcPct val="100000"/>
              </a:lnSpc>
              <a:spcBef>
                <a:spcPts val="0"/>
              </a:spcBef>
              <a:spcAft>
                <a:spcPts val="0"/>
              </a:spcAft>
              <a:buClrTx/>
              <a:buSzTx/>
              <a:tabLst/>
              <a:defRPr/>
            </a:pPr>
            <a:r>
              <a:rPr kumimoji="0" lang="en-GB" sz="1200" b="0" i="1" u="none" strike="noStrike" kern="0" cap="none" spc="0" normalizeH="0" baseline="0" noProof="0" dirty="0">
                <a:ln>
                  <a:noFill/>
                </a:ln>
                <a:solidFill>
                  <a:srgbClr val="FFFFFF"/>
                </a:solidFill>
                <a:effectLst/>
                <a:uLnTx/>
                <a:uFillTx/>
                <a:latin typeface="DM Sans" pitchFamily="2" charset="77"/>
              </a:rPr>
              <a:t>Affiliates are chosen for their IT skills. T</a:t>
            </a:r>
            <a:r>
              <a:rPr lang="en-GB" b="0" dirty="0"/>
              <a:t>heir ability to navigate enterprise networks, assess and disable backups, and target databases and virtualized environments.</a:t>
            </a:r>
          </a:p>
          <a:p>
            <a:pPr marR="0" lvl="0" defTabSz="914400" eaLnBrk="1" fontAlgn="auto" latinLnBrk="0" hangingPunct="1">
              <a:lnSpc>
                <a:spcPct val="100000"/>
              </a:lnSpc>
              <a:spcBef>
                <a:spcPts val="0"/>
              </a:spcBef>
              <a:spcAft>
                <a:spcPts val="0"/>
              </a:spcAft>
              <a:buClrTx/>
              <a:buSzTx/>
              <a:tabLst/>
              <a:defRPr/>
            </a:pPr>
            <a:endParaRPr kumimoji="0" lang="en-GB" sz="1200" b="0" i="1" u="none" strike="noStrike" kern="0" cap="none" spc="0" normalizeH="0" baseline="0" noProof="0" dirty="0">
              <a:ln>
                <a:noFill/>
              </a:ln>
              <a:solidFill>
                <a:srgbClr val="FFFFFF"/>
              </a:solidFill>
              <a:effectLst/>
              <a:uLnTx/>
              <a:uFillTx/>
              <a:latin typeface="DM Sans" pitchFamily="2" charset="77"/>
            </a:endParaRPr>
          </a:p>
          <a:p>
            <a:pPr marR="0" lvl="0" defTabSz="914400" eaLnBrk="1" fontAlgn="auto" latinLnBrk="0" hangingPunct="1">
              <a:lnSpc>
                <a:spcPct val="100000"/>
              </a:lnSpc>
              <a:spcBef>
                <a:spcPts val="0"/>
              </a:spcBef>
              <a:spcAft>
                <a:spcPts val="0"/>
              </a:spcAft>
              <a:buClrTx/>
              <a:buSzTx/>
              <a:tabLst/>
              <a:defRPr/>
            </a:pPr>
            <a:r>
              <a:rPr kumimoji="0" lang="en-GB" sz="1200" b="0" i="1" u="none" strike="noStrike" kern="0" cap="none" spc="0" normalizeH="0" baseline="0" noProof="0" dirty="0">
                <a:ln>
                  <a:noFill/>
                </a:ln>
                <a:solidFill>
                  <a:srgbClr val="FFFFFF"/>
                </a:solidFill>
                <a:effectLst/>
                <a:uLnTx/>
                <a:uFillTx/>
                <a:latin typeface="DM Sans" pitchFamily="2" charset="77"/>
              </a:rPr>
              <a:t>-----</a:t>
            </a:r>
          </a:p>
          <a:p>
            <a:pPr marR="0" lvl="0" defTabSz="914400" eaLnBrk="1" fontAlgn="auto" latinLnBrk="0" hangingPunct="1">
              <a:lnSpc>
                <a:spcPct val="100000"/>
              </a:lnSpc>
              <a:spcBef>
                <a:spcPts val="0"/>
              </a:spcBef>
              <a:spcAft>
                <a:spcPts val="0"/>
              </a:spcAft>
              <a:buClrTx/>
              <a:buSzTx/>
              <a:tabLst/>
              <a:defRPr/>
            </a:pPr>
            <a:r>
              <a:rPr kumimoji="0" lang="de-DE" sz="1200" b="0" i="1" u="none" strike="noStrike" kern="0" cap="none" spc="0" normalizeH="0" baseline="0" noProof="0" dirty="0">
                <a:ln>
                  <a:noFill/>
                </a:ln>
                <a:solidFill>
                  <a:srgbClr val="FFFFFF"/>
                </a:solidFill>
                <a:effectLst/>
                <a:uLnTx/>
                <a:uFillTx/>
                <a:latin typeface="DM Sans" pitchFamily="2" charset="77"/>
              </a:rPr>
              <a:t>führen dann Ransomware-Angriffe durch</a:t>
            </a:r>
          </a:p>
          <a:p>
            <a:pPr marR="0" lvl="0" defTabSz="914400" eaLnBrk="1" fontAlgn="auto" latinLnBrk="0" hangingPunct="1">
              <a:lnSpc>
                <a:spcPct val="100000"/>
              </a:lnSpc>
              <a:spcBef>
                <a:spcPts val="0"/>
              </a:spcBef>
              <a:spcAft>
                <a:spcPts val="0"/>
              </a:spcAft>
              <a:buClrTx/>
              <a:buSzTx/>
              <a:tabLst/>
              <a:defRPr/>
            </a:pPr>
            <a:r>
              <a:rPr kumimoji="0" lang="de-DE" sz="1200" b="0" i="1" u="none" strike="noStrike" kern="0" cap="none" spc="0" normalizeH="0" baseline="0" noProof="0" dirty="0">
                <a:ln>
                  <a:noFill/>
                </a:ln>
                <a:solidFill>
                  <a:srgbClr val="FFFFFF"/>
                </a:solidFill>
                <a:effectLst/>
                <a:uLnTx/>
                <a:uFillTx/>
                <a:latin typeface="DM Sans" pitchFamily="2" charset="77"/>
              </a:rPr>
              <a:t>erfolgreichen Lösegeldzahlungen werden zwischen dem Betreiber und dem Partnerunternehmen aufgeteilt.</a:t>
            </a:r>
            <a:endParaRPr kumimoji="0" lang="en-US" sz="1200" b="0" i="1" u="none" strike="noStrike" kern="0" cap="none" spc="0" normalizeH="0" baseline="0" noProof="0" dirty="0">
              <a:ln>
                <a:noFill/>
              </a:ln>
              <a:solidFill>
                <a:srgbClr val="FFFFFF"/>
              </a:solidFill>
              <a:effectLst/>
              <a:uLnTx/>
              <a:uFillTx/>
              <a:latin typeface="DM Sans" pitchFamily="2" charset="77"/>
            </a:endParaRPr>
          </a:p>
        </p:txBody>
      </p:sp>
      <p:sp>
        <p:nvSpPr>
          <p:cNvPr id="4" name="Slide Number Placeholder 3">
            <a:extLst>
              <a:ext uri="{FF2B5EF4-FFF2-40B4-BE49-F238E27FC236}">
                <a16:creationId xmlns:a16="http://schemas.microsoft.com/office/drawing/2014/main" id="{5412E770-77C8-C11B-D1C2-EC98082F3688}"/>
              </a:ext>
            </a:extLst>
          </p:cNvPr>
          <p:cNvSpPr>
            <a:spLocks noGrp="1"/>
          </p:cNvSpPr>
          <p:nvPr>
            <p:ph type="sldNum" sz="quarter" idx="5"/>
          </p:nvPr>
        </p:nvSpPr>
        <p:spPr/>
        <p:txBody>
          <a:bodyPr/>
          <a:lstStyle/>
          <a:p>
            <a:fld id="{0F7015D1-5F53-DE45-ABD7-4A40BB44AD40}" type="slidenum">
              <a:rPr lang="en-US" smtClean="0"/>
              <a:pPr/>
              <a:t>4</a:t>
            </a:fld>
            <a:endParaRPr lang="en-US"/>
          </a:p>
        </p:txBody>
      </p:sp>
    </p:spTree>
    <p:extLst>
      <p:ext uri="{BB962C8B-B14F-4D97-AF65-F5344CB8AC3E}">
        <p14:creationId xmlns:p14="http://schemas.microsoft.com/office/powerpoint/2010/main" val="3736032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04491B-8304-8F22-7C0F-C7875218C5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7397927-46B1-710F-BF9E-C7898FC2F0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D530D3-F3A2-A016-2805-994BDBC6D0A0}"/>
              </a:ext>
            </a:extLst>
          </p:cNvPr>
          <p:cNvSpPr>
            <a:spLocks noGrp="1"/>
          </p:cNvSpPr>
          <p:nvPr>
            <p:ph type="body" idx="1"/>
          </p:nvPr>
        </p:nvSpPr>
        <p:spPr/>
        <p:txBody>
          <a:bodyPr/>
          <a:lstStyle/>
          <a:p>
            <a:r>
              <a:rPr lang="en-GB" b="0" i="0" dirty="0">
                <a:solidFill>
                  <a:srgbClr val="736985"/>
                </a:solidFill>
                <a:effectLst/>
                <a:latin typeface="DM Sans" pitchFamily="2" charset="0"/>
              </a:rPr>
              <a:t>Let’s look at some numbers. According to </a:t>
            </a:r>
            <a:r>
              <a:rPr lang="en-GB" b="0" i="0" dirty="0" err="1">
                <a:solidFill>
                  <a:srgbClr val="736985"/>
                </a:solidFill>
                <a:effectLst/>
                <a:latin typeface="DM Sans" pitchFamily="2" charset="0"/>
              </a:rPr>
              <a:t>Ontinue’s</a:t>
            </a:r>
            <a:r>
              <a:rPr lang="en-GB" b="0" i="0" dirty="0">
                <a:solidFill>
                  <a:srgbClr val="736985"/>
                </a:solidFill>
                <a:effectLst/>
                <a:latin typeface="DM Sans" pitchFamily="2" charset="0"/>
              </a:rPr>
              <a:t> 2H 2024 Threat Intelligence Report, ransomware attacks surged 132%, even as ransom payments dropped by 35%. This is interesting. </a:t>
            </a:r>
            <a:r>
              <a:rPr lang="en-GB" dirty="0"/>
              <a:t>This decline may indicate a growing resistance to ransom payments, coupled with law enforcement actions disrupting ransomware groups.</a:t>
            </a:r>
          </a:p>
          <a:p>
            <a:r>
              <a:rPr lang="en-GB" dirty="0"/>
              <a:t>This could indicate that ransomware groups are conducting more attacks to compensate for lower ransom success rates.</a:t>
            </a:r>
          </a:p>
          <a:p>
            <a:r>
              <a:rPr lang="en-GB" dirty="0"/>
              <a:t>---</a:t>
            </a:r>
          </a:p>
          <a:p>
            <a:r>
              <a:rPr lang="de-DE" dirty="0"/>
              <a:t>Schauen wir uns einige Zahlen an</a:t>
            </a:r>
            <a:endParaRPr lang="en-GB" dirty="0"/>
          </a:p>
          <a:p>
            <a:r>
              <a:rPr lang="en-GB" dirty="0"/>
              <a:t>Laut </a:t>
            </a:r>
            <a:r>
              <a:rPr lang="en-GB" dirty="0" err="1"/>
              <a:t>dem</a:t>
            </a:r>
            <a:r>
              <a:rPr lang="en-GB" dirty="0"/>
              <a:t> </a:t>
            </a:r>
            <a:r>
              <a:rPr lang="en-GB" dirty="0" err="1"/>
              <a:t>Bericht</a:t>
            </a:r>
            <a:endParaRPr lang="en-GB" dirty="0"/>
          </a:p>
          <a:p>
            <a:r>
              <a:rPr lang="de-DE" dirty="0"/>
              <a:t>Dieser Rückgang könnte auf einen wachsenden Widerstand gegen Lösegeldzahlungen hindeuten, </a:t>
            </a:r>
            <a:r>
              <a:rPr lang="de-DE" b="0" i="0" dirty="0">
                <a:solidFill>
                  <a:srgbClr val="3C4043"/>
                </a:solidFill>
                <a:effectLst/>
                <a:latin typeface="Roboto" panose="02000000000000000000" pitchFamily="2" charset="0"/>
              </a:rPr>
              <a:t>gepaart mit Maßnahmen von Strafverfolgungsbehörden zur Zerschlagung von Ransomware-Gruppen.</a:t>
            </a:r>
          </a:p>
          <a:p>
            <a:r>
              <a:rPr lang="de-DE" dirty="0"/>
              <a:t>Dies könnte erklären, warum mehr Angriffe beobachtet werden. Sie versuchen, ihre Chancen zu erhöhen, indem sie mehr Angriffe durchführen.</a:t>
            </a:r>
            <a:endParaRPr lang="en-CH" dirty="0"/>
          </a:p>
        </p:txBody>
      </p:sp>
      <p:sp>
        <p:nvSpPr>
          <p:cNvPr id="4" name="Slide Number Placeholder 3">
            <a:extLst>
              <a:ext uri="{FF2B5EF4-FFF2-40B4-BE49-F238E27FC236}">
                <a16:creationId xmlns:a16="http://schemas.microsoft.com/office/drawing/2014/main" id="{681C3786-A1B9-495C-52FE-847AB7C9F58E}"/>
              </a:ext>
            </a:extLst>
          </p:cNvPr>
          <p:cNvSpPr>
            <a:spLocks noGrp="1"/>
          </p:cNvSpPr>
          <p:nvPr>
            <p:ph type="sldNum" sz="quarter" idx="5"/>
          </p:nvPr>
        </p:nvSpPr>
        <p:spPr/>
        <p:txBody>
          <a:bodyPr/>
          <a:lstStyle/>
          <a:p>
            <a:fld id="{0F7015D1-5F53-DE45-ABD7-4A40BB44AD40}" type="slidenum">
              <a:rPr lang="en-US" smtClean="0"/>
              <a:pPr/>
              <a:t>5</a:t>
            </a:fld>
            <a:endParaRPr lang="en-US"/>
          </a:p>
        </p:txBody>
      </p:sp>
    </p:spTree>
    <p:extLst>
      <p:ext uri="{BB962C8B-B14F-4D97-AF65-F5344CB8AC3E}">
        <p14:creationId xmlns:p14="http://schemas.microsoft.com/office/powerpoint/2010/main" val="2306988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1A8A8-5C84-2973-05E5-C9B4390FFF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3DDE92D-7F41-811C-4F03-4AC7806036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2A3A10-D2AA-3E27-4BEC-10AFF03CB5CF}"/>
              </a:ext>
            </a:extLst>
          </p:cNvPr>
          <p:cNvSpPr>
            <a:spLocks noGrp="1"/>
          </p:cNvSpPr>
          <p:nvPr>
            <p:ph type="body" idx="1"/>
          </p:nvPr>
        </p:nvSpPr>
        <p:spPr/>
        <p:txBody>
          <a:bodyPr/>
          <a:lstStyle/>
          <a:p>
            <a:r>
              <a:rPr lang="en-GB" b="0" i="0" dirty="0">
                <a:solidFill>
                  <a:srgbClr val="736985"/>
                </a:solidFill>
                <a:effectLst/>
                <a:latin typeface="DM Sans" pitchFamily="2" charset="0"/>
              </a:rPr>
              <a:t>Manufacturing has become the prime target for ransomware attacks. Why? Because downtime in this sector means lost production, missed deadlines, and massive financial impact. Threat actors know that manufacturers often can’t afford prolonged disruptions, making them more likely to pay – or at least suffer significant operational consequences.</a:t>
            </a:r>
          </a:p>
          <a:p>
            <a:endParaRPr lang="en-GB" b="0" i="0" dirty="0">
              <a:solidFill>
                <a:srgbClr val="736985"/>
              </a:solidFill>
              <a:effectLst/>
              <a:latin typeface="DM Sans"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Ransomware attacks affect organizations of all sizes. Data suggests that while large enterprises remain targets, smaller organizations are frequently impacted, often struggling with recovery due to limited re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err="1"/>
              <a:t>Ausfallzeit</a:t>
            </a: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Bedrohungsakteure wissen, dass sich Hersteller längere Unterbrechungen oft nicht leisten können, weshalb sie eher zahlen müss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Ransomware-Angriffe betreffen Unternehmen von jeder Größe.</a:t>
            </a:r>
            <a:endParaRPr lang="en-CH" dirty="0"/>
          </a:p>
        </p:txBody>
      </p:sp>
      <p:sp>
        <p:nvSpPr>
          <p:cNvPr id="4" name="Slide Number Placeholder 3">
            <a:extLst>
              <a:ext uri="{FF2B5EF4-FFF2-40B4-BE49-F238E27FC236}">
                <a16:creationId xmlns:a16="http://schemas.microsoft.com/office/drawing/2014/main" id="{727DE0A5-605C-9E2B-598E-76F74F0DEDFA}"/>
              </a:ext>
            </a:extLst>
          </p:cNvPr>
          <p:cNvSpPr>
            <a:spLocks noGrp="1"/>
          </p:cNvSpPr>
          <p:nvPr>
            <p:ph type="sldNum" sz="quarter" idx="5"/>
          </p:nvPr>
        </p:nvSpPr>
        <p:spPr/>
        <p:txBody>
          <a:bodyPr/>
          <a:lstStyle/>
          <a:p>
            <a:fld id="{0F7015D1-5F53-DE45-ABD7-4A40BB44AD40}" type="slidenum">
              <a:rPr lang="en-US" smtClean="0"/>
              <a:pPr/>
              <a:t>6</a:t>
            </a:fld>
            <a:endParaRPr lang="en-US"/>
          </a:p>
        </p:txBody>
      </p:sp>
    </p:spTree>
    <p:extLst>
      <p:ext uri="{BB962C8B-B14F-4D97-AF65-F5344CB8AC3E}">
        <p14:creationId xmlns:p14="http://schemas.microsoft.com/office/powerpoint/2010/main" val="21402757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49CA2CB-5ECC-3E91-D184-AE95BB3FBEE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709CF4-DFE8-D447-3DD4-F2DC9FE36C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3266F3-B52A-27C0-EAD3-0AAECF83C37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s cyber </a:t>
            </a:r>
            <a:r>
              <a:rPr lang="en-GB" dirty="0" err="1"/>
              <a:t>defenses</a:t>
            </a:r>
            <a:r>
              <a:rPr lang="en-GB" dirty="0"/>
              <a:t> evolve, threat actors are </a:t>
            </a:r>
            <a:r>
              <a:rPr lang="en-GB" b="1" dirty="0"/>
              <a:t>continuously adapting their delivery methods to evade detection and maximize persistence</a:t>
            </a:r>
            <a:r>
              <a:rPr lang="en-GB" dirty="0"/>
              <a:t>. Traditional malware delivery techniques, such as email-based phishing and exploit kits, remain prevalent, but attackers are increasingly leveraging browser extensions and malvertising as </a:t>
            </a:r>
            <a:r>
              <a:rPr lang="en-GB" b="1" dirty="0"/>
              <a:t>stealthier alternatives</a:t>
            </a:r>
            <a:r>
              <a:rPr lang="en-GB" dirty="0"/>
              <a:t>. These methods exploit user </a:t>
            </a:r>
            <a:r>
              <a:rPr lang="en-GB" dirty="0" err="1"/>
              <a:t>behavior</a:t>
            </a:r>
            <a:r>
              <a:rPr lang="en-GB" dirty="0"/>
              <a:t> and system recovery processes, making them particularly effective at reinfecting devices even after remediation effor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err="1"/>
              <a:t>Entgehen</a:t>
            </a:r>
            <a:r>
              <a:rPr lang="en-GB" dirty="0"/>
              <a:t> (evade) / </a:t>
            </a:r>
            <a:r>
              <a:rPr lang="en-GB" dirty="0" err="1"/>
              <a:t>vermeiden</a:t>
            </a:r>
            <a:r>
              <a:rPr lang="en-GB" dirty="0"/>
              <a:t> (avoid)</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err="1"/>
              <a:t>unauffälligere</a:t>
            </a:r>
            <a:r>
              <a:rPr lang="en-GB" dirty="0"/>
              <a:t> </a:t>
            </a:r>
            <a:r>
              <a:rPr lang="en-GB" dirty="0" err="1"/>
              <a:t>Alternativen</a:t>
            </a:r>
            <a:r>
              <a:rPr lang="en-GB"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err="1"/>
              <a:t>Benutzerverhalten</a:t>
            </a:r>
            <a:r>
              <a:rPr lang="en-GB" dirty="0"/>
              <a:t> und </a:t>
            </a:r>
            <a:r>
              <a:rPr lang="en-GB" dirty="0" err="1"/>
              <a:t>Wiederherstellungsprozesse</a:t>
            </a:r>
            <a:r>
              <a:rPr lang="en-GB" dirty="0"/>
              <a:t>.</a:t>
            </a:r>
          </a:p>
          <a:p>
            <a:endParaRPr lang="en-US" dirty="0">
              <a:cs typeface="Calibri"/>
            </a:endParaRPr>
          </a:p>
        </p:txBody>
      </p:sp>
      <p:sp>
        <p:nvSpPr>
          <p:cNvPr id="4" name="Slide Number Placeholder 3">
            <a:extLst>
              <a:ext uri="{FF2B5EF4-FFF2-40B4-BE49-F238E27FC236}">
                <a16:creationId xmlns:a16="http://schemas.microsoft.com/office/drawing/2014/main" id="{95FA1922-0B04-7FEC-DD11-3556BC83AC00}"/>
              </a:ext>
            </a:extLst>
          </p:cNvPr>
          <p:cNvSpPr>
            <a:spLocks noGrp="1"/>
          </p:cNvSpPr>
          <p:nvPr>
            <p:ph type="sldNum" sz="quarter" idx="5"/>
          </p:nvPr>
        </p:nvSpPr>
        <p:spPr/>
        <p:txBody>
          <a:bodyPr/>
          <a:lstStyle/>
          <a:p>
            <a:fld id="{0F7015D1-5F53-DE45-ABD7-4A40BB44AD40}" type="slidenum">
              <a:rPr lang="en-US" smtClean="0"/>
              <a:pPr/>
              <a:t>7</a:t>
            </a:fld>
            <a:endParaRPr lang="en-US"/>
          </a:p>
        </p:txBody>
      </p:sp>
    </p:spTree>
    <p:extLst>
      <p:ext uri="{BB962C8B-B14F-4D97-AF65-F5344CB8AC3E}">
        <p14:creationId xmlns:p14="http://schemas.microsoft.com/office/powerpoint/2010/main" val="3005323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E6162E-896C-81AC-D4FC-068146A638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7F2A24-A75C-B7C5-F1E5-6A85ED7EACF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486AB7-DB75-FF42-CC0E-D2E3BDCBB503}"/>
              </a:ext>
            </a:extLst>
          </p:cNvPr>
          <p:cNvSpPr>
            <a:spLocks noGrp="1"/>
          </p:cNvSpPr>
          <p:nvPr>
            <p:ph type="body" idx="1"/>
          </p:nvPr>
        </p:nvSpPr>
        <p:spPr/>
        <p:txBody>
          <a:bodyPr/>
          <a:lstStyle/>
          <a:p>
            <a:r>
              <a:rPr lang="en-GB" b="1" dirty="0"/>
              <a:t>Examples</a:t>
            </a:r>
            <a:r>
              <a:rPr lang="en-GB" dirty="0"/>
              <a:t> of exploitation:</a:t>
            </a:r>
            <a:br>
              <a:rPr lang="en-GB" dirty="0"/>
            </a:br>
            <a:r>
              <a:rPr lang="en-GB" dirty="0"/>
              <a:t>- Browser extensions, especially those on Chrome, are being exploited to deliver information-stealing malware. This method is particularly effective because the malicious extensions can persist even after a system is reimaged. Users often unknowingly reintroduce the threat by reimporting their browser profiles, including the infected extensions, during the recovery process.</a:t>
            </a:r>
          </a:p>
          <a:p>
            <a:pPr marL="171450" indent="-171450">
              <a:buFontTx/>
              <a:buChar char="-"/>
            </a:pPr>
            <a:r>
              <a:rPr lang="en-GB" dirty="0"/>
              <a:t>Malvertising campaigns are coercing users into executing malicious PowerShell commands by instructing them to copy and paste the code directly into their system. These campaigns often guide users to open the ‘Run’ dialog using the Windows + R shortcut and then paste the commands using CTRL + V.</a:t>
            </a:r>
          </a:p>
          <a:p>
            <a:pPr marL="0" indent="0">
              <a:buFontTx/>
              <a:buNone/>
            </a:pPr>
            <a:r>
              <a:rPr lang="en-GB" dirty="0"/>
              <a:t>-----------</a:t>
            </a:r>
          </a:p>
          <a:p>
            <a:pPr marL="0" indent="0">
              <a:buFontTx/>
              <a:buNone/>
            </a:pPr>
            <a:r>
              <a:rPr lang="de-DE" b="0" i="0" dirty="0">
                <a:solidFill>
                  <a:srgbClr val="3C4043"/>
                </a:solidFill>
                <a:effectLst/>
                <a:latin typeface="Roboto" panose="02000000000000000000" pitchFamily="2" charset="0"/>
              </a:rPr>
              <a:t>Browsererweiterungen, insbesondere für Chrome, werden missbraucht, um Malware zum Diebstahl von Informationen zu verbreiten. Diese Methode ist besonders effektiv, da die schädlichen Erweiterungen auch nach der Wiederherstellung des Systems bestehen bleiben können. Benutzer führen die Bedrohung oft unwissentlich erneut ein, indem sie während der Wiederherstellung ihre Browserprofile inklusive der infizierten Erweiterungen erneut importieren.</a:t>
            </a:r>
          </a:p>
          <a:p>
            <a:pPr marL="0" indent="0">
              <a:buFontTx/>
              <a:buNone/>
            </a:pPr>
            <a:endParaRPr lang="de-DE" b="0" i="0" dirty="0">
              <a:solidFill>
                <a:srgbClr val="3C4043"/>
              </a:solidFill>
              <a:effectLst/>
              <a:latin typeface="Roboto" panose="02000000000000000000" pitchFamily="2" charset="0"/>
            </a:endParaRPr>
          </a:p>
          <a:p>
            <a:pPr marL="0" indent="0">
              <a:buFontTx/>
              <a:buNone/>
            </a:pPr>
            <a:r>
              <a:rPr lang="de-DE" dirty="0" err="1"/>
              <a:t>Malvertising</a:t>
            </a:r>
            <a:r>
              <a:rPr lang="de-DE" dirty="0"/>
              <a:t>-Kampagnen zwingen Benutzer zur Ausführung bösartiger PowerShell-Befehle, indem sie den Code direkt in ihr System kopieren und einfügen. Diese Kampagnen fordern Benutzer häufig auf, den Dialog „Ausführen“ mit der Tastenkombination Windows + R zu öffnen und die Befehle anschließend mit STRG + V einzufügen.</a:t>
            </a:r>
            <a:endParaRPr lang="en-GB" dirty="0"/>
          </a:p>
        </p:txBody>
      </p:sp>
      <p:sp>
        <p:nvSpPr>
          <p:cNvPr id="4" name="Slide Number Placeholder 3">
            <a:extLst>
              <a:ext uri="{FF2B5EF4-FFF2-40B4-BE49-F238E27FC236}">
                <a16:creationId xmlns:a16="http://schemas.microsoft.com/office/drawing/2014/main" id="{FAAA1AC1-CDDC-97C2-5E2E-52A5529605E5}"/>
              </a:ext>
            </a:extLst>
          </p:cNvPr>
          <p:cNvSpPr>
            <a:spLocks noGrp="1"/>
          </p:cNvSpPr>
          <p:nvPr>
            <p:ph type="sldNum" sz="quarter" idx="5"/>
          </p:nvPr>
        </p:nvSpPr>
        <p:spPr/>
        <p:txBody>
          <a:bodyPr/>
          <a:lstStyle/>
          <a:p>
            <a:fld id="{0F7015D1-5F53-DE45-ABD7-4A40BB44AD40}" type="slidenum">
              <a:rPr lang="en-US" smtClean="0"/>
              <a:pPr/>
              <a:t>8</a:t>
            </a:fld>
            <a:endParaRPr lang="en-US"/>
          </a:p>
        </p:txBody>
      </p:sp>
    </p:spTree>
    <p:extLst>
      <p:ext uri="{BB962C8B-B14F-4D97-AF65-F5344CB8AC3E}">
        <p14:creationId xmlns:p14="http://schemas.microsoft.com/office/powerpoint/2010/main" val="3574509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CC9B2A-A993-2A2F-FB47-2B4EA7AD5A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9AC6A4-AF90-9BF3-9266-90058D72DC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08C51B-AE2A-CD71-36F4-FB391A9C6F61}"/>
              </a:ext>
            </a:extLst>
          </p:cNvPr>
          <p:cNvSpPr>
            <a:spLocks noGrp="1"/>
          </p:cNvSpPr>
          <p:nvPr>
            <p:ph type="body" idx="1"/>
          </p:nvPr>
        </p:nvSpPr>
        <p:spPr/>
        <p:txBody>
          <a:bodyPr/>
          <a:lstStyle/>
          <a:p>
            <a:endParaRPr lang="en-US" dirty="0">
              <a:cs typeface="Calibri"/>
            </a:endParaRPr>
          </a:p>
        </p:txBody>
      </p:sp>
      <p:sp>
        <p:nvSpPr>
          <p:cNvPr id="4" name="Slide Number Placeholder 3">
            <a:extLst>
              <a:ext uri="{FF2B5EF4-FFF2-40B4-BE49-F238E27FC236}">
                <a16:creationId xmlns:a16="http://schemas.microsoft.com/office/drawing/2014/main" id="{36A83523-4673-62F0-0BC1-B285D5730CB5}"/>
              </a:ext>
            </a:extLst>
          </p:cNvPr>
          <p:cNvSpPr>
            <a:spLocks noGrp="1"/>
          </p:cNvSpPr>
          <p:nvPr>
            <p:ph type="sldNum" sz="quarter" idx="5"/>
          </p:nvPr>
        </p:nvSpPr>
        <p:spPr/>
        <p:txBody>
          <a:bodyPr/>
          <a:lstStyle/>
          <a:p>
            <a:fld id="{0F7015D1-5F53-DE45-ABD7-4A40BB44AD40}" type="slidenum">
              <a:rPr lang="en-US" smtClean="0"/>
              <a:pPr/>
              <a:t>9</a:t>
            </a:fld>
            <a:endParaRPr lang="en-US"/>
          </a:p>
        </p:txBody>
      </p:sp>
    </p:spTree>
    <p:extLst>
      <p:ext uri="{BB962C8B-B14F-4D97-AF65-F5344CB8AC3E}">
        <p14:creationId xmlns:p14="http://schemas.microsoft.com/office/powerpoint/2010/main" val="17769972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image" Target="../media/image7.sv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3.svg"/><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9.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3.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5.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6.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0.xml"/><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3.svg"/><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7EDB0-EEC0-DAA4-457A-E734AF6FBDAF}"/>
              </a:ext>
            </a:extLst>
          </p:cNvPr>
          <p:cNvPicPr>
            <a:picLocks noChangeAspect="1"/>
          </p:cNvPicPr>
          <p:nvPr userDrawn="1"/>
        </p:nvPicPr>
        <p:blipFill>
          <a:blip r:embed="rId3"/>
          <a:srcRect l="66" t="3908" b="3908"/>
          <a:stretch/>
        </p:blipFill>
        <p:spPr>
          <a:xfrm>
            <a:off x="-24619" y="-24618"/>
            <a:ext cx="12246251" cy="6907235"/>
          </a:xfrm>
          <a:prstGeom prst="rect">
            <a:avLst/>
          </a:prstGeom>
        </p:spPr>
      </p:pic>
      <p:graphicFrame>
        <p:nvGraphicFramePr>
          <p:cNvPr id="7" name="think-cell data - do not delete" hidden="1">
            <a:extLst>
              <a:ext uri="{FF2B5EF4-FFF2-40B4-BE49-F238E27FC236}">
                <a16:creationId xmlns:a16="http://schemas.microsoft.com/office/drawing/2014/main" id="{ADA7A44B-8689-D466-AF05-252C4DB493B7}"/>
              </a:ext>
            </a:extLst>
          </p:cNvPr>
          <p:cNvGraphicFramePr>
            <a:graphicFrameLocks noChangeAspect="1"/>
          </p:cNvGraphicFramePr>
          <p:nvPr userDrawn="1">
            <p:custDataLst>
              <p:tags r:id="rId1"/>
            </p:custDataLst>
            <p:extLst>
              <p:ext uri="{D42A27DB-BD31-4B8C-83A1-F6EECF244321}">
                <p14:modId xmlns:p14="http://schemas.microsoft.com/office/powerpoint/2010/main" val="28390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ADA7A44B-8689-D466-AF05-252C4DB493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928422-A9E3-E873-E8FE-CD2559D39A7F}"/>
              </a:ext>
            </a:extLst>
          </p:cNvPr>
          <p:cNvSpPr>
            <a:spLocks noGrp="1"/>
          </p:cNvSpPr>
          <p:nvPr>
            <p:ph type="ctrTitle" hasCustomPrompt="1"/>
          </p:nvPr>
        </p:nvSpPr>
        <p:spPr>
          <a:xfrm>
            <a:off x="617132" y="2499192"/>
            <a:ext cx="5883060" cy="1344984"/>
          </a:xfrm>
        </p:spPr>
        <p:txBody>
          <a:bodyPr vert="horz" anchor="t"/>
          <a:lstStyle>
            <a:lvl1pPr algn="l" rtl="0">
              <a:defRPr sz="4800" b="0" i="0">
                <a:solidFill>
                  <a:schemeClr val="tx1"/>
                </a:solidFill>
                <a:latin typeface="Aleo SemiBold" pitchFamily="2" charset="77"/>
              </a:defRPr>
            </a:lvl1pPr>
          </a:lstStyle>
          <a:p>
            <a:r>
              <a:rPr lang="en-US"/>
              <a:t>Presentation Title Goes Here</a:t>
            </a:r>
          </a:p>
        </p:txBody>
      </p:sp>
      <p:sp>
        <p:nvSpPr>
          <p:cNvPr id="3" name="Subtitle 2">
            <a:extLst>
              <a:ext uri="{FF2B5EF4-FFF2-40B4-BE49-F238E27FC236}">
                <a16:creationId xmlns:a16="http://schemas.microsoft.com/office/drawing/2014/main" id="{DFD855F4-2981-54CC-A56F-102E053DF5FE}"/>
              </a:ext>
            </a:extLst>
          </p:cNvPr>
          <p:cNvSpPr>
            <a:spLocks noGrp="1"/>
          </p:cNvSpPr>
          <p:nvPr>
            <p:ph type="subTitle" idx="1" hasCustomPrompt="1"/>
          </p:nvPr>
        </p:nvSpPr>
        <p:spPr>
          <a:xfrm>
            <a:off x="617132" y="3946527"/>
            <a:ext cx="5883060" cy="276999"/>
          </a:xfrm>
        </p:spPr>
        <p:txBody>
          <a:bodyPr/>
          <a:lstStyle>
            <a:lvl1pPr marL="0" indent="0" algn="l" rtl="0">
              <a:buNone/>
              <a:defRPr sz="1800">
                <a:solidFill>
                  <a:schemeClr val="accent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your name and title</a:t>
            </a:r>
          </a:p>
        </p:txBody>
      </p:sp>
      <p:pic>
        <p:nvPicPr>
          <p:cNvPr id="8" name="Picture 7">
            <a:extLst>
              <a:ext uri="{FF2B5EF4-FFF2-40B4-BE49-F238E27FC236}">
                <a16:creationId xmlns:a16="http://schemas.microsoft.com/office/drawing/2014/main" id="{76B87504-7F32-F187-A18F-FFC921536480}"/>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19271" y="443395"/>
            <a:ext cx="1199016" cy="254029"/>
          </a:xfrm>
          <a:prstGeom prst="rect">
            <a:avLst/>
          </a:prstGeom>
        </p:spPr>
      </p:pic>
      <p:sp>
        <p:nvSpPr>
          <p:cNvPr id="12" name="Rectangle 11">
            <a:extLst>
              <a:ext uri="{FF2B5EF4-FFF2-40B4-BE49-F238E27FC236}">
                <a16:creationId xmlns:a16="http://schemas.microsoft.com/office/drawing/2014/main" id="{B20C1E12-3606-39BA-F7E4-997FE45C9C78}"/>
              </a:ext>
            </a:extLst>
          </p:cNvPr>
          <p:cNvSpPr/>
          <p:nvPr userDrawn="1"/>
        </p:nvSpPr>
        <p:spPr>
          <a:xfrm>
            <a:off x="-24619" y="8626"/>
            <a:ext cx="183645" cy="6858000"/>
          </a:xfrm>
          <a:prstGeom prst="rect">
            <a:avLst/>
          </a:prstGeom>
          <a:gradFill>
            <a:gsLst>
              <a:gs pos="0">
                <a:schemeClr val="accent4"/>
              </a:gs>
              <a:gs pos="51000">
                <a:schemeClr val="accent1"/>
              </a:gs>
              <a:gs pos="100000">
                <a:schemeClr val="accent2"/>
              </a:gs>
            </a:gsLst>
            <a:lin ang="5400000" scaled="0"/>
          </a:gradFill>
          <a:ln>
            <a:noFill/>
          </a:ln>
          <a:effectLst>
            <a:outerShdw blurRad="419100" dist="88900" algn="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353125442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Right, Image Le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236D318A-4294-DB3A-0F79-70449F4BF544}"/>
              </a:ext>
            </a:extLst>
          </p:cNvPr>
          <p:cNvSpPr>
            <a:spLocks noGrp="1"/>
          </p:cNvSpPr>
          <p:nvPr>
            <p:ph type="pic" sz="quarter" idx="14"/>
          </p:nvPr>
        </p:nvSpPr>
        <p:spPr>
          <a:xfrm>
            <a:off x="0" y="0"/>
            <a:ext cx="4648258" cy="6858000"/>
          </a:xfrm>
        </p:spPr>
        <p:txBody>
          <a:bodyPr/>
          <a:lstStyle/>
          <a:p>
            <a:endParaRPr lang="en-US"/>
          </a:p>
        </p:txBody>
      </p:sp>
      <p:sp>
        <p:nvSpPr>
          <p:cNvPr id="5" name="Rectangle 4">
            <a:extLst>
              <a:ext uri="{FF2B5EF4-FFF2-40B4-BE49-F238E27FC236}">
                <a16:creationId xmlns:a16="http://schemas.microsoft.com/office/drawing/2014/main" id="{3E64F303-A284-6404-7436-7C7C2B3C24F5}"/>
              </a:ext>
            </a:extLst>
          </p:cNvPr>
          <p:cNvSpPr/>
          <p:nvPr userDrawn="1"/>
        </p:nvSpPr>
        <p:spPr>
          <a:xfrm>
            <a:off x="4648258" y="8626"/>
            <a:ext cx="115679" cy="6858000"/>
          </a:xfrm>
          <a:prstGeom prst="rect">
            <a:avLst/>
          </a:prstGeom>
          <a:gradFill>
            <a:gsLst>
              <a:gs pos="0">
                <a:schemeClr val="accent4"/>
              </a:gs>
              <a:gs pos="51000">
                <a:schemeClr val="accent1"/>
              </a:gs>
              <a:gs pos="100000">
                <a:schemeClr val="accent2"/>
              </a:gs>
            </a:gsLst>
            <a:lin ang="5400000" scaled="0"/>
          </a:gradFill>
          <a:ln>
            <a:noFill/>
          </a:ln>
          <a:effectLst>
            <a:outerShdw blurRad="419100" dist="88900" dir="10800000" algn="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Inhaltsplatzhalter 18">
            <a:extLst>
              <a:ext uri="{FF2B5EF4-FFF2-40B4-BE49-F238E27FC236}">
                <a16:creationId xmlns:a16="http://schemas.microsoft.com/office/drawing/2014/main" id="{1D327B7B-C4AD-EBA0-1FF0-AF8DD18630D9}"/>
              </a:ext>
            </a:extLst>
          </p:cNvPr>
          <p:cNvSpPr>
            <a:spLocks noGrp="1"/>
          </p:cNvSpPr>
          <p:nvPr>
            <p:ph sz="quarter" idx="13" hasCustomPrompt="1"/>
          </p:nvPr>
        </p:nvSpPr>
        <p:spPr>
          <a:xfrm>
            <a:off x="5250583" y="900768"/>
            <a:ext cx="6484098" cy="246221"/>
          </a:xfrm>
        </p:spPr>
        <p:txBody>
          <a:bodyPr wrap="square">
            <a:spAutoFit/>
          </a:bodyPr>
          <a:lstStyle>
            <a:lvl1pP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8" name="Inhaltsplatzhalter 18">
            <a:extLst>
              <a:ext uri="{FF2B5EF4-FFF2-40B4-BE49-F238E27FC236}">
                <a16:creationId xmlns:a16="http://schemas.microsoft.com/office/drawing/2014/main" id="{29BEC051-26CE-9CBA-1A36-F03698BE379A}"/>
              </a:ext>
            </a:extLst>
          </p:cNvPr>
          <p:cNvSpPr>
            <a:spLocks noGrp="1"/>
          </p:cNvSpPr>
          <p:nvPr>
            <p:ph sz="quarter" idx="12"/>
          </p:nvPr>
        </p:nvSpPr>
        <p:spPr>
          <a:xfrm>
            <a:off x="5250584" y="1377108"/>
            <a:ext cx="6484097" cy="4931617"/>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599852B-5CB0-994B-7E48-193493A7373C}"/>
              </a:ext>
            </a:extLst>
          </p:cNvPr>
          <p:cNvSpPr>
            <a:spLocks noGrp="1"/>
          </p:cNvSpPr>
          <p:nvPr>
            <p:ph type="title" hasCustomPrompt="1"/>
          </p:nvPr>
        </p:nvSpPr>
        <p:spPr>
          <a:xfrm>
            <a:off x="5250582" y="365922"/>
            <a:ext cx="6484097" cy="505844"/>
          </a:xfrm>
        </p:spPr>
        <p:txBody>
          <a:bodyPr/>
          <a:lstStyle/>
          <a:p>
            <a:r>
              <a:rPr lang="en-US"/>
              <a:t>Headline copy goes here</a:t>
            </a:r>
          </a:p>
        </p:txBody>
      </p:sp>
    </p:spTree>
    <p:extLst>
      <p:ext uri="{BB962C8B-B14F-4D97-AF65-F5344CB8AC3E}">
        <p14:creationId xmlns:p14="http://schemas.microsoft.com/office/powerpoint/2010/main" val="1919195140"/>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nhaltsplatzhalter 18">
            <a:extLst>
              <a:ext uri="{FF2B5EF4-FFF2-40B4-BE49-F238E27FC236}">
                <a16:creationId xmlns:a16="http://schemas.microsoft.com/office/drawing/2014/main" id="{56C48648-6A97-4CD6-B92B-EA61B28C5DBF}"/>
              </a:ext>
            </a:extLst>
          </p:cNvPr>
          <p:cNvSpPr>
            <a:spLocks noGrp="1"/>
          </p:cNvSpPr>
          <p:nvPr>
            <p:ph sz="quarter" idx="12"/>
          </p:nvPr>
        </p:nvSpPr>
        <p:spPr>
          <a:xfrm>
            <a:off x="442913" y="1377108"/>
            <a:ext cx="11306175" cy="4931617"/>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Inhaltsplatzhalter 18">
            <a:extLst>
              <a:ext uri="{FF2B5EF4-FFF2-40B4-BE49-F238E27FC236}">
                <a16:creationId xmlns:a16="http://schemas.microsoft.com/office/drawing/2014/main" id="{985718E2-A599-E6EB-5F2F-6D9B6153B9B6}"/>
              </a:ext>
            </a:extLst>
          </p:cNvPr>
          <p:cNvSpPr>
            <a:spLocks noGrp="1"/>
          </p:cNvSpPr>
          <p:nvPr>
            <p:ph sz="quarter" idx="13" hasCustomPrompt="1"/>
          </p:nvPr>
        </p:nvSpPr>
        <p:spPr>
          <a:xfrm>
            <a:off x="442913" y="900768"/>
            <a:ext cx="10752614" cy="246221"/>
          </a:xfrm>
        </p:spPr>
        <p:txBody>
          <a:bodyPr wrap="square">
            <a:spAutoFit/>
          </a:bodyPr>
          <a:lstStyle>
            <a:lvl1pP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2" name="Title 1">
            <a:extLst>
              <a:ext uri="{FF2B5EF4-FFF2-40B4-BE49-F238E27FC236}">
                <a16:creationId xmlns:a16="http://schemas.microsoft.com/office/drawing/2014/main" id="{044CC08A-3189-9630-B8E6-295C50E392F6}"/>
              </a:ext>
            </a:extLst>
          </p:cNvPr>
          <p:cNvSpPr>
            <a:spLocks noGrp="1"/>
          </p:cNvSpPr>
          <p:nvPr>
            <p:ph type="title" hasCustomPrompt="1"/>
          </p:nvPr>
        </p:nvSpPr>
        <p:spPr>
          <a:xfrm>
            <a:off x="442912" y="365922"/>
            <a:ext cx="10752614" cy="505844"/>
          </a:xfrm>
        </p:spPr>
        <p:txBody>
          <a:bodyPr/>
          <a:lstStyle/>
          <a:p>
            <a:r>
              <a:rPr lang="en-US"/>
              <a:t>Headline copy goes here</a:t>
            </a:r>
          </a:p>
        </p:txBody>
      </p:sp>
      <p:pic>
        <p:nvPicPr>
          <p:cNvPr id="4" name="Graphic 3">
            <a:extLst>
              <a:ext uri="{FF2B5EF4-FFF2-40B4-BE49-F238E27FC236}">
                <a16:creationId xmlns:a16="http://schemas.microsoft.com/office/drawing/2014/main" id="{A99A5BB3-F549-222A-22B5-0D4E3D0BC39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Tree>
    <p:extLst>
      <p:ext uri="{BB962C8B-B14F-4D97-AF65-F5344CB8AC3E}">
        <p14:creationId xmlns:p14="http://schemas.microsoft.com/office/powerpoint/2010/main" val="97507559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 Column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nhaltsplatzhalter 18">
            <a:extLst>
              <a:ext uri="{FF2B5EF4-FFF2-40B4-BE49-F238E27FC236}">
                <a16:creationId xmlns:a16="http://schemas.microsoft.com/office/drawing/2014/main" id="{56C48648-6A97-4CD6-B92B-EA61B28C5DBF}"/>
              </a:ext>
            </a:extLst>
          </p:cNvPr>
          <p:cNvSpPr>
            <a:spLocks noGrp="1"/>
          </p:cNvSpPr>
          <p:nvPr>
            <p:ph sz="quarter" idx="12"/>
          </p:nvPr>
        </p:nvSpPr>
        <p:spPr>
          <a:xfrm>
            <a:off x="442913" y="1325880"/>
            <a:ext cx="5473699" cy="4982845"/>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442913" y="900768"/>
            <a:ext cx="10752614" cy="246221"/>
          </a:xfrm>
        </p:spPr>
        <p:txBody>
          <a:bodyPr wrap="square">
            <a:spAutoFit/>
          </a:bodyPr>
          <a:lstStyle>
            <a:lvl1pP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3" name="Inhaltsplatzhalter 18">
            <a:extLst>
              <a:ext uri="{FF2B5EF4-FFF2-40B4-BE49-F238E27FC236}">
                <a16:creationId xmlns:a16="http://schemas.microsoft.com/office/drawing/2014/main" id="{508FB507-52BF-17BA-453C-E64A542ECFEE}"/>
              </a:ext>
            </a:extLst>
          </p:cNvPr>
          <p:cNvSpPr>
            <a:spLocks noGrp="1"/>
          </p:cNvSpPr>
          <p:nvPr>
            <p:ph sz="quarter" idx="14"/>
          </p:nvPr>
        </p:nvSpPr>
        <p:spPr>
          <a:xfrm>
            <a:off x="6275389" y="1325880"/>
            <a:ext cx="5473699" cy="4982845"/>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F32FB50-9F5A-87FE-2E2C-9D6E899F6CA3}"/>
              </a:ext>
            </a:extLst>
          </p:cNvPr>
          <p:cNvSpPr>
            <a:spLocks noGrp="1"/>
          </p:cNvSpPr>
          <p:nvPr>
            <p:ph type="title" hasCustomPrompt="1"/>
          </p:nvPr>
        </p:nvSpPr>
        <p:spPr/>
        <p:txBody>
          <a:bodyPr/>
          <a:lstStyle/>
          <a:p>
            <a:r>
              <a:rPr lang="en-US"/>
              <a:t>Headline copy goes here</a:t>
            </a:r>
          </a:p>
        </p:txBody>
      </p:sp>
      <p:pic>
        <p:nvPicPr>
          <p:cNvPr id="6" name="Graphic 5">
            <a:extLst>
              <a:ext uri="{FF2B5EF4-FFF2-40B4-BE49-F238E27FC236}">
                <a16:creationId xmlns:a16="http://schemas.microsoft.com/office/drawing/2014/main" id="{3B03BFF3-F3A7-46BB-5AFB-C0369812314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Tree>
    <p:extLst>
      <p:ext uri="{BB962C8B-B14F-4D97-AF65-F5344CB8AC3E}">
        <p14:creationId xmlns:p14="http://schemas.microsoft.com/office/powerpoint/2010/main" val="2616786512"/>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 Column Imag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nhaltsplatzhalter 18">
            <a:extLst>
              <a:ext uri="{FF2B5EF4-FFF2-40B4-BE49-F238E27FC236}">
                <a16:creationId xmlns:a16="http://schemas.microsoft.com/office/drawing/2014/main" id="{56C48648-6A97-4CD6-B92B-EA61B28C5DBF}"/>
              </a:ext>
            </a:extLst>
          </p:cNvPr>
          <p:cNvSpPr>
            <a:spLocks noGrp="1"/>
          </p:cNvSpPr>
          <p:nvPr>
            <p:ph sz="quarter" idx="12"/>
          </p:nvPr>
        </p:nvSpPr>
        <p:spPr>
          <a:xfrm>
            <a:off x="442913" y="5138928"/>
            <a:ext cx="5473699" cy="1435607"/>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442913" y="900768"/>
            <a:ext cx="10752614" cy="246221"/>
          </a:xfrm>
        </p:spPr>
        <p:txBody>
          <a:bodyPr wrap="square">
            <a:spAutoFit/>
          </a:bodyPr>
          <a:lstStyle>
            <a:lvl1pP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3" name="Inhaltsplatzhalter 18">
            <a:extLst>
              <a:ext uri="{FF2B5EF4-FFF2-40B4-BE49-F238E27FC236}">
                <a16:creationId xmlns:a16="http://schemas.microsoft.com/office/drawing/2014/main" id="{508FB507-52BF-17BA-453C-E64A542ECFEE}"/>
              </a:ext>
            </a:extLst>
          </p:cNvPr>
          <p:cNvSpPr>
            <a:spLocks noGrp="1"/>
          </p:cNvSpPr>
          <p:nvPr>
            <p:ph sz="quarter" idx="14"/>
          </p:nvPr>
        </p:nvSpPr>
        <p:spPr>
          <a:xfrm>
            <a:off x="6275389" y="5138928"/>
            <a:ext cx="5473699" cy="1435607"/>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6994B662-CA6C-3746-B51D-1375F542AA34}"/>
              </a:ext>
            </a:extLst>
          </p:cNvPr>
          <p:cNvSpPr>
            <a:spLocks noGrp="1"/>
          </p:cNvSpPr>
          <p:nvPr>
            <p:ph type="pic" sz="quarter" idx="15"/>
          </p:nvPr>
        </p:nvSpPr>
        <p:spPr>
          <a:xfrm>
            <a:off x="442913" y="1325880"/>
            <a:ext cx="5456237" cy="3121214"/>
          </a:xfrm>
          <a:prstGeom prst="roundRect">
            <a:avLst/>
          </a:prstGeom>
        </p:spPr>
        <p:txBody>
          <a:bodyPr/>
          <a:lstStyle/>
          <a:p>
            <a:endParaRPr lang="en-US"/>
          </a:p>
        </p:txBody>
      </p:sp>
      <p:sp>
        <p:nvSpPr>
          <p:cNvPr id="5" name="Picture Placeholder 3">
            <a:extLst>
              <a:ext uri="{FF2B5EF4-FFF2-40B4-BE49-F238E27FC236}">
                <a16:creationId xmlns:a16="http://schemas.microsoft.com/office/drawing/2014/main" id="{C7C3AE28-B6E7-8859-B745-D96A432326B4}"/>
              </a:ext>
            </a:extLst>
          </p:cNvPr>
          <p:cNvSpPr>
            <a:spLocks noGrp="1"/>
          </p:cNvSpPr>
          <p:nvPr>
            <p:ph type="pic" sz="quarter" idx="16"/>
          </p:nvPr>
        </p:nvSpPr>
        <p:spPr>
          <a:xfrm>
            <a:off x="6275389" y="1325880"/>
            <a:ext cx="5456237" cy="3121214"/>
          </a:xfrm>
          <a:prstGeom prst="roundRect">
            <a:avLst/>
          </a:prstGeom>
        </p:spPr>
        <p:txBody>
          <a:bodyPr/>
          <a:lstStyle/>
          <a:p>
            <a:endParaRPr lang="en-US"/>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442913" y="4661682"/>
            <a:ext cx="5456237" cy="276999"/>
          </a:xfrm>
        </p:spPr>
        <p:txBody>
          <a:bodyPr/>
          <a:lstStyle>
            <a:lvl1pPr>
              <a:defRPr sz="1800" b="1"/>
            </a:lvl1pPr>
          </a:lstStyle>
          <a:p>
            <a:pPr lvl="0"/>
            <a:r>
              <a:rPr lang="en-US"/>
              <a:t>Column 1 Header Goes Here</a:t>
            </a:r>
          </a:p>
        </p:txBody>
      </p:sp>
      <p:sp>
        <p:nvSpPr>
          <p:cNvPr id="12" name="Text Placeholder 10">
            <a:extLst>
              <a:ext uri="{FF2B5EF4-FFF2-40B4-BE49-F238E27FC236}">
                <a16:creationId xmlns:a16="http://schemas.microsoft.com/office/drawing/2014/main" id="{E4D2648B-8C0F-1102-1884-E62CBF70D16E}"/>
              </a:ext>
            </a:extLst>
          </p:cNvPr>
          <p:cNvSpPr>
            <a:spLocks noGrp="1"/>
          </p:cNvSpPr>
          <p:nvPr>
            <p:ph type="body" sz="quarter" idx="18" hasCustomPrompt="1"/>
          </p:nvPr>
        </p:nvSpPr>
        <p:spPr>
          <a:xfrm>
            <a:off x="6275389" y="4661682"/>
            <a:ext cx="5456237" cy="276999"/>
          </a:xfrm>
        </p:spPr>
        <p:txBody>
          <a:bodyPr/>
          <a:lstStyle>
            <a:lvl1pPr>
              <a:defRPr sz="1800" b="1"/>
            </a:lvl1pPr>
          </a:lstStyle>
          <a:p>
            <a:pPr lvl="0"/>
            <a:r>
              <a:rPr lang="en-US"/>
              <a:t>Column 2 Header Goes Here</a:t>
            </a:r>
          </a:p>
        </p:txBody>
      </p:sp>
      <p:sp>
        <p:nvSpPr>
          <p:cNvPr id="6" name="Title 5">
            <a:extLst>
              <a:ext uri="{FF2B5EF4-FFF2-40B4-BE49-F238E27FC236}">
                <a16:creationId xmlns:a16="http://schemas.microsoft.com/office/drawing/2014/main" id="{67EED600-62CD-EF96-EC4A-79DC094E22B6}"/>
              </a:ext>
            </a:extLst>
          </p:cNvPr>
          <p:cNvSpPr>
            <a:spLocks noGrp="1"/>
          </p:cNvSpPr>
          <p:nvPr>
            <p:ph type="title" hasCustomPrompt="1"/>
          </p:nvPr>
        </p:nvSpPr>
        <p:spPr/>
        <p:txBody>
          <a:bodyPr/>
          <a:lstStyle/>
          <a:p>
            <a:r>
              <a:rPr lang="en-US"/>
              <a:t>Headline copy goes here</a:t>
            </a:r>
          </a:p>
        </p:txBody>
      </p:sp>
      <p:pic>
        <p:nvPicPr>
          <p:cNvPr id="7" name="Graphic 6">
            <a:extLst>
              <a:ext uri="{FF2B5EF4-FFF2-40B4-BE49-F238E27FC236}">
                <a16:creationId xmlns:a16="http://schemas.microsoft.com/office/drawing/2014/main" id="{10D1F8F4-EB4F-5FF0-2090-7FA6A9D8031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Tree>
    <p:extLst>
      <p:ext uri="{BB962C8B-B14F-4D97-AF65-F5344CB8AC3E}">
        <p14:creationId xmlns:p14="http://schemas.microsoft.com/office/powerpoint/2010/main" val="148599465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3 Column Imag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Inhaltsplatzhalter 18">
            <a:extLst>
              <a:ext uri="{FF2B5EF4-FFF2-40B4-BE49-F238E27FC236}">
                <a16:creationId xmlns:a16="http://schemas.microsoft.com/office/drawing/2014/main" id="{56C48648-6A97-4CD6-B92B-EA61B28C5DBF}"/>
              </a:ext>
            </a:extLst>
          </p:cNvPr>
          <p:cNvSpPr>
            <a:spLocks noGrp="1"/>
          </p:cNvSpPr>
          <p:nvPr>
            <p:ph sz="quarter" idx="12"/>
          </p:nvPr>
        </p:nvSpPr>
        <p:spPr>
          <a:xfrm>
            <a:off x="442914" y="5200011"/>
            <a:ext cx="3292096" cy="1218042"/>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442913" y="900768"/>
            <a:ext cx="10752614" cy="246221"/>
          </a:xfrm>
        </p:spPr>
        <p:txBody>
          <a:bodyPr wrap="square">
            <a:spAutoFit/>
          </a:bodyPr>
          <a:lstStyle>
            <a:lvl1pP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4" name="Picture Placeholder 3">
            <a:extLst>
              <a:ext uri="{FF2B5EF4-FFF2-40B4-BE49-F238E27FC236}">
                <a16:creationId xmlns:a16="http://schemas.microsoft.com/office/drawing/2014/main" id="{6994B662-CA6C-3746-B51D-1375F542AA34}"/>
              </a:ext>
            </a:extLst>
          </p:cNvPr>
          <p:cNvSpPr>
            <a:spLocks noGrp="1"/>
          </p:cNvSpPr>
          <p:nvPr>
            <p:ph type="pic" sz="quarter" idx="15"/>
          </p:nvPr>
        </p:nvSpPr>
        <p:spPr>
          <a:xfrm>
            <a:off x="442914" y="1593850"/>
            <a:ext cx="3281594" cy="2989439"/>
          </a:xfrm>
          <a:prstGeom prst="roundRect">
            <a:avLst/>
          </a:prstGeom>
        </p:spPr>
        <p:txBody>
          <a:bodyPr/>
          <a:lstStyle/>
          <a:p>
            <a:endParaRPr lang="en-US"/>
          </a:p>
        </p:txBody>
      </p:sp>
      <p:sp>
        <p:nvSpPr>
          <p:cNvPr id="15" name="Picture Placeholder 3">
            <a:extLst>
              <a:ext uri="{FF2B5EF4-FFF2-40B4-BE49-F238E27FC236}">
                <a16:creationId xmlns:a16="http://schemas.microsoft.com/office/drawing/2014/main" id="{60C6DCC3-7131-2879-B9F5-B923A51E7E06}"/>
              </a:ext>
            </a:extLst>
          </p:cNvPr>
          <p:cNvSpPr>
            <a:spLocks noGrp="1"/>
          </p:cNvSpPr>
          <p:nvPr>
            <p:ph type="pic" sz="quarter" idx="17"/>
          </p:nvPr>
        </p:nvSpPr>
        <p:spPr>
          <a:xfrm>
            <a:off x="4432305" y="1593850"/>
            <a:ext cx="3281594" cy="2989439"/>
          </a:xfrm>
          <a:prstGeom prst="roundRect">
            <a:avLst/>
          </a:prstGeom>
        </p:spPr>
        <p:txBody>
          <a:bodyPr/>
          <a:lstStyle/>
          <a:p>
            <a:endParaRPr lang="en-US"/>
          </a:p>
        </p:txBody>
      </p:sp>
      <p:sp>
        <p:nvSpPr>
          <p:cNvPr id="17" name="Picture Placeholder 3">
            <a:extLst>
              <a:ext uri="{FF2B5EF4-FFF2-40B4-BE49-F238E27FC236}">
                <a16:creationId xmlns:a16="http://schemas.microsoft.com/office/drawing/2014/main" id="{0833EFF3-14CE-E5BD-2637-849E86C078AB}"/>
              </a:ext>
            </a:extLst>
          </p:cNvPr>
          <p:cNvSpPr>
            <a:spLocks noGrp="1"/>
          </p:cNvSpPr>
          <p:nvPr>
            <p:ph type="pic" sz="quarter" idx="19"/>
          </p:nvPr>
        </p:nvSpPr>
        <p:spPr>
          <a:xfrm>
            <a:off x="8484239" y="1593850"/>
            <a:ext cx="3281594" cy="2989439"/>
          </a:xfrm>
          <a:prstGeom prst="roundRect">
            <a:avLst/>
          </a:prstGeom>
        </p:spPr>
        <p:txBody>
          <a:bodyPr/>
          <a:lstStyle/>
          <a:p>
            <a:endParaRPr lang="en-US"/>
          </a:p>
        </p:txBody>
      </p:sp>
      <p:sp>
        <p:nvSpPr>
          <p:cNvPr id="2" name="Inhaltsplatzhalter 18">
            <a:extLst>
              <a:ext uri="{FF2B5EF4-FFF2-40B4-BE49-F238E27FC236}">
                <a16:creationId xmlns:a16="http://schemas.microsoft.com/office/drawing/2014/main" id="{B6795ADC-F295-C4B7-8DA6-461F4CC05030}"/>
              </a:ext>
            </a:extLst>
          </p:cNvPr>
          <p:cNvSpPr>
            <a:spLocks noGrp="1"/>
          </p:cNvSpPr>
          <p:nvPr>
            <p:ph sz="quarter" idx="20"/>
          </p:nvPr>
        </p:nvSpPr>
        <p:spPr>
          <a:xfrm>
            <a:off x="4421803" y="5194200"/>
            <a:ext cx="3292096" cy="1297878"/>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Inhaltsplatzhalter 18">
            <a:extLst>
              <a:ext uri="{FF2B5EF4-FFF2-40B4-BE49-F238E27FC236}">
                <a16:creationId xmlns:a16="http://schemas.microsoft.com/office/drawing/2014/main" id="{9B77FAD6-40BF-04BF-3078-CF270B806CBB}"/>
              </a:ext>
            </a:extLst>
          </p:cNvPr>
          <p:cNvSpPr>
            <a:spLocks noGrp="1"/>
          </p:cNvSpPr>
          <p:nvPr>
            <p:ph sz="quarter" idx="21"/>
          </p:nvPr>
        </p:nvSpPr>
        <p:spPr>
          <a:xfrm>
            <a:off x="8484239" y="5194199"/>
            <a:ext cx="3292096" cy="1297878"/>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10">
            <a:extLst>
              <a:ext uri="{FF2B5EF4-FFF2-40B4-BE49-F238E27FC236}">
                <a16:creationId xmlns:a16="http://schemas.microsoft.com/office/drawing/2014/main" id="{216AFE05-8B07-B5D5-6119-4F487BCD5C26}"/>
              </a:ext>
            </a:extLst>
          </p:cNvPr>
          <p:cNvSpPr>
            <a:spLocks noGrp="1"/>
          </p:cNvSpPr>
          <p:nvPr>
            <p:ph type="body" sz="quarter" idx="22" hasCustomPrompt="1"/>
          </p:nvPr>
        </p:nvSpPr>
        <p:spPr>
          <a:xfrm>
            <a:off x="442913" y="4753151"/>
            <a:ext cx="3292097" cy="276999"/>
          </a:xfrm>
        </p:spPr>
        <p:txBody>
          <a:bodyPr/>
          <a:lstStyle>
            <a:lvl1pPr>
              <a:defRPr sz="1800" b="1"/>
            </a:lvl1pPr>
          </a:lstStyle>
          <a:p>
            <a:pPr lvl="0"/>
            <a:r>
              <a:rPr lang="en-US"/>
              <a:t>Column 1 Header Goes Here</a:t>
            </a:r>
          </a:p>
        </p:txBody>
      </p:sp>
      <p:sp>
        <p:nvSpPr>
          <p:cNvPr id="6" name="Text Placeholder 10">
            <a:extLst>
              <a:ext uri="{FF2B5EF4-FFF2-40B4-BE49-F238E27FC236}">
                <a16:creationId xmlns:a16="http://schemas.microsoft.com/office/drawing/2014/main" id="{6E868D3F-2618-117C-3A35-E81101A9972C}"/>
              </a:ext>
            </a:extLst>
          </p:cNvPr>
          <p:cNvSpPr>
            <a:spLocks noGrp="1"/>
          </p:cNvSpPr>
          <p:nvPr>
            <p:ph type="body" sz="quarter" idx="23" hasCustomPrompt="1"/>
          </p:nvPr>
        </p:nvSpPr>
        <p:spPr>
          <a:xfrm>
            <a:off x="4421802" y="4753151"/>
            <a:ext cx="3292097" cy="276999"/>
          </a:xfrm>
        </p:spPr>
        <p:txBody>
          <a:bodyPr/>
          <a:lstStyle>
            <a:lvl1pPr>
              <a:defRPr sz="1800" b="1"/>
            </a:lvl1pPr>
          </a:lstStyle>
          <a:p>
            <a:pPr lvl="0"/>
            <a:r>
              <a:rPr lang="en-US"/>
              <a:t>Column 2 Header Goes Here</a:t>
            </a:r>
          </a:p>
        </p:txBody>
      </p:sp>
      <p:sp>
        <p:nvSpPr>
          <p:cNvPr id="7" name="Text Placeholder 10">
            <a:extLst>
              <a:ext uri="{FF2B5EF4-FFF2-40B4-BE49-F238E27FC236}">
                <a16:creationId xmlns:a16="http://schemas.microsoft.com/office/drawing/2014/main" id="{620C21EC-7256-5C53-C64E-7E3CE2B42EB8}"/>
              </a:ext>
            </a:extLst>
          </p:cNvPr>
          <p:cNvSpPr>
            <a:spLocks noGrp="1"/>
          </p:cNvSpPr>
          <p:nvPr>
            <p:ph type="body" sz="quarter" idx="24" hasCustomPrompt="1"/>
          </p:nvPr>
        </p:nvSpPr>
        <p:spPr>
          <a:xfrm>
            <a:off x="8484239" y="4753151"/>
            <a:ext cx="3292097" cy="276999"/>
          </a:xfrm>
        </p:spPr>
        <p:txBody>
          <a:bodyPr/>
          <a:lstStyle>
            <a:lvl1pPr>
              <a:defRPr sz="1800" b="1"/>
            </a:lvl1pPr>
          </a:lstStyle>
          <a:p>
            <a:pPr lvl="0"/>
            <a:r>
              <a:rPr lang="en-US"/>
              <a:t>Column 3 Header Goes Here</a:t>
            </a:r>
          </a:p>
        </p:txBody>
      </p:sp>
      <p:pic>
        <p:nvPicPr>
          <p:cNvPr id="8" name="Graphic 7">
            <a:extLst>
              <a:ext uri="{FF2B5EF4-FFF2-40B4-BE49-F238E27FC236}">
                <a16:creationId xmlns:a16="http://schemas.microsoft.com/office/drawing/2014/main" id="{97253522-6F50-5F23-7BA3-02BAB876FB7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
        <p:nvSpPr>
          <p:cNvPr id="11" name="Title 10">
            <a:extLst>
              <a:ext uri="{FF2B5EF4-FFF2-40B4-BE49-F238E27FC236}">
                <a16:creationId xmlns:a16="http://schemas.microsoft.com/office/drawing/2014/main" id="{AD3C40FF-78AA-E093-9C59-F10688ED26E3}"/>
              </a:ext>
            </a:extLst>
          </p:cNvPr>
          <p:cNvSpPr>
            <a:spLocks noGrp="1"/>
          </p:cNvSpPr>
          <p:nvPr>
            <p:ph type="title" hasCustomPrompt="1"/>
          </p:nvPr>
        </p:nvSpPr>
        <p:spPr/>
        <p:txBody>
          <a:bodyPr/>
          <a:lstStyle/>
          <a:p>
            <a:r>
              <a:rPr lang="en-US"/>
              <a:t>Headline copy goes here</a:t>
            </a:r>
          </a:p>
        </p:txBody>
      </p:sp>
    </p:spTree>
    <p:extLst>
      <p:ext uri="{BB962C8B-B14F-4D97-AF65-F5344CB8AC3E}">
        <p14:creationId xmlns:p14="http://schemas.microsoft.com/office/powerpoint/2010/main" val="123338061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2 Stat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963877" y="898674"/>
            <a:ext cx="10264243" cy="246221"/>
          </a:xfrm>
        </p:spPr>
        <p:txBody>
          <a:bodyPr wrap="square">
            <a:spAutoFit/>
          </a:bodyPr>
          <a:lstStyle>
            <a:lvl1pPr algn="ct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1735284" y="4945147"/>
            <a:ext cx="3794824" cy="276999"/>
          </a:xfrm>
        </p:spPr>
        <p:txBody>
          <a:bodyPr/>
          <a:lstStyle>
            <a:lvl1pPr algn="ctr">
              <a:defRPr sz="1800" b="1"/>
            </a:lvl1pPr>
          </a:lstStyle>
          <a:p>
            <a:r>
              <a:rPr lang="en-US"/>
              <a:t>Stat 1 callout title goes here</a:t>
            </a:r>
          </a:p>
        </p:txBody>
      </p:sp>
      <p:sp>
        <p:nvSpPr>
          <p:cNvPr id="2" name="Oval 1">
            <a:extLst>
              <a:ext uri="{FF2B5EF4-FFF2-40B4-BE49-F238E27FC236}">
                <a16:creationId xmlns:a16="http://schemas.microsoft.com/office/drawing/2014/main" id="{F1179731-4A46-DAE3-E3E5-30A4113BDD3A}"/>
              </a:ext>
            </a:extLst>
          </p:cNvPr>
          <p:cNvSpPr/>
          <p:nvPr userDrawn="1"/>
        </p:nvSpPr>
        <p:spPr>
          <a:xfrm>
            <a:off x="2234046" y="1829321"/>
            <a:ext cx="2784764" cy="2784764"/>
          </a:xfrm>
          <a:prstGeom prst="ellipse">
            <a:avLst/>
          </a:prstGeom>
          <a:solidFill>
            <a:schemeClr val="accent1">
              <a:alpha val="11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10">
            <a:extLst>
              <a:ext uri="{FF2B5EF4-FFF2-40B4-BE49-F238E27FC236}">
                <a16:creationId xmlns:a16="http://schemas.microsoft.com/office/drawing/2014/main" id="{55C55BD2-DA31-AE25-17DD-35921E473835}"/>
              </a:ext>
            </a:extLst>
          </p:cNvPr>
          <p:cNvSpPr>
            <a:spLocks noGrp="1"/>
          </p:cNvSpPr>
          <p:nvPr>
            <p:ph type="body" sz="quarter" idx="19" hasCustomPrompt="1"/>
          </p:nvPr>
        </p:nvSpPr>
        <p:spPr>
          <a:xfrm>
            <a:off x="6649750" y="4945147"/>
            <a:ext cx="3794824" cy="276999"/>
          </a:xfrm>
        </p:spPr>
        <p:txBody>
          <a:bodyPr/>
          <a:lstStyle>
            <a:lvl1pPr algn="ctr">
              <a:defRPr sz="1800" b="1"/>
            </a:lvl1pPr>
          </a:lstStyle>
          <a:p>
            <a:r>
              <a:rPr lang="en-US"/>
              <a:t>Stat 2 callout title goes here</a:t>
            </a:r>
          </a:p>
        </p:txBody>
      </p:sp>
      <p:sp>
        <p:nvSpPr>
          <p:cNvPr id="14" name="Oval 13">
            <a:extLst>
              <a:ext uri="{FF2B5EF4-FFF2-40B4-BE49-F238E27FC236}">
                <a16:creationId xmlns:a16="http://schemas.microsoft.com/office/drawing/2014/main" id="{0F8BEA83-D192-1EB8-D087-E0C146C6C509}"/>
              </a:ext>
            </a:extLst>
          </p:cNvPr>
          <p:cNvSpPr/>
          <p:nvPr userDrawn="1"/>
        </p:nvSpPr>
        <p:spPr>
          <a:xfrm>
            <a:off x="7169728" y="1836375"/>
            <a:ext cx="2784764" cy="2784764"/>
          </a:xfrm>
          <a:prstGeom prst="ellipse">
            <a:avLst/>
          </a:prstGeom>
          <a:solidFill>
            <a:schemeClr val="accent1">
              <a:alpha val="11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Text Placeholder 10">
            <a:extLst>
              <a:ext uri="{FF2B5EF4-FFF2-40B4-BE49-F238E27FC236}">
                <a16:creationId xmlns:a16="http://schemas.microsoft.com/office/drawing/2014/main" id="{730A120B-B2DF-C701-D2B8-15E20AD7200C}"/>
              </a:ext>
            </a:extLst>
          </p:cNvPr>
          <p:cNvSpPr>
            <a:spLocks noGrp="1"/>
          </p:cNvSpPr>
          <p:nvPr>
            <p:ph type="body" sz="quarter" idx="20" hasCustomPrompt="1"/>
          </p:nvPr>
        </p:nvSpPr>
        <p:spPr>
          <a:xfrm>
            <a:off x="2317172" y="2698483"/>
            <a:ext cx="2618511" cy="1046440"/>
          </a:xfrm>
        </p:spPr>
        <p:txBody>
          <a:bodyPr anchor="ctr"/>
          <a:lstStyle>
            <a:lvl1pPr algn="ctr">
              <a:defRPr sz="6800" b="1" i="0">
                <a:latin typeface="Aleo SemiBold" pitchFamily="2" charset="77"/>
              </a:defRPr>
            </a:lvl1pPr>
          </a:lstStyle>
          <a:p>
            <a:pPr lvl="0"/>
            <a:r>
              <a:rPr lang="en-US"/>
              <a:t>40%</a:t>
            </a:r>
          </a:p>
        </p:txBody>
      </p:sp>
      <p:sp>
        <p:nvSpPr>
          <p:cNvPr id="18" name="Text Placeholder 10">
            <a:extLst>
              <a:ext uri="{FF2B5EF4-FFF2-40B4-BE49-F238E27FC236}">
                <a16:creationId xmlns:a16="http://schemas.microsoft.com/office/drawing/2014/main" id="{805D461F-50E4-6E16-092F-2A8AC9ECD0BE}"/>
              </a:ext>
            </a:extLst>
          </p:cNvPr>
          <p:cNvSpPr>
            <a:spLocks noGrp="1"/>
          </p:cNvSpPr>
          <p:nvPr>
            <p:ph type="body" sz="quarter" idx="21" hasCustomPrompt="1"/>
          </p:nvPr>
        </p:nvSpPr>
        <p:spPr>
          <a:xfrm>
            <a:off x="7273636" y="2698483"/>
            <a:ext cx="2618511" cy="1046440"/>
          </a:xfrm>
        </p:spPr>
        <p:txBody>
          <a:bodyPr anchor="ctr"/>
          <a:lstStyle>
            <a:lvl1pPr algn="ctr">
              <a:defRPr sz="6800" b="1" i="0">
                <a:latin typeface="Aleo SemiBold" pitchFamily="2" charset="77"/>
              </a:defRPr>
            </a:lvl1pPr>
          </a:lstStyle>
          <a:p>
            <a:pPr lvl="0"/>
            <a:r>
              <a:rPr lang="en-US"/>
              <a:t>7x</a:t>
            </a:r>
          </a:p>
        </p:txBody>
      </p:sp>
      <p:sp>
        <p:nvSpPr>
          <p:cNvPr id="3" name="Inhaltsplatzhalter 18">
            <a:extLst>
              <a:ext uri="{FF2B5EF4-FFF2-40B4-BE49-F238E27FC236}">
                <a16:creationId xmlns:a16="http://schemas.microsoft.com/office/drawing/2014/main" id="{03EE5B86-79A2-2850-D121-5091B3C7D631}"/>
              </a:ext>
            </a:extLst>
          </p:cNvPr>
          <p:cNvSpPr>
            <a:spLocks noGrp="1"/>
          </p:cNvSpPr>
          <p:nvPr>
            <p:ph sz="quarter" idx="22"/>
          </p:nvPr>
        </p:nvSpPr>
        <p:spPr>
          <a:xfrm>
            <a:off x="1726713" y="5422393"/>
            <a:ext cx="3794824" cy="1524852"/>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Inhaltsplatzhalter 18">
            <a:extLst>
              <a:ext uri="{FF2B5EF4-FFF2-40B4-BE49-F238E27FC236}">
                <a16:creationId xmlns:a16="http://schemas.microsoft.com/office/drawing/2014/main" id="{FB1BFD96-663A-3BCF-19A9-2A642CF7651D}"/>
              </a:ext>
            </a:extLst>
          </p:cNvPr>
          <p:cNvSpPr>
            <a:spLocks noGrp="1"/>
          </p:cNvSpPr>
          <p:nvPr>
            <p:ph sz="quarter" idx="23"/>
          </p:nvPr>
        </p:nvSpPr>
        <p:spPr>
          <a:xfrm>
            <a:off x="6652396" y="5422393"/>
            <a:ext cx="3794824" cy="1524852"/>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533359B4-0FB8-64DF-9E35-C0A293DDA04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
        <p:nvSpPr>
          <p:cNvPr id="8" name="Title 7">
            <a:extLst>
              <a:ext uri="{FF2B5EF4-FFF2-40B4-BE49-F238E27FC236}">
                <a16:creationId xmlns:a16="http://schemas.microsoft.com/office/drawing/2014/main" id="{068E05E8-73EC-D9F4-CEB6-4C18B1843910}"/>
              </a:ext>
            </a:extLst>
          </p:cNvPr>
          <p:cNvSpPr>
            <a:spLocks noGrp="1"/>
          </p:cNvSpPr>
          <p:nvPr>
            <p:ph type="title" hasCustomPrompt="1"/>
          </p:nvPr>
        </p:nvSpPr>
        <p:spPr>
          <a:xfrm>
            <a:off x="963877" y="365922"/>
            <a:ext cx="10264243" cy="505844"/>
          </a:xfrm>
        </p:spPr>
        <p:txBody>
          <a:bodyPr/>
          <a:lstStyle>
            <a:lvl1pPr algn="ctr">
              <a:defRPr/>
            </a:lvl1pPr>
          </a:lstStyle>
          <a:p>
            <a:r>
              <a:rPr lang="en-US"/>
              <a:t>Headline copy goes here</a:t>
            </a:r>
          </a:p>
        </p:txBody>
      </p:sp>
    </p:spTree>
    <p:extLst>
      <p:ext uri="{BB962C8B-B14F-4D97-AF65-F5344CB8AC3E}">
        <p14:creationId xmlns:p14="http://schemas.microsoft.com/office/powerpoint/2010/main" val="1552349500"/>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3 Stat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716252" y="898674"/>
            <a:ext cx="10756030" cy="246221"/>
          </a:xfrm>
        </p:spPr>
        <p:txBody>
          <a:bodyPr wrap="square">
            <a:spAutoFit/>
          </a:bodyPr>
          <a:lstStyle>
            <a:lvl1pPr algn="ct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165824" y="4945147"/>
            <a:ext cx="3794824" cy="276999"/>
          </a:xfrm>
        </p:spPr>
        <p:txBody>
          <a:bodyPr/>
          <a:lstStyle>
            <a:lvl1pPr algn="ctr">
              <a:defRPr sz="1800" b="1"/>
            </a:lvl1pPr>
          </a:lstStyle>
          <a:p>
            <a:r>
              <a:rPr lang="en-US"/>
              <a:t>Stat 1 callout title goes here</a:t>
            </a:r>
          </a:p>
        </p:txBody>
      </p:sp>
      <p:sp>
        <p:nvSpPr>
          <p:cNvPr id="2" name="Oval 1">
            <a:extLst>
              <a:ext uri="{FF2B5EF4-FFF2-40B4-BE49-F238E27FC236}">
                <a16:creationId xmlns:a16="http://schemas.microsoft.com/office/drawing/2014/main" id="{F1179731-4A46-DAE3-E3E5-30A4113BDD3A}"/>
              </a:ext>
            </a:extLst>
          </p:cNvPr>
          <p:cNvSpPr/>
          <p:nvPr userDrawn="1"/>
        </p:nvSpPr>
        <p:spPr>
          <a:xfrm>
            <a:off x="664586" y="1829321"/>
            <a:ext cx="2784764" cy="2784764"/>
          </a:xfrm>
          <a:prstGeom prst="ellipse">
            <a:avLst/>
          </a:prstGeom>
          <a:solidFill>
            <a:schemeClr val="accent1">
              <a:alpha val="11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10">
            <a:extLst>
              <a:ext uri="{FF2B5EF4-FFF2-40B4-BE49-F238E27FC236}">
                <a16:creationId xmlns:a16="http://schemas.microsoft.com/office/drawing/2014/main" id="{55C55BD2-DA31-AE25-17DD-35921E473835}"/>
              </a:ext>
            </a:extLst>
          </p:cNvPr>
          <p:cNvSpPr>
            <a:spLocks noGrp="1"/>
          </p:cNvSpPr>
          <p:nvPr>
            <p:ph type="body" sz="quarter" idx="19" hasCustomPrompt="1"/>
          </p:nvPr>
        </p:nvSpPr>
        <p:spPr>
          <a:xfrm>
            <a:off x="8219208" y="4945147"/>
            <a:ext cx="3794824" cy="276999"/>
          </a:xfrm>
        </p:spPr>
        <p:txBody>
          <a:bodyPr/>
          <a:lstStyle>
            <a:lvl1pPr algn="ctr">
              <a:defRPr sz="1800" b="1"/>
            </a:lvl1pPr>
          </a:lstStyle>
          <a:p>
            <a:r>
              <a:rPr lang="en-US"/>
              <a:t>Stat 2 callout title goes here</a:t>
            </a:r>
          </a:p>
        </p:txBody>
      </p:sp>
      <p:sp>
        <p:nvSpPr>
          <p:cNvPr id="14" name="Oval 13">
            <a:extLst>
              <a:ext uri="{FF2B5EF4-FFF2-40B4-BE49-F238E27FC236}">
                <a16:creationId xmlns:a16="http://schemas.microsoft.com/office/drawing/2014/main" id="{0F8BEA83-D192-1EB8-D087-E0C146C6C509}"/>
              </a:ext>
            </a:extLst>
          </p:cNvPr>
          <p:cNvSpPr/>
          <p:nvPr userDrawn="1"/>
        </p:nvSpPr>
        <p:spPr>
          <a:xfrm>
            <a:off x="8739186" y="1836375"/>
            <a:ext cx="2784764" cy="2784764"/>
          </a:xfrm>
          <a:prstGeom prst="ellipse">
            <a:avLst/>
          </a:prstGeom>
          <a:solidFill>
            <a:schemeClr val="accent1">
              <a:alpha val="11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Text Placeholder 10">
            <a:extLst>
              <a:ext uri="{FF2B5EF4-FFF2-40B4-BE49-F238E27FC236}">
                <a16:creationId xmlns:a16="http://schemas.microsoft.com/office/drawing/2014/main" id="{730A120B-B2DF-C701-D2B8-15E20AD7200C}"/>
              </a:ext>
            </a:extLst>
          </p:cNvPr>
          <p:cNvSpPr>
            <a:spLocks noGrp="1"/>
          </p:cNvSpPr>
          <p:nvPr>
            <p:ph type="body" sz="quarter" idx="20" hasCustomPrompt="1"/>
          </p:nvPr>
        </p:nvSpPr>
        <p:spPr>
          <a:xfrm>
            <a:off x="747712" y="2690788"/>
            <a:ext cx="2618511" cy="1061829"/>
          </a:xfrm>
        </p:spPr>
        <p:txBody>
          <a:bodyPr anchor="ctr"/>
          <a:lstStyle>
            <a:lvl1pPr algn="ctr">
              <a:defRPr sz="6900" b="1" i="0">
                <a:latin typeface="Aleo SemiBold" pitchFamily="2" charset="77"/>
              </a:defRPr>
            </a:lvl1pPr>
          </a:lstStyle>
          <a:p>
            <a:pPr lvl="0"/>
            <a:r>
              <a:rPr lang="en-US"/>
              <a:t>40%</a:t>
            </a:r>
          </a:p>
        </p:txBody>
      </p:sp>
      <p:sp>
        <p:nvSpPr>
          <p:cNvPr id="18" name="Text Placeholder 10">
            <a:extLst>
              <a:ext uri="{FF2B5EF4-FFF2-40B4-BE49-F238E27FC236}">
                <a16:creationId xmlns:a16="http://schemas.microsoft.com/office/drawing/2014/main" id="{805D461F-50E4-6E16-092F-2A8AC9ECD0BE}"/>
              </a:ext>
            </a:extLst>
          </p:cNvPr>
          <p:cNvSpPr>
            <a:spLocks noGrp="1"/>
          </p:cNvSpPr>
          <p:nvPr>
            <p:ph type="body" sz="quarter" idx="21" hasCustomPrompt="1"/>
          </p:nvPr>
        </p:nvSpPr>
        <p:spPr>
          <a:xfrm>
            <a:off x="8807364" y="2690788"/>
            <a:ext cx="2618511" cy="1061829"/>
          </a:xfrm>
        </p:spPr>
        <p:txBody>
          <a:bodyPr anchor="ctr"/>
          <a:lstStyle>
            <a:lvl1pPr algn="ctr">
              <a:defRPr sz="6900" b="1" i="0">
                <a:latin typeface="Aleo SemiBold" pitchFamily="2" charset="77"/>
              </a:defRPr>
            </a:lvl1pPr>
          </a:lstStyle>
          <a:p>
            <a:pPr lvl="0"/>
            <a:r>
              <a:rPr lang="en-US"/>
              <a:t>500k</a:t>
            </a:r>
          </a:p>
        </p:txBody>
      </p:sp>
      <p:sp>
        <p:nvSpPr>
          <p:cNvPr id="4" name="Text Placeholder 10">
            <a:extLst>
              <a:ext uri="{FF2B5EF4-FFF2-40B4-BE49-F238E27FC236}">
                <a16:creationId xmlns:a16="http://schemas.microsoft.com/office/drawing/2014/main" id="{55048C93-2066-9EE8-21A7-26465C4908BC}"/>
              </a:ext>
            </a:extLst>
          </p:cNvPr>
          <p:cNvSpPr>
            <a:spLocks noGrp="1"/>
          </p:cNvSpPr>
          <p:nvPr>
            <p:ph type="body" sz="quarter" idx="23" hasCustomPrompt="1"/>
          </p:nvPr>
        </p:nvSpPr>
        <p:spPr>
          <a:xfrm>
            <a:off x="4317603" y="4945147"/>
            <a:ext cx="3533340" cy="276999"/>
          </a:xfrm>
        </p:spPr>
        <p:txBody>
          <a:bodyPr/>
          <a:lstStyle>
            <a:lvl1pPr algn="ctr">
              <a:defRPr sz="1800" b="1"/>
            </a:lvl1pPr>
          </a:lstStyle>
          <a:p>
            <a:r>
              <a:rPr lang="en-US"/>
              <a:t>Stat 2 callout title goes here</a:t>
            </a:r>
          </a:p>
        </p:txBody>
      </p:sp>
      <p:sp>
        <p:nvSpPr>
          <p:cNvPr id="5" name="Oval 4">
            <a:extLst>
              <a:ext uri="{FF2B5EF4-FFF2-40B4-BE49-F238E27FC236}">
                <a16:creationId xmlns:a16="http://schemas.microsoft.com/office/drawing/2014/main" id="{B9BF1BCC-8130-D9F7-57FF-47514BFBA8C8}"/>
              </a:ext>
            </a:extLst>
          </p:cNvPr>
          <p:cNvSpPr/>
          <p:nvPr userDrawn="1"/>
        </p:nvSpPr>
        <p:spPr>
          <a:xfrm>
            <a:off x="4703618" y="1836375"/>
            <a:ext cx="2784764" cy="2784764"/>
          </a:xfrm>
          <a:prstGeom prst="ellipse">
            <a:avLst/>
          </a:prstGeom>
          <a:solidFill>
            <a:schemeClr val="accent1">
              <a:alpha val="11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8" name="Text Placeholder 10">
            <a:extLst>
              <a:ext uri="{FF2B5EF4-FFF2-40B4-BE49-F238E27FC236}">
                <a16:creationId xmlns:a16="http://schemas.microsoft.com/office/drawing/2014/main" id="{FDB92F2C-3D09-27E3-28C1-68D9CA2B4A5E}"/>
              </a:ext>
            </a:extLst>
          </p:cNvPr>
          <p:cNvSpPr>
            <a:spLocks noGrp="1"/>
          </p:cNvSpPr>
          <p:nvPr>
            <p:ph type="body" sz="quarter" idx="24" hasCustomPrompt="1"/>
          </p:nvPr>
        </p:nvSpPr>
        <p:spPr>
          <a:xfrm>
            <a:off x="4785012" y="2690788"/>
            <a:ext cx="2618511" cy="1061829"/>
          </a:xfrm>
        </p:spPr>
        <p:txBody>
          <a:bodyPr anchor="ctr"/>
          <a:lstStyle>
            <a:lvl1pPr algn="ctr">
              <a:defRPr sz="6900" b="1" i="0">
                <a:latin typeface="Aleo SemiBold" pitchFamily="2" charset="77"/>
              </a:defRPr>
            </a:lvl1pPr>
          </a:lstStyle>
          <a:p>
            <a:pPr lvl="0"/>
            <a:r>
              <a:rPr lang="en-US"/>
              <a:t>7x</a:t>
            </a:r>
          </a:p>
        </p:txBody>
      </p:sp>
      <p:sp>
        <p:nvSpPr>
          <p:cNvPr id="12" name="Inhaltsplatzhalter 18">
            <a:extLst>
              <a:ext uri="{FF2B5EF4-FFF2-40B4-BE49-F238E27FC236}">
                <a16:creationId xmlns:a16="http://schemas.microsoft.com/office/drawing/2014/main" id="{8FE1DD12-96D4-B642-70C6-2E5C8CE891EA}"/>
              </a:ext>
            </a:extLst>
          </p:cNvPr>
          <p:cNvSpPr>
            <a:spLocks noGrp="1"/>
          </p:cNvSpPr>
          <p:nvPr>
            <p:ph sz="quarter" idx="12"/>
          </p:nvPr>
        </p:nvSpPr>
        <p:spPr>
          <a:xfrm>
            <a:off x="155982" y="5422393"/>
            <a:ext cx="3794823" cy="1524852"/>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Inhaltsplatzhalter 18">
            <a:extLst>
              <a:ext uri="{FF2B5EF4-FFF2-40B4-BE49-F238E27FC236}">
                <a16:creationId xmlns:a16="http://schemas.microsoft.com/office/drawing/2014/main" id="{1C1552B9-136A-01C6-B30A-CB2D52ABB775}"/>
              </a:ext>
            </a:extLst>
          </p:cNvPr>
          <p:cNvSpPr>
            <a:spLocks noGrp="1"/>
          </p:cNvSpPr>
          <p:nvPr>
            <p:ph sz="quarter" idx="25"/>
          </p:nvPr>
        </p:nvSpPr>
        <p:spPr>
          <a:xfrm>
            <a:off x="4317604" y="5422393"/>
            <a:ext cx="3533340" cy="1524852"/>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Inhaltsplatzhalter 18">
            <a:extLst>
              <a:ext uri="{FF2B5EF4-FFF2-40B4-BE49-F238E27FC236}">
                <a16:creationId xmlns:a16="http://schemas.microsoft.com/office/drawing/2014/main" id="{1AD20369-84FF-C27D-69FC-D09C715F6082}"/>
              </a:ext>
            </a:extLst>
          </p:cNvPr>
          <p:cNvSpPr>
            <a:spLocks noGrp="1"/>
          </p:cNvSpPr>
          <p:nvPr>
            <p:ph sz="quarter" idx="26"/>
          </p:nvPr>
        </p:nvSpPr>
        <p:spPr>
          <a:xfrm>
            <a:off x="8217742" y="5422393"/>
            <a:ext cx="3818275" cy="1524852"/>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A5F44A79-90A7-BB64-9CB4-D30C3177B74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
        <p:nvSpPr>
          <p:cNvPr id="16" name="Title 15">
            <a:extLst>
              <a:ext uri="{FF2B5EF4-FFF2-40B4-BE49-F238E27FC236}">
                <a16:creationId xmlns:a16="http://schemas.microsoft.com/office/drawing/2014/main" id="{583C10F7-3449-2904-6C01-930042FC3EC8}"/>
              </a:ext>
            </a:extLst>
          </p:cNvPr>
          <p:cNvSpPr>
            <a:spLocks noGrp="1"/>
          </p:cNvSpPr>
          <p:nvPr>
            <p:ph type="title" hasCustomPrompt="1"/>
          </p:nvPr>
        </p:nvSpPr>
        <p:spPr>
          <a:xfrm>
            <a:off x="716252" y="365922"/>
            <a:ext cx="10756030" cy="505844"/>
          </a:xfrm>
        </p:spPr>
        <p:txBody>
          <a:bodyPr/>
          <a:lstStyle>
            <a:lvl1pPr algn="ctr">
              <a:defRPr/>
            </a:lvl1pPr>
          </a:lstStyle>
          <a:p>
            <a:r>
              <a:rPr lang="en-US"/>
              <a:t>Headline copy goes here</a:t>
            </a:r>
          </a:p>
        </p:txBody>
      </p:sp>
    </p:spTree>
    <p:extLst>
      <p:ext uri="{BB962C8B-B14F-4D97-AF65-F5344CB8AC3E}">
        <p14:creationId xmlns:p14="http://schemas.microsoft.com/office/powerpoint/2010/main" val="2248553346"/>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mp; 4 Stat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717984" y="898674"/>
            <a:ext cx="10756030" cy="246221"/>
          </a:xfrm>
        </p:spPr>
        <p:txBody>
          <a:bodyPr wrap="square">
            <a:spAutoFit/>
          </a:bodyPr>
          <a:lstStyle>
            <a:lvl1pPr algn="ct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170250" y="4945147"/>
            <a:ext cx="2766569" cy="276999"/>
          </a:xfrm>
        </p:spPr>
        <p:txBody>
          <a:bodyPr/>
          <a:lstStyle>
            <a:lvl1pPr algn="ctr">
              <a:defRPr sz="1800" b="1"/>
            </a:lvl1pPr>
          </a:lstStyle>
          <a:p>
            <a:r>
              <a:rPr lang="en-US"/>
              <a:t>Stat 1 callout title goes here</a:t>
            </a:r>
          </a:p>
        </p:txBody>
      </p:sp>
      <p:sp>
        <p:nvSpPr>
          <p:cNvPr id="2" name="Oval 1">
            <a:extLst>
              <a:ext uri="{FF2B5EF4-FFF2-40B4-BE49-F238E27FC236}">
                <a16:creationId xmlns:a16="http://schemas.microsoft.com/office/drawing/2014/main" id="{F1179731-4A46-DAE3-E3E5-30A4113BDD3A}"/>
              </a:ext>
            </a:extLst>
          </p:cNvPr>
          <p:cNvSpPr/>
          <p:nvPr userDrawn="1"/>
        </p:nvSpPr>
        <p:spPr>
          <a:xfrm>
            <a:off x="415204" y="1937712"/>
            <a:ext cx="2276660" cy="2276660"/>
          </a:xfrm>
          <a:prstGeom prst="ellipse">
            <a:avLst/>
          </a:prstGeom>
          <a:solidFill>
            <a:schemeClr val="accent1">
              <a:alpha val="11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Text Placeholder 10">
            <a:extLst>
              <a:ext uri="{FF2B5EF4-FFF2-40B4-BE49-F238E27FC236}">
                <a16:creationId xmlns:a16="http://schemas.microsoft.com/office/drawing/2014/main" id="{730A120B-B2DF-C701-D2B8-15E20AD7200C}"/>
              </a:ext>
            </a:extLst>
          </p:cNvPr>
          <p:cNvSpPr>
            <a:spLocks noGrp="1"/>
          </p:cNvSpPr>
          <p:nvPr>
            <p:ph type="body" sz="quarter" idx="20" hasCustomPrompt="1"/>
          </p:nvPr>
        </p:nvSpPr>
        <p:spPr>
          <a:xfrm>
            <a:off x="419631" y="2723471"/>
            <a:ext cx="2267807" cy="892552"/>
          </a:xfrm>
        </p:spPr>
        <p:txBody>
          <a:bodyPr anchor="ctr"/>
          <a:lstStyle>
            <a:lvl1pPr algn="ctr">
              <a:defRPr sz="5800" b="1" i="0">
                <a:latin typeface="Aleo SemiBold" pitchFamily="2" charset="77"/>
              </a:defRPr>
            </a:lvl1pPr>
          </a:lstStyle>
          <a:p>
            <a:pPr lvl="0"/>
            <a:r>
              <a:rPr lang="en-US"/>
              <a:t>40%</a:t>
            </a:r>
          </a:p>
        </p:txBody>
      </p:sp>
      <p:sp>
        <p:nvSpPr>
          <p:cNvPr id="15" name="Text Placeholder 10">
            <a:extLst>
              <a:ext uri="{FF2B5EF4-FFF2-40B4-BE49-F238E27FC236}">
                <a16:creationId xmlns:a16="http://schemas.microsoft.com/office/drawing/2014/main" id="{5FB51F84-CEB4-C14E-CB9C-CBF30CD4EED3}"/>
              </a:ext>
            </a:extLst>
          </p:cNvPr>
          <p:cNvSpPr>
            <a:spLocks noGrp="1"/>
          </p:cNvSpPr>
          <p:nvPr>
            <p:ph type="body" sz="quarter" idx="22" hasCustomPrompt="1"/>
          </p:nvPr>
        </p:nvSpPr>
        <p:spPr>
          <a:xfrm>
            <a:off x="9248485" y="4945147"/>
            <a:ext cx="2766569" cy="276999"/>
          </a:xfrm>
        </p:spPr>
        <p:txBody>
          <a:bodyPr/>
          <a:lstStyle>
            <a:lvl1pPr algn="ctr">
              <a:defRPr sz="1800" b="1"/>
            </a:lvl1pPr>
          </a:lstStyle>
          <a:p>
            <a:r>
              <a:rPr lang="en-US"/>
              <a:t>Stat 1 callout title goes here</a:t>
            </a:r>
          </a:p>
        </p:txBody>
      </p:sp>
      <p:sp>
        <p:nvSpPr>
          <p:cNvPr id="16" name="Oval 15">
            <a:extLst>
              <a:ext uri="{FF2B5EF4-FFF2-40B4-BE49-F238E27FC236}">
                <a16:creationId xmlns:a16="http://schemas.microsoft.com/office/drawing/2014/main" id="{60DFD3D4-9696-EEA0-426F-78EF23982F77}"/>
              </a:ext>
            </a:extLst>
          </p:cNvPr>
          <p:cNvSpPr/>
          <p:nvPr userDrawn="1"/>
        </p:nvSpPr>
        <p:spPr>
          <a:xfrm>
            <a:off x="9493439" y="1937712"/>
            <a:ext cx="2276660" cy="2276660"/>
          </a:xfrm>
          <a:prstGeom prst="ellipse">
            <a:avLst/>
          </a:prstGeom>
          <a:solidFill>
            <a:schemeClr val="accent1">
              <a:alpha val="11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1" name="Text Placeholder 10">
            <a:extLst>
              <a:ext uri="{FF2B5EF4-FFF2-40B4-BE49-F238E27FC236}">
                <a16:creationId xmlns:a16="http://schemas.microsoft.com/office/drawing/2014/main" id="{665034E8-2086-DEA5-A59F-8D066EDD0478}"/>
              </a:ext>
            </a:extLst>
          </p:cNvPr>
          <p:cNvSpPr>
            <a:spLocks noGrp="1"/>
          </p:cNvSpPr>
          <p:nvPr>
            <p:ph type="body" sz="quarter" idx="23" hasCustomPrompt="1"/>
          </p:nvPr>
        </p:nvSpPr>
        <p:spPr>
          <a:xfrm>
            <a:off x="9497866" y="2723471"/>
            <a:ext cx="2267807" cy="892552"/>
          </a:xfrm>
        </p:spPr>
        <p:txBody>
          <a:bodyPr anchor="ctr"/>
          <a:lstStyle>
            <a:lvl1pPr algn="ctr">
              <a:defRPr sz="5800" b="1" i="0">
                <a:latin typeface="Aleo SemiBold" pitchFamily="2" charset="77"/>
              </a:defRPr>
            </a:lvl1pPr>
          </a:lstStyle>
          <a:p>
            <a:pPr lvl="0"/>
            <a:r>
              <a:rPr lang="en-US"/>
              <a:t>83</a:t>
            </a:r>
          </a:p>
        </p:txBody>
      </p:sp>
      <p:sp>
        <p:nvSpPr>
          <p:cNvPr id="23" name="Text Placeholder 10">
            <a:extLst>
              <a:ext uri="{FF2B5EF4-FFF2-40B4-BE49-F238E27FC236}">
                <a16:creationId xmlns:a16="http://schemas.microsoft.com/office/drawing/2014/main" id="{FEE099F3-F96A-D2D3-3664-3157DE7A2FAD}"/>
              </a:ext>
            </a:extLst>
          </p:cNvPr>
          <p:cNvSpPr>
            <a:spLocks noGrp="1"/>
          </p:cNvSpPr>
          <p:nvPr>
            <p:ph type="body" sz="quarter" idx="25" hasCustomPrompt="1"/>
          </p:nvPr>
        </p:nvSpPr>
        <p:spPr>
          <a:xfrm>
            <a:off x="6219254" y="4945147"/>
            <a:ext cx="2766569" cy="276999"/>
          </a:xfrm>
        </p:spPr>
        <p:txBody>
          <a:bodyPr/>
          <a:lstStyle>
            <a:lvl1pPr algn="ctr">
              <a:defRPr sz="1800" b="1"/>
            </a:lvl1pPr>
          </a:lstStyle>
          <a:p>
            <a:r>
              <a:rPr lang="en-US"/>
              <a:t>Stat 1 callout title goes here</a:t>
            </a:r>
          </a:p>
        </p:txBody>
      </p:sp>
      <p:sp>
        <p:nvSpPr>
          <p:cNvPr id="24" name="Oval 23">
            <a:extLst>
              <a:ext uri="{FF2B5EF4-FFF2-40B4-BE49-F238E27FC236}">
                <a16:creationId xmlns:a16="http://schemas.microsoft.com/office/drawing/2014/main" id="{5E31AA32-D10A-CE66-1708-62A11B4D534F}"/>
              </a:ext>
            </a:extLst>
          </p:cNvPr>
          <p:cNvSpPr/>
          <p:nvPr userDrawn="1"/>
        </p:nvSpPr>
        <p:spPr>
          <a:xfrm>
            <a:off x="6464208" y="1937712"/>
            <a:ext cx="2276660" cy="2276660"/>
          </a:xfrm>
          <a:prstGeom prst="ellipse">
            <a:avLst/>
          </a:prstGeom>
          <a:solidFill>
            <a:schemeClr val="accent1">
              <a:alpha val="11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5" name="Text Placeholder 10">
            <a:extLst>
              <a:ext uri="{FF2B5EF4-FFF2-40B4-BE49-F238E27FC236}">
                <a16:creationId xmlns:a16="http://schemas.microsoft.com/office/drawing/2014/main" id="{273C0D5F-1187-454D-1E9A-6157CF056DC9}"/>
              </a:ext>
            </a:extLst>
          </p:cNvPr>
          <p:cNvSpPr>
            <a:spLocks noGrp="1"/>
          </p:cNvSpPr>
          <p:nvPr>
            <p:ph type="body" sz="quarter" idx="26" hasCustomPrompt="1"/>
          </p:nvPr>
        </p:nvSpPr>
        <p:spPr>
          <a:xfrm>
            <a:off x="6468635" y="2723471"/>
            <a:ext cx="2267807" cy="892552"/>
          </a:xfrm>
        </p:spPr>
        <p:txBody>
          <a:bodyPr anchor="ctr"/>
          <a:lstStyle>
            <a:lvl1pPr algn="ctr">
              <a:defRPr sz="5800" b="1" i="0">
                <a:latin typeface="Aleo SemiBold" pitchFamily="2" charset="77"/>
              </a:defRPr>
            </a:lvl1pPr>
          </a:lstStyle>
          <a:p>
            <a:pPr lvl="0"/>
            <a:r>
              <a:rPr lang="en-US"/>
              <a:t>500k</a:t>
            </a:r>
          </a:p>
        </p:txBody>
      </p:sp>
      <p:sp>
        <p:nvSpPr>
          <p:cNvPr id="27" name="Text Placeholder 10">
            <a:extLst>
              <a:ext uri="{FF2B5EF4-FFF2-40B4-BE49-F238E27FC236}">
                <a16:creationId xmlns:a16="http://schemas.microsoft.com/office/drawing/2014/main" id="{069C0D35-ACF0-8E66-0FAC-16DC33909593}"/>
              </a:ext>
            </a:extLst>
          </p:cNvPr>
          <p:cNvSpPr>
            <a:spLocks noGrp="1"/>
          </p:cNvSpPr>
          <p:nvPr>
            <p:ph type="body" sz="quarter" idx="28" hasCustomPrompt="1"/>
          </p:nvPr>
        </p:nvSpPr>
        <p:spPr>
          <a:xfrm>
            <a:off x="3210605" y="4945147"/>
            <a:ext cx="2766569" cy="276999"/>
          </a:xfrm>
        </p:spPr>
        <p:txBody>
          <a:bodyPr/>
          <a:lstStyle>
            <a:lvl1pPr algn="ctr">
              <a:defRPr sz="1800" b="1"/>
            </a:lvl1pPr>
          </a:lstStyle>
          <a:p>
            <a:r>
              <a:rPr lang="en-US"/>
              <a:t>Stat 1 callout title goes here</a:t>
            </a:r>
          </a:p>
        </p:txBody>
      </p:sp>
      <p:sp>
        <p:nvSpPr>
          <p:cNvPr id="28" name="Oval 27">
            <a:extLst>
              <a:ext uri="{FF2B5EF4-FFF2-40B4-BE49-F238E27FC236}">
                <a16:creationId xmlns:a16="http://schemas.microsoft.com/office/drawing/2014/main" id="{8FFA7749-238F-09A7-0F4A-2EE1A57BEA45}"/>
              </a:ext>
            </a:extLst>
          </p:cNvPr>
          <p:cNvSpPr/>
          <p:nvPr userDrawn="1"/>
        </p:nvSpPr>
        <p:spPr>
          <a:xfrm>
            <a:off x="3455559" y="1937712"/>
            <a:ext cx="2276660" cy="2276660"/>
          </a:xfrm>
          <a:prstGeom prst="ellipse">
            <a:avLst/>
          </a:prstGeom>
          <a:solidFill>
            <a:schemeClr val="accent1">
              <a:alpha val="11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9" name="Text Placeholder 10">
            <a:extLst>
              <a:ext uri="{FF2B5EF4-FFF2-40B4-BE49-F238E27FC236}">
                <a16:creationId xmlns:a16="http://schemas.microsoft.com/office/drawing/2014/main" id="{69586237-9BD6-B7DD-3FF6-891D5A452F76}"/>
              </a:ext>
            </a:extLst>
          </p:cNvPr>
          <p:cNvSpPr>
            <a:spLocks noGrp="1"/>
          </p:cNvSpPr>
          <p:nvPr>
            <p:ph type="body" sz="quarter" idx="29" hasCustomPrompt="1"/>
          </p:nvPr>
        </p:nvSpPr>
        <p:spPr>
          <a:xfrm>
            <a:off x="3459986" y="2723471"/>
            <a:ext cx="2267807" cy="892552"/>
          </a:xfrm>
        </p:spPr>
        <p:txBody>
          <a:bodyPr anchor="ctr"/>
          <a:lstStyle>
            <a:lvl1pPr algn="ctr">
              <a:defRPr sz="5800" b="1" i="0">
                <a:latin typeface="Aleo SemiBold" pitchFamily="2" charset="77"/>
              </a:defRPr>
            </a:lvl1pPr>
          </a:lstStyle>
          <a:p>
            <a:pPr lvl="0"/>
            <a:r>
              <a:rPr lang="en-US"/>
              <a:t>7x</a:t>
            </a:r>
          </a:p>
        </p:txBody>
      </p:sp>
      <p:sp>
        <p:nvSpPr>
          <p:cNvPr id="3" name="Inhaltsplatzhalter 18">
            <a:extLst>
              <a:ext uri="{FF2B5EF4-FFF2-40B4-BE49-F238E27FC236}">
                <a16:creationId xmlns:a16="http://schemas.microsoft.com/office/drawing/2014/main" id="{F6D65233-67A9-48DB-7619-113EAADC3812}"/>
              </a:ext>
            </a:extLst>
          </p:cNvPr>
          <p:cNvSpPr>
            <a:spLocks noGrp="1"/>
          </p:cNvSpPr>
          <p:nvPr>
            <p:ph sz="quarter" idx="12"/>
          </p:nvPr>
        </p:nvSpPr>
        <p:spPr>
          <a:xfrm>
            <a:off x="170250" y="5427397"/>
            <a:ext cx="2802702" cy="1524852"/>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Inhaltsplatzhalter 18">
            <a:extLst>
              <a:ext uri="{FF2B5EF4-FFF2-40B4-BE49-F238E27FC236}">
                <a16:creationId xmlns:a16="http://schemas.microsoft.com/office/drawing/2014/main" id="{3AC986BB-4766-3053-B0DC-C3E3E66A9818}"/>
              </a:ext>
            </a:extLst>
          </p:cNvPr>
          <p:cNvSpPr>
            <a:spLocks noGrp="1"/>
          </p:cNvSpPr>
          <p:nvPr>
            <p:ph sz="quarter" idx="30"/>
          </p:nvPr>
        </p:nvSpPr>
        <p:spPr>
          <a:xfrm>
            <a:off x="3192538" y="5427397"/>
            <a:ext cx="2802702" cy="1524852"/>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Inhaltsplatzhalter 18">
            <a:extLst>
              <a:ext uri="{FF2B5EF4-FFF2-40B4-BE49-F238E27FC236}">
                <a16:creationId xmlns:a16="http://schemas.microsoft.com/office/drawing/2014/main" id="{84F8BE2C-72F3-F68D-5794-5532A46FC2F9}"/>
              </a:ext>
            </a:extLst>
          </p:cNvPr>
          <p:cNvSpPr>
            <a:spLocks noGrp="1"/>
          </p:cNvSpPr>
          <p:nvPr>
            <p:ph sz="quarter" idx="31"/>
          </p:nvPr>
        </p:nvSpPr>
        <p:spPr>
          <a:xfrm>
            <a:off x="6183121" y="5427397"/>
            <a:ext cx="2802702" cy="1524852"/>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Inhaltsplatzhalter 18">
            <a:extLst>
              <a:ext uri="{FF2B5EF4-FFF2-40B4-BE49-F238E27FC236}">
                <a16:creationId xmlns:a16="http://schemas.microsoft.com/office/drawing/2014/main" id="{C8358112-9E56-1E01-17FF-C1B398A63A6E}"/>
              </a:ext>
            </a:extLst>
          </p:cNvPr>
          <p:cNvSpPr>
            <a:spLocks noGrp="1"/>
          </p:cNvSpPr>
          <p:nvPr>
            <p:ph sz="quarter" idx="32"/>
          </p:nvPr>
        </p:nvSpPr>
        <p:spPr>
          <a:xfrm>
            <a:off x="9255180" y="5427397"/>
            <a:ext cx="2766569" cy="1524852"/>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2CF474A2-E5A8-35C8-659B-25CC527CDAA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
        <p:nvSpPr>
          <p:cNvPr id="12" name="Title 11">
            <a:extLst>
              <a:ext uri="{FF2B5EF4-FFF2-40B4-BE49-F238E27FC236}">
                <a16:creationId xmlns:a16="http://schemas.microsoft.com/office/drawing/2014/main" id="{F197E256-8BC4-F838-E45C-79C0E4496EAD}"/>
              </a:ext>
            </a:extLst>
          </p:cNvPr>
          <p:cNvSpPr>
            <a:spLocks noGrp="1"/>
          </p:cNvSpPr>
          <p:nvPr>
            <p:ph type="title" hasCustomPrompt="1"/>
          </p:nvPr>
        </p:nvSpPr>
        <p:spPr>
          <a:xfrm>
            <a:off x="717984" y="365922"/>
            <a:ext cx="10756030" cy="505844"/>
          </a:xfrm>
        </p:spPr>
        <p:txBody>
          <a:bodyPr/>
          <a:lstStyle>
            <a:lvl1pPr algn="ctr">
              <a:defRPr/>
            </a:lvl1pPr>
          </a:lstStyle>
          <a:p>
            <a:r>
              <a:rPr lang="en-US"/>
              <a:t>Headline copy goes here</a:t>
            </a:r>
          </a:p>
        </p:txBody>
      </p:sp>
    </p:spTree>
    <p:extLst>
      <p:ext uri="{BB962C8B-B14F-4D97-AF65-F5344CB8AC3E}">
        <p14:creationId xmlns:p14="http://schemas.microsoft.com/office/powerpoint/2010/main" val="3359964785"/>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Image 2 Columns">
    <p:spTree>
      <p:nvGrpSpPr>
        <p:cNvPr id="1" name=""/>
        <p:cNvGrpSpPr/>
        <p:nvPr/>
      </p:nvGrpSpPr>
      <p:grpSpPr>
        <a:xfrm>
          <a:off x="0" y="0"/>
          <a:ext cx="0" cy="0"/>
          <a:chOff x="0" y="0"/>
          <a:chExt cx="0" cy="0"/>
        </a:xfrm>
      </p:grpSpPr>
      <p:sp>
        <p:nvSpPr>
          <p:cNvPr id="6" name="Titel 9">
            <a:extLst>
              <a:ext uri="{FF2B5EF4-FFF2-40B4-BE49-F238E27FC236}">
                <a16:creationId xmlns:a16="http://schemas.microsoft.com/office/drawing/2014/main" id="{FC08ABD5-6ED5-D4AE-CBE5-14CE7E2F0C04}"/>
              </a:ext>
            </a:extLst>
          </p:cNvPr>
          <p:cNvSpPr>
            <a:spLocks noGrp="1"/>
          </p:cNvSpPr>
          <p:nvPr>
            <p:ph type="title" hasCustomPrompt="1"/>
          </p:nvPr>
        </p:nvSpPr>
        <p:spPr>
          <a:xfrm>
            <a:off x="427828" y="3491995"/>
            <a:ext cx="11336337" cy="505844"/>
          </a:xfrm>
        </p:spPr>
        <p:txBody>
          <a:bodyPr vert="horz"/>
          <a:lstStyle>
            <a:lvl1pPr algn="ctr" rtl="0">
              <a:defRPr b="1" i="0">
                <a:solidFill>
                  <a:schemeClr val="tx2"/>
                </a:solidFill>
                <a:latin typeface="Aleo SemiBold" pitchFamily="2" charset="77"/>
              </a:defRPr>
            </a:lvl1pPr>
          </a:lstStyle>
          <a:p>
            <a:r>
              <a:rPr lang="en-US"/>
              <a:t>Headline copy goes here</a:t>
            </a:r>
          </a:p>
        </p:txBody>
      </p:sp>
      <p:sp>
        <p:nvSpPr>
          <p:cNvPr id="7" name="Inhaltsplatzhalter 18">
            <a:extLst>
              <a:ext uri="{FF2B5EF4-FFF2-40B4-BE49-F238E27FC236}">
                <a16:creationId xmlns:a16="http://schemas.microsoft.com/office/drawing/2014/main" id="{84D26D4B-53A9-A16C-368A-C2D36A8FC8CC}"/>
              </a:ext>
            </a:extLst>
          </p:cNvPr>
          <p:cNvSpPr>
            <a:spLocks noGrp="1"/>
          </p:cNvSpPr>
          <p:nvPr>
            <p:ph sz="quarter" idx="13" hasCustomPrompt="1"/>
          </p:nvPr>
        </p:nvSpPr>
        <p:spPr>
          <a:xfrm>
            <a:off x="442912" y="4024771"/>
            <a:ext cx="11336337" cy="246221"/>
          </a:xfrm>
        </p:spPr>
        <p:txBody>
          <a:bodyPr wrap="square">
            <a:spAutoFit/>
          </a:bodyPr>
          <a:lstStyle>
            <a:lvl1pPr algn="ct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9" name="Picture Placeholder 8">
            <a:extLst>
              <a:ext uri="{FF2B5EF4-FFF2-40B4-BE49-F238E27FC236}">
                <a16:creationId xmlns:a16="http://schemas.microsoft.com/office/drawing/2014/main" id="{95597A78-51F0-D65B-523A-0C318E41854D}"/>
              </a:ext>
            </a:extLst>
          </p:cNvPr>
          <p:cNvSpPr>
            <a:spLocks noGrp="1"/>
          </p:cNvSpPr>
          <p:nvPr>
            <p:ph type="pic" sz="quarter" idx="14"/>
          </p:nvPr>
        </p:nvSpPr>
        <p:spPr>
          <a:xfrm>
            <a:off x="0" y="0"/>
            <a:ext cx="12192000" cy="3005309"/>
          </a:xfrm>
        </p:spPr>
        <p:txBody>
          <a:bodyPr/>
          <a:lstStyle/>
          <a:p>
            <a:endParaRPr lang="en-US"/>
          </a:p>
        </p:txBody>
      </p:sp>
      <p:sp>
        <p:nvSpPr>
          <p:cNvPr id="3" name="Text Placeholder 10">
            <a:extLst>
              <a:ext uri="{FF2B5EF4-FFF2-40B4-BE49-F238E27FC236}">
                <a16:creationId xmlns:a16="http://schemas.microsoft.com/office/drawing/2014/main" id="{58DE6FB7-BCC2-3A56-BFD7-2E38940801AB}"/>
              </a:ext>
            </a:extLst>
          </p:cNvPr>
          <p:cNvSpPr>
            <a:spLocks noGrp="1"/>
          </p:cNvSpPr>
          <p:nvPr>
            <p:ph type="body" sz="quarter" idx="17" hasCustomPrompt="1"/>
          </p:nvPr>
        </p:nvSpPr>
        <p:spPr>
          <a:xfrm>
            <a:off x="442913" y="4550846"/>
            <a:ext cx="5185512" cy="276999"/>
          </a:xfrm>
        </p:spPr>
        <p:txBody>
          <a:bodyPr/>
          <a:lstStyle>
            <a:lvl1pPr algn="ctr">
              <a:defRPr sz="1800" b="1"/>
            </a:lvl1pPr>
          </a:lstStyle>
          <a:p>
            <a:pPr lvl="0"/>
            <a:r>
              <a:rPr lang="en-US"/>
              <a:t>Column 1 Header Goes Here</a:t>
            </a:r>
          </a:p>
        </p:txBody>
      </p:sp>
      <p:sp>
        <p:nvSpPr>
          <p:cNvPr id="8" name="Text Placeholder 10">
            <a:extLst>
              <a:ext uri="{FF2B5EF4-FFF2-40B4-BE49-F238E27FC236}">
                <a16:creationId xmlns:a16="http://schemas.microsoft.com/office/drawing/2014/main" id="{9D1580DA-CC8F-71F6-773D-E635474E86FF}"/>
              </a:ext>
            </a:extLst>
          </p:cNvPr>
          <p:cNvSpPr>
            <a:spLocks noGrp="1"/>
          </p:cNvSpPr>
          <p:nvPr>
            <p:ph type="body" sz="quarter" idx="19" hasCustomPrompt="1"/>
          </p:nvPr>
        </p:nvSpPr>
        <p:spPr>
          <a:xfrm>
            <a:off x="6563576" y="4550846"/>
            <a:ext cx="5185512" cy="276999"/>
          </a:xfrm>
        </p:spPr>
        <p:txBody>
          <a:bodyPr/>
          <a:lstStyle>
            <a:lvl1pPr algn="ctr">
              <a:defRPr sz="1800" b="1"/>
            </a:lvl1pPr>
          </a:lstStyle>
          <a:p>
            <a:pPr lvl="0"/>
            <a:r>
              <a:rPr lang="en-US"/>
              <a:t>Column 2 Header Goes Here</a:t>
            </a:r>
          </a:p>
        </p:txBody>
      </p:sp>
      <p:sp>
        <p:nvSpPr>
          <p:cNvPr id="4" name="Rectangle 3">
            <a:extLst>
              <a:ext uri="{FF2B5EF4-FFF2-40B4-BE49-F238E27FC236}">
                <a16:creationId xmlns:a16="http://schemas.microsoft.com/office/drawing/2014/main" id="{F3CF359D-209D-34A9-7083-8CF164CFA195}"/>
              </a:ext>
            </a:extLst>
          </p:cNvPr>
          <p:cNvSpPr/>
          <p:nvPr userDrawn="1"/>
        </p:nvSpPr>
        <p:spPr>
          <a:xfrm rot="16200000">
            <a:off x="6029091" y="-3023784"/>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0" name="Inhaltsplatzhalter 18">
            <a:extLst>
              <a:ext uri="{FF2B5EF4-FFF2-40B4-BE49-F238E27FC236}">
                <a16:creationId xmlns:a16="http://schemas.microsoft.com/office/drawing/2014/main" id="{9217BCF9-A7AC-F51F-0E87-152EB23CEB8B}"/>
              </a:ext>
            </a:extLst>
          </p:cNvPr>
          <p:cNvSpPr>
            <a:spLocks noGrp="1"/>
          </p:cNvSpPr>
          <p:nvPr>
            <p:ph sz="quarter" idx="20"/>
          </p:nvPr>
        </p:nvSpPr>
        <p:spPr>
          <a:xfrm>
            <a:off x="442913" y="5028092"/>
            <a:ext cx="5185511" cy="1435607"/>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Inhaltsplatzhalter 18">
            <a:extLst>
              <a:ext uri="{FF2B5EF4-FFF2-40B4-BE49-F238E27FC236}">
                <a16:creationId xmlns:a16="http://schemas.microsoft.com/office/drawing/2014/main" id="{2FCE35FC-9626-21C7-85BE-56B5E5ADCE0A}"/>
              </a:ext>
            </a:extLst>
          </p:cNvPr>
          <p:cNvSpPr>
            <a:spLocks noGrp="1"/>
          </p:cNvSpPr>
          <p:nvPr>
            <p:ph sz="quarter" idx="21"/>
          </p:nvPr>
        </p:nvSpPr>
        <p:spPr>
          <a:xfrm>
            <a:off x="6563576" y="5028092"/>
            <a:ext cx="5185511" cy="1435607"/>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62452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alf Image 3 Columns">
    <p:spTree>
      <p:nvGrpSpPr>
        <p:cNvPr id="1" name=""/>
        <p:cNvGrpSpPr/>
        <p:nvPr/>
      </p:nvGrpSpPr>
      <p:grpSpPr>
        <a:xfrm>
          <a:off x="0" y="0"/>
          <a:ext cx="0" cy="0"/>
          <a:chOff x="0" y="0"/>
          <a:chExt cx="0" cy="0"/>
        </a:xfrm>
      </p:grpSpPr>
      <p:sp>
        <p:nvSpPr>
          <p:cNvPr id="6" name="Titel 9">
            <a:extLst>
              <a:ext uri="{FF2B5EF4-FFF2-40B4-BE49-F238E27FC236}">
                <a16:creationId xmlns:a16="http://schemas.microsoft.com/office/drawing/2014/main" id="{FC08ABD5-6ED5-D4AE-CBE5-14CE7E2F0C04}"/>
              </a:ext>
            </a:extLst>
          </p:cNvPr>
          <p:cNvSpPr>
            <a:spLocks noGrp="1"/>
          </p:cNvSpPr>
          <p:nvPr>
            <p:ph type="title" hasCustomPrompt="1"/>
          </p:nvPr>
        </p:nvSpPr>
        <p:spPr>
          <a:xfrm>
            <a:off x="427828" y="3491995"/>
            <a:ext cx="11336337" cy="505844"/>
          </a:xfrm>
        </p:spPr>
        <p:txBody>
          <a:bodyPr vert="horz"/>
          <a:lstStyle>
            <a:lvl1pPr algn="ctr" rtl="0">
              <a:defRPr b="1" i="0">
                <a:solidFill>
                  <a:schemeClr val="tx2"/>
                </a:solidFill>
                <a:latin typeface="Aleo SemiBold" pitchFamily="2" charset="77"/>
              </a:defRPr>
            </a:lvl1pPr>
          </a:lstStyle>
          <a:p>
            <a:r>
              <a:rPr lang="en-US"/>
              <a:t>Headline copy goes here</a:t>
            </a:r>
          </a:p>
        </p:txBody>
      </p:sp>
      <p:sp>
        <p:nvSpPr>
          <p:cNvPr id="7" name="Inhaltsplatzhalter 18">
            <a:extLst>
              <a:ext uri="{FF2B5EF4-FFF2-40B4-BE49-F238E27FC236}">
                <a16:creationId xmlns:a16="http://schemas.microsoft.com/office/drawing/2014/main" id="{84D26D4B-53A9-A16C-368A-C2D36A8FC8CC}"/>
              </a:ext>
            </a:extLst>
          </p:cNvPr>
          <p:cNvSpPr>
            <a:spLocks noGrp="1"/>
          </p:cNvSpPr>
          <p:nvPr>
            <p:ph sz="quarter" idx="13" hasCustomPrompt="1"/>
          </p:nvPr>
        </p:nvSpPr>
        <p:spPr>
          <a:xfrm>
            <a:off x="442912" y="4024771"/>
            <a:ext cx="11336337" cy="246221"/>
          </a:xfrm>
        </p:spPr>
        <p:txBody>
          <a:bodyPr wrap="square">
            <a:spAutoFit/>
          </a:bodyPr>
          <a:lstStyle>
            <a:lvl1pPr algn="ct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9" name="Picture Placeholder 8">
            <a:extLst>
              <a:ext uri="{FF2B5EF4-FFF2-40B4-BE49-F238E27FC236}">
                <a16:creationId xmlns:a16="http://schemas.microsoft.com/office/drawing/2014/main" id="{95597A78-51F0-D65B-523A-0C318E41854D}"/>
              </a:ext>
            </a:extLst>
          </p:cNvPr>
          <p:cNvSpPr>
            <a:spLocks noGrp="1"/>
          </p:cNvSpPr>
          <p:nvPr>
            <p:ph type="pic" sz="quarter" idx="14"/>
          </p:nvPr>
        </p:nvSpPr>
        <p:spPr>
          <a:xfrm>
            <a:off x="0" y="0"/>
            <a:ext cx="12192000" cy="3005309"/>
          </a:xfrm>
        </p:spPr>
        <p:txBody>
          <a:bodyPr/>
          <a:lstStyle/>
          <a:p>
            <a:endParaRPr lang="en-US"/>
          </a:p>
        </p:txBody>
      </p:sp>
      <p:sp>
        <p:nvSpPr>
          <p:cNvPr id="3" name="Text Placeholder 10">
            <a:extLst>
              <a:ext uri="{FF2B5EF4-FFF2-40B4-BE49-F238E27FC236}">
                <a16:creationId xmlns:a16="http://schemas.microsoft.com/office/drawing/2014/main" id="{58DE6FB7-BCC2-3A56-BFD7-2E38940801AB}"/>
              </a:ext>
            </a:extLst>
          </p:cNvPr>
          <p:cNvSpPr>
            <a:spLocks noGrp="1"/>
          </p:cNvSpPr>
          <p:nvPr>
            <p:ph type="body" sz="quarter" idx="17" hasCustomPrompt="1"/>
          </p:nvPr>
        </p:nvSpPr>
        <p:spPr>
          <a:xfrm>
            <a:off x="442913" y="4550846"/>
            <a:ext cx="3499053" cy="276999"/>
          </a:xfrm>
        </p:spPr>
        <p:txBody>
          <a:bodyPr/>
          <a:lstStyle>
            <a:lvl1pPr algn="ctr">
              <a:defRPr sz="1800" b="1"/>
            </a:lvl1pPr>
          </a:lstStyle>
          <a:p>
            <a:pPr lvl="0"/>
            <a:r>
              <a:rPr lang="en-US"/>
              <a:t>Column 1 Header Goes Here</a:t>
            </a:r>
          </a:p>
        </p:txBody>
      </p:sp>
      <p:sp>
        <p:nvSpPr>
          <p:cNvPr id="8" name="Text Placeholder 10">
            <a:extLst>
              <a:ext uri="{FF2B5EF4-FFF2-40B4-BE49-F238E27FC236}">
                <a16:creationId xmlns:a16="http://schemas.microsoft.com/office/drawing/2014/main" id="{9D1580DA-CC8F-71F6-773D-E635474E86FF}"/>
              </a:ext>
            </a:extLst>
          </p:cNvPr>
          <p:cNvSpPr>
            <a:spLocks noGrp="1"/>
          </p:cNvSpPr>
          <p:nvPr>
            <p:ph type="body" sz="quarter" idx="19" hasCustomPrompt="1"/>
          </p:nvPr>
        </p:nvSpPr>
        <p:spPr>
          <a:xfrm>
            <a:off x="4346473" y="4550846"/>
            <a:ext cx="3499053" cy="276999"/>
          </a:xfrm>
        </p:spPr>
        <p:txBody>
          <a:bodyPr/>
          <a:lstStyle>
            <a:lvl1pPr algn="ctr">
              <a:defRPr sz="1800" b="1"/>
            </a:lvl1pPr>
          </a:lstStyle>
          <a:p>
            <a:pPr lvl="0"/>
            <a:r>
              <a:rPr lang="en-US"/>
              <a:t>Column 2 Header Goes Here</a:t>
            </a:r>
          </a:p>
        </p:txBody>
      </p:sp>
      <p:sp>
        <p:nvSpPr>
          <p:cNvPr id="11" name="Text Placeholder 10">
            <a:extLst>
              <a:ext uri="{FF2B5EF4-FFF2-40B4-BE49-F238E27FC236}">
                <a16:creationId xmlns:a16="http://schemas.microsoft.com/office/drawing/2014/main" id="{D575CD49-6BC6-BF40-A16A-3D055536AFEC}"/>
              </a:ext>
            </a:extLst>
          </p:cNvPr>
          <p:cNvSpPr>
            <a:spLocks noGrp="1"/>
          </p:cNvSpPr>
          <p:nvPr>
            <p:ph type="body" sz="quarter" idx="21" hasCustomPrompt="1"/>
          </p:nvPr>
        </p:nvSpPr>
        <p:spPr>
          <a:xfrm>
            <a:off x="8238836" y="4550846"/>
            <a:ext cx="3499053" cy="276999"/>
          </a:xfrm>
        </p:spPr>
        <p:txBody>
          <a:bodyPr/>
          <a:lstStyle>
            <a:lvl1pPr algn="ctr">
              <a:defRPr sz="1800" b="1"/>
            </a:lvl1pPr>
          </a:lstStyle>
          <a:p>
            <a:pPr lvl="0"/>
            <a:r>
              <a:rPr lang="en-US"/>
              <a:t>Column 3 Header Goes Here</a:t>
            </a:r>
          </a:p>
        </p:txBody>
      </p:sp>
      <p:sp>
        <p:nvSpPr>
          <p:cNvPr id="13" name="Rectangle 12">
            <a:extLst>
              <a:ext uri="{FF2B5EF4-FFF2-40B4-BE49-F238E27FC236}">
                <a16:creationId xmlns:a16="http://schemas.microsoft.com/office/drawing/2014/main" id="{3102E54C-BB43-F694-E8B6-C217DA5F420C}"/>
              </a:ext>
            </a:extLst>
          </p:cNvPr>
          <p:cNvSpPr/>
          <p:nvPr userDrawn="1"/>
        </p:nvSpPr>
        <p:spPr>
          <a:xfrm rot="16200000">
            <a:off x="6044173" y="-3023784"/>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 name="Inhaltsplatzhalter 18">
            <a:extLst>
              <a:ext uri="{FF2B5EF4-FFF2-40B4-BE49-F238E27FC236}">
                <a16:creationId xmlns:a16="http://schemas.microsoft.com/office/drawing/2014/main" id="{22858C5B-2823-FF3A-C879-1EC13299B6EA}"/>
              </a:ext>
            </a:extLst>
          </p:cNvPr>
          <p:cNvSpPr>
            <a:spLocks noGrp="1"/>
          </p:cNvSpPr>
          <p:nvPr>
            <p:ph sz="quarter" idx="22"/>
          </p:nvPr>
        </p:nvSpPr>
        <p:spPr>
          <a:xfrm>
            <a:off x="442913" y="5028092"/>
            <a:ext cx="3499053" cy="1435607"/>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Inhaltsplatzhalter 18">
            <a:extLst>
              <a:ext uri="{FF2B5EF4-FFF2-40B4-BE49-F238E27FC236}">
                <a16:creationId xmlns:a16="http://schemas.microsoft.com/office/drawing/2014/main" id="{A6E2B385-9498-D514-8944-B730A441ED42}"/>
              </a:ext>
            </a:extLst>
          </p:cNvPr>
          <p:cNvSpPr>
            <a:spLocks noGrp="1"/>
          </p:cNvSpPr>
          <p:nvPr>
            <p:ph sz="quarter" idx="23"/>
          </p:nvPr>
        </p:nvSpPr>
        <p:spPr>
          <a:xfrm>
            <a:off x="4346469" y="5028092"/>
            <a:ext cx="3499053" cy="1435607"/>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Inhaltsplatzhalter 18">
            <a:extLst>
              <a:ext uri="{FF2B5EF4-FFF2-40B4-BE49-F238E27FC236}">
                <a16:creationId xmlns:a16="http://schemas.microsoft.com/office/drawing/2014/main" id="{E10269C4-6DA6-9C98-748F-EB711837002E}"/>
              </a:ext>
            </a:extLst>
          </p:cNvPr>
          <p:cNvSpPr>
            <a:spLocks noGrp="1"/>
          </p:cNvSpPr>
          <p:nvPr>
            <p:ph sz="quarter" idx="24"/>
          </p:nvPr>
        </p:nvSpPr>
        <p:spPr>
          <a:xfrm>
            <a:off x="8238835" y="5028092"/>
            <a:ext cx="3499053" cy="1435607"/>
          </a:xfrm>
        </p:spPr>
        <p:txBody>
          <a:bodyPr>
            <a:noAutofit/>
          </a:bodyPr>
          <a:lstStyle>
            <a:lvl1pPr algn="ctr" rtl="0">
              <a:defRPr sz="1400">
                <a:solidFill>
                  <a:schemeClr val="tx1"/>
                </a:solidFill>
              </a:defRPr>
            </a:lvl1pPr>
            <a:lvl2pPr marL="179388" indent="-179388" algn="ctr" rtl="0">
              <a:buClr>
                <a:schemeClr val="accent3"/>
              </a:buClr>
              <a:buFont typeface="Wingdings" pitchFamily="2" charset="2"/>
              <a:buChar char="§"/>
              <a:defRPr sz="1400">
                <a:solidFill>
                  <a:schemeClr val="tx1"/>
                </a:solidFill>
              </a:defRPr>
            </a:lvl2pPr>
            <a:lvl3pPr marL="358775" indent="-179388" algn="ctr" rtl="0">
              <a:buClr>
                <a:schemeClr val="accent3"/>
              </a:buClr>
              <a:buFont typeface="Wingdings" pitchFamily="2" charset="2"/>
              <a:buChar char="§"/>
              <a:defRPr sz="1400">
                <a:solidFill>
                  <a:schemeClr val="tx1"/>
                </a:solidFill>
              </a:defRPr>
            </a:lvl3pPr>
            <a:lvl4pPr marL="536575" indent="-177800" algn="ctr" rtl="0">
              <a:buClr>
                <a:schemeClr val="accent3"/>
              </a:buClr>
              <a:buFont typeface="Wingdings" pitchFamily="2" charset="2"/>
              <a:buChar char="§"/>
              <a:defRPr sz="1400">
                <a:solidFill>
                  <a:schemeClr val="tx1"/>
                </a:solidFill>
              </a:defRPr>
            </a:lvl4pPr>
            <a:lvl5pPr marL="715963" indent="-173038" algn="ct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31170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69F3E87C-23E6-F0FF-9B65-41D80E685286}"/>
              </a:ext>
            </a:extLst>
          </p:cNvPr>
          <p:cNvSpPr>
            <a:spLocks noGrp="1"/>
          </p:cNvSpPr>
          <p:nvPr>
            <p:ph type="body" sz="quarter" idx="13" hasCustomPrompt="1"/>
          </p:nvPr>
        </p:nvSpPr>
        <p:spPr>
          <a:xfrm>
            <a:off x="1216835" y="1843190"/>
            <a:ext cx="6256409" cy="430887"/>
          </a:xfrm>
        </p:spPr>
        <p:txBody>
          <a:bodyPr/>
          <a:lstStyle>
            <a:lvl1pPr>
              <a:defRPr sz="2800" b="1">
                <a:solidFill>
                  <a:schemeClr val="tx1"/>
                </a:solidFill>
                <a:latin typeface="Aleo" pitchFamily="2" charset="77"/>
              </a:defRPr>
            </a:lvl1pPr>
          </a:lstStyle>
          <a:p>
            <a:r>
              <a:rPr lang="en-US"/>
              <a:t>Add Agenda Item Here</a:t>
            </a:r>
          </a:p>
        </p:txBody>
      </p:sp>
      <p:sp>
        <p:nvSpPr>
          <p:cNvPr id="3" name="Text Placeholder 43">
            <a:extLst>
              <a:ext uri="{FF2B5EF4-FFF2-40B4-BE49-F238E27FC236}">
                <a16:creationId xmlns:a16="http://schemas.microsoft.com/office/drawing/2014/main" id="{5CF2F575-1883-BBFE-3A52-4A986D44D17F}"/>
              </a:ext>
            </a:extLst>
          </p:cNvPr>
          <p:cNvSpPr>
            <a:spLocks noGrp="1"/>
          </p:cNvSpPr>
          <p:nvPr>
            <p:ph type="body" sz="quarter" idx="15" hasCustomPrompt="1"/>
          </p:nvPr>
        </p:nvSpPr>
        <p:spPr>
          <a:xfrm>
            <a:off x="385976" y="1899393"/>
            <a:ext cx="662921" cy="369332"/>
          </a:xfrm>
        </p:spPr>
        <p:txBody>
          <a:bodyPr/>
          <a:lstStyle>
            <a:lvl1pPr>
              <a:defRPr sz="2400">
                <a:solidFill>
                  <a:schemeClr val="accent3"/>
                </a:solidFill>
                <a:latin typeface="Aleo" pitchFamily="2" charset="77"/>
              </a:defRPr>
            </a:lvl1pPr>
          </a:lstStyle>
          <a:p>
            <a:r>
              <a:rPr lang="en-US"/>
              <a:t>01</a:t>
            </a:r>
          </a:p>
        </p:txBody>
      </p:sp>
      <p:sp>
        <p:nvSpPr>
          <p:cNvPr id="14" name="Picture Placeholder 23">
            <a:extLst>
              <a:ext uri="{FF2B5EF4-FFF2-40B4-BE49-F238E27FC236}">
                <a16:creationId xmlns:a16="http://schemas.microsoft.com/office/drawing/2014/main" id="{B2D99AD6-AEA1-6FE2-FC4E-71A905F5C69F}"/>
              </a:ext>
            </a:extLst>
          </p:cNvPr>
          <p:cNvSpPr>
            <a:spLocks noGrp="1"/>
          </p:cNvSpPr>
          <p:nvPr>
            <p:ph type="pic" sz="quarter" idx="14"/>
          </p:nvPr>
        </p:nvSpPr>
        <p:spPr>
          <a:xfrm>
            <a:off x="7981244" y="0"/>
            <a:ext cx="4210756" cy="6858000"/>
          </a:xfrm>
        </p:spPr>
        <p:txBody>
          <a:bodyPr/>
          <a:lstStyle/>
          <a:p>
            <a:endParaRPr lang="en-US"/>
          </a:p>
        </p:txBody>
      </p:sp>
      <p:sp>
        <p:nvSpPr>
          <p:cNvPr id="18" name="Text Placeholder 3">
            <a:extLst>
              <a:ext uri="{FF2B5EF4-FFF2-40B4-BE49-F238E27FC236}">
                <a16:creationId xmlns:a16="http://schemas.microsoft.com/office/drawing/2014/main" id="{08049463-32A6-CCE6-300F-B6050D069A48}"/>
              </a:ext>
            </a:extLst>
          </p:cNvPr>
          <p:cNvSpPr>
            <a:spLocks noGrp="1"/>
          </p:cNvSpPr>
          <p:nvPr>
            <p:ph type="body" sz="quarter" idx="16" hasCustomPrompt="1"/>
          </p:nvPr>
        </p:nvSpPr>
        <p:spPr>
          <a:xfrm>
            <a:off x="1216835" y="2746301"/>
            <a:ext cx="6256409" cy="430887"/>
          </a:xfrm>
        </p:spPr>
        <p:txBody>
          <a:bodyPr/>
          <a:lstStyle>
            <a:lvl1pPr>
              <a:defRPr sz="2800" b="1">
                <a:solidFill>
                  <a:schemeClr val="tx1"/>
                </a:solidFill>
                <a:latin typeface="Aleo" pitchFamily="2" charset="77"/>
              </a:defRPr>
            </a:lvl1pPr>
          </a:lstStyle>
          <a:p>
            <a:r>
              <a:rPr lang="en-US"/>
              <a:t>Text is 28pt size</a:t>
            </a:r>
          </a:p>
        </p:txBody>
      </p:sp>
      <p:sp>
        <p:nvSpPr>
          <p:cNvPr id="23" name="Text Placeholder 3">
            <a:extLst>
              <a:ext uri="{FF2B5EF4-FFF2-40B4-BE49-F238E27FC236}">
                <a16:creationId xmlns:a16="http://schemas.microsoft.com/office/drawing/2014/main" id="{8BCBFD83-9C92-5677-BD8C-97BEE9A8B62F}"/>
              </a:ext>
            </a:extLst>
          </p:cNvPr>
          <p:cNvSpPr>
            <a:spLocks noGrp="1"/>
          </p:cNvSpPr>
          <p:nvPr>
            <p:ph type="body" sz="quarter" idx="18" hasCustomPrompt="1"/>
          </p:nvPr>
        </p:nvSpPr>
        <p:spPr>
          <a:xfrm>
            <a:off x="1216835" y="3649412"/>
            <a:ext cx="6256409" cy="430887"/>
          </a:xfrm>
        </p:spPr>
        <p:txBody>
          <a:bodyPr/>
          <a:lstStyle>
            <a:lvl1pPr>
              <a:defRPr sz="2800" b="1">
                <a:solidFill>
                  <a:schemeClr val="tx1"/>
                </a:solidFill>
                <a:latin typeface="Aleo" pitchFamily="2" charset="77"/>
              </a:defRPr>
            </a:lvl1pPr>
          </a:lstStyle>
          <a:p>
            <a:r>
              <a:rPr lang="en-US"/>
              <a:t>Delete Sidebar image if not using</a:t>
            </a:r>
          </a:p>
        </p:txBody>
      </p:sp>
      <p:sp>
        <p:nvSpPr>
          <p:cNvPr id="26" name="Text Placeholder 3">
            <a:extLst>
              <a:ext uri="{FF2B5EF4-FFF2-40B4-BE49-F238E27FC236}">
                <a16:creationId xmlns:a16="http://schemas.microsoft.com/office/drawing/2014/main" id="{CC8D0833-73FD-7AB7-3186-FB61252FEBB5}"/>
              </a:ext>
            </a:extLst>
          </p:cNvPr>
          <p:cNvSpPr>
            <a:spLocks noGrp="1"/>
          </p:cNvSpPr>
          <p:nvPr>
            <p:ph type="body" sz="quarter" idx="20" hasCustomPrompt="1"/>
          </p:nvPr>
        </p:nvSpPr>
        <p:spPr>
          <a:xfrm>
            <a:off x="1216835" y="4552524"/>
            <a:ext cx="6256409" cy="430887"/>
          </a:xfrm>
        </p:spPr>
        <p:txBody>
          <a:bodyPr/>
          <a:lstStyle>
            <a:lvl1pPr>
              <a:defRPr sz="2800" b="1">
                <a:solidFill>
                  <a:schemeClr val="tx1"/>
                </a:solidFill>
                <a:latin typeface="Aleo" pitchFamily="2" charset="77"/>
              </a:defRPr>
            </a:lvl1pPr>
          </a:lstStyle>
          <a:p>
            <a:r>
              <a:rPr lang="en-US"/>
              <a:t>Extend beyond 4 if needed</a:t>
            </a:r>
          </a:p>
        </p:txBody>
      </p:sp>
      <p:sp>
        <p:nvSpPr>
          <p:cNvPr id="31" name="Text Placeholder 43">
            <a:extLst>
              <a:ext uri="{FF2B5EF4-FFF2-40B4-BE49-F238E27FC236}">
                <a16:creationId xmlns:a16="http://schemas.microsoft.com/office/drawing/2014/main" id="{A9FCF2C6-D5EB-743D-F8EC-10F7381FA6A0}"/>
              </a:ext>
            </a:extLst>
          </p:cNvPr>
          <p:cNvSpPr>
            <a:spLocks noGrp="1"/>
          </p:cNvSpPr>
          <p:nvPr>
            <p:ph type="body" sz="quarter" idx="23" hasCustomPrompt="1"/>
          </p:nvPr>
        </p:nvSpPr>
        <p:spPr>
          <a:xfrm>
            <a:off x="385976" y="2813793"/>
            <a:ext cx="662921" cy="369332"/>
          </a:xfrm>
        </p:spPr>
        <p:txBody>
          <a:bodyPr/>
          <a:lstStyle>
            <a:lvl1pPr>
              <a:defRPr sz="2400">
                <a:solidFill>
                  <a:schemeClr val="accent3"/>
                </a:solidFill>
                <a:latin typeface="Aleo" pitchFamily="2" charset="77"/>
              </a:defRPr>
            </a:lvl1pPr>
          </a:lstStyle>
          <a:p>
            <a:r>
              <a:rPr lang="en-US"/>
              <a:t>02</a:t>
            </a:r>
          </a:p>
        </p:txBody>
      </p:sp>
      <p:sp>
        <p:nvSpPr>
          <p:cNvPr id="32" name="Text Placeholder 43">
            <a:extLst>
              <a:ext uri="{FF2B5EF4-FFF2-40B4-BE49-F238E27FC236}">
                <a16:creationId xmlns:a16="http://schemas.microsoft.com/office/drawing/2014/main" id="{C3249D11-4108-AF75-EDEE-2CDA1B2B8E3C}"/>
              </a:ext>
            </a:extLst>
          </p:cNvPr>
          <p:cNvSpPr>
            <a:spLocks noGrp="1"/>
          </p:cNvSpPr>
          <p:nvPr>
            <p:ph type="body" sz="quarter" idx="24" hasCustomPrompt="1"/>
          </p:nvPr>
        </p:nvSpPr>
        <p:spPr>
          <a:xfrm>
            <a:off x="385976" y="3705615"/>
            <a:ext cx="662921" cy="369332"/>
          </a:xfrm>
        </p:spPr>
        <p:txBody>
          <a:bodyPr/>
          <a:lstStyle>
            <a:lvl1pPr>
              <a:defRPr sz="2400">
                <a:solidFill>
                  <a:schemeClr val="accent3"/>
                </a:solidFill>
                <a:latin typeface="Aleo" pitchFamily="2" charset="77"/>
              </a:defRPr>
            </a:lvl1pPr>
          </a:lstStyle>
          <a:p>
            <a:r>
              <a:rPr lang="en-US"/>
              <a:t>03</a:t>
            </a:r>
          </a:p>
        </p:txBody>
      </p:sp>
      <p:sp>
        <p:nvSpPr>
          <p:cNvPr id="33" name="Text Placeholder 43">
            <a:extLst>
              <a:ext uri="{FF2B5EF4-FFF2-40B4-BE49-F238E27FC236}">
                <a16:creationId xmlns:a16="http://schemas.microsoft.com/office/drawing/2014/main" id="{C01B5EF5-8EF7-6EE2-C351-9479D864D608}"/>
              </a:ext>
            </a:extLst>
          </p:cNvPr>
          <p:cNvSpPr>
            <a:spLocks noGrp="1"/>
          </p:cNvSpPr>
          <p:nvPr>
            <p:ph type="body" sz="quarter" idx="25" hasCustomPrompt="1"/>
          </p:nvPr>
        </p:nvSpPr>
        <p:spPr>
          <a:xfrm>
            <a:off x="385976" y="4608727"/>
            <a:ext cx="662921" cy="369332"/>
          </a:xfrm>
        </p:spPr>
        <p:txBody>
          <a:bodyPr/>
          <a:lstStyle>
            <a:lvl1pPr>
              <a:defRPr sz="2400">
                <a:solidFill>
                  <a:schemeClr val="accent3"/>
                </a:solidFill>
                <a:latin typeface="Aleo" pitchFamily="2" charset="77"/>
              </a:defRPr>
            </a:lvl1pPr>
          </a:lstStyle>
          <a:p>
            <a:r>
              <a:rPr lang="en-US"/>
              <a:t>04</a:t>
            </a:r>
          </a:p>
        </p:txBody>
      </p:sp>
      <p:sp>
        <p:nvSpPr>
          <p:cNvPr id="4" name="Rectangle 3">
            <a:extLst>
              <a:ext uri="{FF2B5EF4-FFF2-40B4-BE49-F238E27FC236}">
                <a16:creationId xmlns:a16="http://schemas.microsoft.com/office/drawing/2014/main" id="{E78C2AF6-F749-5B08-5557-F018DCDA1E2E}"/>
              </a:ext>
            </a:extLst>
          </p:cNvPr>
          <p:cNvSpPr/>
          <p:nvPr userDrawn="1"/>
        </p:nvSpPr>
        <p:spPr>
          <a:xfrm>
            <a:off x="7865565" y="0"/>
            <a:ext cx="115679" cy="6858000"/>
          </a:xfrm>
          <a:prstGeom prst="rect">
            <a:avLst/>
          </a:prstGeom>
          <a:gradFill>
            <a:gsLst>
              <a:gs pos="0">
                <a:schemeClr val="accent4"/>
              </a:gs>
              <a:gs pos="51000">
                <a:schemeClr val="accent1"/>
              </a:gs>
              <a:gs pos="100000">
                <a:schemeClr val="accent2"/>
              </a:gs>
            </a:gsLst>
            <a:lin ang="5400000" scaled="0"/>
          </a:gradFill>
          <a:ln>
            <a:noFill/>
          </a:ln>
          <a:effectLst>
            <a:outerShdw blurRad="419100" dist="88900" dir="10800000" algn="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54709088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Statem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4335E6-6E45-886B-7005-D0983ACE320D}"/>
              </a:ext>
            </a:extLst>
          </p:cNvPr>
          <p:cNvSpPr/>
          <p:nvPr userDrawn="1"/>
        </p:nvSpPr>
        <p:spPr>
          <a:xfrm>
            <a:off x="0" y="0"/>
            <a:ext cx="12192000" cy="6858000"/>
          </a:xfrm>
          <a:prstGeom prst="rect">
            <a:avLst/>
          </a:prstGeom>
          <a:gradFill>
            <a:gsLst>
              <a:gs pos="0">
                <a:schemeClr val="accent4">
                  <a:lumMod val="70000"/>
                </a:schemeClr>
              </a:gs>
              <a:gs pos="100000">
                <a:schemeClr val="accent4">
                  <a:lumMod val="90000"/>
                  <a:lumOff val="10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8DA875AB-FE08-559D-63EC-256E8439C1D2}"/>
              </a:ext>
            </a:extLst>
          </p:cNvPr>
          <p:cNvSpPr>
            <a:spLocks noGrp="1"/>
          </p:cNvSpPr>
          <p:nvPr>
            <p:ph type="title" hasCustomPrompt="1"/>
          </p:nvPr>
        </p:nvSpPr>
        <p:spPr>
          <a:xfrm>
            <a:off x="1299114" y="3152001"/>
            <a:ext cx="9593771" cy="553998"/>
          </a:xfrm>
        </p:spPr>
        <p:txBody>
          <a:bodyPr vert="horz"/>
          <a:lstStyle>
            <a:lvl1pPr algn="ctr" rtl="0">
              <a:lnSpc>
                <a:spcPct val="100000"/>
              </a:lnSpc>
              <a:defRPr b="1" i="0">
                <a:solidFill>
                  <a:schemeClr val="tx1"/>
                </a:solidFill>
                <a:latin typeface="Aleo SemiBold" pitchFamily="2" charset="77"/>
              </a:defRPr>
            </a:lvl1pPr>
          </a:lstStyle>
          <a:p>
            <a:r>
              <a:rPr lang="en-US"/>
              <a:t>“Quote Template Goes Here”</a:t>
            </a:r>
          </a:p>
        </p:txBody>
      </p:sp>
      <p:sp>
        <p:nvSpPr>
          <p:cNvPr id="7" name="Text Placeholder 6">
            <a:extLst>
              <a:ext uri="{FF2B5EF4-FFF2-40B4-BE49-F238E27FC236}">
                <a16:creationId xmlns:a16="http://schemas.microsoft.com/office/drawing/2014/main" id="{3B1A82A7-634D-32B4-4860-A04B0562CB5A}"/>
              </a:ext>
            </a:extLst>
          </p:cNvPr>
          <p:cNvSpPr>
            <a:spLocks noGrp="1"/>
          </p:cNvSpPr>
          <p:nvPr>
            <p:ph type="body" sz="quarter" idx="10" hasCustomPrompt="1"/>
          </p:nvPr>
        </p:nvSpPr>
        <p:spPr>
          <a:xfrm>
            <a:off x="1298575" y="3889375"/>
            <a:ext cx="9702800" cy="215444"/>
          </a:xfrm>
        </p:spPr>
        <p:txBody>
          <a:bodyPr/>
          <a:lstStyle>
            <a:lvl1pPr algn="ctr">
              <a:defRPr/>
            </a:lvl1pPr>
          </a:lstStyle>
          <a:p>
            <a:pPr lvl="0"/>
            <a:r>
              <a:rPr lang="en-US"/>
              <a:t>- Add Name, Title Here</a:t>
            </a:r>
          </a:p>
        </p:txBody>
      </p:sp>
    </p:spTree>
    <p:extLst>
      <p:ext uri="{BB962C8B-B14F-4D97-AF65-F5344CB8AC3E}">
        <p14:creationId xmlns:p14="http://schemas.microsoft.com/office/powerpoint/2010/main" val="377338248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tement &amp; Imag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378561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Picture Placeholder 5">
            <a:extLst>
              <a:ext uri="{FF2B5EF4-FFF2-40B4-BE49-F238E27FC236}">
                <a16:creationId xmlns:a16="http://schemas.microsoft.com/office/drawing/2014/main" id="{2E49611A-1E1A-1FB1-1456-4A7A31C2F3F6}"/>
              </a:ext>
            </a:extLst>
          </p:cNvPr>
          <p:cNvSpPr>
            <a:spLocks noGrp="1"/>
          </p:cNvSpPr>
          <p:nvPr>
            <p:ph type="pic" sz="quarter" idx="10"/>
          </p:nvPr>
        </p:nvSpPr>
        <p:spPr>
          <a:xfrm>
            <a:off x="3786188" y="0"/>
            <a:ext cx="8405812" cy="6858000"/>
          </a:xfrm>
        </p:spPr>
        <p:txBody>
          <a:bodyPr/>
          <a:lstStyle/>
          <a:p>
            <a:endParaRPr lang="en-US"/>
          </a:p>
        </p:txBody>
      </p:sp>
      <p:pic>
        <p:nvPicPr>
          <p:cNvPr id="2" name="Graphic 1">
            <a:extLst>
              <a:ext uri="{FF2B5EF4-FFF2-40B4-BE49-F238E27FC236}">
                <a16:creationId xmlns:a16="http://schemas.microsoft.com/office/drawing/2014/main" id="{F7CAA72E-9727-0B32-83E6-2BEC79B0CA6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20250" y="443997"/>
            <a:ext cx="254097" cy="271037"/>
          </a:xfrm>
          <a:prstGeom prst="rect">
            <a:avLst/>
          </a:prstGeom>
        </p:spPr>
      </p:pic>
      <p:sp>
        <p:nvSpPr>
          <p:cNvPr id="7" name="Title 6">
            <a:extLst>
              <a:ext uri="{FF2B5EF4-FFF2-40B4-BE49-F238E27FC236}">
                <a16:creationId xmlns:a16="http://schemas.microsoft.com/office/drawing/2014/main" id="{BEADE543-E943-07C1-25F5-8B52F451B3F0}"/>
              </a:ext>
            </a:extLst>
          </p:cNvPr>
          <p:cNvSpPr>
            <a:spLocks noGrp="1"/>
          </p:cNvSpPr>
          <p:nvPr>
            <p:ph type="title" hasCustomPrompt="1"/>
          </p:nvPr>
        </p:nvSpPr>
        <p:spPr>
          <a:xfrm>
            <a:off x="320250" y="2329837"/>
            <a:ext cx="3309070" cy="2198326"/>
          </a:xfrm>
        </p:spPr>
        <p:txBody>
          <a:bodyPr anchor="ctr"/>
          <a:lstStyle/>
          <a:p>
            <a:r>
              <a:rPr lang="en-US"/>
              <a:t>Add a Title, Quote, or Statement Here</a:t>
            </a:r>
          </a:p>
        </p:txBody>
      </p:sp>
    </p:spTree>
    <p:extLst>
      <p:ext uri="{BB962C8B-B14F-4D97-AF65-F5344CB8AC3E}">
        <p14:creationId xmlns:p14="http://schemas.microsoft.com/office/powerpoint/2010/main" val="276651753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atement &amp; Char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378561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 name="Chart Placeholder 2">
            <a:extLst>
              <a:ext uri="{FF2B5EF4-FFF2-40B4-BE49-F238E27FC236}">
                <a16:creationId xmlns:a16="http://schemas.microsoft.com/office/drawing/2014/main" id="{9B80AF76-84A1-B4B1-711F-E215AC0F963B}"/>
              </a:ext>
            </a:extLst>
          </p:cNvPr>
          <p:cNvSpPr>
            <a:spLocks noGrp="1"/>
          </p:cNvSpPr>
          <p:nvPr>
            <p:ph type="chart" sz="quarter" idx="10"/>
          </p:nvPr>
        </p:nvSpPr>
        <p:spPr>
          <a:xfrm>
            <a:off x="4591250" y="539013"/>
            <a:ext cx="7100236" cy="5779971"/>
          </a:xfrm>
        </p:spPr>
        <p:txBody>
          <a:bodyPr/>
          <a:lstStyle/>
          <a:p>
            <a:endParaRPr lang="en-US"/>
          </a:p>
        </p:txBody>
      </p:sp>
      <p:pic>
        <p:nvPicPr>
          <p:cNvPr id="6" name="Graphic 5">
            <a:extLst>
              <a:ext uri="{FF2B5EF4-FFF2-40B4-BE49-F238E27FC236}">
                <a16:creationId xmlns:a16="http://schemas.microsoft.com/office/drawing/2014/main" id="{DCD20940-3CE4-7858-C01E-16E58186E5B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20250" y="443997"/>
            <a:ext cx="254097" cy="271037"/>
          </a:xfrm>
          <a:prstGeom prst="rect">
            <a:avLst/>
          </a:prstGeom>
        </p:spPr>
      </p:pic>
      <p:sp>
        <p:nvSpPr>
          <p:cNvPr id="7" name="Title 6">
            <a:extLst>
              <a:ext uri="{FF2B5EF4-FFF2-40B4-BE49-F238E27FC236}">
                <a16:creationId xmlns:a16="http://schemas.microsoft.com/office/drawing/2014/main" id="{71E579D0-8CBB-A3ED-D2E5-1F357EEB36AA}"/>
              </a:ext>
            </a:extLst>
          </p:cNvPr>
          <p:cNvSpPr>
            <a:spLocks noGrp="1"/>
          </p:cNvSpPr>
          <p:nvPr>
            <p:ph type="title" hasCustomPrompt="1"/>
          </p:nvPr>
        </p:nvSpPr>
        <p:spPr>
          <a:xfrm>
            <a:off x="320250" y="2443518"/>
            <a:ext cx="3214802" cy="1970959"/>
          </a:xfrm>
        </p:spPr>
        <p:txBody>
          <a:bodyPr anchor="ctr"/>
          <a:lstStyle/>
          <a:p>
            <a:r>
              <a:rPr lang="en-US"/>
              <a:t>Add a Title, Quote, or Statement Here</a:t>
            </a:r>
          </a:p>
        </p:txBody>
      </p:sp>
    </p:spTree>
    <p:extLst>
      <p:ext uri="{BB962C8B-B14F-4D97-AF65-F5344CB8AC3E}">
        <p14:creationId xmlns:p14="http://schemas.microsoft.com/office/powerpoint/2010/main" val="352561494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amp; Tabl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378561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Table Placeholder 5">
            <a:extLst>
              <a:ext uri="{FF2B5EF4-FFF2-40B4-BE49-F238E27FC236}">
                <a16:creationId xmlns:a16="http://schemas.microsoft.com/office/drawing/2014/main" id="{F922EA8C-2993-6FAD-C323-43DF28844789}"/>
              </a:ext>
            </a:extLst>
          </p:cNvPr>
          <p:cNvSpPr>
            <a:spLocks noGrp="1"/>
          </p:cNvSpPr>
          <p:nvPr>
            <p:ph type="tbl" sz="quarter" idx="10"/>
          </p:nvPr>
        </p:nvSpPr>
        <p:spPr>
          <a:xfrm>
            <a:off x="4604652" y="572703"/>
            <a:ext cx="6980932" cy="5712594"/>
          </a:xfrm>
        </p:spPr>
        <p:txBody>
          <a:bodyPr/>
          <a:lstStyle/>
          <a:p>
            <a:endParaRPr lang="en-US"/>
          </a:p>
        </p:txBody>
      </p:sp>
      <p:pic>
        <p:nvPicPr>
          <p:cNvPr id="3" name="Graphic 2">
            <a:extLst>
              <a:ext uri="{FF2B5EF4-FFF2-40B4-BE49-F238E27FC236}">
                <a16:creationId xmlns:a16="http://schemas.microsoft.com/office/drawing/2014/main" id="{D8641561-C02D-38E2-1A22-B8466B23664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20250" y="443997"/>
            <a:ext cx="254097" cy="271037"/>
          </a:xfrm>
          <a:prstGeom prst="rect">
            <a:avLst/>
          </a:prstGeom>
        </p:spPr>
      </p:pic>
      <p:sp>
        <p:nvSpPr>
          <p:cNvPr id="7" name="Title 6">
            <a:extLst>
              <a:ext uri="{FF2B5EF4-FFF2-40B4-BE49-F238E27FC236}">
                <a16:creationId xmlns:a16="http://schemas.microsoft.com/office/drawing/2014/main" id="{A14C31F8-726F-791B-33E4-B8B9B9F1B51E}"/>
              </a:ext>
            </a:extLst>
          </p:cNvPr>
          <p:cNvSpPr>
            <a:spLocks noGrp="1"/>
          </p:cNvSpPr>
          <p:nvPr>
            <p:ph type="title" hasCustomPrompt="1"/>
          </p:nvPr>
        </p:nvSpPr>
        <p:spPr>
          <a:xfrm>
            <a:off x="320250" y="2415241"/>
            <a:ext cx="3252509" cy="2027518"/>
          </a:xfrm>
        </p:spPr>
        <p:txBody>
          <a:bodyPr anchor="ctr"/>
          <a:lstStyle/>
          <a:p>
            <a:r>
              <a:rPr lang="en-US"/>
              <a:t>Add a Title, Quote, or Statement Here</a:t>
            </a:r>
          </a:p>
        </p:txBody>
      </p:sp>
    </p:spTree>
    <p:extLst>
      <p:ext uri="{BB962C8B-B14F-4D97-AF65-F5344CB8AC3E}">
        <p14:creationId xmlns:p14="http://schemas.microsoft.com/office/powerpoint/2010/main" val="55005160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meline Intro">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val 1">
            <a:extLst>
              <a:ext uri="{FF2B5EF4-FFF2-40B4-BE49-F238E27FC236}">
                <a16:creationId xmlns:a16="http://schemas.microsoft.com/office/drawing/2014/main" id="{5D9B41F5-2086-57EE-FC74-C474CEDD7427}"/>
              </a:ext>
            </a:extLst>
          </p:cNvPr>
          <p:cNvSpPr/>
          <p:nvPr userDrawn="1"/>
        </p:nvSpPr>
        <p:spPr>
          <a:xfrm>
            <a:off x="5972889" y="4201668"/>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cxnSp>
        <p:nvCxnSpPr>
          <p:cNvPr id="5" name="Straight Connector 4">
            <a:extLst>
              <a:ext uri="{FF2B5EF4-FFF2-40B4-BE49-F238E27FC236}">
                <a16:creationId xmlns:a16="http://schemas.microsoft.com/office/drawing/2014/main" id="{EEB05C5C-873F-CAA4-C960-E9115E4E12E7}"/>
              </a:ext>
            </a:extLst>
          </p:cNvPr>
          <p:cNvCxnSpPr>
            <a:cxnSpLocks/>
          </p:cNvCxnSpPr>
          <p:nvPr userDrawn="1"/>
        </p:nvCxnSpPr>
        <p:spPr>
          <a:xfrm>
            <a:off x="6096000" y="4447889"/>
            <a:ext cx="0" cy="2410111"/>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Inhaltsplatzhalter 18">
            <a:extLst>
              <a:ext uri="{FF2B5EF4-FFF2-40B4-BE49-F238E27FC236}">
                <a16:creationId xmlns:a16="http://schemas.microsoft.com/office/drawing/2014/main" id="{AB7BD904-347D-D0D0-A6C1-28297AB38BE8}"/>
              </a:ext>
            </a:extLst>
          </p:cNvPr>
          <p:cNvSpPr>
            <a:spLocks noGrp="1"/>
          </p:cNvSpPr>
          <p:nvPr>
            <p:ph sz="quarter" idx="13" hasCustomPrompt="1"/>
          </p:nvPr>
        </p:nvSpPr>
        <p:spPr>
          <a:xfrm>
            <a:off x="3942199" y="3329014"/>
            <a:ext cx="4307601" cy="246221"/>
          </a:xfrm>
        </p:spPr>
        <p:txBody>
          <a:bodyPr wrap="square">
            <a:spAutoFit/>
          </a:bodyPr>
          <a:lstStyle>
            <a:lvl1pPr algn="ct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pic>
        <p:nvPicPr>
          <p:cNvPr id="16" name="Graphic 15">
            <a:extLst>
              <a:ext uri="{FF2B5EF4-FFF2-40B4-BE49-F238E27FC236}">
                <a16:creationId xmlns:a16="http://schemas.microsoft.com/office/drawing/2014/main" id="{57DA7E05-6784-35F6-7B69-FEED0449313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5857875" y="1653226"/>
            <a:ext cx="476250" cy="508000"/>
          </a:xfrm>
          <a:prstGeom prst="rect">
            <a:avLst/>
          </a:prstGeom>
        </p:spPr>
      </p:pic>
      <p:sp>
        <p:nvSpPr>
          <p:cNvPr id="17" name="Rectangle 16">
            <a:extLst>
              <a:ext uri="{FF2B5EF4-FFF2-40B4-BE49-F238E27FC236}">
                <a16:creationId xmlns:a16="http://schemas.microsoft.com/office/drawing/2014/main" id="{2125D4CB-1F15-2748-C3B2-574706489E66}"/>
              </a:ext>
            </a:extLst>
          </p:cNvPr>
          <p:cNvSpPr/>
          <p:nvPr userDrawn="1"/>
        </p:nvSpPr>
        <p:spPr>
          <a:xfrm rot="16200000">
            <a:off x="6029091" y="-6029093"/>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 name="Title 2">
            <a:extLst>
              <a:ext uri="{FF2B5EF4-FFF2-40B4-BE49-F238E27FC236}">
                <a16:creationId xmlns:a16="http://schemas.microsoft.com/office/drawing/2014/main" id="{81C46EA3-47AF-159A-2101-857C28E154AD}"/>
              </a:ext>
            </a:extLst>
          </p:cNvPr>
          <p:cNvSpPr>
            <a:spLocks noGrp="1"/>
          </p:cNvSpPr>
          <p:nvPr>
            <p:ph type="title" hasCustomPrompt="1"/>
          </p:nvPr>
        </p:nvSpPr>
        <p:spPr>
          <a:xfrm>
            <a:off x="717982" y="2492198"/>
            <a:ext cx="10756030" cy="505844"/>
          </a:xfrm>
        </p:spPr>
        <p:txBody>
          <a:bodyPr/>
          <a:lstStyle>
            <a:lvl1pPr algn="ctr">
              <a:defRPr/>
            </a:lvl1pPr>
          </a:lstStyle>
          <a:p>
            <a:r>
              <a:rPr lang="en-US"/>
              <a:t>Build a Timeline of Events</a:t>
            </a:r>
          </a:p>
        </p:txBody>
      </p:sp>
    </p:spTree>
    <p:extLst>
      <p:ext uri="{BB962C8B-B14F-4D97-AF65-F5344CB8AC3E}">
        <p14:creationId xmlns:p14="http://schemas.microsoft.com/office/powerpoint/2010/main" val="285106750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meline Middle">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EEB05C5C-873F-CAA4-C960-E9115E4E12E7}"/>
              </a:ext>
            </a:extLst>
          </p:cNvPr>
          <p:cNvCxnSpPr>
            <a:cxnSpLocks/>
          </p:cNvCxnSpPr>
          <p:nvPr userDrawn="1"/>
        </p:nvCxnSpPr>
        <p:spPr>
          <a:xfrm>
            <a:off x="6096000" y="0"/>
            <a:ext cx="0" cy="68580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0">
            <a:extLst>
              <a:ext uri="{FF2B5EF4-FFF2-40B4-BE49-F238E27FC236}">
                <a16:creationId xmlns:a16="http://schemas.microsoft.com/office/drawing/2014/main" id="{900D1538-C66B-F705-F099-6725134E9AA4}"/>
              </a:ext>
            </a:extLst>
          </p:cNvPr>
          <p:cNvSpPr>
            <a:spLocks noGrp="1"/>
          </p:cNvSpPr>
          <p:nvPr>
            <p:ph type="body" sz="quarter" idx="17" hasCustomPrompt="1"/>
          </p:nvPr>
        </p:nvSpPr>
        <p:spPr>
          <a:xfrm>
            <a:off x="1016724" y="995031"/>
            <a:ext cx="4165057" cy="276999"/>
          </a:xfrm>
        </p:spPr>
        <p:txBody>
          <a:bodyPr/>
          <a:lstStyle>
            <a:lvl1pPr algn="r">
              <a:defRPr sz="1800" b="1"/>
            </a:lvl1pPr>
          </a:lstStyle>
          <a:p>
            <a:pPr lvl="0"/>
            <a:r>
              <a:rPr lang="en-US"/>
              <a:t>Date 1 Event Title</a:t>
            </a:r>
          </a:p>
        </p:txBody>
      </p:sp>
      <p:sp>
        <p:nvSpPr>
          <p:cNvPr id="15" name="Text Placeholder 10">
            <a:extLst>
              <a:ext uri="{FF2B5EF4-FFF2-40B4-BE49-F238E27FC236}">
                <a16:creationId xmlns:a16="http://schemas.microsoft.com/office/drawing/2014/main" id="{2E3BD23B-E578-2B0C-307D-BC5618FB1B71}"/>
              </a:ext>
            </a:extLst>
          </p:cNvPr>
          <p:cNvSpPr>
            <a:spLocks noGrp="1"/>
          </p:cNvSpPr>
          <p:nvPr>
            <p:ph type="body" sz="quarter" idx="19" hasCustomPrompt="1"/>
          </p:nvPr>
        </p:nvSpPr>
        <p:spPr>
          <a:xfrm>
            <a:off x="1011127" y="4701393"/>
            <a:ext cx="4165056" cy="276999"/>
          </a:xfrm>
        </p:spPr>
        <p:txBody>
          <a:bodyPr/>
          <a:lstStyle>
            <a:lvl1pPr algn="r">
              <a:defRPr sz="1800" b="1"/>
            </a:lvl1pPr>
          </a:lstStyle>
          <a:p>
            <a:pPr lvl="0"/>
            <a:r>
              <a:rPr lang="en-US"/>
              <a:t>Date 3 Event Title</a:t>
            </a:r>
          </a:p>
        </p:txBody>
      </p:sp>
      <p:sp>
        <p:nvSpPr>
          <p:cNvPr id="17" name="Text Placeholder 10">
            <a:extLst>
              <a:ext uri="{FF2B5EF4-FFF2-40B4-BE49-F238E27FC236}">
                <a16:creationId xmlns:a16="http://schemas.microsoft.com/office/drawing/2014/main" id="{9AAC2997-209D-3056-60B2-FAD3AACD1CE1}"/>
              </a:ext>
            </a:extLst>
          </p:cNvPr>
          <p:cNvSpPr>
            <a:spLocks noGrp="1"/>
          </p:cNvSpPr>
          <p:nvPr>
            <p:ph type="body" sz="quarter" idx="21" hasCustomPrompt="1"/>
          </p:nvPr>
        </p:nvSpPr>
        <p:spPr>
          <a:xfrm>
            <a:off x="7031241" y="2820070"/>
            <a:ext cx="4263963" cy="276999"/>
          </a:xfrm>
        </p:spPr>
        <p:txBody>
          <a:bodyPr/>
          <a:lstStyle>
            <a:lvl1pPr algn="l">
              <a:defRPr sz="1800" b="1"/>
            </a:lvl1pPr>
          </a:lstStyle>
          <a:p>
            <a:pPr lvl="0"/>
            <a:r>
              <a:rPr lang="en-US"/>
              <a:t>Date 2 Event Title</a:t>
            </a:r>
          </a:p>
        </p:txBody>
      </p:sp>
      <p:sp>
        <p:nvSpPr>
          <p:cNvPr id="20" name="Oval 19">
            <a:extLst>
              <a:ext uri="{FF2B5EF4-FFF2-40B4-BE49-F238E27FC236}">
                <a16:creationId xmlns:a16="http://schemas.microsoft.com/office/drawing/2014/main" id="{71F0FC1D-6A1F-ED86-DBA4-B5252FB93385}"/>
              </a:ext>
            </a:extLst>
          </p:cNvPr>
          <p:cNvSpPr/>
          <p:nvPr userDrawn="1"/>
        </p:nvSpPr>
        <p:spPr>
          <a:xfrm>
            <a:off x="5972890" y="3305889"/>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1" name="Oval 20">
            <a:extLst>
              <a:ext uri="{FF2B5EF4-FFF2-40B4-BE49-F238E27FC236}">
                <a16:creationId xmlns:a16="http://schemas.microsoft.com/office/drawing/2014/main" id="{5A646713-D4C4-C83D-0659-F93CB62A4B8C}"/>
              </a:ext>
            </a:extLst>
          </p:cNvPr>
          <p:cNvSpPr/>
          <p:nvPr userDrawn="1"/>
        </p:nvSpPr>
        <p:spPr>
          <a:xfrm>
            <a:off x="5972890" y="1627364"/>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2" name="Oval 21">
            <a:extLst>
              <a:ext uri="{FF2B5EF4-FFF2-40B4-BE49-F238E27FC236}">
                <a16:creationId xmlns:a16="http://schemas.microsoft.com/office/drawing/2014/main" id="{3FB2CF43-B8F4-5B47-3892-2AEA00B73AB9}"/>
              </a:ext>
            </a:extLst>
          </p:cNvPr>
          <p:cNvSpPr/>
          <p:nvPr userDrawn="1"/>
        </p:nvSpPr>
        <p:spPr>
          <a:xfrm>
            <a:off x="5972890" y="5196699"/>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Inhaltsplatzhalter 18">
            <a:extLst>
              <a:ext uri="{FF2B5EF4-FFF2-40B4-BE49-F238E27FC236}">
                <a16:creationId xmlns:a16="http://schemas.microsoft.com/office/drawing/2014/main" id="{D8AA2DBB-1ABB-EFFB-C178-0A2C18CD72D6}"/>
              </a:ext>
            </a:extLst>
          </p:cNvPr>
          <p:cNvSpPr>
            <a:spLocks noGrp="1"/>
          </p:cNvSpPr>
          <p:nvPr>
            <p:ph sz="quarter" idx="22"/>
          </p:nvPr>
        </p:nvSpPr>
        <p:spPr>
          <a:xfrm>
            <a:off x="1011126" y="1472277"/>
            <a:ext cx="4178385" cy="1435607"/>
          </a:xfrm>
        </p:spPr>
        <p:txBody>
          <a:bodyPr>
            <a:noAutofit/>
          </a:bodyPr>
          <a:lstStyle>
            <a:lvl1pPr algn="r" rtl="0">
              <a:defRPr sz="1400">
                <a:solidFill>
                  <a:schemeClr val="tx1"/>
                </a:solidFill>
              </a:defRPr>
            </a:lvl1pPr>
            <a:lvl2pPr marL="179388" indent="-179388" algn="r" rtl="0">
              <a:buClr>
                <a:schemeClr val="accent3"/>
              </a:buClr>
              <a:buFont typeface="Wingdings" pitchFamily="2" charset="2"/>
              <a:buChar char="§"/>
              <a:defRPr sz="1400">
                <a:solidFill>
                  <a:schemeClr val="tx1"/>
                </a:solidFill>
              </a:defRPr>
            </a:lvl2pPr>
            <a:lvl3pPr marL="358775" indent="-179388" algn="r" rtl="0">
              <a:buClr>
                <a:schemeClr val="accent3"/>
              </a:buClr>
              <a:buFont typeface="Wingdings" pitchFamily="2" charset="2"/>
              <a:buChar char="§"/>
              <a:defRPr sz="1400">
                <a:solidFill>
                  <a:schemeClr val="tx1"/>
                </a:solidFill>
              </a:defRPr>
            </a:lvl3pPr>
            <a:lvl4pPr marL="536575" indent="-177800" algn="r" rtl="0">
              <a:buClr>
                <a:schemeClr val="accent3"/>
              </a:buClr>
              <a:buFont typeface="Wingdings" pitchFamily="2" charset="2"/>
              <a:buChar char="§"/>
              <a:defRPr sz="1400">
                <a:solidFill>
                  <a:schemeClr val="tx1"/>
                </a:solidFill>
              </a:defRPr>
            </a:lvl4pPr>
            <a:lvl5pPr marL="715963" indent="-173038" algn="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Inhaltsplatzhalter 18">
            <a:extLst>
              <a:ext uri="{FF2B5EF4-FFF2-40B4-BE49-F238E27FC236}">
                <a16:creationId xmlns:a16="http://schemas.microsoft.com/office/drawing/2014/main" id="{8F46E72C-53AD-98F1-C456-4A2124698CC9}"/>
              </a:ext>
            </a:extLst>
          </p:cNvPr>
          <p:cNvSpPr>
            <a:spLocks noGrp="1"/>
          </p:cNvSpPr>
          <p:nvPr>
            <p:ph sz="quarter" idx="23"/>
          </p:nvPr>
        </p:nvSpPr>
        <p:spPr>
          <a:xfrm>
            <a:off x="1011126" y="5196699"/>
            <a:ext cx="4178385" cy="1435607"/>
          </a:xfrm>
        </p:spPr>
        <p:txBody>
          <a:bodyPr>
            <a:noAutofit/>
          </a:bodyPr>
          <a:lstStyle>
            <a:lvl1pPr algn="r" rtl="0">
              <a:defRPr sz="1400">
                <a:solidFill>
                  <a:schemeClr val="tx1"/>
                </a:solidFill>
              </a:defRPr>
            </a:lvl1pPr>
            <a:lvl2pPr marL="179388" indent="-179388" algn="r" rtl="0">
              <a:buClr>
                <a:schemeClr val="accent3"/>
              </a:buClr>
              <a:buFont typeface="Wingdings" pitchFamily="2" charset="2"/>
              <a:buChar char="§"/>
              <a:defRPr sz="1400">
                <a:solidFill>
                  <a:schemeClr val="tx1"/>
                </a:solidFill>
              </a:defRPr>
            </a:lvl2pPr>
            <a:lvl3pPr marL="358775" indent="-179388" algn="r" rtl="0">
              <a:buClr>
                <a:schemeClr val="accent3"/>
              </a:buClr>
              <a:buFont typeface="Wingdings" pitchFamily="2" charset="2"/>
              <a:buChar char="§"/>
              <a:defRPr sz="1400">
                <a:solidFill>
                  <a:schemeClr val="tx1"/>
                </a:solidFill>
              </a:defRPr>
            </a:lvl3pPr>
            <a:lvl4pPr marL="536575" indent="-177800" algn="r" rtl="0">
              <a:buClr>
                <a:schemeClr val="accent3"/>
              </a:buClr>
              <a:buFont typeface="Wingdings" pitchFamily="2" charset="2"/>
              <a:buChar char="§"/>
              <a:defRPr sz="1400">
                <a:solidFill>
                  <a:schemeClr val="tx1"/>
                </a:solidFill>
              </a:defRPr>
            </a:lvl4pPr>
            <a:lvl5pPr marL="715963" indent="-173038" algn="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Inhaltsplatzhalter 18">
            <a:extLst>
              <a:ext uri="{FF2B5EF4-FFF2-40B4-BE49-F238E27FC236}">
                <a16:creationId xmlns:a16="http://schemas.microsoft.com/office/drawing/2014/main" id="{E2C77693-2F6D-BA8B-E75D-74082F6BF5B8}"/>
              </a:ext>
            </a:extLst>
          </p:cNvPr>
          <p:cNvSpPr>
            <a:spLocks noGrp="1"/>
          </p:cNvSpPr>
          <p:nvPr>
            <p:ph sz="quarter" idx="24"/>
          </p:nvPr>
        </p:nvSpPr>
        <p:spPr>
          <a:xfrm>
            <a:off x="7025642" y="3382718"/>
            <a:ext cx="4263963" cy="1435607"/>
          </a:xfrm>
        </p:spPr>
        <p:txBody>
          <a:bodyPr>
            <a:noAutofit/>
          </a:bodyPr>
          <a:lstStyle>
            <a:lvl1pPr algn="l" rtl="0">
              <a:defRPr sz="1400">
                <a:solidFill>
                  <a:schemeClr val="tx1"/>
                </a:solidFill>
              </a:defRPr>
            </a:lvl1pPr>
            <a:lvl2pPr marL="179388" indent="-179388" algn="l" rtl="0">
              <a:buClr>
                <a:schemeClr val="accent3"/>
              </a:buClr>
              <a:buFont typeface="Wingdings" pitchFamily="2" charset="2"/>
              <a:buChar char="§"/>
              <a:defRPr sz="1400">
                <a:solidFill>
                  <a:schemeClr val="tx1"/>
                </a:solidFill>
              </a:defRPr>
            </a:lvl2pPr>
            <a:lvl3pPr marL="358775" indent="-179388" algn="l" rtl="0">
              <a:buClr>
                <a:schemeClr val="accent3"/>
              </a:buClr>
              <a:buFont typeface="Wingdings" pitchFamily="2" charset="2"/>
              <a:buChar char="§"/>
              <a:defRPr sz="1400">
                <a:solidFill>
                  <a:schemeClr val="tx1"/>
                </a:solidFill>
              </a:defRPr>
            </a:lvl3pPr>
            <a:lvl4pPr marL="536575" indent="-177800" algn="l" rtl="0">
              <a:buClr>
                <a:schemeClr val="accent3"/>
              </a:buClr>
              <a:buFont typeface="Wingdings" pitchFamily="2" charset="2"/>
              <a:buChar char="§"/>
              <a:defRPr sz="1400">
                <a:solidFill>
                  <a:schemeClr val="tx1"/>
                </a:solidFill>
              </a:defRPr>
            </a:lvl4pPr>
            <a:lvl5pPr marL="715963" indent="-173038" algn="l"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c 7">
            <a:extLst>
              <a:ext uri="{FF2B5EF4-FFF2-40B4-BE49-F238E27FC236}">
                <a16:creationId xmlns:a16="http://schemas.microsoft.com/office/drawing/2014/main" id="{DDEB0F3E-3666-134B-D8D3-7057C32F242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Tree>
    <p:extLst>
      <p:ext uri="{BB962C8B-B14F-4D97-AF65-F5344CB8AC3E}">
        <p14:creationId xmlns:p14="http://schemas.microsoft.com/office/powerpoint/2010/main" val="422821756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meline En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EEB05C5C-873F-CAA4-C960-E9115E4E12E7}"/>
              </a:ext>
            </a:extLst>
          </p:cNvPr>
          <p:cNvCxnSpPr>
            <a:cxnSpLocks/>
          </p:cNvCxnSpPr>
          <p:nvPr userDrawn="1"/>
        </p:nvCxnSpPr>
        <p:spPr>
          <a:xfrm>
            <a:off x="6096000" y="0"/>
            <a:ext cx="0" cy="4046483"/>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0">
            <a:extLst>
              <a:ext uri="{FF2B5EF4-FFF2-40B4-BE49-F238E27FC236}">
                <a16:creationId xmlns:a16="http://schemas.microsoft.com/office/drawing/2014/main" id="{900D1538-C66B-F705-F099-6725134E9AA4}"/>
              </a:ext>
            </a:extLst>
          </p:cNvPr>
          <p:cNvSpPr>
            <a:spLocks noGrp="1"/>
          </p:cNvSpPr>
          <p:nvPr>
            <p:ph type="body" sz="quarter" idx="17" hasCustomPrompt="1"/>
          </p:nvPr>
        </p:nvSpPr>
        <p:spPr>
          <a:xfrm>
            <a:off x="1016724" y="995031"/>
            <a:ext cx="4165057" cy="276999"/>
          </a:xfrm>
        </p:spPr>
        <p:txBody>
          <a:bodyPr/>
          <a:lstStyle>
            <a:lvl1pPr algn="r">
              <a:defRPr sz="1800" b="1"/>
            </a:lvl1pPr>
          </a:lstStyle>
          <a:p>
            <a:pPr lvl="0"/>
            <a:r>
              <a:rPr lang="en-US"/>
              <a:t>Date 1 Event Title</a:t>
            </a:r>
          </a:p>
        </p:txBody>
      </p:sp>
      <p:sp>
        <p:nvSpPr>
          <p:cNvPr id="17" name="Text Placeholder 10">
            <a:extLst>
              <a:ext uri="{FF2B5EF4-FFF2-40B4-BE49-F238E27FC236}">
                <a16:creationId xmlns:a16="http://schemas.microsoft.com/office/drawing/2014/main" id="{9AAC2997-209D-3056-60B2-FAD3AACD1CE1}"/>
              </a:ext>
            </a:extLst>
          </p:cNvPr>
          <p:cNvSpPr>
            <a:spLocks noGrp="1"/>
          </p:cNvSpPr>
          <p:nvPr>
            <p:ph type="body" sz="quarter" idx="21" hasCustomPrompt="1"/>
          </p:nvPr>
        </p:nvSpPr>
        <p:spPr>
          <a:xfrm>
            <a:off x="7031241" y="3152001"/>
            <a:ext cx="4263963" cy="276999"/>
          </a:xfrm>
        </p:spPr>
        <p:txBody>
          <a:bodyPr/>
          <a:lstStyle>
            <a:lvl1pPr algn="l">
              <a:defRPr sz="1800" b="1"/>
            </a:lvl1pPr>
          </a:lstStyle>
          <a:p>
            <a:pPr lvl="0"/>
            <a:r>
              <a:rPr lang="en-US"/>
              <a:t>Date 2 Event Title</a:t>
            </a:r>
          </a:p>
        </p:txBody>
      </p:sp>
      <p:sp>
        <p:nvSpPr>
          <p:cNvPr id="21" name="Oval 20">
            <a:extLst>
              <a:ext uri="{FF2B5EF4-FFF2-40B4-BE49-F238E27FC236}">
                <a16:creationId xmlns:a16="http://schemas.microsoft.com/office/drawing/2014/main" id="{5A646713-D4C4-C83D-0659-F93CB62A4B8C}"/>
              </a:ext>
            </a:extLst>
          </p:cNvPr>
          <p:cNvSpPr/>
          <p:nvPr userDrawn="1"/>
        </p:nvSpPr>
        <p:spPr>
          <a:xfrm>
            <a:off x="5972890" y="1627364"/>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2" name="Oval 21">
            <a:extLst>
              <a:ext uri="{FF2B5EF4-FFF2-40B4-BE49-F238E27FC236}">
                <a16:creationId xmlns:a16="http://schemas.microsoft.com/office/drawing/2014/main" id="{3FB2CF43-B8F4-5B47-3892-2AEA00B73AB9}"/>
              </a:ext>
            </a:extLst>
          </p:cNvPr>
          <p:cNvSpPr/>
          <p:nvPr userDrawn="1"/>
        </p:nvSpPr>
        <p:spPr>
          <a:xfrm>
            <a:off x="5972890" y="3887613"/>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8" name="Rectangle 7">
            <a:extLst>
              <a:ext uri="{FF2B5EF4-FFF2-40B4-BE49-F238E27FC236}">
                <a16:creationId xmlns:a16="http://schemas.microsoft.com/office/drawing/2014/main" id="{0A0CDBA9-EC3B-C73B-850A-39C01FA13311}"/>
              </a:ext>
            </a:extLst>
          </p:cNvPr>
          <p:cNvSpPr/>
          <p:nvPr userDrawn="1"/>
        </p:nvSpPr>
        <p:spPr>
          <a:xfrm rot="16200000">
            <a:off x="6029090" y="695093"/>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100" dist="101600" dir="16200000" rotWithShape="0">
              <a:schemeClr val="accent1">
                <a:alpha val="24255"/>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Inhaltsplatzhalter 18">
            <a:extLst>
              <a:ext uri="{FF2B5EF4-FFF2-40B4-BE49-F238E27FC236}">
                <a16:creationId xmlns:a16="http://schemas.microsoft.com/office/drawing/2014/main" id="{C119A995-E02B-1A58-504F-900B359D31FC}"/>
              </a:ext>
            </a:extLst>
          </p:cNvPr>
          <p:cNvSpPr>
            <a:spLocks noGrp="1"/>
          </p:cNvSpPr>
          <p:nvPr>
            <p:ph sz="quarter" idx="22"/>
          </p:nvPr>
        </p:nvSpPr>
        <p:spPr>
          <a:xfrm>
            <a:off x="7025641" y="3607242"/>
            <a:ext cx="4263957" cy="1524852"/>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Inhaltsplatzhalter 18">
            <a:extLst>
              <a:ext uri="{FF2B5EF4-FFF2-40B4-BE49-F238E27FC236}">
                <a16:creationId xmlns:a16="http://schemas.microsoft.com/office/drawing/2014/main" id="{9C0D07E5-AEFB-B8A8-261B-7F975C24D80E}"/>
              </a:ext>
            </a:extLst>
          </p:cNvPr>
          <p:cNvSpPr>
            <a:spLocks noGrp="1"/>
          </p:cNvSpPr>
          <p:nvPr>
            <p:ph sz="quarter" idx="23"/>
          </p:nvPr>
        </p:nvSpPr>
        <p:spPr>
          <a:xfrm>
            <a:off x="1016724" y="1472277"/>
            <a:ext cx="4173999" cy="1524852"/>
          </a:xfrm>
        </p:spPr>
        <p:txBody>
          <a:bodyPr>
            <a:noAutofit/>
          </a:bodyPr>
          <a:lstStyle>
            <a:lvl1pPr algn="r" rtl="0">
              <a:defRPr sz="1400">
                <a:solidFill>
                  <a:schemeClr val="tx1"/>
                </a:solidFill>
              </a:defRPr>
            </a:lvl1pPr>
            <a:lvl2pPr marL="179388" indent="-179388" algn="r" rtl="0">
              <a:buClr>
                <a:schemeClr val="accent3"/>
              </a:buClr>
              <a:buFont typeface="Wingdings" pitchFamily="2" charset="2"/>
              <a:buChar char="§"/>
              <a:defRPr sz="1400">
                <a:solidFill>
                  <a:schemeClr val="tx1"/>
                </a:solidFill>
              </a:defRPr>
            </a:lvl2pPr>
            <a:lvl3pPr marL="358775" indent="-179388" algn="r" rtl="0">
              <a:buClr>
                <a:schemeClr val="accent3"/>
              </a:buClr>
              <a:buFont typeface="Wingdings" pitchFamily="2" charset="2"/>
              <a:buChar char="§"/>
              <a:defRPr sz="1400">
                <a:solidFill>
                  <a:schemeClr val="tx1"/>
                </a:solidFill>
              </a:defRPr>
            </a:lvl3pPr>
            <a:lvl4pPr marL="536575" indent="-177800" algn="r" rtl="0">
              <a:buClr>
                <a:schemeClr val="accent3"/>
              </a:buClr>
              <a:buFont typeface="Wingdings" pitchFamily="2" charset="2"/>
              <a:buChar char="§"/>
              <a:defRPr sz="1400">
                <a:solidFill>
                  <a:schemeClr val="tx1"/>
                </a:solidFill>
              </a:defRPr>
            </a:lvl4pPr>
            <a:lvl5pPr marL="715963" indent="-173038" algn="r"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3CDFE573-C700-3233-2F0C-63DAC68555B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Tree>
    <p:extLst>
      <p:ext uri="{BB962C8B-B14F-4D97-AF65-F5344CB8AC3E}">
        <p14:creationId xmlns:p14="http://schemas.microsoft.com/office/powerpoint/2010/main" val="3640323643"/>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ap of Wor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218">
            <a:extLst>
              <a:ext uri="{FF2B5EF4-FFF2-40B4-BE49-F238E27FC236}">
                <a16:creationId xmlns:a16="http://schemas.microsoft.com/office/drawing/2014/main" id="{47298E9A-EEB5-BF09-167B-87A3646F2A58}"/>
              </a:ext>
            </a:extLst>
          </p:cNvPr>
          <p:cNvGrpSpPr/>
          <p:nvPr userDrawn="1"/>
        </p:nvGrpSpPr>
        <p:grpSpPr>
          <a:xfrm>
            <a:off x="520820" y="1095375"/>
            <a:ext cx="11150360" cy="5530712"/>
            <a:chOff x="0" y="0"/>
            <a:chExt cx="11729168" cy="5817806"/>
          </a:xfrm>
          <a:solidFill>
            <a:schemeClr val="accent5"/>
          </a:solidFill>
        </p:grpSpPr>
        <p:sp>
          <p:nvSpPr>
            <p:cNvPr id="5" name="Shape 1824">
              <a:extLst>
                <a:ext uri="{FF2B5EF4-FFF2-40B4-BE49-F238E27FC236}">
                  <a16:creationId xmlns:a16="http://schemas.microsoft.com/office/drawing/2014/main" id="{74679C8B-341D-49B5-CB26-D8E46FB8061C}"/>
                </a:ext>
              </a:extLst>
            </p:cNvPr>
            <p:cNvSpPr/>
            <p:nvPr/>
          </p:nvSpPr>
          <p:spPr>
            <a:xfrm>
              <a:off x="4191213" y="26976"/>
              <a:ext cx="60681" cy="23230"/>
            </a:xfrm>
            <a:custGeom>
              <a:avLst/>
              <a:gdLst/>
              <a:ahLst/>
              <a:cxnLst>
                <a:cxn ang="0">
                  <a:pos x="wd2" y="hd2"/>
                </a:cxn>
                <a:cxn ang="5400000">
                  <a:pos x="wd2" y="hd2"/>
                </a:cxn>
                <a:cxn ang="10800000">
                  <a:pos x="wd2" y="hd2"/>
                </a:cxn>
                <a:cxn ang="16200000">
                  <a:pos x="wd2" y="hd2"/>
                </a:cxn>
              </a:cxnLst>
              <a:rect l="0" t="0" r="r" b="b"/>
              <a:pathLst>
                <a:path w="21600" h="18600" extrusionOk="0">
                  <a:moveTo>
                    <a:pt x="9600" y="16200"/>
                  </a:moveTo>
                  <a:cubicBezTo>
                    <a:pt x="9600" y="16200"/>
                    <a:pt x="2400" y="10800"/>
                    <a:pt x="2400" y="10800"/>
                  </a:cubicBezTo>
                  <a:cubicBezTo>
                    <a:pt x="2400" y="10800"/>
                    <a:pt x="9600" y="10800"/>
                    <a:pt x="12000" y="10800"/>
                  </a:cubicBezTo>
                  <a:cubicBezTo>
                    <a:pt x="7200" y="5400"/>
                    <a:pt x="2400" y="10800"/>
                    <a:pt x="0" y="0"/>
                  </a:cubicBezTo>
                  <a:cubicBezTo>
                    <a:pt x="2400" y="5400"/>
                    <a:pt x="19200" y="0"/>
                    <a:pt x="21600" y="10800"/>
                  </a:cubicBezTo>
                  <a:cubicBezTo>
                    <a:pt x="21600" y="10800"/>
                    <a:pt x="14400" y="10800"/>
                    <a:pt x="12000" y="10800"/>
                  </a:cubicBezTo>
                  <a:cubicBezTo>
                    <a:pt x="12000" y="10800"/>
                    <a:pt x="16800" y="21600"/>
                    <a:pt x="9600" y="16200"/>
                  </a:cubicBezTo>
                  <a:cubicBezTo>
                    <a:pt x="7200" y="16200"/>
                    <a:pt x="14400" y="21600"/>
                    <a:pt x="9600"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 name="Shape 1825">
              <a:extLst>
                <a:ext uri="{FF2B5EF4-FFF2-40B4-BE49-F238E27FC236}">
                  <a16:creationId xmlns:a16="http://schemas.microsoft.com/office/drawing/2014/main" id="{3BC2D6FE-E66E-3E96-5867-49718D1DFA8C}"/>
                </a:ext>
              </a:extLst>
            </p:cNvPr>
            <p:cNvSpPr/>
            <p:nvPr/>
          </p:nvSpPr>
          <p:spPr>
            <a:xfrm>
              <a:off x="9160233" y="4120571"/>
              <a:ext cx="1340092" cy="1004852"/>
            </a:xfrm>
            <a:custGeom>
              <a:avLst/>
              <a:gdLst/>
              <a:ahLst/>
              <a:cxnLst>
                <a:cxn ang="0">
                  <a:pos x="wd2" y="hd2"/>
                </a:cxn>
                <a:cxn ang="5400000">
                  <a:pos x="wd2" y="hd2"/>
                </a:cxn>
                <a:cxn ang="10800000">
                  <a:pos x="wd2" y="hd2"/>
                </a:cxn>
                <a:cxn ang="16200000">
                  <a:pos x="wd2" y="hd2"/>
                </a:cxn>
              </a:cxnLst>
              <a:rect l="0" t="0" r="r" b="b"/>
              <a:pathLst>
                <a:path w="21538" h="21600" extrusionOk="0">
                  <a:moveTo>
                    <a:pt x="10694" y="568"/>
                  </a:moveTo>
                  <a:cubicBezTo>
                    <a:pt x="10482" y="568"/>
                    <a:pt x="10376" y="284"/>
                    <a:pt x="10165" y="284"/>
                  </a:cubicBezTo>
                  <a:cubicBezTo>
                    <a:pt x="10059" y="142"/>
                    <a:pt x="10059" y="284"/>
                    <a:pt x="10165" y="426"/>
                  </a:cubicBezTo>
                  <a:cubicBezTo>
                    <a:pt x="10165" y="568"/>
                    <a:pt x="10376" y="426"/>
                    <a:pt x="10376" y="426"/>
                  </a:cubicBezTo>
                  <a:cubicBezTo>
                    <a:pt x="10482" y="568"/>
                    <a:pt x="10376" y="853"/>
                    <a:pt x="10482" y="853"/>
                  </a:cubicBezTo>
                  <a:cubicBezTo>
                    <a:pt x="10482" y="995"/>
                    <a:pt x="10376" y="995"/>
                    <a:pt x="10271" y="995"/>
                  </a:cubicBezTo>
                  <a:cubicBezTo>
                    <a:pt x="10165" y="1137"/>
                    <a:pt x="10059" y="1137"/>
                    <a:pt x="9953" y="1137"/>
                  </a:cubicBezTo>
                  <a:cubicBezTo>
                    <a:pt x="9741" y="995"/>
                    <a:pt x="9741" y="1137"/>
                    <a:pt x="9529" y="1137"/>
                  </a:cubicBezTo>
                  <a:cubicBezTo>
                    <a:pt x="9212" y="1279"/>
                    <a:pt x="9318" y="1705"/>
                    <a:pt x="9106" y="1847"/>
                  </a:cubicBezTo>
                  <a:cubicBezTo>
                    <a:pt x="8894" y="2132"/>
                    <a:pt x="8788" y="2558"/>
                    <a:pt x="8894" y="2842"/>
                  </a:cubicBezTo>
                  <a:cubicBezTo>
                    <a:pt x="9106" y="3268"/>
                    <a:pt x="8576" y="2984"/>
                    <a:pt x="8471" y="2984"/>
                  </a:cubicBezTo>
                  <a:cubicBezTo>
                    <a:pt x="8365" y="2984"/>
                    <a:pt x="8047" y="3411"/>
                    <a:pt x="8047" y="3411"/>
                  </a:cubicBezTo>
                  <a:cubicBezTo>
                    <a:pt x="8047" y="3411"/>
                    <a:pt x="7941" y="2700"/>
                    <a:pt x="7835" y="2558"/>
                  </a:cubicBezTo>
                  <a:cubicBezTo>
                    <a:pt x="7835" y="2416"/>
                    <a:pt x="7729" y="2416"/>
                    <a:pt x="7624" y="2416"/>
                  </a:cubicBezTo>
                  <a:cubicBezTo>
                    <a:pt x="7518" y="2274"/>
                    <a:pt x="7518" y="2274"/>
                    <a:pt x="7518" y="2132"/>
                  </a:cubicBezTo>
                  <a:cubicBezTo>
                    <a:pt x="7412" y="1989"/>
                    <a:pt x="7412" y="2274"/>
                    <a:pt x="7412" y="2416"/>
                  </a:cubicBezTo>
                  <a:cubicBezTo>
                    <a:pt x="7306" y="2416"/>
                    <a:pt x="7200" y="2416"/>
                    <a:pt x="7200" y="2274"/>
                  </a:cubicBezTo>
                  <a:cubicBezTo>
                    <a:pt x="6988" y="2274"/>
                    <a:pt x="7094" y="2842"/>
                    <a:pt x="6882" y="2700"/>
                  </a:cubicBezTo>
                  <a:cubicBezTo>
                    <a:pt x="6882" y="2700"/>
                    <a:pt x="6776" y="2558"/>
                    <a:pt x="6776" y="2558"/>
                  </a:cubicBezTo>
                  <a:cubicBezTo>
                    <a:pt x="6671" y="2700"/>
                    <a:pt x="6671" y="2700"/>
                    <a:pt x="6671" y="2700"/>
                  </a:cubicBezTo>
                  <a:cubicBezTo>
                    <a:pt x="6353" y="2558"/>
                    <a:pt x="6565" y="3126"/>
                    <a:pt x="6565" y="3126"/>
                  </a:cubicBezTo>
                  <a:cubicBezTo>
                    <a:pt x="6565" y="3126"/>
                    <a:pt x="6353" y="3126"/>
                    <a:pt x="6353" y="3126"/>
                  </a:cubicBezTo>
                  <a:cubicBezTo>
                    <a:pt x="6353" y="3268"/>
                    <a:pt x="6459" y="3268"/>
                    <a:pt x="6459" y="3268"/>
                  </a:cubicBezTo>
                  <a:cubicBezTo>
                    <a:pt x="6353" y="3553"/>
                    <a:pt x="6247" y="3268"/>
                    <a:pt x="6247" y="3695"/>
                  </a:cubicBezTo>
                  <a:cubicBezTo>
                    <a:pt x="6247" y="3837"/>
                    <a:pt x="6353" y="3837"/>
                    <a:pt x="6353" y="3979"/>
                  </a:cubicBezTo>
                  <a:cubicBezTo>
                    <a:pt x="6353" y="4263"/>
                    <a:pt x="5612" y="3695"/>
                    <a:pt x="5612" y="4121"/>
                  </a:cubicBezTo>
                  <a:cubicBezTo>
                    <a:pt x="5612" y="4263"/>
                    <a:pt x="6035" y="4547"/>
                    <a:pt x="5824" y="4689"/>
                  </a:cubicBezTo>
                  <a:cubicBezTo>
                    <a:pt x="5718" y="4689"/>
                    <a:pt x="5718" y="4547"/>
                    <a:pt x="5718" y="4689"/>
                  </a:cubicBezTo>
                  <a:cubicBezTo>
                    <a:pt x="5612" y="4832"/>
                    <a:pt x="5612" y="4832"/>
                    <a:pt x="5506" y="4689"/>
                  </a:cubicBezTo>
                  <a:cubicBezTo>
                    <a:pt x="5400" y="4689"/>
                    <a:pt x="5506" y="4405"/>
                    <a:pt x="5400" y="4263"/>
                  </a:cubicBezTo>
                  <a:cubicBezTo>
                    <a:pt x="5294" y="3979"/>
                    <a:pt x="5082" y="4547"/>
                    <a:pt x="4976" y="4689"/>
                  </a:cubicBezTo>
                  <a:cubicBezTo>
                    <a:pt x="4976" y="4832"/>
                    <a:pt x="4871" y="4974"/>
                    <a:pt x="4871" y="5116"/>
                  </a:cubicBezTo>
                  <a:cubicBezTo>
                    <a:pt x="4871" y="5116"/>
                    <a:pt x="4976" y="5258"/>
                    <a:pt x="4976" y="5400"/>
                  </a:cubicBezTo>
                  <a:cubicBezTo>
                    <a:pt x="4976" y="5400"/>
                    <a:pt x="4765" y="5684"/>
                    <a:pt x="4659" y="5826"/>
                  </a:cubicBezTo>
                  <a:cubicBezTo>
                    <a:pt x="4341" y="6253"/>
                    <a:pt x="4024" y="6537"/>
                    <a:pt x="3600" y="6679"/>
                  </a:cubicBezTo>
                  <a:cubicBezTo>
                    <a:pt x="3282" y="6679"/>
                    <a:pt x="2965" y="6963"/>
                    <a:pt x="2541" y="7105"/>
                  </a:cubicBezTo>
                  <a:cubicBezTo>
                    <a:pt x="2224" y="7247"/>
                    <a:pt x="1906" y="7247"/>
                    <a:pt x="1588" y="7532"/>
                  </a:cubicBezTo>
                  <a:cubicBezTo>
                    <a:pt x="1376" y="7816"/>
                    <a:pt x="1271" y="7816"/>
                    <a:pt x="1059" y="7958"/>
                  </a:cubicBezTo>
                  <a:cubicBezTo>
                    <a:pt x="953" y="8100"/>
                    <a:pt x="741" y="8526"/>
                    <a:pt x="741" y="8526"/>
                  </a:cubicBezTo>
                  <a:cubicBezTo>
                    <a:pt x="635" y="8526"/>
                    <a:pt x="741" y="8100"/>
                    <a:pt x="741" y="7958"/>
                  </a:cubicBezTo>
                  <a:cubicBezTo>
                    <a:pt x="529" y="7958"/>
                    <a:pt x="424" y="8668"/>
                    <a:pt x="424" y="8668"/>
                  </a:cubicBezTo>
                  <a:cubicBezTo>
                    <a:pt x="529" y="9095"/>
                    <a:pt x="318" y="9237"/>
                    <a:pt x="318" y="9663"/>
                  </a:cubicBezTo>
                  <a:cubicBezTo>
                    <a:pt x="318" y="9805"/>
                    <a:pt x="847" y="11368"/>
                    <a:pt x="635" y="11511"/>
                  </a:cubicBezTo>
                  <a:cubicBezTo>
                    <a:pt x="635" y="11511"/>
                    <a:pt x="318" y="10942"/>
                    <a:pt x="318" y="10942"/>
                  </a:cubicBezTo>
                  <a:cubicBezTo>
                    <a:pt x="318" y="11084"/>
                    <a:pt x="635" y="11511"/>
                    <a:pt x="424" y="11653"/>
                  </a:cubicBezTo>
                  <a:cubicBezTo>
                    <a:pt x="212" y="11653"/>
                    <a:pt x="212" y="10942"/>
                    <a:pt x="0" y="10942"/>
                  </a:cubicBezTo>
                  <a:cubicBezTo>
                    <a:pt x="0" y="10942"/>
                    <a:pt x="635" y="12079"/>
                    <a:pt x="635" y="12221"/>
                  </a:cubicBezTo>
                  <a:cubicBezTo>
                    <a:pt x="741" y="12363"/>
                    <a:pt x="635" y="12647"/>
                    <a:pt x="741" y="12932"/>
                  </a:cubicBezTo>
                  <a:cubicBezTo>
                    <a:pt x="847" y="13216"/>
                    <a:pt x="953" y="13358"/>
                    <a:pt x="1059" y="13642"/>
                  </a:cubicBezTo>
                  <a:cubicBezTo>
                    <a:pt x="1165" y="13784"/>
                    <a:pt x="1165" y="14211"/>
                    <a:pt x="1165" y="14353"/>
                  </a:cubicBezTo>
                  <a:cubicBezTo>
                    <a:pt x="1165" y="14637"/>
                    <a:pt x="1271" y="14921"/>
                    <a:pt x="1376" y="15063"/>
                  </a:cubicBezTo>
                  <a:cubicBezTo>
                    <a:pt x="1482" y="15489"/>
                    <a:pt x="1482" y="15632"/>
                    <a:pt x="1482" y="16058"/>
                  </a:cubicBezTo>
                  <a:cubicBezTo>
                    <a:pt x="1482" y="16200"/>
                    <a:pt x="1482" y="16911"/>
                    <a:pt x="1482" y="16911"/>
                  </a:cubicBezTo>
                  <a:cubicBezTo>
                    <a:pt x="1376" y="17053"/>
                    <a:pt x="1271" y="17053"/>
                    <a:pt x="1165" y="17195"/>
                  </a:cubicBezTo>
                  <a:cubicBezTo>
                    <a:pt x="1059" y="17621"/>
                    <a:pt x="1271" y="17621"/>
                    <a:pt x="1376" y="17763"/>
                  </a:cubicBezTo>
                  <a:cubicBezTo>
                    <a:pt x="1800" y="18047"/>
                    <a:pt x="2118" y="18332"/>
                    <a:pt x="2647" y="18189"/>
                  </a:cubicBezTo>
                  <a:cubicBezTo>
                    <a:pt x="2859" y="18047"/>
                    <a:pt x="3071" y="17905"/>
                    <a:pt x="3176" y="17763"/>
                  </a:cubicBezTo>
                  <a:cubicBezTo>
                    <a:pt x="3494" y="17621"/>
                    <a:pt x="3388" y="17763"/>
                    <a:pt x="3494" y="17479"/>
                  </a:cubicBezTo>
                  <a:cubicBezTo>
                    <a:pt x="3706" y="17195"/>
                    <a:pt x="4447" y="17195"/>
                    <a:pt x="4659" y="17337"/>
                  </a:cubicBezTo>
                  <a:cubicBezTo>
                    <a:pt x="4976" y="17337"/>
                    <a:pt x="5506" y="17621"/>
                    <a:pt x="5718" y="17195"/>
                  </a:cubicBezTo>
                  <a:cubicBezTo>
                    <a:pt x="5824" y="17053"/>
                    <a:pt x="5824" y="16768"/>
                    <a:pt x="6035" y="16626"/>
                  </a:cubicBezTo>
                  <a:cubicBezTo>
                    <a:pt x="6247" y="16484"/>
                    <a:pt x="6459" y="16342"/>
                    <a:pt x="6671" y="16200"/>
                  </a:cubicBezTo>
                  <a:cubicBezTo>
                    <a:pt x="6988" y="15916"/>
                    <a:pt x="7412" y="16200"/>
                    <a:pt x="7729" y="15916"/>
                  </a:cubicBezTo>
                  <a:cubicBezTo>
                    <a:pt x="8259" y="15632"/>
                    <a:pt x="8682" y="15632"/>
                    <a:pt x="9318" y="15489"/>
                  </a:cubicBezTo>
                  <a:cubicBezTo>
                    <a:pt x="9424" y="15489"/>
                    <a:pt x="9529" y="15347"/>
                    <a:pt x="9741" y="15347"/>
                  </a:cubicBezTo>
                  <a:cubicBezTo>
                    <a:pt x="9847" y="15489"/>
                    <a:pt x="10059" y="15632"/>
                    <a:pt x="10165" y="15774"/>
                  </a:cubicBezTo>
                  <a:cubicBezTo>
                    <a:pt x="10271" y="15774"/>
                    <a:pt x="11329" y="16058"/>
                    <a:pt x="11329" y="16200"/>
                  </a:cubicBezTo>
                  <a:cubicBezTo>
                    <a:pt x="11224" y="16342"/>
                    <a:pt x="11118" y="16768"/>
                    <a:pt x="11329" y="16626"/>
                  </a:cubicBezTo>
                  <a:cubicBezTo>
                    <a:pt x="11435" y="16626"/>
                    <a:pt x="11647" y="17053"/>
                    <a:pt x="11753" y="17195"/>
                  </a:cubicBezTo>
                  <a:cubicBezTo>
                    <a:pt x="11859" y="17337"/>
                    <a:pt x="11859" y="17479"/>
                    <a:pt x="11859" y="17763"/>
                  </a:cubicBezTo>
                  <a:cubicBezTo>
                    <a:pt x="11965" y="17905"/>
                    <a:pt x="12176" y="18189"/>
                    <a:pt x="12176" y="18189"/>
                  </a:cubicBezTo>
                  <a:cubicBezTo>
                    <a:pt x="12176" y="18047"/>
                    <a:pt x="12071" y="17905"/>
                    <a:pt x="12282" y="17763"/>
                  </a:cubicBezTo>
                  <a:cubicBezTo>
                    <a:pt x="12388" y="17621"/>
                    <a:pt x="12494" y="17479"/>
                    <a:pt x="12706" y="17337"/>
                  </a:cubicBezTo>
                  <a:cubicBezTo>
                    <a:pt x="12812" y="17195"/>
                    <a:pt x="13341" y="16484"/>
                    <a:pt x="13235" y="16342"/>
                  </a:cubicBezTo>
                  <a:cubicBezTo>
                    <a:pt x="13341" y="16626"/>
                    <a:pt x="13235" y="16768"/>
                    <a:pt x="13235" y="17053"/>
                  </a:cubicBezTo>
                  <a:cubicBezTo>
                    <a:pt x="13341" y="17195"/>
                    <a:pt x="13129" y="17337"/>
                    <a:pt x="13129" y="17337"/>
                  </a:cubicBezTo>
                  <a:cubicBezTo>
                    <a:pt x="13024" y="17621"/>
                    <a:pt x="13024" y="17763"/>
                    <a:pt x="13024" y="17905"/>
                  </a:cubicBezTo>
                  <a:cubicBezTo>
                    <a:pt x="13024" y="18189"/>
                    <a:pt x="12600" y="18332"/>
                    <a:pt x="12918" y="18332"/>
                  </a:cubicBezTo>
                  <a:cubicBezTo>
                    <a:pt x="13341" y="18332"/>
                    <a:pt x="13129" y="17763"/>
                    <a:pt x="13235" y="17479"/>
                  </a:cubicBezTo>
                  <a:cubicBezTo>
                    <a:pt x="13235" y="17479"/>
                    <a:pt x="13659" y="18047"/>
                    <a:pt x="13553" y="18332"/>
                  </a:cubicBezTo>
                  <a:cubicBezTo>
                    <a:pt x="13235" y="18900"/>
                    <a:pt x="13659" y="18474"/>
                    <a:pt x="13871" y="18758"/>
                  </a:cubicBezTo>
                  <a:cubicBezTo>
                    <a:pt x="14188" y="19184"/>
                    <a:pt x="14188" y="19326"/>
                    <a:pt x="14188" y="19753"/>
                  </a:cubicBezTo>
                  <a:cubicBezTo>
                    <a:pt x="14082" y="20179"/>
                    <a:pt x="14506" y="20605"/>
                    <a:pt x="14718" y="20605"/>
                  </a:cubicBezTo>
                  <a:cubicBezTo>
                    <a:pt x="14929" y="20747"/>
                    <a:pt x="15141" y="20889"/>
                    <a:pt x="15353" y="20889"/>
                  </a:cubicBezTo>
                  <a:cubicBezTo>
                    <a:pt x="15565" y="20889"/>
                    <a:pt x="15988" y="21600"/>
                    <a:pt x="16200" y="21458"/>
                  </a:cubicBezTo>
                  <a:cubicBezTo>
                    <a:pt x="16412" y="21316"/>
                    <a:pt x="16624" y="21174"/>
                    <a:pt x="16729" y="20889"/>
                  </a:cubicBezTo>
                  <a:cubicBezTo>
                    <a:pt x="16729" y="20889"/>
                    <a:pt x="16941" y="20463"/>
                    <a:pt x="17047" y="20605"/>
                  </a:cubicBezTo>
                  <a:cubicBezTo>
                    <a:pt x="17047" y="20747"/>
                    <a:pt x="16835" y="20889"/>
                    <a:pt x="16941" y="21032"/>
                  </a:cubicBezTo>
                  <a:cubicBezTo>
                    <a:pt x="17047" y="21174"/>
                    <a:pt x="17047" y="20747"/>
                    <a:pt x="17153" y="20747"/>
                  </a:cubicBezTo>
                  <a:cubicBezTo>
                    <a:pt x="17153" y="20747"/>
                    <a:pt x="17365" y="21174"/>
                    <a:pt x="17471" y="21174"/>
                  </a:cubicBezTo>
                  <a:cubicBezTo>
                    <a:pt x="17471" y="21316"/>
                    <a:pt x="17682" y="21600"/>
                    <a:pt x="17788" y="21600"/>
                  </a:cubicBezTo>
                  <a:cubicBezTo>
                    <a:pt x="17682" y="21600"/>
                    <a:pt x="18000" y="21174"/>
                    <a:pt x="18000" y="21174"/>
                  </a:cubicBezTo>
                  <a:cubicBezTo>
                    <a:pt x="18212" y="21032"/>
                    <a:pt x="18318" y="20747"/>
                    <a:pt x="18424" y="20605"/>
                  </a:cubicBezTo>
                  <a:cubicBezTo>
                    <a:pt x="18741" y="20463"/>
                    <a:pt x="19588" y="20747"/>
                    <a:pt x="19588" y="20179"/>
                  </a:cubicBezTo>
                  <a:cubicBezTo>
                    <a:pt x="19694" y="19468"/>
                    <a:pt x="19800" y="19042"/>
                    <a:pt x="19906" y="18474"/>
                  </a:cubicBezTo>
                  <a:cubicBezTo>
                    <a:pt x="20118" y="17905"/>
                    <a:pt x="20224" y="17337"/>
                    <a:pt x="20541" y="16768"/>
                  </a:cubicBezTo>
                  <a:cubicBezTo>
                    <a:pt x="20647" y="16626"/>
                    <a:pt x="20859" y="16484"/>
                    <a:pt x="20965" y="16200"/>
                  </a:cubicBezTo>
                  <a:cubicBezTo>
                    <a:pt x="20965" y="16058"/>
                    <a:pt x="20965" y="16058"/>
                    <a:pt x="20965" y="15916"/>
                  </a:cubicBezTo>
                  <a:cubicBezTo>
                    <a:pt x="21071" y="15774"/>
                    <a:pt x="21176" y="15632"/>
                    <a:pt x="21176" y="15347"/>
                  </a:cubicBezTo>
                  <a:cubicBezTo>
                    <a:pt x="21282" y="15063"/>
                    <a:pt x="21176" y="14779"/>
                    <a:pt x="21282" y="14495"/>
                  </a:cubicBezTo>
                  <a:cubicBezTo>
                    <a:pt x="21282" y="14353"/>
                    <a:pt x="21388" y="14211"/>
                    <a:pt x="21388" y="14068"/>
                  </a:cubicBezTo>
                  <a:cubicBezTo>
                    <a:pt x="21494" y="13926"/>
                    <a:pt x="21282" y="13784"/>
                    <a:pt x="21388" y="13642"/>
                  </a:cubicBezTo>
                  <a:cubicBezTo>
                    <a:pt x="21494" y="13500"/>
                    <a:pt x="21600" y="13074"/>
                    <a:pt x="21494" y="12932"/>
                  </a:cubicBezTo>
                  <a:cubicBezTo>
                    <a:pt x="21494" y="12647"/>
                    <a:pt x="21388" y="12505"/>
                    <a:pt x="21388" y="12363"/>
                  </a:cubicBezTo>
                  <a:cubicBezTo>
                    <a:pt x="21282" y="12221"/>
                    <a:pt x="21282" y="11937"/>
                    <a:pt x="21282" y="11795"/>
                  </a:cubicBezTo>
                  <a:cubicBezTo>
                    <a:pt x="21176" y="11226"/>
                    <a:pt x="21494" y="10942"/>
                    <a:pt x="21388" y="10374"/>
                  </a:cubicBezTo>
                  <a:cubicBezTo>
                    <a:pt x="21388" y="10516"/>
                    <a:pt x="21282" y="10800"/>
                    <a:pt x="21176" y="10800"/>
                  </a:cubicBezTo>
                  <a:cubicBezTo>
                    <a:pt x="20965" y="10800"/>
                    <a:pt x="20859" y="10232"/>
                    <a:pt x="20753" y="9947"/>
                  </a:cubicBezTo>
                  <a:cubicBezTo>
                    <a:pt x="20541" y="9521"/>
                    <a:pt x="20118" y="9521"/>
                    <a:pt x="20118" y="8811"/>
                  </a:cubicBezTo>
                  <a:cubicBezTo>
                    <a:pt x="20012" y="8526"/>
                    <a:pt x="19906" y="8526"/>
                    <a:pt x="19800" y="8384"/>
                  </a:cubicBezTo>
                  <a:cubicBezTo>
                    <a:pt x="19588" y="8242"/>
                    <a:pt x="19588" y="8668"/>
                    <a:pt x="19482" y="8384"/>
                  </a:cubicBezTo>
                  <a:cubicBezTo>
                    <a:pt x="19482" y="7958"/>
                    <a:pt x="19376" y="7816"/>
                    <a:pt x="19165" y="7532"/>
                  </a:cubicBezTo>
                  <a:cubicBezTo>
                    <a:pt x="19165" y="7532"/>
                    <a:pt x="19059" y="7389"/>
                    <a:pt x="19059" y="7247"/>
                  </a:cubicBezTo>
                  <a:cubicBezTo>
                    <a:pt x="18953" y="7247"/>
                    <a:pt x="19059" y="6963"/>
                    <a:pt x="19059" y="7105"/>
                  </a:cubicBezTo>
                  <a:cubicBezTo>
                    <a:pt x="18847" y="6821"/>
                    <a:pt x="18635" y="6679"/>
                    <a:pt x="18424" y="6537"/>
                  </a:cubicBezTo>
                  <a:cubicBezTo>
                    <a:pt x="18212" y="6253"/>
                    <a:pt x="17894" y="6395"/>
                    <a:pt x="17788" y="6111"/>
                  </a:cubicBezTo>
                  <a:cubicBezTo>
                    <a:pt x="17576" y="5826"/>
                    <a:pt x="17682" y="5258"/>
                    <a:pt x="17576" y="5116"/>
                  </a:cubicBezTo>
                  <a:cubicBezTo>
                    <a:pt x="17576" y="4832"/>
                    <a:pt x="17576" y="4547"/>
                    <a:pt x="17471" y="4405"/>
                  </a:cubicBezTo>
                  <a:cubicBezTo>
                    <a:pt x="17365" y="4263"/>
                    <a:pt x="17259" y="4263"/>
                    <a:pt x="17259" y="3979"/>
                  </a:cubicBezTo>
                  <a:cubicBezTo>
                    <a:pt x="17259" y="3695"/>
                    <a:pt x="17259" y="3268"/>
                    <a:pt x="17047" y="2842"/>
                  </a:cubicBezTo>
                  <a:cubicBezTo>
                    <a:pt x="16941" y="2842"/>
                    <a:pt x="16729" y="2416"/>
                    <a:pt x="16729" y="2558"/>
                  </a:cubicBezTo>
                  <a:cubicBezTo>
                    <a:pt x="16518" y="2558"/>
                    <a:pt x="16518" y="2700"/>
                    <a:pt x="16412" y="2416"/>
                  </a:cubicBezTo>
                  <a:cubicBezTo>
                    <a:pt x="16200" y="2132"/>
                    <a:pt x="16306" y="1563"/>
                    <a:pt x="16094" y="1137"/>
                  </a:cubicBezTo>
                  <a:cubicBezTo>
                    <a:pt x="16094" y="995"/>
                    <a:pt x="15671" y="0"/>
                    <a:pt x="15671" y="0"/>
                  </a:cubicBezTo>
                  <a:cubicBezTo>
                    <a:pt x="15565" y="0"/>
                    <a:pt x="15565" y="284"/>
                    <a:pt x="15565" y="426"/>
                  </a:cubicBezTo>
                  <a:cubicBezTo>
                    <a:pt x="15565" y="568"/>
                    <a:pt x="15459" y="711"/>
                    <a:pt x="15353" y="853"/>
                  </a:cubicBezTo>
                  <a:cubicBezTo>
                    <a:pt x="15353" y="853"/>
                    <a:pt x="15141" y="1137"/>
                    <a:pt x="15247" y="1279"/>
                  </a:cubicBezTo>
                  <a:cubicBezTo>
                    <a:pt x="15247" y="1279"/>
                    <a:pt x="15459" y="1279"/>
                    <a:pt x="15353" y="1421"/>
                  </a:cubicBezTo>
                  <a:cubicBezTo>
                    <a:pt x="15247" y="1421"/>
                    <a:pt x="15141" y="2132"/>
                    <a:pt x="15141" y="2274"/>
                  </a:cubicBezTo>
                  <a:cubicBezTo>
                    <a:pt x="15247" y="2558"/>
                    <a:pt x="15247" y="2842"/>
                    <a:pt x="15247" y="3126"/>
                  </a:cubicBezTo>
                  <a:cubicBezTo>
                    <a:pt x="15141" y="3695"/>
                    <a:pt x="15141" y="5116"/>
                    <a:pt x="14506" y="5116"/>
                  </a:cubicBezTo>
                  <a:cubicBezTo>
                    <a:pt x="14082" y="5116"/>
                    <a:pt x="14082" y="4547"/>
                    <a:pt x="13765" y="4405"/>
                  </a:cubicBezTo>
                  <a:cubicBezTo>
                    <a:pt x="13553" y="4263"/>
                    <a:pt x="13341" y="4263"/>
                    <a:pt x="13129" y="3979"/>
                  </a:cubicBezTo>
                  <a:cubicBezTo>
                    <a:pt x="13024" y="3837"/>
                    <a:pt x="11859" y="2984"/>
                    <a:pt x="11965" y="2842"/>
                  </a:cubicBezTo>
                  <a:cubicBezTo>
                    <a:pt x="11965" y="2700"/>
                    <a:pt x="12071" y="2558"/>
                    <a:pt x="12176" y="2416"/>
                  </a:cubicBezTo>
                  <a:cubicBezTo>
                    <a:pt x="12176" y="2274"/>
                    <a:pt x="12388" y="2274"/>
                    <a:pt x="12388" y="2132"/>
                  </a:cubicBezTo>
                  <a:cubicBezTo>
                    <a:pt x="12388" y="2132"/>
                    <a:pt x="12282" y="1989"/>
                    <a:pt x="12282" y="1847"/>
                  </a:cubicBezTo>
                  <a:cubicBezTo>
                    <a:pt x="12388" y="1705"/>
                    <a:pt x="12388" y="1705"/>
                    <a:pt x="12494" y="1563"/>
                  </a:cubicBezTo>
                  <a:cubicBezTo>
                    <a:pt x="12494" y="1421"/>
                    <a:pt x="12706" y="1279"/>
                    <a:pt x="12812" y="1137"/>
                  </a:cubicBezTo>
                  <a:cubicBezTo>
                    <a:pt x="12812" y="995"/>
                    <a:pt x="12600" y="711"/>
                    <a:pt x="12494" y="853"/>
                  </a:cubicBezTo>
                  <a:cubicBezTo>
                    <a:pt x="12494" y="853"/>
                    <a:pt x="12388" y="1137"/>
                    <a:pt x="12388" y="1137"/>
                  </a:cubicBezTo>
                  <a:cubicBezTo>
                    <a:pt x="12282" y="995"/>
                    <a:pt x="12282" y="995"/>
                    <a:pt x="12176" y="853"/>
                  </a:cubicBezTo>
                  <a:cubicBezTo>
                    <a:pt x="12176" y="711"/>
                    <a:pt x="11965" y="995"/>
                    <a:pt x="11859" y="995"/>
                  </a:cubicBezTo>
                  <a:cubicBezTo>
                    <a:pt x="11753" y="1137"/>
                    <a:pt x="11647" y="995"/>
                    <a:pt x="11541" y="995"/>
                  </a:cubicBezTo>
                  <a:cubicBezTo>
                    <a:pt x="11329" y="853"/>
                    <a:pt x="11012" y="711"/>
                    <a:pt x="10694" y="568"/>
                  </a:cubicBezTo>
                  <a:cubicBezTo>
                    <a:pt x="10482" y="568"/>
                    <a:pt x="10906" y="711"/>
                    <a:pt x="10694" y="56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 name="Shape 1826">
              <a:extLst>
                <a:ext uri="{FF2B5EF4-FFF2-40B4-BE49-F238E27FC236}">
                  <a16:creationId xmlns:a16="http://schemas.microsoft.com/office/drawing/2014/main" id="{4F9406B1-DF4D-E3FE-B606-3B7E28FB6890}"/>
                </a:ext>
              </a:extLst>
            </p:cNvPr>
            <p:cNvSpPr/>
            <p:nvPr/>
          </p:nvSpPr>
          <p:spPr>
            <a:xfrm>
              <a:off x="5319410" y="1557859"/>
              <a:ext cx="255679" cy="397894"/>
            </a:xfrm>
            <a:custGeom>
              <a:avLst/>
              <a:gdLst/>
              <a:ahLst/>
              <a:cxnLst>
                <a:cxn ang="0">
                  <a:pos x="wd2" y="hd2"/>
                </a:cxn>
                <a:cxn ang="5400000">
                  <a:pos x="wd2" y="hd2"/>
                </a:cxn>
                <a:cxn ang="10800000">
                  <a:pos x="wd2" y="hd2"/>
                </a:cxn>
                <a:cxn ang="16200000">
                  <a:pos x="wd2" y="hd2"/>
                </a:cxn>
              </a:cxnLst>
              <a:rect l="0" t="0" r="r" b="b"/>
              <a:pathLst>
                <a:path w="21003" h="21600" extrusionOk="0">
                  <a:moveTo>
                    <a:pt x="8100" y="0"/>
                  </a:moveTo>
                  <a:cubicBezTo>
                    <a:pt x="6480" y="0"/>
                    <a:pt x="5400" y="360"/>
                    <a:pt x="3780" y="0"/>
                  </a:cubicBezTo>
                  <a:cubicBezTo>
                    <a:pt x="3240" y="0"/>
                    <a:pt x="2700" y="0"/>
                    <a:pt x="2700" y="360"/>
                  </a:cubicBezTo>
                  <a:cubicBezTo>
                    <a:pt x="3240" y="1080"/>
                    <a:pt x="2700" y="720"/>
                    <a:pt x="2160" y="1080"/>
                  </a:cubicBezTo>
                  <a:cubicBezTo>
                    <a:pt x="2700" y="720"/>
                    <a:pt x="2700" y="1440"/>
                    <a:pt x="2700" y="1440"/>
                  </a:cubicBezTo>
                  <a:cubicBezTo>
                    <a:pt x="2160" y="2160"/>
                    <a:pt x="540" y="1800"/>
                    <a:pt x="1080" y="2880"/>
                  </a:cubicBezTo>
                  <a:cubicBezTo>
                    <a:pt x="2160" y="3600"/>
                    <a:pt x="1620" y="3960"/>
                    <a:pt x="1080" y="4680"/>
                  </a:cubicBezTo>
                  <a:cubicBezTo>
                    <a:pt x="1080" y="5400"/>
                    <a:pt x="2160" y="5400"/>
                    <a:pt x="2700" y="5040"/>
                  </a:cubicBezTo>
                  <a:cubicBezTo>
                    <a:pt x="2160" y="5400"/>
                    <a:pt x="2700" y="5400"/>
                    <a:pt x="2700" y="5760"/>
                  </a:cubicBezTo>
                  <a:cubicBezTo>
                    <a:pt x="2700" y="5400"/>
                    <a:pt x="1620" y="6480"/>
                    <a:pt x="1620" y="6480"/>
                  </a:cubicBezTo>
                  <a:cubicBezTo>
                    <a:pt x="1080" y="6480"/>
                    <a:pt x="0" y="6480"/>
                    <a:pt x="0" y="7200"/>
                  </a:cubicBezTo>
                  <a:cubicBezTo>
                    <a:pt x="540" y="7200"/>
                    <a:pt x="1080" y="6480"/>
                    <a:pt x="1620" y="6840"/>
                  </a:cubicBezTo>
                  <a:cubicBezTo>
                    <a:pt x="1620" y="7200"/>
                    <a:pt x="1620" y="7560"/>
                    <a:pt x="1620" y="7560"/>
                  </a:cubicBezTo>
                  <a:cubicBezTo>
                    <a:pt x="1080" y="7920"/>
                    <a:pt x="1080" y="8280"/>
                    <a:pt x="1080" y="8280"/>
                  </a:cubicBezTo>
                  <a:cubicBezTo>
                    <a:pt x="1080" y="8640"/>
                    <a:pt x="1620" y="7920"/>
                    <a:pt x="2160" y="7920"/>
                  </a:cubicBezTo>
                  <a:cubicBezTo>
                    <a:pt x="2160" y="7560"/>
                    <a:pt x="2700" y="8280"/>
                    <a:pt x="2700" y="8280"/>
                  </a:cubicBezTo>
                  <a:cubicBezTo>
                    <a:pt x="3240" y="8280"/>
                    <a:pt x="2700" y="6840"/>
                    <a:pt x="2160" y="6840"/>
                  </a:cubicBezTo>
                  <a:cubicBezTo>
                    <a:pt x="2700" y="6840"/>
                    <a:pt x="3780" y="7200"/>
                    <a:pt x="3780" y="6840"/>
                  </a:cubicBezTo>
                  <a:cubicBezTo>
                    <a:pt x="3780" y="6840"/>
                    <a:pt x="3240" y="7200"/>
                    <a:pt x="3240" y="7200"/>
                  </a:cubicBezTo>
                  <a:cubicBezTo>
                    <a:pt x="3240" y="7560"/>
                    <a:pt x="3780" y="7920"/>
                    <a:pt x="3780" y="8280"/>
                  </a:cubicBezTo>
                  <a:cubicBezTo>
                    <a:pt x="3780" y="8640"/>
                    <a:pt x="2160" y="9720"/>
                    <a:pt x="3780" y="9720"/>
                  </a:cubicBezTo>
                  <a:cubicBezTo>
                    <a:pt x="3780" y="9720"/>
                    <a:pt x="5400" y="9720"/>
                    <a:pt x="5940" y="9720"/>
                  </a:cubicBezTo>
                  <a:cubicBezTo>
                    <a:pt x="6480" y="9360"/>
                    <a:pt x="8100" y="9360"/>
                    <a:pt x="8100" y="9360"/>
                  </a:cubicBezTo>
                  <a:cubicBezTo>
                    <a:pt x="7560" y="10080"/>
                    <a:pt x="7020" y="10080"/>
                    <a:pt x="7560" y="10800"/>
                  </a:cubicBezTo>
                  <a:cubicBezTo>
                    <a:pt x="8100" y="11880"/>
                    <a:pt x="8100" y="11160"/>
                    <a:pt x="8640" y="11520"/>
                  </a:cubicBezTo>
                  <a:cubicBezTo>
                    <a:pt x="8640" y="11880"/>
                    <a:pt x="8100" y="12600"/>
                    <a:pt x="8640" y="12960"/>
                  </a:cubicBezTo>
                  <a:cubicBezTo>
                    <a:pt x="9180" y="13680"/>
                    <a:pt x="7560" y="13680"/>
                    <a:pt x="7020" y="13680"/>
                  </a:cubicBezTo>
                  <a:cubicBezTo>
                    <a:pt x="5940" y="14040"/>
                    <a:pt x="5400" y="13320"/>
                    <a:pt x="4320" y="14040"/>
                  </a:cubicBezTo>
                  <a:cubicBezTo>
                    <a:pt x="3780" y="14760"/>
                    <a:pt x="6480" y="14400"/>
                    <a:pt x="5940" y="14760"/>
                  </a:cubicBezTo>
                  <a:cubicBezTo>
                    <a:pt x="5940" y="14760"/>
                    <a:pt x="4860" y="15120"/>
                    <a:pt x="4860" y="15120"/>
                  </a:cubicBezTo>
                  <a:cubicBezTo>
                    <a:pt x="4860" y="15480"/>
                    <a:pt x="5400" y="15480"/>
                    <a:pt x="4860" y="15840"/>
                  </a:cubicBezTo>
                  <a:cubicBezTo>
                    <a:pt x="4320" y="16200"/>
                    <a:pt x="3780" y="16560"/>
                    <a:pt x="2700" y="16920"/>
                  </a:cubicBezTo>
                  <a:cubicBezTo>
                    <a:pt x="2160" y="17280"/>
                    <a:pt x="3240" y="17640"/>
                    <a:pt x="3240" y="17640"/>
                  </a:cubicBezTo>
                  <a:cubicBezTo>
                    <a:pt x="3780" y="17640"/>
                    <a:pt x="4860" y="17280"/>
                    <a:pt x="4860" y="17280"/>
                  </a:cubicBezTo>
                  <a:cubicBezTo>
                    <a:pt x="4860" y="17640"/>
                    <a:pt x="6480" y="17640"/>
                    <a:pt x="7020" y="18000"/>
                  </a:cubicBezTo>
                  <a:cubicBezTo>
                    <a:pt x="8100" y="18000"/>
                    <a:pt x="9180" y="17280"/>
                    <a:pt x="9720" y="17280"/>
                  </a:cubicBezTo>
                  <a:cubicBezTo>
                    <a:pt x="9720" y="17280"/>
                    <a:pt x="8640" y="19080"/>
                    <a:pt x="7020" y="18720"/>
                  </a:cubicBezTo>
                  <a:cubicBezTo>
                    <a:pt x="6480" y="18360"/>
                    <a:pt x="5940" y="18720"/>
                    <a:pt x="5400" y="18720"/>
                  </a:cubicBezTo>
                  <a:cubicBezTo>
                    <a:pt x="4320" y="18720"/>
                    <a:pt x="4860" y="18360"/>
                    <a:pt x="4320" y="18360"/>
                  </a:cubicBezTo>
                  <a:cubicBezTo>
                    <a:pt x="4320" y="18360"/>
                    <a:pt x="4320" y="19440"/>
                    <a:pt x="3780" y="19800"/>
                  </a:cubicBezTo>
                  <a:cubicBezTo>
                    <a:pt x="3780" y="19800"/>
                    <a:pt x="3240" y="20160"/>
                    <a:pt x="2700" y="20520"/>
                  </a:cubicBezTo>
                  <a:cubicBezTo>
                    <a:pt x="2700" y="20520"/>
                    <a:pt x="1620" y="20880"/>
                    <a:pt x="1620" y="21240"/>
                  </a:cubicBezTo>
                  <a:cubicBezTo>
                    <a:pt x="1620" y="21240"/>
                    <a:pt x="2700" y="21240"/>
                    <a:pt x="2700" y="21240"/>
                  </a:cubicBezTo>
                  <a:cubicBezTo>
                    <a:pt x="2700" y="21240"/>
                    <a:pt x="2160" y="21240"/>
                    <a:pt x="2700" y="21600"/>
                  </a:cubicBezTo>
                  <a:cubicBezTo>
                    <a:pt x="2700" y="21600"/>
                    <a:pt x="3780" y="20520"/>
                    <a:pt x="4320" y="20520"/>
                  </a:cubicBezTo>
                  <a:cubicBezTo>
                    <a:pt x="4860" y="20520"/>
                    <a:pt x="5940" y="20880"/>
                    <a:pt x="6480" y="20520"/>
                  </a:cubicBezTo>
                  <a:cubicBezTo>
                    <a:pt x="7560" y="20520"/>
                    <a:pt x="7020" y="19800"/>
                    <a:pt x="8100" y="19800"/>
                  </a:cubicBezTo>
                  <a:cubicBezTo>
                    <a:pt x="8640" y="19440"/>
                    <a:pt x="9180" y="19800"/>
                    <a:pt x="10260" y="19800"/>
                  </a:cubicBezTo>
                  <a:cubicBezTo>
                    <a:pt x="10800" y="20160"/>
                    <a:pt x="11340" y="19440"/>
                    <a:pt x="12420" y="19800"/>
                  </a:cubicBezTo>
                  <a:cubicBezTo>
                    <a:pt x="12960" y="20160"/>
                    <a:pt x="14040" y="19800"/>
                    <a:pt x="14580" y="19440"/>
                  </a:cubicBezTo>
                  <a:cubicBezTo>
                    <a:pt x="15660" y="19440"/>
                    <a:pt x="17280" y="19440"/>
                    <a:pt x="18360" y="19440"/>
                  </a:cubicBezTo>
                  <a:cubicBezTo>
                    <a:pt x="18360" y="19440"/>
                    <a:pt x="20520" y="18360"/>
                    <a:pt x="20520" y="18360"/>
                  </a:cubicBezTo>
                  <a:cubicBezTo>
                    <a:pt x="19980" y="18000"/>
                    <a:pt x="17820" y="18360"/>
                    <a:pt x="17820" y="18000"/>
                  </a:cubicBezTo>
                  <a:cubicBezTo>
                    <a:pt x="17820" y="17640"/>
                    <a:pt x="19980" y="16560"/>
                    <a:pt x="20520" y="16560"/>
                  </a:cubicBezTo>
                  <a:cubicBezTo>
                    <a:pt x="21060" y="15840"/>
                    <a:pt x="21600" y="14400"/>
                    <a:pt x="19440" y="14400"/>
                  </a:cubicBezTo>
                  <a:cubicBezTo>
                    <a:pt x="18900" y="14400"/>
                    <a:pt x="17820" y="14760"/>
                    <a:pt x="17280" y="14760"/>
                  </a:cubicBezTo>
                  <a:cubicBezTo>
                    <a:pt x="16200" y="14400"/>
                    <a:pt x="17280" y="14400"/>
                    <a:pt x="17280" y="14040"/>
                  </a:cubicBezTo>
                  <a:cubicBezTo>
                    <a:pt x="17280" y="13680"/>
                    <a:pt x="17280" y="13320"/>
                    <a:pt x="16740" y="12960"/>
                  </a:cubicBezTo>
                  <a:cubicBezTo>
                    <a:pt x="16740" y="12960"/>
                    <a:pt x="14580" y="12600"/>
                    <a:pt x="15120" y="12240"/>
                  </a:cubicBezTo>
                  <a:cubicBezTo>
                    <a:pt x="15120" y="12240"/>
                    <a:pt x="16200" y="12600"/>
                    <a:pt x="16200" y="12240"/>
                  </a:cubicBezTo>
                  <a:cubicBezTo>
                    <a:pt x="16740" y="11880"/>
                    <a:pt x="16200" y="11520"/>
                    <a:pt x="15660" y="11160"/>
                  </a:cubicBezTo>
                  <a:cubicBezTo>
                    <a:pt x="14040" y="10440"/>
                    <a:pt x="13500" y="10440"/>
                    <a:pt x="12420" y="9000"/>
                  </a:cubicBezTo>
                  <a:cubicBezTo>
                    <a:pt x="11880" y="8280"/>
                    <a:pt x="11340" y="7560"/>
                    <a:pt x="9720" y="6840"/>
                  </a:cubicBezTo>
                  <a:cubicBezTo>
                    <a:pt x="9180" y="6480"/>
                    <a:pt x="7020" y="7200"/>
                    <a:pt x="6480" y="6480"/>
                  </a:cubicBezTo>
                  <a:cubicBezTo>
                    <a:pt x="6480" y="6480"/>
                    <a:pt x="9720" y="6120"/>
                    <a:pt x="9180" y="5760"/>
                  </a:cubicBezTo>
                  <a:cubicBezTo>
                    <a:pt x="9180" y="5760"/>
                    <a:pt x="8100" y="6120"/>
                    <a:pt x="7560" y="5760"/>
                  </a:cubicBezTo>
                  <a:cubicBezTo>
                    <a:pt x="7560" y="5760"/>
                    <a:pt x="9720" y="5400"/>
                    <a:pt x="9720" y="5400"/>
                  </a:cubicBezTo>
                  <a:cubicBezTo>
                    <a:pt x="10260" y="5040"/>
                    <a:pt x="11880" y="3240"/>
                    <a:pt x="11340" y="2880"/>
                  </a:cubicBezTo>
                  <a:cubicBezTo>
                    <a:pt x="10800" y="2160"/>
                    <a:pt x="9180" y="2160"/>
                    <a:pt x="8100" y="2160"/>
                  </a:cubicBezTo>
                  <a:cubicBezTo>
                    <a:pt x="7560" y="2520"/>
                    <a:pt x="4860" y="2520"/>
                    <a:pt x="4860" y="2520"/>
                  </a:cubicBezTo>
                  <a:cubicBezTo>
                    <a:pt x="4860" y="2520"/>
                    <a:pt x="5940" y="2160"/>
                    <a:pt x="5940" y="2160"/>
                  </a:cubicBezTo>
                  <a:cubicBezTo>
                    <a:pt x="5940" y="2160"/>
                    <a:pt x="4860" y="1800"/>
                    <a:pt x="4860" y="2160"/>
                  </a:cubicBezTo>
                  <a:cubicBezTo>
                    <a:pt x="4860" y="1800"/>
                    <a:pt x="9720" y="360"/>
                    <a:pt x="8100" y="0"/>
                  </a:cubicBezTo>
                  <a:cubicBezTo>
                    <a:pt x="7560" y="0"/>
                    <a:pt x="9180" y="360"/>
                    <a:pt x="8100" y="0"/>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 name="Shape 1827">
              <a:extLst>
                <a:ext uri="{FF2B5EF4-FFF2-40B4-BE49-F238E27FC236}">
                  <a16:creationId xmlns:a16="http://schemas.microsoft.com/office/drawing/2014/main" id="{A2A4D02B-DA5E-A339-E956-B7413451131D}"/>
                </a:ext>
              </a:extLst>
            </p:cNvPr>
            <p:cNvSpPr/>
            <p:nvPr/>
          </p:nvSpPr>
          <p:spPr>
            <a:xfrm>
              <a:off x="4724566" y="1148639"/>
              <a:ext cx="349878" cy="166440"/>
            </a:xfrm>
            <a:custGeom>
              <a:avLst/>
              <a:gdLst/>
              <a:ahLst/>
              <a:cxnLst>
                <a:cxn ang="0">
                  <a:pos x="wd2" y="hd2"/>
                </a:cxn>
                <a:cxn ang="5400000">
                  <a:pos x="wd2" y="hd2"/>
                </a:cxn>
                <a:cxn ang="10800000">
                  <a:pos x="wd2" y="hd2"/>
                </a:cxn>
                <a:cxn ang="16200000">
                  <a:pos x="wd2" y="hd2"/>
                </a:cxn>
              </a:cxnLst>
              <a:rect l="0" t="0" r="r" b="b"/>
              <a:pathLst>
                <a:path w="21283" h="20769" extrusionOk="0">
                  <a:moveTo>
                    <a:pt x="20883" y="7477"/>
                  </a:moveTo>
                  <a:cubicBezTo>
                    <a:pt x="20883" y="7477"/>
                    <a:pt x="19283" y="6646"/>
                    <a:pt x="19283" y="6646"/>
                  </a:cubicBezTo>
                  <a:cubicBezTo>
                    <a:pt x="19283" y="6646"/>
                    <a:pt x="19683" y="5815"/>
                    <a:pt x="19683" y="5815"/>
                  </a:cubicBezTo>
                  <a:cubicBezTo>
                    <a:pt x="19283" y="5815"/>
                    <a:pt x="18483" y="5815"/>
                    <a:pt x="18883" y="4984"/>
                  </a:cubicBezTo>
                  <a:cubicBezTo>
                    <a:pt x="18883" y="4984"/>
                    <a:pt x="19283" y="4154"/>
                    <a:pt x="19283" y="4154"/>
                  </a:cubicBezTo>
                  <a:cubicBezTo>
                    <a:pt x="18883" y="3323"/>
                    <a:pt x="18083" y="3323"/>
                    <a:pt x="18083" y="3323"/>
                  </a:cubicBezTo>
                  <a:cubicBezTo>
                    <a:pt x="18083" y="2492"/>
                    <a:pt x="18883" y="1661"/>
                    <a:pt x="18883" y="1661"/>
                  </a:cubicBezTo>
                  <a:cubicBezTo>
                    <a:pt x="18883" y="1661"/>
                    <a:pt x="17283" y="2492"/>
                    <a:pt x="16883" y="1661"/>
                  </a:cubicBezTo>
                  <a:cubicBezTo>
                    <a:pt x="16483" y="831"/>
                    <a:pt x="16083" y="0"/>
                    <a:pt x="15283" y="0"/>
                  </a:cubicBezTo>
                  <a:cubicBezTo>
                    <a:pt x="14883" y="0"/>
                    <a:pt x="15683" y="1661"/>
                    <a:pt x="15283" y="2492"/>
                  </a:cubicBezTo>
                  <a:cubicBezTo>
                    <a:pt x="14883" y="3323"/>
                    <a:pt x="14483" y="2492"/>
                    <a:pt x="14083" y="3323"/>
                  </a:cubicBezTo>
                  <a:cubicBezTo>
                    <a:pt x="13683" y="4154"/>
                    <a:pt x="13283" y="3323"/>
                    <a:pt x="12483" y="3323"/>
                  </a:cubicBezTo>
                  <a:cubicBezTo>
                    <a:pt x="11683" y="2492"/>
                    <a:pt x="12883" y="5815"/>
                    <a:pt x="12483" y="6646"/>
                  </a:cubicBezTo>
                  <a:cubicBezTo>
                    <a:pt x="12483" y="6646"/>
                    <a:pt x="10883" y="831"/>
                    <a:pt x="10083" y="3323"/>
                  </a:cubicBezTo>
                  <a:cubicBezTo>
                    <a:pt x="9683" y="3323"/>
                    <a:pt x="10083" y="4984"/>
                    <a:pt x="9683" y="5815"/>
                  </a:cubicBezTo>
                  <a:cubicBezTo>
                    <a:pt x="9683" y="6646"/>
                    <a:pt x="8483" y="3323"/>
                    <a:pt x="8083" y="3323"/>
                  </a:cubicBezTo>
                  <a:cubicBezTo>
                    <a:pt x="7683" y="3323"/>
                    <a:pt x="8883" y="6646"/>
                    <a:pt x="8083" y="6646"/>
                  </a:cubicBezTo>
                  <a:cubicBezTo>
                    <a:pt x="7683" y="6646"/>
                    <a:pt x="7683" y="6646"/>
                    <a:pt x="7283" y="6646"/>
                  </a:cubicBezTo>
                  <a:cubicBezTo>
                    <a:pt x="6883" y="6646"/>
                    <a:pt x="6483" y="8307"/>
                    <a:pt x="6483" y="9138"/>
                  </a:cubicBezTo>
                  <a:cubicBezTo>
                    <a:pt x="6483" y="8307"/>
                    <a:pt x="5283" y="6646"/>
                    <a:pt x="5283" y="5815"/>
                  </a:cubicBezTo>
                  <a:cubicBezTo>
                    <a:pt x="5283" y="5815"/>
                    <a:pt x="6083" y="5815"/>
                    <a:pt x="6083" y="5815"/>
                  </a:cubicBezTo>
                  <a:cubicBezTo>
                    <a:pt x="6083" y="4984"/>
                    <a:pt x="5283" y="3323"/>
                    <a:pt x="5283" y="3323"/>
                  </a:cubicBezTo>
                  <a:cubicBezTo>
                    <a:pt x="4883" y="3323"/>
                    <a:pt x="2883" y="-831"/>
                    <a:pt x="2483" y="831"/>
                  </a:cubicBezTo>
                  <a:cubicBezTo>
                    <a:pt x="2483" y="1661"/>
                    <a:pt x="3683" y="1661"/>
                    <a:pt x="3283" y="2492"/>
                  </a:cubicBezTo>
                  <a:cubicBezTo>
                    <a:pt x="3283" y="2492"/>
                    <a:pt x="3283" y="2492"/>
                    <a:pt x="2883" y="2492"/>
                  </a:cubicBezTo>
                  <a:cubicBezTo>
                    <a:pt x="3683" y="1661"/>
                    <a:pt x="4083" y="4984"/>
                    <a:pt x="3683" y="5815"/>
                  </a:cubicBezTo>
                  <a:cubicBezTo>
                    <a:pt x="3683" y="5815"/>
                    <a:pt x="483" y="0"/>
                    <a:pt x="1683" y="4154"/>
                  </a:cubicBezTo>
                  <a:cubicBezTo>
                    <a:pt x="1683" y="4154"/>
                    <a:pt x="883" y="4154"/>
                    <a:pt x="883" y="4154"/>
                  </a:cubicBezTo>
                  <a:cubicBezTo>
                    <a:pt x="883" y="4984"/>
                    <a:pt x="1683" y="4984"/>
                    <a:pt x="1683" y="4984"/>
                  </a:cubicBezTo>
                  <a:cubicBezTo>
                    <a:pt x="1683" y="4154"/>
                    <a:pt x="1683" y="5815"/>
                    <a:pt x="1683" y="5815"/>
                  </a:cubicBezTo>
                  <a:cubicBezTo>
                    <a:pt x="1683" y="5815"/>
                    <a:pt x="883" y="4984"/>
                    <a:pt x="483" y="4984"/>
                  </a:cubicBezTo>
                  <a:cubicBezTo>
                    <a:pt x="883" y="4984"/>
                    <a:pt x="-317" y="7477"/>
                    <a:pt x="83" y="6646"/>
                  </a:cubicBezTo>
                  <a:cubicBezTo>
                    <a:pt x="-317" y="8307"/>
                    <a:pt x="2883" y="7477"/>
                    <a:pt x="2883" y="7477"/>
                  </a:cubicBezTo>
                  <a:cubicBezTo>
                    <a:pt x="3283" y="7477"/>
                    <a:pt x="4883" y="8307"/>
                    <a:pt x="4883" y="8307"/>
                  </a:cubicBezTo>
                  <a:cubicBezTo>
                    <a:pt x="4483" y="8307"/>
                    <a:pt x="4083" y="8307"/>
                    <a:pt x="4083" y="9138"/>
                  </a:cubicBezTo>
                  <a:cubicBezTo>
                    <a:pt x="4083" y="9138"/>
                    <a:pt x="4483" y="9969"/>
                    <a:pt x="4483" y="9969"/>
                  </a:cubicBezTo>
                  <a:cubicBezTo>
                    <a:pt x="4083" y="10800"/>
                    <a:pt x="3283" y="10800"/>
                    <a:pt x="2883" y="10800"/>
                  </a:cubicBezTo>
                  <a:cubicBezTo>
                    <a:pt x="2883" y="10800"/>
                    <a:pt x="483" y="11631"/>
                    <a:pt x="883" y="11631"/>
                  </a:cubicBezTo>
                  <a:cubicBezTo>
                    <a:pt x="1683" y="12461"/>
                    <a:pt x="2883" y="11631"/>
                    <a:pt x="3683" y="12461"/>
                  </a:cubicBezTo>
                  <a:cubicBezTo>
                    <a:pt x="4083" y="13292"/>
                    <a:pt x="4083" y="14123"/>
                    <a:pt x="4483" y="14123"/>
                  </a:cubicBezTo>
                  <a:cubicBezTo>
                    <a:pt x="4483" y="14123"/>
                    <a:pt x="5283" y="13292"/>
                    <a:pt x="5683" y="13292"/>
                  </a:cubicBezTo>
                  <a:cubicBezTo>
                    <a:pt x="5283" y="13292"/>
                    <a:pt x="4883" y="14123"/>
                    <a:pt x="4883" y="14123"/>
                  </a:cubicBezTo>
                  <a:cubicBezTo>
                    <a:pt x="4883" y="14954"/>
                    <a:pt x="5683" y="14123"/>
                    <a:pt x="5683" y="14123"/>
                  </a:cubicBezTo>
                  <a:cubicBezTo>
                    <a:pt x="6083" y="14954"/>
                    <a:pt x="2883" y="18277"/>
                    <a:pt x="3683" y="18277"/>
                  </a:cubicBezTo>
                  <a:cubicBezTo>
                    <a:pt x="4483" y="19107"/>
                    <a:pt x="5283" y="18277"/>
                    <a:pt x="5683" y="18277"/>
                  </a:cubicBezTo>
                  <a:cubicBezTo>
                    <a:pt x="6483" y="18277"/>
                    <a:pt x="7283" y="18277"/>
                    <a:pt x="8083" y="19107"/>
                  </a:cubicBezTo>
                  <a:cubicBezTo>
                    <a:pt x="7683" y="18277"/>
                    <a:pt x="7683" y="19107"/>
                    <a:pt x="7683" y="19107"/>
                  </a:cubicBezTo>
                  <a:cubicBezTo>
                    <a:pt x="8083" y="19938"/>
                    <a:pt x="8483" y="19938"/>
                    <a:pt x="8483" y="19938"/>
                  </a:cubicBezTo>
                  <a:cubicBezTo>
                    <a:pt x="9283" y="20769"/>
                    <a:pt x="10483" y="20769"/>
                    <a:pt x="11283" y="20769"/>
                  </a:cubicBezTo>
                  <a:cubicBezTo>
                    <a:pt x="12083" y="20769"/>
                    <a:pt x="12083" y="19938"/>
                    <a:pt x="12883" y="19938"/>
                  </a:cubicBezTo>
                  <a:cubicBezTo>
                    <a:pt x="13683" y="19107"/>
                    <a:pt x="14483" y="19107"/>
                    <a:pt x="15283" y="18277"/>
                  </a:cubicBezTo>
                  <a:cubicBezTo>
                    <a:pt x="16483" y="16615"/>
                    <a:pt x="16883" y="15784"/>
                    <a:pt x="18083" y="14954"/>
                  </a:cubicBezTo>
                  <a:cubicBezTo>
                    <a:pt x="18883" y="14954"/>
                    <a:pt x="19283" y="12461"/>
                    <a:pt x="20483" y="12461"/>
                  </a:cubicBezTo>
                  <a:cubicBezTo>
                    <a:pt x="20483" y="11631"/>
                    <a:pt x="20883" y="11631"/>
                    <a:pt x="20483" y="10800"/>
                  </a:cubicBezTo>
                  <a:cubicBezTo>
                    <a:pt x="20083" y="9969"/>
                    <a:pt x="20883" y="9969"/>
                    <a:pt x="21283" y="9969"/>
                  </a:cubicBezTo>
                  <a:cubicBezTo>
                    <a:pt x="21283" y="9969"/>
                    <a:pt x="20483" y="9138"/>
                    <a:pt x="20483" y="9138"/>
                  </a:cubicBezTo>
                  <a:cubicBezTo>
                    <a:pt x="20483" y="8307"/>
                    <a:pt x="21283" y="7477"/>
                    <a:pt x="20883" y="7477"/>
                  </a:cubicBezTo>
                  <a:cubicBezTo>
                    <a:pt x="20083" y="6646"/>
                    <a:pt x="21283" y="7477"/>
                    <a:pt x="20883" y="747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 name="Shape 1828">
              <a:extLst>
                <a:ext uri="{FF2B5EF4-FFF2-40B4-BE49-F238E27FC236}">
                  <a16:creationId xmlns:a16="http://schemas.microsoft.com/office/drawing/2014/main" id="{9A6B70FD-5B30-380A-C054-808093311481}"/>
                </a:ext>
              </a:extLst>
            </p:cNvPr>
            <p:cNvSpPr/>
            <p:nvPr/>
          </p:nvSpPr>
          <p:spPr>
            <a:xfrm>
              <a:off x="7202737" y="512996"/>
              <a:ext cx="583725" cy="404187"/>
            </a:xfrm>
            <a:custGeom>
              <a:avLst/>
              <a:gdLst/>
              <a:ahLst/>
              <a:cxnLst>
                <a:cxn ang="0">
                  <a:pos x="wd2" y="hd2"/>
                </a:cxn>
                <a:cxn ang="5400000">
                  <a:pos x="wd2" y="hd2"/>
                </a:cxn>
                <a:cxn ang="10800000">
                  <a:pos x="wd2" y="hd2"/>
                </a:cxn>
                <a:cxn ang="16200000">
                  <a:pos x="wd2" y="hd2"/>
                </a:cxn>
              </a:cxnLst>
              <a:rect l="0" t="0" r="r" b="b"/>
              <a:pathLst>
                <a:path w="21251" h="21339" extrusionOk="0">
                  <a:moveTo>
                    <a:pt x="20160" y="87"/>
                  </a:moveTo>
                  <a:cubicBezTo>
                    <a:pt x="19440" y="87"/>
                    <a:pt x="19200" y="-261"/>
                    <a:pt x="18480" y="436"/>
                  </a:cubicBezTo>
                  <a:cubicBezTo>
                    <a:pt x="18240" y="436"/>
                    <a:pt x="17280" y="784"/>
                    <a:pt x="17520" y="1133"/>
                  </a:cubicBezTo>
                  <a:cubicBezTo>
                    <a:pt x="17280" y="1133"/>
                    <a:pt x="16320" y="1829"/>
                    <a:pt x="15840" y="1829"/>
                  </a:cubicBezTo>
                  <a:cubicBezTo>
                    <a:pt x="15360" y="1829"/>
                    <a:pt x="14640" y="2178"/>
                    <a:pt x="14160" y="2526"/>
                  </a:cubicBezTo>
                  <a:cubicBezTo>
                    <a:pt x="13440" y="2526"/>
                    <a:pt x="12960" y="2526"/>
                    <a:pt x="12240" y="2526"/>
                  </a:cubicBezTo>
                  <a:cubicBezTo>
                    <a:pt x="12240" y="2526"/>
                    <a:pt x="10800" y="2526"/>
                    <a:pt x="11040" y="2874"/>
                  </a:cubicBezTo>
                  <a:cubicBezTo>
                    <a:pt x="11040" y="2874"/>
                    <a:pt x="11520" y="2874"/>
                    <a:pt x="11520" y="2874"/>
                  </a:cubicBezTo>
                  <a:cubicBezTo>
                    <a:pt x="11280" y="3223"/>
                    <a:pt x="10800" y="3223"/>
                    <a:pt x="10560" y="3571"/>
                  </a:cubicBezTo>
                  <a:cubicBezTo>
                    <a:pt x="10320" y="3571"/>
                    <a:pt x="9840" y="3571"/>
                    <a:pt x="9360" y="3571"/>
                  </a:cubicBezTo>
                  <a:cubicBezTo>
                    <a:pt x="9120" y="3571"/>
                    <a:pt x="9120" y="3571"/>
                    <a:pt x="8640" y="3920"/>
                  </a:cubicBezTo>
                  <a:cubicBezTo>
                    <a:pt x="8400" y="4965"/>
                    <a:pt x="8160" y="4616"/>
                    <a:pt x="7680" y="4616"/>
                  </a:cubicBezTo>
                  <a:cubicBezTo>
                    <a:pt x="7200" y="4965"/>
                    <a:pt x="7440" y="5662"/>
                    <a:pt x="6720" y="5662"/>
                  </a:cubicBezTo>
                  <a:cubicBezTo>
                    <a:pt x="6240" y="5662"/>
                    <a:pt x="6480" y="6358"/>
                    <a:pt x="6240" y="6358"/>
                  </a:cubicBezTo>
                  <a:cubicBezTo>
                    <a:pt x="6000" y="6707"/>
                    <a:pt x="5280" y="6010"/>
                    <a:pt x="5520" y="6358"/>
                  </a:cubicBezTo>
                  <a:cubicBezTo>
                    <a:pt x="5520" y="6707"/>
                    <a:pt x="6240" y="7055"/>
                    <a:pt x="6240" y="7055"/>
                  </a:cubicBezTo>
                  <a:cubicBezTo>
                    <a:pt x="6240" y="7055"/>
                    <a:pt x="5280" y="7404"/>
                    <a:pt x="5280" y="7404"/>
                  </a:cubicBezTo>
                  <a:cubicBezTo>
                    <a:pt x="5280" y="7752"/>
                    <a:pt x="6480" y="7752"/>
                    <a:pt x="6480" y="7752"/>
                  </a:cubicBezTo>
                  <a:cubicBezTo>
                    <a:pt x="6480" y="8100"/>
                    <a:pt x="4800" y="8100"/>
                    <a:pt x="5040" y="8449"/>
                  </a:cubicBezTo>
                  <a:cubicBezTo>
                    <a:pt x="5040" y="8100"/>
                    <a:pt x="5520" y="8449"/>
                    <a:pt x="5520" y="8449"/>
                  </a:cubicBezTo>
                  <a:cubicBezTo>
                    <a:pt x="5040" y="8797"/>
                    <a:pt x="4800" y="8449"/>
                    <a:pt x="4800" y="8797"/>
                  </a:cubicBezTo>
                  <a:cubicBezTo>
                    <a:pt x="4560" y="9145"/>
                    <a:pt x="5040" y="9494"/>
                    <a:pt x="5040" y="9494"/>
                  </a:cubicBezTo>
                  <a:cubicBezTo>
                    <a:pt x="4800" y="9494"/>
                    <a:pt x="4560" y="9494"/>
                    <a:pt x="4320" y="9494"/>
                  </a:cubicBezTo>
                  <a:cubicBezTo>
                    <a:pt x="4320" y="9494"/>
                    <a:pt x="4800" y="9842"/>
                    <a:pt x="5040" y="9842"/>
                  </a:cubicBezTo>
                  <a:cubicBezTo>
                    <a:pt x="4560" y="9842"/>
                    <a:pt x="4320" y="9842"/>
                    <a:pt x="4080" y="10191"/>
                  </a:cubicBezTo>
                  <a:cubicBezTo>
                    <a:pt x="3840" y="10539"/>
                    <a:pt x="3600" y="10539"/>
                    <a:pt x="3360" y="10539"/>
                  </a:cubicBezTo>
                  <a:cubicBezTo>
                    <a:pt x="2880" y="10887"/>
                    <a:pt x="2880" y="11236"/>
                    <a:pt x="3360" y="11236"/>
                  </a:cubicBezTo>
                  <a:cubicBezTo>
                    <a:pt x="3600" y="11236"/>
                    <a:pt x="4320" y="11584"/>
                    <a:pt x="4560" y="11584"/>
                  </a:cubicBezTo>
                  <a:cubicBezTo>
                    <a:pt x="4080" y="11933"/>
                    <a:pt x="3600" y="11236"/>
                    <a:pt x="3600" y="12281"/>
                  </a:cubicBezTo>
                  <a:cubicBezTo>
                    <a:pt x="3600" y="12629"/>
                    <a:pt x="2400" y="12629"/>
                    <a:pt x="2160" y="12978"/>
                  </a:cubicBezTo>
                  <a:cubicBezTo>
                    <a:pt x="1920" y="13326"/>
                    <a:pt x="2160" y="13326"/>
                    <a:pt x="2160" y="13674"/>
                  </a:cubicBezTo>
                  <a:cubicBezTo>
                    <a:pt x="2160" y="13674"/>
                    <a:pt x="1440" y="14023"/>
                    <a:pt x="1440" y="14023"/>
                  </a:cubicBezTo>
                  <a:cubicBezTo>
                    <a:pt x="480" y="14371"/>
                    <a:pt x="1680" y="14371"/>
                    <a:pt x="1680" y="14720"/>
                  </a:cubicBezTo>
                  <a:cubicBezTo>
                    <a:pt x="1920" y="15068"/>
                    <a:pt x="1200" y="16113"/>
                    <a:pt x="1200" y="16113"/>
                  </a:cubicBezTo>
                  <a:cubicBezTo>
                    <a:pt x="720" y="16810"/>
                    <a:pt x="0" y="16113"/>
                    <a:pt x="0" y="17507"/>
                  </a:cubicBezTo>
                  <a:cubicBezTo>
                    <a:pt x="0" y="18900"/>
                    <a:pt x="480" y="18204"/>
                    <a:pt x="960" y="18204"/>
                  </a:cubicBezTo>
                  <a:cubicBezTo>
                    <a:pt x="1440" y="18552"/>
                    <a:pt x="1680" y="18900"/>
                    <a:pt x="2160" y="18552"/>
                  </a:cubicBezTo>
                  <a:cubicBezTo>
                    <a:pt x="2160" y="18552"/>
                    <a:pt x="2640" y="19249"/>
                    <a:pt x="2880" y="18900"/>
                  </a:cubicBezTo>
                  <a:cubicBezTo>
                    <a:pt x="2880" y="18900"/>
                    <a:pt x="2400" y="18900"/>
                    <a:pt x="2400" y="19249"/>
                  </a:cubicBezTo>
                  <a:cubicBezTo>
                    <a:pt x="2640" y="19249"/>
                    <a:pt x="2880" y="19249"/>
                    <a:pt x="2880" y="19249"/>
                  </a:cubicBezTo>
                  <a:cubicBezTo>
                    <a:pt x="2880" y="19249"/>
                    <a:pt x="2400" y="20642"/>
                    <a:pt x="2400" y="20642"/>
                  </a:cubicBezTo>
                  <a:cubicBezTo>
                    <a:pt x="2880" y="20991"/>
                    <a:pt x="3360" y="20991"/>
                    <a:pt x="3840" y="21339"/>
                  </a:cubicBezTo>
                  <a:cubicBezTo>
                    <a:pt x="4560" y="21339"/>
                    <a:pt x="4800" y="21339"/>
                    <a:pt x="5520" y="21339"/>
                  </a:cubicBezTo>
                  <a:cubicBezTo>
                    <a:pt x="5760" y="20991"/>
                    <a:pt x="6000" y="20991"/>
                    <a:pt x="6240" y="20991"/>
                  </a:cubicBezTo>
                  <a:cubicBezTo>
                    <a:pt x="6480" y="21339"/>
                    <a:pt x="6720" y="21339"/>
                    <a:pt x="7200" y="21339"/>
                  </a:cubicBezTo>
                  <a:cubicBezTo>
                    <a:pt x="7440" y="21339"/>
                    <a:pt x="6480" y="20294"/>
                    <a:pt x="6240" y="20294"/>
                  </a:cubicBezTo>
                  <a:cubicBezTo>
                    <a:pt x="5760" y="19597"/>
                    <a:pt x="5520" y="18900"/>
                    <a:pt x="5280" y="18204"/>
                  </a:cubicBezTo>
                  <a:cubicBezTo>
                    <a:pt x="4800" y="17507"/>
                    <a:pt x="5040" y="17158"/>
                    <a:pt x="4800" y="16462"/>
                  </a:cubicBezTo>
                  <a:cubicBezTo>
                    <a:pt x="4560" y="15416"/>
                    <a:pt x="4320" y="15416"/>
                    <a:pt x="4800" y="14720"/>
                  </a:cubicBezTo>
                  <a:cubicBezTo>
                    <a:pt x="5040" y="14720"/>
                    <a:pt x="4800" y="14720"/>
                    <a:pt x="4800" y="14371"/>
                  </a:cubicBezTo>
                  <a:cubicBezTo>
                    <a:pt x="5040" y="14023"/>
                    <a:pt x="5760" y="14371"/>
                    <a:pt x="5760" y="14023"/>
                  </a:cubicBezTo>
                  <a:cubicBezTo>
                    <a:pt x="5760" y="14023"/>
                    <a:pt x="5280" y="13674"/>
                    <a:pt x="5280" y="13674"/>
                  </a:cubicBezTo>
                  <a:cubicBezTo>
                    <a:pt x="5520" y="13326"/>
                    <a:pt x="6240" y="13674"/>
                    <a:pt x="6240" y="13326"/>
                  </a:cubicBezTo>
                  <a:cubicBezTo>
                    <a:pt x="6240" y="12978"/>
                    <a:pt x="5040" y="12629"/>
                    <a:pt x="5040" y="12281"/>
                  </a:cubicBezTo>
                  <a:cubicBezTo>
                    <a:pt x="5040" y="12281"/>
                    <a:pt x="6960" y="12629"/>
                    <a:pt x="6960" y="12629"/>
                  </a:cubicBezTo>
                  <a:cubicBezTo>
                    <a:pt x="6960" y="12281"/>
                    <a:pt x="6480" y="11933"/>
                    <a:pt x="6480" y="11584"/>
                  </a:cubicBezTo>
                  <a:cubicBezTo>
                    <a:pt x="6480" y="11236"/>
                    <a:pt x="7200" y="11933"/>
                    <a:pt x="7440" y="11584"/>
                  </a:cubicBezTo>
                  <a:cubicBezTo>
                    <a:pt x="7440" y="11236"/>
                    <a:pt x="6480" y="10539"/>
                    <a:pt x="6480" y="10887"/>
                  </a:cubicBezTo>
                  <a:cubicBezTo>
                    <a:pt x="6480" y="10539"/>
                    <a:pt x="7440" y="11236"/>
                    <a:pt x="7680" y="10887"/>
                  </a:cubicBezTo>
                  <a:cubicBezTo>
                    <a:pt x="7680" y="10887"/>
                    <a:pt x="7920" y="10539"/>
                    <a:pt x="7680" y="10539"/>
                  </a:cubicBezTo>
                  <a:cubicBezTo>
                    <a:pt x="7680" y="10539"/>
                    <a:pt x="7200" y="9842"/>
                    <a:pt x="7200" y="9842"/>
                  </a:cubicBezTo>
                  <a:cubicBezTo>
                    <a:pt x="7680" y="9842"/>
                    <a:pt x="7920" y="10191"/>
                    <a:pt x="8400" y="9842"/>
                  </a:cubicBezTo>
                  <a:cubicBezTo>
                    <a:pt x="8400" y="9494"/>
                    <a:pt x="8880" y="9145"/>
                    <a:pt x="8880" y="9145"/>
                  </a:cubicBezTo>
                  <a:cubicBezTo>
                    <a:pt x="8880" y="8797"/>
                    <a:pt x="8400" y="8797"/>
                    <a:pt x="8400" y="8797"/>
                  </a:cubicBezTo>
                  <a:cubicBezTo>
                    <a:pt x="8640" y="8797"/>
                    <a:pt x="9360" y="8797"/>
                    <a:pt x="9360" y="8100"/>
                  </a:cubicBezTo>
                  <a:cubicBezTo>
                    <a:pt x="9360" y="7404"/>
                    <a:pt x="9840" y="8449"/>
                    <a:pt x="10080" y="8100"/>
                  </a:cubicBezTo>
                  <a:cubicBezTo>
                    <a:pt x="10080" y="8100"/>
                    <a:pt x="9840" y="7752"/>
                    <a:pt x="9840" y="7752"/>
                  </a:cubicBezTo>
                  <a:cubicBezTo>
                    <a:pt x="10080" y="7404"/>
                    <a:pt x="10800" y="7752"/>
                    <a:pt x="10800" y="7404"/>
                  </a:cubicBezTo>
                  <a:cubicBezTo>
                    <a:pt x="11040" y="7055"/>
                    <a:pt x="10800" y="6707"/>
                    <a:pt x="10560" y="6707"/>
                  </a:cubicBezTo>
                  <a:cubicBezTo>
                    <a:pt x="11760" y="6010"/>
                    <a:pt x="12720" y="5313"/>
                    <a:pt x="13920" y="4965"/>
                  </a:cubicBezTo>
                  <a:cubicBezTo>
                    <a:pt x="14640" y="4616"/>
                    <a:pt x="15600" y="4268"/>
                    <a:pt x="16320" y="3920"/>
                  </a:cubicBezTo>
                  <a:cubicBezTo>
                    <a:pt x="17520" y="3571"/>
                    <a:pt x="18480" y="3223"/>
                    <a:pt x="19440" y="2526"/>
                  </a:cubicBezTo>
                  <a:cubicBezTo>
                    <a:pt x="19920" y="2526"/>
                    <a:pt x="20640" y="1829"/>
                    <a:pt x="21120" y="1133"/>
                  </a:cubicBezTo>
                  <a:cubicBezTo>
                    <a:pt x="21600" y="436"/>
                    <a:pt x="20640" y="87"/>
                    <a:pt x="20160" y="87"/>
                  </a:cubicBezTo>
                  <a:cubicBezTo>
                    <a:pt x="19680" y="87"/>
                    <a:pt x="20640" y="87"/>
                    <a:pt x="20160" y="8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 name="Shape 1829">
              <a:extLst>
                <a:ext uri="{FF2B5EF4-FFF2-40B4-BE49-F238E27FC236}">
                  <a16:creationId xmlns:a16="http://schemas.microsoft.com/office/drawing/2014/main" id="{560A07EF-732C-EB0B-7240-1CB8D04D0204}"/>
                </a:ext>
              </a:extLst>
            </p:cNvPr>
            <p:cNvSpPr/>
            <p:nvPr/>
          </p:nvSpPr>
          <p:spPr>
            <a:xfrm>
              <a:off x="8729785" y="337199"/>
              <a:ext cx="196001" cy="104006"/>
            </a:xfrm>
            <a:custGeom>
              <a:avLst/>
              <a:gdLst/>
              <a:ahLst/>
              <a:cxnLst>
                <a:cxn ang="0">
                  <a:pos x="wd2" y="hd2"/>
                </a:cxn>
                <a:cxn ang="5400000">
                  <a:pos x="wd2" y="hd2"/>
                </a:cxn>
                <a:cxn ang="10800000">
                  <a:pos x="wd2" y="hd2"/>
                </a:cxn>
                <a:cxn ang="16200000">
                  <a:pos x="wd2" y="hd2"/>
                </a:cxn>
              </a:cxnLst>
              <a:rect l="0" t="0" r="r" b="b"/>
              <a:pathLst>
                <a:path w="20040" h="21263" extrusionOk="0">
                  <a:moveTo>
                    <a:pt x="10232" y="8100"/>
                  </a:moveTo>
                  <a:cubicBezTo>
                    <a:pt x="10232" y="8100"/>
                    <a:pt x="12257" y="2700"/>
                    <a:pt x="12257" y="1350"/>
                  </a:cubicBezTo>
                  <a:cubicBezTo>
                    <a:pt x="11582" y="0"/>
                    <a:pt x="10907" y="0"/>
                    <a:pt x="10232" y="0"/>
                  </a:cubicBezTo>
                  <a:cubicBezTo>
                    <a:pt x="9557" y="0"/>
                    <a:pt x="9557" y="2700"/>
                    <a:pt x="9557" y="2700"/>
                  </a:cubicBezTo>
                  <a:cubicBezTo>
                    <a:pt x="8207" y="2700"/>
                    <a:pt x="7532" y="0"/>
                    <a:pt x="6182" y="2700"/>
                  </a:cubicBezTo>
                  <a:cubicBezTo>
                    <a:pt x="6182" y="2700"/>
                    <a:pt x="4832" y="4050"/>
                    <a:pt x="5507" y="5400"/>
                  </a:cubicBezTo>
                  <a:cubicBezTo>
                    <a:pt x="6182" y="5400"/>
                    <a:pt x="6857" y="6750"/>
                    <a:pt x="7532" y="5400"/>
                  </a:cubicBezTo>
                  <a:cubicBezTo>
                    <a:pt x="6182" y="6750"/>
                    <a:pt x="2807" y="8100"/>
                    <a:pt x="6182" y="10800"/>
                  </a:cubicBezTo>
                  <a:cubicBezTo>
                    <a:pt x="4157" y="9450"/>
                    <a:pt x="3482" y="10800"/>
                    <a:pt x="2807" y="13500"/>
                  </a:cubicBezTo>
                  <a:cubicBezTo>
                    <a:pt x="2132" y="14850"/>
                    <a:pt x="-568" y="20250"/>
                    <a:pt x="107" y="20250"/>
                  </a:cubicBezTo>
                  <a:cubicBezTo>
                    <a:pt x="1457" y="21600"/>
                    <a:pt x="3482" y="21600"/>
                    <a:pt x="4832" y="20250"/>
                  </a:cubicBezTo>
                  <a:cubicBezTo>
                    <a:pt x="6857" y="17550"/>
                    <a:pt x="8882" y="17550"/>
                    <a:pt x="10907" y="18900"/>
                  </a:cubicBezTo>
                  <a:cubicBezTo>
                    <a:pt x="13607" y="18900"/>
                    <a:pt x="15632" y="17550"/>
                    <a:pt x="18332" y="16200"/>
                  </a:cubicBezTo>
                  <a:cubicBezTo>
                    <a:pt x="19682" y="14850"/>
                    <a:pt x="21032" y="10800"/>
                    <a:pt x="19007" y="9450"/>
                  </a:cubicBezTo>
                  <a:cubicBezTo>
                    <a:pt x="17657" y="8100"/>
                    <a:pt x="15632" y="2700"/>
                    <a:pt x="14282" y="4050"/>
                  </a:cubicBezTo>
                  <a:cubicBezTo>
                    <a:pt x="12932" y="4050"/>
                    <a:pt x="11582" y="8100"/>
                    <a:pt x="10232" y="8100"/>
                  </a:cubicBezTo>
                  <a:cubicBezTo>
                    <a:pt x="9557" y="8100"/>
                    <a:pt x="10907" y="8100"/>
                    <a:pt x="10232" y="81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 name="Shape 1830">
              <a:extLst>
                <a:ext uri="{FF2B5EF4-FFF2-40B4-BE49-F238E27FC236}">
                  <a16:creationId xmlns:a16="http://schemas.microsoft.com/office/drawing/2014/main" id="{103AB77A-23F4-CD00-6000-27EE45C0CD64}"/>
                </a:ext>
              </a:extLst>
            </p:cNvPr>
            <p:cNvSpPr/>
            <p:nvPr/>
          </p:nvSpPr>
          <p:spPr>
            <a:xfrm>
              <a:off x="8553432" y="280172"/>
              <a:ext cx="191181" cy="101988"/>
            </a:xfrm>
            <a:custGeom>
              <a:avLst/>
              <a:gdLst/>
              <a:ahLst/>
              <a:cxnLst>
                <a:cxn ang="0">
                  <a:pos x="wd2" y="hd2"/>
                </a:cxn>
                <a:cxn ang="5400000">
                  <a:pos x="wd2" y="hd2"/>
                </a:cxn>
                <a:cxn ang="10800000">
                  <a:pos x="wd2" y="hd2"/>
                </a:cxn>
                <a:cxn ang="16200000">
                  <a:pos x="wd2" y="hd2"/>
                </a:cxn>
              </a:cxnLst>
              <a:rect l="0" t="0" r="r" b="b"/>
              <a:pathLst>
                <a:path w="20880" h="20850" extrusionOk="0">
                  <a:moveTo>
                    <a:pt x="18720" y="12750"/>
                  </a:moveTo>
                  <a:cubicBezTo>
                    <a:pt x="20880" y="14100"/>
                    <a:pt x="19440" y="11400"/>
                    <a:pt x="20160" y="8700"/>
                  </a:cubicBezTo>
                  <a:cubicBezTo>
                    <a:pt x="20160" y="7350"/>
                    <a:pt x="20880" y="7350"/>
                    <a:pt x="20880" y="6000"/>
                  </a:cubicBezTo>
                  <a:cubicBezTo>
                    <a:pt x="20880" y="4650"/>
                    <a:pt x="19440" y="3300"/>
                    <a:pt x="18720" y="3300"/>
                  </a:cubicBezTo>
                  <a:cubicBezTo>
                    <a:pt x="18000" y="1950"/>
                    <a:pt x="16560" y="1950"/>
                    <a:pt x="15840" y="3300"/>
                  </a:cubicBezTo>
                  <a:cubicBezTo>
                    <a:pt x="15840" y="3300"/>
                    <a:pt x="12240" y="4650"/>
                    <a:pt x="12240" y="4650"/>
                  </a:cubicBezTo>
                  <a:cubicBezTo>
                    <a:pt x="12240" y="4650"/>
                    <a:pt x="15120" y="1950"/>
                    <a:pt x="12960" y="600"/>
                  </a:cubicBezTo>
                  <a:cubicBezTo>
                    <a:pt x="11520" y="-750"/>
                    <a:pt x="10080" y="600"/>
                    <a:pt x="8640" y="600"/>
                  </a:cubicBezTo>
                  <a:cubicBezTo>
                    <a:pt x="7920" y="600"/>
                    <a:pt x="4320" y="1950"/>
                    <a:pt x="3600" y="4650"/>
                  </a:cubicBezTo>
                  <a:cubicBezTo>
                    <a:pt x="3600" y="4650"/>
                    <a:pt x="5040" y="4650"/>
                    <a:pt x="5040" y="4650"/>
                  </a:cubicBezTo>
                  <a:cubicBezTo>
                    <a:pt x="5040" y="4650"/>
                    <a:pt x="0" y="8700"/>
                    <a:pt x="0" y="10050"/>
                  </a:cubicBezTo>
                  <a:cubicBezTo>
                    <a:pt x="0" y="10050"/>
                    <a:pt x="2880" y="11400"/>
                    <a:pt x="2880" y="11400"/>
                  </a:cubicBezTo>
                  <a:cubicBezTo>
                    <a:pt x="3600" y="11400"/>
                    <a:pt x="4320" y="14100"/>
                    <a:pt x="5040" y="15450"/>
                  </a:cubicBezTo>
                  <a:cubicBezTo>
                    <a:pt x="6480" y="16800"/>
                    <a:pt x="7200" y="16800"/>
                    <a:pt x="8640" y="16800"/>
                  </a:cubicBezTo>
                  <a:cubicBezTo>
                    <a:pt x="10080" y="18150"/>
                    <a:pt x="12240" y="20850"/>
                    <a:pt x="13680" y="20850"/>
                  </a:cubicBezTo>
                  <a:cubicBezTo>
                    <a:pt x="15840" y="20850"/>
                    <a:pt x="18000" y="20850"/>
                    <a:pt x="20160" y="19500"/>
                  </a:cubicBezTo>
                  <a:cubicBezTo>
                    <a:pt x="21600" y="19500"/>
                    <a:pt x="18720" y="12750"/>
                    <a:pt x="18720" y="12750"/>
                  </a:cubicBezTo>
                  <a:cubicBezTo>
                    <a:pt x="19440" y="12750"/>
                    <a:pt x="18000" y="12750"/>
                    <a:pt x="18720" y="127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 name="Shape 1831">
              <a:extLst>
                <a:ext uri="{FF2B5EF4-FFF2-40B4-BE49-F238E27FC236}">
                  <a16:creationId xmlns:a16="http://schemas.microsoft.com/office/drawing/2014/main" id="{9F7BAFDD-EF10-5FB5-47C6-034A17FBEEFC}"/>
                </a:ext>
              </a:extLst>
            </p:cNvPr>
            <p:cNvSpPr/>
            <p:nvPr/>
          </p:nvSpPr>
          <p:spPr>
            <a:xfrm>
              <a:off x="8494998" y="286993"/>
              <a:ext cx="75017" cy="29976"/>
            </a:xfrm>
            <a:custGeom>
              <a:avLst/>
              <a:gdLst/>
              <a:ahLst/>
              <a:cxnLst>
                <a:cxn ang="0">
                  <a:pos x="wd2" y="hd2"/>
                </a:cxn>
                <a:cxn ang="5400000">
                  <a:pos x="wd2" y="hd2"/>
                </a:cxn>
                <a:cxn ang="10800000">
                  <a:pos x="wd2" y="hd2"/>
                </a:cxn>
                <a:cxn ang="16200000">
                  <a:pos x="wd2" y="hd2"/>
                </a:cxn>
              </a:cxnLst>
              <a:rect l="0" t="0" r="r" b="b"/>
              <a:pathLst>
                <a:path w="16386" h="19200" extrusionOk="0">
                  <a:moveTo>
                    <a:pt x="12960" y="1920"/>
                  </a:moveTo>
                  <a:cubicBezTo>
                    <a:pt x="11520" y="1920"/>
                    <a:pt x="8640" y="1920"/>
                    <a:pt x="5760" y="1920"/>
                  </a:cubicBezTo>
                  <a:cubicBezTo>
                    <a:pt x="4320" y="1920"/>
                    <a:pt x="1440" y="-2400"/>
                    <a:pt x="0" y="1920"/>
                  </a:cubicBezTo>
                  <a:cubicBezTo>
                    <a:pt x="0" y="1920"/>
                    <a:pt x="0" y="10560"/>
                    <a:pt x="1440" y="10560"/>
                  </a:cubicBezTo>
                  <a:cubicBezTo>
                    <a:pt x="4320" y="14880"/>
                    <a:pt x="5760" y="19200"/>
                    <a:pt x="8640" y="19200"/>
                  </a:cubicBezTo>
                  <a:cubicBezTo>
                    <a:pt x="11520" y="19200"/>
                    <a:pt x="21600" y="6240"/>
                    <a:pt x="12960" y="1920"/>
                  </a:cubicBezTo>
                  <a:cubicBezTo>
                    <a:pt x="11520" y="1920"/>
                    <a:pt x="14400" y="6240"/>
                    <a:pt x="12960" y="19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 name="Shape 1832">
              <a:extLst>
                <a:ext uri="{FF2B5EF4-FFF2-40B4-BE49-F238E27FC236}">
                  <a16:creationId xmlns:a16="http://schemas.microsoft.com/office/drawing/2014/main" id="{7A913964-48B5-3DD1-9094-12DE9913952F}"/>
                </a:ext>
              </a:extLst>
            </p:cNvPr>
            <p:cNvSpPr/>
            <p:nvPr/>
          </p:nvSpPr>
          <p:spPr>
            <a:xfrm>
              <a:off x="8512978" y="191080"/>
              <a:ext cx="166308" cy="100960"/>
            </a:xfrm>
            <a:custGeom>
              <a:avLst/>
              <a:gdLst/>
              <a:ahLst/>
              <a:cxnLst>
                <a:cxn ang="0">
                  <a:pos x="wd2" y="hd2"/>
                </a:cxn>
                <a:cxn ang="5400000">
                  <a:pos x="wd2" y="hd2"/>
                </a:cxn>
                <a:cxn ang="10800000">
                  <a:pos x="wd2" y="hd2"/>
                </a:cxn>
                <a:cxn ang="16200000">
                  <a:pos x="wd2" y="hd2"/>
                </a:cxn>
              </a:cxnLst>
              <a:rect l="0" t="0" r="r" b="b"/>
              <a:pathLst>
                <a:path w="21600" h="20640" extrusionOk="0">
                  <a:moveTo>
                    <a:pt x="6048" y="20250"/>
                  </a:moveTo>
                  <a:cubicBezTo>
                    <a:pt x="5184" y="18900"/>
                    <a:pt x="3456" y="18900"/>
                    <a:pt x="2592" y="17550"/>
                  </a:cubicBezTo>
                  <a:cubicBezTo>
                    <a:pt x="1728" y="16200"/>
                    <a:pt x="3456" y="16200"/>
                    <a:pt x="3456" y="16200"/>
                  </a:cubicBezTo>
                  <a:cubicBezTo>
                    <a:pt x="3456" y="16200"/>
                    <a:pt x="0" y="17550"/>
                    <a:pt x="0" y="16200"/>
                  </a:cubicBezTo>
                  <a:cubicBezTo>
                    <a:pt x="0" y="13500"/>
                    <a:pt x="2592" y="14850"/>
                    <a:pt x="2592" y="14850"/>
                  </a:cubicBezTo>
                  <a:cubicBezTo>
                    <a:pt x="2592" y="13500"/>
                    <a:pt x="1728" y="13500"/>
                    <a:pt x="1728" y="13500"/>
                  </a:cubicBezTo>
                  <a:cubicBezTo>
                    <a:pt x="1728" y="13500"/>
                    <a:pt x="6048" y="9450"/>
                    <a:pt x="5184" y="8100"/>
                  </a:cubicBezTo>
                  <a:cubicBezTo>
                    <a:pt x="5184" y="8100"/>
                    <a:pt x="4320" y="8100"/>
                    <a:pt x="4320" y="8100"/>
                  </a:cubicBezTo>
                  <a:cubicBezTo>
                    <a:pt x="5184" y="5400"/>
                    <a:pt x="7776" y="5400"/>
                    <a:pt x="9504" y="4050"/>
                  </a:cubicBezTo>
                  <a:cubicBezTo>
                    <a:pt x="11232" y="2700"/>
                    <a:pt x="13824" y="1350"/>
                    <a:pt x="15552" y="0"/>
                  </a:cubicBezTo>
                  <a:cubicBezTo>
                    <a:pt x="15552" y="0"/>
                    <a:pt x="16416" y="4050"/>
                    <a:pt x="17280" y="5400"/>
                  </a:cubicBezTo>
                  <a:cubicBezTo>
                    <a:pt x="17280" y="5400"/>
                    <a:pt x="21600" y="8100"/>
                    <a:pt x="21600" y="9450"/>
                  </a:cubicBezTo>
                  <a:cubicBezTo>
                    <a:pt x="21600" y="10800"/>
                    <a:pt x="17280" y="9450"/>
                    <a:pt x="18144" y="12150"/>
                  </a:cubicBezTo>
                  <a:cubicBezTo>
                    <a:pt x="18144" y="12150"/>
                    <a:pt x="19872" y="13500"/>
                    <a:pt x="19872" y="16200"/>
                  </a:cubicBezTo>
                  <a:cubicBezTo>
                    <a:pt x="19008" y="16200"/>
                    <a:pt x="17280" y="16200"/>
                    <a:pt x="16416" y="17550"/>
                  </a:cubicBezTo>
                  <a:cubicBezTo>
                    <a:pt x="13824" y="18900"/>
                    <a:pt x="8640" y="21600"/>
                    <a:pt x="6048" y="20250"/>
                  </a:cubicBezTo>
                  <a:cubicBezTo>
                    <a:pt x="5184" y="18900"/>
                    <a:pt x="7776" y="21600"/>
                    <a:pt x="6048" y="202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 name="Shape 1833">
              <a:extLst>
                <a:ext uri="{FF2B5EF4-FFF2-40B4-BE49-F238E27FC236}">
                  <a16:creationId xmlns:a16="http://schemas.microsoft.com/office/drawing/2014/main" id="{3842A177-BAD1-2919-A215-B7E3D338A986}"/>
                </a:ext>
              </a:extLst>
            </p:cNvPr>
            <p:cNvSpPr/>
            <p:nvPr/>
          </p:nvSpPr>
          <p:spPr>
            <a:xfrm>
              <a:off x="10269854" y="611813"/>
              <a:ext cx="156333" cy="49096"/>
            </a:xfrm>
            <a:custGeom>
              <a:avLst/>
              <a:gdLst/>
              <a:ahLst/>
              <a:cxnLst>
                <a:cxn ang="0">
                  <a:pos x="wd2" y="hd2"/>
                </a:cxn>
                <a:cxn ang="5400000">
                  <a:pos x="wd2" y="hd2"/>
                </a:cxn>
                <a:cxn ang="10800000">
                  <a:pos x="wd2" y="hd2"/>
                </a:cxn>
                <a:cxn ang="16200000">
                  <a:pos x="wd2" y="hd2"/>
                </a:cxn>
              </a:cxnLst>
              <a:rect l="0" t="0" r="r" b="b"/>
              <a:pathLst>
                <a:path w="20304" h="19656" extrusionOk="0">
                  <a:moveTo>
                    <a:pt x="3814" y="6156"/>
                  </a:moveTo>
                  <a:cubicBezTo>
                    <a:pt x="2950" y="6156"/>
                    <a:pt x="2950" y="756"/>
                    <a:pt x="2086" y="756"/>
                  </a:cubicBezTo>
                  <a:cubicBezTo>
                    <a:pt x="2086" y="-1944"/>
                    <a:pt x="358" y="3456"/>
                    <a:pt x="358" y="3456"/>
                  </a:cubicBezTo>
                  <a:cubicBezTo>
                    <a:pt x="-506" y="8856"/>
                    <a:pt x="358" y="8856"/>
                    <a:pt x="1222" y="8856"/>
                  </a:cubicBezTo>
                  <a:cubicBezTo>
                    <a:pt x="2086" y="8856"/>
                    <a:pt x="2950" y="14256"/>
                    <a:pt x="3814" y="14256"/>
                  </a:cubicBezTo>
                  <a:cubicBezTo>
                    <a:pt x="7270" y="16956"/>
                    <a:pt x="9862" y="19656"/>
                    <a:pt x="13318" y="19656"/>
                  </a:cubicBezTo>
                  <a:cubicBezTo>
                    <a:pt x="14182" y="19656"/>
                    <a:pt x="21094" y="16956"/>
                    <a:pt x="20230" y="11556"/>
                  </a:cubicBezTo>
                  <a:cubicBezTo>
                    <a:pt x="19366" y="11556"/>
                    <a:pt x="19366" y="14256"/>
                    <a:pt x="19366" y="14256"/>
                  </a:cubicBezTo>
                  <a:cubicBezTo>
                    <a:pt x="18502" y="14256"/>
                    <a:pt x="17638" y="11556"/>
                    <a:pt x="16774" y="8856"/>
                  </a:cubicBezTo>
                  <a:cubicBezTo>
                    <a:pt x="15910" y="8856"/>
                    <a:pt x="14182" y="6156"/>
                    <a:pt x="12454" y="8856"/>
                  </a:cubicBezTo>
                  <a:cubicBezTo>
                    <a:pt x="11590" y="8856"/>
                    <a:pt x="9862" y="3456"/>
                    <a:pt x="8134" y="3456"/>
                  </a:cubicBezTo>
                  <a:cubicBezTo>
                    <a:pt x="6406" y="3456"/>
                    <a:pt x="5542" y="6156"/>
                    <a:pt x="3814" y="615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 name="Shape 1834">
              <a:extLst>
                <a:ext uri="{FF2B5EF4-FFF2-40B4-BE49-F238E27FC236}">
                  <a16:creationId xmlns:a16="http://schemas.microsoft.com/office/drawing/2014/main" id="{C8536A00-713C-A8C5-0123-7184CA9A601C}"/>
                </a:ext>
              </a:extLst>
            </p:cNvPr>
            <p:cNvSpPr/>
            <p:nvPr/>
          </p:nvSpPr>
          <p:spPr>
            <a:xfrm>
              <a:off x="10063507" y="720513"/>
              <a:ext cx="121728" cy="46051"/>
            </a:xfrm>
            <a:custGeom>
              <a:avLst/>
              <a:gdLst/>
              <a:ahLst/>
              <a:cxnLst>
                <a:cxn ang="0">
                  <a:pos x="wd2" y="hd2"/>
                </a:cxn>
                <a:cxn ang="5400000">
                  <a:pos x="wd2" y="hd2"/>
                </a:cxn>
                <a:cxn ang="10800000">
                  <a:pos x="wd2" y="hd2"/>
                </a:cxn>
                <a:cxn ang="16200000">
                  <a:pos x="wd2" y="hd2"/>
                </a:cxn>
              </a:cxnLst>
              <a:rect l="0" t="0" r="r" b="b"/>
              <a:pathLst>
                <a:path w="18870" h="18437" extrusionOk="0">
                  <a:moveTo>
                    <a:pt x="692" y="13037"/>
                  </a:moveTo>
                  <a:cubicBezTo>
                    <a:pt x="3778" y="13037"/>
                    <a:pt x="4806" y="13037"/>
                    <a:pt x="6864" y="13037"/>
                  </a:cubicBezTo>
                  <a:cubicBezTo>
                    <a:pt x="8921" y="15737"/>
                    <a:pt x="10978" y="15737"/>
                    <a:pt x="13035" y="18437"/>
                  </a:cubicBezTo>
                  <a:cubicBezTo>
                    <a:pt x="15092" y="18437"/>
                    <a:pt x="17149" y="18437"/>
                    <a:pt x="18178" y="15737"/>
                  </a:cubicBezTo>
                  <a:cubicBezTo>
                    <a:pt x="20235" y="13037"/>
                    <a:pt x="17149" y="10337"/>
                    <a:pt x="16121" y="7637"/>
                  </a:cubicBezTo>
                  <a:cubicBezTo>
                    <a:pt x="13035" y="2237"/>
                    <a:pt x="9949" y="-3163"/>
                    <a:pt x="5835" y="2237"/>
                  </a:cubicBezTo>
                  <a:cubicBezTo>
                    <a:pt x="3778" y="4937"/>
                    <a:pt x="3778" y="7637"/>
                    <a:pt x="2749" y="10337"/>
                  </a:cubicBezTo>
                  <a:cubicBezTo>
                    <a:pt x="1721" y="10337"/>
                    <a:pt x="-1365" y="13037"/>
                    <a:pt x="692" y="1303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 name="Shape 1835">
              <a:extLst>
                <a:ext uri="{FF2B5EF4-FFF2-40B4-BE49-F238E27FC236}">
                  <a16:creationId xmlns:a16="http://schemas.microsoft.com/office/drawing/2014/main" id="{866B1C56-FA97-277D-3B06-494BAF4FD461}"/>
                </a:ext>
              </a:extLst>
            </p:cNvPr>
            <p:cNvSpPr/>
            <p:nvPr/>
          </p:nvSpPr>
          <p:spPr>
            <a:xfrm>
              <a:off x="10069457" y="693349"/>
              <a:ext cx="34058" cy="26011"/>
            </a:xfrm>
            <a:custGeom>
              <a:avLst/>
              <a:gdLst/>
              <a:ahLst/>
              <a:cxnLst>
                <a:cxn ang="0">
                  <a:pos x="wd2" y="hd2"/>
                </a:cxn>
                <a:cxn ang="5400000">
                  <a:pos x="wd2" y="hd2"/>
                </a:cxn>
                <a:cxn ang="10800000">
                  <a:pos x="wd2" y="hd2"/>
                </a:cxn>
                <a:cxn ang="16200000">
                  <a:pos x="wd2" y="hd2"/>
                </a:cxn>
              </a:cxnLst>
              <a:rect l="0" t="0" r="r" b="b"/>
              <a:pathLst>
                <a:path w="13639" h="17851" extrusionOk="0">
                  <a:moveTo>
                    <a:pt x="4891" y="17851"/>
                  </a:moveTo>
                  <a:cubicBezTo>
                    <a:pt x="-3209" y="17851"/>
                    <a:pt x="-509" y="-3749"/>
                    <a:pt x="7591" y="571"/>
                  </a:cubicBezTo>
                  <a:cubicBezTo>
                    <a:pt x="18391" y="4891"/>
                    <a:pt x="12991" y="13531"/>
                    <a:pt x="4891" y="17851"/>
                  </a:cubicBezTo>
                  <a:cubicBezTo>
                    <a:pt x="-509" y="17851"/>
                    <a:pt x="10291" y="17851"/>
                    <a:pt x="4891" y="1785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 name="Shape 1836">
              <a:extLst>
                <a:ext uri="{FF2B5EF4-FFF2-40B4-BE49-F238E27FC236}">
                  <a16:creationId xmlns:a16="http://schemas.microsoft.com/office/drawing/2014/main" id="{7E54376E-59DC-EBB9-F51F-51B25CFC8A03}"/>
                </a:ext>
              </a:extLst>
            </p:cNvPr>
            <p:cNvSpPr/>
            <p:nvPr/>
          </p:nvSpPr>
          <p:spPr>
            <a:xfrm>
              <a:off x="9921351" y="598376"/>
              <a:ext cx="16482" cy="28816"/>
            </a:xfrm>
            <a:custGeom>
              <a:avLst/>
              <a:gdLst/>
              <a:ahLst/>
              <a:cxnLst>
                <a:cxn ang="0">
                  <a:pos x="wd2" y="hd2"/>
                </a:cxn>
                <a:cxn ang="5400000">
                  <a:pos x="wd2" y="hd2"/>
                </a:cxn>
                <a:cxn ang="10800000">
                  <a:pos x="wd2" y="hd2"/>
                </a:cxn>
                <a:cxn ang="16200000">
                  <a:pos x="wd2" y="hd2"/>
                </a:cxn>
              </a:cxnLst>
              <a:rect l="0" t="0" r="r" b="b"/>
              <a:pathLst>
                <a:path w="17600" h="18457" extrusionOk="0">
                  <a:moveTo>
                    <a:pt x="3200" y="9817"/>
                  </a:moveTo>
                  <a:cubicBezTo>
                    <a:pt x="-4000" y="5497"/>
                    <a:pt x="10400" y="-3143"/>
                    <a:pt x="17600" y="1177"/>
                  </a:cubicBezTo>
                  <a:cubicBezTo>
                    <a:pt x="17600" y="5497"/>
                    <a:pt x="10400" y="18457"/>
                    <a:pt x="3200" y="18457"/>
                  </a:cubicBezTo>
                  <a:cubicBezTo>
                    <a:pt x="3200" y="18457"/>
                    <a:pt x="3200" y="9817"/>
                    <a:pt x="3200" y="9817"/>
                  </a:cubicBezTo>
                  <a:cubicBezTo>
                    <a:pt x="-4000" y="5497"/>
                    <a:pt x="3200" y="9817"/>
                    <a:pt x="3200" y="98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 name="Shape 1837">
              <a:extLst>
                <a:ext uri="{FF2B5EF4-FFF2-40B4-BE49-F238E27FC236}">
                  <a16:creationId xmlns:a16="http://schemas.microsoft.com/office/drawing/2014/main" id="{C1D8D12B-6327-98BF-5509-653A2AD965D2}"/>
                </a:ext>
              </a:extLst>
            </p:cNvPr>
            <p:cNvSpPr/>
            <p:nvPr/>
          </p:nvSpPr>
          <p:spPr>
            <a:xfrm>
              <a:off x="9917607" y="697768"/>
              <a:ext cx="26970" cy="22673"/>
            </a:xfrm>
            <a:custGeom>
              <a:avLst/>
              <a:gdLst/>
              <a:ahLst/>
              <a:cxnLst>
                <a:cxn ang="0">
                  <a:pos x="wd2" y="hd2"/>
                </a:cxn>
                <a:cxn ang="5400000">
                  <a:pos x="wd2" y="hd2"/>
                </a:cxn>
                <a:cxn ang="10800000">
                  <a:pos x="wd2" y="hd2"/>
                </a:cxn>
                <a:cxn ang="16200000">
                  <a:pos x="wd2" y="hd2"/>
                </a:cxn>
              </a:cxnLst>
              <a:rect l="0" t="0" r="r" b="b"/>
              <a:pathLst>
                <a:path w="21600" h="14523" extrusionOk="0">
                  <a:moveTo>
                    <a:pt x="21600" y="13829"/>
                  </a:moveTo>
                  <a:cubicBezTo>
                    <a:pt x="21600" y="9509"/>
                    <a:pt x="5400" y="-3451"/>
                    <a:pt x="0" y="869"/>
                  </a:cubicBezTo>
                  <a:cubicBezTo>
                    <a:pt x="0" y="869"/>
                    <a:pt x="16200" y="18149"/>
                    <a:pt x="21600" y="138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 name="Shape 1838">
              <a:extLst>
                <a:ext uri="{FF2B5EF4-FFF2-40B4-BE49-F238E27FC236}">
                  <a16:creationId xmlns:a16="http://schemas.microsoft.com/office/drawing/2014/main" id="{95C9D4DD-BEA7-E2C3-C4C2-D37BF53D3C84}"/>
                </a:ext>
              </a:extLst>
            </p:cNvPr>
            <p:cNvSpPr/>
            <p:nvPr/>
          </p:nvSpPr>
          <p:spPr>
            <a:xfrm>
              <a:off x="9967817" y="568743"/>
              <a:ext cx="273418" cy="101788"/>
            </a:xfrm>
            <a:custGeom>
              <a:avLst/>
              <a:gdLst/>
              <a:ahLst/>
              <a:cxnLst>
                <a:cxn ang="0">
                  <a:pos x="wd2" y="hd2"/>
                </a:cxn>
                <a:cxn ang="5400000">
                  <a:pos x="wd2" y="hd2"/>
                </a:cxn>
                <a:cxn ang="10800000">
                  <a:pos x="wd2" y="hd2"/>
                </a:cxn>
                <a:cxn ang="16200000">
                  <a:pos x="wd2" y="hd2"/>
                </a:cxn>
              </a:cxnLst>
              <a:rect l="0" t="0" r="r" b="b"/>
              <a:pathLst>
                <a:path w="21192" h="20809" extrusionOk="0">
                  <a:moveTo>
                    <a:pt x="17078" y="5400"/>
                  </a:moveTo>
                  <a:cubicBezTo>
                    <a:pt x="16049" y="4050"/>
                    <a:pt x="15535" y="5400"/>
                    <a:pt x="14506" y="4050"/>
                  </a:cubicBezTo>
                  <a:cubicBezTo>
                    <a:pt x="14506" y="4050"/>
                    <a:pt x="11935" y="0"/>
                    <a:pt x="11421" y="0"/>
                  </a:cubicBezTo>
                  <a:cubicBezTo>
                    <a:pt x="11421" y="0"/>
                    <a:pt x="11935" y="1350"/>
                    <a:pt x="10906" y="2700"/>
                  </a:cubicBezTo>
                  <a:cubicBezTo>
                    <a:pt x="9878" y="2700"/>
                    <a:pt x="10906" y="6750"/>
                    <a:pt x="9878" y="8100"/>
                  </a:cubicBezTo>
                  <a:cubicBezTo>
                    <a:pt x="9363" y="8100"/>
                    <a:pt x="5763" y="1350"/>
                    <a:pt x="5249" y="1350"/>
                  </a:cubicBezTo>
                  <a:cubicBezTo>
                    <a:pt x="4221" y="0"/>
                    <a:pt x="1649" y="1350"/>
                    <a:pt x="1649" y="4050"/>
                  </a:cubicBezTo>
                  <a:cubicBezTo>
                    <a:pt x="1649" y="6750"/>
                    <a:pt x="-408" y="5400"/>
                    <a:pt x="621" y="8100"/>
                  </a:cubicBezTo>
                  <a:cubicBezTo>
                    <a:pt x="1135" y="9450"/>
                    <a:pt x="-408" y="12150"/>
                    <a:pt x="106" y="13500"/>
                  </a:cubicBezTo>
                  <a:cubicBezTo>
                    <a:pt x="1135" y="16200"/>
                    <a:pt x="2678" y="17550"/>
                    <a:pt x="4221" y="18900"/>
                  </a:cubicBezTo>
                  <a:cubicBezTo>
                    <a:pt x="4735" y="20250"/>
                    <a:pt x="5763" y="21600"/>
                    <a:pt x="6278" y="20250"/>
                  </a:cubicBezTo>
                  <a:cubicBezTo>
                    <a:pt x="6792" y="20250"/>
                    <a:pt x="6792" y="16200"/>
                    <a:pt x="7306" y="17550"/>
                  </a:cubicBezTo>
                  <a:cubicBezTo>
                    <a:pt x="7306" y="17550"/>
                    <a:pt x="7306" y="18900"/>
                    <a:pt x="7821" y="18900"/>
                  </a:cubicBezTo>
                  <a:cubicBezTo>
                    <a:pt x="8335" y="18900"/>
                    <a:pt x="8849" y="18900"/>
                    <a:pt x="8849" y="18900"/>
                  </a:cubicBezTo>
                  <a:cubicBezTo>
                    <a:pt x="9878" y="17550"/>
                    <a:pt x="10906" y="17550"/>
                    <a:pt x="12449" y="16200"/>
                  </a:cubicBezTo>
                  <a:cubicBezTo>
                    <a:pt x="13478" y="16200"/>
                    <a:pt x="13478" y="18900"/>
                    <a:pt x="13992" y="18900"/>
                  </a:cubicBezTo>
                  <a:cubicBezTo>
                    <a:pt x="14506" y="18900"/>
                    <a:pt x="17078" y="17550"/>
                    <a:pt x="17078" y="17550"/>
                  </a:cubicBezTo>
                  <a:cubicBezTo>
                    <a:pt x="17078" y="17550"/>
                    <a:pt x="16563" y="16200"/>
                    <a:pt x="16563" y="16200"/>
                  </a:cubicBezTo>
                  <a:cubicBezTo>
                    <a:pt x="16563" y="14850"/>
                    <a:pt x="18106" y="16200"/>
                    <a:pt x="18621" y="16200"/>
                  </a:cubicBezTo>
                  <a:cubicBezTo>
                    <a:pt x="18621" y="16200"/>
                    <a:pt x="19649" y="16200"/>
                    <a:pt x="19649" y="14850"/>
                  </a:cubicBezTo>
                  <a:cubicBezTo>
                    <a:pt x="19649" y="13500"/>
                    <a:pt x="20163" y="12150"/>
                    <a:pt x="20163" y="12150"/>
                  </a:cubicBezTo>
                  <a:cubicBezTo>
                    <a:pt x="20163" y="12150"/>
                    <a:pt x="20163" y="12150"/>
                    <a:pt x="19649" y="12150"/>
                  </a:cubicBezTo>
                  <a:cubicBezTo>
                    <a:pt x="19649" y="10800"/>
                    <a:pt x="21192" y="9450"/>
                    <a:pt x="21192" y="8100"/>
                  </a:cubicBezTo>
                  <a:cubicBezTo>
                    <a:pt x="20678" y="6750"/>
                    <a:pt x="18106" y="5400"/>
                    <a:pt x="17078" y="5400"/>
                  </a:cubicBezTo>
                  <a:cubicBezTo>
                    <a:pt x="16049" y="4050"/>
                    <a:pt x="18106" y="5400"/>
                    <a:pt x="17078" y="5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 name="Shape 1839">
              <a:extLst>
                <a:ext uri="{FF2B5EF4-FFF2-40B4-BE49-F238E27FC236}">
                  <a16:creationId xmlns:a16="http://schemas.microsoft.com/office/drawing/2014/main" id="{08E5F108-3927-1595-251C-3247BA07FC2B}"/>
                </a:ext>
              </a:extLst>
            </p:cNvPr>
            <p:cNvSpPr/>
            <p:nvPr/>
          </p:nvSpPr>
          <p:spPr>
            <a:xfrm>
              <a:off x="10139183" y="600215"/>
              <a:ext cx="28171" cy="45213"/>
            </a:xfrm>
            <a:custGeom>
              <a:avLst/>
              <a:gdLst/>
              <a:ahLst/>
              <a:cxnLst>
                <a:cxn ang="0">
                  <a:pos x="wd2" y="hd2"/>
                </a:cxn>
                <a:cxn ang="5400000">
                  <a:pos x="wd2" y="hd2"/>
                </a:cxn>
                <a:cxn ang="10800000">
                  <a:pos x="wd2" y="hd2"/>
                </a:cxn>
                <a:cxn ang="16200000">
                  <a:pos x="wd2" y="hd2"/>
                </a:cxn>
              </a:cxnLst>
              <a:rect l="0" t="0" r="r" b="b"/>
              <a:pathLst>
                <a:path w="11772" h="18101" extrusionOk="0">
                  <a:moveTo>
                    <a:pt x="11772" y="16200"/>
                  </a:moveTo>
                  <a:cubicBezTo>
                    <a:pt x="9072" y="18900"/>
                    <a:pt x="-7128" y="2700"/>
                    <a:pt x="3672" y="0"/>
                  </a:cubicBezTo>
                  <a:cubicBezTo>
                    <a:pt x="6372" y="0"/>
                    <a:pt x="14472" y="0"/>
                    <a:pt x="9072" y="5400"/>
                  </a:cubicBezTo>
                  <a:cubicBezTo>
                    <a:pt x="972" y="10800"/>
                    <a:pt x="11772" y="10800"/>
                    <a:pt x="11772" y="16200"/>
                  </a:cubicBezTo>
                  <a:cubicBezTo>
                    <a:pt x="9072" y="21600"/>
                    <a:pt x="11772" y="13500"/>
                    <a:pt x="11772"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 name="Shape 1840">
              <a:extLst>
                <a:ext uri="{FF2B5EF4-FFF2-40B4-BE49-F238E27FC236}">
                  <a16:creationId xmlns:a16="http://schemas.microsoft.com/office/drawing/2014/main" id="{DB49290B-69D2-7290-392C-41DC6B9F7726}"/>
                </a:ext>
              </a:extLst>
            </p:cNvPr>
            <p:cNvSpPr/>
            <p:nvPr/>
          </p:nvSpPr>
          <p:spPr>
            <a:xfrm>
              <a:off x="10989102" y="961390"/>
              <a:ext cx="49146" cy="26954"/>
            </a:xfrm>
            <a:custGeom>
              <a:avLst/>
              <a:gdLst/>
              <a:ahLst/>
              <a:cxnLst>
                <a:cxn ang="0">
                  <a:pos x="wd2" y="hd2"/>
                </a:cxn>
                <a:cxn ang="5400000">
                  <a:pos x="wd2" y="hd2"/>
                </a:cxn>
                <a:cxn ang="10800000">
                  <a:pos x="wd2" y="hd2"/>
                </a:cxn>
                <a:cxn ang="16200000">
                  <a:pos x="wd2" y="hd2"/>
                </a:cxn>
              </a:cxnLst>
              <a:rect l="0" t="0" r="r" b="b"/>
              <a:pathLst>
                <a:path w="14761" h="14388" extrusionOk="0">
                  <a:moveTo>
                    <a:pt x="4698" y="12400"/>
                  </a:moveTo>
                  <a:cubicBezTo>
                    <a:pt x="771" y="8800"/>
                    <a:pt x="-1193" y="8800"/>
                    <a:pt x="771" y="1600"/>
                  </a:cubicBezTo>
                  <a:cubicBezTo>
                    <a:pt x="2734" y="-2000"/>
                    <a:pt x="6662" y="1600"/>
                    <a:pt x="10589" y="1600"/>
                  </a:cubicBezTo>
                  <a:cubicBezTo>
                    <a:pt x="20407" y="5200"/>
                    <a:pt x="10589" y="19600"/>
                    <a:pt x="4698" y="12400"/>
                  </a:cubicBezTo>
                  <a:cubicBezTo>
                    <a:pt x="2734" y="8800"/>
                    <a:pt x="6662" y="16000"/>
                    <a:pt x="4698" y="1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 name="Shape 1841">
              <a:extLst>
                <a:ext uri="{FF2B5EF4-FFF2-40B4-BE49-F238E27FC236}">
                  <a16:creationId xmlns:a16="http://schemas.microsoft.com/office/drawing/2014/main" id="{F48E093A-4A63-627A-A303-12F002538A99}"/>
                </a:ext>
              </a:extLst>
            </p:cNvPr>
            <p:cNvSpPr/>
            <p:nvPr/>
          </p:nvSpPr>
          <p:spPr>
            <a:xfrm>
              <a:off x="10845786" y="1541374"/>
              <a:ext cx="36708" cy="25120"/>
            </a:xfrm>
            <a:custGeom>
              <a:avLst/>
              <a:gdLst/>
              <a:ahLst/>
              <a:cxnLst>
                <a:cxn ang="0">
                  <a:pos x="wd2" y="hd2"/>
                </a:cxn>
                <a:cxn ang="5400000">
                  <a:pos x="wd2" y="hd2"/>
                </a:cxn>
                <a:cxn ang="10800000">
                  <a:pos x="wd2" y="hd2"/>
                </a:cxn>
                <a:cxn ang="16200000">
                  <a:pos x="wd2" y="hd2"/>
                </a:cxn>
              </a:cxnLst>
              <a:rect l="0" t="0" r="r" b="b"/>
              <a:pathLst>
                <a:path w="19600" h="16090" extrusionOk="0">
                  <a:moveTo>
                    <a:pt x="18000" y="6240"/>
                  </a:moveTo>
                  <a:cubicBezTo>
                    <a:pt x="21600" y="6240"/>
                    <a:pt x="18000" y="1920"/>
                    <a:pt x="18000" y="1920"/>
                  </a:cubicBezTo>
                  <a:cubicBezTo>
                    <a:pt x="14400" y="-2400"/>
                    <a:pt x="10800" y="1920"/>
                    <a:pt x="7200" y="1920"/>
                  </a:cubicBezTo>
                  <a:cubicBezTo>
                    <a:pt x="3600" y="1920"/>
                    <a:pt x="0" y="6240"/>
                    <a:pt x="3600" y="10560"/>
                  </a:cubicBezTo>
                  <a:cubicBezTo>
                    <a:pt x="3600" y="10560"/>
                    <a:pt x="0" y="19200"/>
                    <a:pt x="0" y="14880"/>
                  </a:cubicBezTo>
                  <a:cubicBezTo>
                    <a:pt x="0" y="14880"/>
                    <a:pt x="18000" y="6240"/>
                    <a:pt x="18000" y="6240"/>
                  </a:cubicBezTo>
                  <a:cubicBezTo>
                    <a:pt x="21600" y="6240"/>
                    <a:pt x="10800" y="10560"/>
                    <a:pt x="18000" y="62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 name="Shape 1842">
              <a:extLst>
                <a:ext uri="{FF2B5EF4-FFF2-40B4-BE49-F238E27FC236}">
                  <a16:creationId xmlns:a16="http://schemas.microsoft.com/office/drawing/2014/main" id="{892817E5-0124-F838-7696-45F676120345}"/>
                </a:ext>
              </a:extLst>
            </p:cNvPr>
            <p:cNvSpPr/>
            <p:nvPr/>
          </p:nvSpPr>
          <p:spPr>
            <a:xfrm>
              <a:off x="9976759" y="1730955"/>
              <a:ext cx="20551" cy="17985"/>
            </a:xfrm>
            <a:custGeom>
              <a:avLst/>
              <a:gdLst/>
              <a:ahLst/>
              <a:cxnLst>
                <a:cxn ang="0">
                  <a:pos x="wd2" y="hd2"/>
                </a:cxn>
                <a:cxn ang="5400000">
                  <a:pos x="wd2" y="hd2"/>
                </a:cxn>
                <a:cxn ang="10800000">
                  <a:pos x="wd2" y="hd2"/>
                </a:cxn>
                <a:cxn ang="16200000">
                  <a:pos x="wd2" y="hd2"/>
                </a:cxn>
              </a:cxnLst>
              <a:rect l="0" t="0" r="r" b="b"/>
              <a:pathLst>
                <a:path w="13168" h="21600" extrusionOk="0">
                  <a:moveTo>
                    <a:pt x="8179" y="21600"/>
                  </a:moveTo>
                  <a:cubicBezTo>
                    <a:pt x="-461" y="21600"/>
                    <a:pt x="-4781" y="7200"/>
                    <a:pt x="8179" y="0"/>
                  </a:cubicBezTo>
                  <a:cubicBezTo>
                    <a:pt x="16819" y="0"/>
                    <a:pt x="12499" y="21600"/>
                    <a:pt x="8179"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 name="Shape 1843">
              <a:extLst>
                <a:ext uri="{FF2B5EF4-FFF2-40B4-BE49-F238E27FC236}">
                  <a16:creationId xmlns:a16="http://schemas.microsoft.com/office/drawing/2014/main" id="{5553745E-B3F1-9C87-8E8D-C18547B8B15C}"/>
                </a:ext>
              </a:extLst>
            </p:cNvPr>
            <p:cNvSpPr/>
            <p:nvPr/>
          </p:nvSpPr>
          <p:spPr>
            <a:xfrm>
              <a:off x="10568464" y="1933356"/>
              <a:ext cx="27861" cy="26894"/>
            </a:xfrm>
            <a:custGeom>
              <a:avLst/>
              <a:gdLst/>
              <a:ahLst/>
              <a:cxnLst>
                <a:cxn ang="0">
                  <a:pos x="wd2" y="hd2"/>
                </a:cxn>
                <a:cxn ang="5400000">
                  <a:pos x="wd2" y="hd2"/>
                </a:cxn>
                <a:cxn ang="10800000">
                  <a:pos x="wd2" y="hd2"/>
                </a:cxn>
                <a:cxn ang="16200000">
                  <a:pos x="wd2" y="hd2"/>
                </a:cxn>
              </a:cxnLst>
              <a:rect l="0" t="0" r="r" b="b"/>
              <a:pathLst>
                <a:path w="17851" h="18457" extrusionOk="0">
                  <a:moveTo>
                    <a:pt x="17851" y="1177"/>
                  </a:moveTo>
                  <a:cubicBezTo>
                    <a:pt x="17851" y="1177"/>
                    <a:pt x="-3749" y="18457"/>
                    <a:pt x="571" y="18457"/>
                  </a:cubicBezTo>
                  <a:cubicBezTo>
                    <a:pt x="4891" y="18457"/>
                    <a:pt x="13531" y="9817"/>
                    <a:pt x="13531" y="9817"/>
                  </a:cubicBezTo>
                  <a:cubicBezTo>
                    <a:pt x="17851" y="5497"/>
                    <a:pt x="17851" y="-3143"/>
                    <a:pt x="17851" y="117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 name="Shape 1844">
              <a:extLst>
                <a:ext uri="{FF2B5EF4-FFF2-40B4-BE49-F238E27FC236}">
                  <a16:creationId xmlns:a16="http://schemas.microsoft.com/office/drawing/2014/main" id="{53FCFDBF-D90D-0B10-9324-F0EEB760EC8C}"/>
                </a:ext>
              </a:extLst>
            </p:cNvPr>
            <p:cNvSpPr/>
            <p:nvPr/>
          </p:nvSpPr>
          <p:spPr>
            <a:xfrm>
              <a:off x="10546133" y="1980480"/>
              <a:ext cx="5995" cy="6745"/>
            </a:xfrm>
            <a:custGeom>
              <a:avLst/>
              <a:gdLst/>
              <a:ahLst/>
              <a:cxnLst>
                <a:cxn ang="0">
                  <a:pos x="wd2" y="hd2"/>
                </a:cxn>
                <a:cxn ang="5400000">
                  <a:pos x="wd2" y="hd2"/>
                </a:cxn>
                <a:cxn ang="10800000">
                  <a:pos x="wd2" y="hd2"/>
                </a:cxn>
                <a:cxn ang="16200000">
                  <a:pos x="wd2" y="hd2"/>
                </a:cxn>
              </a:cxnLst>
              <a:rect l="0" t="0" r="r" b="b"/>
              <a:pathLst>
                <a:path w="9600" h="21600" extrusionOk="0">
                  <a:moveTo>
                    <a:pt x="4800" y="0"/>
                  </a:moveTo>
                  <a:cubicBezTo>
                    <a:pt x="4800" y="0"/>
                    <a:pt x="-6000" y="21600"/>
                    <a:pt x="4800" y="21600"/>
                  </a:cubicBezTo>
                  <a:cubicBezTo>
                    <a:pt x="4800" y="21600"/>
                    <a:pt x="15600" y="0"/>
                    <a:pt x="4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 name="Shape 1845">
              <a:extLst>
                <a:ext uri="{FF2B5EF4-FFF2-40B4-BE49-F238E27FC236}">
                  <a16:creationId xmlns:a16="http://schemas.microsoft.com/office/drawing/2014/main" id="{48A61CFF-03EB-84C5-63E3-8372D7969768}"/>
                </a:ext>
              </a:extLst>
            </p:cNvPr>
            <p:cNvSpPr/>
            <p:nvPr/>
          </p:nvSpPr>
          <p:spPr>
            <a:xfrm>
              <a:off x="10455099" y="2086137"/>
              <a:ext cx="10518" cy="6744"/>
            </a:xfrm>
            <a:custGeom>
              <a:avLst/>
              <a:gdLst/>
              <a:ahLst/>
              <a:cxnLst>
                <a:cxn ang="0">
                  <a:pos x="wd2" y="hd2"/>
                </a:cxn>
                <a:cxn ang="5400000">
                  <a:pos x="wd2" y="hd2"/>
                </a:cxn>
                <a:cxn ang="10800000">
                  <a:pos x="wd2" y="hd2"/>
                </a:cxn>
                <a:cxn ang="16200000">
                  <a:pos x="wd2" y="hd2"/>
                </a:cxn>
              </a:cxnLst>
              <a:rect l="0" t="0" r="r" b="b"/>
              <a:pathLst>
                <a:path w="11232" h="21600" extrusionOk="0">
                  <a:moveTo>
                    <a:pt x="9216" y="0"/>
                  </a:moveTo>
                  <a:cubicBezTo>
                    <a:pt x="9216" y="0"/>
                    <a:pt x="-5184" y="21600"/>
                    <a:pt x="2016" y="21600"/>
                  </a:cubicBezTo>
                  <a:cubicBezTo>
                    <a:pt x="2016" y="21600"/>
                    <a:pt x="16416" y="0"/>
                    <a:pt x="9216"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 name="Shape 1846">
              <a:extLst>
                <a:ext uri="{FF2B5EF4-FFF2-40B4-BE49-F238E27FC236}">
                  <a16:creationId xmlns:a16="http://schemas.microsoft.com/office/drawing/2014/main" id="{78A858D9-D0B1-A9EC-193C-423F1E68C051}"/>
                </a:ext>
              </a:extLst>
            </p:cNvPr>
            <p:cNvSpPr/>
            <p:nvPr/>
          </p:nvSpPr>
          <p:spPr>
            <a:xfrm>
              <a:off x="10377440" y="2119857"/>
              <a:ext cx="35485" cy="21315"/>
            </a:xfrm>
            <a:custGeom>
              <a:avLst/>
              <a:gdLst/>
              <a:ahLst/>
              <a:cxnLst>
                <a:cxn ang="0">
                  <a:pos x="wd2" y="hd2"/>
                </a:cxn>
                <a:cxn ang="5400000">
                  <a:pos x="wd2" y="hd2"/>
                </a:cxn>
                <a:cxn ang="10800000">
                  <a:pos x="wd2" y="hd2"/>
                </a:cxn>
                <a:cxn ang="16200000">
                  <a:pos x="wd2" y="hd2"/>
                </a:cxn>
              </a:cxnLst>
              <a:rect l="0" t="0" r="r" b="b"/>
              <a:pathLst>
                <a:path w="16240" h="17067" extrusionOk="0">
                  <a:moveTo>
                    <a:pt x="15834" y="0"/>
                  </a:moveTo>
                  <a:cubicBezTo>
                    <a:pt x="12749" y="0"/>
                    <a:pt x="-2680" y="10800"/>
                    <a:pt x="406" y="16200"/>
                  </a:cubicBezTo>
                  <a:cubicBezTo>
                    <a:pt x="3491" y="21600"/>
                    <a:pt x="18920" y="0"/>
                    <a:pt x="1583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 name="Shape 1847">
              <a:extLst>
                <a:ext uri="{FF2B5EF4-FFF2-40B4-BE49-F238E27FC236}">
                  <a16:creationId xmlns:a16="http://schemas.microsoft.com/office/drawing/2014/main" id="{35F1E388-4D78-A238-82D3-E96709618578}"/>
                </a:ext>
              </a:extLst>
            </p:cNvPr>
            <p:cNvSpPr/>
            <p:nvPr/>
          </p:nvSpPr>
          <p:spPr>
            <a:xfrm>
              <a:off x="10325420" y="2146832"/>
              <a:ext cx="29143" cy="19540"/>
            </a:xfrm>
            <a:custGeom>
              <a:avLst/>
              <a:gdLst/>
              <a:ahLst/>
              <a:cxnLst>
                <a:cxn ang="0">
                  <a:pos x="wd2" y="hd2"/>
                </a:cxn>
                <a:cxn ang="5400000">
                  <a:pos x="wd2" y="hd2"/>
                </a:cxn>
                <a:cxn ang="10800000">
                  <a:pos x="wd2" y="hd2"/>
                </a:cxn>
                <a:cxn ang="16200000">
                  <a:pos x="wd2" y="hd2"/>
                </a:cxn>
              </a:cxnLst>
              <a:rect l="0" t="0" r="r" b="b"/>
              <a:pathLst>
                <a:path w="16476" h="17067" extrusionOk="0">
                  <a:moveTo>
                    <a:pt x="14876" y="0"/>
                  </a:moveTo>
                  <a:cubicBezTo>
                    <a:pt x="14876" y="0"/>
                    <a:pt x="-3124" y="10800"/>
                    <a:pt x="476" y="16200"/>
                  </a:cubicBezTo>
                  <a:cubicBezTo>
                    <a:pt x="4076" y="21600"/>
                    <a:pt x="14876" y="0"/>
                    <a:pt x="14876" y="0"/>
                  </a:cubicBezTo>
                  <a:cubicBezTo>
                    <a:pt x="14876" y="0"/>
                    <a:pt x="18476" y="0"/>
                    <a:pt x="14876"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 name="Shape 1848">
              <a:extLst>
                <a:ext uri="{FF2B5EF4-FFF2-40B4-BE49-F238E27FC236}">
                  <a16:creationId xmlns:a16="http://schemas.microsoft.com/office/drawing/2014/main" id="{802C57D1-5CED-E193-64BF-6F91484F572F}"/>
                </a:ext>
              </a:extLst>
            </p:cNvPr>
            <p:cNvSpPr/>
            <p:nvPr/>
          </p:nvSpPr>
          <p:spPr>
            <a:xfrm>
              <a:off x="10286182" y="2167064"/>
              <a:ext cx="29966" cy="26011"/>
            </a:xfrm>
            <a:custGeom>
              <a:avLst/>
              <a:gdLst/>
              <a:ahLst/>
              <a:cxnLst>
                <a:cxn ang="0">
                  <a:pos x="wd2" y="hd2"/>
                </a:cxn>
                <a:cxn ang="5400000">
                  <a:pos x="wd2" y="hd2"/>
                </a:cxn>
                <a:cxn ang="10800000">
                  <a:pos x="wd2" y="hd2"/>
                </a:cxn>
                <a:cxn ang="16200000">
                  <a:pos x="wd2" y="hd2"/>
                </a:cxn>
              </a:cxnLst>
              <a:rect l="0" t="0" r="r" b="b"/>
              <a:pathLst>
                <a:path w="19200" h="17851" extrusionOk="0">
                  <a:moveTo>
                    <a:pt x="17280" y="0"/>
                  </a:moveTo>
                  <a:cubicBezTo>
                    <a:pt x="17280" y="0"/>
                    <a:pt x="0" y="17280"/>
                    <a:pt x="0" y="17280"/>
                  </a:cubicBezTo>
                  <a:cubicBezTo>
                    <a:pt x="8640" y="21600"/>
                    <a:pt x="17280" y="0"/>
                    <a:pt x="17280" y="0"/>
                  </a:cubicBezTo>
                  <a:cubicBezTo>
                    <a:pt x="17280" y="0"/>
                    <a:pt x="21600" y="0"/>
                    <a:pt x="1728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 name="Shape 1849">
              <a:extLst>
                <a:ext uri="{FF2B5EF4-FFF2-40B4-BE49-F238E27FC236}">
                  <a16:creationId xmlns:a16="http://schemas.microsoft.com/office/drawing/2014/main" id="{4C058507-19AA-6919-43BC-ACA415E4E912}"/>
                </a:ext>
              </a:extLst>
            </p:cNvPr>
            <p:cNvSpPr/>
            <p:nvPr/>
          </p:nvSpPr>
          <p:spPr>
            <a:xfrm>
              <a:off x="10281126" y="2212023"/>
              <a:ext cx="5057" cy="6745"/>
            </a:xfrm>
            <a:custGeom>
              <a:avLst/>
              <a:gdLst/>
              <a:ahLst/>
              <a:cxnLst>
                <a:cxn ang="0">
                  <a:pos x="wd2" y="hd2"/>
                </a:cxn>
                <a:cxn ang="5400000">
                  <a:pos x="wd2" y="hd2"/>
                </a:cxn>
                <a:cxn ang="10800000">
                  <a:pos x="wd2" y="hd2"/>
                </a:cxn>
                <a:cxn ang="16200000">
                  <a:pos x="wd2" y="hd2"/>
                </a:cxn>
              </a:cxnLst>
              <a:rect l="0" t="0" r="r" b="b"/>
              <a:pathLst>
                <a:path w="16200" h="21600" extrusionOk="0">
                  <a:moveTo>
                    <a:pt x="16200" y="0"/>
                  </a:moveTo>
                  <a:cubicBezTo>
                    <a:pt x="-5400" y="0"/>
                    <a:pt x="-5400" y="21600"/>
                    <a:pt x="16200" y="21600"/>
                  </a:cubicBezTo>
                  <a:cubicBezTo>
                    <a:pt x="16200" y="21600"/>
                    <a:pt x="16200" y="0"/>
                    <a:pt x="162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 name="Shape 1850">
              <a:extLst>
                <a:ext uri="{FF2B5EF4-FFF2-40B4-BE49-F238E27FC236}">
                  <a16:creationId xmlns:a16="http://schemas.microsoft.com/office/drawing/2014/main" id="{972BC973-B865-B83A-50E5-EB5905693CC1}"/>
                </a:ext>
              </a:extLst>
            </p:cNvPr>
            <p:cNvSpPr/>
            <p:nvPr/>
          </p:nvSpPr>
          <p:spPr>
            <a:xfrm>
              <a:off x="10245728" y="2188794"/>
              <a:ext cx="28916" cy="23230"/>
            </a:xfrm>
            <a:custGeom>
              <a:avLst/>
              <a:gdLst/>
              <a:ahLst/>
              <a:cxnLst>
                <a:cxn ang="0">
                  <a:pos x="wd2" y="hd2"/>
                </a:cxn>
                <a:cxn ang="5400000">
                  <a:pos x="wd2" y="hd2"/>
                </a:cxn>
                <a:cxn ang="10800000">
                  <a:pos x="wd2" y="hd2"/>
                </a:cxn>
                <a:cxn ang="16200000">
                  <a:pos x="wd2" y="hd2"/>
                </a:cxn>
              </a:cxnLst>
              <a:rect l="0" t="0" r="r" b="b"/>
              <a:pathLst>
                <a:path w="18527" h="18600" extrusionOk="0">
                  <a:moveTo>
                    <a:pt x="17280" y="2400"/>
                  </a:moveTo>
                  <a:cubicBezTo>
                    <a:pt x="8640" y="7800"/>
                    <a:pt x="0" y="13200"/>
                    <a:pt x="0" y="18600"/>
                  </a:cubicBezTo>
                  <a:cubicBezTo>
                    <a:pt x="0" y="18600"/>
                    <a:pt x="17280" y="2400"/>
                    <a:pt x="17280" y="2400"/>
                  </a:cubicBezTo>
                  <a:cubicBezTo>
                    <a:pt x="12960" y="2400"/>
                    <a:pt x="21600" y="-3000"/>
                    <a:pt x="17280" y="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 name="Shape 1851">
              <a:extLst>
                <a:ext uri="{FF2B5EF4-FFF2-40B4-BE49-F238E27FC236}">
                  <a16:creationId xmlns:a16="http://schemas.microsoft.com/office/drawing/2014/main" id="{87AC36D2-8AD3-B1DF-CDE5-09D92B80C1B5}"/>
                </a:ext>
              </a:extLst>
            </p:cNvPr>
            <p:cNvSpPr/>
            <p:nvPr/>
          </p:nvSpPr>
          <p:spPr>
            <a:xfrm>
              <a:off x="10006754" y="2430079"/>
              <a:ext cx="8054" cy="20232"/>
            </a:xfrm>
            <a:custGeom>
              <a:avLst/>
              <a:gdLst/>
              <a:ahLst/>
              <a:cxnLst>
                <a:cxn ang="0">
                  <a:pos x="wd2" y="hd2"/>
                </a:cxn>
                <a:cxn ang="5400000">
                  <a:pos x="wd2" y="hd2"/>
                </a:cxn>
                <a:cxn ang="10800000">
                  <a:pos x="wd2" y="hd2"/>
                </a:cxn>
                <a:cxn ang="16200000">
                  <a:pos x="wd2" y="hd2"/>
                </a:cxn>
              </a:cxnLst>
              <a:rect l="0" t="0" r="r" b="b"/>
              <a:pathLst>
                <a:path w="12900" h="21600" extrusionOk="0">
                  <a:moveTo>
                    <a:pt x="4800" y="0"/>
                  </a:moveTo>
                  <a:cubicBezTo>
                    <a:pt x="4800" y="0"/>
                    <a:pt x="-6000" y="21600"/>
                    <a:pt x="4800" y="21600"/>
                  </a:cubicBezTo>
                  <a:cubicBezTo>
                    <a:pt x="15600" y="21600"/>
                    <a:pt x="15600" y="0"/>
                    <a:pt x="4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 name="Shape 1852">
              <a:extLst>
                <a:ext uri="{FF2B5EF4-FFF2-40B4-BE49-F238E27FC236}">
                  <a16:creationId xmlns:a16="http://schemas.microsoft.com/office/drawing/2014/main" id="{E8674A2F-08D8-72CD-61EA-AC926529CC97}"/>
                </a:ext>
              </a:extLst>
            </p:cNvPr>
            <p:cNvSpPr/>
            <p:nvPr/>
          </p:nvSpPr>
          <p:spPr>
            <a:xfrm>
              <a:off x="10055379" y="2152357"/>
              <a:ext cx="197093" cy="160542"/>
            </a:xfrm>
            <a:custGeom>
              <a:avLst/>
              <a:gdLst/>
              <a:ahLst/>
              <a:cxnLst>
                <a:cxn ang="0">
                  <a:pos x="wd2" y="hd2"/>
                </a:cxn>
                <a:cxn ang="5400000">
                  <a:pos x="wd2" y="hd2"/>
                </a:cxn>
                <a:cxn ang="10800000">
                  <a:pos x="wd2" y="hd2"/>
                </a:cxn>
                <a:cxn ang="16200000">
                  <a:pos x="wd2" y="hd2"/>
                </a:cxn>
              </a:cxnLst>
              <a:rect l="0" t="0" r="r" b="b"/>
              <a:pathLst>
                <a:path w="21048" h="20297" extrusionOk="0">
                  <a:moveTo>
                    <a:pt x="18958" y="7609"/>
                  </a:moveTo>
                  <a:cubicBezTo>
                    <a:pt x="18958" y="7609"/>
                    <a:pt x="19654" y="5947"/>
                    <a:pt x="19654" y="5116"/>
                  </a:cubicBezTo>
                  <a:cubicBezTo>
                    <a:pt x="19654" y="5947"/>
                    <a:pt x="18261" y="7609"/>
                    <a:pt x="18261" y="7609"/>
                  </a:cubicBezTo>
                  <a:cubicBezTo>
                    <a:pt x="16867" y="7609"/>
                    <a:pt x="14080" y="6778"/>
                    <a:pt x="13383" y="5947"/>
                  </a:cubicBezTo>
                  <a:cubicBezTo>
                    <a:pt x="11293" y="5116"/>
                    <a:pt x="9900" y="963"/>
                    <a:pt x="7113" y="132"/>
                  </a:cubicBezTo>
                  <a:cubicBezTo>
                    <a:pt x="5719" y="-699"/>
                    <a:pt x="6416" y="2624"/>
                    <a:pt x="7113" y="3455"/>
                  </a:cubicBezTo>
                  <a:cubicBezTo>
                    <a:pt x="7113" y="5116"/>
                    <a:pt x="6416" y="6778"/>
                    <a:pt x="5719" y="8439"/>
                  </a:cubicBezTo>
                  <a:cubicBezTo>
                    <a:pt x="5022" y="9270"/>
                    <a:pt x="6416" y="11763"/>
                    <a:pt x="4325" y="10932"/>
                  </a:cubicBezTo>
                  <a:cubicBezTo>
                    <a:pt x="4325" y="10932"/>
                    <a:pt x="2932" y="10101"/>
                    <a:pt x="2235" y="10932"/>
                  </a:cubicBezTo>
                  <a:cubicBezTo>
                    <a:pt x="2235" y="11763"/>
                    <a:pt x="2932" y="12593"/>
                    <a:pt x="2932" y="12593"/>
                  </a:cubicBezTo>
                  <a:cubicBezTo>
                    <a:pt x="2932" y="12593"/>
                    <a:pt x="842" y="14255"/>
                    <a:pt x="145" y="14255"/>
                  </a:cubicBezTo>
                  <a:cubicBezTo>
                    <a:pt x="-552" y="15916"/>
                    <a:pt x="1538" y="16747"/>
                    <a:pt x="842" y="18409"/>
                  </a:cubicBezTo>
                  <a:cubicBezTo>
                    <a:pt x="145" y="19239"/>
                    <a:pt x="1538" y="20901"/>
                    <a:pt x="2235" y="20070"/>
                  </a:cubicBezTo>
                  <a:cubicBezTo>
                    <a:pt x="2932" y="19239"/>
                    <a:pt x="2932" y="18409"/>
                    <a:pt x="3629" y="18409"/>
                  </a:cubicBezTo>
                  <a:cubicBezTo>
                    <a:pt x="3629" y="18409"/>
                    <a:pt x="4325" y="19239"/>
                    <a:pt x="4325" y="18409"/>
                  </a:cubicBezTo>
                  <a:cubicBezTo>
                    <a:pt x="4325" y="17578"/>
                    <a:pt x="2932" y="16747"/>
                    <a:pt x="2235" y="15916"/>
                  </a:cubicBezTo>
                  <a:cubicBezTo>
                    <a:pt x="1538" y="14255"/>
                    <a:pt x="4325" y="15086"/>
                    <a:pt x="4325" y="15086"/>
                  </a:cubicBezTo>
                  <a:cubicBezTo>
                    <a:pt x="5719" y="15086"/>
                    <a:pt x="6416" y="13424"/>
                    <a:pt x="7809" y="14255"/>
                  </a:cubicBezTo>
                  <a:cubicBezTo>
                    <a:pt x="9203" y="15086"/>
                    <a:pt x="9900" y="15916"/>
                    <a:pt x="11293" y="16747"/>
                  </a:cubicBezTo>
                  <a:cubicBezTo>
                    <a:pt x="13383" y="18409"/>
                    <a:pt x="12687" y="13424"/>
                    <a:pt x="14080" y="12593"/>
                  </a:cubicBezTo>
                  <a:cubicBezTo>
                    <a:pt x="14080" y="12593"/>
                    <a:pt x="21048" y="12593"/>
                    <a:pt x="21048" y="10932"/>
                  </a:cubicBezTo>
                  <a:cubicBezTo>
                    <a:pt x="20351" y="10101"/>
                    <a:pt x="18261" y="11763"/>
                    <a:pt x="19654" y="9270"/>
                  </a:cubicBezTo>
                  <a:cubicBezTo>
                    <a:pt x="20351" y="8439"/>
                    <a:pt x="18261" y="9270"/>
                    <a:pt x="18958" y="7609"/>
                  </a:cubicBezTo>
                  <a:cubicBezTo>
                    <a:pt x="19654" y="5116"/>
                    <a:pt x="18958" y="8439"/>
                    <a:pt x="18958" y="760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 name="Shape 1853">
              <a:extLst>
                <a:ext uri="{FF2B5EF4-FFF2-40B4-BE49-F238E27FC236}">
                  <a16:creationId xmlns:a16="http://schemas.microsoft.com/office/drawing/2014/main" id="{3ECBEE39-0FDA-22F4-B9B3-C7FC9A5B5867}"/>
                </a:ext>
              </a:extLst>
            </p:cNvPr>
            <p:cNvSpPr/>
            <p:nvPr/>
          </p:nvSpPr>
          <p:spPr>
            <a:xfrm>
              <a:off x="9762550" y="2307859"/>
              <a:ext cx="364672" cy="306556"/>
            </a:xfrm>
            <a:custGeom>
              <a:avLst/>
              <a:gdLst/>
              <a:ahLst/>
              <a:cxnLst>
                <a:cxn ang="0">
                  <a:pos x="wd2" y="hd2"/>
                </a:cxn>
                <a:cxn ang="5400000">
                  <a:pos x="wd2" y="hd2"/>
                </a:cxn>
                <a:cxn ang="10800000">
                  <a:pos x="wd2" y="hd2"/>
                </a:cxn>
                <a:cxn ang="16200000">
                  <a:pos x="wd2" y="hd2"/>
                </a:cxn>
              </a:cxnLst>
              <a:rect l="0" t="0" r="r" b="b"/>
              <a:pathLst>
                <a:path w="21371" h="21345" extrusionOk="0">
                  <a:moveTo>
                    <a:pt x="19925" y="205"/>
                  </a:moveTo>
                  <a:cubicBezTo>
                    <a:pt x="19539" y="205"/>
                    <a:pt x="19539" y="-255"/>
                    <a:pt x="19539" y="205"/>
                  </a:cubicBezTo>
                  <a:cubicBezTo>
                    <a:pt x="18768" y="664"/>
                    <a:pt x="19539" y="664"/>
                    <a:pt x="19925" y="1124"/>
                  </a:cubicBezTo>
                  <a:cubicBezTo>
                    <a:pt x="20311" y="1583"/>
                    <a:pt x="19154" y="2043"/>
                    <a:pt x="18768" y="1124"/>
                  </a:cubicBezTo>
                  <a:cubicBezTo>
                    <a:pt x="18382" y="205"/>
                    <a:pt x="17997" y="1583"/>
                    <a:pt x="17997" y="2043"/>
                  </a:cubicBezTo>
                  <a:cubicBezTo>
                    <a:pt x="17611" y="2043"/>
                    <a:pt x="17225" y="2502"/>
                    <a:pt x="17225" y="2502"/>
                  </a:cubicBezTo>
                  <a:cubicBezTo>
                    <a:pt x="17225" y="3422"/>
                    <a:pt x="17611" y="2962"/>
                    <a:pt x="17611" y="2962"/>
                  </a:cubicBezTo>
                  <a:cubicBezTo>
                    <a:pt x="17611" y="3422"/>
                    <a:pt x="17611" y="3881"/>
                    <a:pt x="17611" y="4341"/>
                  </a:cubicBezTo>
                  <a:cubicBezTo>
                    <a:pt x="17611" y="4800"/>
                    <a:pt x="17997" y="4800"/>
                    <a:pt x="17611" y="5719"/>
                  </a:cubicBezTo>
                  <a:cubicBezTo>
                    <a:pt x="16839" y="7098"/>
                    <a:pt x="16454" y="8477"/>
                    <a:pt x="15682" y="9856"/>
                  </a:cubicBezTo>
                  <a:cubicBezTo>
                    <a:pt x="15297" y="10315"/>
                    <a:pt x="14139" y="12154"/>
                    <a:pt x="13754" y="12154"/>
                  </a:cubicBezTo>
                  <a:cubicBezTo>
                    <a:pt x="12982" y="12154"/>
                    <a:pt x="12211" y="12613"/>
                    <a:pt x="11825" y="12154"/>
                  </a:cubicBezTo>
                  <a:cubicBezTo>
                    <a:pt x="11439" y="11694"/>
                    <a:pt x="12211" y="11234"/>
                    <a:pt x="12211" y="10775"/>
                  </a:cubicBezTo>
                  <a:cubicBezTo>
                    <a:pt x="12597" y="10315"/>
                    <a:pt x="11439" y="11234"/>
                    <a:pt x="11439" y="11234"/>
                  </a:cubicBezTo>
                  <a:cubicBezTo>
                    <a:pt x="11054" y="11694"/>
                    <a:pt x="11054" y="11694"/>
                    <a:pt x="11054" y="12154"/>
                  </a:cubicBezTo>
                  <a:cubicBezTo>
                    <a:pt x="11054" y="13532"/>
                    <a:pt x="9897" y="13992"/>
                    <a:pt x="9511" y="14911"/>
                  </a:cubicBezTo>
                  <a:cubicBezTo>
                    <a:pt x="9511" y="14911"/>
                    <a:pt x="9511" y="15371"/>
                    <a:pt x="9511" y="15371"/>
                  </a:cubicBezTo>
                  <a:cubicBezTo>
                    <a:pt x="9511" y="15830"/>
                    <a:pt x="8739" y="16290"/>
                    <a:pt x="8739" y="16290"/>
                  </a:cubicBezTo>
                  <a:cubicBezTo>
                    <a:pt x="8354" y="16290"/>
                    <a:pt x="8739" y="15830"/>
                    <a:pt x="7968" y="15830"/>
                  </a:cubicBezTo>
                  <a:cubicBezTo>
                    <a:pt x="7582" y="15830"/>
                    <a:pt x="7197" y="15830"/>
                    <a:pt x="6425" y="15830"/>
                  </a:cubicBezTo>
                  <a:cubicBezTo>
                    <a:pt x="5268" y="16290"/>
                    <a:pt x="4497" y="15830"/>
                    <a:pt x="3339" y="16290"/>
                  </a:cubicBezTo>
                  <a:cubicBezTo>
                    <a:pt x="2568" y="17209"/>
                    <a:pt x="1411" y="18128"/>
                    <a:pt x="639" y="19047"/>
                  </a:cubicBezTo>
                  <a:cubicBezTo>
                    <a:pt x="-132" y="19047"/>
                    <a:pt x="-132" y="20426"/>
                    <a:pt x="254" y="19966"/>
                  </a:cubicBezTo>
                  <a:cubicBezTo>
                    <a:pt x="639" y="19966"/>
                    <a:pt x="639" y="19507"/>
                    <a:pt x="1025" y="19507"/>
                  </a:cubicBezTo>
                  <a:cubicBezTo>
                    <a:pt x="1411" y="19966"/>
                    <a:pt x="1797" y="20426"/>
                    <a:pt x="1797" y="19966"/>
                  </a:cubicBezTo>
                  <a:cubicBezTo>
                    <a:pt x="3725" y="19507"/>
                    <a:pt x="6425" y="17668"/>
                    <a:pt x="8354" y="18128"/>
                  </a:cubicBezTo>
                  <a:cubicBezTo>
                    <a:pt x="8739" y="18588"/>
                    <a:pt x="7968" y="19507"/>
                    <a:pt x="7968" y="19507"/>
                  </a:cubicBezTo>
                  <a:cubicBezTo>
                    <a:pt x="8354" y="19966"/>
                    <a:pt x="8739" y="21345"/>
                    <a:pt x="9125" y="21345"/>
                  </a:cubicBezTo>
                  <a:cubicBezTo>
                    <a:pt x="9511" y="20885"/>
                    <a:pt x="9897" y="20426"/>
                    <a:pt x="10282" y="19966"/>
                  </a:cubicBezTo>
                  <a:cubicBezTo>
                    <a:pt x="10668" y="19047"/>
                    <a:pt x="10668" y="19507"/>
                    <a:pt x="11439" y="19507"/>
                  </a:cubicBezTo>
                  <a:cubicBezTo>
                    <a:pt x="11054" y="19507"/>
                    <a:pt x="10668" y="15830"/>
                    <a:pt x="11825" y="18128"/>
                  </a:cubicBezTo>
                  <a:cubicBezTo>
                    <a:pt x="12211" y="19047"/>
                    <a:pt x="14139" y="18128"/>
                    <a:pt x="14525" y="17668"/>
                  </a:cubicBezTo>
                  <a:cubicBezTo>
                    <a:pt x="15297" y="16290"/>
                    <a:pt x="15297" y="19047"/>
                    <a:pt x="15682" y="18128"/>
                  </a:cubicBezTo>
                  <a:cubicBezTo>
                    <a:pt x="15682" y="17668"/>
                    <a:pt x="16068" y="16749"/>
                    <a:pt x="16454" y="16749"/>
                  </a:cubicBezTo>
                  <a:cubicBezTo>
                    <a:pt x="16839" y="16290"/>
                    <a:pt x="16839" y="16749"/>
                    <a:pt x="17225" y="15830"/>
                  </a:cubicBezTo>
                  <a:cubicBezTo>
                    <a:pt x="17225" y="15830"/>
                    <a:pt x="17225" y="17668"/>
                    <a:pt x="17611" y="17209"/>
                  </a:cubicBezTo>
                  <a:cubicBezTo>
                    <a:pt x="17611" y="17209"/>
                    <a:pt x="17997" y="17209"/>
                    <a:pt x="18382" y="16749"/>
                  </a:cubicBezTo>
                  <a:cubicBezTo>
                    <a:pt x="18768" y="16749"/>
                    <a:pt x="18382" y="16290"/>
                    <a:pt x="18768" y="15830"/>
                  </a:cubicBezTo>
                  <a:cubicBezTo>
                    <a:pt x="19539" y="15371"/>
                    <a:pt x="19539" y="15371"/>
                    <a:pt x="18768" y="14451"/>
                  </a:cubicBezTo>
                  <a:cubicBezTo>
                    <a:pt x="18382" y="13992"/>
                    <a:pt x="19539" y="12613"/>
                    <a:pt x="19539" y="11694"/>
                  </a:cubicBezTo>
                  <a:cubicBezTo>
                    <a:pt x="19925" y="10775"/>
                    <a:pt x="19154" y="9396"/>
                    <a:pt x="19539" y="8477"/>
                  </a:cubicBezTo>
                  <a:cubicBezTo>
                    <a:pt x="19925" y="8017"/>
                    <a:pt x="19925" y="8477"/>
                    <a:pt x="20311" y="8477"/>
                  </a:cubicBezTo>
                  <a:cubicBezTo>
                    <a:pt x="20697" y="8477"/>
                    <a:pt x="21082" y="7558"/>
                    <a:pt x="21082" y="7558"/>
                  </a:cubicBezTo>
                  <a:cubicBezTo>
                    <a:pt x="21468" y="6179"/>
                    <a:pt x="21468" y="4800"/>
                    <a:pt x="21082" y="3881"/>
                  </a:cubicBezTo>
                  <a:cubicBezTo>
                    <a:pt x="21082" y="3422"/>
                    <a:pt x="19925" y="205"/>
                    <a:pt x="19925" y="205"/>
                  </a:cubicBezTo>
                  <a:cubicBezTo>
                    <a:pt x="19925" y="205"/>
                    <a:pt x="19925" y="205"/>
                    <a:pt x="19925" y="20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 name="Shape 1854">
              <a:extLst>
                <a:ext uri="{FF2B5EF4-FFF2-40B4-BE49-F238E27FC236}">
                  <a16:creationId xmlns:a16="http://schemas.microsoft.com/office/drawing/2014/main" id="{718912D6-1691-401A-8A3A-97FE0E75D5C2}"/>
                </a:ext>
              </a:extLst>
            </p:cNvPr>
            <p:cNvSpPr/>
            <p:nvPr/>
          </p:nvSpPr>
          <p:spPr>
            <a:xfrm>
              <a:off x="9883895" y="2576198"/>
              <a:ext cx="13486" cy="11126"/>
            </a:xfrm>
            <a:custGeom>
              <a:avLst/>
              <a:gdLst/>
              <a:ahLst/>
              <a:cxnLst>
                <a:cxn ang="0">
                  <a:pos x="wd2" y="hd2"/>
                </a:cxn>
                <a:cxn ang="5400000">
                  <a:pos x="wd2" y="hd2"/>
                </a:cxn>
                <a:cxn ang="10800000">
                  <a:pos x="wd2" y="hd2"/>
                </a:cxn>
                <a:cxn ang="16200000">
                  <a:pos x="wd2" y="hd2"/>
                </a:cxn>
              </a:cxnLst>
              <a:rect l="0" t="0" r="r" b="b"/>
              <a:pathLst>
                <a:path w="21600" h="13361" extrusionOk="0">
                  <a:moveTo>
                    <a:pt x="21600" y="0"/>
                  </a:moveTo>
                  <a:cubicBezTo>
                    <a:pt x="21600" y="0"/>
                    <a:pt x="0" y="7200"/>
                    <a:pt x="0" y="7200"/>
                  </a:cubicBezTo>
                  <a:cubicBezTo>
                    <a:pt x="10800" y="21600"/>
                    <a:pt x="21600" y="720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 name="Shape 1855">
              <a:extLst>
                <a:ext uri="{FF2B5EF4-FFF2-40B4-BE49-F238E27FC236}">
                  <a16:creationId xmlns:a16="http://schemas.microsoft.com/office/drawing/2014/main" id="{BAC76541-A268-986F-AA9A-FCBEA6A82B44}"/>
                </a:ext>
              </a:extLst>
            </p:cNvPr>
            <p:cNvSpPr/>
            <p:nvPr/>
          </p:nvSpPr>
          <p:spPr>
            <a:xfrm>
              <a:off x="9805234" y="2583443"/>
              <a:ext cx="77885" cy="52475"/>
            </a:xfrm>
            <a:custGeom>
              <a:avLst/>
              <a:gdLst/>
              <a:ahLst/>
              <a:cxnLst>
                <a:cxn ang="0">
                  <a:pos x="wd2" y="hd2"/>
                </a:cxn>
                <a:cxn ang="5400000">
                  <a:pos x="wd2" y="hd2"/>
                </a:cxn>
                <a:cxn ang="10800000">
                  <a:pos x="wd2" y="hd2"/>
                </a:cxn>
                <a:cxn ang="16200000">
                  <a:pos x="wd2" y="hd2"/>
                </a:cxn>
              </a:cxnLst>
              <a:rect l="0" t="0" r="r" b="b"/>
              <a:pathLst>
                <a:path w="19699" h="17387" extrusionOk="0">
                  <a:moveTo>
                    <a:pt x="18277" y="1920"/>
                  </a:moveTo>
                  <a:cubicBezTo>
                    <a:pt x="14954" y="1920"/>
                    <a:pt x="14954" y="-2400"/>
                    <a:pt x="11631" y="1920"/>
                  </a:cubicBezTo>
                  <a:cubicBezTo>
                    <a:pt x="9969" y="1920"/>
                    <a:pt x="8308" y="6240"/>
                    <a:pt x="8308" y="4080"/>
                  </a:cubicBezTo>
                  <a:cubicBezTo>
                    <a:pt x="6646" y="1920"/>
                    <a:pt x="4985" y="6240"/>
                    <a:pt x="4985" y="6240"/>
                  </a:cubicBezTo>
                  <a:cubicBezTo>
                    <a:pt x="3323" y="10560"/>
                    <a:pt x="1662" y="8400"/>
                    <a:pt x="0" y="10560"/>
                  </a:cubicBezTo>
                  <a:cubicBezTo>
                    <a:pt x="0" y="8400"/>
                    <a:pt x="3323" y="17040"/>
                    <a:pt x="4985" y="17040"/>
                  </a:cubicBezTo>
                  <a:cubicBezTo>
                    <a:pt x="4985" y="19200"/>
                    <a:pt x="8308" y="10560"/>
                    <a:pt x="9969" y="10560"/>
                  </a:cubicBezTo>
                  <a:cubicBezTo>
                    <a:pt x="11631" y="10560"/>
                    <a:pt x="14954" y="12720"/>
                    <a:pt x="16615" y="10560"/>
                  </a:cubicBezTo>
                  <a:cubicBezTo>
                    <a:pt x="18277" y="10560"/>
                    <a:pt x="21600" y="4080"/>
                    <a:pt x="18277" y="1920"/>
                  </a:cubicBezTo>
                  <a:cubicBezTo>
                    <a:pt x="16615" y="1920"/>
                    <a:pt x="18277" y="1920"/>
                    <a:pt x="18277" y="19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 name="Shape 1856">
              <a:extLst>
                <a:ext uri="{FF2B5EF4-FFF2-40B4-BE49-F238E27FC236}">
                  <a16:creationId xmlns:a16="http://schemas.microsoft.com/office/drawing/2014/main" id="{48FAB244-D0FE-CE64-6EFF-7B036EE58E57}"/>
                </a:ext>
              </a:extLst>
            </p:cNvPr>
            <p:cNvSpPr/>
            <p:nvPr/>
          </p:nvSpPr>
          <p:spPr>
            <a:xfrm>
              <a:off x="9719835" y="2600928"/>
              <a:ext cx="71917" cy="100382"/>
            </a:xfrm>
            <a:custGeom>
              <a:avLst/>
              <a:gdLst/>
              <a:ahLst/>
              <a:cxnLst>
                <a:cxn ang="0">
                  <a:pos x="wd2" y="hd2"/>
                </a:cxn>
                <a:cxn ang="5400000">
                  <a:pos x="wd2" y="hd2"/>
                </a:cxn>
                <a:cxn ang="10800000">
                  <a:pos x="wd2" y="hd2"/>
                </a:cxn>
                <a:cxn ang="16200000">
                  <a:pos x="wd2" y="hd2"/>
                </a:cxn>
              </a:cxnLst>
              <a:rect l="0" t="0" r="r" b="b"/>
              <a:pathLst>
                <a:path w="21600" h="20522" extrusionOk="0">
                  <a:moveTo>
                    <a:pt x="13745" y="0"/>
                  </a:moveTo>
                  <a:cubicBezTo>
                    <a:pt x="9818" y="0"/>
                    <a:pt x="5891" y="1350"/>
                    <a:pt x="3927" y="2700"/>
                  </a:cubicBezTo>
                  <a:cubicBezTo>
                    <a:pt x="0" y="4050"/>
                    <a:pt x="0" y="5400"/>
                    <a:pt x="0" y="8100"/>
                  </a:cubicBezTo>
                  <a:cubicBezTo>
                    <a:pt x="0" y="6750"/>
                    <a:pt x="5891" y="6750"/>
                    <a:pt x="3927" y="8100"/>
                  </a:cubicBezTo>
                  <a:cubicBezTo>
                    <a:pt x="5891" y="6750"/>
                    <a:pt x="3927" y="5400"/>
                    <a:pt x="5891" y="5400"/>
                  </a:cubicBezTo>
                  <a:cubicBezTo>
                    <a:pt x="5891" y="5400"/>
                    <a:pt x="7855" y="5400"/>
                    <a:pt x="7855" y="6750"/>
                  </a:cubicBezTo>
                  <a:cubicBezTo>
                    <a:pt x="7855" y="9450"/>
                    <a:pt x="7855" y="10800"/>
                    <a:pt x="5891" y="13500"/>
                  </a:cubicBezTo>
                  <a:cubicBezTo>
                    <a:pt x="3927" y="14850"/>
                    <a:pt x="5891" y="14850"/>
                    <a:pt x="5891" y="14850"/>
                  </a:cubicBezTo>
                  <a:cubicBezTo>
                    <a:pt x="5891" y="16200"/>
                    <a:pt x="5891" y="17550"/>
                    <a:pt x="5891" y="17550"/>
                  </a:cubicBezTo>
                  <a:cubicBezTo>
                    <a:pt x="5891" y="21600"/>
                    <a:pt x="9818" y="16200"/>
                    <a:pt x="9818" y="16200"/>
                  </a:cubicBezTo>
                  <a:cubicBezTo>
                    <a:pt x="9818" y="16200"/>
                    <a:pt x="9818" y="20250"/>
                    <a:pt x="11782" y="20250"/>
                  </a:cubicBezTo>
                  <a:cubicBezTo>
                    <a:pt x="11782" y="21600"/>
                    <a:pt x="15709" y="17550"/>
                    <a:pt x="15709" y="16200"/>
                  </a:cubicBezTo>
                  <a:cubicBezTo>
                    <a:pt x="19636" y="13500"/>
                    <a:pt x="19636" y="10800"/>
                    <a:pt x="21600" y="9450"/>
                  </a:cubicBezTo>
                  <a:cubicBezTo>
                    <a:pt x="21600" y="6750"/>
                    <a:pt x="19636" y="5400"/>
                    <a:pt x="19636" y="2700"/>
                  </a:cubicBezTo>
                  <a:cubicBezTo>
                    <a:pt x="19636" y="0"/>
                    <a:pt x="13745" y="2700"/>
                    <a:pt x="13745"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 name="Shape 1857">
              <a:extLst>
                <a:ext uri="{FF2B5EF4-FFF2-40B4-BE49-F238E27FC236}">
                  <a16:creationId xmlns:a16="http://schemas.microsoft.com/office/drawing/2014/main" id="{731B4650-DD96-FE65-10AD-9ED4F92B63AF}"/>
                </a:ext>
              </a:extLst>
            </p:cNvPr>
            <p:cNvSpPr/>
            <p:nvPr/>
          </p:nvSpPr>
          <p:spPr>
            <a:xfrm>
              <a:off x="9652854" y="2859449"/>
              <a:ext cx="19787" cy="20232"/>
            </a:xfrm>
            <a:custGeom>
              <a:avLst/>
              <a:gdLst/>
              <a:ahLst/>
              <a:cxnLst>
                <a:cxn ang="0">
                  <a:pos x="wd2" y="hd2"/>
                </a:cxn>
                <a:cxn ang="5400000">
                  <a:pos x="wd2" y="hd2"/>
                </a:cxn>
                <a:cxn ang="10800000">
                  <a:pos x="wd2" y="hd2"/>
                </a:cxn>
                <a:cxn ang="16200000">
                  <a:pos x="wd2" y="hd2"/>
                </a:cxn>
              </a:cxnLst>
              <a:rect l="0" t="0" r="r" b="b"/>
              <a:pathLst>
                <a:path w="17287" h="21600" extrusionOk="0">
                  <a:moveTo>
                    <a:pt x="17287" y="0"/>
                  </a:moveTo>
                  <a:cubicBezTo>
                    <a:pt x="11887" y="0"/>
                    <a:pt x="-4313" y="7200"/>
                    <a:pt x="1087" y="21600"/>
                  </a:cubicBezTo>
                  <a:cubicBezTo>
                    <a:pt x="1087" y="21600"/>
                    <a:pt x="17287" y="0"/>
                    <a:pt x="17287"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 name="Shape 1858">
              <a:extLst>
                <a:ext uri="{FF2B5EF4-FFF2-40B4-BE49-F238E27FC236}">
                  <a16:creationId xmlns:a16="http://schemas.microsoft.com/office/drawing/2014/main" id="{381B911D-E7FB-4AAA-AD8E-DBE5CD3EE522}"/>
                </a:ext>
              </a:extLst>
            </p:cNvPr>
            <p:cNvSpPr/>
            <p:nvPr/>
          </p:nvSpPr>
          <p:spPr>
            <a:xfrm>
              <a:off x="9706350" y="2794256"/>
              <a:ext cx="13486" cy="7195"/>
            </a:xfrm>
            <a:custGeom>
              <a:avLst/>
              <a:gdLst/>
              <a:ahLst/>
              <a:cxnLst>
                <a:cxn ang="0">
                  <a:pos x="wd2" y="hd2"/>
                </a:cxn>
                <a:cxn ang="5400000">
                  <a:pos x="wd2" y="hd2"/>
                </a:cxn>
                <a:cxn ang="10800000">
                  <a:pos x="wd2" y="hd2"/>
                </a:cxn>
                <a:cxn ang="16200000">
                  <a:pos x="wd2" y="hd2"/>
                </a:cxn>
              </a:cxnLst>
              <a:rect l="0" t="0" r="r" b="b"/>
              <a:pathLst>
                <a:path w="21600" h="13824" extrusionOk="0">
                  <a:moveTo>
                    <a:pt x="21600" y="0"/>
                  </a:moveTo>
                  <a:cubicBezTo>
                    <a:pt x="10800" y="0"/>
                    <a:pt x="0" y="10800"/>
                    <a:pt x="0" y="10800"/>
                  </a:cubicBezTo>
                  <a:cubicBezTo>
                    <a:pt x="0" y="2160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0" name="Shape 1859">
              <a:extLst>
                <a:ext uri="{FF2B5EF4-FFF2-40B4-BE49-F238E27FC236}">
                  <a16:creationId xmlns:a16="http://schemas.microsoft.com/office/drawing/2014/main" id="{BC873154-CFD3-DCE2-FF56-273171684297}"/>
                </a:ext>
              </a:extLst>
            </p:cNvPr>
            <p:cNvSpPr/>
            <p:nvPr/>
          </p:nvSpPr>
          <p:spPr>
            <a:xfrm>
              <a:off x="9532756" y="2931383"/>
              <a:ext cx="9537" cy="6745"/>
            </a:xfrm>
            <a:custGeom>
              <a:avLst/>
              <a:gdLst/>
              <a:ahLst/>
              <a:cxnLst>
                <a:cxn ang="0">
                  <a:pos x="wd2" y="hd2"/>
                </a:cxn>
                <a:cxn ang="5400000">
                  <a:pos x="wd2" y="hd2"/>
                </a:cxn>
                <a:cxn ang="10800000">
                  <a:pos x="wd2" y="hd2"/>
                </a:cxn>
                <a:cxn ang="16200000">
                  <a:pos x="wd2" y="hd2"/>
                </a:cxn>
              </a:cxnLst>
              <a:rect l="0" t="0" r="r" b="b"/>
              <a:pathLst>
                <a:path w="15274" h="21600" extrusionOk="0">
                  <a:moveTo>
                    <a:pt x="15274" y="0"/>
                  </a:moveTo>
                  <a:cubicBezTo>
                    <a:pt x="4474" y="0"/>
                    <a:pt x="-6326" y="21600"/>
                    <a:pt x="4474" y="21600"/>
                  </a:cubicBezTo>
                  <a:cubicBezTo>
                    <a:pt x="15274" y="21600"/>
                    <a:pt x="15274" y="0"/>
                    <a:pt x="1527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1" name="Shape 1860">
              <a:extLst>
                <a:ext uri="{FF2B5EF4-FFF2-40B4-BE49-F238E27FC236}">
                  <a16:creationId xmlns:a16="http://schemas.microsoft.com/office/drawing/2014/main" id="{76163AE6-F52A-4C38-95B2-D9D5BD0C8DD9}"/>
                </a:ext>
              </a:extLst>
            </p:cNvPr>
            <p:cNvSpPr/>
            <p:nvPr/>
          </p:nvSpPr>
          <p:spPr>
            <a:xfrm>
              <a:off x="9402953" y="2912412"/>
              <a:ext cx="59731" cy="104396"/>
            </a:xfrm>
            <a:custGeom>
              <a:avLst/>
              <a:gdLst/>
              <a:ahLst/>
              <a:cxnLst>
                <a:cxn ang="0">
                  <a:pos x="wd2" y="hd2"/>
                </a:cxn>
                <a:cxn ang="5400000">
                  <a:pos x="wd2" y="hd2"/>
                </a:cxn>
                <a:cxn ang="10800000">
                  <a:pos x="wd2" y="hd2"/>
                </a:cxn>
                <a:cxn ang="16200000">
                  <a:pos x="wd2" y="hd2"/>
                </a:cxn>
              </a:cxnLst>
              <a:rect l="0" t="0" r="r" b="b"/>
              <a:pathLst>
                <a:path w="16402" h="20471" extrusionOk="0">
                  <a:moveTo>
                    <a:pt x="14400" y="142"/>
                  </a:moveTo>
                  <a:cubicBezTo>
                    <a:pt x="9000" y="-1129"/>
                    <a:pt x="1800" y="6495"/>
                    <a:pt x="0" y="9036"/>
                  </a:cubicBezTo>
                  <a:cubicBezTo>
                    <a:pt x="0" y="11577"/>
                    <a:pt x="0" y="14118"/>
                    <a:pt x="1800" y="16659"/>
                  </a:cubicBezTo>
                  <a:cubicBezTo>
                    <a:pt x="1800" y="16659"/>
                    <a:pt x="5400" y="20471"/>
                    <a:pt x="5400" y="20471"/>
                  </a:cubicBezTo>
                  <a:cubicBezTo>
                    <a:pt x="7200" y="17930"/>
                    <a:pt x="21600" y="1412"/>
                    <a:pt x="14400" y="142"/>
                  </a:cubicBezTo>
                  <a:cubicBezTo>
                    <a:pt x="12600" y="142"/>
                    <a:pt x="16200" y="142"/>
                    <a:pt x="14400" y="14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2" name="Shape 1861">
              <a:extLst>
                <a:ext uri="{FF2B5EF4-FFF2-40B4-BE49-F238E27FC236}">
                  <a16:creationId xmlns:a16="http://schemas.microsoft.com/office/drawing/2014/main" id="{D5E4658A-C494-5453-3BD3-5E30AEAD5C9B}"/>
                </a:ext>
              </a:extLst>
            </p:cNvPr>
            <p:cNvSpPr/>
            <p:nvPr/>
          </p:nvSpPr>
          <p:spPr>
            <a:xfrm>
              <a:off x="9025277" y="3090991"/>
              <a:ext cx="75780" cy="60408"/>
            </a:xfrm>
            <a:custGeom>
              <a:avLst/>
              <a:gdLst/>
              <a:ahLst/>
              <a:cxnLst>
                <a:cxn ang="0">
                  <a:pos x="wd2" y="hd2"/>
                </a:cxn>
                <a:cxn ang="5400000">
                  <a:pos x="wd2" y="hd2"/>
                </a:cxn>
                <a:cxn ang="10800000">
                  <a:pos x="wd2" y="hd2"/>
                </a:cxn>
                <a:cxn ang="16200000">
                  <a:pos x="wd2" y="hd2"/>
                </a:cxn>
              </a:cxnLst>
              <a:rect l="0" t="0" r="r" b="b"/>
              <a:pathLst>
                <a:path w="17764" h="20015" extrusionOk="0">
                  <a:moveTo>
                    <a:pt x="17449" y="2160"/>
                  </a:moveTo>
                  <a:cubicBezTo>
                    <a:pt x="15906" y="2160"/>
                    <a:pt x="14363" y="0"/>
                    <a:pt x="11278" y="0"/>
                  </a:cubicBezTo>
                  <a:cubicBezTo>
                    <a:pt x="8192" y="0"/>
                    <a:pt x="6649" y="2160"/>
                    <a:pt x="3563" y="4320"/>
                  </a:cubicBezTo>
                  <a:cubicBezTo>
                    <a:pt x="478" y="8640"/>
                    <a:pt x="-2608" y="15120"/>
                    <a:pt x="3563" y="19440"/>
                  </a:cubicBezTo>
                  <a:cubicBezTo>
                    <a:pt x="6649" y="21600"/>
                    <a:pt x="12821" y="17280"/>
                    <a:pt x="14363" y="12960"/>
                  </a:cubicBezTo>
                  <a:cubicBezTo>
                    <a:pt x="14363" y="10800"/>
                    <a:pt x="18992" y="2160"/>
                    <a:pt x="17449" y="21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3" name="Shape 1862">
              <a:extLst>
                <a:ext uri="{FF2B5EF4-FFF2-40B4-BE49-F238E27FC236}">
                  <a16:creationId xmlns:a16="http://schemas.microsoft.com/office/drawing/2014/main" id="{E9535251-AADF-11A1-A547-55853B897B60}"/>
                </a:ext>
              </a:extLst>
            </p:cNvPr>
            <p:cNvSpPr/>
            <p:nvPr/>
          </p:nvSpPr>
          <p:spPr>
            <a:xfrm>
              <a:off x="9389467" y="3142014"/>
              <a:ext cx="117700" cy="180521"/>
            </a:xfrm>
            <a:custGeom>
              <a:avLst/>
              <a:gdLst/>
              <a:ahLst/>
              <a:cxnLst>
                <a:cxn ang="0">
                  <a:pos x="wd2" y="hd2"/>
                </a:cxn>
                <a:cxn ang="5400000">
                  <a:pos x="wd2" y="hd2"/>
                </a:cxn>
                <a:cxn ang="10800000">
                  <a:pos x="wd2" y="hd2"/>
                </a:cxn>
                <a:cxn ang="16200000">
                  <a:pos x="wd2" y="hd2"/>
                </a:cxn>
              </a:cxnLst>
              <a:rect l="0" t="0" r="r" b="b"/>
              <a:pathLst>
                <a:path w="19173" h="20898" extrusionOk="0">
                  <a:moveTo>
                    <a:pt x="12960" y="841"/>
                  </a:moveTo>
                  <a:cubicBezTo>
                    <a:pt x="10800" y="69"/>
                    <a:pt x="11880" y="3155"/>
                    <a:pt x="9720" y="841"/>
                  </a:cubicBezTo>
                  <a:cubicBezTo>
                    <a:pt x="8640" y="-702"/>
                    <a:pt x="4320" y="69"/>
                    <a:pt x="4320" y="1612"/>
                  </a:cubicBezTo>
                  <a:cubicBezTo>
                    <a:pt x="3240" y="3927"/>
                    <a:pt x="4320" y="5469"/>
                    <a:pt x="3240" y="7784"/>
                  </a:cubicBezTo>
                  <a:cubicBezTo>
                    <a:pt x="3240" y="8555"/>
                    <a:pt x="3240" y="9327"/>
                    <a:pt x="3240" y="9327"/>
                  </a:cubicBezTo>
                  <a:cubicBezTo>
                    <a:pt x="2160" y="10098"/>
                    <a:pt x="0" y="9327"/>
                    <a:pt x="0" y="9327"/>
                  </a:cubicBezTo>
                  <a:cubicBezTo>
                    <a:pt x="0" y="9327"/>
                    <a:pt x="2160" y="16269"/>
                    <a:pt x="3240" y="16269"/>
                  </a:cubicBezTo>
                  <a:cubicBezTo>
                    <a:pt x="3240" y="16269"/>
                    <a:pt x="4320" y="13955"/>
                    <a:pt x="5400" y="14727"/>
                  </a:cubicBezTo>
                  <a:cubicBezTo>
                    <a:pt x="5400" y="14727"/>
                    <a:pt x="7560" y="15498"/>
                    <a:pt x="7560" y="16269"/>
                  </a:cubicBezTo>
                  <a:cubicBezTo>
                    <a:pt x="7560" y="17041"/>
                    <a:pt x="4320" y="15498"/>
                    <a:pt x="4320" y="17041"/>
                  </a:cubicBezTo>
                  <a:cubicBezTo>
                    <a:pt x="4320" y="18584"/>
                    <a:pt x="6480" y="20127"/>
                    <a:pt x="8640" y="19355"/>
                  </a:cubicBezTo>
                  <a:cubicBezTo>
                    <a:pt x="9720" y="19355"/>
                    <a:pt x="10800" y="17812"/>
                    <a:pt x="11880" y="18584"/>
                  </a:cubicBezTo>
                  <a:cubicBezTo>
                    <a:pt x="11880" y="18584"/>
                    <a:pt x="16200" y="20898"/>
                    <a:pt x="16200" y="20898"/>
                  </a:cubicBezTo>
                  <a:cubicBezTo>
                    <a:pt x="17280" y="20127"/>
                    <a:pt x="14040" y="19355"/>
                    <a:pt x="15120" y="18584"/>
                  </a:cubicBezTo>
                  <a:cubicBezTo>
                    <a:pt x="14040" y="19355"/>
                    <a:pt x="21600" y="20898"/>
                    <a:pt x="18360" y="17812"/>
                  </a:cubicBezTo>
                  <a:cubicBezTo>
                    <a:pt x="16200" y="16269"/>
                    <a:pt x="11880" y="18584"/>
                    <a:pt x="10800" y="16269"/>
                  </a:cubicBezTo>
                  <a:cubicBezTo>
                    <a:pt x="9720" y="14727"/>
                    <a:pt x="9720" y="13955"/>
                    <a:pt x="9720" y="11641"/>
                  </a:cubicBezTo>
                  <a:cubicBezTo>
                    <a:pt x="9720" y="10098"/>
                    <a:pt x="11880" y="10098"/>
                    <a:pt x="12960" y="8555"/>
                  </a:cubicBezTo>
                  <a:cubicBezTo>
                    <a:pt x="15120" y="7012"/>
                    <a:pt x="15120" y="6241"/>
                    <a:pt x="14040" y="4698"/>
                  </a:cubicBezTo>
                  <a:cubicBezTo>
                    <a:pt x="14040" y="4698"/>
                    <a:pt x="14040" y="841"/>
                    <a:pt x="12960" y="841"/>
                  </a:cubicBezTo>
                  <a:cubicBezTo>
                    <a:pt x="11880" y="841"/>
                    <a:pt x="14040" y="841"/>
                    <a:pt x="12960" y="84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4" name="Shape 1863">
              <a:extLst>
                <a:ext uri="{FF2B5EF4-FFF2-40B4-BE49-F238E27FC236}">
                  <a16:creationId xmlns:a16="http://schemas.microsoft.com/office/drawing/2014/main" id="{901FA60C-E449-CD82-6D65-D759F81413A6}"/>
                </a:ext>
              </a:extLst>
            </p:cNvPr>
            <p:cNvSpPr/>
            <p:nvPr/>
          </p:nvSpPr>
          <p:spPr>
            <a:xfrm>
              <a:off x="9501837" y="3299149"/>
              <a:ext cx="34793" cy="43461"/>
            </a:xfrm>
            <a:custGeom>
              <a:avLst/>
              <a:gdLst/>
              <a:ahLst/>
              <a:cxnLst>
                <a:cxn ang="0">
                  <a:pos x="wd2" y="hd2"/>
                </a:cxn>
                <a:cxn ang="5400000">
                  <a:pos x="wd2" y="hd2"/>
                </a:cxn>
                <a:cxn ang="10800000">
                  <a:pos x="wd2" y="hd2"/>
                </a:cxn>
                <a:cxn ang="16200000">
                  <a:pos x="wd2" y="hd2"/>
                </a:cxn>
              </a:cxnLst>
              <a:rect l="0" t="0" r="r" b="b"/>
              <a:pathLst>
                <a:path w="18578" h="18156" extrusionOk="0">
                  <a:moveTo>
                    <a:pt x="10800" y="1200"/>
                  </a:moveTo>
                  <a:cubicBezTo>
                    <a:pt x="10800" y="1200"/>
                    <a:pt x="7200" y="-1500"/>
                    <a:pt x="3600" y="1200"/>
                  </a:cubicBezTo>
                  <a:cubicBezTo>
                    <a:pt x="3600" y="3900"/>
                    <a:pt x="0" y="3900"/>
                    <a:pt x="0" y="6600"/>
                  </a:cubicBezTo>
                  <a:cubicBezTo>
                    <a:pt x="3600" y="9300"/>
                    <a:pt x="0" y="12000"/>
                    <a:pt x="7200" y="14700"/>
                  </a:cubicBezTo>
                  <a:cubicBezTo>
                    <a:pt x="7200" y="14700"/>
                    <a:pt x="21600" y="20100"/>
                    <a:pt x="18000" y="17400"/>
                  </a:cubicBezTo>
                  <a:cubicBezTo>
                    <a:pt x="18000" y="14700"/>
                    <a:pt x="18000" y="12000"/>
                    <a:pt x="14400" y="9300"/>
                  </a:cubicBezTo>
                  <a:cubicBezTo>
                    <a:pt x="7200" y="9300"/>
                    <a:pt x="7200" y="1200"/>
                    <a:pt x="10800" y="1200"/>
                  </a:cubicBezTo>
                  <a:cubicBezTo>
                    <a:pt x="7200" y="1200"/>
                    <a:pt x="14400" y="1200"/>
                    <a:pt x="10800" y="1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5" name="Shape 1864">
              <a:extLst>
                <a:ext uri="{FF2B5EF4-FFF2-40B4-BE49-F238E27FC236}">
                  <a16:creationId xmlns:a16="http://schemas.microsoft.com/office/drawing/2014/main" id="{C2473CFF-BE0A-198A-B5AC-EE17E85C3751}"/>
                </a:ext>
              </a:extLst>
            </p:cNvPr>
            <p:cNvSpPr/>
            <p:nvPr/>
          </p:nvSpPr>
          <p:spPr>
            <a:xfrm>
              <a:off x="9540064" y="3340518"/>
              <a:ext cx="49225" cy="87673"/>
            </a:xfrm>
            <a:custGeom>
              <a:avLst/>
              <a:gdLst/>
              <a:ahLst/>
              <a:cxnLst>
                <a:cxn ang="0">
                  <a:pos x="wd2" y="hd2"/>
                </a:cxn>
                <a:cxn ang="5400000">
                  <a:pos x="wd2" y="hd2"/>
                </a:cxn>
                <a:cxn ang="10800000">
                  <a:pos x="wd2" y="hd2"/>
                </a:cxn>
                <a:cxn ang="16200000">
                  <a:pos x="wd2" y="hd2"/>
                </a:cxn>
              </a:cxnLst>
              <a:rect l="0" t="0" r="r" b="b"/>
              <a:pathLst>
                <a:path w="16313" h="21600" extrusionOk="0">
                  <a:moveTo>
                    <a:pt x="4909" y="0"/>
                  </a:moveTo>
                  <a:cubicBezTo>
                    <a:pt x="2749" y="0"/>
                    <a:pt x="4909" y="0"/>
                    <a:pt x="589" y="1662"/>
                  </a:cubicBezTo>
                  <a:cubicBezTo>
                    <a:pt x="-1571" y="3323"/>
                    <a:pt x="2749" y="4985"/>
                    <a:pt x="4909" y="6646"/>
                  </a:cubicBezTo>
                  <a:cubicBezTo>
                    <a:pt x="7069" y="9969"/>
                    <a:pt x="-3731" y="11631"/>
                    <a:pt x="4909" y="14954"/>
                  </a:cubicBezTo>
                  <a:cubicBezTo>
                    <a:pt x="7069" y="16615"/>
                    <a:pt x="2749" y="19938"/>
                    <a:pt x="7069" y="21600"/>
                  </a:cubicBezTo>
                  <a:cubicBezTo>
                    <a:pt x="9229" y="21600"/>
                    <a:pt x="9229" y="19938"/>
                    <a:pt x="7069" y="18277"/>
                  </a:cubicBezTo>
                  <a:cubicBezTo>
                    <a:pt x="2749" y="8308"/>
                    <a:pt x="15709" y="16615"/>
                    <a:pt x="15709" y="13292"/>
                  </a:cubicBezTo>
                  <a:cubicBezTo>
                    <a:pt x="15709" y="11631"/>
                    <a:pt x="11389" y="9969"/>
                    <a:pt x="13549" y="9969"/>
                  </a:cubicBezTo>
                  <a:cubicBezTo>
                    <a:pt x="13549" y="8308"/>
                    <a:pt x="17869" y="9969"/>
                    <a:pt x="15709" y="8308"/>
                  </a:cubicBezTo>
                  <a:cubicBezTo>
                    <a:pt x="13549" y="6646"/>
                    <a:pt x="9229" y="4985"/>
                    <a:pt x="11389" y="1662"/>
                  </a:cubicBezTo>
                  <a:cubicBezTo>
                    <a:pt x="11389" y="0"/>
                    <a:pt x="7069" y="0"/>
                    <a:pt x="4909"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6" name="Shape 1865">
              <a:extLst>
                <a:ext uri="{FF2B5EF4-FFF2-40B4-BE49-F238E27FC236}">
                  <a16:creationId xmlns:a16="http://schemas.microsoft.com/office/drawing/2014/main" id="{86E85AD8-8F26-CAB6-639D-4E1A5C3667BA}"/>
                </a:ext>
              </a:extLst>
            </p:cNvPr>
            <p:cNvSpPr/>
            <p:nvPr/>
          </p:nvSpPr>
          <p:spPr>
            <a:xfrm>
              <a:off x="9409693" y="3311659"/>
              <a:ext cx="40453" cy="38432"/>
            </a:xfrm>
            <a:custGeom>
              <a:avLst/>
              <a:gdLst/>
              <a:ahLst/>
              <a:cxnLst>
                <a:cxn ang="0">
                  <a:pos x="wd2" y="hd2"/>
                </a:cxn>
                <a:cxn ang="5400000">
                  <a:pos x="wd2" y="hd2"/>
                </a:cxn>
                <a:cxn ang="10800000">
                  <a:pos x="wd2" y="hd2"/>
                </a:cxn>
                <a:cxn ang="16200000">
                  <a:pos x="wd2" y="hd2"/>
                </a:cxn>
              </a:cxnLst>
              <a:rect l="0" t="0" r="r" b="b"/>
              <a:pathLst>
                <a:path w="21600" h="16055" extrusionOk="0">
                  <a:moveTo>
                    <a:pt x="21600" y="9591"/>
                  </a:moveTo>
                  <a:cubicBezTo>
                    <a:pt x="18000" y="6891"/>
                    <a:pt x="10800" y="-3909"/>
                    <a:pt x="0" y="1491"/>
                  </a:cubicBezTo>
                  <a:cubicBezTo>
                    <a:pt x="0" y="1491"/>
                    <a:pt x="10800" y="9591"/>
                    <a:pt x="10800" y="12291"/>
                  </a:cubicBezTo>
                  <a:cubicBezTo>
                    <a:pt x="10800" y="17691"/>
                    <a:pt x="21600" y="17691"/>
                    <a:pt x="21600" y="9591"/>
                  </a:cubicBezTo>
                  <a:cubicBezTo>
                    <a:pt x="21600" y="9591"/>
                    <a:pt x="21600" y="12291"/>
                    <a:pt x="21600" y="95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7" name="Shape 1866">
              <a:extLst>
                <a:ext uri="{FF2B5EF4-FFF2-40B4-BE49-F238E27FC236}">
                  <a16:creationId xmlns:a16="http://schemas.microsoft.com/office/drawing/2014/main" id="{1BDC5D7C-9C6F-F5A1-85B6-3CCD713C3387}"/>
                </a:ext>
              </a:extLst>
            </p:cNvPr>
            <p:cNvSpPr/>
            <p:nvPr/>
          </p:nvSpPr>
          <p:spPr>
            <a:xfrm>
              <a:off x="9456890" y="3361500"/>
              <a:ext cx="44410" cy="54285"/>
            </a:xfrm>
            <a:custGeom>
              <a:avLst/>
              <a:gdLst/>
              <a:ahLst/>
              <a:cxnLst>
                <a:cxn ang="0">
                  <a:pos x="wd2" y="hd2"/>
                </a:cxn>
                <a:cxn ang="5400000">
                  <a:pos x="wd2" y="hd2"/>
                </a:cxn>
                <a:cxn ang="10800000">
                  <a:pos x="wd2" y="hd2"/>
                </a:cxn>
                <a:cxn ang="16200000">
                  <a:pos x="wd2" y="hd2"/>
                </a:cxn>
              </a:cxnLst>
              <a:rect l="0" t="0" r="r" b="b"/>
              <a:pathLst>
                <a:path w="16416" h="17387" extrusionOk="0">
                  <a:moveTo>
                    <a:pt x="7200" y="1920"/>
                  </a:moveTo>
                  <a:cubicBezTo>
                    <a:pt x="4800" y="-240"/>
                    <a:pt x="2400" y="-240"/>
                    <a:pt x="0" y="1920"/>
                  </a:cubicBezTo>
                  <a:cubicBezTo>
                    <a:pt x="0" y="4080"/>
                    <a:pt x="4800" y="4080"/>
                    <a:pt x="4800" y="6240"/>
                  </a:cubicBezTo>
                  <a:cubicBezTo>
                    <a:pt x="7200" y="8400"/>
                    <a:pt x="0" y="14880"/>
                    <a:pt x="2400" y="17040"/>
                  </a:cubicBezTo>
                  <a:cubicBezTo>
                    <a:pt x="2400" y="19200"/>
                    <a:pt x="12000" y="10560"/>
                    <a:pt x="14400" y="10560"/>
                  </a:cubicBezTo>
                  <a:cubicBezTo>
                    <a:pt x="21600" y="10560"/>
                    <a:pt x="7200" y="1920"/>
                    <a:pt x="7200" y="1920"/>
                  </a:cubicBezTo>
                  <a:cubicBezTo>
                    <a:pt x="2400" y="-2400"/>
                    <a:pt x="7200" y="1920"/>
                    <a:pt x="7200" y="19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8" name="Shape 1867">
              <a:extLst>
                <a:ext uri="{FF2B5EF4-FFF2-40B4-BE49-F238E27FC236}">
                  <a16:creationId xmlns:a16="http://schemas.microsoft.com/office/drawing/2014/main" id="{C003F078-6036-D215-4386-1B78AC553088}"/>
                </a:ext>
              </a:extLst>
            </p:cNvPr>
            <p:cNvSpPr/>
            <p:nvPr/>
          </p:nvSpPr>
          <p:spPr>
            <a:xfrm>
              <a:off x="9477479" y="3398102"/>
              <a:ext cx="33221" cy="59537"/>
            </a:xfrm>
            <a:custGeom>
              <a:avLst/>
              <a:gdLst/>
              <a:ahLst/>
              <a:cxnLst>
                <a:cxn ang="0">
                  <a:pos x="wd2" y="hd2"/>
                </a:cxn>
                <a:cxn ang="5400000">
                  <a:pos x="wd2" y="hd2"/>
                </a:cxn>
                <a:cxn ang="10800000">
                  <a:pos x="wd2" y="hd2"/>
                </a:cxn>
                <a:cxn ang="16200000">
                  <a:pos x="wd2" y="hd2"/>
                </a:cxn>
              </a:cxnLst>
              <a:rect l="0" t="0" r="r" b="b"/>
              <a:pathLst>
                <a:path w="15964" h="17877" extrusionOk="0">
                  <a:moveTo>
                    <a:pt x="15099" y="873"/>
                  </a:moveTo>
                  <a:cubicBezTo>
                    <a:pt x="5842" y="873"/>
                    <a:pt x="8928" y="6764"/>
                    <a:pt x="5842" y="8727"/>
                  </a:cubicBezTo>
                  <a:cubicBezTo>
                    <a:pt x="-3415" y="12654"/>
                    <a:pt x="-329" y="12654"/>
                    <a:pt x="5842" y="16582"/>
                  </a:cubicBezTo>
                  <a:cubicBezTo>
                    <a:pt x="15099" y="20509"/>
                    <a:pt x="8928" y="14618"/>
                    <a:pt x="12014" y="10691"/>
                  </a:cubicBezTo>
                  <a:cubicBezTo>
                    <a:pt x="12014" y="10691"/>
                    <a:pt x="18185" y="-1091"/>
                    <a:pt x="15099" y="873"/>
                  </a:cubicBezTo>
                  <a:cubicBezTo>
                    <a:pt x="12014" y="873"/>
                    <a:pt x="15099" y="-1091"/>
                    <a:pt x="15099" y="8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9" name="Shape 1868">
              <a:extLst>
                <a:ext uri="{FF2B5EF4-FFF2-40B4-BE49-F238E27FC236}">
                  <a16:creationId xmlns:a16="http://schemas.microsoft.com/office/drawing/2014/main" id="{1931CF82-1465-097F-30C1-0C4C98BDB542}"/>
                </a:ext>
              </a:extLst>
            </p:cNvPr>
            <p:cNvSpPr/>
            <p:nvPr/>
          </p:nvSpPr>
          <p:spPr>
            <a:xfrm>
              <a:off x="9508578" y="3393334"/>
              <a:ext cx="23224" cy="46098"/>
            </a:xfrm>
            <a:custGeom>
              <a:avLst/>
              <a:gdLst/>
              <a:ahLst/>
              <a:cxnLst>
                <a:cxn ang="0">
                  <a:pos x="wd2" y="hd2"/>
                </a:cxn>
                <a:cxn ang="5400000">
                  <a:pos x="wd2" y="hd2"/>
                </a:cxn>
                <a:cxn ang="10800000">
                  <a:pos x="wd2" y="hd2"/>
                </a:cxn>
                <a:cxn ang="16200000">
                  <a:pos x="wd2" y="hd2"/>
                </a:cxn>
              </a:cxnLst>
              <a:rect l="0" t="0" r="r" b="b"/>
              <a:pathLst>
                <a:path w="18600" h="19257" extrusionOk="0">
                  <a:moveTo>
                    <a:pt x="16200" y="357"/>
                  </a:moveTo>
                  <a:cubicBezTo>
                    <a:pt x="10800" y="357"/>
                    <a:pt x="0" y="16557"/>
                    <a:pt x="0" y="19257"/>
                  </a:cubicBezTo>
                  <a:cubicBezTo>
                    <a:pt x="0" y="19257"/>
                    <a:pt x="10800" y="13857"/>
                    <a:pt x="16200" y="11157"/>
                  </a:cubicBezTo>
                  <a:cubicBezTo>
                    <a:pt x="16200" y="11157"/>
                    <a:pt x="21600" y="-2343"/>
                    <a:pt x="16200" y="357"/>
                  </a:cubicBezTo>
                  <a:cubicBezTo>
                    <a:pt x="10800" y="357"/>
                    <a:pt x="16200" y="357"/>
                    <a:pt x="16200" y="3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0" name="Shape 1869">
              <a:extLst>
                <a:ext uri="{FF2B5EF4-FFF2-40B4-BE49-F238E27FC236}">
                  <a16:creationId xmlns:a16="http://schemas.microsoft.com/office/drawing/2014/main" id="{68A68695-837E-DA9F-F331-F9A1C3395F34}"/>
                </a:ext>
              </a:extLst>
            </p:cNvPr>
            <p:cNvSpPr/>
            <p:nvPr/>
          </p:nvSpPr>
          <p:spPr>
            <a:xfrm>
              <a:off x="9526161" y="3426367"/>
              <a:ext cx="23522" cy="16052"/>
            </a:xfrm>
            <a:custGeom>
              <a:avLst/>
              <a:gdLst/>
              <a:ahLst/>
              <a:cxnLst>
                <a:cxn ang="0">
                  <a:pos x="wd2" y="hd2"/>
                </a:cxn>
                <a:cxn ang="5400000">
                  <a:pos x="wd2" y="hd2"/>
                </a:cxn>
                <a:cxn ang="10800000">
                  <a:pos x="wd2" y="hd2"/>
                </a:cxn>
                <a:cxn ang="16200000">
                  <a:pos x="wd2" y="hd2"/>
                </a:cxn>
              </a:cxnLst>
              <a:rect l="0" t="0" r="r" b="b"/>
              <a:pathLst>
                <a:path w="12559" h="14020" extrusionOk="0">
                  <a:moveTo>
                    <a:pt x="1412" y="1102"/>
                  </a:moveTo>
                  <a:cubicBezTo>
                    <a:pt x="-2188" y="11902"/>
                    <a:pt x="1412" y="17302"/>
                    <a:pt x="8612" y="11902"/>
                  </a:cubicBezTo>
                  <a:cubicBezTo>
                    <a:pt x="19412" y="11902"/>
                    <a:pt x="5012" y="-4298"/>
                    <a:pt x="1412" y="1102"/>
                  </a:cubicBezTo>
                  <a:cubicBezTo>
                    <a:pt x="1412" y="6502"/>
                    <a:pt x="5012" y="1102"/>
                    <a:pt x="1412" y="11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1" name="Shape 1870">
              <a:extLst>
                <a:ext uri="{FF2B5EF4-FFF2-40B4-BE49-F238E27FC236}">
                  <a16:creationId xmlns:a16="http://schemas.microsoft.com/office/drawing/2014/main" id="{CEBBA0C1-C901-3A99-2FB0-6F3EF1B74DD5}"/>
                </a:ext>
              </a:extLst>
            </p:cNvPr>
            <p:cNvSpPr/>
            <p:nvPr/>
          </p:nvSpPr>
          <p:spPr>
            <a:xfrm>
              <a:off x="9528053" y="3439431"/>
              <a:ext cx="84511" cy="130481"/>
            </a:xfrm>
            <a:custGeom>
              <a:avLst/>
              <a:gdLst/>
              <a:ahLst/>
              <a:cxnLst>
                <a:cxn ang="0">
                  <a:pos x="wd2" y="hd2"/>
                </a:cxn>
                <a:cxn ang="5400000">
                  <a:pos x="wd2" y="hd2"/>
                </a:cxn>
                <a:cxn ang="10800000">
                  <a:pos x="wd2" y="hd2"/>
                </a:cxn>
                <a:cxn ang="16200000">
                  <a:pos x="wd2" y="hd2"/>
                </a:cxn>
              </a:cxnLst>
              <a:rect l="0" t="0" r="r" b="b"/>
              <a:pathLst>
                <a:path w="19811" h="20221" extrusionOk="0">
                  <a:moveTo>
                    <a:pt x="14025" y="0"/>
                  </a:moveTo>
                  <a:cubicBezTo>
                    <a:pt x="12482" y="0"/>
                    <a:pt x="12482" y="1029"/>
                    <a:pt x="12482" y="2057"/>
                  </a:cubicBezTo>
                  <a:cubicBezTo>
                    <a:pt x="12482" y="3086"/>
                    <a:pt x="12482" y="3086"/>
                    <a:pt x="9396" y="4114"/>
                  </a:cubicBezTo>
                  <a:cubicBezTo>
                    <a:pt x="7853" y="4114"/>
                    <a:pt x="4767" y="6171"/>
                    <a:pt x="3225" y="6171"/>
                  </a:cubicBezTo>
                  <a:cubicBezTo>
                    <a:pt x="139" y="9257"/>
                    <a:pt x="-1404" y="9257"/>
                    <a:pt x="1682" y="11314"/>
                  </a:cubicBezTo>
                  <a:cubicBezTo>
                    <a:pt x="3225" y="12343"/>
                    <a:pt x="1682" y="13371"/>
                    <a:pt x="1682" y="14400"/>
                  </a:cubicBezTo>
                  <a:cubicBezTo>
                    <a:pt x="139" y="16457"/>
                    <a:pt x="1682" y="17486"/>
                    <a:pt x="3225" y="18514"/>
                  </a:cubicBezTo>
                  <a:cubicBezTo>
                    <a:pt x="6310" y="19543"/>
                    <a:pt x="9396" y="19543"/>
                    <a:pt x="10939" y="19543"/>
                  </a:cubicBezTo>
                  <a:cubicBezTo>
                    <a:pt x="15567" y="21600"/>
                    <a:pt x="12482" y="18514"/>
                    <a:pt x="10939" y="16457"/>
                  </a:cubicBezTo>
                  <a:cubicBezTo>
                    <a:pt x="10939" y="16457"/>
                    <a:pt x="10939" y="12343"/>
                    <a:pt x="14025" y="12343"/>
                  </a:cubicBezTo>
                  <a:cubicBezTo>
                    <a:pt x="15567" y="12343"/>
                    <a:pt x="15567" y="17486"/>
                    <a:pt x="17110" y="17486"/>
                  </a:cubicBezTo>
                  <a:cubicBezTo>
                    <a:pt x="17110" y="17486"/>
                    <a:pt x="18653" y="14400"/>
                    <a:pt x="18653" y="14400"/>
                  </a:cubicBezTo>
                  <a:cubicBezTo>
                    <a:pt x="20196" y="12343"/>
                    <a:pt x="20196" y="11314"/>
                    <a:pt x="18653" y="10286"/>
                  </a:cubicBezTo>
                  <a:cubicBezTo>
                    <a:pt x="18653" y="7200"/>
                    <a:pt x="18653" y="1029"/>
                    <a:pt x="14025" y="0"/>
                  </a:cubicBezTo>
                  <a:cubicBezTo>
                    <a:pt x="12482" y="0"/>
                    <a:pt x="14025" y="1029"/>
                    <a:pt x="14025"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2" name="Shape 1871">
              <a:extLst>
                <a:ext uri="{FF2B5EF4-FFF2-40B4-BE49-F238E27FC236}">
                  <a16:creationId xmlns:a16="http://schemas.microsoft.com/office/drawing/2014/main" id="{94296538-6BC0-A501-7F14-D952D107DC79}"/>
                </a:ext>
              </a:extLst>
            </p:cNvPr>
            <p:cNvSpPr/>
            <p:nvPr/>
          </p:nvSpPr>
          <p:spPr>
            <a:xfrm>
              <a:off x="9463632" y="3472067"/>
              <a:ext cx="62826" cy="61779"/>
            </a:xfrm>
            <a:custGeom>
              <a:avLst/>
              <a:gdLst/>
              <a:ahLst/>
              <a:cxnLst>
                <a:cxn ang="0">
                  <a:pos x="wd2" y="hd2"/>
                </a:cxn>
                <a:cxn ang="5400000">
                  <a:pos x="wd2" y="hd2"/>
                </a:cxn>
                <a:cxn ang="10800000">
                  <a:pos x="wd2" y="hd2"/>
                </a:cxn>
                <a:cxn ang="16200000">
                  <a:pos x="wd2" y="hd2"/>
                </a:cxn>
              </a:cxnLst>
              <a:rect l="0" t="0" r="r" b="b"/>
              <a:pathLst>
                <a:path w="17252" h="19787" extrusionOk="0">
                  <a:moveTo>
                    <a:pt x="14400" y="347"/>
                  </a:moveTo>
                  <a:cubicBezTo>
                    <a:pt x="10800" y="-1813"/>
                    <a:pt x="9000" y="6827"/>
                    <a:pt x="3600" y="6827"/>
                  </a:cubicBezTo>
                  <a:cubicBezTo>
                    <a:pt x="0" y="8987"/>
                    <a:pt x="0" y="17627"/>
                    <a:pt x="0" y="19787"/>
                  </a:cubicBezTo>
                  <a:cubicBezTo>
                    <a:pt x="1800" y="17627"/>
                    <a:pt x="1800" y="13307"/>
                    <a:pt x="3600" y="11147"/>
                  </a:cubicBezTo>
                  <a:cubicBezTo>
                    <a:pt x="3600" y="11147"/>
                    <a:pt x="7200" y="8987"/>
                    <a:pt x="7200" y="11147"/>
                  </a:cubicBezTo>
                  <a:cubicBezTo>
                    <a:pt x="7200" y="13307"/>
                    <a:pt x="10800" y="13307"/>
                    <a:pt x="10800" y="13307"/>
                  </a:cubicBezTo>
                  <a:cubicBezTo>
                    <a:pt x="12600" y="13307"/>
                    <a:pt x="12600" y="15467"/>
                    <a:pt x="14400" y="13307"/>
                  </a:cubicBezTo>
                  <a:cubicBezTo>
                    <a:pt x="14400" y="13307"/>
                    <a:pt x="14400" y="8987"/>
                    <a:pt x="14400" y="8987"/>
                  </a:cubicBezTo>
                  <a:cubicBezTo>
                    <a:pt x="16200" y="4667"/>
                    <a:pt x="19800" y="2507"/>
                    <a:pt x="14400" y="347"/>
                  </a:cubicBezTo>
                  <a:cubicBezTo>
                    <a:pt x="12600" y="347"/>
                    <a:pt x="21600" y="4667"/>
                    <a:pt x="14400" y="34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3" name="Shape 1872">
              <a:extLst>
                <a:ext uri="{FF2B5EF4-FFF2-40B4-BE49-F238E27FC236}">
                  <a16:creationId xmlns:a16="http://schemas.microsoft.com/office/drawing/2014/main" id="{99B87091-93D1-61B6-AB0B-D4575B88DDE1}"/>
                </a:ext>
              </a:extLst>
            </p:cNvPr>
            <p:cNvSpPr/>
            <p:nvPr/>
          </p:nvSpPr>
          <p:spPr>
            <a:xfrm>
              <a:off x="9304066" y="3401214"/>
              <a:ext cx="74821" cy="78680"/>
            </a:xfrm>
            <a:custGeom>
              <a:avLst/>
              <a:gdLst/>
              <a:ahLst/>
              <a:cxnLst>
                <a:cxn ang="0">
                  <a:pos x="wd2" y="hd2"/>
                </a:cxn>
                <a:cxn ang="5400000">
                  <a:pos x="wd2" y="hd2"/>
                </a:cxn>
                <a:cxn ang="10800000">
                  <a:pos x="wd2" y="hd2"/>
                </a:cxn>
                <a:cxn ang="16200000">
                  <a:pos x="wd2" y="hd2"/>
                </a:cxn>
              </a:cxnLst>
              <a:rect l="0" t="0" r="r" b="b"/>
              <a:pathLst>
                <a:path w="20546" h="21600" extrusionOk="0">
                  <a:moveTo>
                    <a:pt x="19800" y="0"/>
                  </a:moveTo>
                  <a:cubicBezTo>
                    <a:pt x="16200" y="1800"/>
                    <a:pt x="12600" y="7200"/>
                    <a:pt x="10800" y="10800"/>
                  </a:cubicBezTo>
                  <a:cubicBezTo>
                    <a:pt x="9000" y="12600"/>
                    <a:pt x="0" y="18000"/>
                    <a:pt x="0" y="21600"/>
                  </a:cubicBezTo>
                  <a:cubicBezTo>
                    <a:pt x="0" y="21600"/>
                    <a:pt x="5400" y="19800"/>
                    <a:pt x="7200" y="18000"/>
                  </a:cubicBezTo>
                  <a:cubicBezTo>
                    <a:pt x="9000" y="18000"/>
                    <a:pt x="12600" y="14400"/>
                    <a:pt x="14400" y="12600"/>
                  </a:cubicBezTo>
                  <a:cubicBezTo>
                    <a:pt x="14400" y="9000"/>
                    <a:pt x="16200" y="7200"/>
                    <a:pt x="18000" y="5400"/>
                  </a:cubicBezTo>
                  <a:cubicBezTo>
                    <a:pt x="19800" y="5400"/>
                    <a:pt x="21600" y="0"/>
                    <a:pt x="19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4" name="Shape 1873">
              <a:extLst>
                <a:ext uri="{FF2B5EF4-FFF2-40B4-BE49-F238E27FC236}">
                  <a16:creationId xmlns:a16="http://schemas.microsoft.com/office/drawing/2014/main" id="{6B0A51E2-E23E-FD0F-F3FC-5EFA3B0F4B73}"/>
                </a:ext>
              </a:extLst>
            </p:cNvPr>
            <p:cNvSpPr/>
            <p:nvPr/>
          </p:nvSpPr>
          <p:spPr>
            <a:xfrm>
              <a:off x="9535550" y="3302303"/>
              <a:ext cx="9536" cy="6744"/>
            </a:xfrm>
            <a:custGeom>
              <a:avLst/>
              <a:gdLst/>
              <a:ahLst/>
              <a:cxnLst>
                <a:cxn ang="0">
                  <a:pos x="wd2" y="hd2"/>
                </a:cxn>
                <a:cxn ang="5400000">
                  <a:pos x="wd2" y="hd2"/>
                </a:cxn>
                <a:cxn ang="10800000">
                  <a:pos x="wd2" y="hd2"/>
                </a:cxn>
                <a:cxn ang="16200000">
                  <a:pos x="wd2" y="hd2"/>
                </a:cxn>
              </a:cxnLst>
              <a:rect l="0" t="0" r="r" b="b"/>
              <a:pathLst>
                <a:path w="15274" h="21600" extrusionOk="0">
                  <a:moveTo>
                    <a:pt x="0" y="21600"/>
                  </a:moveTo>
                  <a:cubicBezTo>
                    <a:pt x="10800" y="21600"/>
                    <a:pt x="21600" y="0"/>
                    <a:pt x="10800" y="0"/>
                  </a:cubicBezTo>
                  <a:cubicBezTo>
                    <a:pt x="0" y="0"/>
                    <a:pt x="0" y="21600"/>
                    <a:pt x="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5" name="Shape 1874">
              <a:extLst>
                <a:ext uri="{FF2B5EF4-FFF2-40B4-BE49-F238E27FC236}">
                  <a16:creationId xmlns:a16="http://schemas.microsoft.com/office/drawing/2014/main" id="{D96A0FB8-4CD2-A5CA-72ED-DA804F968840}"/>
                </a:ext>
              </a:extLst>
            </p:cNvPr>
            <p:cNvSpPr/>
            <p:nvPr/>
          </p:nvSpPr>
          <p:spPr>
            <a:xfrm>
              <a:off x="8588112" y="3578690"/>
              <a:ext cx="356126" cy="374098"/>
            </a:xfrm>
            <a:custGeom>
              <a:avLst/>
              <a:gdLst/>
              <a:ahLst/>
              <a:cxnLst>
                <a:cxn ang="0">
                  <a:pos x="wd2" y="hd2"/>
                </a:cxn>
                <a:cxn ang="5400000">
                  <a:pos x="wd2" y="hd2"/>
                </a:cxn>
                <a:cxn ang="10800000">
                  <a:pos x="wd2" y="hd2"/>
                </a:cxn>
                <a:cxn ang="16200000">
                  <a:pos x="wd2" y="hd2"/>
                </a:cxn>
              </a:cxnLst>
              <a:rect l="0" t="0" r="r" b="b"/>
              <a:pathLst>
                <a:path w="20870" h="21021" extrusionOk="0">
                  <a:moveTo>
                    <a:pt x="4177" y="745"/>
                  </a:moveTo>
                  <a:cubicBezTo>
                    <a:pt x="3019" y="745"/>
                    <a:pt x="2248" y="745"/>
                    <a:pt x="1091" y="373"/>
                  </a:cubicBezTo>
                  <a:cubicBezTo>
                    <a:pt x="319" y="0"/>
                    <a:pt x="-452" y="-372"/>
                    <a:pt x="319" y="745"/>
                  </a:cubicBezTo>
                  <a:cubicBezTo>
                    <a:pt x="705" y="1490"/>
                    <a:pt x="1091" y="2607"/>
                    <a:pt x="1862" y="2980"/>
                  </a:cubicBezTo>
                  <a:cubicBezTo>
                    <a:pt x="2634" y="3352"/>
                    <a:pt x="3405" y="3725"/>
                    <a:pt x="3791" y="4469"/>
                  </a:cubicBezTo>
                  <a:cubicBezTo>
                    <a:pt x="4177" y="4842"/>
                    <a:pt x="4177" y="5587"/>
                    <a:pt x="4562" y="5959"/>
                  </a:cubicBezTo>
                  <a:cubicBezTo>
                    <a:pt x="5334" y="6331"/>
                    <a:pt x="5719" y="6331"/>
                    <a:pt x="6105" y="6704"/>
                  </a:cubicBezTo>
                  <a:cubicBezTo>
                    <a:pt x="6877" y="7449"/>
                    <a:pt x="6877" y="8566"/>
                    <a:pt x="7262" y="9311"/>
                  </a:cubicBezTo>
                  <a:cubicBezTo>
                    <a:pt x="7648" y="9683"/>
                    <a:pt x="8034" y="10056"/>
                    <a:pt x="8034" y="10056"/>
                  </a:cubicBezTo>
                  <a:cubicBezTo>
                    <a:pt x="8805" y="10800"/>
                    <a:pt x="9191" y="11173"/>
                    <a:pt x="9577" y="11918"/>
                  </a:cubicBezTo>
                  <a:cubicBezTo>
                    <a:pt x="10348" y="13035"/>
                    <a:pt x="10348" y="14152"/>
                    <a:pt x="11119" y="15269"/>
                  </a:cubicBezTo>
                  <a:cubicBezTo>
                    <a:pt x="12662" y="16387"/>
                    <a:pt x="13819" y="17876"/>
                    <a:pt x="15362" y="18994"/>
                  </a:cubicBezTo>
                  <a:cubicBezTo>
                    <a:pt x="16134" y="19738"/>
                    <a:pt x="16519" y="20111"/>
                    <a:pt x="17291" y="20856"/>
                  </a:cubicBezTo>
                  <a:cubicBezTo>
                    <a:pt x="17677" y="20856"/>
                    <a:pt x="19991" y="21228"/>
                    <a:pt x="20377" y="20856"/>
                  </a:cubicBezTo>
                  <a:cubicBezTo>
                    <a:pt x="20762" y="20483"/>
                    <a:pt x="19991" y="17504"/>
                    <a:pt x="20377" y="16759"/>
                  </a:cubicBezTo>
                  <a:cubicBezTo>
                    <a:pt x="20377" y="16387"/>
                    <a:pt x="21148" y="16387"/>
                    <a:pt x="20762" y="16014"/>
                  </a:cubicBezTo>
                  <a:cubicBezTo>
                    <a:pt x="20377" y="15642"/>
                    <a:pt x="19991" y="15269"/>
                    <a:pt x="19605" y="14897"/>
                  </a:cubicBezTo>
                  <a:cubicBezTo>
                    <a:pt x="19605" y="14897"/>
                    <a:pt x="19219" y="14525"/>
                    <a:pt x="18834" y="14525"/>
                  </a:cubicBezTo>
                  <a:cubicBezTo>
                    <a:pt x="18448" y="14525"/>
                    <a:pt x="18448" y="15269"/>
                    <a:pt x="18062" y="15269"/>
                  </a:cubicBezTo>
                  <a:cubicBezTo>
                    <a:pt x="18448" y="15269"/>
                    <a:pt x="18062" y="13780"/>
                    <a:pt x="18062" y="13780"/>
                  </a:cubicBezTo>
                  <a:cubicBezTo>
                    <a:pt x="17677" y="13407"/>
                    <a:pt x="17677" y="13407"/>
                    <a:pt x="17677" y="13035"/>
                  </a:cubicBezTo>
                  <a:cubicBezTo>
                    <a:pt x="17677" y="12662"/>
                    <a:pt x="16905" y="12290"/>
                    <a:pt x="16519" y="12290"/>
                  </a:cubicBezTo>
                  <a:cubicBezTo>
                    <a:pt x="16134" y="11918"/>
                    <a:pt x="15362" y="11545"/>
                    <a:pt x="15748" y="10800"/>
                  </a:cubicBezTo>
                  <a:cubicBezTo>
                    <a:pt x="15748" y="10800"/>
                    <a:pt x="15362" y="10428"/>
                    <a:pt x="15748" y="10428"/>
                  </a:cubicBezTo>
                  <a:cubicBezTo>
                    <a:pt x="15748" y="10056"/>
                    <a:pt x="16134" y="10428"/>
                    <a:pt x="16134" y="10056"/>
                  </a:cubicBezTo>
                  <a:cubicBezTo>
                    <a:pt x="16519" y="9311"/>
                    <a:pt x="14205" y="9311"/>
                    <a:pt x="14205" y="9683"/>
                  </a:cubicBezTo>
                  <a:cubicBezTo>
                    <a:pt x="14205" y="9311"/>
                    <a:pt x="15748" y="8938"/>
                    <a:pt x="14205" y="8938"/>
                  </a:cubicBezTo>
                  <a:cubicBezTo>
                    <a:pt x="13819" y="8938"/>
                    <a:pt x="13434" y="8566"/>
                    <a:pt x="13434" y="8566"/>
                  </a:cubicBezTo>
                  <a:cubicBezTo>
                    <a:pt x="13434" y="8194"/>
                    <a:pt x="13819" y="8194"/>
                    <a:pt x="13819" y="8194"/>
                  </a:cubicBezTo>
                  <a:cubicBezTo>
                    <a:pt x="13819" y="7821"/>
                    <a:pt x="13048" y="7821"/>
                    <a:pt x="13048" y="7821"/>
                  </a:cubicBezTo>
                  <a:cubicBezTo>
                    <a:pt x="13048" y="7821"/>
                    <a:pt x="13434" y="7449"/>
                    <a:pt x="12662" y="7449"/>
                  </a:cubicBezTo>
                  <a:cubicBezTo>
                    <a:pt x="12277" y="7076"/>
                    <a:pt x="11891" y="7076"/>
                    <a:pt x="11505" y="6704"/>
                  </a:cubicBezTo>
                  <a:cubicBezTo>
                    <a:pt x="10348" y="5214"/>
                    <a:pt x="11119" y="6704"/>
                    <a:pt x="11119" y="6704"/>
                  </a:cubicBezTo>
                  <a:cubicBezTo>
                    <a:pt x="10734" y="6704"/>
                    <a:pt x="9577" y="5587"/>
                    <a:pt x="9191" y="5587"/>
                  </a:cubicBezTo>
                  <a:cubicBezTo>
                    <a:pt x="8805" y="4842"/>
                    <a:pt x="8419" y="4097"/>
                    <a:pt x="7648" y="3725"/>
                  </a:cubicBezTo>
                  <a:cubicBezTo>
                    <a:pt x="6877" y="3352"/>
                    <a:pt x="6491" y="2980"/>
                    <a:pt x="5719" y="2235"/>
                  </a:cubicBezTo>
                  <a:cubicBezTo>
                    <a:pt x="5334" y="1862"/>
                    <a:pt x="4948" y="745"/>
                    <a:pt x="4177" y="74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6" name="Shape 1875">
              <a:extLst>
                <a:ext uri="{FF2B5EF4-FFF2-40B4-BE49-F238E27FC236}">
                  <a16:creationId xmlns:a16="http://schemas.microsoft.com/office/drawing/2014/main" id="{8C7EA1E9-805B-04D3-9F62-81A4341058CA}"/>
                </a:ext>
              </a:extLst>
            </p:cNvPr>
            <p:cNvSpPr/>
            <p:nvPr/>
          </p:nvSpPr>
          <p:spPr>
            <a:xfrm>
              <a:off x="8650958" y="3711439"/>
              <a:ext cx="22941" cy="28051"/>
            </a:xfrm>
            <a:custGeom>
              <a:avLst/>
              <a:gdLst/>
              <a:ahLst/>
              <a:cxnLst>
                <a:cxn ang="0">
                  <a:pos x="wd2" y="hd2"/>
                </a:cxn>
                <a:cxn ang="5400000">
                  <a:pos x="wd2" y="hd2"/>
                </a:cxn>
                <a:cxn ang="10800000">
                  <a:pos x="wd2" y="hd2"/>
                </a:cxn>
                <a:cxn ang="16200000">
                  <a:pos x="wd2" y="hd2"/>
                </a:cxn>
              </a:cxnLst>
              <a:rect l="0" t="0" r="r" b="b"/>
              <a:pathLst>
                <a:path w="14699" h="17968" extrusionOk="0">
                  <a:moveTo>
                    <a:pt x="13829" y="17280"/>
                  </a:moveTo>
                  <a:cubicBezTo>
                    <a:pt x="18149" y="12960"/>
                    <a:pt x="5189" y="0"/>
                    <a:pt x="869" y="0"/>
                  </a:cubicBezTo>
                  <a:cubicBezTo>
                    <a:pt x="-3451" y="4320"/>
                    <a:pt x="9509" y="21600"/>
                    <a:pt x="13829"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7" name="Shape 1876">
              <a:extLst>
                <a:ext uri="{FF2B5EF4-FFF2-40B4-BE49-F238E27FC236}">
                  <a16:creationId xmlns:a16="http://schemas.microsoft.com/office/drawing/2014/main" id="{9F3BE352-D8F8-B5EF-E8DE-2759D7F01768}"/>
                </a:ext>
              </a:extLst>
            </p:cNvPr>
            <p:cNvSpPr/>
            <p:nvPr/>
          </p:nvSpPr>
          <p:spPr>
            <a:xfrm>
              <a:off x="8697797" y="3790119"/>
              <a:ext cx="21412" cy="28051"/>
            </a:xfrm>
            <a:custGeom>
              <a:avLst/>
              <a:gdLst/>
              <a:ahLst/>
              <a:cxnLst>
                <a:cxn ang="0">
                  <a:pos x="wd2" y="hd2"/>
                </a:cxn>
                <a:cxn ang="5400000">
                  <a:pos x="wd2" y="hd2"/>
                </a:cxn>
                <a:cxn ang="10800000">
                  <a:pos x="wd2" y="hd2"/>
                </a:cxn>
                <a:cxn ang="16200000">
                  <a:pos x="wd2" y="hd2"/>
                </a:cxn>
              </a:cxnLst>
              <a:rect l="0" t="0" r="r" b="b"/>
              <a:pathLst>
                <a:path w="14699" h="17968" extrusionOk="0">
                  <a:moveTo>
                    <a:pt x="13829" y="17280"/>
                  </a:moveTo>
                  <a:cubicBezTo>
                    <a:pt x="18149" y="12960"/>
                    <a:pt x="5189" y="0"/>
                    <a:pt x="869" y="0"/>
                  </a:cubicBezTo>
                  <a:cubicBezTo>
                    <a:pt x="-3451" y="4320"/>
                    <a:pt x="9509" y="21600"/>
                    <a:pt x="13829"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8" name="Shape 1877">
              <a:extLst>
                <a:ext uri="{FF2B5EF4-FFF2-40B4-BE49-F238E27FC236}">
                  <a16:creationId xmlns:a16="http://schemas.microsoft.com/office/drawing/2014/main" id="{C1E7A4A0-9BCF-5126-69FF-797BF8C717E8}"/>
                </a:ext>
              </a:extLst>
            </p:cNvPr>
            <p:cNvSpPr/>
            <p:nvPr/>
          </p:nvSpPr>
          <p:spPr>
            <a:xfrm>
              <a:off x="8915264" y="3814447"/>
              <a:ext cx="47196" cy="43110"/>
            </a:xfrm>
            <a:custGeom>
              <a:avLst/>
              <a:gdLst/>
              <a:ahLst/>
              <a:cxnLst>
                <a:cxn ang="0">
                  <a:pos x="wd2" y="hd2"/>
                </a:cxn>
                <a:cxn ang="5400000">
                  <a:pos x="wd2" y="hd2"/>
                </a:cxn>
                <a:cxn ang="10800000">
                  <a:pos x="wd2" y="hd2"/>
                </a:cxn>
                <a:cxn ang="16200000">
                  <a:pos x="wd2" y="hd2"/>
                </a:cxn>
              </a:cxnLst>
              <a:rect l="0" t="0" r="r" b="b"/>
              <a:pathLst>
                <a:path w="21600" h="19725" extrusionOk="0">
                  <a:moveTo>
                    <a:pt x="21600" y="19725"/>
                  </a:moveTo>
                  <a:cubicBezTo>
                    <a:pt x="21600" y="13554"/>
                    <a:pt x="15429" y="13554"/>
                    <a:pt x="15429" y="7382"/>
                  </a:cubicBezTo>
                  <a:cubicBezTo>
                    <a:pt x="15429" y="1211"/>
                    <a:pt x="6171" y="-1875"/>
                    <a:pt x="0" y="1211"/>
                  </a:cubicBezTo>
                  <a:cubicBezTo>
                    <a:pt x="0" y="4296"/>
                    <a:pt x="0" y="7382"/>
                    <a:pt x="3086" y="7382"/>
                  </a:cubicBezTo>
                  <a:cubicBezTo>
                    <a:pt x="9257" y="7382"/>
                    <a:pt x="6171" y="10468"/>
                    <a:pt x="9257" y="13554"/>
                  </a:cubicBezTo>
                  <a:cubicBezTo>
                    <a:pt x="9257" y="16639"/>
                    <a:pt x="21600" y="19725"/>
                    <a:pt x="21600" y="197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9" name="Shape 1878">
              <a:extLst>
                <a:ext uri="{FF2B5EF4-FFF2-40B4-BE49-F238E27FC236}">
                  <a16:creationId xmlns:a16="http://schemas.microsoft.com/office/drawing/2014/main" id="{1E977455-3802-5D9D-1892-29C6EBF68E15}"/>
                </a:ext>
              </a:extLst>
            </p:cNvPr>
            <p:cNvSpPr/>
            <p:nvPr/>
          </p:nvSpPr>
          <p:spPr>
            <a:xfrm>
              <a:off x="8992520" y="3844069"/>
              <a:ext cx="18542" cy="21295"/>
            </a:xfrm>
            <a:custGeom>
              <a:avLst/>
              <a:gdLst/>
              <a:ahLst/>
              <a:cxnLst>
                <a:cxn ang="0">
                  <a:pos x="wd2" y="hd2"/>
                </a:cxn>
                <a:cxn ang="5400000">
                  <a:pos x="wd2" y="hd2"/>
                </a:cxn>
                <a:cxn ang="10800000">
                  <a:pos x="wd2" y="hd2"/>
                </a:cxn>
                <a:cxn ang="16200000">
                  <a:pos x="wd2" y="hd2"/>
                </a:cxn>
              </a:cxnLst>
              <a:rect l="0" t="0" r="r" b="b"/>
              <a:pathLst>
                <a:path w="16200" h="18600" extrusionOk="0">
                  <a:moveTo>
                    <a:pt x="8100" y="16200"/>
                  </a:moveTo>
                  <a:cubicBezTo>
                    <a:pt x="-2700" y="21600"/>
                    <a:pt x="-2700" y="5400"/>
                    <a:pt x="8100" y="0"/>
                  </a:cubicBezTo>
                  <a:cubicBezTo>
                    <a:pt x="18900" y="0"/>
                    <a:pt x="18900" y="16200"/>
                    <a:pt x="8100" y="16200"/>
                  </a:cubicBezTo>
                  <a:cubicBezTo>
                    <a:pt x="2700" y="21600"/>
                    <a:pt x="13500" y="16200"/>
                    <a:pt x="8100"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0" name="Shape 1879">
              <a:extLst>
                <a:ext uri="{FF2B5EF4-FFF2-40B4-BE49-F238E27FC236}">
                  <a16:creationId xmlns:a16="http://schemas.microsoft.com/office/drawing/2014/main" id="{8C93CB5B-A13F-4947-1725-772E498EC61B}"/>
                </a:ext>
              </a:extLst>
            </p:cNvPr>
            <p:cNvSpPr/>
            <p:nvPr/>
          </p:nvSpPr>
          <p:spPr>
            <a:xfrm>
              <a:off x="8922006" y="3956469"/>
              <a:ext cx="298604" cy="91585"/>
            </a:xfrm>
            <a:custGeom>
              <a:avLst/>
              <a:gdLst/>
              <a:ahLst/>
              <a:cxnLst>
                <a:cxn ang="0">
                  <a:pos x="wd2" y="hd2"/>
                </a:cxn>
                <a:cxn ang="5400000">
                  <a:pos x="wd2" y="hd2"/>
                </a:cxn>
                <a:cxn ang="10800000">
                  <a:pos x="wd2" y="hd2"/>
                </a:cxn>
                <a:cxn ang="16200000">
                  <a:pos x="wd2" y="hd2"/>
                </a:cxn>
              </a:cxnLst>
              <a:rect l="0" t="0" r="r" b="b"/>
              <a:pathLst>
                <a:path w="21258" h="20000" extrusionOk="0">
                  <a:moveTo>
                    <a:pt x="4226" y="0"/>
                  </a:moveTo>
                  <a:cubicBezTo>
                    <a:pt x="3287" y="1440"/>
                    <a:pt x="2817" y="0"/>
                    <a:pt x="1409" y="0"/>
                  </a:cubicBezTo>
                  <a:cubicBezTo>
                    <a:pt x="1409" y="0"/>
                    <a:pt x="0" y="4320"/>
                    <a:pt x="0" y="5760"/>
                  </a:cubicBezTo>
                  <a:cubicBezTo>
                    <a:pt x="0" y="7200"/>
                    <a:pt x="1878" y="5760"/>
                    <a:pt x="2348" y="8640"/>
                  </a:cubicBezTo>
                  <a:cubicBezTo>
                    <a:pt x="2817" y="11520"/>
                    <a:pt x="4226" y="11520"/>
                    <a:pt x="5165" y="12960"/>
                  </a:cubicBezTo>
                  <a:cubicBezTo>
                    <a:pt x="6104" y="12960"/>
                    <a:pt x="6574" y="12960"/>
                    <a:pt x="7043" y="12960"/>
                  </a:cubicBezTo>
                  <a:cubicBezTo>
                    <a:pt x="8452" y="12960"/>
                    <a:pt x="9861" y="14400"/>
                    <a:pt x="11270" y="15840"/>
                  </a:cubicBezTo>
                  <a:cubicBezTo>
                    <a:pt x="13617" y="17280"/>
                    <a:pt x="16435" y="15840"/>
                    <a:pt x="18783" y="18720"/>
                  </a:cubicBezTo>
                  <a:cubicBezTo>
                    <a:pt x="19252" y="18720"/>
                    <a:pt x="20661" y="21600"/>
                    <a:pt x="21130" y="18720"/>
                  </a:cubicBezTo>
                  <a:cubicBezTo>
                    <a:pt x="21600" y="18720"/>
                    <a:pt x="20661" y="12960"/>
                    <a:pt x="20191" y="12960"/>
                  </a:cubicBezTo>
                  <a:cubicBezTo>
                    <a:pt x="19722" y="11520"/>
                    <a:pt x="19722" y="12960"/>
                    <a:pt x="19252" y="12960"/>
                  </a:cubicBezTo>
                  <a:cubicBezTo>
                    <a:pt x="18313" y="14400"/>
                    <a:pt x="17843" y="12960"/>
                    <a:pt x="17374" y="12960"/>
                  </a:cubicBezTo>
                  <a:cubicBezTo>
                    <a:pt x="16904" y="11520"/>
                    <a:pt x="16904" y="10080"/>
                    <a:pt x="16435" y="8640"/>
                  </a:cubicBezTo>
                  <a:cubicBezTo>
                    <a:pt x="16435" y="7200"/>
                    <a:pt x="15496" y="7200"/>
                    <a:pt x="15026" y="5760"/>
                  </a:cubicBezTo>
                  <a:cubicBezTo>
                    <a:pt x="14557" y="5760"/>
                    <a:pt x="13148" y="4320"/>
                    <a:pt x="12678" y="4320"/>
                  </a:cubicBezTo>
                  <a:cubicBezTo>
                    <a:pt x="12209" y="4320"/>
                    <a:pt x="11739" y="5760"/>
                    <a:pt x="11739" y="5760"/>
                  </a:cubicBezTo>
                  <a:cubicBezTo>
                    <a:pt x="11270" y="7200"/>
                    <a:pt x="10800" y="7200"/>
                    <a:pt x="9861" y="7200"/>
                  </a:cubicBezTo>
                  <a:cubicBezTo>
                    <a:pt x="8922" y="7200"/>
                    <a:pt x="7983" y="5760"/>
                    <a:pt x="7043" y="4320"/>
                  </a:cubicBezTo>
                  <a:cubicBezTo>
                    <a:pt x="6574" y="2880"/>
                    <a:pt x="5635" y="2880"/>
                    <a:pt x="5165" y="2880"/>
                  </a:cubicBezTo>
                  <a:cubicBezTo>
                    <a:pt x="5165" y="2880"/>
                    <a:pt x="4696" y="0"/>
                    <a:pt x="4226" y="0"/>
                  </a:cubicBezTo>
                  <a:cubicBezTo>
                    <a:pt x="3757" y="1440"/>
                    <a:pt x="4696" y="0"/>
                    <a:pt x="4226"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1" name="Shape 1880">
              <a:extLst>
                <a:ext uri="{FF2B5EF4-FFF2-40B4-BE49-F238E27FC236}">
                  <a16:creationId xmlns:a16="http://schemas.microsoft.com/office/drawing/2014/main" id="{954D071D-3881-0038-7D4A-60A2D0602CFC}"/>
                </a:ext>
              </a:extLst>
            </p:cNvPr>
            <p:cNvSpPr/>
            <p:nvPr/>
          </p:nvSpPr>
          <p:spPr>
            <a:xfrm>
              <a:off x="9161336" y="3986100"/>
              <a:ext cx="37101" cy="15327"/>
            </a:xfrm>
            <a:custGeom>
              <a:avLst/>
              <a:gdLst/>
              <a:ahLst/>
              <a:cxnLst>
                <a:cxn ang="0">
                  <a:pos x="wd2" y="hd2"/>
                </a:cxn>
                <a:cxn ang="5400000">
                  <a:pos x="wd2" y="hd2"/>
                </a:cxn>
                <a:cxn ang="10800000">
                  <a:pos x="wd2" y="hd2"/>
                </a:cxn>
                <a:cxn ang="16200000">
                  <a:pos x="wd2" y="hd2"/>
                </a:cxn>
              </a:cxnLst>
              <a:rect l="0" t="0" r="r" b="b"/>
              <a:pathLst>
                <a:path w="15503" h="16362" extrusionOk="0">
                  <a:moveTo>
                    <a:pt x="2003" y="16362"/>
                  </a:moveTo>
                  <a:cubicBezTo>
                    <a:pt x="-6097" y="9162"/>
                    <a:pt x="12803" y="-5238"/>
                    <a:pt x="15503" y="1962"/>
                  </a:cubicBezTo>
                  <a:cubicBezTo>
                    <a:pt x="15503" y="9162"/>
                    <a:pt x="4703" y="16362"/>
                    <a:pt x="2003" y="16362"/>
                  </a:cubicBezTo>
                  <a:cubicBezTo>
                    <a:pt x="-697" y="16362"/>
                    <a:pt x="4703" y="16362"/>
                    <a:pt x="2003" y="1636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2" name="Shape 1881">
              <a:extLst>
                <a:ext uri="{FF2B5EF4-FFF2-40B4-BE49-F238E27FC236}">
                  <a16:creationId xmlns:a16="http://schemas.microsoft.com/office/drawing/2014/main" id="{42CAC2A5-46BF-EAD7-782D-99B86711C23C}"/>
                </a:ext>
              </a:extLst>
            </p:cNvPr>
            <p:cNvSpPr/>
            <p:nvPr/>
          </p:nvSpPr>
          <p:spPr>
            <a:xfrm>
              <a:off x="9223568" y="4028403"/>
              <a:ext cx="28087" cy="26977"/>
            </a:xfrm>
            <a:custGeom>
              <a:avLst/>
              <a:gdLst/>
              <a:ahLst/>
              <a:cxnLst>
                <a:cxn ang="0">
                  <a:pos x="wd2" y="hd2"/>
                </a:cxn>
                <a:cxn ang="5400000">
                  <a:pos x="wd2" y="hd2"/>
                </a:cxn>
                <a:cxn ang="10800000">
                  <a:pos x="wd2" y="hd2"/>
                </a:cxn>
                <a:cxn ang="16200000">
                  <a:pos x="wd2" y="hd2"/>
                </a:cxn>
              </a:cxnLst>
              <a:rect l="0" t="0" r="r" b="b"/>
              <a:pathLst>
                <a:path w="14997" h="21600" extrusionOk="0">
                  <a:moveTo>
                    <a:pt x="8181" y="0"/>
                  </a:moveTo>
                  <a:cubicBezTo>
                    <a:pt x="4581" y="0"/>
                    <a:pt x="-2619" y="0"/>
                    <a:pt x="981" y="5400"/>
                  </a:cubicBezTo>
                  <a:cubicBezTo>
                    <a:pt x="981" y="5400"/>
                    <a:pt x="8181" y="21600"/>
                    <a:pt x="8181" y="21600"/>
                  </a:cubicBezTo>
                  <a:cubicBezTo>
                    <a:pt x="15381" y="21600"/>
                    <a:pt x="18981" y="0"/>
                    <a:pt x="8181"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3" name="Shape 1882">
              <a:extLst>
                <a:ext uri="{FF2B5EF4-FFF2-40B4-BE49-F238E27FC236}">
                  <a16:creationId xmlns:a16="http://schemas.microsoft.com/office/drawing/2014/main" id="{2A327B8E-10EC-6E75-B626-00FC7D83FDF7}"/>
                </a:ext>
              </a:extLst>
            </p:cNvPr>
            <p:cNvSpPr/>
            <p:nvPr/>
          </p:nvSpPr>
          <p:spPr>
            <a:xfrm>
              <a:off x="9263649" y="4035147"/>
              <a:ext cx="23438" cy="16486"/>
            </a:xfrm>
            <a:custGeom>
              <a:avLst/>
              <a:gdLst/>
              <a:ahLst/>
              <a:cxnLst>
                <a:cxn ang="0">
                  <a:pos x="wd2" y="hd2"/>
                </a:cxn>
                <a:cxn ang="5400000">
                  <a:pos x="wd2" y="hd2"/>
                </a:cxn>
                <a:cxn ang="10800000">
                  <a:pos x="wd2" y="hd2"/>
                </a:cxn>
                <a:cxn ang="16200000">
                  <a:pos x="wd2" y="hd2"/>
                </a:cxn>
              </a:cxnLst>
              <a:rect l="0" t="0" r="r" b="b"/>
              <a:pathLst>
                <a:path w="16090" h="17600" extrusionOk="0">
                  <a:moveTo>
                    <a:pt x="14170" y="7200"/>
                  </a:moveTo>
                  <a:cubicBezTo>
                    <a:pt x="14170" y="7200"/>
                    <a:pt x="9850" y="0"/>
                    <a:pt x="5530" y="0"/>
                  </a:cubicBezTo>
                  <a:cubicBezTo>
                    <a:pt x="5530" y="7200"/>
                    <a:pt x="-3110" y="14400"/>
                    <a:pt x="1210" y="14400"/>
                  </a:cubicBezTo>
                  <a:cubicBezTo>
                    <a:pt x="1210" y="14400"/>
                    <a:pt x="5530" y="21600"/>
                    <a:pt x="5530" y="14400"/>
                  </a:cubicBezTo>
                  <a:cubicBezTo>
                    <a:pt x="9850" y="14400"/>
                    <a:pt x="18490" y="14400"/>
                    <a:pt x="14170" y="7200"/>
                  </a:cubicBezTo>
                  <a:cubicBezTo>
                    <a:pt x="14170" y="7200"/>
                    <a:pt x="18490" y="14400"/>
                    <a:pt x="14170"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4" name="Shape 1883">
              <a:extLst>
                <a:ext uri="{FF2B5EF4-FFF2-40B4-BE49-F238E27FC236}">
                  <a16:creationId xmlns:a16="http://schemas.microsoft.com/office/drawing/2014/main" id="{DA0BAF27-AE26-B7DD-4EB3-83FFB46E2C59}"/>
                </a:ext>
              </a:extLst>
            </p:cNvPr>
            <p:cNvSpPr/>
            <p:nvPr/>
          </p:nvSpPr>
          <p:spPr>
            <a:xfrm>
              <a:off x="9289539" y="4036833"/>
              <a:ext cx="36643" cy="25291"/>
            </a:xfrm>
            <a:custGeom>
              <a:avLst/>
              <a:gdLst/>
              <a:ahLst/>
              <a:cxnLst>
                <a:cxn ang="0">
                  <a:pos x="wd2" y="hd2"/>
                </a:cxn>
                <a:cxn ang="5400000">
                  <a:pos x="wd2" y="hd2"/>
                </a:cxn>
                <a:cxn ang="10800000">
                  <a:pos x="wd2" y="hd2"/>
                </a:cxn>
                <a:cxn ang="16200000">
                  <a:pos x="wd2" y="hd2"/>
                </a:cxn>
              </a:cxnLst>
              <a:rect l="0" t="0" r="r" b="b"/>
              <a:pathLst>
                <a:path w="16770" h="20250" extrusionOk="0">
                  <a:moveTo>
                    <a:pt x="3563" y="4050"/>
                  </a:moveTo>
                  <a:cubicBezTo>
                    <a:pt x="478" y="9450"/>
                    <a:pt x="-2608" y="20250"/>
                    <a:pt x="3563" y="20250"/>
                  </a:cubicBezTo>
                  <a:cubicBezTo>
                    <a:pt x="9735" y="20250"/>
                    <a:pt x="12821" y="20250"/>
                    <a:pt x="15906" y="14850"/>
                  </a:cubicBezTo>
                  <a:cubicBezTo>
                    <a:pt x="18992" y="14850"/>
                    <a:pt x="12821" y="9450"/>
                    <a:pt x="12821" y="4050"/>
                  </a:cubicBezTo>
                  <a:cubicBezTo>
                    <a:pt x="9735" y="-1350"/>
                    <a:pt x="6649" y="-1350"/>
                    <a:pt x="3563" y="40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5" name="Shape 1884">
              <a:extLst>
                <a:ext uri="{FF2B5EF4-FFF2-40B4-BE49-F238E27FC236}">
                  <a16:creationId xmlns:a16="http://schemas.microsoft.com/office/drawing/2014/main" id="{E7112693-5A69-151A-0156-3DE4801D5BDE}"/>
                </a:ext>
              </a:extLst>
            </p:cNvPr>
            <p:cNvSpPr/>
            <p:nvPr/>
          </p:nvSpPr>
          <p:spPr>
            <a:xfrm>
              <a:off x="9317548" y="4028403"/>
              <a:ext cx="52252" cy="29772"/>
            </a:xfrm>
            <a:custGeom>
              <a:avLst/>
              <a:gdLst/>
              <a:ahLst/>
              <a:cxnLst>
                <a:cxn ang="0">
                  <a:pos x="wd2" y="hd2"/>
                </a:cxn>
                <a:cxn ang="5400000">
                  <a:pos x="wd2" y="hd2"/>
                </a:cxn>
                <a:cxn ang="10800000">
                  <a:pos x="wd2" y="hd2"/>
                </a:cxn>
                <a:cxn ang="16200000">
                  <a:pos x="wd2" y="hd2"/>
                </a:cxn>
              </a:cxnLst>
              <a:rect l="0" t="0" r="r" b="b"/>
              <a:pathLst>
                <a:path w="20925" h="19069" extrusionOk="0">
                  <a:moveTo>
                    <a:pt x="2700" y="0"/>
                  </a:moveTo>
                  <a:cubicBezTo>
                    <a:pt x="0" y="0"/>
                    <a:pt x="0" y="0"/>
                    <a:pt x="0" y="4320"/>
                  </a:cubicBezTo>
                  <a:cubicBezTo>
                    <a:pt x="0" y="4320"/>
                    <a:pt x="5400" y="4320"/>
                    <a:pt x="5400" y="8640"/>
                  </a:cubicBezTo>
                  <a:cubicBezTo>
                    <a:pt x="5400" y="8640"/>
                    <a:pt x="5400" y="12960"/>
                    <a:pt x="5400" y="12960"/>
                  </a:cubicBezTo>
                  <a:cubicBezTo>
                    <a:pt x="5400" y="17280"/>
                    <a:pt x="16200" y="21600"/>
                    <a:pt x="18900" y="17280"/>
                  </a:cubicBezTo>
                  <a:cubicBezTo>
                    <a:pt x="21600" y="12960"/>
                    <a:pt x="21600" y="8640"/>
                    <a:pt x="18900" y="4320"/>
                  </a:cubicBezTo>
                  <a:cubicBezTo>
                    <a:pt x="13500" y="4320"/>
                    <a:pt x="8100" y="4320"/>
                    <a:pt x="27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6" name="Shape 1885">
              <a:extLst>
                <a:ext uri="{FF2B5EF4-FFF2-40B4-BE49-F238E27FC236}">
                  <a16:creationId xmlns:a16="http://schemas.microsoft.com/office/drawing/2014/main" id="{DE8FE1B7-A97C-0810-B50A-E38EC012EF16}"/>
                </a:ext>
              </a:extLst>
            </p:cNvPr>
            <p:cNvSpPr/>
            <p:nvPr/>
          </p:nvSpPr>
          <p:spPr>
            <a:xfrm>
              <a:off x="9389467" y="4035147"/>
              <a:ext cx="80908" cy="19484"/>
            </a:xfrm>
            <a:custGeom>
              <a:avLst/>
              <a:gdLst/>
              <a:ahLst/>
              <a:cxnLst>
                <a:cxn ang="0">
                  <a:pos x="wd2" y="hd2"/>
                </a:cxn>
                <a:cxn ang="5400000">
                  <a:pos x="wd2" y="hd2"/>
                </a:cxn>
                <a:cxn ang="10800000">
                  <a:pos x="wd2" y="hd2"/>
                </a:cxn>
                <a:cxn ang="16200000">
                  <a:pos x="wd2" y="hd2"/>
                </a:cxn>
              </a:cxnLst>
              <a:rect l="0" t="0" r="r" b="b"/>
              <a:pathLst>
                <a:path w="21600" h="15600" extrusionOk="0">
                  <a:moveTo>
                    <a:pt x="3600" y="0"/>
                  </a:moveTo>
                  <a:cubicBezTo>
                    <a:pt x="3600" y="0"/>
                    <a:pt x="0" y="5400"/>
                    <a:pt x="0" y="10800"/>
                  </a:cubicBezTo>
                  <a:cubicBezTo>
                    <a:pt x="0" y="10800"/>
                    <a:pt x="19800" y="21600"/>
                    <a:pt x="21600" y="10800"/>
                  </a:cubicBezTo>
                  <a:cubicBezTo>
                    <a:pt x="21600" y="5400"/>
                    <a:pt x="16200" y="10800"/>
                    <a:pt x="16200" y="10800"/>
                  </a:cubicBezTo>
                  <a:cubicBezTo>
                    <a:pt x="12600" y="10800"/>
                    <a:pt x="7200" y="5400"/>
                    <a:pt x="3600" y="0"/>
                  </a:cubicBezTo>
                  <a:cubicBezTo>
                    <a:pt x="3600" y="0"/>
                    <a:pt x="5400" y="0"/>
                    <a:pt x="3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7" name="Shape 1886">
              <a:extLst>
                <a:ext uri="{FF2B5EF4-FFF2-40B4-BE49-F238E27FC236}">
                  <a16:creationId xmlns:a16="http://schemas.microsoft.com/office/drawing/2014/main" id="{E5D19524-32DF-EFA3-DEE9-F85466B90AFA}"/>
                </a:ext>
              </a:extLst>
            </p:cNvPr>
            <p:cNvSpPr/>
            <p:nvPr/>
          </p:nvSpPr>
          <p:spPr>
            <a:xfrm>
              <a:off x="9364746" y="4073363"/>
              <a:ext cx="55960" cy="29729"/>
            </a:xfrm>
            <a:custGeom>
              <a:avLst/>
              <a:gdLst/>
              <a:ahLst/>
              <a:cxnLst>
                <a:cxn ang="0">
                  <a:pos x="wd2" y="hd2"/>
                </a:cxn>
                <a:cxn ang="5400000">
                  <a:pos x="wd2" y="hd2"/>
                </a:cxn>
                <a:cxn ang="10800000">
                  <a:pos x="wd2" y="hd2"/>
                </a:cxn>
                <a:cxn ang="16200000">
                  <a:pos x="wd2" y="hd2"/>
                </a:cxn>
              </a:cxnLst>
              <a:rect l="0" t="0" r="r" b="b"/>
              <a:pathLst>
                <a:path w="16807" h="15869" extrusionOk="0">
                  <a:moveTo>
                    <a:pt x="0" y="0"/>
                  </a:moveTo>
                  <a:cubicBezTo>
                    <a:pt x="1964" y="0"/>
                    <a:pt x="13745" y="21600"/>
                    <a:pt x="15709" y="14400"/>
                  </a:cubicBezTo>
                  <a:cubicBezTo>
                    <a:pt x="21600" y="3600"/>
                    <a:pt x="1964" y="0"/>
                    <a:pt x="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8" name="Shape 1887">
              <a:extLst>
                <a:ext uri="{FF2B5EF4-FFF2-40B4-BE49-F238E27FC236}">
                  <a16:creationId xmlns:a16="http://schemas.microsoft.com/office/drawing/2014/main" id="{4BCCDE29-4A6B-A80B-6A29-1823E197A9AC}"/>
                </a:ext>
              </a:extLst>
            </p:cNvPr>
            <p:cNvSpPr/>
            <p:nvPr/>
          </p:nvSpPr>
          <p:spPr>
            <a:xfrm>
              <a:off x="9601992" y="3862054"/>
              <a:ext cx="26306" cy="23230"/>
            </a:xfrm>
            <a:custGeom>
              <a:avLst/>
              <a:gdLst/>
              <a:ahLst/>
              <a:cxnLst>
                <a:cxn ang="0">
                  <a:pos x="wd2" y="hd2"/>
                </a:cxn>
                <a:cxn ang="5400000">
                  <a:pos x="wd2" y="hd2"/>
                </a:cxn>
                <a:cxn ang="10800000">
                  <a:pos x="wd2" y="hd2"/>
                </a:cxn>
                <a:cxn ang="16200000">
                  <a:pos x="wd2" y="hd2"/>
                </a:cxn>
              </a:cxnLst>
              <a:rect l="0" t="0" r="r" b="b"/>
              <a:pathLst>
                <a:path w="14046" h="18600" extrusionOk="0">
                  <a:moveTo>
                    <a:pt x="6521" y="16200"/>
                  </a:moveTo>
                  <a:cubicBezTo>
                    <a:pt x="-4279" y="21600"/>
                    <a:pt x="-679" y="0"/>
                    <a:pt x="10121" y="0"/>
                  </a:cubicBezTo>
                  <a:cubicBezTo>
                    <a:pt x="17321" y="0"/>
                    <a:pt x="13721" y="16200"/>
                    <a:pt x="6521" y="16200"/>
                  </a:cubicBezTo>
                  <a:cubicBezTo>
                    <a:pt x="2921" y="21600"/>
                    <a:pt x="13721" y="16200"/>
                    <a:pt x="6521"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9" name="Shape 1888">
              <a:extLst>
                <a:ext uri="{FF2B5EF4-FFF2-40B4-BE49-F238E27FC236}">
                  <a16:creationId xmlns:a16="http://schemas.microsoft.com/office/drawing/2014/main" id="{9AD042C3-D9D5-F157-008A-869AF1025CD4}"/>
                </a:ext>
              </a:extLst>
            </p:cNvPr>
            <p:cNvSpPr/>
            <p:nvPr/>
          </p:nvSpPr>
          <p:spPr>
            <a:xfrm>
              <a:off x="9665266" y="3857558"/>
              <a:ext cx="95025" cy="31473"/>
            </a:xfrm>
            <a:custGeom>
              <a:avLst/>
              <a:gdLst/>
              <a:ahLst/>
              <a:cxnLst>
                <a:cxn ang="0">
                  <a:pos x="wd2" y="hd2"/>
                </a:cxn>
                <a:cxn ang="5400000">
                  <a:pos x="wd2" y="hd2"/>
                </a:cxn>
                <a:cxn ang="10800000">
                  <a:pos x="wd2" y="hd2"/>
                </a:cxn>
                <a:cxn ang="16200000">
                  <a:pos x="wd2" y="hd2"/>
                </a:cxn>
              </a:cxnLst>
              <a:rect l="0" t="0" r="r" b="b"/>
              <a:pathLst>
                <a:path w="20756" h="21600" extrusionOk="0">
                  <a:moveTo>
                    <a:pt x="2036" y="12960"/>
                  </a:moveTo>
                  <a:cubicBezTo>
                    <a:pt x="596" y="12960"/>
                    <a:pt x="-844" y="8640"/>
                    <a:pt x="596" y="4320"/>
                  </a:cubicBezTo>
                  <a:cubicBezTo>
                    <a:pt x="2036" y="0"/>
                    <a:pt x="3476" y="0"/>
                    <a:pt x="6356" y="0"/>
                  </a:cubicBezTo>
                  <a:cubicBezTo>
                    <a:pt x="10676" y="0"/>
                    <a:pt x="13556" y="0"/>
                    <a:pt x="17876" y="8640"/>
                  </a:cubicBezTo>
                  <a:cubicBezTo>
                    <a:pt x="19316" y="12960"/>
                    <a:pt x="20756" y="17280"/>
                    <a:pt x="20756" y="21600"/>
                  </a:cubicBezTo>
                  <a:cubicBezTo>
                    <a:pt x="19316" y="21600"/>
                    <a:pt x="14996" y="12960"/>
                    <a:pt x="14996" y="12960"/>
                  </a:cubicBezTo>
                  <a:cubicBezTo>
                    <a:pt x="10676" y="8640"/>
                    <a:pt x="6356" y="12960"/>
                    <a:pt x="2036" y="12960"/>
                  </a:cubicBezTo>
                  <a:cubicBezTo>
                    <a:pt x="596" y="12960"/>
                    <a:pt x="3476" y="12960"/>
                    <a:pt x="2036" y="12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0" name="Shape 1889">
              <a:extLst>
                <a:ext uri="{FF2B5EF4-FFF2-40B4-BE49-F238E27FC236}">
                  <a16:creationId xmlns:a16="http://schemas.microsoft.com/office/drawing/2014/main" id="{FD7FD071-A3C4-0AB4-C5EE-099DC0C2FEC9}"/>
                </a:ext>
              </a:extLst>
            </p:cNvPr>
            <p:cNvSpPr/>
            <p:nvPr/>
          </p:nvSpPr>
          <p:spPr>
            <a:xfrm>
              <a:off x="9360269" y="3710249"/>
              <a:ext cx="208993" cy="232731"/>
            </a:xfrm>
            <a:custGeom>
              <a:avLst/>
              <a:gdLst/>
              <a:ahLst/>
              <a:cxnLst>
                <a:cxn ang="0">
                  <a:pos x="wd2" y="hd2"/>
                </a:cxn>
                <a:cxn ang="5400000">
                  <a:pos x="wd2" y="hd2"/>
                </a:cxn>
                <a:cxn ang="10800000">
                  <a:pos x="wd2" y="hd2"/>
                </a:cxn>
                <a:cxn ang="16200000">
                  <a:pos x="wd2" y="hd2"/>
                </a:cxn>
              </a:cxnLst>
              <a:rect l="0" t="0" r="r" b="b"/>
              <a:pathLst>
                <a:path w="21368" h="21096" extrusionOk="0">
                  <a:moveTo>
                    <a:pt x="8543" y="18696"/>
                  </a:moveTo>
                  <a:cubicBezTo>
                    <a:pt x="8543" y="18096"/>
                    <a:pt x="9218" y="18096"/>
                    <a:pt x="9218" y="17496"/>
                  </a:cubicBezTo>
                  <a:cubicBezTo>
                    <a:pt x="9218" y="16896"/>
                    <a:pt x="7868" y="16296"/>
                    <a:pt x="7193" y="16296"/>
                  </a:cubicBezTo>
                  <a:cubicBezTo>
                    <a:pt x="6518" y="15096"/>
                    <a:pt x="7868" y="14496"/>
                    <a:pt x="7868" y="13296"/>
                  </a:cubicBezTo>
                  <a:cubicBezTo>
                    <a:pt x="7868" y="12696"/>
                    <a:pt x="5168" y="12696"/>
                    <a:pt x="5168" y="13296"/>
                  </a:cubicBezTo>
                  <a:cubicBezTo>
                    <a:pt x="4493" y="14496"/>
                    <a:pt x="5168" y="15696"/>
                    <a:pt x="5168" y="16896"/>
                  </a:cubicBezTo>
                  <a:cubicBezTo>
                    <a:pt x="4493" y="16896"/>
                    <a:pt x="5168" y="17496"/>
                    <a:pt x="5168" y="17496"/>
                  </a:cubicBezTo>
                  <a:cubicBezTo>
                    <a:pt x="5168" y="18696"/>
                    <a:pt x="4493" y="19296"/>
                    <a:pt x="4493" y="19896"/>
                  </a:cubicBezTo>
                  <a:cubicBezTo>
                    <a:pt x="3818" y="21096"/>
                    <a:pt x="4493" y="21096"/>
                    <a:pt x="2468" y="21096"/>
                  </a:cubicBezTo>
                  <a:cubicBezTo>
                    <a:pt x="443" y="21096"/>
                    <a:pt x="2468" y="18696"/>
                    <a:pt x="2468" y="18096"/>
                  </a:cubicBezTo>
                  <a:cubicBezTo>
                    <a:pt x="3143" y="17496"/>
                    <a:pt x="2468" y="15696"/>
                    <a:pt x="1118" y="15096"/>
                  </a:cubicBezTo>
                  <a:cubicBezTo>
                    <a:pt x="-232" y="14496"/>
                    <a:pt x="-232" y="13296"/>
                    <a:pt x="443" y="12096"/>
                  </a:cubicBezTo>
                  <a:cubicBezTo>
                    <a:pt x="1118" y="10896"/>
                    <a:pt x="1118" y="9096"/>
                    <a:pt x="1793" y="7896"/>
                  </a:cubicBezTo>
                  <a:cubicBezTo>
                    <a:pt x="3143" y="6096"/>
                    <a:pt x="2468" y="2496"/>
                    <a:pt x="5843" y="2496"/>
                  </a:cubicBezTo>
                  <a:cubicBezTo>
                    <a:pt x="6518" y="2496"/>
                    <a:pt x="5843" y="696"/>
                    <a:pt x="7193" y="696"/>
                  </a:cubicBezTo>
                  <a:cubicBezTo>
                    <a:pt x="9218" y="1296"/>
                    <a:pt x="10568" y="1896"/>
                    <a:pt x="11918" y="1896"/>
                  </a:cubicBezTo>
                  <a:cubicBezTo>
                    <a:pt x="13268" y="1896"/>
                    <a:pt x="15293" y="2496"/>
                    <a:pt x="16643" y="1896"/>
                  </a:cubicBezTo>
                  <a:cubicBezTo>
                    <a:pt x="17318" y="1896"/>
                    <a:pt x="21368" y="-504"/>
                    <a:pt x="21368" y="96"/>
                  </a:cubicBezTo>
                  <a:cubicBezTo>
                    <a:pt x="21368" y="696"/>
                    <a:pt x="19343" y="2496"/>
                    <a:pt x="19343" y="3096"/>
                  </a:cubicBezTo>
                  <a:cubicBezTo>
                    <a:pt x="17993" y="3696"/>
                    <a:pt x="16643" y="3696"/>
                    <a:pt x="15293" y="3696"/>
                  </a:cubicBezTo>
                  <a:cubicBezTo>
                    <a:pt x="11918" y="3096"/>
                    <a:pt x="9218" y="3696"/>
                    <a:pt x="6518" y="3696"/>
                  </a:cubicBezTo>
                  <a:cubicBezTo>
                    <a:pt x="4493" y="3096"/>
                    <a:pt x="3818" y="3696"/>
                    <a:pt x="3818" y="5496"/>
                  </a:cubicBezTo>
                  <a:cubicBezTo>
                    <a:pt x="3818" y="7296"/>
                    <a:pt x="5843" y="7296"/>
                    <a:pt x="6518" y="8496"/>
                  </a:cubicBezTo>
                  <a:cubicBezTo>
                    <a:pt x="7193" y="9696"/>
                    <a:pt x="7868" y="8496"/>
                    <a:pt x="8543" y="7896"/>
                  </a:cubicBezTo>
                  <a:cubicBezTo>
                    <a:pt x="8543" y="7296"/>
                    <a:pt x="13268" y="6696"/>
                    <a:pt x="13268" y="7296"/>
                  </a:cubicBezTo>
                  <a:cubicBezTo>
                    <a:pt x="13943" y="7296"/>
                    <a:pt x="11918" y="9096"/>
                    <a:pt x="11243" y="9096"/>
                  </a:cubicBezTo>
                  <a:cubicBezTo>
                    <a:pt x="9893" y="10296"/>
                    <a:pt x="9893" y="10296"/>
                    <a:pt x="8543" y="9696"/>
                  </a:cubicBezTo>
                  <a:cubicBezTo>
                    <a:pt x="8543" y="9696"/>
                    <a:pt x="9218" y="11496"/>
                    <a:pt x="9218" y="11496"/>
                  </a:cubicBezTo>
                  <a:cubicBezTo>
                    <a:pt x="9893" y="12096"/>
                    <a:pt x="11918" y="13296"/>
                    <a:pt x="11918" y="14496"/>
                  </a:cubicBezTo>
                  <a:cubicBezTo>
                    <a:pt x="11918" y="15096"/>
                    <a:pt x="11918" y="15696"/>
                    <a:pt x="12593" y="16296"/>
                  </a:cubicBezTo>
                  <a:cubicBezTo>
                    <a:pt x="12593" y="16296"/>
                    <a:pt x="13943" y="17496"/>
                    <a:pt x="14618" y="17496"/>
                  </a:cubicBezTo>
                  <a:cubicBezTo>
                    <a:pt x="13268" y="18096"/>
                    <a:pt x="9893" y="19296"/>
                    <a:pt x="8543" y="18696"/>
                  </a:cubicBezTo>
                  <a:cubicBezTo>
                    <a:pt x="8543" y="18096"/>
                    <a:pt x="9218" y="19296"/>
                    <a:pt x="8543" y="1869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1" name="Shape 1890">
              <a:extLst>
                <a:ext uri="{FF2B5EF4-FFF2-40B4-BE49-F238E27FC236}">
                  <a16:creationId xmlns:a16="http://schemas.microsoft.com/office/drawing/2014/main" id="{65AB1FF1-F19A-BFC4-60ED-BD87E24ACC2B}"/>
                </a:ext>
              </a:extLst>
            </p:cNvPr>
            <p:cNvSpPr/>
            <p:nvPr/>
          </p:nvSpPr>
          <p:spPr>
            <a:xfrm>
              <a:off x="9641175" y="3691204"/>
              <a:ext cx="46990" cy="98912"/>
            </a:xfrm>
            <a:custGeom>
              <a:avLst/>
              <a:gdLst/>
              <a:ahLst/>
              <a:cxnLst>
                <a:cxn ang="0">
                  <a:pos x="wd2" y="hd2"/>
                </a:cxn>
                <a:cxn ang="5400000">
                  <a:pos x="wd2" y="hd2"/>
                </a:cxn>
                <a:cxn ang="10800000">
                  <a:pos x="wd2" y="hd2"/>
                </a:cxn>
                <a:cxn ang="16200000">
                  <a:pos x="wd2" y="hd2"/>
                </a:cxn>
              </a:cxnLst>
              <a:rect l="0" t="0" r="r" b="b"/>
              <a:pathLst>
                <a:path w="19636" h="21600" extrusionOk="0">
                  <a:moveTo>
                    <a:pt x="8100" y="2880"/>
                  </a:moveTo>
                  <a:cubicBezTo>
                    <a:pt x="8100" y="1440"/>
                    <a:pt x="8100" y="1440"/>
                    <a:pt x="8100" y="0"/>
                  </a:cubicBezTo>
                  <a:cubicBezTo>
                    <a:pt x="5400" y="0"/>
                    <a:pt x="0" y="4320"/>
                    <a:pt x="0" y="5760"/>
                  </a:cubicBezTo>
                  <a:cubicBezTo>
                    <a:pt x="0" y="7200"/>
                    <a:pt x="2700" y="8640"/>
                    <a:pt x="2700" y="11520"/>
                  </a:cubicBezTo>
                  <a:cubicBezTo>
                    <a:pt x="2700" y="12960"/>
                    <a:pt x="2700" y="15840"/>
                    <a:pt x="5400" y="17280"/>
                  </a:cubicBezTo>
                  <a:cubicBezTo>
                    <a:pt x="5400" y="17280"/>
                    <a:pt x="13500" y="21600"/>
                    <a:pt x="13500" y="21600"/>
                  </a:cubicBezTo>
                  <a:cubicBezTo>
                    <a:pt x="13500" y="21600"/>
                    <a:pt x="10800" y="18720"/>
                    <a:pt x="10800" y="18720"/>
                  </a:cubicBezTo>
                  <a:cubicBezTo>
                    <a:pt x="8100" y="17280"/>
                    <a:pt x="8100" y="14400"/>
                    <a:pt x="8100" y="12960"/>
                  </a:cubicBezTo>
                  <a:cubicBezTo>
                    <a:pt x="8100" y="11520"/>
                    <a:pt x="18900" y="12960"/>
                    <a:pt x="18900" y="12960"/>
                  </a:cubicBezTo>
                  <a:cubicBezTo>
                    <a:pt x="21600" y="12960"/>
                    <a:pt x="16200" y="11520"/>
                    <a:pt x="13500" y="10080"/>
                  </a:cubicBezTo>
                  <a:cubicBezTo>
                    <a:pt x="13500" y="10080"/>
                    <a:pt x="16200" y="8640"/>
                    <a:pt x="16200" y="7200"/>
                  </a:cubicBezTo>
                  <a:cubicBezTo>
                    <a:pt x="18900" y="1440"/>
                    <a:pt x="8100" y="8640"/>
                    <a:pt x="5400" y="8640"/>
                  </a:cubicBezTo>
                  <a:cubicBezTo>
                    <a:pt x="5400" y="8640"/>
                    <a:pt x="10800" y="4320"/>
                    <a:pt x="8100" y="2880"/>
                  </a:cubicBezTo>
                  <a:cubicBezTo>
                    <a:pt x="8100" y="1440"/>
                    <a:pt x="10800" y="4320"/>
                    <a:pt x="8100" y="28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2" name="Shape 1891">
              <a:extLst>
                <a:ext uri="{FF2B5EF4-FFF2-40B4-BE49-F238E27FC236}">
                  <a16:creationId xmlns:a16="http://schemas.microsoft.com/office/drawing/2014/main" id="{0AC0B8A5-EC73-9EF6-0463-AA6D9D3856EC}"/>
                </a:ext>
              </a:extLst>
            </p:cNvPr>
            <p:cNvSpPr/>
            <p:nvPr/>
          </p:nvSpPr>
          <p:spPr>
            <a:xfrm>
              <a:off x="9671658" y="3677717"/>
              <a:ext cx="10959" cy="13489"/>
            </a:xfrm>
            <a:custGeom>
              <a:avLst/>
              <a:gdLst/>
              <a:ahLst/>
              <a:cxnLst>
                <a:cxn ang="0">
                  <a:pos x="wd2" y="hd2"/>
                </a:cxn>
                <a:cxn ang="5400000">
                  <a:pos x="wd2" y="hd2"/>
                </a:cxn>
                <a:cxn ang="10800000">
                  <a:pos x="wd2" y="hd2"/>
                </a:cxn>
                <a:cxn ang="16200000">
                  <a:pos x="wd2" y="hd2"/>
                </a:cxn>
              </a:cxnLst>
              <a:rect l="0" t="0" r="r" b="b"/>
              <a:pathLst>
                <a:path w="13165" h="21600" extrusionOk="0">
                  <a:moveTo>
                    <a:pt x="2982" y="21600"/>
                  </a:moveTo>
                  <a:cubicBezTo>
                    <a:pt x="-4218" y="21600"/>
                    <a:pt x="2982" y="0"/>
                    <a:pt x="10182" y="0"/>
                  </a:cubicBezTo>
                  <a:cubicBezTo>
                    <a:pt x="17382" y="0"/>
                    <a:pt x="10182" y="21600"/>
                    <a:pt x="2982"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3" name="Shape 1892">
              <a:extLst>
                <a:ext uri="{FF2B5EF4-FFF2-40B4-BE49-F238E27FC236}">
                  <a16:creationId xmlns:a16="http://schemas.microsoft.com/office/drawing/2014/main" id="{66A94ABD-865D-6785-9552-C79FB2668856}"/>
                </a:ext>
              </a:extLst>
            </p:cNvPr>
            <p:cNvSpPr/>
            <p:nvPr/>
          </p:nvSpPr>
          <p:spPr>
            <a:xfrm>
              <a:off x="9740063" y="3764826"/>
              <a:ext cx="31465" cy="8057"/>
            </a:xfrm>
            <a:custGeom>
              <a:avLst/>
              <a:gdLst/>
              <a:ahLst/>
              <a:cxnLst>
                <a:cxn ang="0">
                  <a:pos x="wd2" y="hd2"/>
                </a:cxn>
                <a:cxn ang="5400000">
                  <a:pos x="wd2" y="hd2"/>
                </a:cxn>
                <a:cxn ang="10800000">
                  <a:pos x="wd2" y="hd2"/>
                </a:cxn>
                <a:cxn ang="16200000">
                  <a:pos x="wd2" y="hd2"/>
                </a:cxn>
              </a:cxnLst>
              <a:rect l="0" t="0" r="r" b="b"/>
              <a:pathLst>
                <a:path w="21600" h="12900" extrusionOk="0">
                  <a:moveTo>
                    <a:pt x="21600" y="8100"/>
                  </a:moveTo>
                  <a:cubicBezTo>
                    <a:pt x="21600" y="-2700"/>
                    <a:pt x="0" y="-2700"/>
                    <a:pt x="0" y="8100"/>
                  </a:cubicBezTo>
                  <a:cubicBezTo>
                    <a:pt x="0" y="8100"/>
                    <a:pt x="21600" y="18900"/>
                    <a:pt x="21600" y="81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4" name="Shape 1893">
              <a:extLst>
                <a:ext uri="{FF2B5EF4-FFF2-40B4-BE49-F238E27FC236}">
                  <a16:creationId xmlns:a16="http://schemas.microsoft.com/office/drawing/2014/main" id="{060DD987-5FA5-F3EC-8E2A-20467D625C39}"/>
                </a:ext>
              </a:extLst>
            </p:cNvPr>
            <p:cNvSpPr/>
            <p:nvPr/>
          </p:nvSpPr>
          <p:spPr>
            <a:xfrm>
              <a:off x="9751538" y="3774790"/>
              <a:ext cx="114717" cy="65533"/>
            </a:xfrm>
            <a:custGeom>
              <a:avLst/>
              <a:gdLst/>
              <a:ahLst/>
              <a:cxnLst>
                <a:cxn ang="0">
                  <a:pos x="wd2" y="hd2"/>
                </a:cxn>
                <a:cxn ang="5400000">
                  <a:pos x="wd2" y="hd2"/>
                </a:cxn>
                <a:cxn ang="10800000">
                  <a:pos x="wd2" y="hd2"/>
                </a:cxn>
                <a:cxn ang="16200000">
                  <a:pos x="wd2" y="hd2"/>
                </a:cxn>
              </a:cxnLst>
              <a:rect l="0" t="0" r="r" b="b"/>
              <a:pathLst>
                <a:path w="20046" h="19081" extrusionOk="0">
                  <a:moveTo>
                    <a:pt x="10541" y="536"/>
                  </a:moveTo>
                  <a:cubicBezTo>
                    <a:pt x="9405" y="-1428"/>
                    <a:pt x="4857" y="2499"/>
                    <a:pt x="3720" y="4463"/>
                  </a:cubicBezTo>
                  <a:cubicBezTo>
                    <a:pt x="2584" y="4463"/>
                    <a:pt x="3720" y="4463"/>
                    <a:pt x="2584" y="6427"/>
                  </a:cubicBezTo>
                  <a:cubicBezTo>
                    <a:pt x="2584" y="8390"/>
                    <a:pt x="1447" y="4463"/>
                    <a:pt x="310" y="4463"/>
                  </a:cubicBezTo>
                  <a:cubicBezTo>
                    <a:pt x="-827" y="4463"/>
                    <a:pt x="1447" y="10354"/>
                    <a:pt x="2584" y="10354"/>
                  </a:cubicBezTo>
                  <a:cubicBezTo>
                    <a:pt x="2584" y="12317"/>
                    <a:pt x="4857" y="12317"/>
                    <a:pt x="5994" y="12317"/>
                  </a:cubicBezTo>
                  <a:cubicBezTo>
                    <a:pt x="8268" y="12317"/>
                    <a:pt x="8268" y="16245"/>
                    <a:pt x="9405" y="18208"/>
                  </a:cubicBezTo>
                  <a:cubicBezTo>
                    <a:pt x="10541" y="20172"/>
                    <a:pt x="13952" y="18208"/>
                    <a:pt x="15089" y="18208"/>
                  </a:cubicBezTo>
                  <a:cubicBezTo>
                    <a:pt x="19636" y="18208"/>
                    <a:pt x="20773" y="14281"/>
                    <a:pt x="19636" y="8390"/>
                  </a:cubicBezTo>
                  <a:cubicBezTo>
                    <a:pt x="19636" y="4463"/>
                    <a:pt x="18499" y="2499"/>
                    <a:pt x="16226" y="2499"/>
                  </a:cubicBezTo>
                  <a:cubicBezTo>
                    <a:pt x="15089" y="2499"/>
                    <a:pt x="12815" y="536"/>
                    <a:pt x="10541" y="536"/>
                  </a:cubicBezTo>
                  <a:cubicBezTo>
                    <a:pt x="10541" y="536"/>
                    <a:pt x="11678" y="536"/>
                    <a:pt x="10541" y="53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5" name="Shape 1894">
              <a:extLst>
                <a:ext uri="{FF2B5EF4-FFF2-40B4-BE49-F238E27FC236}">
                  <a16:creationId xmlns:a16="http://schemas.microsoft.com/office/drawing/2014/main" id="{BE0C14D5-2EF2-23F8-2A62-DEE1C431B40F}"/>
                </a:ext>
              </a:extLst>
            </p:cNvPr>
            <p:cNvSpPr/>
            <p:nvPr/>
          </p:nvSpPr>
          <p:spPr>
            <a:xfrm>
              <a:off x="10333380" y="3905413"/>
              <a:ext cx="131613" cy="64943"/>
            </a:xfrm>
            <a:custGeom>
              <a:avLst/>
              <a:gdLst/>
              <a:ahLst/>
              <a:cxnLst>
                <a:cxn ang="0">
                  <a:pos x="wd2" y="hd2"/>
                </a:cxn>
                <a:cxn ang="5400000">
                  <a:pos x="wd2" y="hd2"/>
                </a:cxn>
                <a:cxn ang="10800000">
                  <a:pos x="wd2" y="hd2"/>
                </a:cxn>
                <a:cxn ang="16200000">
                  <a:pos x="wd2" y="hd2"/>
                </a:cxn>
              </a:cxnLst>
              <a:rect l="0" t="0" r="r" b="b"/>
              <a:pathLst>
                <a:path w="20737" h="17829" extrusionOk="0">
                  <a:moveTo>
                    <a:pt x="0" y="11754"/>
                  </a:moveTo>
                  <a:cubicBezTo>
                    <a:pt x="1029" y="9954"/>
                    <a:pt x="5143" y="11754"/>
                    <a:pt x="6171" y="11754"/>
                  </a:cubicBezTo>
                  <a:cubicBezTo>
                    <a:pt x="7200" y="11754"/>
                    <a:pt x="8229" y="8154"/>
                    <a:pt x="9257" y="9954"/>
                  </a:cubicBezTo>
                  <a:cubicBezTo>
                    <a:pt x="10286" y="11754"/>
                    <a:pt x="12343" y="11754"/>
                    <a:pt x="13371" y="9954"/>
                  </a:cubicBezTo>
                  <a:cubicBezTo>
                    <a:pt x="13371" y="8154"/>
                    <a:pt x="14400" y="6354"/>
                    <a:pt x="14400" y="6354"/>
                  </a:cubicBezTo>
                  <a:cubicBezTo>
                    <a:pt x="15429" y="6354"/>
                    <a:pt x="17486" y="6354"/>
                    <a:pt x="17486" y="2754"/>
                  </a:cubicBezTo>
                  <a:cubicBezTo>
                    <a:pt x="17486" y="-2646"/>
                    <a:pt x="21600" y="954"/>
                    <a:pt x="20571" y="4554"/>
                  </a:cubicBezTo>
                  <a:cubicBezTo>
                    <a:pt x="19543" y="6354"/>
                    <a:pt x="18514" y="9954"/>
                    <a:pt x="18514" y="9954"/>
                  </a:cubicBezTo>
                  <a:cubicBezTo>
                    <a:pt x="15429" y="11754"/>
                    <a:pt x="14400" y="15354"/>
                    <a:pt x="11314" y="17154"/>
                  </a:cubicBezTo>
                  <a:cubicBezTo>
                    <a:pt x="9257" y="18954"/>
                    <a:pt x="0" y="17154"/>
                    <a:pt x="0" y="11754"/>
                  </a:cubicBezTo>
                  <a:cubicBezTo>
                    <a:pt x="0" y="9954"/>
                    <a:pt x="0" y="15354"/>
                    <a:pt x="0" y="117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6" name="Shape 1895">
              <a:extLst>
                <a:ext uri="{FF2B5EF4-FFF2-40B4-BE49-F238E27FC236}">
                  <a16:creationId xmlns:a16="http://schemas.microsoft.com/office/drawing/2014/main" id="{C1FEB257-CD0B-7BFD-A0B7-EDC9F5F1BFA2}"/>
                </a:ext>
              </a:extLst>
            </p:cNvPr>
            <p:cNvSpPr/>
            <p:nvPr/>
          </p:nvSpPr>
          <p:spPr>
            <a:xfrm>
              <a:off x="10535771" y="3936236"/>
              <a:ext cx="48630" cy="55974"/>
            </a:xfrm>
            <a:custGeom>
              <a:avLst/>
              <a:gdLst/>
              <a:ahLst/>
              <a:cxnLst>
                <a:cxn ang="0">
                  <a:pos x="wd2" y="hd2"/>
                </a:cxn>
                <a:cxn ang="5400000">
                  <a:pos x="wd2" y="hd2"/>
                </a:cxn>
                <a:cxn ang="10800000">
                  <a:pos x="wd2" y="hd2"/>
                </a:cxn>
                <a:cxn ang="16200000">
                  <a:pos x="wd2" y="hd2"/>
                </a:cxn>
              </a:cxnLst>
              <a:rect l="0" t="0" r="r" b="b"/>
              <a:pathLst>
                <a:path w="17976" h="16807" extrusionOk="0">
                  <a:moveTo>
                    <a:pt x="693" y="0"/>
                  </a:moveTo>
                  <a:cubicBezTo>
                    <a:pt x="-1707" y="1964"/>
                    <a:pt x="10293" y="21600"/>
                    <a:pt x="17493" y="15709"/>
                  </a:cubicBezTo>
                  <a:cubicBezTo>
                    <a:pt x="19893" y="11782"/>
                    <a:pt x="12693" y="7855"/>
                    <a:pt x="10293" y="7855"/>
                  </a:cubicBezTo>
                  <a:cubicBezTo>
                    <a:pt x="7893" y="5891"/>
                    <a:pt x="693" y="0"/>
                    <a:pt x="693" y="0"/>
                  </a:cubicBezTo>
                  <a:cubicBezTo>
                    <a:pt x="-1707" y="1964"/>
                    <a:pt x="3093" y="0"/>
                    <a:pt x="69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7" name="Shape 1896">
              <a:extLst>
                <a:ext uri="{FF2B5EF4-FFF2-40B4-BE49-F238E27FC236}">
                  <a16:creationId xmlns:a16="http://schemas.microsoft.com/office/drawing/2014/main" id="{675FCC92-FB30-8AEE-E04D-D595F66715FF}"/>
                </a:ext>
              </a:extLst>
            </p:cNvPr>
            <p:cNvSpPr/>
            <p:nvPr/>
          </p:nvSpPr>
          <p:spPr>
            <a:xfrm>
              <a:off x="10707604" y="4076331"/>
              <a:ext cx="32555" cy="22501"/>
            </a:xfrm>
            <a:custGeom>
              <a:avLst/>
              <a:gdLst/>
              <a:ahLst/>
              <a:cxnLst>
                <a:cxn ang="0">
                  <a:pos x="wd2" y="hd2"/>
                </a:cxn>
                <a:cxn ang="5400000">
                  <a:pos x="wd2" y="hd2"/>
                </a:cxn>
                <a:cxn ang="10800000">
                  <a:pos x="wd2" y="hd2"/>
                </a:cxn>
                <a:cxn ang="16200000">
                  <a:pos x="wd2" y="hd2"/>
                </a:cxn>
              </a:cxnLst>
              <a:rect l="0" t="0" r="r" b="b"/>
              <a:pathLst>
                <a:path w="18405" h="12717" extrusionOk="0">
                  <a:moveTo>
                    <a:pt x="18405" y="10182"/>
                  </a:moveTo>
                  <a:cubicBezTo>
                    <a:pt x="18405" y="2982"/>
                    <a:pt x="-3195" y="-4218"/>
                    <a:pt x="405" y="2982"/>
                  </a:cubicBezTo>
                  <a:cubicBezTo>
                    <a:pt x="405" y="6582"/>
                    <a:pt x="18405" y="13782"/>
                    <a:pt x="18405" y="10182"/>
                  </a:cubicBezTo>
                  <a:cubicBezTo>
                    <a:pt x="18405" y="6582"/>
                    <a:pt x="18405" y="17382"/>
                    <a:pt x="18405" y="101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8" name="Shape 1897">
              <a:extLst>
                <a:ext uri="{FF2B5EF4-FFF2-40B4-BE49-F238E27FC236}">
                  <a16:creationId xmlns:a16="http://schemas.microsoft.com/office/drawing/2014/main" id="{16439307-8CDD-FF73-62C1-04FE486DF1E4}"/>
                </a:ext>
              </a:extLst>
            </p:cNvPr>
            <p:cNvSpPr/>
            <p:nvPr/>
          </p:nvSpPr>
          <p:spPr>
            <a:xfrm>
              <a:off x="10661498" y="4014030"/>
              <a:ext cx="55358" cy="34606"/>
            </a:xfrm>
            <a:custGeom>
              <a:avLst/>
              <a:gdLst/>
              <a:ahLst/>
              <a:cxnLst>
                <a:cxn ang="0">
                  <a:pos x="wd2" y="hd2"/>
                </a:cxn>
                <a:cxn ang="5400000">
                  <a:pos x="wd2" y="hd2"/>
                </a:cxn>
                <a:cxn ang="10800000">
                  <a:pos x="wd2" y="hd2"/>
                </a:cxn>
                <a:cxn ang="16200000">
                  <a:pos x="wd2" y="hd2"/>
                </a:cxn>
              </a:cxnLst>
              <a:rect l="0" t="0" r="r" b="b"/>
              <a:pathLst>
                <a:path w="19705" h="18473" extrusionOk="0">
                  <a:moveTo>
                    <a:pt x="19200" y="18473"/>
                  </a:moveTo>
                  <a:cubicBezTo>
                    <a:pt x="14400" y="14873"/>
                    <a:pt x="7200" y="-3127"/>
                    <a:pt x="0" y="473"/>
                  </a:cubicBezTo>
                  <a:cubicBezTo>
                    <a:pt x="0" y="4073"/>
                    <a:pt x="7200" y="7673"/>
                    <a:pt x="7200" y="11273"/>
                  </a:cubicBezTo>
                  <a:cubicBezTo>
                    <a:pt x="12000" y="11273"/>
                    <a:pt x="14400" y="14873"/>
                    <a:pt x="19200" y="18473"/>
                  </a:cubicBezTo>
                  <a:cubicBezTo>
                    <a:pt x="21600" y="18473"/>
                    <a:pt x="14400" y="14873"/>
                    <a:pt x="19200" y="184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9" name="Shape 1898">
              <a:extLst>
                <a:ext uri="{FF2B5EF4-FFF2-40B4-BE49-F238E27FC236}">
                  <a16:creationId xmlns:a16="http://schemas.microsoft.com/office/drawing/2014/main" id="{85828A57-DCF7-198F-3C28-7734F06B0AA3}"/>
                </a:ext>
              </a:extLst>
            </p:cNvPr>
            <p:cNvSpPr/>
            <p:nvPr/>
          </p:nvSpPr>
          <p:spPr>
            <a:xfrm>
              <a:off x="10603066" y="3981196"/>
              <a:ext cx="26970" cy="28051"/>
            </a:xfrm>
            <a:custGeom>
              <a:avLst/>
              <a:gdLst/>
              <a:ahLst/>
              <a:cxnLst>
                <a:cxn ang="0">
                  <a:pos x="wd2" y="hd2"/>
                </a:cxn>
                <a:cxn ang="5400000">
                  <a:pos x="wd2" y="hd2"/>
                </a:cxn>
                <a:cxn ang="10800000">
                  <a:pos x="wd2" y="hd2"/>
                </a:cxn>
                <a:cxn ang="16200000">
                  <a:pos x="wd2" y="hd2"/>
                </a:cxn>
              </a:cxnLst>
              <a:rect l="0" t="0" r="r" b="b"/>
              <a:pathLst>
                <a:path w="21600" h="17968" extrusionOk="0">
                  <a:moveTo>
                    <a:pt x="21600" y="17280"/>
                  </a:moveTo>
                  <a:cubicBezTo>
                    <a:pt x="21600" y="8640"/>
                    <a:pt x="0" y="0"/>
                    <a:pt x="0" y="0"/>
                  </a:cubicBezTo>
                  <a:cubicBezTo>
                    <a:pt x="0" y="4320"/>
                    <a:pt x="21600" y="21600"/>
                    <a:pt x="21600"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0" name="Shape 1899">
              <a:extLst>
                <a:ext uri="{FF2B5EF4-FFF2-40B4-BE49-F238E27FC236}">
                  <a16:creationId xmlns:a16="http://schemas.microsoft.com/office/drawing/2014/main" id="{88FFE6A1-4362-8FA7-666E-97A6FEC80574}"/>
                </a:ext>
              </a:extLst>
            </p:cNvPr>
            <p:cNvSpPr/>
            <p:nvPr/>
          </p:nvSpPr>
          <p:spPr>
            <a:xfrm>
              <a:off x="10856711" y="4444282"/>
              <a:ext cx="88464" cy="72512"/>
            </a:xfrm>
            <a:custGeom>
              <a:avLst/>
              <a:gdLst/>
              <a:ahLst/>
              <a:cxnLst>
                <a:cxn ang="0">
                  <a:pos x="wd2" y="hd2"/>
                </a:cxn>
                <a:cxn ang="5400000">
                  <a:pos x="wd2" y="hd2"/>
                </a:cxn>
                <a:cxn ang="10800000">
                  <a:pos x="wd2" y="hd2"/>
                </a:cxn>
                <a:cxn ang="16200000">
                  <a:pos x="wd2" y="hd2"/>
                </a:cxn>
              </a:cxnLst>
              <a:rect l="0" t="0" r="r" b="b"/>
              <a:pathLst>
                <a:path w="18090" h="19907" extrusionOk="0">
                  <a:moveTo>
                    <a:pt x="18016" y="19800"/>
                  </a:moveTo>
                  <a:cubicBezTo>
                    <a:pt x="19366" y="21600"/>
                    <a:pt x="1816" y="0"/>
                    <a:pt x="466" y="0"/>
                  </a:cubicBezTo>
                  <a:cubicBezTo>
                    <a:pt x="-2234" y="0"/>
                    <a:pt x="7216" y="16200"/>
                    <a:pt x="18016" y="19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1" name="Shape 1900">
              <a:extLst>
                <a:ext uri="{FF2B5EF4-FFF2-40B4-BE49-F238E27FC236}">
                  <a16:creationId xmlns:a16="http://schemas.microsoft.com/office/drawing/2014/main" id="{CEADD0CB-AB50-6FBA-E7A1-EAFBB50F944F}"/>
                </a:ext>
              </a:extLst>
            </p:cNvPr>
            <p:cNvSpPr/>
            <p:nvPr/>
          </p:nvSpPr>
          <p:spPr>
            <a:xfrm>
              <a:off x="11128960" y="4945584"/>
              <a:ext cx="74165" cy="9217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9636" y="18514"/>
                    <a:pt x="21600" y="16971"/>
                    <a:pt x="17673" y="15429"/>
                  </a:cubicBezTo>
                  <a:cubicBezTo>
                    <a:pt x="15709" y="12343"/>
                    <a:pt x="17673" y="12343"/>
                    <a:pt x="17673" y="10800"/>
                  </a:cubicBezTo>
                  <a:cubicBezTo>
                    <a:pt x="15709" y="7714"/>
                    <a:pt x="0" y="1543"/>
                    <a:pt x="0" y="0"/>
                  </a:cubicBezTo>
                  <a:cubicBezTo>
                    <a:pt x="0" y="1543"/>
                    <a:pt x="5891" y="4629"/>
                    <a:pt x="5891" y="6171"/>
                  </a:cubicBezTo>
                  <a:cubicBezTo>
                    <a:pt x="7855" y="9257"/>
                    <a:pt x="7855" y="10800"/>
                    <a:pt x="9818" y="12343"/>
                  </a:cubicBezTo>
                  <a:cubicBezTo>
                    <a:pt x="11782" y="13886"/>
                    <a:pt x="17673" y="15429"/>
                    <a:pt x="15709" y="16971"/>
                  </a:cubicBezTo>
                  <a:cubicBezTo>
                    <a:pt x="15709" y="20057"/>
                    <a:pt x="17673" y="20057"/>
                    <a:pt x="216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2" name="Shape 1901">
              <a:extLst>
                <a:ext uri="{FF2B5EF4-FFF2-40B4-BE49-F238E27FC236}">
                  <a16:creationId xmlns:a16="http://schemas.microsoft.com/office/drawing/2014/main" id="{3D27B541-2A1B-0616-0E95-6C13AC7B21AC}"/>
                </a:ext>
              </a:extLst>
            </p:cNvPr>
            <p:cNvSpPr/>
            <p:nvPr/>
          </p:nvSpPr>
          <p:spPr>
            <a:xfrm>
              <a:off x="11169126" y="5031009"/>
              <a:ext cx="150865" cy="190069"/>
            </a:xfrm>
            <a:custGeom>
              <a:avLst/>
              <a:gdLst/>
              <a:ahLst/>
              <a:cxnLst>
                <a:cxn ang="0">
                  <a:pos x="wd2" y="hd2"/>
                </a:cxn>
                <a:cxn ang="5400000">
                  <a:pos x="wd2" y="hd2"/>
                </a:cxn>
                <a:cxn ang="10800000">
                  <a:pos x="wd2" y="hd2"/>
                </a:cxn>
                <a:cxn ang="16200000">
                  <a:pos x="wd2" y="hd2"/>
                </a:cxn>
              </a:cxnLst>
              <a:rect l="0" t="0" r="r" b="b"/>
              <a:pathLst>
                <a:path w="19079" h="20520" extrusionOk="0">
                  <a:moveTo>
                    <a:pt x="4125" y="1440"/>
                  </a:moveTo>
                  <a:cubicBezTo>
                    <a:pt x="3294" y="1440"/>
                    <a:pt x="3294" y="6480"/>
                    <a:pt x="3294" y="7920"/>
                  </a:cubicBezTo>
                  <a:cubicBezTo>
                    <a:pt x="2464" y="9360"/>
                    <a:pt x="-2521" y="11520"/>
                    <a:pt x="1633" y="12960"/>
                  </a:cubicBezTo>
                  <a:cubicBezTo>
                    <a:pt x="4125" y="13680"/>
                    <a:pt x="6617" y="15120"/>
                    <a:pt x="4956" y="18000"/>
                  </a:cubicBezTo>
                  <a:cubicBezTo>
                    <a:pt x="2464" y="21600"/>
                    <a:pt x="6617" y="20880"/>
                    <a:pt x="9110" y="18720"/>
                  </a:cubicBezTo>
                  <a:cubicBezTo>
                    <a:pt x="9941" y="18000"/>
                    <a:pt x="10771" y="16560"/>
                    <a:pt x="11602" y="15840"/>
                  </a:cubicBezTo>
                  <a:cubicBezTo>
                    <a:pt x="13264" y="13680"/>
                    <a:pt x="12433" y="13680"/>
                    <a:pt x="12433" y="11520"/>
                  </a:cubicBezTo>
                  <a:cubicBezTo>
                    <a:pt x="13264" y="10080"/>
                    <a:pt x="14925" y="10080"/>
                    <a:pt x="15756" y="10080"/>
                  </a:cubicBezTo>
                  <a:cubicBezTo>
                    <a:pt x="16587" y="10800"/>
                    <a:pt x="18248" y="7920"/>
                    <a:pt x="19079" y="7200"/>
                  </a:cubicBezTo>
                  <a:cubicBezTo>
                    <a:pt x="19079" y="6480"/>
                    <a:pt x="19079" y="4320"/>
                    <a:pt x="18248" y="4320"/>
                  </a:cubicBezTo>
                  <a:cubicBezTo>
                    <a:pt x="16587" y="4320"/>
                    <a:pt x="14925" y="5760"/>
                    <a:pt x="14094" y="5760"/>
                  </a:cubicBezTo>
                  <a:cubicBezTo>
                    <a:pt x="12433" y="5760"/>
                    <a:pt x="9941" y="5040"/>
                    <a:pt x="9110" y="3600"/>
                  </a:cubicBezTo>
                  <a:cubicBezTo>
                    <a:pt x="8279" y="2880"/>
                    <a:pt x="8279" y="0"/>
                    <a:pt x="6617" y="0"/>
                  </a:cubicBezTo>
                  <a:cubicBezTo>
                    <a:pt x="6617" y="0"/>
                    <a:pt x="6617" y="2160"/>
                    <a:pt x="6617" y="2160"/>
                  </a:cubicBezTo>
                  <a:cubicBezTo>
                    <a:pt x="5787" y="2160"/>
                    <a:pt x="4956" y="720"/>
                    <a:pt x="4125" y="1440"/>
                  </a:cubicBezTo>
                  <a:cubicBezTo>
                    <a:pt x="3294" y="1440"/>
                    <a:pt x="4956" y="720"/>
                    <a:pt x="4125" y="14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3" name="Shape 1902">
              <a:extLst>
                <a:ext uri="{FF2B5EF4-FFF2-40B4-BE49-F238E27FC236}">
                  <a16:creationId xmlns:a16="http://schemas.microsoft.com/office/drawing/2014/main" id="{3435DB29-E01E-D8EF-1CA0-40BD61A6DC54}"/>
                </a:ext>
              </a:extLst>
            </p:cNvPr>
            <p:cNvSpPr/>
            <p:nvPr/>
          </p:nvSpPr>
          <p:spPr>
            <a:xfrm>
              <a:off x="10928330" y="5182690"/>
              <a:ext cx="249800" cy="241351"/>
            </a:xfrm>
            <a:custGeom>
              <a:avLst/>
              <a:gdLst/>
              <a:ahLst/>
              <a:cxnLst>
                <a:cxn ang="0">
                  <a:pos x="wd2" y="hd2"/>
                </a:cxn>
                <a:cxn ang="5400000">
                  <a:pos x="wd2" y="hd2"/>
                </a:cxn>
                <a:cxn ang="10800000">
                  <a:pos x="wd2" y="hd2"/>
                </a:cxn>
                <a:cxn ang="16200000">
                  <a:pos x="wd2" y="hd2"/>
                </a:cxn>
              </a:cxnLst>
              <a:rect l="0" t="0" r="r" b="b"/>
              <a:pathLst>
                <a:path w="20877" h="20706" extrusionOk="0">
                  <a:moveTo>
                    <a:pt x="17953" y="1797"/>
                  </a:moveTo>
                  <a:cubicBezTo>
                    <a:pt x="17953" y="1797"/>
                    <a:pt x="17399" y="-477"/>
                    <a:pt x="16291" y="91"/>
                  </a:cubicBezTo>
                  <a:cubicBezTo>
                    <a:pt x="14630" y="1228"/>
                    <a:pt x="15184" y="2365"/>
                    <a:pt x="14076" y="4070"/>
                  </a:cubicBezTo>
                  <a:cubicBezTo>
                    <a:pt x="13522" y="4639"/>
                    <a:pt x="12968" y="6344"/>
                    <a:pt x="11861" y="6912"/>
                  </a:cubicBezTo>
                  <a:cubicBezTo>
                    <a:pt x="10753" y="8618"/>
                    <a:pt x="9645" y="9186"/>
                    <a:pt x="7984" y="9755"/>
                  </a:cubicBezTo>
                  <a:cubicBezTo>
                    <a:pt x="6876" y="10323"/>
                    <a:pt x="6322" y="11460"/>
                    <a:pt x="4661" y="12028"/>
                  </a:cubicBezTo>
                  <a:cubicBezTo>
                    <a:pt x="3553" y="12597"/>
                    <a:pt x="3553" y="14870"/>
                    <a:pt x="1891" y="14870"/>
                  </a:cubicBezTo>
                  <a:cubicBezTo>
                    <a:pt x="-324" y="15439"/>
                    <a:pt x="1891" y="17144"/>
                    <a:pt x="784" y="18281"/>
                  </a:cubicBezTo>
                  <a:cubicBezTo>
                    <a:pt x="230" y="18281"/>
                    <a:pt x="-324" y="18281"/>
                    <a:pt x="230" y="18849"/>
                  </a:cubicBezTo>
                  <a:cubicBezTo>
                    <a:pt x="230" y="19418"/>
                    <a:pt x="230" y="19418"/>
                    <a:pt x="1338" y="19418"/>
                  </a:cubicBezTo>
                  <a:cubicBezTo>
                    <a:pt x="2445" y="19418"/>
                    <a:pt x="4107" y="20555"/>
                    <a:pt x="5214" y="20555"/>
                  </a:cubicBezTo>
                  <a:cubicBezTo>
                    <a:pt x="7430" y="21123"/>
                    <a:pt x="8538" y="19986"/>
                    <a:pt x="10199" y="18849"/>
                  </a:cubicBezTo>
                  <a:cubicBezTo>
                    <a:pt x="11307" y="17712"/>
                    <a:pt x="11861" y="16576"/>
                    <a:pt x="11861" y="14870"/>
                  </a:cubicBezTo>
                  <a:cubicBezTo>
                    <a:pt x="12414" y="13165"/>
                    <a:pt x="12968" y="13165"/>
                    <a:pt x="14630" y="12028"/>
                  </a:cubicBezTo>
                  <a:cubicBezTo>
                    <a:pt x="15184" y="12028"/>
                    <a:pt x="15184" y="11460"/>
                    <a:pt x="15738" y="11460"/>
                  </a:cubicBezTo>
                  <a:cubicBezTo>
                    <a:pt x="16291" y="11460"/>
                    <a:pt x="16845" y="11460"/>
                    <a:pt x="17953" y="11460"/>
                  </a:cubicBezTo>
                  <a:cubicBezTo>
                    <a:pt x="18507" y="10891"/>
                    <a:pt x="17953" y="10323"/>
                    <a:pt x="17399" y="10323"/>
                  </a:cubicBezTo>
                  <a:cubicBezTo>
                    <a:pt x="16845" y="9755"/>
                    <a:pt x="16845" y="9755"/>
                    <a:pt x="17399" y="9186"/>
                  </a:cubicBezTo>
                  <a:cubicBezTo>
                    <a:pt x="18507" y="7481"/>
                    <a:pt x="19614" y="6344"/>
                    <a:pt x="20722" y="4639"/>
                  </a:cubicBezTo>
                  <a:cubicBezTo>
                    <a:pt x="20722" y="4070"/>
                    <a:pt x="20722" y="3502"/>
                    <a:pt x="20722" y="2934"/>
                  </a:cubicBezTo>
                  <a:cubicBezTo>
                    <a:pt x="20722" y="2365"/>
                    <a:pt x="20722" y="2365"/>
                    <a:pt x="20722" y="1797"/>
                  </a:cubicBezTo>
                  <a:cubicBezTo>
                    <a:pt x="21276" y="1228"/>
                    <a:pt x="20168" y="1797"/>
                    <a:pt x="20168" y="1797"/>
                  </a:cubicBezTo>
                  <a:cubicBezTo>
                    <a:pt x="20168" y="1228"/>
                    <a:pt x="20168" y="1228"/>
                    <a:pt x="20168" y="660"/>
                  </a:cubicBezTo>
                  <a:cubicBezTo>
                    <a:pt x="19614" y="1228"/>
                    <a:pt x="19061" y="2365"/>
                    <a:pt x="17953" y="17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4" name="Shape 1903">
              <a:extLst>
                <a:ext uri="{FF2B5EF4-FFF2-40B4-BE49-F238E27FC236}">
                  <a16:creationId xmlns:a16="http://schemas.microsoft.com/office/drawing/2014/main" id="{411D5FF1-CC49-CCDF-E324-22388562A2AA}"/>
                </a:ext>
              </a:extLst>
            </p:cNvPr>
            <p:cNvSpPr/>
            <p:nvPr/>
          </p:nvSpPr>
          <p:spPr>
            <a:xfrm>
              <a:off x="10964898" y="5428904"/>
              <a:ext cx="13486" cy="134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10800"/>
                    <a:pt x="10800" y="10800"/>
                    <a:pt x="10800" y="0"/>
                  </a:cubicBezTo>
                  <a:cubicBezTo>
                    <a:pt x="0" y="10800"/>
                    <a:pt x="0" y="10800"/>
                    <a:pt x="0" y="21600"/>
                  </a:cubicBezTo>
                  <a:cubicBezTo>
                    <a:pt x="10800" y="21600"/>
                    <a:pt x="21600" y="21600"/>
                    <a:pt x="216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5" name="Shape 1904">
              <a:extLst>
                <a:ext uri="{FF2B5EF4-FFF2-40B4-BE49-F238E27FC236}">
                  <a16:creationId xmlns:a16="http://schemas.microsoft.com/office/drawing/2014/main" id="{E3E55506-C0AE-2DD5-42F3-1884AC2D7E1C}"/>
                </a:ext>
              </a:extLst>
            </p:cNvPr>
            <p:cNvSpPr/>
            <p:nvPr/>
          </p:nvSpPr>
          <p:spPr>
            <a:xfrm>
              <a:off x="10207525" y="5189751"/>
              <a:ext cx="120292" cy="113267"/>
            </a:xfrm>
            <a:custGeom>
              <a:avLst/>
              <a:gdLst/>
              <a:ahLst/>
              <a:cxnLst>
                <a:cxn ang="0">
                  <a:pos x="wd2" y="hd2"/>
                </a:cxn>
                <a:cxn ang="5400000">
                  <a:pos x="wd2" y="hd2"/>
                </a:cxn>
                <a:cxn ang="10800000">
                  <a:pos x="wd2" y="hd2"/>
                </a:cxn>
                <a:cxn ang="16200000">
                  <a:pos x="wd2" y="hd2"/>
                </a:cxn>
              </a:cxnLst>
              <a:rect l="0" t="0" r="r" b="b"/>
              <a:pathLst>
                <a:path w="20645" h="20534" extrusionOk="0">
                  <a:moveTo>
                    <a:pt x="0" y="1334"/>
                  </a:moveTo>
                  <a:cubicBezTo>
                    <a:pt x="0" y="2534"/>
                    <a:pt x="2274" y="6134"/>
                    <a:pt x="2274" y="7334"/>
                  </a:cubicBezTo>
                  <a:cubicBezTo>
                    <a:pt x="3411" y="8534"/>
                    <a:pt x="4547" y="9734"/>
                    <a:pt x="4547" y="10934"/>
                  </a:cubicBezTo>
                  <a:cubicBezTo>
                    <a:pt x="4547" y="12134"/>
                    <a:pt x="3411" y="12134"/>
                    <a:pt x="3411" y="13334"/>
                  </a:cubicBezTo>
                  <a:cubicBezTo>
                    <a:pt x="4547" y="16934"/>
                    <a:pt x="7958" y="19334"/>
                    <a:pt x="10232" y="20534"/>
                  </a:cubicBezTo>
                  <a:cubicBezTo>
                    <a:pt x="12505" y="20534"/>
                    <a:pt x="12505" y="18134"/>
                    <a:pt x="13642" y="16934"/>
                  </a:cubicBezTo>
                  <a:cubicBezTo>
                    <a:pt x="13642" y="16934"/>
                    <a:pt x="14779" y="19334"/>
                    <a:pt x="14779" y="19334"/>
                  </a:cubicBezTo>
                  <a:cubicBezTo>
                    <a:pt x="14779" y="18134"/>
                    <a:pt x="14779" y="15734"/>
                    <a:pt x="15916" y="15734"/>
                  </a:cubicBezTo>
                  <a:cubicBezTo>
                    <a:pt x="17053" y="14534"/>
                    <a:pt x="17053" y="16934"/>
                    <a:pt x="18189" y="16934"/>
                  </a:cubicBezTo>
                  <a:cubicBezTo>
                    <a:pt x="17053" y="16934"/>
                    <a:pt x="20463" y="8534"/>
                    <a:pt x="20463" y="7334"/>
                  </a:cubicBezTo>
                  <a:cubicBezTo>
                    <a:pt x="20463" y="6134"/>
                    <a:pt x="21600" y="-1066"/>
                    <a:pt x="18189" y="134"/>
                  </a:cubicBezTo>
                  <a:cubicBezTo>
                    <a:pt x="14779" y="1334"/>
                    <a:pt x="11368" y="3734"/>
                    <a:pt x="7958" y="2534"/>
                  </a:cubicBezTo>
                  <a:cubicBezTo>
                    <a:pt x="6821" y="2534"/>
                    <a:pt x="1137" y="-1066"/>
                    <a:pt x="0" y="1334"/>
                  </a:cubicBezTo>
                  <a:cubicBezTo>
                    <a:pt x="0" y="2534"/>
                    <a:pt x="1137" y="-1066"/>
                    <a:pt x="0" y="133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6" name="Shape 1905">
              <a:extLst>
                <a:ext uri="{FF2B5EF4-FFF2-40B4-BE49-F238E27FC236}">
                  <a16:creationId xmlns:a16="http://schemas.microsoft.com/office/drawing/2014/main" id="{97F28D74-FB9A-518F-1472-296CC937E50D}"/>
                </a:ext>
              </a:extLst>
            </p:cNvPr>
            <p:cNvSpPr/>
            <p:nvPr/>
          </p:nvSpPr>
          <p:spPr>
            <a:xfrm>
              <a:off x="10311777" y="5150153"/>
              <a:ext cx="14861" cy="28052"/>
            </a:xfrm>
            <a:custGeom>
              <a:avLst/>
              <a:gdLst/>
              <a:ahLst/>
              <a:cxnLst>
                <a:cxn ang="0">
                  <a:pos x="wd2" y="hd2"/>
                </a:cxn>
                <a:cxn ang="5400000">
                  <a:pos x="wd2" y="hd2"/>
                </a:cxn>
                <a:cxn ang="10800000">
                  <a:pos x="wd2" y="hd2"/>
                </a:cxn>
                <a:cxn ang="16200000">
                  <a:pos x="wd2" y="hd2"/>
                </a:cxn>
              </a:cxnLst>
              <a:rect l="0" t="0" r="r" b="b"/>
              <a:pathLst>
                <a:path w="15869" h="17968" extrusionOk="0">
                  <a:moveTo>
                    <a:pt x="15869" y="17280"/>
                  </a:moveTo>
                  <a:cubicBezTo>
                    <a:pt x="15869" y="21600"/>
                    <a:pt x="-5731" y="4320"/>
                    <a:pt x="1469" y="0"/>
                  </a:cubicBezTo>
                  <a:cubicBezTo>
                    <a:pt x="8669" y="0"/>
                    <a:pt x="15869" y="4320"/>
                    <a:pt x="15869"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7" name="Shape 1906">
              <a:extLst>
                <a:ext uri="{FF2B5EF4-FFF2-40B4-BE49-F238E27FC236}">
                  <a16:creationId xmlns:a16="http://schemas.microsoft.com/office/drawing/2014/main" id="{CC4F60B5-0B0F-5790-C7B5-DFF921204497}"/>
                </a:ext>
              </a:extLst>
            </p:cNvPr>
            <p:cNvSpPr/>
            <p:nvPr/>
          </p:nvSpPr>
          <p:spPr>
            <a:xfrm>
              <a:off x="10175499" y="5150153"/>
              <a:ext cx="10114" cy="13490"/>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8" name="Shape 1907">
              <a:extLst>
                <a:ext uri="{FF2B5EF4-FFF2-40B4-BE49-F238E27FC236}">
                  <a16:creationId xmlns:a16="http://schemas.microsoft.com/office/drawing/2014/main" id="{9EF31C81-4B72-EACA-EAD3-09E3AB51FAA8}"/>
                </a:ext>
              </a:extLst>
            </p:cNvPr>
            <p:cNvSpPr/>
            <p:nvPr/>
          </p:nvSpPr>
          <p:spPr>
            <a:xfrm>
              <a:off x="8119681" y="3439431"/>
              <a:ext cx="64653" cy="119145"/>
            </a:xfrm>
            <a:custGeom>
              <a:avLst/>
              <a:gdLst/>
              <a:ahLst/>
              <a:cxnLst>
                <a:cxn ang="0">
                  <a:pos x="wd2" y="hd2"/>
                </a:cxn>
                <a:cxn ang="5400000">
                  <a:pos x="wd2" y="hd2"/>
                </a:cxn>
                <a:cxn ang="10800000">
                  <a:pos x="wd2" y="hd2"/>
                </a:cxn>
                <a:cxn ang="16200000">
                  <a:pos x="wd2" y="hd2"/>
                </a:cxn>
              </a:cxnLst>
              <a:rect l="0" t="0" r="r" b="b"/>
              <a:pathLst>
                <a:path w="19418" h="21600" extrusionOk="0">
                  <a:moveTo>
                    <a:pt x="3927" y="0"/>
                  </a:moveTo>
                  <a:cubicBezTo>
                    <a:pt x="3927" y="0"/>
                    <a:pt x="3927" y="0"/>
                    <a:pt x="1964" y="0"/>
                  </a:cubicBezTo>
                  <a:cubicBezTo>
                    <a:pt x="1964" y="0"/>
                    <a:pt x="1964" y="3600"/>
                    <a:pt x="1964" y="3600"/>
                  </a:cubicBezTo>
                  <a:cubicBezTo>
                    <a:pt x="1964" y="6000"/>
                    <a:pt x="0" y="7200"/>
                    <a:pt x="0" y="9600"/>
                  </a:cubicBezTo>
                  <a:cubicBezTo>
                    <a:pt x="0" y="13200"/>
                    <a:pt x="0" y="21600"/>
                    <a:pt x="7855" y="21600"/>
                  </a:cubicBezTo>
                  <a:cubicBezTo>
                    <a:pt x="11782" y="21600"/>
                    <a:pt x="17673" y="20400"/>
                    <a:pt x="17673" y="18000"/>
                  </a:cubicBezTo>
                  <a:cubicBezTo>
                    <a:pt x="21600" y="15600"/>
                    <a:pt x="17673" y="12000"/>
                    <a:pt x="17673" y="9600"/>
                  </a:cubicBezTo>
                  <a:cubicBezTo>
                    <a:pt x="13745" y="7200"/>
                    <a:pt x="9818" y="0"/>
                    <a:pt x="3927" y="0"/>
                  </a:cubicBezTo>
                  <a:cubicBezTo>
                    <a:pt x="1964" y="0"/>
                    <a:pt x="5891" y="0"/>
                    <a:pt x="3927"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9" name="Shape 1908">
              <a:extLst>
                <a:ext uri="{FF2B5EF4-FFF2-40B4-BE49-F238E27FC236}">
                  <a16:creationId xmlns:a16="http://schemas.microsoft.com/office/drawing/2014/main" id="{D61BDE05-04A1-C435-5A25-D35A1B00EABC}"/>
                </a:ext>
              </a:extLst>
            </p:cNvPr>
            <p:cNvSpPr/>
            <p:nvPr/>
          </p:nvSpPr>
          <p:spPr>
            <a:xfrm>
              <a:off x="6906083" y="4154293"/>
              <a:ext cx="238225" cy="457547"/>
            </a:xfrm>
            <a:custGeom>
              <a:avLst/>
              <a:gdLst/>
              <a:ahLst/>
              <a:cxnLst>
                <a:cxn ang="0">
                  <a:pos x="wd2" y="hd2"/>
                </a:cxn>
                <a:cxn ang="5400000">
                  <a:pos x="wd2" y="hd2"/>
                </a:cxn>
                <a:cxn ang="10800000">
                  <a:pos x="wd2" y="hd2"/>
                </a:cxn>
                <a:cxn ang="16200000">
                  <a:pos x="wd2" y="hd2"/>
                </a:cxn>
              </a:cxnLst>
              <a:rect l="0" t="0" r="r" b="b"/>
              <a:pathLst>
                <a:path w="21600" h="21446" extrusionOk="0">
                  <a:moveTo>
                    <a:pt x="18600" y="617"/>
                  </a:moveTo>
                  <a:cubicBezTo>
                    <a:pt x="18600" y="617"/>
                    <a:pt x="18000" y="0"/>
                    <a:pt x="17400" y="0"/>
                  </a:cubicBezTo>
                  <a:cubicBezTo>
                    <a:pt x="17400" y="309"/>
                    <a:pt x="16800" y="617"/>
                    <a:pt x="16800" y="926"/>
                  </a:cubicBezTo>
                  <a:cubicBezTo>
                    <a:pt x="16200" y="1543"/>
                    <a:pt x="16200" y="1851"/>
                    <a:pt x="15600" y="2469"/>
                  </a:cubicBezTo>
                  <a:cubicBezTo>
                    <a:pt x="15000" y="2777"/>
                    <a:pt x="14400" y="2469"/>
                    <a:pt x="13800" y="2469"/>
                  </a:cubicBezTo>
                  <a:cubicBezTo>
                    <a:pt x="13800" y="2469"/>
                    <a:pt x="14400" y="2777"/>
                    <a:pt x="13800" y="3086"/>
                  </a:cubicBezTo>
                  <a:cubicBezTo>
                    <a:pt x="13800" y="3394"/>
                    <a:pt x="13200" y="3394"/>
                    <a:pt x="13200" y="3703"/>
                  </a:cubicBezTo>
                  <a:cubicBezTo>
                    <a:pt x="13200" y="3703"/>
                    <a:pt x="13800" y="4011"/>
                    <a:pt x="13800" y="4011"/>
                  </a:cubicBezTo>
                  <a:cubicBezTo>
                    <a:pt x="13800" y="4320"/>
                    <a:pt x="13200" y="4011"/>
                    <a:pt x="12600" y="4320"/>
                  </a:cubicBezTo>
                  <a:cubicBezTo>
                    <a:pt x="12000" y="4320"/>
                    <a:pt x="12000" y="4629"/>
                    <a:pt x="11400" y="4937"/>
                  </a:cubicBezTo>
                  <a:cubicBezTo>
                    <a:pt x="10800" y="5246"/>
                    <a:pt x="10200" y="5246"/>
                    <a:pt x="9000" y="5554"/>
                  </a:cubicBezTo>
                  <a:cubicBezTo>
                    <a:pt x="8400" y="5554"/>
                    <a:pt x="9600" y="5863"/>
                    <a:pt x="9000" y="5863"/>
                  </a:cubicBezTo>
                  <a:cubicBezTo>
                    <a:pt x="9000" y="6171"/>
                    <a:pt x="7800" y="5554"/>
                    <a:pt x="7800" y="5863"/>
                  </a:cubicBezTo>
                  <a:cubicBezTo>
                    <a:pt x="6600" y="6171"/>
                    <a:pt x="6000" y="6171"/>
                    <a:pt x="4800" y="6480"/>
                  </a:cubicBezTo>
                  <a:cubicBezTo>
                    <a:pt x="4200" y="6480"/>
                    <a:pt x="3600" y="6171"/>
                    <a:pt x="3600" y="6480"/>
                  </a:cubicBezTo>
                  <a:cubicBezTo>
                    <a:pt x="3000" y="7097"/>
                    <a:pt x="3000" y="7714"/>
                    <a:pt x="2400" y="8331"/>
                  </a:cubicBezTo>
                  <a:cubicBezTo>
                    <a:pt x="1800" y="9874"/>
                    <a:pt x="4800" y="12034"/>
                    <a:pt x="2400" y="13577"/>
                  </a:cubicBezTo>
                  <a:cubicBezTo>
                    <a:pt x="1800" y="14194"/>
                    <a:pt x="600" y="14811"/>
                    <a:pt x="0" y="15737"/>
                  </a:cubicBezTo>
                  <a:cubicBezTo>
                    <a:pt x="0" y="16046"/>
                    <a:pt x="0" y="16663"/>
                    <a:pt x="0" y="16971"/>
                  </a:cubicBezTo>
                  <a:cubicBezTo>
                    <a:pt x="600" y="17280"/>
                    <a:pt x="1800" y="17589"/>
                    <a:pt x="1200" y="18206"/>
                  </a:cubicBezTo>
                  <a:cubicBezTo>
                    <a:pt x="600" y="19131"/>
                    <a:pt x="1200" y="20366"/>
                    <a:pt x="3000" y="20983"/>
                  </a:cubicBezTo>
                  <a:cubicBezTo>
                    <a:pt x="4800" y="21600"/>
                    <a:pt x="6600" y="21600"/>
                    <a:pt x="9600" y="20983"/>
                  </a:cubicBezTo>
                  <a:cubicBezTo>
                    <a:pt x="12600" y="20366"/>
                    <a:pt x="13200" y="16971"/>
                    <a:pt x="14400" y="15429"/>
                  </a:cubicBezTo>
                  <a:cubicBezTo>
                    <a:pt x="15600" y="13269"/>
                    <a:pt x="17400" y="11417"/>
                    <a:pt x="18600" y="9257"/>
                  </a:cubicBezTo>
                  <a:cubicBezTo>
                    <a:pt x="18600" y="8640"/>
                    <a:pt x="18600" y="7714"/>
                    <a:pt x="19200" y="7097"/>
                  </a:cubicBezTo>
                  <a:cubicBezTo>
                    <a:pt x="19800" y="6789"/>
                    <a:pt x="18600" y="4320"/>
                    <a:pt x="20400" y="5863"/>
                  </a:cubicBezTo>
                  <a:cubicBezTo>
                    <a:pt x="21000" y="6171"/>
                    <a:pt x="21000" y="5554"/>
                    <a:pt x="21600" y="5246"/>
                  </a:cubicBezTo>
                  <a:cubicBezTo>
                    <a:pt x="21600" y="4629"/>
                    <a:pt x="21000" y="4011"/>
                    <a:pt x="21000" y="3394"/>
                  </a:cubicBezTo>
                  <a:cubicBezTo>
                    <a:pt x="20400" y="2777"/>
                    <a:pt x="19800" y="1234"/>
                    <a:pt x="18600" y="617"/>
                  </a:cubicBezTo>
                  <a:cubicBezTo>
                    <a:pt x="18000" y="309"/>
                    <a:pt x="19200" y="617"/>
                    <a:pt x="18600" y="6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0" name="Shape 1909">
              <a:extLst>
                <a:ext uri="{FF2B5EF4-FFF2-40B4-BE49-F238E27FC236}">
                  <a16:creationId xmlns:a16="http://schemas.microsoft.com/office/drawing/2014/main" id="{B0F4378F-284A-666D-DC9F-1098B6BE4587}"/>
                </a:ext>
              </a:extLst>
            </p:cNvPr>
            <p:cNvSpPr/>
            <p:nvPr/>
          </p:nvSpPr>
          <p:spPr>
            <a:xfrm>
              <a:off x="7438979" y="923924"/>
              <a:ext cx="59680" cy="48566"/>
            </a:xfrm>
            <a:custGeom>
              <a:avLst/>
              <a:gdLst/>
              <a:ahLst/>
              <a:cxnLst>
                <a:cxn ang="0">
                  <a:pos x="wd2" y="hd2"/>
                </a:cxn>
                <a:cxn ang="5400000">
                  <a:pos x="wd2" y="hd2"/>
                </a:cxn>
                <a:cxn ang="10800000">
                  <a:pos x="wd2" y="hd2"/>
                </a:cxn>
                <a:cxn ang="16200000">
                  <a:pos x="wd2" y="hd2"/>
                </a:cxn>
              </a:cxnLst>
              <a:rect l="0" t="0" r="r" b="b"/>
              <a:pathLst>
                <a:path w="17925" h="19443" extrusionOk="0">
                  <a:moveTo>
                    <a:pt x="16245" y="18900"/>
                  </a:moveTo>
                  <a:cubicBezTo>
                    <a:pt x="20172" y="21600"/>
                    <a:pt x="16245" y="13500"/>
                    <a:pt x="14281" y="10800"/>
                  </a:cubicBezTo>
                  <a:cubicBezTo>
                    <a:pt x="12317" y="8100"/>
                    <a:pt x="6427" y="2700"/>
                    <a:pt x="4463" y="0"/>
                  </a:cubicBezTo>
                  <a:cubicBezTo>
                    <a:pt x="2499" y="0"/>
                    <a:pt x="536" y="2700"/>
                    <a:pt x="536" y="5400"/>
                  </a:cubicBezTo>
                  <a:cubicBezTo>
                    <a:pt x="-1428" y="8100"/>
                    <a:pt x="2499" y="10800"/>
                    <a:pt x="4463" y="13500"/>
                  </a:cubicBezTo>
                  <a:cubicBezTo>
                    <a:pt x="8390" y="16200"/>
                    <a:pt x="12317" y="18900"/>
                    <a:pt x="16245" y="18900"/>
                  </a:cubicBezTo>
                  <a:cubicBezTo>
                    <a:pt x="18208" y="18900"/>
                    <a:pt x="12317" y="18900"/>
                    <a:pt x="16245" y="189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1" name="Shape 1910">
              <a:extLst>
                <a:ext uri="{FF2B5EF4-FFF2-40B4-BE49-F238E27FC236}">
                  <a16:creationId xmlns:a16="http://schemas.microsoft.com/office/drawing/2014/main" id="{890AA082-A967-6524-E6D2-D0510D424CA1}"/>
                </a:ext>
              </a:extLst>
            </p:cNvPr>
            <p:cNvSpPr/>
            <p:nvPr/>
          </p:nvSpPr>
          <p:spPr>
            <a:xfrm>
              <a:off x="7090367" y="986119"/>
              <a:ext cx="68285" cy="43462"/>
            </a:xfrm>
            <a:custGeom>
              <a:avLst/>
              <a:gdLst/>
              <a:ahLst/>
              <a:cxnLst>
                <a:cxn ang="0">
                  <a:pos x="wd2" y="hd2"/>
                </a:cxn>
                <a:cxn ang="5400000">
                  <a:pos x="wd2" y="hd2"/>
                </a:cxn>
                <a:cxn ang="10800000">
                  <a:pos x="wd2" y="hd2"/>
                </a:cxn>
                <a:cxn ang="16200000">
                  <a:pos x="wd2" y="hd2"/>
                </a:cxn>
              </a:cxnLst>
              <a:rect l="0" t="0" r="r" b="b"/>
              <a:pathLst>
                <a:path w="20509" h="14400" extrusionOk="0">
                  <a:moveTo>
                    <a:pt x="19636" y="5760"/>
                  </a:moveTo>
                  <a:cubicBezTo>
                    <a:pt x="19636" y="10080"/>
                    <a:pt x="13745" y="12240"/>
                    <a:pt x="11782" y="14400"/>
                  </a:cubicBezTo>
                  <a:cubicBezTo>
                    <a:pt x="7855" y="14400"/>
                    <a:pt x="0" y="12240"/>
                    <a:pt x="0" y="5760"/>
                  </a:cubicBezTo>
                  <a:cubicBezTo>
                    <a:pt x="1964" y="-7200"/>
                    <a:pt x="21600" y="5760"/>
                    <a:pt x="19636" y="5760"/>
                  </a:cubicBezTo>
                  <a:cubicBezTo>
                    <a:pt x="19636" y="7920"/>
                    <a:pt x="21600" y="3600"/>
                    <a:pt x="19636" y="57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2" name="Shape 1911">
              <a:extLst>
                <a:ext uri="{FF2B5EF4-FFF2-40B4-BE49-F238E27FC236}">
                  <a16:creationId xmlns:a16="http://schemas.microsoft.com/office/drawing/2014/main" id="{917CA1A2-B12E-B207-7030-933339C26F02}"/>
                </a:ext>
              </a:extLst>
            </p:cNvPr>
            <p:cNvSpPr/>
            <p:nvPr/>
          </p:nvSpPr>
          <p:spPr>
            <a:xfrm>
              <a:off x="7814305" y="741274"/>
              <a:ext cx="53668" cy="32036"/>
            </a:xfrm>
            <a:custGeom>
              <a:avLst/>
              <a:gdLst/>
              <a:ahLst/>
              <a:cxnLst>
                <a:cxn ang="0">
                  <a:pos x="wd2" y="hd2"/>
                </a:cxn>
                <a:cxn ang="5400000">
                  <a:pos x="wd2" y="hd2"/>
                </a:cxn>
                <a:cxn ang="10800000">
                  <a:pos x="wd2" y="hd2"/>
                </a:cxn>
                <a:cxn ang="16200000">
                  <a:pos x="wd2" y="hd2"/>
                </a:cxn>
              </a:cxnLst>
              <a:rect l="0" t="0" r="r" b="b"/>
              <a:pathLst>
                <a:path w="19838" h="20520" extrusionOk="0">
                  <a:moveTo>
                    <a:pt x="19838" y="11880"/>
                  </a:moveTo>
                  <a:cubicBezTo>
                    <a:pt x="15038" y="16200"/>
                    <a:pt x="12638" y="16200"/>
                    <a:pt x="7838" y="20520"/>
                  </a:cubicBezTo>
                  <a:cubicBezTo>
                    <a:pt x="3038" y="20520"/>
                    <a:pt x="-1762" y="11880"/>
                    <a:pt x="638" y="3240"/>
                  </a:cubicBezTo>
                  <a:cubicBezTo>
                    <a:pt x="638" y="-1080"/>
                    <a:pt x="10238" y="-1080"/>
                    <a:pt x="12638" y="3240"/>
                  </a:cubicBezTo>
                  <a:cubicBezTo>
                    <a:pt x="15038" y="3240"/>
                    <a:pt x="17438" y="11880"/>
                    <a:pt x="19838" y="118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3" name="Shape 1912">
              <a:extLst>
                <a:ext uri="{FF2B5EF4-FFF2-40B4-BE49-F238E27FC236}">
                  <a16:creationId xmlns:a16="http://schemas.microsoft.com/office/drawing/2014/main" id="{6B8B526F-92AB-880E-1DFC-FECD8C1F1FB2}"/>
                </a:ext>
              </a:extLst>
            </p:cNvPr>
            <p:cNvSpPr/>
            <p:nvPr/>
          </p:nvSpPr>
          <p:spPr>
            <a:xfrm>
              <a:off x="9131725" y="675971"/>
              <a:ext cx="54764" cy="29900"/>
            </a:xfrm>
            <a:custGeom>
              <a:avLst/>
              <a:gdLst/>
              <a:ahLst/>
              <a:cxnLst>
                <a:cxn ang="0">
                  <a:pos x="wd2" y="hd2"/>
                </a:cxn>
                <a:cxn ang="5400000">
                  <a:pos x="wd2" y="hd2"/>
                </a:cxn>
                <a:cxn ang="10800000">
                  <a:pos x="wd2" y="hd2"/>
                </a:cxn>
                <a:cxn ang="16200000">
                  <a:pos x="wd2" y="hd2"/>
                </a:cxn>
              </a:cxnLst>
              <a:rect l="0" t="0" r="r" b="b"/>
              <a:pathLst>
                <a:path w="18149" h="20520" extrusionOk="0">
                  <a:moveTo>
                    <a:pt x="11235" y="20520"/>
                  </a:moveTo>
                  <a:cubicBezTo>
                    <a:pt x="6915" y="20520"/>
                    <a:pt x="2595" y="16200"/>
                    <a:pt x="435" y="16200"/>
                  </a:cubicBezTo>
                  <a:cubicBezTo>
                    <a:pt x="-1725" y="11880"/>
                    <a:pt x="4755" y="3240"/>
                    <a:pt x="6915" y="3240"/>
                  </a:cubicBezTo>
                  <a:cubicBezTo>
                    <a:pt x="9075" y="-1080"/>
                    <a:pt x="15555" y="-1080"/>
                    <a:pt x="17715" y="3240"/>
                  </a:cubicBezTo>
                  <a:cubicBezTo>
                    <a:pt x="19875" y="7560"/>
                    <a:pt x="13395" y="20520"/>
                    <a:pt x="11235" y="20520"/>
                  </a:cubicBezTo>
                  <a:cubicBezTo>
                    <a:pt x="6915" y="20520"/>
                    <a:pt x="11235" y="20520"/>
                    <a:pt x="11235" y="205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4" name="Shape 1913">
              <a:extLst>
                <a:ext uri="{FF2B5EF4-FFF2-40B4-BE49-F238E27FC236}">
                  <a16:creationId xmlns:a16="http://schemas.microsoft.com/office/drawing/2014/main" id="{BA6A2FFA-283B-35BF-CDD5-81012129981C}"/>
                </a:ext>
              </a:extLst>
            </p:cNvPr>
            <p:cNvSpPr/>
            <p:nvPr/>
          </p:nvSpPr>
          <p:spPr>
            <a:xfrm>
              <a:off x="8461287" y="199510"/>
              <a:ext cx="40453" cy="10117"/>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5" name="Shape 1914">
              <a:extLst>
                <a:ext uri="{FF2B5EF4-FFF2-40B4-BE49-F238E27FC236}">
                  <a16:creationId xmlns:a16="http://schemas.microsoft.com/office/drawing/2014/main" id="{59A0F787-D8DB-7A82-3B27-B3C975FFB789}"/>
                </a:ext>
              </a:extLst>
            </p:cNvPr>
            <p:cNvSpPr/>
            <p:nvPr/>
          </p:nvSpPr>
          <p:spPr>
            <a:xfrm>
              <a:off x="8101934" y="772229"/>
              <a:ext cx="25008" cy="21315"/>
            </a:xfrm>
            <a:custGeom>
              <a:avLst/>
              <a:gdLst/>
              <a:ahLst/>
              <a:cxnLst>
                <a:cxn ang="0">
                  <a:pos x="wd2" y="hd2"/>
                </a:cxn>
                <a:cxn ang="5400000">
                  <a:pos x="wd2" y="hd2"/>
                </a:cxn>
                <a:cxn ang="10800000">
                  <a:pos x="wd2" y="hd2"/>
                </a:cxn>
                <a:cxn ang="16200000">
                  <a:pos x="wd2" y="hd2"/>
                </a:cxn>
              </a:cxnLst>
              <a:rect l="0" t="0" r="r" b="b"/>
              <a:pathLst>
                <a:path w="14138" h="17067" extrusionOk="0">
                  <a:moveTo>
                    <a:pt x="12788" y="17067"/>
                  </a:moveTo>
                  <a:cubicBezTo>
                    <a:pt x="9188" y="17067"/>
                    <a:pt x="-5212" y="11667"/>
                    <a:pt x="1988" y="867"/>
                  </a:cubicBezTo>
                  <a:cubicBezTo>
                    <a:pt x="12788" y="-4533"/>
                    <a:pt x="16388" y="17067"/>
                    <a:pt x="12788"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6" name="Shape 1915">
              <a:extLst>
                <a:ext uri="{FF2B5EF4-FFF2-40B4-BE49-F238E27FC236}">
                  <a16:creationId xmlns:a16="http://schemas.microsoft.com/office/drawing/2014/main" id="{D79E7757-9D96-D0AA-5907-5C2D8958ADBF}"/>
                </a:ext>
              </a:extLst>
            </p:cNvPr>
            <p:cNvSpPr/>
            <p:nvPr/>
          </p:nvSpPr>
          <p:spPr>
            <a:xfrm>
              <a:off x="5804224" y="2243652"/>
              <a:ext cx="30799" cy="62061"/>
            </a:xfrm>
            <a:custGeom>
              <a:avLst/>
              <a:gdLst/>
              <a:ahLst/>
              <a:cxnLst>
                <a:cxn ang="0">
                  <a:pos x="wd2" y="hd2"/>
                </a:cxn>
                <a:cxn ang="5400000">
                  <a:pos x="wd2" y="hd2"/>
                </a:cxn>
                <a:cxn ang="10800000">
                  <a:pos x="wd2" y="hd2"/>
                </a:cxn>
                <a:cxn ang="16200000">
                  <a:pos x="wd2" y="hd2"/>
                </a:cxn>
              </a:cxnLst>
              <a:rect l="0" t="0" r="r" b="b"/>
              <a:pathLst>
                <a:path w="17412" h="18635" extrusionOk="0">
                  <a:moveTo>
                    <a:pt x="15812" y="567"/>
                  </a:moveTo>
                  <a:cubicBezTo>
                    <a:pt x="15812" y="4494"/>
                    <a:pt x="19412" y="8421"/>
                    <a:pt x="15812" y="12348"/>
                  </a:cubicBezTo>
                  <a:cubicBezTo>
                    <a:pt x="12212" y="14312"/>
                    <a:pt x="15812" y="20203"/>
                    <a:pt x="8612" y="18239"/>
                  </a:cubicBezTo>
                  <a:cubicBezTo>
                    <a:pt x="1412" y="14312"/>
                    <a:pt x="-2188" y="10385"/>
                    <a:pt x="1412" y="6458"/>
                  </a:cubicBezTo>
                  <a:cubicBezTo>
                    <a:pt x="1412" y="4494"/>
                    <a:pt x="15812" y="-1397"/>
                    <a:pt x="15812" y="567"/>
                  </a:cubicBezTo>
                  <a:cubicBezTo>
                    <a:pt x="15812" y="2530"/>
                    <a:pt x="15812" y="-1397"/>
                    <a:pt x="15812" y="5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7" name="Shape 1916">
              <a:extLst>
                <a:ext uri="{FF2B5EF4-FFF2-40B4-BE49-F238E27FC236}">
                  <a16:creationId xmlns:a16="http://schemas.microsoft.com/office/drawing/2014/main" id="{E8E198B4-AFFC-C939-C91C-9D9C08F7F505}"/>
                </a:ext>
              </a:extLst>
            </p:cNvPr>
            <p:cNvSpPr/>
            <p:nvPr/>
          </p:nvSpPr>
          <p:spPr>
            <a:xfrm>
              <a:off x="5786870" y="2312848"/>
              <a:ext cx="53565" cy="86395"/>
            </a:xfrm>
            <a:custGeom>
              <a:avLst/>
              <a:gdLst/>
              <a:ahLst/>
              <a:cxnLst>
                <a:cxn ang="0">
                  <a:pos x="wd2" y="hd2"/>
                </a:cxn>
                <a:cxn ang="5400000">
                  <a:pos x="wd2" y="hd2"/>
                </a:cxn>
                <a:cxn ang="10800000">
                  <a:pos x="wd2" y="hd2"/>
                </a:cxn>
                <a:cxn ang="16200000">
                  <a:pos x="wd2" y="hd2"/>
                </a:cxn>
              </a:cxnLst>
              <a:rect l="0" t="0" r="r" b="b"/>
              <a:pathLst>
                <a:path w="19800" h="18866" extrusionOk="0">
                  <a:moveTo>
                    <a:pt x="16800" y="2430"/>
                  </a:moveTo>
                  <a:cubicBezTo>
                    <a:pt x="14400" y="2430"/>
                    <a:pt x="16800" y="-1890"/>
                    <a:pt x="12000" y="990"/>
                  </a:cubicBezTo>
                  <a:cubicBezTo>
                    <a:pt x="4800" y="3870"/>
                    <a:pt x="7200" y="3870"/>
                    <a:pt x="0" y="990"/>
                  </a:cubicBezTo>
                  <a:cubicBezTo>
                    <a:pt x="0" y="990"/>
                    <a:pt x="2400" y="9630"/>
                    <a:pt x="2400" y="9630"/>
                  </a:cubicBezTo>
                  <a:cubicBezTo>
                    <a:pt x="4800" y="12510"/>
                    <a:pt x="4800" y="13950"/>
                    <a:pt x="4800" y="16830"/>
                  </a:cubicBezTo>
                  <a:cubicBezTo>
                    <a:pt x="4800" y="18270"/>
                    <a:pt x="4800" y="19710"/>
                    <a:pt x="9600" y="18270"/>
                  </a:cubicBezTo>
                  <a:cubicBezTo>
                    <a:pt x="14400" y="16830"/>
                    <a:pt x="19200" y="16830"/>
                    <a:pt x="19200" y="12510"/>
                  </a:cubicBezTo>
                  <a:cubicBezTo>
                    <a:pt x="19200" y="11070"/>
                    <a:pt x="21600" y="2430"/>
                    <a:pt x="16800" y="243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8" name="Shape 1917">
              <a:extLst>
                <a:ext uri="{FF2B5EF4-FFF2-40B4-BE49-F238E27FC236}">
                  <a16:creationId xmlns:a16="http://schemas.microsoft.com/office/drawing/2014/main" id="{1FD17C22-F307-F23C-8C47-68CA963B7201}"/>
                </a:ext>
              </a:extLst>
            </p:cNvPr>
            <p:cNvSpPr/>
            <p:nvPr/>
          </p:nvSpPr>
          <p:spPr>
            <a:xfrm>
              <a:off x="5923964" y="2426958"/>
              <a:ext cx="100374" cy="54111"/>
            </a:xfrm>
            <a:custGeom>
              <a:avLst/>
              <a:gdLst/>
              <a:ahLst/>
              <a:cxnLst>
                <a:cxn ang="0">
                  <a:pos x="wd2" y="hd2"/>
                </a:cxn>
                <a:cxn ang="5400000">
                  <a:pos x="wd2" y="hd2"/>
                </a:cxn>
                <a:cxn ang="10800000">
                  <a:pos x="wd2" y="hd2"/>
                </a:cxn>
                <a:cxn ang="16200000">
                  <a:pos x="wd2" y="hd2"/>
                </a:cxn>
              </a:cxnLst>
              <a:rect l="0" t="0" r="r" b="b"/>
              <a:pathLst>
                <a:path w="20526" h="17928" extrusionOk="0">
                  <a:moveTo>
                    <a:pt x="6750" y="960"/>
                  </a:moveTo>
                  <a:cubicBezTo>
                    <a:pt x="5400" y="960"/>
                    <a:pt x="1350" y="960"/>
                    <a:pt x="0" y="3120"/>
                  </a:cubicBezTo>
                  <a:cubicBezTo>
                    <a:pt x="0" y="5280"/>
                    <a:pt x="2700" y="7440"/>
                    <a:pt x="4050" y="9600"/>
                  </a:cubicBezTo>
                  <a:cubicBezTo>
                    <a:pt x="6750" y="9600"/>
                    <a:pt x="9450" y="11760"/>
                    <a:pt x="10800" y="13920"/>
                  </a:cubicBezTo>
                  <a:cubicBezTo>
                    <a:pt x="13500" y="16080"/>
                    <a:pt x="16200" y="20400"/>
                    <a:pt x="18900" y="16080"/>
                  </a:cubicBezTo>
                  <a:cubicBezTo>
                    <a:pt x="21600" y="13920"/>
                    <a:pt x="16200" y="11760"/>
                    <a:pt x="17550" y="7440"/>
                  </a:cubicBezTo>
                  <a:cubicBezTo>
                    <a:pt x="17550" y="7440"/>
                    <a:pt x="21600" y="3120"/>
                    <a:pt x="20250" y="960"/>
                  </a:cubicBezTo>
                  <a:cubicBezTo>
                    <a:pt x="20250" y="-1200"/>
                    <a:pt x="14850" y="960"/>
                    <a:pt x="14850" y="960"/>
                  </a:cubicBezTo>
                  <a:cubicBezTo>
                    <a:pt x="12150" y="3120"/>
                    <a:pt x="9450" y="960"/>
                    <a:pt x="6750" y="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9" name="Shape 1918">
              <a:extLst>
                <a:ext uri="{FF2B5EF4-FFF2-40B4-BE49-F238E27FC236}">
                  <a16:creationId xmlns:a16="http://schemas.microsoft.com/office/drawing/2014/main" id="{95535A4D-F754-3EAE-B4A8-D8D8E85282EA}"/>
                </a:ext>
              </a:extLst>
            </p:cNvPr>
            <p:cNvSpPr/>
            <p:nvPr/>
          </p:nvSpPr>
          <p:spPr>
            <a:xfrm>
              <a:off x="6560501" y="2520301"/>
              <a:ext cx="71218" cy="40725"/>
            </a:xfrm>
            <a:custGeom>
              <a:avLst/>
              <a:gdLst/>
              <a:ahLst/>
              <a:cxnLst>
                <a:cxn ang="0">
                  <a:pos x="wd2" y="hd2"/>
                </a:cxn>
                <a:cxn ang="5400000">
                  <a:pos x="wd2" y="hd2"/>
                </a:cxn>
                <a:cxn ang="10800000">
                  <a:pos x="wd2" y="hd2"/>
                </a:cxn>
                <a:cxn ang="16200000">
                  <a:pos x="wd2" y="hd2"/>
                </a:cxn>
              </a:cxnLst>
              <a:rect l="0" t="0" r="r" b="b"/>
              <a:pathLst>
                <a:path w="18013" h="18634" extrusionOk="0">
                  <a:moveTo>
                    <a:pt x="17533" y="891"/>
                  </a:moveTo>
                  <a:cubicBezTo>
                    <a:pt x="17533" y="891"/>
                    <a:pt x="14210" y="3976"/>
                    <a:pt x="14210" y="3976"/>
                  </a:cubicBezTo>
                  <a:cubicBezTo>
                    <a:pt x="12549" y="7062"/>
                    <a:pt x="14210" y="13234"/>
                    <a:pt x="14210" y="13234"/>
                  </a:cubicBezTo>
                  <a:cubicBezTo>
                    <a:pt x="12549" y="13234"/>
                    <a:pt x="9226" y="13234"/>
                    <a:pt x="7564" y="16319"/>
                  </a:cubicBezTo>
                  <a:cubicBezTo>
                    <a:pt x="4241" y="19405"/>
                    <a:pt x="2580" y="19405"/>
                    <a:pt x="918" y="16319"/>
                  </a:cubicBezTo>
                  <a:cubicBezTo>
                    <a:pt x="-2405" y="10148"/>
                    <a:pt x="4241" y="7062"/>
                    <a:pt x="5903" y="7062"/>
                  </a:cubicBezTo>
                  <a:cubicBezTo>
                    <a:pt x="9226" y="7062"/>
                    <a:pt x="14210" y="3976"/>
                    <a:pt x="17533" y="891"/>
                  </a:cubicBezTo>
                  <a:cubicBezTo>
                    <a:pt x="19195" y="-2195"/>
                    <a:pt x="15872" y="3976"/>
                    <a:pt x="17533" y="8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0" name="Shape 1919">
              <a:extLst>
                <a:ext uri="{FF2B5EF4-FFF2-40B4-BE49-F238E27FC236}">
                  <a16:creationId xmlns:a16="http://schemas.microsoft.com/office/drawing/2014/main" id="{2EC88A79-6D82-9939-A7EF-39864A97A1E5}"/>
                </a:ext>
              </a:extLst>
            </p:cNvPr>
            <p:cNvSpPr/>
            <p:nvPr/>
          </p:nvSpPr>
          <p:spPr>
            <a:xfrm>
              <a:off x="6273766" y="2525994"/>
              <a:ext cx="92937" cy="23230"/>
            </a:xfrm>
            <a:custGeom>
              <a:avLst/>
              <a:gdLst/>
              <a:ahLst/>
              <a:cxnLst>
                <a:cxn ang="0">
                  <a:pos x="wd2" y="hd2"/>
                </a:cxn>
                <a:cxn ang="5400000">
                  <a:pos x="wd2" y="hd2"/>
                </a:cxn>
                <a:cxn ang="10800000">
                  <a:pos x="wd2" y="hd2"/>
                </a:cxn>
                <a:cxn ang="16200000">
                  <a:pos x="wd2" y="hd2"/>
                </a:cxn>
              </a:cxnLst>
              <a:rect l="0" t="0" r="r" b="b"/>
              <a:pathLst>
                <a:path w="20300" h="18600" extrusionOk="0">
                  <a:moveTo>
                    <a:pt x="10220" y="18600"/>
                  </a:moveTo>
                  <a:cubicBezTo>
                    <a:pt x="8780" y="18600"/>
                    <a:pt x="-1300" y="7800"/>
                    <a:pt x="140" y="2400"/>
                  </a:cubicBezTo>
                  <a:cubicBezTo>
                    <a:pt x="140" y="-3000"/>
                    <a:pt x="8780" y="2400"/>
                    <a:pt x="8780" y="2400"/>
                  </a:cubicBezTo>
                  <a:cubicBezTo>
                    <a:pt x="13100" y="7800"/>
                    <a:pt x="15980" y="7800"/>
                    <a:pt x="20300" y="7800"/>
                  </a:cubicBezTo>
                  <a:cubicBezTo>
                    <a:pt x="20300" y="7800"/>
                    <a:pt x="17420" y="13200"/>
                    <a:pt x="17420" y="13200"/>
                  </a:cubicBezTo>
                  <a:cubicBezTo>
                    <a:pt x="15980" y="18600"/>
                    <a:pt x="13100" y="18600"/>
                    <a:pt x="10220" y="18600"/>
                  </a:cubicBezTo>
                  <a:cubicBezTo>
                    <a:pt x="7340" y="18600"/>
                    <a:pt x="11660" y="18600"/>
                    <a:pt x="10220" y="18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1" name="Shape 1920">
              <a:extLst>
                <a:ext uri="{FF2B5EF4-FFF2-40B4-BE49-F238E27FC236}">
                  <a16:creationId xmlns:a16="http://schemas.microsoft.com/office/drawing/2014/main" id="{5BBDA24E-582E-7891-1B48-C355B9F4D7E4}"/>
                </a:ext>
              </a:extLst>
            </p:cNvPr>
            <p:cNvSpPr/>
            <p:nvPr/>
          </p:nvSpPr>
          <p:spPr>
            <a:xfrm>
              <a:off x="6224368" y="1554862"/>
              <a:ext cx="43450" cy="29070"/>
            </a:xfrm>
            <a:custGeom>
              <a:avLst/>
              <a:gdLst/>
              <a:ahLst/>
              <a:cxnLst>
                <a:cxn ang="0">
                  <a:pos x="wd2" y="hd2"/>
                </a:cxn>
                <a:cxn ang="5400000">
                  <a:pos x="wd2" y="hd2"/>
                </a:cxn>
                <a:cxn ang="10800000">
                  <a:pos x="wd2" y="hd2"/>
                </a:cxn>
                <a:cxn ang="16200000">
                  <a:pos x="wd2" y="hd2"/>
                </a:cxn>
              </a:cxnLst>
              <a:rect l="0" t="0" r="r" b="b"/>
              <a:pathLst>
                <a:path w="19886" h="13301" extrusionOk="0">
                  <a:moveTo>
                    <a:pt x="1372" y="10629"/>
                  </a:moveTo>
                  <a:cubicBezTo>
                    <a:pt x="1372" y="7543"/>
                    <a:pt x="-1714" y="1372"/>
                    <a:pt x="1372" y="1372"/>
                  </a:cubicBezTo>
                  <a:cubicBezTo>
                    <a:pt x="4457" y="1372"/>
                    <a:pt x="19886" y="-1714"/>
                    <a:pt x="19886" y="1372"/>
                  </a:cubicBezTo>
                  <a:cubicBezTo>
                    <a:pt x="19886" y="4457"/>
                    <a:pt x="4457" y="16800"/>
                    <a:pt x="1372" y="10629"/>
                  </a:cubicBezTo>
                  <a:cubicBezTo>
                    <a:pt x="1372" y="1372"/>
                    <a:pt x="4457" y="19886"/>
                    <a:pt x="1372" y="106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2" name="Shape 1921">
              <a:extLst>
                <a:ext uri="{FF2B5EF4-FFF2-40B4-BE49-F238E27FC236}">
                  <a16:creationId xmlns:a16="http://schemas.microsoft.com/office/drawing/2014/main" id="{B3D67C98-95D5-F15E-6972-150F462E87C0}"/>
                </a:ext>
              </a:extLst>
            </p:cNvPr>
            <p:cNvSpPr/>
            <p:nvPr/>
          </p:nvSpPr>
          <p:spPr>
            <a:xfrm>
              <a:off x="6227364" y="1536462"/>
              <a:ext cx="29762" cy="11324"/>
            </a:xfrm>
            <a:custGeom>
              <a:avLst/>
              <a:gdLst/>
              <a:ahLst/>
              <a:cxnLst>
                <a:cxn ang="0">
                  <a:pos x="wd2" y="hd2"/>
                </a:cxn>
                <a:cxn ang="5400000">
                  <a:pos x="wd2" y="hd2"/>
                </a:cxn>
                <a:cxn ang="10800000">
                  <a:pos x="wd2" y="hd2"/>
                </a:cxn>
                <a:cxn ang="16200000">
                  <a:pos x="wd2" y="hd2"/>
                </a:cxn>
              </a:cxnLst>
              <a:rect l="0" t="0" r="r" b="b"/>
              <a:pathLst>
                <a:path w="19069" h="13600" extrusionOk="0">
                  <a:moveTo>
                    <a:pt x="12960" y="10400"/>
                  </a:moveTo>
                  <a:cubicBezTo>
                    <a:pt x="8640" y="10400"/>
                    <a:pt x="0" y="3200"/>
                    <a:pt x="0" y="3200"/>
                  </a:cubicBezTo>
                  <a:cubicBezTo>
                    <a:pt x="0" y="3200"/>
                    <a:pt x="17280" y="-4000"/>
                    <a:pt x="17280" y="3200"/>
                  </a:cubicBezTo>
                  <a:cubicBezTo>
                    <a:pt x="21600" y="10400"/>
                    <a:pt x="17280" y="17600"/>
                    <a:pt x="12960" y="10400"/>
                  </a:cubicBezTo>
                  <a:cubicBezTo>
                    <a:pt x="4320" y="10400"/>
                    <a:pt x="21600" y="17600"/>
                    <a:pt x="12960" y="10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3" name="Shape 1922">
              <a:extLst>
                <a:ext uri="{FF2B5EF4-FFF2-40B4-BE49-F238E27FC236}">
                  <a16:creationId xmlns:a16="http://schemas.microsoft.com/office/drawing/2014/main" id="{8889A06F-8C15-456F-DB9E-760C25363168}"/>
                </a:ext>
              </a:extLst>
            </p:cNvPr>
            <p:cNvSpPr/>
            <p:nvPr/>
          </p:nvSpPr>
          <p:spPr>
            <a:xfrm>
              <a:off x="6104026" y="1589246"/>
              <a:ext cx="24452" cy="47977"/>
            </a:xfrm>
            <a:custGeom>
              <a:avLst/>
              <a:gdLst/>
              <a:ahLst/>
              <a:cxnLst>
                <a:cxn ang="0">
                  <a:pos x="wd2" y="hd2"/>
                </a:cxn>
                <a:cxn ang="5400000">
                  <a:pos x="wd2" y="hd2"/>
                </a:cxn>
                <a:cxn ang="10800000">
                  <a:pos x="wd2" y="hd2"/>
                </a:cxn>
                <a:cxn ang="16200000">
                  <a:pos x="wd2" y="hd2"/>
                </a:cxn>
              </a:cxnLst>
              <a:rect l="0" t="0" r="r" b="b"/>
              <a:pathLst>
                <a:path w="13824" h="15896" extrusionOk="0">
                  <a:moveTo>
                    <a:pt x="13824" y="624"/>
                  </a:moveTo>
                  <a:cubicBezTo>
                    <a:pt x="13824" y="-3696"/>
                    <a:pt x="-7776" y="17904"/>
                    <a:pt x="3024" y="15744"/>
                  </a:cubicBezTo>
                  <a:cubicBezTo>
                    <a:pt x="6624" y="15744"/>
                    <a:pt x="13824" y="2784"/>
                    <a:pt x="13824" y="624"/>
                  </a:cubicBezTo>
                  <a:cubicBezTo>
                    <a:pt x="13824" y="-1536"/>
                    <a:pt x="13824" y="2784"/>
                    <a:pt x="13824" y="62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4" name="Shape 1923">
              <a:extLst>
                <a:ext uri="{FF2B5EF4-FFF2-40B4-BE49-F238E27FC236}">
                  <a16:creationId xmlns:a16="http://schemas.microsoft.com/office/drawing/2014/main" id="{564715A5-170F-7EC9-066F-134C19A48D42}"/>
                </a:ext>
              </a:extLst>
            </p:cNvPr>
            <p:cNvSpPr/>
            <p:nvPr/>
          </p:nvSpPr>
          <p:spPr>
            <a:xfrm>
              <a:off x="6153611" y="1465690"/>
              <a:ext cx="20380" cy="22180"/>
            </a:xfrm>
            <a:custGeom>
              <a:avLst/>
              <a:gdLst/>
              <a:ahLst/>
              <a:cxnLst>
                <a:cxn ang="0">
                  <a:pos x="wd2" y="hd2"/>
                </a:cxn>
                <a:cxn ang="5400000">
                  <a:pos x="wd2" y="hd2"/>
                </a:cxn>
                <a:cxn ang="10800000">
                  <a:pos x="wd2" y="hd2"/>
                </a:cxn>
                <a:cxn ang="16200000">
                  <a:pos x="wd2" y="hd2"/>
                </a:cxn>
              </a:cxnLst>
              <a:rect l="0" t="0" r="r" b="b"/>
              <a:pathLst>
                <a:path w="16322" h="17759" extrusionOk="0">
                  <a:moveTo>
                    <a:pt x="12272" y="16200"/>
                  </a:moveTo>
                  <a:cubicBezTo>
                    <a:pt x="6872" y="16200"/>
                    <a:pt x="-3928" y="10800"/>
                    <a:pt x="1472" y="5400"/>
                  </a:cubicBezTo>
                  <a:cubicBezTo>
                    <a:pt x="6872" y="5400"/>
                    <a:pt x="12272" y="0"/>
                    <a:pt x="12272" y="0"/>
                  </a:cubicBezTo>
                  <a:cubicBezTo>
                    <a:pt x="17672" y="0"/>
                    <a:pt x="17672" y="10800"/>
                    <a:pt x="12272" y="16200"/>
                  </a:cubicBezTo>
                  <a:cubicBezTo>
                    <a:pt x="6872" y="21600"/>
                    <a:pt x="17672" y="10800"/>
                    <a:pt x="12272"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5" name="Shape 1924">
              <a:extLst>
                <a:ext uri="{FF2B5EF4-FFF2-40B4-BE49-F238E27FC236}">
                  <a16:creationId xmlns:a16="http://schemas.microsoft.com/office/drawing/2014/main" id="{FD1093DE-3226-A06B-D81F-ED7D890CD823}"/>
                </a:ext>
              </a:extLst>
            </p:cNvPr>
            <p:cNvSpPr/>
            <p:nvPr/>
          </p:nvSpPr>
          <p:spPr>
            <a:xfrm>
              <a:off x="5885756" y="1678996"/>
              <a:ext cx="38206" cy="51958"/>
            </a:xfrm>
            <a:custGeom>
              <a:avLst/>
              <a:gdLst/>
              <a:ahLst/>
              <a:cxnLst>
                <a:cxn ang="0">
                  <a:pos x="wd2" y="hd2"/>
                </a:cxn>
                <a:cxn ang="5400000">
                  <a:pos x="wd2" y="hd2"/>
                </a:cxn>
                <a:cxn ang="10800000">
                  <a:pos x="wd2" y="hd2"/>
                </a:cxn>
                <a:cxn ang="16200000">
                  <a:pos x="wd2" y="hd2"/>
                </a:cxn>
              </a:cxnLst>
              <a:rect l="0" t="0" r="r" b="b"/>
              <a:pathLst>
                <a:path w="21600" h="18490" extrusionOk="0">
                  <a:moveTo>
                    <a:pt x="21600" y="1690"/>
                  </a:moveTo>
                  <a:cubicBezTo>
                    <a:pt x="21600" y="-710"/>
                    <a:pt x="21600" y="6490"/>
                    <a:pt x="21600" y="6490"/>
                  </a:cubicBezTo>
                  <a:cubicBezTo>
                    <a:pt x="21600" y="11290"/>
                    <a:pt x="21600" y="16090"/>
                    <a:pt x="18000" y="18490"/>
                  </a:cubicBezTo>
                  <a:cubicBezTo>
                    <a:pt x="18000" y="18490"/>
                    <a:pt x="0" y="8890"/>
                    <a:pt x="0" y="4090"/>
                  </a:cubicBezTo>
                  <a:cubicBezTo>
                    <a:pt x="0" y="4090"/>
                    <a:pt x="7200" y="1690"/>
                    <a:pt x="10800" y="4090"/>
                  </a:cubicBezTo>
                  <a:cubicBezTo>
                    <a:pt x="14400" y="6490"/>
                    <a:pt x="18000" y="6490"/>
                    <a:pt x="21600" y="1690"/>
                  </a:cubicBezTo>
                  <a:cubicBezTo>
                    <a:pt x="21600" y="-3110"/>
                    <a:pt x="21600" y="4090"/>
                    <a:pt x="21600" y="169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6" name="Shape 1925">
              <a:extLst>
                <a:ext uri="{FF2B5EF4-FFF2-40B4-BE49-F238E27FC236}">
                  <a16:creationId xmlns:a16="http://schemas.microsoft.com/office/drawing/2014/main" id="{3D736C06-5557-6CE7-B973-9F5AB4080EEA}"/>
                </a:ext>
              </a:extLst>
            </p:cNvPr>
            <p:cNvSpPr/>
            <p:nvPr/>
          </p:nvSpPr>
          <p:spPr>
            <a:xfrm>
              <a:off x="5844419" y="1700552"/>
              <a:ext cx="37722" cy="32349"/>
            </a:xfrm>
            <a:custGeom>
              <a:avLst/>
              <a:gdLst/>
              <a:ahLst/>
              <a:cxnLst>
                <a:cxn ang="0">
                  <a:pos x="wd2" y="hd2"/>
                </a:cxn>
                <a:cxn ang="5400000">
                  <a:pos x="wd2" y="hd2"/>
                </a:cxn>
                <a:cxn ang="10800000">
                  <a:pos x="wd2" y="hd2"/>
                </a:cxn>
                <a:cxn ang="16200000">
                  <a:pos x="wd2" y="hd2"/>
                </a:cxn>
              </a:cxnLst>
              <a:rect l="0" t="0" r="r" b="b"/>
              <a:pathLst>
                <a:path w="15106" h="12951" extrusionOk="0">
                  <a:moveTo>
                    <a:pt x="13855" y="12171"/>
                  </a:moveTo>
                  <a:cubicBezTo>
                    <a:pt x="11155" y="14871"/>
                    <a:pt x="-2345" y="6771"/>
                    <a:pt x="355" y="4071"/>
                  </a:cubicBezTo>
                  <a:cubicBezTo>
                    <a:pt x="5755" y="-6729"/>
                    <a:pt x="19255" y="6771"/>
                    <a:pt x="13855" y="12171"/>
                  </a:cubicBezTo>
                  <a:cubicBezTo>
                    <a:pt x="11155" y="14871"/>
                    <a:pt x="16555" y="9471"/>
                    <a:pt x="13855" y="12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7" name="Shape 1926">
              <a:extLst>
                <a:ext uri="{FF2B5EF4-FFF2-40B4-BE49-F238E27FC236}">
                  <a16:creationId xmlns:a16="http://schemas.microsoft.com/office/drawing/2014/main" id="{F20E07CC-BD68-821A-516D-E4410F1B098C}"/>
                </a:ext>
              </a:extLst>
            </p:cNvPr>
            <p:cNvSpPr/>
            <p:nvPr/>
          </p:nvSpPr>
          <p:spPr>
            <a:xfrm>
              <a:off x="5602584" y="2364888"/>
              <a:ext cx="27778" cy="19828"/>
            </a:xfrm>
            <a:custGeom>
              <a:avLst/>
              <a:gdLst/>
              <a:ahLst/>
              <a:cxnLst>
                <a:cxn ang="0">
                  <a:pos x="wd2" y="hd2"/>
                </a:cxn>
                <a:cxn ang="5400000">
                  <a:pos x="wd2" y="hd2"/>
                </a:cxn>
                <a:cxn ang="10800000">
                  <a:pos x="wd2" y="hd2"/>
                </a:cxn>
                <a:cxn ang="16200000">
                  <a:pos x="wd2" y="hd2"/>
                </a:cxn>
              </a:cxnLst>
              <a:rect l="0" t="0" r="r" b="b"/>
              <a:pathLst>
                <a:path w="19069" h="17318" extrusionOk="0">
                  <a:moveTo>
                    <a:pt x="17280" y="10800"/>
                  </a:moveTo>
                  <a:cubicBezTo>
                    <a:pt x="21600" y="5400"/>
                    <a:pt x="17280" y="21600"/>
                    <a:pt x="12960" y="16200"/>
                  </a:cubicBezTo>
                  <a:cubicBezTo>
                    <a:pt x="12960" y="16200"/>
                    <a:pt x="0" y="10800"/>
                    <a:pt x="0" y="10800"/>
                  </a:cubicBezTo>
                  <a:cubicBezTo>
                    <a:pt x="0" y="10800"/>
                    <a:pt x="12960" y="0"/>
                    <a:pt x="17280" y="0"/>
                  </a:cubicBezTo>
                  <a:cubicBezTo>
                    <a:pt x="17280" y="0"/>
                    <a:pt x="12960" y="10800"/>
                    <a:pt x="17280" y="10800"/>
                  </a:cubicBezTo>
                  <a:cubicBezTo>
                    <a:pt x="21600" y="5400"/>
                    <a:pt x="12960" y="10800"/>
                    <a:pt x="17280"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8" name="Shape 1927">
              <a:extLst>
                <a:ext uri="{FF2B5EF4-FFF2-40B4-BE49-F238E27FC236}">
                  <a16:creationId xmlns:a16="http://schemas.microsoft.com/office/drawing/2014/main" id="{CD35D3D8-3B6A-D319-D8AF-31179DD5D12D}"/>
                </a:ext>
              </a:extLst>
            </p:cNvPr>
            <p:cNvSpPr/>
            <p:nvPr/>
          </p:nvSpPr>
          <p:spPr>
            <a:xfrm>
              <a:off x="5284805" y="1562656"/>
              <a:ext cx="30857" cy="33980"/>
            </a:xfrm>
            <a:custGeom>
              <a:avLst/>
              <a:gdLst/>
              <a:ahLst/>
              <a:cxnLst>
                <a:cxn ang="0">
                  <a:pos x="wd2" y="hd2"/>
                </a:cxn>
                <a:cxn ang="5400000">
                  <a:pos x="wd2" y="hd2"/>
                </a:cxn>
                <a:cxn ang="10800000">
                  <a:pos x="wd2" y="hd2"/>
                </a:cxn>
                <a:cxn ang="16200000">
                  <a:pos x="wd2" y="hd2"/>
                </a:cxn>
              </a:cxnLst>
              <a:rect l="0" t="0" r="r" b="b"/>
              <a:pathLst>
                <a:path w="16476" h="18139" extrusionOk="0">
                  <a:moveTo>
                    <a:pt x="14876" y="1039"/>
                  </a:moveTo>
                  <a:cubicBezTo>
                    <a:pt x="18476" y="4639"/>
                    <a:pt x="11276" y="8239"/>
                    <a:pt x="11276" y="15439"/>
                  </a:cubicBezTo>
                  <a:cubicBezTo>
                    <a:pt x="7676" y="19039"/>
                    <a:pt x="4076" y="19039"/>
                    <a:pt x="476" y="15439"/>
                  </a:cubicBezTo>
                  <a:cubicBezTo>
                    <a:pt x="-3124" y="11839"/>
                    <a:pt x="14876" y="-2561"/>
                    <a:pt x="14876" y="1039"/>
                  </a:cubicBezTo>
                  <a:cubicBezTo>
                    <a:pt x="18476" y="4639"/>
                    <a:pt x="14876" y="-2561"/>
                    <a:pt x="14876" y="10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9" name="Shape 1928">
              <a:extLst>
                <a:ext uri="{FF2B5EF4-FFF2-40B4-BE49-F238E27FC236}">
                  <a16:creationId xmlns:a16="http://schemas.microsoft.com/office/drawing/2014/main" id="{90F47114-22DF-DB69-8EBC-B90958443A3E}"/>
                </a:ext>
              </a:extLst>
            </p:cNvPr>
            <p:cNvSpPr/>
            <p:nvPr/>
          </p:nvSpPr>
          <p:spPr>
            <a:xfrm>
              <a:off x="5299185" y="1610434"/>
              <a:ext cx="20228" cy="14865"/>
            </a:xfrm>
            <a:custGeom>
              <a:avLst/>
              <a:gdLst/>
              <a:ahLst/>
              <a:cxnLst>
                <a:cxn ang="0">
                  <a:pos x="wd2" y="hd2"/>
                </a:cxn>
                <a:cxn ang="5400000">
                  <a:pos x="wd2" y="hd2"/>
                </a:cxn>
                <a:cxn ang="10800000">
                  <a:pos x="wd2" y="hd2"/>
                </a:cxn>
                <a:cxn ang="16200000">
                  <a:pos x="wd2" y="hd2"/>
                </a:cxn>
              </a:cxnLst>
              <a:rect l="0" t="0" r="r" b="b"/>
              <a:pathLst>
                <a:path w="21600" h="15869" extrusionOk="0">
                  <a:moveTo>
                    <a:pt x="21600" y="1469"/>
                  </a:moveTo>
                  <a:cubicBezTo>
                    <a:pt x="14400" y="1469"/>
                    <a:pt x="0" y="1469"/>
                    <a:pt x="0" y="8669"/>
                  </a:cubicBezTo>
                  <a:cubicBezTo>
                    <a:pt x="0" y="15869"/>
                    <a:pt x="14400" y="15869"/>
                    <a:pt x="14400" y="15869"/>
                  </a:cubicBezTo>
                  <a:cubicBezTo>
                    <a:pt x="21600" y="15869"/>
                    <a:pt x="21600" y="-5731"/>
                    <a:pt x="21600" y="1469"/>
                  </a:cubicBezTo>
                  <a:cubicBezTo>
                    <a:pt x="14400" y="1469"/>
                    <a:pt x="21600" y="1469"/>
                    <a:pt x="21600" y="146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0" name="Shape 1929">
              <a:extLst>
                <a:ext uri="{FF2B5EF4-FFF2-40B4-BE49-F238E27FC236}">
                  <a16:creationId xmlns:a16="http://schemas.microsoft.com/office/drawing/2014/main" id="{CD83A281-C075-1FB5-261C-C2857CD2D0BB}"/>
                </a:ext>
              </a:extLst>
            </p:cNvPr>
            <p:cNvSpPr/>
            <p:nvPr/>
          </p:nvSpPr>
          <p:spPr>
            <a:xfrm>
              <a:off x="5322702" y="1625300"/>
              <a:ext cx="7947" cy="6744"/>
            </a:xfrm>
            <a:custGeom>
              <a:avLst/>
              <a:gdLst/>
              <a:ahLst/>
              <a:cxnLst>
                <a:cxn ang="0">
                  <a:pos x="wd2" y="hd2"/>
                </a:cxn>
                <a:cxn ang="5400000">
                  <a:pos x="wd2" y="hd2"/>
                </a:cxn>
                <a:cxn ang="10800000">
                  <a:pos x="wd2" y="hd2"/>
                </a:cxn>
                <a:cxn ang="16200000">
                  <a:pos x="wd2" y="hd2"/>
                </a:cxn>
              </a:cxnLst>
              <a:rect l="0" t="0" r="r" b="b"/>
              <a:pathLst>
                <a:path w="15274" h="21600" extrusionOk="0">
                  <a:moveTo>
                    <a:pt x="15274" y="0"/>
                  </a:moveTo>
                  <a:cubicBezTo>
                    <a:pt x="4474" y="0"/>
                    <a:pt x="-6326" y="21600"/>
                    <a:pt x="4474" y="21600"/>
                  </a:cubicBezTo>
                  <a:cubicBezTo>
                    <a:pt x="15274" y="21600"/>
                    <a:pt x="15274" y="0"/>
                    <a:pt x="1527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1" name="Shape 1930">
              <a:extLst>
                <a:ext uri="{FF2B5EF4-FFF2-40B4-BE49-F238E27FC236}">
                  <a16:creationId xmlns:a16="http://schemas.microsoft.com/office/drawing/2014/main" id="{F3E61729-D8A8-6AE1-13F3-754C2552FF9F}"/>
                </a:ext>
              </a:extLst>
            </p:cNvPr>
            <p:cNvSpPr/>
            <p:nvPr/>
          </p:nvSpPr>
          <p:spPr>
            <a:xfrm>
              <a:off x="5319410" y="1643283"/>
              <a:ext cx="6743" cy="1349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0800"/>
                    <a:pt x="0" y="21600"/>
                    <a:pt x="0" y="21600"/>
                  </a:cubicBezTo>
                  <a:cubicBezTo>
                    <a:pt x="21600" y="2160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2" name="Shape 1931">
              <a:extLst>
                <a:ext uri="{FF2B5EF4-FFF2-40B4-BE49-F238E27FC236}">
                  <a16:creationId xmlns:a16="http://schemas.microsoft.com/office/drawing/2014/main" id="{2A87BDB9-F0C3-EE59-5571-BFC500597407}"/>
                </a:ext>
              </a:extLst>
            </p:cNvPr>
            <p:cNvSpPr/>
            <p:nvPr/>
          </p:nvSpPr>
          <p:spPr>
            <a:xfrm>
              <a:off x="5322702" y="1656770"/>
              <a:ext cx="7947" cy="6744"/>
            </a:xfrm>
            <a:custGeom>
              <a:avLst/>
              <a:gdLst/>
              <a:ahLst/>
              <a:cxnLst>
                <a:cxn ang="0">
                  <a:pos x="wd2" y="hd2"/>
                </a:cxn>
                <a:cxn ang="5400000">
                  <a:pos x="wd2" y="hd2"/>
                </a:cxn>
                <a:cxn ang="10800000">
                  <a:pos x="wd2" y="hd2"/>
                </a:cxn>
                <a:cxn ang="16200000">
                  <a:pos x="wd2" y="hd2"/>
                </a:cxn>
              </a:cxnLst>
              <a:rect l="0" t="0" r="r" b="b"/>
              <a:pathLst>
                <a:path w="15274" h="21600" extrusionOk="0">
                  <a:moveTo>
                    <a:pt x="15274" y="0"/>
                  </a:moveTo>
                  <a:cubicBezTo>
                    <a:pt x="4474" y="0"/>
                    <a:pt x="-6326" y="21600"/>
                    <a:pt x="4474" y="21600"/>
                  </a:cubicBezTo>
                  <a:cubicBezTo>
                    <a:pt x="15274" y="21600"/>
                    <a:pt x="15274" y="0"/>
                    <a:pt x="1527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3" name="Shape 1932">
              <a:extLst>
                <a:ext uri="{FF2B5EF4-FFF2-40B4-BE49-F238E27FC236}">
                  <a16:creationId xmlns:a16="http://schemas.microsoft.com/office/drawing/2014/main" id="{181C09CD-ACE0-2884-3581-C8825F6E8686}"/>
                </a:ext>
              </a:extLst>
            </p:cNvPr>
            <p:cNvSpPr/>
            <p:nvPr/>
          </p:nvSpPr>
          <p:spPr>
            <a:xfrm>
              <a:off x="5371100" y="1755680"/>
              <a:ext cx="2998" cy="13490"/>
            </a:xfrm>
            <a:custGeom>
              <a:avLst/>
              <a:gdLst/>
              <a:ahLst/>
              <a:cxnLst>
                <a:cxn ang="0">
                  <a:pos x="wd2" y="hd2"/>
                </a:cxn>
                <a:cxn ang="5400000">
                  <a:pos x="wd2" y="hd2"/>
                </a:cxn>
                <a:cxn ang="10800000">
                  <a:pos x="wd2" y="hd2"/>
                </a:cxn>
                <a:cxn ang="16200000">
                  <a:pos x="wd2" y="hd2"/>
                </a:cxn>
              </a:cxnLst>
              <a:rect l="0" t="0" r="r" b="b"/>
              <a:pathLst>
                <a:path w="9600" h="21600" extrusionOk="0">
                  <a:moveTo>
                    <a:pt x="0" y="0"/>
                  </a:moveTo>
                  <a:cubicBezTo>
                    <a:pt x="0" y="10800"/>
                    <a:pt x="0" y="21600"/>
                    <a:pt x="0" y="21600"/>
                  </a:cubicBezTo>
                  <a:cubicBezTo>
                    <a:pt x="0" y="21600"/>
                    <a:pt x="21600" y="0"/>
                    <a:pt x="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4" name="Shape 1933">
              <a:extLst>
                <a:ext uri="{FF2B5EF4-FFF2-40B4-BE49-F238E27FC236}">
                  <a16:creationId xmlns:a16="http://schemas.microsoft.com/office/drawing/2014/main" id="{0B886568-90E9-E768-0BA4-5677ACAE141B}"/>
                </a:ext>
              </a:extLst>
            </p:cNvPr>
            <p:cNvSpPr/>
            <p:nvPr/>
          </p:nvSpPr>
          <p:spPr>
            <a:xfrm>
              <a:off x="5472302" y="1464610"/>
              <a:ext cx="11172" cy="21315"/>
            </a:xfrm>
            <a:custGeom>
              <a:avLst/>
              <a:gdLst/>
              <a:ahLst/>
              <a:cxnLst>
                <a:cxn ang="0">
                  <a:pos x="wd2" y="hd2"/>
                </a:cxn>
                <a:cxn ang="5400000">
                  <a:pos x="wd2" y="hd2"/>
                </a:cxn>
                <a:cxn ang="10800000">
                  <a:pos x="wd2" y="hd2"/>
                </a:cxn>
                <a:cxn ang="16200000">
                  <a:pos x="wd2" y="hd2"/>
                </a:cxn>
              </a:cxnLst>
              <a:rect l="0" t="0" r="r" b="b"/>
              <a:pathLst>
                <a:path w="17894" h="17067" extrusionOk="0">
                  <a:moveTo>
                    <a:pt x="7094" y="17067"/>
                  </a:moveTo>
                  <a:cubicBezTo>
                    <a:pt x="-3706" y="11667"/>
                    <a:pt x="-3706" y="867"/>
                    <a:pt x="17894" y="867"/>
                  </a:cubicBezTo>
                  <a:cubicBezTo>
                    <a:pt x="17894" y="-4533"/>
                    <a:pt x="17894" y="17067"/>
                    <a:pt x="7094" y="17067"/>
                  </a:cubicBezTo>
                  <a:cubicBezTo>
                    <a:pt x="-3706" y="11667"/>
                    <a:pt x="7094" y="17067"/>
                    <a:pt x="7094"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5" name="Shape 1934">
              <a:extLst>
                <a:ext uri="{FF2B5EF4-FFF2-40B4-BE49-F238E27FC236}">
                  <a16:creationId xmlns:a16="http://schemas.microsoft.com/office/drawing/2014/main" id="{BE18572A-8C40-7846-AAE7-F6018FC06D64}"/>
                </a:ext>
              </a:extLst>
            </p:cNvPr>
            <p:cNvSpPr/>
            <p:nvPr/>
          </p:nvSpPr>
          <p:spPr>
            <a:xfrm>
              <a:off x="3092229" y="5669798"/>
              <a:ext cx="72105" cy="31862"/>
            </a:xfrm>
            <a:custGeom>
              <a:avLst/>
              <a:gdLst/>
              <a:ahLst/>
              <a:cxnLst>
                <a:cxn ang="0">
                  <a:pos x="wd2" y="hd2"/>
                </a:cxn>
                <a:cxn ang="5400000">
                  <a:pos x="wd2" y="hd2"/>
                </a:cxn>
                <a:cxn ang="10800000">
                  <a:pos x="wd2" y="hd2"/>
                </a:cxn>
                <a:cxn ang="16200000">
                  <a:pos x="wd2" y="hd2"/>
                </a:cxn>
              </a:cxnLst>
              <a:rect l="0" t="0" r="r" b="b"/>
              <a:pathLst>
                <a:path w="19800" h="17008" extrusionOk="0">
                  <a:moveTo>
                    <a:pt x="18000" y="8208"/>
                  </a:moveTo>
                  <a:cubicBezTo>
                    <a:pt x="16200" y="8208"/>
                    <a:pt x="16200" y="4608"/>
                    <a:pt x="14400" y="4608"/>
                  </a:cubicBezTo>
                  <a:cubicBezTo>
                    <a:pt x="12600" y="4608"/>
                    <a:pt x="10800" y="4608"/>
                    <a:pt x="9000" y="4608"/>
                  </a:cubicBezTo>
                  <a:cubicBezTo>
                    <a:pt x="7200" y="4608"/>
                    <a:pt x="7200" y="-2592"/>
                    <a:pt x="5400" y="1008"/>
                  </a:cubicBezTo>
                  <a:cubicBezTo>
                    <a:pt x="5400" y="1008"/>
                    <a:pt x="0" y="8208"/>
                    <a:pt x="0" y="8208"/>
                  </a:cubicBezTo>
                  <a:cubicBezTo>
                    <a:pt x="0" y="8208"/>
                    <a:pt x="3600" y="15408"/>
                    <a:pt x="3600" y="15408"/>
                  </a:cubicBezTo>
                  <a:cubicBezTo>
                    <a:pt x="5400" y="19008"/>
                    <a:pt x="9000" y="15408"/>
                    <a:pt x="10800" y="15408"/>
                  </a:cubicBezTo>
                  <a:cubicBezTo>
                    <a:pt x="12600" y="15408"/>
                    <a:pt x="19800" y="11808"/>
                    <a:pt x="19800" y="8208"/>
                  </a:cubicBezTo>
                  <a:cubicBezTo>
                    <a:pt x="18000" y="8208"/>
                    <a:pt x="18000" y="8208"/>
                    <a:pt x="18000" y="8208"/>
                  </a:cubicBezTo>
                  <a:cubicBezTo>
                    <a:pt x="16200" y="8208"/>
                    <a:pt x="21600" y="4608"/>
                    <a:pt x="18000" y="82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6" name="Shape 1935">
              <a:extLst>
                <a:ext uri="{FF2B5EF4-FFF2-40B4-BE49-F238E27FC236}">
                  <a16:creationId xmlns:a16="http://schemas.microsoft.com/office/drawing/2014/main" id="{A6A04520-479F-59BF-827A-336914470051}"/>
                </a:ext>
              </a:extLst>
            </p:cNvPr>
            <p:cNvSpPr/>
            <p:nvPr/>
          </p:nvSpPr>
          <p:spPr>
            <a:xfrm>
              <a:off x="3085485" y="5710312"/>
              <a:ext cx="49034" cy="31811"/>
            </a:xfrm>
            <a:custGeom>
              <a:avLst/>
              <a:gdLst/>
              <a:ahLst/>
              <a:cxnLst>
                <a:cxn ang="0">
                  <a:pos x="wd2" y="hd2"/>
                </a:cxn>
                <a:cxn ang="5400000">
                  <a:pos x="wd2" y="hd2"/>
                </a:cxn>
                <a:cxn ang="10800000">
                  <a:pos x="wd2" y="hd2"/>
                </a:cxn>
                <a:cxn ang="16200000">
                  <a:pos x="wd2" y="hd2"/>
                </a:cxn>
              </a:cxnLst>
              <a:rect l="0" t="0" r="r" b="b"/>
              <a:pathLst>
                <a:path w="18125" h="16981" extrusionOk="0">
                  <a:moveTo>
                    <a:pt x="16800" y="8181"/>
                  </a:moveTo>
                  <a:cubicBezTo>
                    <a:pt x="16800" y="4581"/>
                    <a:pt x="0" y="-2619"/>
                    <a:pt x="0" y="981"/>
                  </a:cubicBezTo>
                  <a:cubicBezTo>
                    <a:pt x="0" y="981"/>
                    <a:pt x="4800" y="4581"/>
                    <a:pt x="4800" y="4581"/>
                  </a:cubicBezTo>
                  <a:cubicBezTo>
                    <a:pt x="7200" y="8181"/>
                    <a:pt x="2400" y="11781"/>
                    <a:pt x="2400" y="15381"/>
                  </a:cubicBezTo>
                  <a:cubicBezTo>
                    <a:pt x="2400" y="18981"/>
                    <a:pt x="7200" y="15381"/>
                    <a:pt x="7200" y="15381"/>
                  </a:cubicBezTo>
                  <a:cubicBezTo>
                    <a:pt x="9600" y="11781"/>
                    <a:pt x="7200" y="15381"/>
                    <a:pt x="9600" y="15381"/>
                  </a:cubicBezTo>
                  <a:cubicBezTo>
                    <a:pt x="12000" y="18981"/>
                    <a:pt x="21600" y="11781"/>
                    <a:pt x="16800" y="8181"/>
                  </a:cubicBezTo>
                  <a:cubicBezTo>
                    <a:pt x="14400" y="4581"/>
                    <a:pt x="19200" y="8181"/>
                    <a:pt x="16800" y="818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7" name="Shape 1936">
              <a:extLst>
                <a:ext uri="{FF2B5EF4-FFF2-40B4-BE49-F238E27FC236}">
                  <a16:creationId xmlns:a16="http://schemas.microsoft.com/office/drawing/2014/main" id="{57BF4D2D-B258-5D9F-5A6F-6406CD637744}"/>
                </a:ext>
              </a:extLst>
            </p:cNvPr>
            <p:cNvSpPr/>
            <p:nvPr/>
          </p:nvSpPr>
          <p:spPr>
            <a:xfrm>
              <a:off x="3078747" y="5653703"/>
              <a:ext cx="44298" cy="24271"/>
            </a:xfrm>
            <a:custGeom>
              <a:avLst/>
              <a:gdLst/>
              <a:ahLst/>
              <a:cxnLst>
                <a:cxn ang="0">
                  <a:pos x="wd2" y="hd2"/>
                </a:cxn>
                <a:cxn ang="5400000">
                  <a:pos x="wd2" y="hd2"/>
                </a:cxn>
                <a:cxn ang="10800000">
                  <a:pos x="wd2" y="hd2"/>
                </a:cxn>
                <a:cxn ang="16200000">
                  <a:pos x="wd2" y="hd2"/>
                </a:cxn>
              </a:cxnLst>
              <a:rect l="0" t="0" r="r" b="b"/>
              <a:pathLst>
                <a:path w="18511" h="16657" extrusionOk="0">
                  <a:moveTo>
                    <a:pt x="16200" y="0"/>
                  </a:moveTo>
                  <a:cubicBezTo>
                    <a:pt x="13500" y="0"/>
                    <a:pt x="10800" y="4320"/>
                    <a:pt x="8100" y="4320"/>
                  </a:cubicBezTo>
                  <a:cubicBezTo>
                    <a:pt x="5400" y="0"/>
                    <a:pt x="0" y="4320"/>
                    <a:pt x="0" y="4320"/>
                  </a:cubicBezTo>
                  <a:cubicBezTo>
                    <a:pt x="2700" y="0"/>
                    <a:pt x="0" y="17280"/>
                    <a:pt x="0" y="12960"/>
                  </a:cubicBezTo>
                  <a:cubicBezTo>
                    <a:pt x="2700" y="21600"/>
                    <a:pt x="10800" y="12960"/>
                    <a:pt x="13500" y="8640"/>
                  </a:cubicBezTo>
                  <a:cubicBezTo>
                    <a:pt x="16200" y="8640"/>
                    <a:pt x="21600" y="0"/>
                    <a:pt x="16200" y="0"/>
                  </a:cubicBezTo>
                  <a:cubicBezTo>
                    <a:pt x="13500" y="0"/>
                    <a:pt x="21600" y="0"/>
                    <a:pt x="162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8" name="Shape 1937">
              <a:extLst>
                <a:ext uri="{FF2B5EF4-FFF2-40B4-BE49-F238E27FC236}">
                  <a16:creationId xmlns:a16="http://schemas.microsoft.com/office/drawing/2014/main" id="{C76CA9F3-B1CF-5397-118D-62041243E629}"/>
                </a:ext>
              </a:extLst>
            </p:cNvPr>
            <p:cNvSpPr/>
            <p:nvPr/>
          </p:nvSpPr>
          <p:spPr>
            <a:xfrm>
              <a:off x="3057764" y="5683818"/>
              <a:ext cx="41964" cy="22949"/>
            </a:xfrm>
            <a:custGeom>
              <a:avLst/>
              <a:gdLst/>
              <a:ahLst/>
              <a:cxnLst>
                <a:cxn ang="0">
                  <a:pos x="wd2" y="hd2"/>
                </a:cxn>
                <a:cxn ang="5400000">
                  <a:pos x="wd2" y="hd2"/>
                </a:cxn>
                <a:cxn ang="10800000">
                  <a:pos x="wd2" y="hd2"/>
                </a:cxn>
                <a:cxn ang="16200000">
                  <a:pos x="wd2" y="hd2"/>
                </a:cxn>
              </a:cxnLst>
              <a:rect l="0" t="0" r="r" b="b"/>
              <a:pathLst>
                <a:path w="16805" h="14699" extrusionOk="0">
                  <a:moveTo>
                    <a:pt x="16502" y="13829"/>
                  </a:moveTo>
                  <a:cubicBezTo>
                    <a:pt x="13802" y="9509"/>
                    <a:pt x="-2398" y="-3451"/>
                    <a:pt x="302" y="869"/>
                  </a:cubicBezTo>
                  <a:cubicBezTo>
                    <a:pt x="3002" y="5189"/>
                    <a:pt x="19202" y="18149"/>
                    <a:pt x="16502" y="138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9" name="Shape 1938">
              <a:extLst>
                <a:ext uri="{FF2B5EF4-FFF2-40B4-BE49-F238E27FC236}">
                  <a16:creationId xmlns:a16="http://schemas.microsoft.com/office/drawing/2014/main" id="{FC4EE735-60F0-F5DA-E0CC-8115E69A087F}"/>
                </a:ext>
              </a:extLst>
            </p:cNvPr>
            <p:cNvSpPr/>
            <p:nvPr/>
          </p:nvSpPr>
          <p:spPr>
            <a:xfrm>
              <a:off x="3038291" y="5635784"/>
              <a:ext cx="14861" cy="13968"/>
            </a:xfrm>
            <a:custGeom>
              <a:avLst/>
              <a:gdLst/>
              <a:ahLst/>
              <a:cxnLst>
                <a:cxn ang="0">
                  <a:pos x="wd2" y="hd2"/>
                </a:cxn>
                <a:cxn ang="5400000">
                  <a:pos x="wd2" y="hd2"/>
                </a:cxn>
                <a:cxn ang="10800000">
                  <a:pos x="wd2" y="hd2"/>
                </a:cxn>
                <a:cxn ang="16200000">
                  <a:pos x="wd2" y="hd2"/>
                </a:cxn>
              </a:cxnLst>
              <a:rect l="0" t="0" r="r" b="b"/>
              <a:pathLst>
                <a:path w="15869" h="14912" extrusionOk="0">
                  <a:moveTo>
                    <a:pt x="14400" y="11929"/>
                  </a:moveTo>
                  <a:cubicBezTo>
                    <a:pt x="14400" y="19129"/>
                    <a:pt x="7200" y="11929"/>
                    <a:pt x="0" y="4729"/>
                  </a:cubicBezTo>
                  <a:cubicBezTo>
                    <a:pt x="0" y="-2471"/>
                    <a:pt x="21600" y="-2471"/>
                    <a:pt x="14400" y="11929"/>
                  </a:cubicBezTo>
                  <a:cubicBezTo>
                    <a:pt x="14400" y="19129"/>
                    <a:pt x="14400" y="4729"/>
                    <a:pt x="14400" y="119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0" name="Shape 1939">
              <a:extLst>
                <a:ext uri="{FF2B5EF4-FFF2-40B4-BE49-F238E27FC236}">
                  <a16:creationId xmlns:a16="http://schemas.microsoft.com/office/drawing/2014/main" id="{23DA75DB-248B-8070-161D-6FFCF0E90C49}"/>
                </a:ext>
              </a:extLst>
            </p:cNvPr>
            <p:cNvSpPr/>
            <p:nvPr/>
          </p:nvSpPr>
          <p:spPr>
            <a:xfrm>
              <a:off x="3038291" y="5579519"/>
              <a:ext cx="40454" cy="43258"/>
            </a:xfrm>
            <a:custGeom>
              <a:avLst/>
              <a:gdLst/>
              <a:ahLst/>
              <a:cxnLst>
                <a:cxn ang="0">
                  <a:pos x="wd2" y="hd2"/>
                </a:cxn>
                <a:cxn ang="5400000">
                  <a:pos x="wd2" y="hd2"/>
                </a:cxn>
                <a:cxn ang="10800000">
                  <a:pos x="wd2" y="hd2"/>
                </a:cxn>
                <a:cxn ang="16200000">
                  <a:pos x="wd2" y="hd2"/>
                </a:cxn>
              </a:cxnLst>
              <a:rect l="0" t="0" r="r" b="b"/>
              <a:pathLst>
                <a:path w="18514" h="19792" extrusionOk="0">
                  <a:moveTo>
                    <a:pt x="15429" y="6171"/>
                  </a:moveTo>
                  <a:cubicBezTo>
                    <a:pt x="15429" y="3086"/>
                    <a:pt x="12343" y="3086"/>
                    <a:pt x="12343" y="0"/>
                  </a:cubicBezTo>
                  <a:cubicBezTo>
                    <a:pt x="9257" y="0"/>
                    <a:pt x="3086" y="0"/>
                    <a:pt x="6171" y="3086"/>
                  </a:cubicBezTo>
                  <a:cubicBezTo>
                    <a:pt x="12343" y="9257"/>
                    <a:pt x="3086" y="6171"/>
                    <a:pt x="0" y="3086"/>
                  </a:cubicBezTo>
                  <a:cubicBezTo>
                    <a:pt x="3086" y="9257"/>
                    <a:pt x="6171" y="9257"/>
                    <a:pt x="6171" y="12343"/>
                  </a:cubicBezTo>
                  <a:cubicBezTo>
                    <a:pt x="9257" y="18514"/>
                    <a:pt x="3086" y="15429"/>
                    <a:pt x="0" y="18514"/>
                  </a:cubicBezTo>
                  <a:cubicBezTo>
                    <a:pt x="0" y="21600"/>
                    <a:pt x="12343" y="18514"/>
                    <a:pt x="9257" y="15429"/>
                  </a:cubicBezTo>
                  <a:cubicBezTo>
                    <a:pt x="9257" y="15429"/>
                    <a:pt x="12343" y="9257"/>
                    <a:pt x="12343" y="6171"/>
                  </a:cubicBezTo>
                  <a:cubicBezTo>
                    <a:pt x="12343" y="6171"/>
                    <a:pt x="12343" y="9257"/>
                    <a:pt x="12343" y="12343"/>
                  </a:cubicBezTo>
                  <a:cubicBezTo>
                    <a:pt x="12343" y="9257"/>
                    <a:pt x="18514" y="6171"/>
                    <a:pt x="18514" y="6171"/>
                  </a:cubicBezTo>
                  <a:cubicBezTo>
                    <a:pt x="18514" y="6171"/>
                    <a:pt x="18514" y="6171"/>
                    <a:pt x="15429" y="6171"/>
                  </a:cubicBezTo>
                  <a:cubicBezTo>
                    <a:pt x="15429" y="3086"/>
                    <a:pt x="21600" y="6171"/>
                    <a:pt x="15429" y="6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1" name="Shape 1940">
              <a:extLst>
                <a:ext uri="{FF2B5EF4-FFF2-40B4-BE49-F238E27FC236}">
                  <a16:creationId xmlns:a16="http://schemas.microsoft.com/office/drawing/2014/main" id="{F42BDE7A-730A-A97A-D20A-31DE7EE366C7}"/>
                </a:ext>
              </a:extLst>
            </p:cNvPr>
            <p:cNvSpPr/>
            <p:nvPr/>
          </p:nvSpPr>
          <p:spPr>
            <a:xfrm>
              <a:off x="3031549" y="5504524"/>
              <a:ext cx="33711" cy="48428"/>
            </a:xfrm>
            <a:custGeom>
              <a:avLst/>
              <a:gdLst/>
              <a:ahLst/>
              <a:cxnLst>
                <a:cxn ang="0">
                  <a:pos x="wd2" y="hd2"/>
                </a:cxn>
                <a:cxn ang="5400000">
                  <a:pos x="wd2" y="hd2"/>
                </a:cxn>
                <a:cxn ang="10800000">
                  <a:pos x="wd2" y="hd2"/>
                </a:cxn>
                <a:cxn ang="16200000">
                  <a:pos x="wd2" y="hd2"/>
                </a:cxn>
              </a:cxnLst>
              <a:rect l="0" t="0" r="r" b="b"/>
              <a:pathLst>
                <a:path w="21600" h="14541" extrusionOk="0">
                  <a:moveTo>
                    <a:pt x="21600" y="10614"/>
                  </a:moveTo>
                  <a:cubicBezTo>
                    <a:pt x="21600" y="8651"/>
                    <a:pt x="17280" y="-3131"/>
                    <a:pt x="8640" y="796"/>
                  </a:cubicBezTo>
                  <a:cubicBezTo>
                    <a:pt x="8640" y="2760"/>
                    <a:pt x="12960" y="8651"/>
                    <a:pt x="4320" y="8651"/>
                  </a:cubicBezTo>
                  <a:cubicBezTo>
                    <a:pt x="0" y="8651"/>
                    <a:pt x="0" y="10614"/>
                    <a:pt x="0" y="14542"/>
                  </a:cubicBezTo>
                  <a:cubicBezTo>
                    <a:pt x="4320" y="14542"/>
                    <a:pt x="8640" y="10614"/>
                    <a:pt x="8640" y="10614"/>
                  </a:cubicBezTo>
                  <a:cubicBezTo>
                    <a:pt x="4320" y="10614"/>
                    <a:pt x="21600" y="18469"/>
                    <a:pt x="21600" y="10614"/>
                  </a:cubicBezTo>
                  <a:cubicBezTo>
                    <a:pt x="21600" y="8651"/>
                    <a:pt x="21600" y="12578"/>
                    <a:pt x="21600" y="1061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2" name="Shape 1941">
              <a:extLst>
                <a:ext uri="{FF2B5EF4-FFF2-40B4-BE49-F238E27FC236}">
                  <a16:creationId xmlns:a16="http://schemas.microsoft.com/office/drawing/2014/main" id="{304D6CCD-BF54-A5FD-B47F-1EC7E477499F}"/>
                </a:ext>
              </a:extLst>
            </p:cNvPr>
            <p:cNvSpPr/>
            <p:nvPr/>
          </p:nvSpPr>
          <p:spPr>
            <a:xfrm>
              <a:off x="3029713" y="5562875"/>
              <a:ext cx="15323" cy="30131"/>
            </a:xfrm>
            <a:custGeom>
              <a:avLst/>
              <a:gdLst/>
              <a:ahLst/>
              <a:cxnLst>
                <a:cxn ang="0">
                  <a:pos x="wd2" y="hd2"/>
                </a:cxn>
                <a:cxn ang="5400000">
                  <a:pos x="wd2" y="hd2"/>
                </a:cxn>
                <a:cxn ang="10800000">
                  <a:pos x="wd2" y="hd2"/>
                </a:cxn>
                <a:cxn ang="16200000">
                  <a:pos x="wd2" y="hd2"/>
                </a:cxn>
              </a:cxnLst>
              <a:rect l="0" t="0" r="r" b="b"/>
              <a:pathLst>
                <a:path w="16362" h="16084" extrusionOk="0">
                  <a:moveTo>
                    <a:pt x="16362" y="1684"/>
                  </a:moveTo>
                  <a:cubicBezTo>
                    <a:pt x="9162" y="-5516"/>
                    <a:pt x="-5238" y="12484"/>
                    <a:pt x="1962" y="16084"/>
                  </a:cubicBezTo>
                  <a:cubicBezTo>
                    <a:pt x="-5238" y="12484"/>
                    <a:pt x="16362" y="5284"/>
                    <a:pt x="16362" y="1684"/>
                  </a:cubicBezTo>
                  <a:cubicBezTo>
                    <a:pt x="9162" y="-1916"/>
                    <a:pt x="16362" y="1684"/>
                    <a:pt x="16362" y="16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3" name="Shape 1942">
              <a:extLst>
                <a:ext uri="{FF2B5EF4-FFF2-40B4-BE49-F238E27FC236}">
                  <a16:creationId xmlns:a16="http://schemas.microsoft.com/office/drawing/2014/main" id="{AD4865C6-3E5F-AEE3-F933-9C86F096B119}"/>
                </a:ext>
              </a:extLst>
            </p:cNvPr>
            <p:cNvSpPr/>
            <p:nvPr/>
          </p:nvSpPr>
          <p:spPr>
            <a:xfrm>
              <a:off x="3024808" y="5467119"/>
              <a:ext cx="33711" cy="47209"/>
            </a:xfrm>
            <a:custGeom>
              <a:avLst/>
              <a:gdLst/>
              <a:ahLst/>
              <a:cxnLst>
                <a:cxn ang="0">
                  <a:pos x="wd2" y="hd2"/>
                </a:cxn>
                <a:cxn ang="5400000">
                  <a:pos x="wd2" y="hd2"/>
                </a:cxn>
                <a:cxn ang="10800000">
                  <a:pos x="wd2" y="hd2"/>
                </a:cxn>
                <a:cxn ang="16200000">
                  <a:pos x="wd2" y="hd2"/>
                </a:cxn>
              </a:cxnLst>
              <a:rect l="0" t="0" r="r" b="b"/>
              <a:pathLst>
                <a:path w="21600" h="21600" extrusionOk="0">
                  <a:moveTo>
                    <a:pt x="17280" y="6171"/>
                  </a:moveTo>
                  <a:cubicBezTo>
                    <a:pt x="12960" y="9257"/>
                    <a:pt x="12960" y="0"/>
                    <a:pt x="12960" y="0"/>
                  </a:cubicBezTo>
                  <a:cubicBezTo>
                    <a:pt x="12960" y="0"/>
                    <a:pt x="12960" y="9257"/>
                    <a:pt x="8640" y="9257"/>
                  </a:cubicBezTo>
                  <a:cubicBezTo>
                    <a:pt x="8640" y="9257"/>
                    <a:pt x="8640" y="6171"/>
                    <a:pt x="4320" y="6171"/>
                  </a:cubicBezTo>
                  <a:cubicBezTo>
                    <a:pt x="8640" y="6171"/>
                    <a:pt x="0" y="15429"/>
                    <a:pt x="0" y="15429"/>
                  </a:cubicBezTo>
                  <a:cubicBezTo>
                    <a:pt x="0" y="12343"/>
                    <a:pt x="17280" y="15429"/>
                    <a:pt x="8640" y="21600"/>
                  </a:cubicBezTo>
                  <a:cubicBezTo>
                    <a:pt x="12960" y="18514"/>
                    <a:pt x="21600" y="18514"/>
                    <a:pt x="21600" y="15429"/>
                  </a:cubicBezTo>
                  <a:cubicBezTo>
                    <a:pt x="21600" y="12343"/>
                    <a:pt x="17280" y="3086"/>
                    <a:pt x="17280" y="6171"/>
                  </a:cubicBezTo>
                  <a:cubicBezTo>
                    <a:pt x="12960" y="9257"/>
                    <a:pt x="17280" y="3086"/>
                    <a:pt x="17280" y="6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4" name="Shape 1943">
              <a:extLst>
                <a:ext uri="{FF2B5EF4-FFF2-40B4-BE49-F238E27FC236}">
                  <a16:creationId xmlns:a16="http://schemas.microsoft.com/office/drawing/2014/main" id="{EFE3CE5F-89B7-CBE3-4E00-A2FBFD8A82F4}"/>
                </a:ext>
              </a:extLst>
            </p:cNvPr>
            <p:cNvSpPr/>
            <p:nvPr/>
          </p:nvSpPr>
          <p:spPr>
            <a:xfrm>
              <a:off x="3058521" y="5336735"/>
              <a:ext cx="24975" cy="26996"/>
            </a:xfrm>
            <a:custGeom>
              <a:avLst/>
              <a:gdLst/>
              <a:ahLst/>
              <a:cxnLst>
                <a:cxn ang="0">
                  <a:pos x="wd2" y="hd2"/>
                </a:cxn>
                <a:cxn ang="5400000">
                  <a:pos x="wd2" y="hd2"/>
                </a:cxn>
                <a:cxn ang="10800000">
                  <a:pos x="wd2" y="hd2"/>
                </a:cxn>
                <a:cxn ang="16200000">
                  <a:pos x="wd2" y="hd2"/>
                </a:cxn>
              </a:cxnLst>
              <a:rect l="0" t="0" r="r" b="b"/>
              <a:pathLst>
                <a:path w="16002" h="18527" extrusionOk="0">
                  <a:moveTo>
                    <a:pt x="12960" y="17280"/>
                  </a:moveTo>
                  <a:cubicBezTo>
                    <a:pt x="21600" y="8640"/>
                    <a:pt x="8640" y="8640"/>
                    <a:pt x="12960" y="0"/>
                  </a:cubicBezTo>
                  <a:cubicBezTo>
                    <a:pt x="12960" y="0"/>
                    <a:pt x="4320" y="0"/>
                    <a:pt x="0" y="0"/>
                  </a:cubicBezTo>
                  <a:cubicBezTo>
                    <a:pt x="0" y="0"/>
                    <a:pt x="8640" y="4320"/>
                    <a:pt x="8640" y="4320"/>
                  </a:cubicBezTo>
                  <a:cubicBezTo>
                    <a:pt x="8640" y="8640"/>
                    <a:pt x="12960" y="17280"/>
                    <a:pt x="12960" y="17280"/>
                  </a:cubicBezTo>
                  <a:cubicBezTo>
                    <a:pt x="17280" y="12960"/>
                    <a:pt x="8640" y="21600"/>
                    <a:pt x="12960"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5" name="Shape 1944">
              <a:extLst>
                <a:ext uri="{FF2B5EF4-FFF2-40B4-BE49-F238E27FC236}">
                  <a16:creationId xmlns:a16="http://schemas.microsoft.com/office/drawing/2014/main" id="{5BEFBB16-44C4-3B7B-D9E4-B159E7007A64}"/>
                </a:ext>
              </a:extLst>
            </p:cNvPr>
            <p:cNvSpPr/>
            <p:nvPr/>
          </p:nvSpPr>
          <p:spPr>
            <a:xfrm>
              <a:off x="3065263" y="5221557"/>
              <a:ext cx="31372" cy="65728"/>
            </a:xfrm>
            <a:custGeom>
              <a:avLst/>
              <a:gdLst/>
              <a:ahLst/>
              <a:cxnLst>
                <a:cxn ang="0">
                  <a:pos x="wd2" y="hd2"/>
                </a:cxn>
                <a:cxn ang="5400000">
                  <a:pos x="wd2" y="hd2"/>
                </a:cxn>
                <a:cxn ang="10800000">
                  <a:pos x="wd2" y="hd2"/>
                </a:cxn>
                <a:cxn ang="16200000">
                  <a:pos x="wd2" y="hd2"/>
                </a:cxn>
              </a:cxnLst>
              <a:rect l="0" t="0" r="r" b="b"/>
              <a:pathLst>
                <a:path w="16751" h="19736" extrusionOk="0">
                  <a:moveTo>
                    <a:pt x="10800" y="18446"/>
                  </a:moveTo>
                  <a:cubicBezTo>
                    <a:pt x="3600" y="20410"/>
                    <a:pt x="0" y="20410"/>
                    <a:pt x="0" y="16483"/>
                  </a:cubicBezTo>
                  <a:cubicBezTo>
                    <a:pt x="3600" y="12555"/>
                    <a:pt x="3600" y="6665"/>
                    <a:pt x="3600" y="2737"/>
                  </a:cubicBezTo>
                  <a:cubicBezTo>
                    <a:pt x="3600" y="-1190"/>
                    <a:pt x="18000" y="-1190"/>
                    <a:pt x="14400" y="4701"/>
                  </a:cubicBezTo>
                  <a:cubicBezTo>
                    <a:pt x="14400" y="8628"/>
                    <a:pt x="21600" y="14519"/>
                    <a:pt x="10800" y="18446"/>
                  </a:cubicBezTo>
                  <a:cubicBezTo>
                    <a:pt x="7200" y="18446"/>
                    <a:pt x="14400" y="16483"/>
                    <a:pt x="10800" y="1844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6" name="Shape 1945">
              <a:extLst>
                <a:ext uri="{FF2B5EF4-FFF2-40B4-BE49-F238E27FC236}">
                  <a16:creationId xmlns:a16="http://schemas.microsoft.com/office/drawing/2014/main" id="{A936F848-669A-5F74-4808-E71D14974946}"/>
                </a:ext>
              </a:extLst>
            </p:cNvPr>
            <p:cNvSpPr/>
            <p:nvPr/>
          </p:nvSpPr>
          <p:spPr>
            <a:xfrm>
              <a:off x="3202436" y="3352167"/>
              <a:ext cx="18733" cy="17973"/>
            </a:xfrm>
            <a:custGeom>
              <a:avLst/>
              <a:gdLst/>
              <a:ahLst/>
              <a:cxnLst>
                <a:cxn ang="0">
                  <a:pos x="wd2" y="hd2"/>
                </a:cxn>
                <a:cxn ang="5400000">
                  <a:pos x="wd2" y="hd2"/>
                </a:cxn>
                <a:cxn ang="10800000">
                  <a:pos x="wd2" y="hd2"/>
                </a:cxn>
                <a:cxn ang="16200000">
                  <a:pos x="wd2" y="hd2"/>
                </a:cxn>
              </a:cxnLst>
              <a:rect l="0" t="0" r="r" b="b"/>
              <a:pathLst>
                <a:path w="12860" h="14390" extrusionOk="0">
                  <a:moveTo>
                    <a:pt x="9817" y="12272"/>
                  </a:moveTo>
                  <a:cubicBezTo>
                    <a:pt x="5497" y="17672"/>
                    <a:pt x="-3143" y="12272"/>
                    <a:pt x="1177" y="1472"/>
                  </a:cubicBezTo>
                  <a:cubicBezTo>
                    <a:pt x="1177" y="-3928"/>
                    <a:pt x="18457" y="6872"/>
                    <a:pt x="9817" y="12272"/>
                  </a:cubicBezTo>
                  <a:cubicBezTo>
                    <a:pt x="5497" y="17672"/>
                    <a:pt x="18457" y="6872"/>
                    <a:pt x="9817" y="122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7" name="Shape 1946">
              <a:extLst>
                <a:ext uri="{FF2B5EF4-FFF2-40B4-BE49-F238E27FC236}">
                  <a16:creationId xmlns:a16="http://schemas.microsoft.com/office/drawing/2014/main" id="{AA1CA78A-D018-70EB-457D-A2EF57456BBB}"/>
                </a:ext>
              </a:extLst>
            </p:cNvPr>
            <p:cNvSpPr/>
            <p:nvPr/>
          </p:nvSpPr>
          <p:spPr>
            <a:xfrm>
              <a:off x="3484567" y="3397032"/>
              <a:ext cx="25451" cy="29982"/>
            </a:xfrm>
            <a:custGeom>
              <a:avLst/>
              <a:gdLst/>
              <a:ahLst/>
              <a:cxnLst>
                <a:cxn ang="0">
                  <a:pos x="wd2" y="hd2"/>
                </a:cxn>
                <a:cxn ang="5400000">
                  <a:pos x="wd2" y="hd2"/>
                </a:cxn>
                <a:cxn ang="10800000">
                  <a:pos x="wd2" y="hd2"/>
                </a:cxn>
                <a:cxn ang="16200000">
                  <a:pos x="wd2" y="hd2"/>
                </a:cxn>
              </a:cxnLst>
              <a:rect l="0" t="0" r="r" b="b"/>
              <a:pathLst>
                <a:path w="14388" h="12525" extrusionOk="0">
                  <a:moveTo>
                    <a:pt x="1600" y="9612"/>
                  </a:moveTo>
                  <a:cubicBezTo>
                    <a:pt x="-2000" y="6912"/>
                    <a:pt x="5200" y="6912"/>
                    <a:pt x="5200" y="6912"/>
                  </a:cubicBezTo>
                  <a:cubicBezTo>
                    <a:pt x="8800" y="6912"/>
                    <a:pt x="8800" y="-3888"/>
                    <a:pt x="12400" y="1512"/>
                  </a:cubicBezTo>
                  <a:cubicBezTo>
                    <a:pt x="19600" y="6912"/>
                    <a:pt x="5200" y="17712"/>
                    <a:pt x="1600" y="9612"/>
                  </a:cubicBezTo>
                  <a:cubicBezTo>
                    <a:pt x="-2000" y="6912"/>
                    <a:pt x="1600" y="12312"/>
                    <a:pt x="1600" y="961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8" name="Shape 1947">
              <a:extLst>
                <a:ext uri="{FF2B5EF4-FFF2-40B4-BE49-F238E27FC236}">
                  <a16:creationId xmlns:a16="http://schemas.microsoft.com/office/drawing/2014/main" id="{1FEA8461-A357-1298-8D30-605FBF2B7889}"/>
                </a:ext>
              </a:extLst>
            </p:cNvPr>
            <p:cNvSpPr/>
            <p:nvPr/>
          </p:nvSpPr>
          <p:spPr>
            <a:xfrm>
              <a:off x="3846721" y="3746799"/>
              <a:ext cx="80976" cy="79002"/>
            </a:xfrm>
            <a:custGeom>
              <a:avLst/>
              <a:gdLst/>
              <a:ahLst/>
              <a:cxnLst>
                <a:cxn ang="0">
                  <a:pos x="wd2" y="hd2"/>
                </a:cxn>
                <a:cxn ang="5400000">
                  <a:pos x="wd2" y="hd2"/>
                </a:cxn>
                <a:cxn ang="10800000">
                  <a:pos x="wd2" y="hd2"/>
                </a:cxn>
                <a:cxn ang="16200000">
                  <a:pos x="wd2" y="hd2"/>
                </a:cxn>
              </a:cxnLst>
              <a:rect l="0" t="0" r="r" b="b"/>
              <a:pathLst>
                <a:path w="18982" h="19976" extrusionOk="0">
                  <a:moveTo>
                    <a:pt x="17610" y="6231"/>
                  </a:moveTo>
                  <a:cubicBezTo>
                    <a:pt x="17610" y="4570"/>
                    <a:pt x="16067" y="4570"/>
                    <a:pt x="14525" y="4570"/>
                  </a:cubicBezTo>
                  <a:cubicBezTo>
                    <a:pt x="11439" y="2908"/>
                    <a:pt x="11439" y="1247"/>
                    <a:pt x="8353" y="1247"/>
                  </a:cubicBezTo>
                  <a:cubicBezTo>
                    <a:pt x="6810" y="-415"/>
                    <a:pt x="3725" y="-415"/>
                    <a:pt x="2182" y="1247"/>
                  </a:cubicBezTo>
                  <a:cubicBezTo>
                    <a:pt x="2182" y="1247"/>
                    <a:pt x="2182" y="2908"/>
                    <a:pt x="639" y="2908"/>
                  </a:cubicBezTo>
                  <a:cubicBezTo>
                    <a:pt x="-904" y="6231"/>
                    <a:pt x="639" y="4570"/>
                    <a:pt x="2182" y="6231"/>
                  </a:cubicBezTo>
                  <a:cubicBezTo>
                    <a:pt x="2182" y="6231"/>
                    <a:pt x="639" y="11216"/>
                    <a:pt x="639" y="11216"/>
                  </a:cubicBezTo>
                  <a:cubicBezTo>
                    <a:pt x="639" y="14539"/>
                    <a:pt x="639" y="14539"/>
                    <a:pt x="2182" y="16200"/>
                  </a:cubicBezTo>
                  <a:cubicBezTo>
                    <a:pt x="3725" y="17862"/>
                    <a:pt x="3725" y="16200"/>
                    <a:pt x="5267" y="16200"/>
                  </a:cubicBezTo>
                  <a:cubicBezTo>
                    <a:pt x="8353" y="16200"/>
                    <a:pt x="6810" y="19523"/>
                    <a:pt x="9896" y="19523"/>
                  </a:cubicBezTo>
                  <a:cubicBezTo>
                    <a:pt x="12982" y="21185"/>
                    <a:pt x="11439" y="17862"/>
                    <a:pt x="14525" y="16200"/>
                  </a:cubicBezTo>
                  <a:cubicBezTo>
                    <a:pt x="17610" y="12877"/>
                    <a:pt x="20696" y="11216"/>
                    <a:pt x="17610" y="6231"/>
                  </a:cubicBezTo>
                  <a:cubicBezTo>
                    <a:pt x="17610" y="2908"/>
                    <a:pt x="20696" y="12877"/>
                    <a:pt x="17610" y="62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9" name="Shape 1948">
              <a:extLst>
                <a:ext uri="{FF2B5EF4-FFF2-40B4-BE49-F238E27FC236}">
                  <a16:creationId xmlns:a16="http://schemas.microsoft.com/office/drawing/2014/main" id="{368EAD48-F107-FBD1-4075-28375CF5EC16}"/>
                </a:ext>
              </a:extLst>
            </p:cNvPr>
            <p:cNvSpPr/>
            <p:nvPr/>
          </p:nvSpPr>
          <p:spPr>
            <a:xfrm>
              <a:off x="3308691" y="3135951"/>
              <a:ext cx="54527" cy="22121"/>
            </a:xfrm>
            <a:custGeom>
              <a:avLst/>
              <a:gdLst/>
              <a:ahLst/>
              <a:cxnLst>
                <a:cxn ang="0">
                  <a:pos x="wd2" y="hd2"/>
                </a:cxn>
                <a:cxn ang="5400000">
                  <a:pos x="wd2" y="hd2"/>
                </a:cxn>
                <a:cxn ang="10800000">
                  <a:pos x="wd2" y="hd2"/>
                </a:cxn>
                <a:cxn ang="16200000">
                  <a:pos x="wd2" y="hd2"/>
                </a:cxn>
              </a:cxnLst>
              <a:rect l="0" t="0" r="r" b="b"/>
              <a:pathLst>
                <a:path w="18071" h="17712" extrusionOk="0">
                  <a:moveTo>
                    <a:pt x="17715" y="10800"/>
                  </a:moveTo>
                  <a:cubicBezTo>
                    <a:pt x="13395" y="5400"/>
                    <a:pt x="11235" y="0"/>
                    <a:pt x="6915" y="0"/>
                  </a:cubicBezTo>
                  <a:cubicBezTo>
                    <a:pt x="4755" y="0"/>
                    <a:pt x="-1725" y="5400"/>
                    <a:pt x="435" y="16200"/>
                  </a:cubicBezTo>
                  <a:cubicBezTo>
                    <a:pt x="2595" y="21600"/>
                    <a:pt x="17715" y="10800"/>
                    <a:pt x="17715" y="10800"/>
                  </a:cubicBezTo>
                  <a:cubicBezTo>
                    <a:pt x="11235" y="5400"/>
                    <a:pt x="19875" y="16200"/>
                    <a:pt x="17715"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0" name="Shape 1949">
              <a:extLst>
                <a:ext uri="{FF2B5EF4-FFF2-40B4-BE49-F238E27FC236}">
                  <a16:creationId xmlns:a16="http://schemas.microsoft.com/office/drawing/2014/main" id="{53DAB9F6-5840-42AB-E5F9-F32C37C0693E}"/>
                </a:ext>
              </a:extLst>
            </p:cNvPr>
            <p:cNvSpPr/>
            <p:nvPr/>
          </p:nvSpPr>
          <p:spPr>
            <a:xfrm>
              <a:off x="2932663" y="3135677"/>
              <a:ext cx="70420" cy="27251"/>
            </a:xfrm>
            <a:custGeom>
              <a:avLst/>
              <a:gdLst/>
              <a:ahLst/>
              <a:cxnLst>
                <a:cxn ang="0">
                  <a:pos x="wd2" y="hd2"/>
                </a:cxn>
                <a:cxn ang="5400000">
                  <a:pos x="wd2" y="hd2"/>
                </a:cxn>
                <a:cxn ang="10800000">
                  <a:pos x="wd2" y="hd2"/>
                </a:cxn>
                <a:cxn ang="16200000">
                  <a:pos x="wd2" y="hd2"/>
                </a:cxn>
              </a:cxnLst>
              <a:rect l="0" t="0" r="r" b="b"/>
              <a:pathLst>
                <a:path w="20509" h="17455" extrusionOk="0">
                  <a:moveTo>
                    <a:pt x="19636" y="13135"/>
                  </a:moveTo>
                  <a:cubicBezTo>
                    <a:pt x="19636" y="175"/>
                    <a:pt x="3927" y="-4145"/>
                    <a:pt x="0" y="4495"/>
                  </a:cubicBezTo>
                  <a:cubicBezTo>
                    <a:pt x="0" y="4495"/>
                    <a:pt x="7855" y="17455"/>
                    <a:pt x="9818" y="17455"/>
                  </a:cubicBezTo>
                  <a:cubicBezTo>
                    <a:pt x="11782" y="17455"/>
                    <a:pt x="21600" y="13135"/>
                    <a:pt x="19636" y="13135"/>
                  </a:cubicBezTo>
                  <a:cubicBezTo>
                    <a:pt x="19636" y="8815"/>
                    <a:pt x="21600" y="17455"/>
                    <a:pt x="19636" y="1313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1" name="Shape 1950">
              <a:extLst>
                <a:ext uri="{FF2B5EF4-FFF2-40B4-BE49-F238E27FC236}">
                  <a16:creationId xmlns:a16="http://schemas.microsoft.com/office/drawing/2014/main" id="{1274AF58-702A-E24B-93F3-D8C3A703D41B}"/>
                </a:ext>
              </a:extLst>
            </p:cNvPr>
            <p:cNvSpPr/>
            <p:nvPr/>
          </p:nvSpPr>
          <p:spPr>
            <a:xfrm>
              <a:off x="2730398" y="2978591"/>
              <a:ext cx="341607" cy="115468"/>
            </a:xfrm>
            <a:custGeom>
              <a:avLst/>
              <a:gdLst/>
              <a:ahLst/>
              <a:cxnLst>
                <a:cxn ang="0">
                  <a:pos x="wd2" y="hd2"/>
                </a:cxn>
                <a:cxn ang="5400000">
                  <a:pos x="wd2" y="hd2"/>
                </a:cxn>
                <a:cxn ang="10800000">
                  <a:pos x="wd2" y="hd2"/>
                </a:cxn>
                <a:cxn ang="16200000">
                  <a:pos x="wd2" y="hd2"/>
                </a:cxn>
              </a:cxnLst>
              <a:rect l="0" t="0" r="r" b="b"/>
              <a:pathLst>
                <a:path w="21600" h="20933" extrusionOk="0">
                  <a:moveTo>
                    <a:pt x="21600" y="19200"/>
                  </a:moveTo>
                  <a:cubicBezTo>
                    <a:pt x="21600" y="20400"/>
                    <a:pt x="17446" y="20400"/>
                    <a:pt x="17031" y="20400"/>
                  </a:cubicBezTo>
                  <a:cubicBezTo>
                    <a:pt x="16200" y="20400"/>
                    <a:pt x="15369" y="21600"/>
                    <a:pt x="14538" y="20400"/>
                  </a:cubicBezTo>
                  <a:cubicBezTo>
                    <a:pt x="14123" y="19200"/>
                    <a:pt x="17031" y="18000"/>
                    <a:pt x="15369" y="16800"/>
                  </a:cubicBezTo>
                  <a:cubicBezTo>
                    <a:pt x="14538" y="15600"/>
                    <a:pt x="13708" y="15600"/>
                    <a:pt x="13292" y="13200"/>
                  </a:cubicBezTo>
                  <a:cubicBezTo>
                    <a:pt x="12462" y="10800"/>
                    <a:pt x="12877" y="9600"/>
                    <a:pt x="11631" y="9600"/>
                  </a:cubicBezTo>
                  <a:cubicBezTo>
                    <a:pt x="9969" y="10800"/>
                    <a:pt x="9554" y="7200"/>
                    <a:pt x="8308" y="6000"/>
                  </a:cubicBezTo>
                  <a:cubicBezTo>
                    <a:pt x="7892" y="6000"/>
                    <a:pt x="6231" y="7200"/>
                    <a:pt x="5815" y="6000"/>
                  </a:cubicBezTo>
                  <a:cubicBezTo>
                    <a:pt x="5815" y="4800"/>
                    <a:pt x="6646" y="4800"/>
                    <a:pt x="6646" y="3600"/>
                  </a:cubicBezTo>
                  <a:cubicBezTo>
                    <a:pt x="6646" y="2400"/>
                    <a:pt x="3738" y="3600"/>
                    <a:pt x="3323" y="3600"/>
                  </a:cubicBezTo>
                  <a:cubicBezTo>
                    <a:pt x="3323" y="4800"/>
                    <a:pt x="0" y="8400"/>
                    <a:pt x="0" y="7200"/>
                  </a:cubicBezTo>
                  <a:cubicBezTo>
                    <a:pt x="0" y="4800"/>
                    <a:pt x="1662" y="2400"/>
                    <a:pt x="2492" y="2400"/>
                  </a:cubicBezTo>
                  <a:cubicBezTo>
                    <a:pt x="3738" y="0"/>
                    <a:pt x="4985" y="0"/>
                    <a:pt x="6646" y="0"/>
                  </a:cubicBezTo>
                  <a:cubicBezTo>
                    <a:pt x="7477" y="0"/>
                    <a:pt x="9138" y="0"/>
                    <a:pt x="9969" y="1200"/>
                  </a:cubicBezTo>
                  <a:cubicBezTo>
                    <a:pt x="10800" y="2400"/>
                    <a:pt x="11631" y="4800"/>
                    <a:pt x="12877" y="4800"/>
                  </a:cubicBezTo>
                  <a:cubicBezTo>
                    <a:pt x="12877" y="4800"/>
                    <a:pt x="12877" y="3600"/>
                    <a:pt x="13292" y="4800"/>
                  </a:cubicBezTo>
                  <a:cubicBezTo>
                    <a:pt x="13708" y="6000"/>
                    <a:pt x="13708" y="6000"/>
                    <a:pt x="14123" y="6000"/>
                  </a:cubicBezTo>
                  <a:cubicBezTo>
                    <a:pt x="14538" y="7200"/>
                    <a:pt x="15369" y="8400"/>
                    <a:pt x="15785" y="9600"/>
                  </a:cubicBezTo>
                  <a:cubicBezTo>
                    <a:pt x="16615" y="10800"/>
                    <a:pt x="18277" y="10800"/>
                    <a:pt x="18692" y="13200"/>
                  </a:cubicBezTo>
                  <a:cubicBezTo>
                    <a:pt x="19523" y="15600"/>
                    <a:pt x="21600" y="15600"/>
                    <a:pt x="21600" y="19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2" name="Shape 1951">
              <a:extLst>
                <a:ext uri="{FF2B5EF4-FFF2-40B4-BE49-F238E27FC236}">
                  <a16:creationId xmlns:a16="http://schemas.microsoft.com/office/drawing/2014/main" id="{E7416EE5-A54E-E39A-08F6-9D54B08EE0A0}"/>
                </a:ext>
              </a:extLst>
            </p:cNvPr>
            <p:cNvSpPr/>
            <p:nvPr/>
          </p:nvSpPr>
          <p:spPr>
            <a:xfrm>
              <a:off x="2937720" y="2906655"/>
              <a:ext cx="14199" cy="24730"/>
            </a:xfrm>
            <a:custGeom>
              <a:avLst/>
              <a:gdLst/>
              <a:ahLst/>
              <a:cxnLst>
                <a:cxn ang="0">
                  <a:pos x="wd2" y="hd2"/>
                </a:cxn>
                <a:cxn ang="5400000">
                  <a:pos x="wd2" y="hd2"/>
                </a:cxn>
                <a:cxn ang="10800000">
                  <a:pos x="wd2" y="hd2"/>
                </a:cxn>
                <a:cxn ang="16200000">
                  <a:pos x="wd2" y="hd2"/>
                </a:cxn>
              </a:cxnLst>
              <a:rect l="0" t="0" r="r" b="b"/>
              <a:pathLst>
                <a:path w="11371" h="21600" extrusionOk="0">
                  <a:moveTo>
                    <a:pt x="6750" y="21600"/>
                  </a:moveTo>
                  <a:cubicBezTo>
                    <a:pt x="-4050" y="21600"/>
                    <a:pt x="1350" y="5400"/>
                    <a:pt x="1350" y="0"/>
                  </a:cubicBezTo>
                  <a:cubicBezTo>
                    <a:pt x="6750" y="0"/>
                    <a:pt x="17550" y="21600"/>
                    <a:pt x="6750" y="21600"/>
                  </a:cubicBezTo>
                  <a:cubicBezTo>
                    <a:pt x="1350" y="21600"/>
                    <a:pt x="17550" y="21600"/>
                    <a:pt x="675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3" name="Shape 1952">
              <a:extLst>
                <a:ext uri="{FF2B5EF4-FFF2-40B4-BE49-F238E27FC236}">
                  <a16:creationId xmlns:a16="http://schemas.microsoft.com/office/drawing/2014/main" id="{F3B1602A-839F-8ABD-9789-258169A27EA6}"/>
                </a:ext>
              </a:extLst>
            </p:cNvPr>
            <p:cNvSpPr/>
            <p:nvPr/>
          </p:nvSpPr>
          <p:spPr>
            <a:xfrm>
              <a:off x="3098972" y="3045469"/>
              <a:ext cx="13486" cy="8056"/>
            </a:xfrm>
            <a:custGeom>
              <a:avLst/>
              <a:gdLst/>
              <a:ahLst/>
              <a:cxnLst>
                <a:cxn ang="0">
                  <a:pos x="wd2" y="hd2"/>
                </a:cxn>
                <a:cxn ang="5400000">
                  <a:pos x="wd2" y="hd2"/>
                </a:cxn>
                <a:cxn ang="10800000">
                  <a:pos x="wd2" y="hd2"/>
                </a:cxn>
                <a:cxn ang="16200000">
                  <a:pos x="wd2" y="hd2"/>
                </a:cxn>
              </a:cxnLst>
              <a:rect l="0" t="0" r="r" b="b"/>
              <a:pathLst>
                <a:path w="21600" h="12900" extrusionOk="0">
                  <a:moveTo>
                    <a:pt x="21600" y="8100"/>
                  </a:moveTo>
                  <a:cubicBezTo>
                    <a:pt x="21600" y="-2700"/>
                    <a:pt x="0" y="-2700"/>
                    <a:pt x="0" y="8100"/>
                  </a:cubicBezTo>
                  <a:cubicBezTo>
                    <a:pt x="0" y="8100"/>
                    <a:pt x="21600" y="18900"/>
                    <a:pt x="21600" y="81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4" name="Shape 1953">
              <a:extLst>
                <a:ext uri="{FF2B5EF4-FFF2-40B4-BE49-F238E27FC236}">
                  <a16:creationId xmlns:a16="http://schemas.microsoft.com/office/drawing/2014/main" id="{9BD4E03C-260B-A943-96B5-04537A4EDD9A}"/>
                </a:ext>
              </a:extLst>
            </p:cNvPr>
            <p:cNvSpPr/>
            <p:nvPr/>
          </p:nvSpPr>
          <p:spPr>
            <a:xfrm>
              <a:off x="3494516" y="2081601"/>
              <a:ext cx="38206" cy="52354"/>
            </a:xfrm>
            <a:custGeom>
              <a:avLst/>
              <a:gdLst/>
              <a:ahLst/>
              <a:cxnLst>
                <a:cxn ang="0">
                  <a:pos x="wd2" y="hd2"/>
                </a:cxn>
                <a:cxn ang="5400000">
                  <a:pos x="wd2" y="hd2"/>
                </a:cxn>
                <a:cxn ang="10800000">
                  <a:pos x="wd2" y="hd2"/>
                </a:cxn>
                <a:cxn ang="16200000">
                  <a:pos x="wd2" y="hd2"/>
                </a:cxn>
              </a:cxnLst>
              <a:rect l="0" t="0" r="r" b="b"/>
              <a:pathLst>
                <a:path w="21600" h="16768" extrusionOk="0">
                  <a:moveTo>
                    <a:pt x="10800" y="14413"/>
                  </a:moveTo>
                  <a:cubicBezTo>
                    <a:pt x="7200" y="18733"/>
                    <a:pt x="0" y="16573"/>
                    <a:pt x="0" y="12253"/>
                  </a:cubicBezTo>
                  <a:cubicBezTo>
                    <a:pt x="3600" y="10093"/>
                    <a:pt x="10800" y="3613"/>
                    <a:pt x="14400" y="1453"/>
                  </a:cubicBezTo>
                  <a:cubicBezTo>
                    <a:pt x="21600" y="-2867"/>
                    <a:pt x="21600" y="3613"/>
                    <a:pt x="21600" y="5773"/>
                  </a:cubicBezTo>
                  <a:cubicBezTo>
                    <a:pt x="21600" y="10093"/>
                    <a:pt x="10800" y="10093"/>
                    <a:pt x="10800" y="14413"/>
                  </a:cubicBezTo>
                  <a:cubicBezTo>
                    <a:pt x="7200" y="18733"/>
                    <a:pt x="10800" y="14413"/>
                    <a:pt x="10800" y="1441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5" name="Shape 1954">
              <a:extLst>
                <a:ext uri="{FF2B5EF4-FFF2-40B4-BE49-F238E27FC236}">
                  <a16:creationId xmlns:a16="http://schemas.microsoft.com/office/drawing/2014/main" id="{E6C9BAC5-4EFD-49C0-F81C-72667B8CE577}"/>
                </a:ext>
              </a:extLst>
            </p:cNvPr>
            <p:cNvSpPr/>
            <p:nvPr/>
          </p:nvSpPr>
          <p:spPr>
            <a:xfrm>
              <a:off x="3524165" y="2112031"/>
              <a:ext cx="26578" cy="21316"/>
            </a:xfrm>
            <a:custGeom>
              <a:avLst/>
              <a:gdLst/>
              <a:ahLst/>
              <a:cxnLst>
                <a:cxn ang="0">
                  <a:pos x="wd2" y="hd2"/>
                </a:cxn>
                <a:cxn ang="5400000">
                  <a:pos x="wd2" y="hd2"/>
                </a:cxn>
                <a:cxn ang="10800000">
                  <a:pos x="wd2" y="hd2"/>
                </a:cxn>
                <a:cxn ang="16200000">
                  <a:pos x="wd2" y="hd2"/>
                </a:cxn>
              </a:cxnLst>
              <a:rect l="0" t="0" r="r" b="b"/>
              <a:pathLst>
                <a:path w="12164" h="17067" extrusionOk="0">
                  <a:moveTo>
                    <a:pt x="3916" y="17067"/>
                  </a:moveTo>
                  <a:cubicBezTo>
                    <a:pt x="-5341" y="17067"/>
                    <a:pt x="3916" y="-4533"/>
                    <a:pt x="10088" y="867"/>
                  </a:cubicBezTo>
                  <a:cubicBezTo>
                    <a:pt x="16259" y="867"/>
                    <a:pt x="7002" y="17067"/>
                    <a:pt x="3916" y="17067"/>
                  </a:cubicBezTo>
                  <a:cubicBezTo>
                    <a:pt x="830" y="17067"/>
                    <a:pt x="7002" y="17067"/>
                    <a:pt x="3916"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6" name="Shape 1955">
              <a:extLst>
                <a:ext uri="{FF2B5EF4-FFF2-40B4-BE49-F238E27FC236}">
                  <a16:creationId xmlns:a16="http://schemas.microsoft.com/office/drawing/2014/main" id="{AADE8E59-C09A-8DC2-5930-E3180C91D010}"/>
                </a:ext>
              </a:extLst>
            </p:cNvPr>
            <p:cNvSpPr/>
            <p:nvPr/>
          </p:nvSpPr>
          <p:spPr>
            <a:xfrm>
              <a:off x="3396993" y="2079392"/>
              <a:ext cx="84037" cy="43462"/>
            </a:xfrm>
            <a:custGeom>
              <a:avLst/>
              <a:gdLst/>
              <a:ahLst/>
              <a:cxnLst>
                <a:cxn ang="0">
                  <a:pos x="wd2" y="hd2"/>
                </a:cxn>
                <a:cxn ang="5400000">
                  <a:pos x="wd2" y="hd2"/>
                </a:cxn>
                <a:cxn ang="10800000">
                  <a:pos x="wd2" y="hd2"/>
                </a:cxn>
                <a:cxn ang="16200000">
                  <a:pos x="wd2" y="hd2"/>
                </a:cxn>
              </a:cxnLst>
              <a:rect l="0" t="0" r="r" b="b"/>
              <a:pathLst>
                <a:path w="18356" h="19886" extrusionOk="0">
                  <a:moveTo>
                    <a:pt x="12596" y="18514"/>
                  </a:moveTo>
                  <a:cubicBezTo>
                    <a:pt x="11156" y="18514"/>
                    <a:pt x="11156" y="18514"/>
                    <a:pt x="11156" y="15429"/>
                  </a:cubicBezTo>
                  <a:cubicBezTo>
                    <a:pt x="11156" y="15429"/>
                    <a:pt x="8276" y="18514"/>
                    <a:pt x="6836" y="15429"/>
                  </a:cubicBezTo>
                  <a:cubicBezTo>
                    <a:pt x="6836" y="12343"/>
                    <a:pt x="-3244" y="3086"/>
                    <a:pt x="1076" y="0"/>
                  </a:cubicBezTo>
                  <a:cubicBezTo>
                    <a:pt x="2516" y="0"/>
                    <a:pt x="3956" y="6171"/>
                    <a:pt x="5396" y="6171"/>
                  </a:cubicBezTo>
                  <a:cubicBezTo>
                    <a:pt x="6836" y="9257"/>
                    <a:pt x="6836" y="6171"/>
                    <a:pt x="8276" y="9257"/>
                  </a:cubicBezTo>
                  <a:cubicBezTo>
                    <a:pt x="9716" y="12343"/>
                    <a:pt x="15476" y="6171"/>
                    <a:pt x="18356" y="9257"/>
                  </a:cubicBezTo>
                  <a:cubicBezTo>
                    <a:pt x="16916" y="9257"/>
                    <a:pt x="14036" y="18514"/>
                    <a:pt x="12596" y="18514"/>
                  </a:cubicBezTo>
                  <a:cubicBezTo>
                    <a:pt x="9716" y="21600"/>
                    <a:pt x="14036" y="18514"/>
                    <a:pt x="12596" y="1851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7" name="Shape 1956">
              <a:extLst>
                <a:ext uri="{FF2B5EF4-FFF2-40B4-BE49-F238E27FC236}">
                  <a16:creationId xmlns:a16="http://schemas.microsoft.com/office/drawing/2014/main" id="{B83135BE-C381-4E43-C698-6417D02215F4}"/>
                </a:ext>
              </a:extLst>
            </p:cNvPr>
            <p:cNvSpPr/>
            <p:nvPr/>
          </p:nvSpPr>
          <p:spPr>
            <a:xfrm>
              <a:off x="3402374" y="1958412"/>
              <a:ext cx="86418" cy="32899"/>
            </a:xfrm>
            <a:custGeom>
              <a:avLst/>
              <a:gdLst/>
              <a:ahLst/>
              <a:cxnLst>
                <a:cxn ang="0">
                  <a:pos x="wd2" y="hd2"/>
                </a:cxn>
                <a:cxn ang="5400000">
                  <a:pos x="wd2" y="hd2"/>
                </a:cxn>
                <a:cxn ang="10800000">
                  <a:pos x="wd2" y="hd2"/>
                </a:cxn>
                <a:cxn ang="16200000">
                  <a:pos x="wd2" y="hd2"/>
                </a:cxn>
              </a:cxnLst>
              <a:rect l="0" t="0" r="r" b="b"/>
              <a:pathLst>
                <a:path w="18056" h="13743" extrusionOk="0">
                  <a:moveTo>
                    <a:pt x="17550" y="12272"/>
                  </a:moveTo>
                  <a:cubicBezTo>
                    <a:pt x="14850" y="17672"/>
                    <a:pt x="1350" y="6872"/>
                    <a:pt x="0" y="1472"/>
                  </a:cubicBezTo>
                  <a:cubicBezTo>
                    <a:pt x="0" y="-3928"/>
                    <a:pt x="21600" y="6872"/>
                    <a:pt x="17550" y="12272"/>
                  </a:cubicBezTo>
                  <a:cubicBezTo>
                    <a:pt x="16200" y="14972"/>
                    <a:pt x="18900" y="9572"/>
                    <a:pt x="17550" y="122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8" name="Shape 1957">
              <a:extLst>
                <a:ext uri="{FF2B5EF4-FFF2-40B4-BE49-F238E27FC236}">
                  <a16:creationId xmlns:a16="http://schemas.microsoft.com/office/drawing/2014/main" id="{7B5B9EA4-7528-8C12-AA33-C8FBF334F754}"/>
                </a:ext>
              </a:extLst>
            </p:cNvPr>
            <p:cNvSpPr/>
            <p:nvPr/>
          </p:nvSpPr>
          <p:spPr>
            <a:xfrm>
              <a:off x="3566434" y="1881570"/>
              <a:ext cx="211258" cy="199315"/>
            </a:xfrm>
            <a:custGeom>
              <a:avLst/>
              <a:gdLst/>
              <a:ahLst/>
              <a:cxnLst>
                <a:cxn ang="0">
                  <a:pos x="wd2" y="hd2"/>
                </a:cxn>
                <a:cxn ang="5400000">
                  <a:pos x="wd2" y="hd2"/>
                </a:cxn>
                <a:cxn ang="10800000">
                  <a:pos x="wd2" y="hd2"/>
                </a:cxn>
                <a:cxn ang="16200000">
                  <a:pos x="wd2" y="hd2"/>
                </a:cxn>
              </a:cxnLst>
              <a:rect l="0" t="0" r="r" b="b"/>
              <a:pathLst>
                <a:path w="21600" h="21045" extrusionOk="0">
                  <a:moveTo>
                    <a:pt x="12825" y="697"/>
                  </a:moveTo>
                  <a:cubicBezTo>
                    <a:pt x="13500" y="0"/>
                    <a:pt x="11475" y="0"/>
                    <a:pt x="11475" y="0"/>
                  </a:cubicBezTo>
                  <a:cubicBezTo>
                    <a:pt x="10800" y="0"/>
                    <a:pt x="10125" y="697"/>
                    <a:pt x="9450" y="1394"/>
                  </a:cubicBezTo>
                  <a:cubicBezTo>
                    <a:pt x="8775" y="2090"/>
                    <a:pt x="8100" y="2787"/>
                    <a:pt x="7425" y="3484"/>
                  </a:cubicBezTo>
                  <a:cubicBezTo>
                    <a:pt x="7425" y="4181"/>
                    <a:pt x="6750" y="4877"/>
                    <a:pt x="6075" y="4877"/>
                  </a:cubicBezTo>
                  <a:cubicBezTo>
                    <a:pt x="6075" y="6271"/>
                    <a:pt x="5400" y="7665"/>
                    <a:pt x="4725" y="9058"/>
                  </a:cubicBezTo>
                  <a:cubicBezTo>
                    <a:pt x="4725" y="10452"/>
                    <a:pt x="4050" y="11148"/>
                    <a:pt x="3375" y="11845"/>
                  </a:cubicBezTo>
                  <a:cubicBezTo>
                    <a:pt x="2700" y="12542"/>
                    <a:pt x="1350" y="13239"/>
                    <a:pt x="1350" y="13239"/>
                  </a:cubicBezTo>
                  <a:cubicBezTo>
                    <a:pt x="1350" y="13935"/>
                    <a:pt x="2700" y="13935"/>
                    <a:pt x="2700" y="14632"/>
                  </a:cubicBezTo>
                  <a:cubicBezTo>
                    <a:pt x="2700" y="15329"/>
                    <a:pt x="0" y="16723"/>
                    <a:pt x="0" y="17419"/>
                  </a:cubicBezTo>
                  <a:cubicBezTo>
                    <a:pt x="0" y="18813"/>
                    <a:pt x="2025" y="18116"/>
                    <a:pt x="2700" y="17419"/>
                  </a:cubicBezTo>
                  <a:cubicBezTo>
                    <a:pt x="4050" y="17419"/>
                    <a:pt x="5400" y="18116"/>
                    <a:pt x="6750" y="18116"/>
                  </a:cubicBezTo>
                  <a:cubicBezTo>
                    <a:pt x="8775" y="18813"/>
                    <a:pt x="10800" y="18116"/>
                    <a:pt x="12825" y="18813"/>
                  </a:cubicBezTo>
                  <a:cubicBezTo>
                    <a:pt x="12825" y="18813"/>
                    <a:pt x="14850" y="17419"/>
                    <a:pt x="14850" y="18116"/>
                  </a:cubicBezTo>
                  <a:cubicBezTo>
                    <a:pt x="14850" y="18813"/>
                    <a:pt x="12825" y="20903"/>
                    <a:pt x="12825" y="20903"/>
                  </a:cubicBezTo>
                  <a:cubicBezTo>
                    <a:pt x="13500" y="21600"/>
                    <a:pt x="14850" y="19510"/>
                    <a:pt x="14850" y="19510"/>
                  </a:cubicBezTo>
                  <a:cubicBezTo>
                    <a:pt x="16200" y="18813"/>
                    <a:pt x="17550" y="18813"/>
                    <a:pt x="18225" y="18116"/>
                  </a:cubicBezTo>
                  <a:cubicBezTo>
                    <a:pt x="18225" y="17419"/>
                    <a:pt x="21600" y="13935"/>
                    <a:pt x="21600" y="13935"/>
                  </a:cubicBezTo>
                  <a:cubicBezTo>
                    <a:pt x="20925" y="13239"/>
                    <a:pt x="20250" y="13935"/>
                    <a:pt x="19575" y="13935"/>
                  </a:cubicBezTo>
                  <a:cubicBezTo>
                    <a:pt x="19575" y="13935"/>
                    <a:pt x="17550" y="12542"/>
                    <a:pt x="17550" y="12542"/>
                  </a:cubicBezTo>
                  <a:cubicBezTo>
                    <a:pt x="17550" y="11845"/>
                    <a:pt x="20250" y="11148"/>
                    <a:pt x="19575" y="10452"/>
                  </a:cubicBezTo>
                  <a:cubicBezTo>
                    <a:pt x="19575" y="9755"/>
                    <a:pt x="18225" y="10452"/>
                    <a:pt x="17550" y="10452"/>
                  </a:cubicBezTo>
                  <a:cubicBezTo>
                    <a:pt x="16875" y="10452"/>
                    <a:pt x="16875" y="9058"/>
                    <a:pt x="16200" y="9058"/>
                  </a:cubicBezTo>
                  <a:cubicBezTo>
                    <a:pt x="16200" y="9058"/>
                    <a:pt x="14175" y="11148"/>
                    <a:pt x="14175" y="11148"/>
                  </a:cubicBezTo>
                  <a:cubicBezTo>
                    <a:pt x="13500" y="9755"/>
                    <a:pt x="13500" y="9755"/>
                    <a:pt x="12150" y="9058"/>
                  </a:cubicBezTo>
                  <a:cubicBezTo>
                    <a:pt x="10800" y="8361"/>
                    <a:pt x="12825" y="8361"/>
                    <a:pt x="12825" y="7665"/>
                  </a:cubicBezTo>
                  <a:cubicBezTo>
                    <a:pt x="12825" y="7665"/>
                    <a:pt x="11475" y="6271"/>
                    <a:pt x="10800" y="6271"/>
                  </a:cubicBezTo>
                  <a:cubicBezTo>
                    <a:pt x="10800" y="6968"/>
                    <a:pt x="9450" y="9058"/>
                    <a:pt x="9450" y="8361"/>
                  </a:cubicBezTo>
                  <a:cubicBezTo>
                    <a:pt x="8100" y="7665"/>
                    <a:pt x="10125" y="4877"/>
                    <a:pt x="10800" y="4877"/>
                  </a:cubicBezTo>
                  <a:cubicBezTo>
                    <a:pt x="11475" y="4181"/>
                    <a:pt x="11475" y="3484"/>
                    <a:pt x="12150" y="2787"/>
                  </a:cubicBezTo>
                  <a:cubicBezTo>
                    <a:pt x="12150" y="2090"/>
                    <a:pt x="12150" y="1394"/>
                    <a:pt x="12150" y="1394"/>
                  </a:cubicBezTo>
                  <a:cubicBezTo>
                    <a:pt x="12150" y="1394"/>
                    <a:pt x="12825" y="697"/>
                    <a:pt x="12825" y="697"/>
                  </a:cubicBezTo>
                  <a:cubicBezTo>
                    <a:pt x="13500" y="0"/>
                    <a:pt x="12825" y="697"/>
                    <a:pt x="12825" y="6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9" name="Shape 1958">
              <a:extLst>
                <a:ext uri="{FF2B5EF4-FFF2-40B4-BE49-F238E27FC236}">
                  <a16:creationId xmlns:a16="http://schemas.microsoft.com/office/drawing/2014/main" id="{DC5F8B89-0CD0-0CD6-9E8A-2740A76DC0AA}"/>
                </a:ext>
              </a:extLst>
            </p:cNvPr>
            <p:cNvSpPr/>
            <p:nvPr/>
          </p:nvSpPr>
          <p:spPr>
            <a:xfrm>
              <a:off x="3743093" y="2031310"/>
              <a:ext cx="48082" cy="61570"/>
            </a:xfrm>
            <a:custGeom>
              <a:avLst/>
              <a:gdLst/>
              <a:ahLst/>
              <a:cxnLst>
                <a:cxn ang="0">
                  <a:pos x="wd2" y="hd2"/>
                </a:cxn>
                <a:cxn ang="5400000">
                  <a:pos x="wd2" y="hd2"/>
                </a:cxn>
                <a:cxn ang="10800000">
                  <a:pos x="wd2" y="hd2"/>
                </a:cxn>
                <a:cxn ang="16200000">
                  <a:pos x="wd2" y="hd2"/>
                </a:cxn>
              </a:cxnLst>
              <a:rect l="0" t="0" r="r" b="b"/>
              <a:pathLst>
                <a:path w="19255" h="20400" extrusionOk="0">
                  <a:moveTo>
                    <a:pt x="13855" y="960"/>
                  </a:moveTo>
                  <a:cubicBezTo>
                    <a:pt x="11155" y="3120"/>
                    <a:pt x="-2345" y="11760"/>
                    <a:pt x="355" y="18240"/>
                  </a:cubicBezTo>
                  <a:cubicBezTo>
                    <a:pt x="355" y="18240"/>
                    <a:pt x="5755" y="11760"/>
                    <a:pt x="8455" y="13920"/>
                  </a:cubicBezTo>
                  <a:cubicBezTo>
                    <a:pt x="8455" y="13920"/>
                    <a:pt x="5755" y="20400"/>
                    <a:pt x="5755" y="20400"/>
                  </a:cubicBezTo>
                  <a:cubicBezTo>
                    <a:pt x="8455" y="20400"/>
                    <a:pt x="13855" y="18240"/>
                    <a:pt x="13855" y="16080"/>
                  </a:cubicBezTo>
                  <a:cubicBezTo>
                    <a:pt x="13855" y="13920"/>
                    <a:pt x="16555" y="11760"/>
                    <a:pt x="19255" y="7440"/>
                  </a:cubicBezTo>
                  <a:cubicBezTo>
                    <a:pt x="19255" y="3120"/>
                    <a:pt x="13855" y="7440"/>
                    <a:pt x="11155" y="7440"/>
                  </a:cubicBezTo>
                  <a:cubicBezTo>
                    <a:pt x="13855" y="7440"/>
                    <a:pt x="13855" y="-1200"/>
                    <a:pt x="13855" y="960"/>
                  </a:cubicBezTo>
                  <a:cubicBezTo>
                    <a:pt x="11155" y="960"/>
                    <a:pt x="16555" y="-1200"/>
                    <a:pt x="13855" y="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0" name="Shape 1959">
              <a:extLst>
                <a:ext uri="{FF2B5EF4-FFF2-40B4-BE49-F238E27FC236}">
                  <a16:creationId xmlns:a16="http://schemas.microsoft.com/office/drawing/2014/main" id="{CC438FFB-6764-6967-49C1-75917E5583AA}"/>
                </a:ext>
              </a:extLst>
            </p:cNvPr>
            <p:cNvSpPr/>
            <p:nvPr/>
          </p:nvSpPr>
          <p:spPr>
            <a:xfrm>
              <a:off x="3368663" y="1398841"/>
              <a:ext cx="20227" cy="24876"/>
            </a:xfrm>
            <a:custGeom>
              <a:avLst/>
              <a:gdLst/>
              <a:ahLst/>
              <a:cxnLst>
                <a:cxn ang="0">
                  <a:pos x="wd2" y="hd2"/>
                </a:cxn>
                <a:cxn ang="5400000">
                  <a:pos x="wd2" y="hd2"/>
                </a:cxn>
                <a:cxn ang="10800000">
                  <a:pos x="wd2" y="hd2"/>
                </a:cxn>
                <a:cxn ang="16200000">
                  <a:pos x="wd2" y="hd2"/>
                </a:cxn>
              </a:cxnLst>
              <a:rect l="0" t="0" r="r" b="b"/>
              <a:pathLst>
                <a:path w="21600" h="14060" extrusionOk="0">
                  <a:moveTo>
                    <a:pt x="21600" y="11525"/>
                  </a:moveTo>
                  <a:cubicBezTo>
                    <a:pt x="21600" y="7925"/>
                    <a:pt x="7200" y="-2875"/>
                    <a:pt x="7200" y="725"/>
                  </a:cubicBezTo>
                  <a:cubicBezTo>
                    <a:pt x="7200" y="725"/>
                    <a:pt x="7200" y="725"/>
                    <a:pt x="7200" y="4325"/>
                  </a:cubicBezTo>
                  <a:cubicBezTo>
                    <a:pt x="7200" y="4325"/>
                    <a:pt x="0" y="4325"/>
                    <a:pt x="0" y="4325"/>
                  </a:cubicBezTo>
                  <a:cubicBezTo>
                    <a:pt x="0" y="4325"/>
                    <a:pt x="21600" y="18725"/>
                    <a:pt x="21600" y="11525"/>
                  </a:cubicBezTo>
                  <a:cubicBezTo>
                    <a:pt x="21600" y="7925"/>
                    <a:pt x="21600" y="18725"/>
                    <a:pt x="21600" y="115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1" name="Shape 1960">
              <a:extLst>
                <a:ext uri="{FF2B5EF4-FFF2-40B4-BE49-F238E27FC236}">
                  <a16:creationId xmlns:a16="http://schemas.microsoft.com/office/drawing/2014/main" id="{38BECD3E-504F-C2B4-54AB-8D12A9A4100A}"/>
                </a:ext>
              </a:extLst>
            </p:cNvPr>
            <p:cNvSpPr/>
            <p:nvPr/>
          </p:nvSpPr>
          <p:spPr>
            <a:xfrm>
              <a:off x="3269777" y="1463803"/>
              <a:ext cx="15323" cy="11427"/>
            </a:xfrm>
            <a:custGeom>
              <a:avLst/>
              <a:gdLst/>
              <a:ahLst/>
              <a:cxnLst>
                <a:cxn ang="0">
                  <a:pos x="wd2" y="hd2"/>
                </a:cxn>
                <a:cxn ang="5400000">
                  <a:pos x="wd2" y="hd2"/>
                </a:cxn>
                <a:cxn ang="10800000">
                  <a:pos x="wd2" y="hd2"/>
                </a:cxn>
                <a:cxn ang="16200000">
                  <a:pos x="wd2" y="hd2"/>
                </a:cxn>
              </a:cxnLst>
              <a:rect l="0" t="0" r="r" b="b"/>
              <a:pathLst>
                <a:path w="16362" h="12198" extrusionOk="0">
                  <a:moveTo>
                    <a:pt x="14400" y="2016"/>
                  </a:moveTo>
                  <a:cubicBezTo>
                    <a:pt x="14400" y="-5184"/>
                    <a:pt x="0" y="9216"/>
                    <a:pt x="0" y="9216"/>
                  </a:cubicBezTo>
                  <a:cubicBezTo>
                    <a:pt x="7200" y="16416"/>
                    <a:pt x="21600" y="9216"/>
                    <a:pt x="14400" y="20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2" name="Shape 1961">
              <a:extLst>
                <a:ext uri="{FF2B5EF4-FFF2-40B4-BE49-F238E27FC236}">
                  <a16:creationId xmlns:a16="http://schemas.microsoft.com/office/drawing/2014/main" id="{D68DDCCF-B001-71E7-EC33-AA9CAB1D0F74}"/>
                </a:ext>
              </a:extLst>
            </p:cNvPr>
            <p:cNvSpPr/>
            <p:nvPr/>
          </p:nvSpPr>
          <p:spPr>
            <a:xfrm>
              <a:off x="2821592" y="1812345"/>
              <a:ext cx="39157" cy="18899"/>
            </a:xfrm>
            <a:custGeom>
              <a:avLst/>
              <a:gdLst/>
              <a:ahLst/>
              <a:cxnLst>
                <a:cxn ang="0">
                  <a:pos x="wd2" y="hd2"/>
                </a:cxn>
                <a:cxn ang="5400000">
                  <a:pos x="wd2" y="hd2"/>
                </a:cxn>
                <a:cxn ang="10800000">
                  <a:pos x="wd2" y="hd2"/>
                </a:cxn>
                <a:cxn ang="16200000">
                  <a:pos x="wd2" y="hd2"/>
                </a:cxn>
              </a:cxnLst>
              <a:rect l="0" t="0" r="r" b="b"/>
              <a:pathLst>
                <a:path w="18816" h="15132" extrusionOk="0">
                  <a:moveTo>
                    <a:pt x="18816" y="14030"/>
                  </a:moveTo>
                  <a:cubicBezTo>
                    <a:pt x="18816" y="-2170"/>
                    <a:pt x="6473" y="-2170"/>
                    <a:pt x="302" y="3230"/>
                  </a:cubicBezTo>
                  <a:cubicBezTo>
                    <a:pt x="-2784" y="3230"/>
                    <a:pt x="18816" y="19430"/>
                    <a:pt x="18816" y="14030"/>
                  </a:cubicBezTo>
                  <a:cubicBezTo>
                    <a:pt x="18816" y="-2170"/>
                    <a:pt x="18816" y="19430"/>
                    <a:pt x="18816" y="1403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3" name="Shape 1962">
              <a:extLst>
                <a:ext uri="{FF2B5EF4-FFF2-40B4-BE49-F238E27FC236}">
                  <a16:creationId xmlns:a16="http://schemas.microsoft.com/office/drawing/2014/main" id="{338009BF-6F83-F1C1-8EA0-6493CACB63F1}"/>
                </a:ext>
              </a:extLst>
            </p:cNvPr>
            <p:cNvSpPr/>
            <p:nvPr/>
          </p:nvSpPr>
          <p:spPr>
            <a:xfrm>
              <a:off x="2887715" y="1658880"/>
              <a:ext cx="34319" cy="26815"/>
            </a:xfrm>
            <a:custGeom>
              <a:avLst/>
              <a:gdLst/>
              <a:ahLst/>
              <a:cxnLst>
                <a:cxn ang="0">
                  <a:pos x="wd2" y="hd2"/>
                </a:cxn>
                <a:cxn ang="5400000">
                  <a:pos x="wd2" y="hd2"/>
                </a:cxn>
                <a:cxn ang="10800000">
                  <a:pos x="wd2" y="hd2"/>
                </a:cxn>
                <a:cxn ang="16200000">
                  <a:pos x="wd2" y="hd2"/>
                </a:cxn>
              </a:cxnLst>
              <a:rect l="0" t="0" r="r" b="b"/>
              <a:pathLst>
                <a:path w="18325" h="14314" extrusionOk="0">
                  <a:moveTo>
                    <a:pt x="10800" y="13275"/>
                  </a:moveTo>
                  <a:cubicBezTo>
                    <a:pt x="7200" y="9675"/>
                    <a:pt x="3600" y="9675"/>
                    <a:pt x="0" y="6075"/>
                  </a:cubicBezTo>
                  <a:cubicBezTo>
                    <a:pt x="3600" y="6075"/>
                    <a:pt x="10800" y="-4725"/>
                    <a:pt x="14400" y="2475"/>
                  </a:cubicBezTo>
                  <a:cubicBezTo>
                    <a:pt x="21600" y="6075"/>
                    <a:pt x="18000" y="16875"/>
                    <a:pt x="10800" y="13275"/>
                  </a:cubicBezTo>
                  <a:cubicBezTo>
                    <a:pt x="7200" y="9675"/>
                    <a:pt x="14400" y="16875"/>
                    <a:pt x="10800" y="1327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4" name="Shape 1963">
              <a:extLst>
                <a:ext uri="{FF2B5EF4-FFF2-40B4-BE49-F238E27FC236}">
                  <a16:creationId xmlns:a16="http://schemas.microsoft.com/office/drawing/2014/main" id="{3EF94BCB-230F-3FDD-D8F8-1E87919270A2}"/>
                </a:ext>
              </a:extLst>
            </p:cNvPr>
            <p:cNvSpPr/>
            <p:nvPr/>
          </p:nvSpPr>
          <p:spPr>
            <a:xfrm>
              <a:off x="2875502" y="1372861"/>
              <a:ext cx="26306" cy="35043"/>
            </a:xfrm>
            <a:custGeom>
              <a:avLst/>
              <a:gdLst/>
              <a:ahLst/>
              <a:cxnLst>
                <a:cxn ang="0">
                  <a:pos x="wd2" y="hd2"/>
                </a:cxn>
                <a:cxn ang="5400000">
                  <a:pos x="wd2" y="hd2"/>
                </a:cxn>
                <a:cxn ang="10800000">
                  <a:pos x="wd2" y="hd2"/>
                </a:cxn>
                <a:cxn ang="16200000">
                  <a:pos x="wd2" y="hd2"/>
                </a:cxn>
              </a:cxnLst>
              <a:rect l="0" t="0" r="r" b="b"/>
              <a:pathLst>
                <a:path w="14046" h="16034" extrusionOk="0">
                  <a:moveTo>
                    <a:pt x="6521" y="15731"/>
                  </a:moveTo>
                  <a:cubicBezTo>
                    <a:pt x="-4279" y="18817"/>
                    <a:pt x="-679" y="-2783"/>
                    <a:pt x="10121" y="303"/>
                  </a:cubicBezTo>
                  <a:cubicBezTo>
                    <a:pt x="17321" y="303"/>
                    <a:pt x="13721" y="15731"/>
                    <a:pt x="6521" y="15731"/>
                  </a:cubicBezTo>
                  <a:cubicBezTo>
                    <a:pt x="2921" y="15731"/>
                    <a:pt x="17321" y="15731"/>
                    <a:pt x="6521" y="157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5" name="Shape 1964">
              <a:extLst>
                <a:ext uri="{FF2B5EF4-FFF2-40B4-BE49-F238E27FC236}">
                  <a16:creationId xmlns:a16="http://schemas.microsoft.com/office/drawing/2014/main" id="{498EBF36-4A4C-9AEF-FE57-9B30F00CC0D5}"/>
                </a:ext>
              </a:extLst>
            </p:cNvPr>
            <p:cNvSpPr/>
            <p:nvPr/>
          </p:nvSpPr>
          <p:spPr>
            <a:xfrm>
              <a:off x="2759931" y="1339803"/>
              <a:ext cx="56449" cy="40464"/>
            </a:xfrm>
            <a:custGeom>
              <a:avLst/>
              <a:gdLst/>
              <a:ahLst/>
              <a:cxnLst>
                <a:cxn ang="0">
                  <a:pos x="wd2" y="hd2"/>
                </a:cxn>
                <a:cxn ang="5400000">
                  <a:pos x="wd2" y="hd2"/>
                </a:cxn>
                <a:cxn ang="10800000">
                  <a:pos x="wd2" y="hd2"/>
                </a:cxn>
                <a:cxn ang="16200000">
                  <a:pos x="wd2" y="hd2"/>
                </a:cxn>
              </a:cxnLst>
              <a:rect l="0" t="0" r="r" b="b"/>
              <a:pathLst>
                <a:path w="15501" h="21600" extrusionOk="0">
                  <a:moveTo>
                    <a:pt x="5879" y="21600"/>
                  </a:moveTo>
                  <a:cubicBezTo>
                    <a:pt x="2279" y="21600"/>
                    <a:pt x="-1321" y="18000"/>
                    <a:pt x="479" y="10800"/>
                  </a:cubicBezTo>
                  <a:cubicBezTo>
                    <a:pt x="2279" y="3600"/>
                    <a:pt x="7679" y="3600"/>
                    <a:pt x="13079" y="0"/>
                  </a:cubicBezTo>
                  <a:cubicBezTo>
                    <a:pt x="20279" y="0"/>
                    <a:pt x="9479" y="21600"/>
                    <a:pt x="5879"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6" name="Shape 1965">
              <a:extLst>
                <a:ext uri="{FF2B5EF4-FFF2-40B4-BE49-F238E27FC236}">
                  <a16:creationId xmlns:a16="http://schemas.microsoft.com/office/drawing/2014/main" id="{AFAD3C21-6B95-4F94-D6C6-CB28FDA81308}"/>
                </a:ext>
              </a:extLst>
            </p:cNvPr>
            <p:cNvSpPr/>
            <p:nvPr/>
          </p:nvSpPr>
          <p:spPr>
            <a:xfrm>
              <a:off x="2933649" y="1315075"/>
              <a:ext cx="32726" cy="17984"/>
            </a:xfrm>
            <a:custGeom>
              <a:avLst/>
              <a:gdLst/>
              <a:ahLst/>
              <a:cxnLst>
                <a:cxn ang="0">
                  <a:pos x="wd2" y="hd2"/>
                </a:cxn>
                <a:cxn ang="5400000">
                  <a:pos x="wd2" y="hd2"/>
                </a:cxn>
                <a:cxn ang="10800000">
                  <a:pos x="wd2" y="hd2"/>
                </a:cxn>
                <a:cxn ang="16200000">
                  <a:pos x="wd2" y="hd2"/>
                </a:cxn>
              </a:cxnLst>
              <a:rect l="0" t="0" r="r" b="b"/>
              <a:pathLst>
                <a:path w="15726" h="21600" extrusionOk="0">
                  <a:moveTo>
                    <a:pt x="9555" y="21600"/>
                  </a:moveTo>
                  <a:cubicBezTo>
                    <a:pt x="6469" y="21600"/>
                    <a:pt x="-5874" y="0"/>
                    <a:pt x="3383" y="0"/>
                  </a:cubicBezTo>
                  <a:cubicBezTo>
                    <a:pt x="6469" y="0"/>
                    <a:pt x="12640" y="0"/>
                    <a:pt x="15726" y="7200"/>
                  </a:cubicBezTo>
                  <a:cubicBezTo>
                    <a:pt x="15726" y="7200"/>
                    <a:pt x="12640" y="21600"/>
                    <a:pt x="9555" y="21600"/>
                  </a:cubicBezTo>
                  <a:cubicBezTo>
                    <a:pt x="6469" y="21600"/>
                    <a:pt x="15726" y="21600"/>
                    <a:pt x="9555"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7" name="Shape 1966">
              <a:extLst>
                <a:ext uri="{FF2B5EF4-FFF2-40B4-BE49-F238E27FC236}">
                  <a16:creationId xmlns:a16="http://schemas.microsoft.com/office/drawing/2014/main" id="{C3B8BBAB-05F5-6636-3CEA-E0A396722D78}"/>
                </a:ext>
              </a:extLst>
            </p:cNvPr>
            <p:cNvSpPr/>
            <p:nvPr/>
          </p:nvSpPr>
          <p:spPr>
            <a:xfrm>
              <a:off x="2652266" y="1187362"/>
              <a:ext cx="215225" cy="146931"/>
            </a:xfrm>
            <a:custGeom>
              <a:avLst/>
              <a:gdLst/>
              <a:ahLst/>
              <a:cxnLst>
                <a:cxn ang="0">
                  <a:pos x="wd2" y="hd2"/>
                </a:cxn>
                <a:cxn ang="5400000">
                  <a:pos x="wd2" y="hd2"/>
                </a:cxn>
                <a:cxn ang="10800000">
                  <a:pos x="wd2" y="hd2"/>
                </a:cxn>
                <a:cxn ang="16200000">
                  <a:pos x="wd2" y="hd2"/>
                </a:cxn>
              </a:cxnLst>
              <a:rect l="0" t="0" r="r" b="b"/>
              <a:pathLst>
                <a:path w="20685" h="20168" extrusionOk="0">
                  <a:moveTo>
                    <a:pt x="18779" y="18225"/>
                  </a:moveTo>
                  <a:cubicBezTo>
                    <a:pt x="18144" y="17325"/>
                    <a:pt x="16238" y="16425"/>
                    <a:pt x="14967" y="15525"/>
                  </a:cubicBezTo>
                  <a:cubicBezTo>
                    <a:pt x="14332" y="15525"/>
                    <a:pt x="14967" y="14625"/>
                    <a:pt x="14332" y="13725"/>
                  </a:cubicBezTo>
                  <a:cubicBezTo>
                    <a:pt x="14332" y="13725"/>
                    <a:pt x="13061" y="14625"/>
                    <a:pt x="13061" y="14625"/>
                  </a:cubicBezTo>
                  <a:cubicBezTo>
                    <a:pt x="11791" y="14625"/>
                    <a:pt x="11791" y="12825"/>
                    <a:pt x="10520" y="13725"/>
                  </a:cubicBezTo>
                  <a:cubicBezTo>
                    <a:pt x="10520" y="14625"/>
                    <a:pt x="9885" y="15525"/>
                    <a:pt x="9250" y="16425"/>
                  </a:cubicBezTo>
                  <a:cubicBezTo>
                    <a:pt x="7979" y="17325"/>
                    <a:pt x="7344" y="19125"/>
                    <a:pt x="6073" y="20025"/>
                  </a:cubicBezTo>
                  <a:cubicBezTo>
                    <a:pt x="4167" y="20925"/>
                    <a:pt x="5438" y="17325"/>
                    <a:pt x="4167" y="16425"/>
                  </a:cubicBezTo>
                  <a:cubicBezTo>
                    <a:pt x="4167" y="15525"/>
                    <a:pt x="991" y="16425"/>
                    <a:pt x="356" y="16425"/>
                  </a:cubicBezTo>
                  <a:cubicBezTo>
                    <a:pt x="-915" y="16425"/>
                    <a:pt x="1626" y="13725"/>
                    <a:pt x="1626" y="13725"/>
                  </a:cubicBezTo>
                  <a:cubicBezTo>
                    <a:pt x="2897" y="11925"/>
                    <a:pt x="2261" y="10125"/>
                    <a:pt x="2261" y="8325"/>
                  </a:cubicBezTo>
                  <a:cubicBezTo>
                    <a:pt x="2261" y="6525"/>
                    <a:pt x="2261" y="3825"/>
                    <a:pt x="2897" y="2025"/>
                  </a:cubicBezTo>
                  <a:cubicBezTo>
                    <a:pt x="3532" y="-675"/>
                    <a:pt x="5438" y="-675"/>
                    <a:pt x="6073" y="2025"/>
                  </a:cubicBezTo>
                  <a:cubicBezTo>
                    <a:pt x="6073" y="2925"/>
                    <a:pt x="6073" y="4725"/>
                    <a:pt x="6709" y="3825"/>
                  </a:cubicBezTo>
                  <a:cubicBezTo>
                    <a:pt x="7344" y="3825"/>
                    <a:pt x="7344" y="2925"/>
                    <a:pt x="7979" y="2925"/>
                  </a:cubicBezTo>
                  <a:cubicBezTo>
                    <a:pt x="8614" y="3825"/>
                    <a:pt x="9250" y="4725"/>
                    <a:pt x="9885" y="4725"/>
                  </a:cubicBezTo>
                  <a:cubicBezTo>
                    <a:pt x="10520" y="5625"/>
                    <a:pt x="11156" y="5625"/>
                    <a:pt x="11791" y="5625"/>
                  </a:cubicBezTo>
                  <a:cubicBezTo>
                    <a:pt x="12426" y="6525"/>
                    <a:pt x="13697" y="7425"/>
                    <a:pt x="14967" y="8325"/>
                  </a:cubicBezTo>
                  <a:cubicBezTo>
                    <a:pt x="16873" y="9225"/>
                    <a:pt x="16873" y="10125"/>
                    <a:pt x="16873" y="12825"/>
                  </a:cubicBezTo>
                  <a:cubicBezTo>
                    <a:pt x="16873" y="13725"/>
                    <a:pt x="18144" y="13725"/>
                    <a:pt x="18144" y="12825"/>
                  </a:cubicBezTo>
                  <a:cubicBezTo>
                    <a:pt x="19414" y="12825"/>
                    <a:pt x="19414" y="13725"/>
                    <a:pt x="20050" y="14625"/>
                  </a:cubicBezTo>
                  <a:cubicBezTo>
                    <a:pt x="20685" y="14625"/>
                    <a:pt x="20685" y="14625"/>
                    <a:pt x="20685" y="15525"/>
                  </a:cubicBezTo>
                  <a:cubicBezTo>
                    <a:pt x="20050" y="16425"/>
                    <a:pt x="20050" y="18225"/>
                    <a:pt x="18779" y="18225"/>
                  </a:cubicBezTo>
                  <a:cubicBezTo>
                    <a:pt x="18144" y="17325"/>
                    <a:pt x="20050" y="18225"/>
                    <a:pt x="18779" y="182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8" name="Shape 1967">
              <a:extLst>
                <a:ext uri="{FF2B5EF4-FFF2-40B4-BE49-F238E27FC236}">
                  <a16:creationId xmlns:a16="http://schemas.microsoft.com/office/drawing/2014/main" id="{BBE8A308-9F66-548C-101C-3896FCB77FC0}"/>
                </a:ext>
              </a:extLst>
            </p:cNvPr>
            <p:cNvSpPr/>
            <p:nvPr/>
          </p:nvSpPr>
          <p:spPr>
            <a:xfrm>
              <a:off x="2735545" y="1168954"/>
              <a:ext cx="29965" cy="27870"/>
            </a:xfrm>
            <a:custGeom>
              <a:avLst/>
              <a:gdLst/>
              <a:ahLst/>
              <a:cxnLst>
                <a:cxn ang="0">
                  <a:pos x="wd2" y="hd2"/>
                </a:cxn>
                <a:cxn ang="5400000">
                  <a:pos x="wd2" y="hd2"/>
                </a:cxn>
                <a:cxn ang="10800000">
                  <a:pos x="wd2" y="hd2"/>
                </a:cxn>
                <a:cxn ang="16200000">
                  <a:pos x="wd2" y="hd2"/>
                </a:cxn>
              </a:cxnLst>
              <a:rect l="0" t="0" r="r" b="b"/>
              <a:pathLst>
                <a:path w="14399" h="17851" extrusionOk="0">
                  <a:moveTo>
                    <a:pt x="12956" y="17280"/>
                  </a:moveTo>
                  <a:cubicBezTo>
                    <a:pt x="6784" y="21600"/>
                    <a:pt x="-2473" y="0"/>
                    <a:pt x="613" y="0"/>
                  </a:cubicBezTo>
                  <a:cubicBezTo>
                    <a:pt x="3698" y="4320"/>
                    <a:pt x="19127" y="12960"/>
                    <a:pt x="12956"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9" name="Shape 1968">
              <a:extLst>
                <a:ext uri="{FF2B5EF4-FFF2-40B4-BE49-F238E27FC236}">
                  <a16:creationId xmlns:a16="http://schemas.microsoft.com/office/drawing/2014/main" id="{6E7F1962-8836-0CB5-CDB4-FADF65ED932B}"/>
                </a:ext>
              </a:extLst>
            </p:cNvPr>
            <p:cNvSpPr/>
            <p:nvPr/>
          </p:nvSpPr>
          <p:spPr>
            <a:xfrm>
              <a:off x="2716914" y="1181086"/>
              <a:ext cx="19786" cy="22948"/>
            </a:xfrm>
            <a:custGeom>
              <a:avLst/>
              <a:gdLst/>
              <a:ahLst/>
              <a:cxnLst>
                <a:cxn ang="0">
                  <a:pos x="wd2" y="hd2"/>
                </a:cxn>
                <a:cxn ang="5400000">
                  <a:pos x="wd2" y="hd2"/>
                </a:cxn>
                <a:cxn ang="10800000">
                  <a:pos x="wd2" y="hd2"/>
                </a:cxn>
                <a:cxn ang="16200000">
                  <a:pos x="wd2" y="hd2"/>
                </a:cxn>
              </a:cxnLst>
              <a:rect l="0" t="0" r="r" b="b"/>
              <a:pathLst>
                <a:path w="17287" h="14699" extrusionOk="0">
                  <a:moveTo>
                    <a:pt x="16200" y="13829"/>
                  </a:moveTo>
                  <a:cubicBezTo>
                    <a:pt x="5400" y="18149"/>
                    <a:pt x="0" y="5189"/>
                    <a:pt x="0" y="869"/>
                  </a:cubicBezTo>
                  <a:cubicBezTo>
                    <a:pt x="5400" y="-3451"/>
                    <a:pt x="21600" y="9509"/>
                    <a:pt x="16200" y="138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0" name="Shape 1969">
              <a:extLst>
                <a:ext uri="{FF2B5EF4-FFF2-40B4-BE49-F238E27FC236}">
                  <a16:creationId xmlns:a16="http://schemas.microsoft.com/office/drawing/2014/main" id="{D4DC7CBC-FBEF-7BB6-1A9F-1E2FA2EE32EF}"/>
                </a:ext>
              </a:extLst>
            </p:cNvPr>
            <p:cNvSpPr/>
            <p:nvPr/>
          </p:nvSpPr>
          <p:spPr>
            <a:xfrm>
              <a:off x="2659977" y="1054669"/>
              <a:ext cx="16482" cy="31658"/>
            </a:xfrm>
            <a:custGeom>
              <a:avLst/>
              <a:gdLst/>
              <a:ahLst/>
              <a:cxnLst>
                <a:cxn ang="0">
                  <a:pos x="wd2" y="hd2"/>
                </a:cxn>
                <a:cxn ang="5400000">
                  <a:pos x="wd2" y="hd2"/>
                </a:cxn>
                <a:cxn ang="10800000">
                  <a:pos x="wd2" y="hd2"/>
                </a:cxn>
                <a:cxn ang="16200000">
                  <a:pos x="wd2" y="hd2"/>
                </a:cxn>
              </a:cxnLst>
              <a:rect l="0" t="0" r="r" b="b"/>
              <a:pathLst>
                <a:path w="17600" h="16899" extrusionOk="0">
                  <a:moveTo>
                    <a:pt x="17600" y="15408"/>
                  </a:moveTo>
                  <a:cubicBezTo>
                    <a:pt x="17600" y="11808"/>
                    <a:pt x="17600" y="8208"/>
                    <a:pt x="17600" y="4608"/>
                  </a:cubicBezTo>
                  <a:cubicBezTo>
                    <a:pt x="17600" y="4608"/>
                    <a:pt x="3200" y="-2592"/>
                    <a:pt x="3200" y="1008"/>
                  </a:cubicBezTo>
                  <a:cubicBezTo>
                    <a:pt x="3200" y="4608"/>
                    <a:pt x="-4000" y="11808"/>
                    <a:pt x="3200" y="11808"/>
                  </a:cubicBezTo>
                  <a:cubicBezTo>
                    <a:pt x="3200" y="15408"/>
                    <a:pt x="10400" y="19008"/>
                    <a:pt x="17600" y="15408"/>
                  </a:cubicBezTo>
                  <a:cubicBezTo>
                    <a:pt x="17600" y="11808"/>
                    <a:pt x="10400" y="19008"/>
                    <a:pt x="17600" y="154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1" name="Shape 1970">
              <a:extLst>
                <a:ext uri="{FF2B5EF4-FFF2-40B4-BE49-F238E27FC236}">
                  <a16:creationId xmlns:a16="http://schemas.microsoft.com/office/drawing/2014/main" id="{E59ACC84-489D-58F2-8638-6AB048B55859}"/>
                </a:ext>
              </a:extLst>
            </p:cNvPr>
            <p:cNvSpPr/>
            <p:nvPr/>
          </p:nvSpPr>
          <p:spPr>
            <a:xfrm>
              <a:off x="2557347" y="714781"/>
              <a:ext cx="943616" cy="683060"/>
            </a:xfrm>
            <a:custGeom>
              <a:avLst/>
              <a:gdLst/>
              <a:ahLst/>
              <a:cxnLst>
                <a:cxn ang="0">
                  <a:pos x="wd2" y="hd2"/>
                </a:cxn>
                <a:cxn ang="5400000">
                  <a:pos x="wd2" y="hd2"/>
                </a:cxn>
                <a:cxn ang="10800000">
                  <a:pos x="wd2" y="hd2"/>
                </a:cxn>
                <a:cxn ang="16200000">
                  <a:pos x="wd2" y="hd2"/>
                </a:cxn>
              </a:cxnLst>
              <a:rect l="0" t="0" r="r" b="b"/>
              <a:pathLst>
                <a:path w="21491" h="21240" extrusionOk="0">
                  <a:moveTo>
                    <a:pt x="11550" y="16797"/>
                  </a:moveTo>
                  <a:cubicBezTo>
                    <a:pt x="11400" y="17414"/>
                    <a:pt x="11100" y="16797"/>
                    <a:pt x="10650" y="17003"/>
                  </a:cubicBezTo>
                  <a:cubicBezTo>
                    <a:pt x="10500" y="17003"/>
                    <a:pt x="10350" y="17209"/>
                    <a:pt x="10200" y="17414"/>
                  </a:cubicBezTo>
                  <a:cubicBezTo>
                    <a:pt x="9900" y="17620"/>
                    <a:pt x="9750" y="17414"/>
                    <a:pt x="9450" y="17414"/>
                  </a:cubicBezTo>
                  <a:cubicBezTo>
                    <a:pt x="9000" y="17209"/>
                    <a:pt x="8400" y="16797"/>
                    <a:pt x="9000" y="16180"/>
                  </a:cubicBezTo>
                  <a:cubicBezTo>
                    <a:pt x="9300" y="15769"/>
                    <a:pt x="9300" y="15357"/>
                    <a:pt x="9750" y="15357"/>
                  </a:cubicBezTo>
                  <a:cubicBezTo>
                    <a:pt x="10200" y="15563"/>
                    <a:pt x="10650" y="15769"/>
                    <a:pt x="11250" y="15563"/>
                  </a:cubicBezTo>
                  <a:cubicBezTo>
                    <a:pt x="11550" y="15563"/>
                    <a:pt x="11850" y="15357"/>
                    <a:pt x="12150" y="15357"/>
                  </a:cubicBezTo>
                  <a:cubicBezTo>
                    <a:pt x="12300" y="15357"/>
                    <a:pt x="12150" y="15152"/>
                    <a:pt x="12150" y="14946"/>
                  </a:cubicBezTo>
                  <a:cubicBezTo>
                    <a:pt x="11700" y="14534"/>
                    <a:pt x="11550" y="14329"/>
                    <a:pt x="12000" y="13917"/>
                  </a:cubicBezTo>
                  <a:cubicBezTo>
                    <a:pt x="12300" y="13300"/>
                    <a:pt x="12600" y="13300"/>
                    <a:pt x="13050" y="13300"/>
                  </a:cubicBezTo>
                  <a:cubicBezTo>
                    <a:pt x="13200" y="13300"/>
                    <a:pt x="13500" y="13300"/>
                    <a:pt x="13650" y="13506"/>
                  </a:cubicBezTo>
                  <a:cubicBezTo>
                    <a:pt x="13950" y="13712"/>
                    <a:pt x="13950" y="13917"/>
                    <a:pt x="13950" y="14329"/>
                  </a:cubicBezTo>
                  <a:cubicBezTo>
                    <a:pt x="14100" y="14740"/>
                    <a:pt x="14250" y="14123"/>
                    <a:pt x="14400" y="14123"/>
                  </a:cubicBezTo>
                  <a:cubicBezTo>
                    <a:pt x="14400" y="13917"/>
                    <a:pt x="14850" y="14123"/>
                    <a:pt x="14850" y="14123"/>
                  </a:cubicBezTo>
                  <a:cubicBezTo>
                    <a:pt x="15000" y="14123"/>
                    <a:pt x="15450" y="14123"/>
                    <a:pt x="15450" y="13712"/>
                  </a:cubicBezTo>
                  <a:cubicBezTo>
                    <a:pt x="15450" y="13506"/>
                    <a:pt x="15000" y="13300"/>
                    <a:pt x="14850" y="13300"/>
                  </a:cubicBezTo>
                  <a:cubicBezTo>
                    <a:pt x="14550" y="13094"/>
                    <a:pt x="14400" y="12889"/>
                    <a:pt x="14250" y="12683"/>
                  </a:cubicBezTo>
                  <a:cubicBezTo>
                    <a:pt x="14100" y="12683"/>
                    <a:pt x="13950" y="13094"/>
                    <a:pt x="13950" y="13300"/>
                  </a:cubicBezTo>
                  <a:cubicBezTo>
                    <a:pt x="13800" y="13506"/>
                    <a:pt x="13200" y="13300"/>
                    <a:pt x="13050" y="13300"/>
                  </a:cubicBezTo>
                  <a:cubicBezTo>
                    <a:pt x="12150" y="13094"/>
                    <a:pt x="13350" y="12683"/>
                    <a:pt x="13200" y="12272"/>
                  </a:cubicBezTo>
                  <a:cubicBezTo>
                    <a:pt x="13050" y="11654"/>
                    <a:pt x="12900" y="10832"/>
                    <a:pt x="12600" y="10420"/>
                  </a:cubicBezTo>
                  <a:cubicBezTo>
                    <a:pt x="12450" y="10420"/>
                    <a:pt x="12150" y="10626"/>
                    <a:pt x="12150" y="10420"/>
                  </a:cubicBezTo>
                  <a:cubicBezTo>
                    <a:pt x="12150" y="10214"/>
                    <a:pt x="12150" y="9803"/>
                    <a:pt x="12000" y="9597"/>
                  </a:cubicBezTo>
                  <a:cubicBezTo>
                    <a:pt x="11850" y="9392"/>
                    <a:pt x="11700" y="10626"/>
                    <a:pt x="11850" y="10626"/>
                  </a:cubicBezTo>
                  <a:cubicBezTo>
                    <a:pt x="11700" y="10626"/>
                    <a:pt x="11250" y="9186"/>
                    <a:pt x="11250" y="9186"/>
                  </a:cubicBezTo>
                  <a:cubicBezTo>
                    <a:pt x="10950" y="9186"/>
                    <a:pt x="10800" y="9392"/>
                    <a:pt x="10650" y="9597"/>
                  </a:cubicBezTo>
                  <a:cubicBezTo>
                    <a:pt x="10500" y="9597"/>
                    <a:pt x="10050" y="10009"/>
                    <a:pt x="10050" y="9803"/>
                  </a:cubicBezTo>
                  <a:cubicBezTo>
                    <a:pt x="10050" y="9186"/>
                    <a:pt x="9900" y="9186"/>
                    <a:pt x="10350" y="9186"/>
                  </a:cubicBezTo>
                  <a:cubicBezTo>
                    <a:pt x="10500" y="9186"/>
                    <a:pt x="10650" y="8980"/>
                    <a:pt x="10650" y="8774"/>
                  </a:cubicBezTo>
                  <a:cubicBezTo>
                    <a:pt x="10800" y="8569"/>
                    <a:pt x="10350" y="8569"/>
                    <a:pt x="10350" y="8569"/>
                  </a:cubicBezTo>
                  <a:cubicBezTo>
                    <a:pt x="10200" y="8363"/>
                    <a:pt x="9600" y="7952"/>
                    <a:pt x="9600" y="7952"/>
                  </a:cubicBezTo>
                  <a:cubicBezTo>
                    <a:pt x="9600" y="7334"/>
                    <a:pt x="9450" y="7746"/>
                    <a:pt x="9300" y="7746"/>
                  </a:cubicBezTo>
                  <a:cubicBezTo>
                    <a:pt x="9150" y="7746"/>
                    <a:pt x="9300" y="6717"/>
                    <a:pt x="9000" y="6923"/>
                  </a:cubicBezTo>
                  <a:cubicBezTo>
                    <a:pt x="8850" y="6923"/>
                    <a:pt x="8850" y="7129"/>
                    <a:pt x="8550" y="6717"/>
                  </a:cubicBezTo>
                  <a:cubicBezTo>
                    <a:pt x="8400" y="6717"/>
                    <a:pt x="8250" y="6306"/>
                    <a:pt x="8100" y="6306"/>
                  </a:cubicBezTo>
                  <a:cubicBezTo>
                    <a:pt x="8100" y="6306"/>
                    <a:pt x="8250" y="6512"/>
                    <a:pt x="8250" y="6512"/>
                  </a:cubicBezTo>
                  <a:cubicBezTo>
                    <a:pt x="8250" y="6512"/>
                    <a:pt x="7800" y="6512"/>
                    <a:pt x="7800" y="6717"/>
                  </a:cubicBezTo>
                  <a:cubicBezTo>
                    <a:pt x="7950" y="6923"/>
                    <a:pt x="8250" y="6717"/>
                    <a:pt x="8400" y="7129"/>
                  </a:cubicBezTo>
                  <a:cubicBezTo>
                    <a:pt x="8400" y="7540"/>
                    <a:pt x="8100" y="7540"/>
                    <a:pt x="7950" y="7540"/>
                  </a:cubicBezTo>
                  <a:cubicBezTo>
                    <a:pt x="7650" y="7746"/>
                    <a:pt x="6900" y="6923"/>
                    <a:pt x="6600" y="7334"/>
                  </a:cubicBezTo>
                  <a:cubicBezTo>
                    <a:pt x="6450" y="7334"/>
                    <a:pt x="6750" y="7540"/>
                    <a:pt x="6900" y="7746"/>
                  </a:cubicBezTo>
                  <a:cubicBezTo>
                    <a:pt x="6900" y="7952"/>
                    <a:pt x="7050" y="7746"/>
                    <a:pt x="7200" y="7746"/>
                  </a:cubicBezTo>
                  <a:cubicBezTo>
                    <a:pt x="7350" y="7746"/>
                    <a:pt x="7800" y="7540"/>
                    <a:pt x="7800" y="7746"/>
                  </a:cubicBezTo>
                  <a:cubicBezTo>
                    <a:pt x="7800" y="7952"/>
                    <a:pt x="7650" y="8157"/>
                    <a:pt x="7500" y="8363"/>
                  </a:cubicBezTo>
                  <a:cubicBezTo>
                    <a:pt x="7500" y="8363"/>
                    <a:pt x="5850" y="6923"/>
                    <a:pt x="5550" y="7129"/>
                  </a:cubicBezTo>
                  <a:cubicBezTo>
                    <a:pt x="5700" y="7129"/>
                    <a:pt x="5850" y="7334"/>
                    <a:pt x="6000" y="7334"/>
                  </a:cubicBezTo>
                  <a:cubicBezTo>
                    <a:pt x="6300" y="7746"/>
                    <a:pt x="5550" y="7540"/>
                    <a:pt x="5550" y="7540"/>
                  </a:cubicBezTo>
                  <a:cubicBezTo>
                    <a:pt x="5100" y="7129"/>
                    <a:pt x="4500" y="7540"/>
                    <a:pt x="4050" y="7334"/>
                  </a:cubicBezTo>
                  <a:cubicBezTo>
                    <a:pt x="3450" y="7129"/>
                    <a:pt x="3000" y="7334"/>
                    <a:pt x="2550" y="6717"/>
                  </a:cubicBezTo>
                  <a:cubicBezTo>
                    <a:pt x="2100" y="6306"/>
                    <a:pt x="1800" y="6923"/>
                    <a:pt x="1350" y="6717"/>
                  </a:cubicBezTo>
                  <a:cubicBezTo>
                    <a:pt x="1200" y="6512"/>
                    <a:pt x="900" y="6512"/>
                    <a:pt x="750" y="6306"/>
                  </a:cubicBezTo>
                  <a:cubicBezTo>
                    <a:pt x="750" y="6100"/>
                    <a:pt x="300" y="5483"/>
                    <a:pt x="600" y="5483"/>
                  </a:cubicBezTo>
                  <a:cubicBezTo>
                    <a:pt x="1050" y="5483"/>
                    <a:pt x="1650" y="6100"/>
                    <a:pt x="2100" y="5689"/>
                  </a:cubicBezTo>
                  <a:cubicBezTo>
                    <a:pt x="2250" y="5483"/>
                    <a:pt x="1950" y="5277"/>
                    <a:pt x="1950" y="5277"/>
                  </a:cubicBezTo>
                  <a:cubicBezTo>
                    <a:pt x="1650" y="5072"/>
                    <a:pt x="1350" y="5072"/>
                    <a:pt x="1200" y="5072"/>
                  </a:cubicBezTo>
                  <a:cubicBezTo>
                    <a:pt x="750" y="5072"/>
                    <a:pt x="0" y="5072"/>
                    <a:pt x="0" y="4454"/>
                  </a:cubicBezTo>
                  <a:cubicBezTo>
                    <a:pt x="0" y="3632"/>
                    <a:pt x="0" y="3014"/>
                    <a:pt x="300" y="2192"/>
                  </a:cubicBezTo>
                  <a:cubicBezTo>
                    <a:pt x="450" y="1574"/>
                    <a:pt x="900" y="1163"/>
                    <a:pt x="1350" y="752"/>
                  </a:cubicBezTo>
                  <a:cubicBezTo>
                    <a:pt x="1650" y="340"/>
                    <a:pt x="1950" y="340"/>
                    <a:pt x="2400" y="134"/>
                  </a:cubicBezTo>
                  <a:cubicBezTo>
                    <a:pt x="2700" y="134"/>
                    <a:pt x="3600" y="-277"/>
                    <a:pt x="3750" y="340"/>
                  </a:cubicBezTo>
                  <a:cubicBezTo>
                    <a:pt x="3750" y="134"/>
                    <a:pt x="3000" y="1163"/>
                    <a:pt x="2850" y="1163"/>
                  </a:cubicBezTo>
                  <a:cubicBezTo>
                    <a:pt x="2550" y="1574"/>
                    <a:pt x="2250" y="1986"/>
                    <a:pt x="2550" y="2397"/>
                  </a:cubicBezTo>
                  <a:cubicBezTo>
                    <a:pt x="2850" y="2809"/>
                    <a:pt x="2550" y="3014"/>
                    <a:pt x="2700" y="3426"/>
                  </a:cubicBezTo>
                  <a:cubicBezTo>
                    <a:pt x="2700" y="3837"/>
                    <a:pt x="3000" y="4043"/>
                    <a:pt x="3150" y="4249"/>
                  </a:cubicBezTo>
                  <a:cubicBezTo>
                    <a:pt x="3300" y="4454"/>
                    <a:pt x="3600" y="4660"/>
                    <a:pt x="3750" y="4866"/>
                  </a:cubicBezTo>
                  <a:cubicBezTo>
                    <a:pt x="3900" y="5072"/>
                    <a:pt x="3300" y="5072"/>
                    <a:pt x="3300" y="5277"/>
                  </a:cubicBezTo>
                  <a:cubicBezTo>
                    <a:pt x="3300" y="5072"/>
                    <a:pt x="3900" y="5689"/>
                    <a:pt x="3900" y="5689"/>
                  </a:cubicBezTo>
                  <a:cubicBezTo>
                    <a:pt x="4050" y="5483"/>
                    <a:pt x="3900" y="5072"/>
                    <a:pt x="3900" y="4866"/>
                  </a:cubicBezTo>
                  <a:cubicBezTo>
                    <a:pt x="3900" y="4866"/>
                    <a:pt x="4200" y="4660"/>
                    <a:pt x="4050" y="4454"/>
                  </a:cubicBezTo>
                  <a:cubicBezTo>
                    <a:pt x="3900" y="4249"/>
                    <a:pt x="3300" y="4043"/>
                    <a:pt x="3150" y="3837"/>
                  </a:cubicBezTo>
                  <a:cubicBezTo>
                    <a:pt x="3000" y="3837"/>
                    <a:pt x="2850" y="3632"/>
                    <a:pt x="3000" y="3632"/>
                  </a:cubicBezTo>
                  <a:cubicBezTo>
                    <a:pt x="3300" y="3632"/>
                    <a:pt x="3300" y="3426"/>
                    <a:pt x="3450" y="3220"/>
                  </a:cubicBezTo>
                  <a:cubicBezTo>
                    <a:pt x="3750" y="3014"/>
                    <a:pt x="4200" y="3426"/>
                    <a:pt x="4350" y="3632"/>
                  </a:cubicBezTo>
                  <a:cubicBezTo>
                    <a:pt x="4200" y="3426"/>
                    <a:pt x="4050" y="3220"/>
                    <a:pt x="4050" y="3014"/>
                  </a:cubicBezTo>
                  <a:cubicBezTo>
                    <a:pt x="4050" y="2603"/>
                    <a:pt x="3300" y="2809"/>
                    <a:pt x="3300" y="2397"/>
                  </a:cubicBezTo>
                  <a:cubicBezTo>
                    <a:pt x="3000" y="1163"/>
                    <a:pt x="4350" y="2192"/>
                    <a:pt x="4350" y="2192"/>
                  </a:cubicBezTo>
                  <a:cubicBezTo>
                    <a:pt x="4350" y="1986"/>
                    <a:pt x="3450" y="1574"/>
                    <a:pt x="3450" y="1574"/>
                  </a:cubicBezTo>
                  <a:cubicBezTo>
                    <a:pt x="3450" y="1369"/>
                    <a:pt x="4200" y="1574"/>
                    <a:pt x="4200" y="1574"/>
                  </a:cubicBezTo>
                  <a:cubicBezTo>
                    <a:pt x="4200" y="1369"/>
                    <a:pt x="3750" y="1163"/>
                    <a:pt x="3750" y="1163"/>
                  </a:cubicBezTo>
                  <a:cubicBezTo>
                    <a:pt x="3600" y="957"/>
                    <a:pt x="3750" y="957"/>
                    <a:pt x="3900" y="957"/>
                  </a:cubicBezTo>
                  <a:cubicBezTo>
                    <a:pt x="4050" y="1163"/>
                    <a:pt x="4050" y="957"/>
                    <a:pt x="4200" y="957"/>
                  </a:cubicBezTo>
                  <a:cubicBezTo>
                    <a:pt x="4500" y="752"/>
                    <a:pt x="4500" y="957"/>
                    <a:pt x="4800" y="957"/>
                  </a:cubicBezTo>
                  <a:cubicBezTo>
                    <a:pt x="4350" y="752"/>
                    <a:pt x="4950" y="340"/>
                    <a:pt x="5100" y="340"/>
                  </a:cubicBezTo>
                  <a:cubicBezTo>
                    <a:pt x="5400" y="134"/>
                    <a:pt x="6300" y="134"/>
                    <a:pt x="6450" y="546"/>
                  </a:cubicBezTo>
                  <a:cubicBezTo>
                    <a:pt x="6600" y="752"/>
                    <a:pt x="6600" y="957"/>
                    <a:pt x="6600" y="1163"/>
                  </a:cubicBezTo>
                  <a:cubicBezTo>
                    <a:pt x="6750" y="1369"/>
                    <a:pt x="6900" y="1574"/>
                    <a:pt x="7050" y="1780"/>
                  </a:cubicBezTo>
                  <a:cubicBezTo>
                    <a:pt x="7200" y="2192"/>
                    <a:pt x="6450" y="3014"/>
                    <a:pt x="6450" y="3014"/>
                  </a:cubicBezTo>
                  <a:cubicBezTo>
                    <a:pt x="6600" y="3220"/>
                    <a:pt x="6900" y="2603"/>
                    <a:pt x="7050" y="2603"/>
                  </a:cubicBezTo>
                  <a:cubicBezTo>
                    <a:pt x="7050" y="2603"/>
                    <a:pt x="6750" y="3837"/>
                    <a:pt x="6900" y="3632"/>
                  </a:cubicBezTo>
                  <a:cubicBezTo>
                    <a:pt x="7050" y="3632"/>
                    <a:pt x="7050" y="3220"/>
                    <a:pt x="7200" y="3220"/>
                  </a:cubicBezTo>
                  <a:cubicBezTo>
                    <a:pt x="7500" y="3220"/>
                    <a:pt x="7500" y="3426"/>
                    <a:pt x="7800" y="3014"/>
                  </a:cubicBezTo>
                  <a:cubicBezTo>
                    <a:pt x="7950" y="2809"/>
                    <a:pt x="7950" y="3014"/>
                    <a:pt x="8100" y="3220"/>
                  </a:cubicBezTo>
                  <a:cubicBezTo>
                    <a:pt x="8250" y="3426"/>
                    <a:pt x="8100" y="3426"/>
                    <a:pt x="8100" y="3632"/>
                  </a:cubicBezTo>
                  <a:cubicBezTo>
                    <a:pt x="8100" y="3837"/>
                    <a:pt x="8850" y="4043"/>
                    <a:pt x="9000" y="4043"/>
                  </a:cubicBezTo>
                  <a:cubicBezTo>
                    <a:pt x="9000" y="4043"/>
                    <a:pt x="8250" y="3014"/>
                    <a:pt x="8100" y="2809"/>
                  </a:cubicBezTo>
                  <a:cubicBezTo>
                    <a:pt x="8100" y="2809"/>
                    <a:pt x="9450" y="3426"/>
                    <a:pt x="9450" y="3220"/>
                  </a:cubicBezTo>
                  <a:cubicBezTo>
                    <a:pt x="9450" y="3220"/>
                    <a:pt x="8550" y="3014"/>
                    <a:pt x="8550" y="2603"/>
                  </a:cubicBezTo>
                  <a:cubicBezTo>
                    <a:pt x="8550" y="2397"/>
                    <a:pt x="9000" y="2192"/>
                    <a:pt x="9150" y="2192"/>
                  </a:cubicBezTo>
                  <a:cubicBezTo>
                    <a:pt x="9450" y="1986"/>
                    <a:pt x="9600" y="2192"/>
                    <a:pt x="9900" y="2397"/>
                  </a:cubicBezTo>
                  <a:cubicBezTo>
                    <a:pt x="10350" y="2603"/>
                    <a:pt x="10950" y="2397"/>
                    <a:pt x="11100" y="3220"/>
                  </a:cubicBezTo>
                  <a:cubicBezTo>
                    <a:pt x="11100" y="3220"/>
                    <a:pt x="10050" y="3220"/>
                    <a:pt x="10200" y="3837"/>
                  </a:cubicBezTo>
                  <a:cubicBezTo>
                    <a:pt x="10200" y="3632"/>
                    <a:pt x="10650" y="3426"/>
                    <a:pt x="10650" y="3426"/>
                  </a:cubicBezTo>
                  <a:cubicBezTo>
                    <a:pt x="10950" y="3426"/>
                    <a:pt x="10500" y="3837"/>
                    <a:pt x="10500" y="4043"/>
                  </a:cubicBezTo>
                  <a:cubicBezTo>
                    <a:pt x="10500" y="4043"/>
                    <a:pt x="10950" y="3632"/>
                    <a:pt x="10950" y="3632"/>
                  </a:cubicBezTo>
                  <a:cubicBezTo>
                    <a:pt x="10950" y="3426"/>
                    <a:pt x="11550" y="3426"/>
                    <a:pt x="11700" y="3632"/>
                  </a:cubicBezTo>
                  <a:cubicBezTo>
                    <a:pt x="12300" y="3632"/>
                    <a:pt x="10950" y="4249"/>
                    <a:pt x="11100" y="4454"/>
                  </a:cubicBezTo>
                  <a:cubicBezTo>
                    <a:pt x="11100" y="4454"/>
                    <a:pt x="11400" y="4043"/>
                    <a:pt x="11400" y="4249"/>
                  </a:cubicBezTo>
                  <a:cubicBezTo>
                    <a:pt x="11400" y="4454"/>
                    <a:pt x="11100" y="4866"/>
                    <a:pt x="11250" y="5072"/>
                  </a:cubicBezTo>
                  <a:cubicBezTo>
                    <a:pt x="11100" y="4866"/>
                    <a:pt x="11700" y="4043"/>
                    <a:pt x="11850" y="4249"/>
                  </a:cubicBezTo>
                  <a:cubicBezTo>
                    <a:pt x="11850" y="4660"/>
                    <a:pt x="11700" y="5072"/>
                    <a:pt x="11850" y="5277"/>
                  </a:cubicBezTo>
                  <a:cubicBezTo>
                    <a:pt x="11850" y="5277"/>
                    <a:pt x="11850" y="4454"/>
                    <a:pt x="12150" y="4454"/>
                  </a:cubicBezTo>
                  <a:cubicBezTo>
                    <a:pt x="12450" y="4660"/>
                    <a:pt x="12000" y="5277"/>
                    <a:pt x="12150" y="5483"/>
                  </a:cubicBezTo>
                  <a:cubicBezTo>
                    <a:pt x="12150" y="5483"/>
                    <a:pt x="12300" y="4866"/>
                    <a:pt x="12450" y="4866"/>
                  </a:cubicBezTo>
                  <a:cubicBezTo>
                    <a:pt x="12450" y="4866"/>
                    <a:pt x="12300" y="5483"/>
                    <a:pt x="12450" y="5483"/>
                  </a:cubicBezTo>
                  <a:cubicBezTo>
                    <a:pt x="12300" y="5483"/>
                    <a:pt x="12750" y="4660"/>
                    <a:pt x="12900" y="4454"/>
                  </a:cubicBezTo>
                  <a:cubicBezTo>
                    <a:pt x="13050" y="4249"/>
                    <a:pt x="13500" y="4454"/>
                    <a:pt x="13650" y="4660"/>
                  </a:cubicBezTo>
                  <a:cubicBezTo>
                    <a:pt x="13950" y="4866"/>
                    <a:pt x="14100" y="5277"/>
                    <a:pt x="13650" y="5277"/>
                  </a:cubicBezTo>
                  <a:cubicBezTo>
                    <a:pt x="13500" y="5277"/>
                    <a:pt x="12900" y="5277"/>
                    <a:pt x="12900" y="5894"/>
                  </a:cubicBezTo>
                  <a:cubicBezTo>
                    <a:pt x="12900" y="5689"/>
                    <a:pt x="13800" y="5277"/>
                    <a:pt x="13800" y="5483"/>
                  </a:cubicBezTo>
                  <a:cubicBezTo>
                    <a:pt x="13800" y="5483"/>
                    <a:pt x="13200" y="5894"/>
                    <a:pt x="13200" y="6100"/>
                  </a:cubicBezTo>
                  <a:cubicBezTo>
                    <a:pt x="13200" y="5894"/>
                    <a:pt x="13800" y="5894"/>
                    <a:pt x="13800" y="5894"/>
                  </a:cubicBezTo>
                  <a:cubicBezTo>
                    <a:pt x="13950" y="5689"/>
                    <a:pt x="14250" y="5072"/>
                    <a:pt x="14400" y="5277"/>
                  </a:cubicBezTo>
                  <a:cubicBezTo>
                    <a:pt x="14550" y="5689"/>
                    <a:pt x="14400" y="6100"/>
                    <a:pt x="14100" y="6100"/>
                  </a:cubicBezTo>
                  <a:cubicBezTo>
                    <a:pt x="13950" y="6306"/>
                    <a:pt x="13800" y="6512"/>
                    <a:pt x="13650" y="6717"/>
                  </a:cubicBezTo>
                  <a:cubicBezTo>
                    <a:pt x="13650" y="6717"/>
                    <a:pt x="13950" y="6306"/>
                    <a:pt x="14100" y="6306"/>
                  </a:cubicBezTo>
                  <a:cubicBezTo>
                    <a:pt x="14100" y="6306"/>
                    <a:pt x="13950" y="7129"/>
                    <a:pt x="13950" y="7129"/>
                  </a:cubicBezTo>
                  <a:cubicBezTo>
                    <a:pt x="13800" y="6717"/>
                    <a:pt x="14850" y="5277"/>
                    <a:pt x="15000" y="5689"/>
                  </a:cubicBezTo>
                  <a:cubicBezTo>
                    <a:pt x="15150" y="5894"/>
                    <a:pt x="14850" y="6100"/>
                    <a:pt x="14700" y="6100"/>
                  </a:cubicBezTo>
                  <a:cubicBezTo>
                    <a:pt x="14850" y="6100"/>
                    <a:pt x="15300" y="6100"/>
                    <a:pt x="15450" y="6100"/>
                  </a:cubicBezTo>
                  <a:cubicBezTo>
                    <a:pt x="15600" y="6100"/>
                    <a:pt x="15900" y="6100"/>
                    <a:pt x="16050" y="6306"/>
                  </a:cubicBezTo>
                  <a:cubicBezTo>
                    <a:pt x="16200" y="6923"/>
                    <a:pt x="14700" y="6923"/>
                    <a:pt x="14850" y="7540"/>
                  </a:cubicBezTo>
                  <a:cubicBezTo>
                    <a:pt x="14850" y="7540"/>
                    <a:pt x="15300" y="6923"/>
                    <a:pt x="15450" y="6923"/>
                  </a:cubicBezTo>
                  <a:cubicBezTo>
                    <a:pt x="15600" y="6923"/>
                    <a:pt x="15900" y="6923"/>
                    <a:pt x="15900" y="7129"/>
                  </a:cubicBezTo>
                  <a:cubicBezTo>
                    <a:pt x="16050" y="7334"/>
                    <a:pt x="15150" y="7746"/>
                    <a:pt x="15150" y="7746"/>
                  </a:cubicBezTo>
                  <a:cubicBezTo>
                    <a:pt x="15150" y="7746"/>
                    <a:pt x="15600" y="7540"/>
                    <a:pt x="15600" y="7540"/>
                  </a:cubicBezTo>
                  <a:cubicBezTo>
                    <a:pt x="15750" y="7540"/>
                    <a:pt x="16050" y="7334"/>
                    <a:pt x="16200" y="7129"/>
                  </a:cubicBezTo>
                  <a:cubicBezTo>
                    <a:pt x="16350" y="7129"/>
                    <a:pt x="16200" y="6923"/>
                    <a:pt x="16350" y="6717"/>
                  </a:cubicBezTo>
                  <a:cubicBezTo>
                    <a:pt x="16500" y="6717"/>
                    <a:pt x="16800" y="7129"/>
                    <a:pt x="16800" y="7334"/>
                  </a:cubicBezTo>
                  <a:cubicBezTo>
                    <a:pt x="17400" y="7952"/>
                    <a:pt x="16800" y="7746"/>
                    <a:pt x="16350" y="7952"/>
                  </a:cubicBezTo>
                  <a:cubicBezTo>
                    <a:pt x="16350" y="7952"/>
                    <a:pt x="15300" y="8363"/>
                    <a:pt x="15300" y="8157"/>
                  </a:cubicBezTo>
                  <a:cubicBezTo>
                    <a:pt x="15300" y="8363"/>
                    <a:pt x="17700" y="8363"/>
                    <a:pt x="17550" y="8774"/>
                  </a:cubicBezTo>
                  <a:cubicBezTo>
                    <a:pt x="17400" y="8980"/>
                    <a:pt x="16650" y="8980"/>
                    <a:pt x="16500" y="8774"/>
                  </a:cubicBezTo>
                  <a:cubicBezTo>
                    <a:pt x="16500" y="8774"/>
                    <a:pt x="15900" y="8980"/>
                    <a:pt x="15900" y="8980"/>
                  </a:cubicBezTo>
                  <a:cubicBezTo>
                    <a:pt x="16050" y="9186"/>
                    <a:pt x="16500" y="8980"/>
                    <a:pt x="16500" y="9186"/>
                  </a:cubicBezTo>
                  <a:cubicBezTo>
                    <a:pt x="16650" y="9186"/>
                    <a:pt x="16050" y="9392"/>
                    <a:pt x="16050" y="9597"/>
                  </a:cubicBezTo>
                  <a:cubicBezTo>
                    <a:pt x="16050" y="10009"/>
                    <a:pt x="16650" y="10214"/>
                    <a:pt x="16800" y="10214"/>
                  </a:cubicBezTo>
                  <a:cubicBezTo>
                    <a:pt x="17100" y="10420"/>
                    <a:pt x="17550" y="10420"/>
                    <a:pt x="17700" y="10832"/>
                  </a:cubicBezTo>
                  <a:cubicBezTo>
                    <a:pt x="17850" y="11037"/>
                    <a:pt x="17850" y="11243"/>
                    <a:pt x="18000" y="11243"/>
                  </a:cubicBezTo>
                  <a:cubicBezTo>
                    <a:pt x="18000" y="11243"/>
                    <a:pt x="18300" y="11037"/>
                    <a:pt x="18300" y="11037"/>
                  </a:cubicBezTo>
                  <a:cubicBezTo>
                    <a:pt x="18300" y="11037"/>
                    <a:pt x="18300" y="11449"/>
                    <a:pt x="18450" y="11449"/>
                  </a:cubicBezTo>
                  <a:cubicBezTo>
                    <a:pt x="18450" y="11449"/>
                    <a:pt x="18450" y="11037"/>
                    <a:pt x="18600" y="11037"/>
                  </a:cubicBezTo>
                  <a:cubicBezTo>
                    <a:pt x="18600" y="11037"/>
                    <a:pt x="18600" y="11449"/>
                    <a:pt x="18600" y="11449"/>
                  </a:cubicBezTo>
                  <a:cubicBezTo>
                    <a:pt x="18600" y="11654"/>
                    <a:pt x="18900" y="11449"/>
                    <a:pt x="19050" y="11449"/>
                  </a:cubicBezTo>
                  <a:cubicBezTo>
                    <a:pt x="19050" y="11449"/>
                    <a:pt x="19350" y="11654"/>
                    <a:pt x="19350" y="11860"/>
                  </a:cubicBezTo>
                  <a:cubicBezTo>
                    <a:pt x="19350" y="12066"/>
                    <a:pt x="19200" y="11860"/>
                    <a:pt x="19200" y="12066"/>
                  </a:cubicBezTo>
                  <a:cubicBezTo>
                    <a:pt x="19350" y="11860"/>
                    <a:pt x="20700" y="12477"/>
                    <a:pt x="20700" y="12477"/>
                  </a:cubicBezTo>
                  <a:cubicBezTo>
                    <a:pt x="20550" y="12683"/>
                    <a:pt x="20550" y="12683"/>
                    <a:pt x="20550" y="12683"/>
                  </a:cubicBezTo>
                  <a:cubicBezTo>
                    <a:pt x="20550" y="12889"/>
                    <a:pt x="20850" y="12683"/>
                    <a:pt x="20850" y="12683"/>
                  </a:cubicBezTo>
                  <a:cubicBezTo>
                    <a:pt x="21000" y="12477"/>
                    <a:pt x="21000" y="12683"/>
                    <a:pt x="21150" y="12889"/>
                  </a:cubicBezTo>
                  <a:cubicBezTo>
                    <a:pt x="21300" y="12889"/>
                    <a:pt x="21600" y="13300"/>
                    <a:pt x="21450" y="13506"/>
                  </a:cubicBezTo>
                  <a:cubicBezTo>
                    <a:pt x="21450" y="13506"/>
                    <a:pt x="21150" y="13506"/>
                    <a:pt x="21150" y="13506"/>
                  </a:cubicBezTo>
                  <a:cubicBezTo>
                    <a:pt x="21150" y="13712"/>
                    <a:pt x="21450" y="13712"/>
                    <a:pt x="21300" y="13917"/>
                  </a:cubicBezTo>
                  <a:cubicBezTo>
                    <a:pt x="21300" y="13917"/>
                    <a:pt x="20850" y="13917"/>
                    <a:pt x="20850" y="13917"/>
                  </a:cubicBezTo>
                  <a:cubicBezTo>
                    <a:pt x="20550" y="14123"/>
                    <a:pt x="20850" y="14123"/>
                    <a:pt x="20850" y="14329"/>
                  </a:cubicBezTo>
                  <a:cubicBezTo>
                    <a:pt x="21000" y="14740"/>
                    <a:pt x="20400" y="14329"/>
                    <a:pt x="20250" y="14329"/>
                  </a:cubicBezTo>
                  <a:cubicBezTo>
                    <a:pt x="20400" y="14534"/>
                    <a:pt x="20700" y="14740"/>
                    <a:pt x="20550" y="14946"/>
                  </a:cubicBezTo>
                  <a:cubicBezTo>
                    <a:pt x="20400" y="14946"/>
                    <a:pt x="19800" y="14946"/>
                    <a:pt x="19950" y="14740"/>
                  </a:cubicBezTo>
                  <a:cubicBezTo>
                    <a:pt x="19800" y="14946"/>
                    <a:pt x="20250" y="15357"/>
                    <a:pt x="20100" y="15563"/>
                  </a:cubicBezTo>
                  <a:cubicBezTo>
                    <a:pt x="19950" y="15563"/>
                    <a:pt x="19950" y="15152"/>
                    <a:pt x="19800" y="15357"/>
                  </a:cubicBezTo>
                  <a:cubicBezTo>
                    <a:pt x="19650" y="15563"/>
                    <a:pt x="20250" y="16592"/>
                    <a:pt x="19650" y="15974"/>
                  </a:cubicBezTo>
                  <a:cubicBezTo>
                    <a:pt x="19650" y="15974"/>
                    <a:pt x="19200" y="15563"/>
                    <a:pt x="19200" y="15563"/>
                  </a:cubicBezTo>
                  <a:cubicBezTo>
                    <a:pt x="19050" y="15769"/>
                    <a:pt x="19050" y="15974"/>
                    <a:pt x="18900" y="15974"/>
                  </a:cubicBezTo>
                  <a:cubicBezTo>
                    <a:pt x="18900" y="15769"/>
                    <a:pt x="19050" y="15563"/>
                    <a:pt x="19050" y="15357"/>
                  </a:cubicBezTo>
                  <a:cubicBezTo>
                    <a:pt x="19050" y="15563"/>
                    <a:pt x="18750" y="15563"/>
                    <a:pt x="18750" y="15563"/>
                  </a:cubicBezTo>
                  <a:cubicBezTo>
                    <a:pt x="18600" y="15357"/>
                    <a:pt x="18900" y="15152"/>
                    <a:pt x="18750" y="14946"/>
                  </a:cubicBezTo>
                  <a:cubicBezTo>
                    <a:pt x="18750" y="14946"/>
                    <a:pt x="18450" y="15152"/>
                    <a:pt x="18450" y="15152"/>
                  </a:cubicBezTo>
                  <a:cubicBezTo>
                    <a:pt x="18300" y="14946"/>
                    <a:pt x="18450" y="14534"/>
                    <a:pt x="18450" y="14534"/>
                  </a:cubicBezTo>
                  <a:cubicBezTo>
                    <a:pt x="18600" y="14534"/>
                    <a:pt x="19200" y="14123"/>
                    <a:pt x="19050" y="14123"/>
                  </a:cubicBezTo>
                  <a:cubicBezTo>
                    <a:pt x="18900" y="13917"/>
                    <a:pt x="18300" y="14740"/>
                    <a:pt x="18000" y="14534"/>
                  </a:cubicBezTo>
                  <a:cubicBezTo>
                    <a:pt x="18000" y="14534"/>
                    <a:pt x="18450" y="13917"/>
                    <a:pt x="18300" y="13917"/>
                  </a:cubicBezTo>
                  <a:cubicBezTo>
                    <a:pt x="18150" y="13917"/>
                    <a:pt x="18000" y="14329"/>
                    <a:pt x="17850" y="14123"/>
                  </a:cubicBezTo>
                  <a:cubicBezTo>
                    <a:pt x="17700" y="13917"/>
                    <a:pt x="17550" y="13917"/>
                    <a:pt x="17400" y="13712"/>
                  </a:cubicBezTo>
                  <a:cubicBezTo>
                    <a:pt x="17250" y="13506"/>
                    <a:pt x="17100" y="13300"/>
                    <a:pt x="16950" y="13506"/>
                  </a:cubicBezTo>
                  <a:cubicBezTo>
                    <a:pt x="16950" y="13712"/>
                    <a:pt x="16950" y="13712"/>
                    <a:pt x="16950" y="13917"/>
                  </a:cubicBezTo>
                  <a:cubicBezTo>
                    <a:pt x="16950" y="13917"/>
                    <a:pt x="16800" y="13917"/>
                    <a:pt x="16800" y="13917"/>
                  </a:cubicBezTo>
                  <a:cubicBezTo>
                    <a:pt x="16800" y="14123"/>
                    <a:pt x="17400" y="14534"/>
                    <a:pt x="16800" y="14534"/>
                  </a:cubicBezTo>
                  <a:cubicBezTo>
                    <a:pt x="16650" y="14534"/>
                    <a:pt x="16050" y="14329"/>
                    <a:pt x="16200" y="14123"/>
                  </a:cubicBezTo>
                  <a:cubicBezTo>
                    <a:pt x="16050" y="14534"/>
                    <a:pt x="16650" y="14946"/>
                    <a:pt x="16800" y="15152"/>
                  </a:cubicBezTo>
                  <a:cubicBezTo>
                    <a:pt x="17100" y="15152"/>
                    <a:pt x="17100" y="15769"/>
                    <a:pt x="17250" y="15974"/>
                  </a:cubicBezTo>
                  <a:cubicBezTo>
                    <a:pt x="17400" y="16180"/>
                    <a:pt x="17400" y="16386"/>
                    <a:pt x="17550" y="16386"/>
                  </a:cubicBezTo>
                  <a:cubicBezTo>
                    <a:pt x="17700" y="16386"/>
                    <a:pt x="17550" y="16180"/>
                    <a:pt x="17700" y="16180"/>
                  </a:cubicBezTo>
                  <a:cubicBezTo>
                    <a:pt x="17700" y="16180"/>
                    <a:pt x="17850" y="16386"/>
                    <a:pt x="17850" y="16592"/>
                  </a:cubicBezTo>
                  <a:cubicBezTo>
                    <a:pt x="18000" y="16797"/>
                    <a:pt x="18000" y="16592"/>
                    <a:pt x="18150" y="16386"/>
                  </a:cubicBezTo>
                  <a:cubicBezTo>
                    <a:pt x="18300" y="16386"/>
                    <a:pt x="18150" y="17209"/>
                    <a:pt x="18300" y="17003"/>
                  </a:cubicBezTo>
                  <a:cubicBezTo>
                    <a:pt x="18450" y="17003"/>
                    <a:pt x="18300" y="16797"/>
                    <a:pt x="18450" y="16592"/>
                  </a:cubicBezTo>
                  <a:cubicBezTo>
                    <a:pt x="18450" y="16592"/>
                    <a:pt x="18450" y="17003"/>
                    <a:pt x="18450" y="17209"/>
                  </a:cubicBezTo>
                  <a:cubicBezTo>
                    <a:pt x="18450" y="17414"/>
                    <a:pt x="18450" y="17414"/>
                    <a:pt x="18600" y="17620"/>
                  </a:cubicBezTo>
                  <a:cubicBezTo>
                    <a:pt x="18750" y="17620"/>
                    <a:pt x="18900" y="17826"/>
                    <a:pt x="18900" y="18032"/>
                  </a:cubicBezTo>
                  <a:cubicBezTo>
                    <a:pt x="19050" y="18032"/>
                    <a:pt x="19200" y="18854"/>
                    <a:pt x="19200" y="18854"/>
                  </a:cubicBezTo>
                  <a:cubicBezTo>
                    <a:pt x="19050" y="18649"/>
                    <a:pt x="19050" y="18443"/>
                    <a:pt x="19050" y="18443"/>
                  </a:cubicBezTo>
                  <a:cubicBezTo>
                    <a:pt x="18900" y="18443"/>
                    <a:pt x="19050" y="19266"/>
                    <a:pt x="19050" y="19266"/>
                  </a:cubicBezTo>
                  <a:cubicBezTo>
                    <a:pt x="19050" y="19266"/>
                    <a:pt x="18750" y="18443"/>
                    <a:pt x="18600" y="18237"/>
                  </a:cubicBezTo>
                  <a:cubicBezTo>
                    <a:pt x="18600" y="18237"/>
                    <a:pt x="18750" y="19060"/>
                    <a:pt x="18900" y="19266"/>
                  </a:cubicBezTo>
                  <a:cubicBezTo>
                    <a:pt x="18900" y="19883"/>
                    <a:pt x="18600" y="19266"/>
                    <a:pt x="18600" y="19472"/>
                  </a:cubicBezTo>
                  <a:cubicBezTo>
                    <a:pt x="18450" y="19677"/>
                    <a:pt x="19200" y="20089"/>
                    <a:pt x="19200" y="20294"/>
                  </a:cubicBezTo>
                  <a:cubicBezTo>
                    <a:pt x="19200" y="20500"/>
                    <a:pt x="17850" y="19266"/>
                    <a:pt x="17700" y="19266"/>
                  </a:cubicBezTo>
                  <a:cubicBezTo>
                    <a:pt x="17700" y="19266"/>
                    <a:pt x="17700" y="19472"/>
                    <a:pt x="17700" y="19472"/>
                  </a:cubicBezTo>
                  <a:cubicBezTo>
                    <a:pt x="17700" y="19677"/>
                    <a:pt x="17400" y="18854"/>
                    <a:pt x="17250" y="18854"/>
                  </a:cubicBezTo>
                  <a:cubicBezTo>
                    <a:pt x="17250" y="18854"/>
                    <a:pt x="17400" y="19266"/>
                    <a:pt x="17400" y="19266"/>
                  </a:cubicBezTo>
                  <a:cubicBezTo>
                    <a:pt x="17250" y="19472"/>
                    <a:pt x="16950" y="18649"/>
                    <a:pt x="16800" y="18443"/>
                  </a:cubicBezTo>
                  <a:cubicBezTo>
                    <a:pt x="16650" y="18237"/>
                    <a:pt x="16650" y="18649"/>
                    <a:pt x="16500" y="18854"/>
                  </a:cubicBezTo>
                  <a:cubicBezTo>
                    <a:pt x="16500" y="19060"/>
                    <a:pt x="16200" y="18237"/>
                    <a:pt x="16200" y="18237"/>
                  </a:cubicBezTo>
                  <a:cubicBezTo>
                    <a:pt x="16200" y="18237"/>
                    <a:pt x="15750" y="18237"/>
                    <a:pt x="15750" y="18237"/>
                  </a:cubicBezTo>
                  <a:cubicBezTo>
                    <a:pt x="15750" y="18443"/>
                    <a:pt x="15900" y="18649"/>
                    <a:pt x="16050" y="18649"/>
                  </a:cubicBezTo>
                  <a:cubicBezTo>
                    <a:pt x="16200" y="18854"/>
                    <a:pt x="16200" y="18854"/>
                    <a:pt x="16350" y="19060"/>
                  </a:cubicBezTo>
                  <a:cubicBezTo>
                    <a:pt x="16500" y="19266"/>
                    <a:pt x="16800" y="19472"/>
                    <a:pt x="17100" y="19677"/>
                  </a:cubicBezTo>
                  <a:cubicBezTo>
                    <a:pt x="17400" y="20089"/>
                    <a:pt x="17550" y="20294"/>
                    <a:pt x="17700" y="20706"/>
                  </a:cubicBezTo>
                  <a:cubicBezTo>
                    <a:pt x="18000" y="21323"/>
                    <a:pt x="18000" y="21323"/>
                    <a:pt x="17550" y="21117"/>
                  </a:cubicBezTo>
                  <a:cubicBezTo>
                    <a:pt x="16950" y="20706"/>
                    <a:pt x="15900" y="20912"/>
                    <a:pt x="15450" y="20089"/>
                  </a:cubicBezTo>
                  <a:cubicBezTo>
                    <a:pt x="15300" y="19677"/>
                    <a:pt x="14850" y="20089"/>
                    <a:pt x="14550" y="19677"/>
                  </a:cubicBezTo>
                  <a:cubicBezTo>
                    <a:pt x="14400" y="19472"/>
                    <a:pt x="13500" y="19060"/>
                    <a:pt x="13500" y="18854"/>
                  </a:cubicBezTo>
                  <a:cubicBezTo>
                    <a:pt x="13500" y="18649"/>
                    <a:pt x="13950" y="18854"/>
                    <a:pt x="13950" y="18649"/>
                  </a:cubicBezTo>
                  <a:cubicBezTo>
                    <a:pt x="14100" y="18443"/>
                    <a:pt x="13650" y="18237"/>
                    <a:pt x="13650" y="18237"/>
                  </a:cubicBezTo>
                  <a:cubicBezTo>
                    <a:pt x="13200" y="18032"/>
                    <a:pt x="12900" y="17620"/>
                    <a:pt x="12600" y="17414"/>
                  </a:cubicBezTo>
                  <a:cubicBezTo>
                    <a:pt x="12450" y="17209"/>
                    <a:pt x="12600" y="17003"/>
                    <a:pt x="12300" y="17003"/>
                  </a:cubicBezTo>
                  <a:cubicBezTo>
                    <a:pt x="12300" y="16797"/>
                    <a:pt x="11550" y="16797"/>
                    <a:pt x="11550" y="16797"/>
                  </a:cubicBezTo>
                  <a:cubicBezTo>
                    <a:pt x="11550" y="17003"/>
                    <a:pt x="11700" y="16592"/>
                    <a:pt x="11550" y="167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2" name="Shape 1971">
              <a:extLst>
                <a:ext uri="{FF2B5EF4-FFF2-40B4-BE49-F238E27FC236}">
                  <a16:creationId xmlns:a16="http://schemas.microsoft.com/office/drawing/2014/main" id="{0B406BFC-FAEC-791C-1653-2D7C9C565233}"/>
                </a:ext>
              </a:extLst>
            </p:cNvPr>
            <p:cNvSpPr/>
            <p:nvPr/>
          </p:nvSpPr>
          <p:spPr>
            <a:xfrm>
              <a:off x="3176738" y="1353293"/>
              <a:ext cx="29200" cy="8634"/>
            </a:xfrm>
            <a:custGeom>
              <a:avLst/>
              <a:gdLst/>
              <a:ahLst/>
              <a:cxnLst>
                <a:cxn ang="0">
                  <a:pos x="wd2" y="hd2"/>
                </a:cxn>
                <a:cxn ang="5400000">
                  <a:pos x="wd2" y="hd2"/>
                </a:cxn>
                <a:cxn ang="10800000">
                  <a:pos x="wd2" y="hd2"/>
                </a:cxn>
                <a:cxn ang="16200000">
                  <a:pos x="wd2" y="hd2"/>
                </a:cxn>
              </a:cxnLst>
              <a:rect l="0" t="0" r="r" b="b"/>
              <a:pathLst>
                <a:path w="15591" h="13824" extrusionOk="0">
                  <a:moveTo>
                    <a:pt x="14876" y="10800"/>
                  </a:moveTo>
                  <a:cubicBezTo>
                    <a:pt x="14876" y="21600"/>
                    <a:pt x="-3124" y="0"/>
                    <a:pt x="476" y="0"/>
                  </a:cubicBezTo>
                  <a:cubicBezTo>
                    <a:pt x="7676" y="0"/>
                    <a:pt x="18476" y="0"/>
                    <a:pt x="14876"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3" name="Shape 1972">
              <a:extLst>
                <a:ext uri="{FF2B5EF4-FFF2-40B4-BE49-F238E27FC236}">
                  <a16:creationId xmlns:a16="http://schemas.microsoft.com/office/drawing/2014/main" id="{AB81D62B-924A-1238-3811-AC6E6562F539}"/>
                </a:ext>
              </a:extLst>
            </p:cNvPr>
            <p:cNvSpPr/>
            <p:nvPr/>
          </p:nvSpPr>
          <p:spPr>
            <a:xfrm>
              <a:off x="3059491" y="1063302"/>
              <a:ext cx="42478" cy="13489"/>
            </a:xfrm>
            <a:custGeom>
              <a:avLst/>
              <a:gdLst/>
              <a:ahLst/>
              <a:cxnLst>
                <a:cxn ang="0">
                  <a:pos x="wd2" y="hd2"/>
                </a:cxn>
                <a:cxn ang="5400000">
                  <a:pos x="wd2" y="hd2"/>
                </a:cxn>
                <a:cxn ang="10800000">
                  <a:pos x="wd2" y="hd2"/>
                </a:cxn>
                <a:cxn ang="16200000">
                  <a:pos x="wd2" y="hd2"/>
                </a:cxn>
              </a:cxnLst>
              <a:rect l="0" t="0" r="r" b="b"/>
              <a:pathLst>
                <a:path w="17011" h="21600" extrusionOk="0">
                  <a:moveTo>
                    <a:pt x="15811" y="10800"/>
                  </a:moveTo>
                  <a:cubicBezTo>
                    <a:pt x="18511" y="21600"/>
                    <a:pt x="5011" y="21600"/>
                    <a:pt x="2311" y="21600"/>
                  </a:cubicBezTo>
                  <a:cubicBezTo>
                    <a:pt x="-3089" y="10800"/>
                    <a:pt x="2311" y="0"/>
                    <a:pt x="5011" y="0"/>
                  </a:cubicBezTo>
                  <a:cubicBezTo>
                    <a:pt x="10411" y="0"/>
                    <a:pt x="15811" y="0"/>
                    <a:pt x="15811" y="10800"/>
                  </a:cubicBezTo>
                  <a:cubicBezTo>
                    <a:pt x="18511" y="21600"/>
                    <a:pt x="15811" y="0"/>
                    <a:pt x="15811"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4" name="Shape 1973">
              <a:extLst>
                <a:ext uri="{FF2B5EF4-FFF2-40B4-BE49-F238E27FC236}">
                  <a16:creationId xmlns:a16="http://schemas.microsoft.com/office/drawing/2014/main" id="{BB5E7A2C-327C-0769-4276-200BBC71D52D}"/>
                </a:ext>
              </a:extLst>
            </p:cNvPr>
            <p:cNvSpPr/>
            <p:nvPr/>
          </p:nvSpPr>
          <p:spPr>
            <a:xfrm>
              <a:off x="2977090" y="1049813"/>
              <a:ext cx="68723" cy="60450"/>
            </a:xfrm>
            <a:custGeom>
              <a:avLst/>
              <a:gdLst/>
              <a:ahLst/>
              <a:cxnLst>
                <a:cxn ang="0">
                  <a:pos x="wd2" y="hd2"/>
                </a:cxn>
                <a:cxn ang="5400000">
                  <a:pos x="wd2" y="hd2"/>
                </a:cxn>
                <a:cxn ang="10800000">
                  <a:pos x="wd2" y="hd2"/>
                </a:cxn>
                <a:cxn ang="16200000">
                  <a:pos x="wd2" y="hd2"/>
                </a:cxn>
              </a:cxnLst>
              <a:rect l="0" t="0" r="r" b="b"/>
              <a:pathLst>
                <a:path w="18871" h="20029" extrusionOk="0">
                  <a:moveTo>
                    <a:pt x="16909" y="15120"/>
                  </a:moveTo>
                  <a:cubicBezTo>
                    <a:pt x="13309" y="17280"/>
                    <a:pt x="9709" y="21600"/>
                    <a:pt x="4309" y="19440"/>
                  </a:cubicBezTo>
                  <a:cubicBezTo>
                    <a:pt x="-1091" y="15120"/>
                    <a:pt x="-1091" y="8640"/>
                    <a:pt x="2509" y="4320"/>
                  </a:cubicBezTo>
                  <a:cubicBezTo>
                    <a:pt x="4309" y="0"/>
                    <a:pt x="11509" y="0"/>
                    <a:pt x="15109" y="0"/>
                  </a:cubicBezTo>
                  <a:cubicBezTo>
                    <a:pt x="18709" y="0"/>
                    <a:pt x="20509" y="10800"/>
                    <a:pt x="16909" y="15120"/>
                  </a:cubicBezTo>
                  <a:cubicBezTo>
                    <a:pt x="15109" y="17280"/>
                    <a:pt x="20509" y="12960"/>
                    <a:pt x="16909" y="151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5" name="Shape 1974">
              <a:extLst>
                <a:ext uri="{FF2B5EF4-FFF2-40B4-BE49-F238E27FC236}">
                  <a16:creationId xmlns:a16="http://schemas.microsoft.com/office/drawing/2014/main" id="{5CCBF5AE-E763-B146-D6C3-8A81B9B2C615}"/>
                </a:ext>
              </a:extLst>
            </p:cNvPr>
            <p:cNvSpPr/>
            <p:nvPr/>
          </p:nvSpPr>
          <p:spPr>
            <a:xfrm>
              <a:off x="2906600" y="991365"/>
              <a:ext cx="30208" cy="24729"/>
            </a:xfrm>
            <a:custGeom>
              <a:avLst/>
              <a:gdLst/>
              <a:ahLst/>
              <a:cxnLst>
                <a:cxn ang="0">
                  <a:pos x="wd2" y="hd2"/>
                </a:cxn>
                <a:cxn ang="5400000">
                  <a:pos x="wd2" y="hd2"/>
                </a:cxn>
                <a:cxn ang="10800000">
                  <a:pos x="wd2" y="hd2"/>
                </a:cxn>
                <a:cxn ang="16200000">
                  <a:pos x="wd2" y="hd2"/>
                </a:cxn>
              </a:cxnLst>
              <a:rect l="0" t="0" r="r" b="b"/>
              <a:pathLst>
                <a:path w="14516" h="21600" extrusionOk="0">
                  <a:moveTo>
                    <a:pt x="491" y="21600"/>
                  </a:moveTo>
                  <a:cubicBezTo>
                    <a:pt x="-2595" y="21600"/>
                    <a:pt x="9748" y="0"/>
                    <a:pt x="12834" y="0"/>
                  </a:cubicBezTo>
                  <a:cubicBezTo>
                    <a:pt x="19005" y="5400"/>
                    <a:pt x="6662" y="21600"/>
                    <a:pt x="491"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6" name="Shape 1975">
              <a:extLst>
                <a:ext uri="{FF2B5EF4-FFF2-40B4-BE49-F238E27FC236}">
                  <a16:creationId xmlns:a16="http://schemas.microsoft.com/office/drawing/2014/main" id="{29D75297-2366-5444-512A-2F203656788C}"/>
                </a:ext>
              </a:extLst>
            </p:cNvPr>
            <p:cNvSpPr/>
            <p:nvPr/>
          </p:nvSpPr>
          <p:spPr>
            <a:xfrm>
              <a:off x="2973868" y="989988"/>
              <a:ext cx="19623" cy="14864"/>
            </a:xfrm>
            <a:custGeom>
              <a:avLst/>
              <a:gdLst/>
              <a:ahLst/>
              <a:cxnLst>
                <a:cxn ang="0">
                  <a:pos x="wd2" y="hd2"/>
                </a:cxn>
                <a:cxn ang="5400000">
                  <a:pos x="wd2" y="hd2"/>
                </a:cxn>
                <a:cxn ang="10800000">
                  <a:pos x="wd2" y="hd2"/>
                </a:cxn>
                <a:cxn ang="16200000">
                  <a:pos x="wd2" y="hd2"/>
                </a:cxn>
              </a:cxnLst>
              <a:rect l="0" t="0" r="r" b="b"/>
              <a:pathLst>
                <a:path w="10478" h="15869" extrusionOk="0">
                  <a:moveTo>
                    <a:pt x="3200" y="15869"/>
                  </a:moveTo>
                  <a:cubicBezTo>
                    <a:pt x="3200" y="15869"/>
                    <a:pt x="-4000" y="1469"/>
                    <a:pt x="3200" y="1469"/>
                  </a:cubicBezTo>
                  <a:cubicBezTo>
                    <a:pt x="6800" y="-5731"/>
                    <a:pt x="17600" y="15869"/>
                    <a:pt x="3200" y="1586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7" name="Shape 1976">
              <a:extLst>
                <a:ext uri="{FF2B5EF4-FFF2-40B4-BE49-F238E27FC236}">
                  <a16:creationId xmlns:a16="http://schemas.microsoft.com/office/drawing/2014/main" id="{259157CF-2513-23E9-43C1-445B62B15985}"/>
                </a:ext>
              </a:extLst>
            </p:cNvPr>
            <p:cNvSpPr/>
            <p:nvPr/>
          </p:nvSpPr>
          <p:spPr>
            <a:xfrm>
              <a:off x="2928169" y="971133"/>
              <a:ext cx="26422" cy="9539"/>
            </a:xfrm>
            <a:custGeom>
              <a:avLst/>
              <a:gdLst/>
              <a:ahLst/>
              <a:cxnLst>
                <a:cxn ang="0">
                  <a:pos x="wd2" y="hd2"/>
                </a:cxn>
                <a:cxn ang="5400000">
                  <a:pos x="wd2" y="hd2"/>
                </a:cxn>
                <a:cxn ang="10800000">
                  <a:pos x="wd2" y="hd2"/>
                </a:cxn>
                <a:cxn ang="16200000">
                  <a:pos x="wd2" y="hd2"/>
                </a:cxn>
              </a:cxnLst>
              <a:rect l="0" t="0" r="r" b="b"/>
              <a:pathLst>
                <a:path w="18138" h="15274" extrusionOk="0">
                  <a:moveTo>
                    <a:pt x="0" y="10800"/>
                  </a:moveTo>
                  <a:cubicBezTo>
                    <a:pt x="8640" y="21600"/>
                    <a:pt x="21600" y="10800"/>
                    <a:pt x="17280" y="0"/>
                  </a:cubicBezTo>
                  <a:cubicBezTo>
                    <a:pt x="8640" y="0"/>
                    <a:pt x="0" y="10800"/>
                    <a:pt x="0"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8" name="Shape 1977">
              <a:extLst>
                <a:ext uri="{FF2B5EF4-FFF2-40B4-BE49-F238E27FC236}">
                  <a16:creationId xmlns:a16="http://schemas.microsoft.com/office/drawing/2014/main" id="{E92DD3B8-B0EA-405B-26D4-9BF0511326B4}"/>
                </a:ext>
              </a:extLst>
            </p:cNvPr>
            <p:cNvSpPr/>
            <p:nvPr/>
          </p:nvSpPr>
          <p:spPr>
            <a:xfrm>
              <a:off x="2854879" y="724213"/>
              <a:ext cx="160180" cy="63659"/>
            </a:xfrm>
            <a:custGeom>
              <a:avLst/>
              <a:gdLst/>
              <a:ahLst/>
              <a:cxnLst>
                <a:cxn ang="0">
                  <a:pos x="wd2" y="hd2"/>
                </a:cxn>
                <a:cxn ang="5400000">
                  <a:pos x="wd2" y="hd2"/>
                </a:cxn>
                <a:cxn ang="10800000">
                  <a:pos x="wd2" y="hd2"/>
                </a:cxn>
                <a:cxn ang="16200000">
                  <a:pos x="wd2" y="hd2"/>
                </a:cxn>
              </a:cxnLst>
              <a:rect l="0" t="0" r="r" b="b"/>
              <a:pathLst>
                <a:path w="19993" h="18535" extrusionOk="0">
                  <a:moveTo>
                    <a:pt x="19818" y="16259"/>
                  </a:moveTo>
                  <a:cubicBezTo>
                    <a:pt x="17326" y="16259"/>
                    <a:pt x="15664" y="14295"/>
                    <a:pt x="14003" y="14295"/>
                  </a:cubicBezTo>
                  <a:cubicBezTo>
                    <a:pt x="11511" y="14295"/>
                    <a:pt x="9849" y="18222"/>
                    <a:pt x="7357" y="18222"/>
                  </a:cubicBezTo>
                  <a:cubicBezTo>
                    <a:pt x="4864" y="20186"/>
                    <a:pt x="4034" y="12331"/>
                    <a:pt x="1541" y="10368"/>
                  </a:cubicBezTo>
                  <a:cubicBezTo>
                    <a:pt x="711" y="8404"/>
                    <a:pt x="-951" y="4477"/>
                    <a:pt x="711" y="550"/>
                  </a:cubicBezTo>
                  <a:cubicBezTo>
                    <a:pt x="1541" y="-1414"/>
                    <a:pt x="4864" y="2513"/>
                    <a:pt x="5695" y="2513"/>
                  </a:cubicBezTo>
                  <a:cubicBezTo>
                    <a:pt x="8187" y="4477"/>
                    <a:pt x="10680" y="550"/>
                    <a:pt x="13172" y="2513"/>
                  </a:cubicBezTo>
                  <a:cubicBezTo>
                    <a:pt x="14834" y="2513"/>
                    <a:pt x="15664" y="6441"/>
                    <a:pt x="17326" y="8404"/>
                  </a:cubicBezTo>
                  <a:cubicBezTo>
                    <a:pt x="17326" y="10368"/>
                    <a:pt x="19818" y="16259"/>
                    <a:pt x="19818" y="16259"/>
                  </a:cubicBezTo>
                  <a:cubicBezTo>
                    <a:pt x="18157" y="16259"/>
                    <a:pt x="20649" y="16259"/>
                    <a:pt x="19818" y="1625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9" name="Shape 1978">
              <a:extLst>
                <a:ext uri="{FF2B5EF4-FFF2-40B4-BE49-F238E27FC236}">
                  <a16:creationId xmlns:a16="http://schemas.microsoft.com/office/drawing/2014/main" id="{4FBCB99D-D932-7247-43B1-C666490672A2}"/>
                </a:ext>
              </a:extLst>
            </p:cNvPr>
            <p:cNvSpPr/>
            <p:nvPr/>
          </p:nvSpPr>
          <p:spPr>
            <a:xfrm>
              <a:off x="1298049" y="1915291"/>
              <a:ext cx="173764" cy="111527"/>
            </a:xfrm>
            <a:custGeom>
              <a:avLst/>
              <a:gdLst/>
              <a:ahLst/>
              <a:cxnLst>
                <a:cxn ang="0">
                  <a:pos x="wd2" y="hd2"/>
                </a:cxn>
                <a:cxn ang="5400000">
                  <a:pos x="wd2" y="hd2"/>
                </a:cxn>
                <a:cxn ang="10800000">
                  <a:pos x="wd2" y="hd2"/>
                </a:cxn>
                <a:cxn ang="16200000">
                  <a:pos x="wd2" y="hd2"/>
                </a:cxn>
              </a:cxnLst>
              <a:rect l="0" t="0" r="r" b="b"/>
              <a:pathLst>
                <a:path w="19648" h="19136" extrusionOk="0">
                  <a:moveTo>
                    <a:pt x="19432" y="18189"/>
                  </a:moveTo>
                  <a:cubicBezTo>
                    <a:pt x="18688" y="17053"/>
                    <a:pt x="17943" y="14779"/>
                    <a:pt x="17198" y="13642"/>
                  </a:cubicBezTo>
                  <a:cubicBezTo>
                    <a:pt x="16453" y="11368"/>
                    <a:pt x="14963" y="11368"/>
                    <a:pt x="13474" y="11368"/>
                  </a:cubicBezTo>
                  <a:cubicBezTo>
                    <a:pt x="11984" y="9095"/>
                    <a:pt x="11984" y="4547"/>
                    <a:pt x="9750" y="3411"/>
                  </a:cubicBezTo>
                  <a:cubicBezTo>
                    <a:pt x="9005" y="3411"/>
                    <a:pt x="6770" y="3411"/>
                    <a:pt x="5281" y="2274"/>
                  </a:cubicBezTo>
                  <a:cubicBezTo>
                    <a:pt x="4536" y="1137"/>
                    <a:pt x="3046" y="0"/>
                    <a:pt x="812" y="0"/>
                  </a:cubicBezTo>
                  <a:cubicBezTo>
                    <a:pt x="-678" y="0"/>
                    <a:pt x="67" y="2274"/>
                    <a:pt x="1556" y="2274"/>
                  </a:cubicBezTo>
                  <a:cubicBezTo>
                    <a:pt x="2301" y="2274"/>
                    <a:pt x="2301" y="2274"/>
                    <a:pt x="3046" y="3411"/>
                  </a:cubicBezTo>
                  <a:cubicBezTo>
                    <a:pt x="3046" y="3411"/>
                    <a:pt x="3791" y="4547"/>
                    <a:pt x="3791" y="4547"/>
                  </a:cubicBezTo>
                  <a:cubicBezTo>
                    <a:pt x="3046" y="4547"/>
                    <a:pt x="2301" y="3411"/>
                    <a:pt x="2301" y="2274"/>
                  </a:cubicBezTo>
                  <a:cubicBezTo>
                    <a:pt x="2301" y="2274"/>
                    <a:pt x="2301" y="4547"/>
                    <a:pt x="2301" y="4547"/>
                  </a:cubicBezTo>
                  <a:cubicBezTo>
                    <a:pt x="2301" y="6821"/>
                    <a:pt x="3791" y="6821"/>
                    <a:pt x="4536" y="6821"/>
                  </a:cubicBezTo>
                  <a:cubicBezTo>
                    <a:pt x="4536" y="6821"/>
                    <a:pt x="8260" y="10232"/>
                    <a:pt x="8260" y="10232"/>
                  </a:cubicBezTo>
                  <a:cubicBezTo>
                    <a:pt x="8260" y="10232"/>
                    <a:pt x="7515" y="10232"/>
                    <a:pt x="6770" y="11368"/>
                  </a:cubicBezTo>
                  <a:cubicBezTo>
                    <a:pt x="6770" y="11368"/>
                    <a:pt x="9750" y="11368"/>
                    <a:pt x="9750" y="11368"/>
                  </a:cubicBezTo>
                  <a:cubicBezTo>
                    <a:pt x="11239" y="12505"/>
                    <a:pt x="9750" y="13642"/>
                    <a:pt x="9750" y="13642"/>
                  </a:cubicBezTo>
                  <a:cubicBezTo>
                    <a:pt x="10494" y="14779"/>
                    <a:pt x="12729" y="13642"/>
                    <a:pt x="13474" y="13642"/>
                  </a:cubicBezTo>
                  <a:cubicBezTo>
                    <a:pt x="9750" y="14779"/>
                    <a:pt x="20922" y="21600"/>
                    <a:pt x="19432" y="18189"/>
                  </a:cubicBezTo>
                  <a:cubicBezTo>
                    <a:pt x="18688" y="17053"/>
                    <a:pt x="20177" y="20463"/>
                    <a:pt x="19432" y="1818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0" name="Shape 1979">
              <a:extLst>
                <a:ext uri="{FF2B5EF4-FFF2-40B4-BE49-F238E27FC236}">
                  <a16:creationId xmlns:a16="http://schemas.microsoft.com/office/drawing/2014/main" id="{6281297A-24B4-D448-F1F3-EEE42C85C01E}"/>
                </a:ext>
              </a:extLst>
            </p:cNvPr>
            <p:cNvSpPr/>
            <p:nvPr/>
          </p:nvSpPr>
          <p:spPr>
            <a:xfrm>
              <a:off x="1146260" y="1769171"/>
              <a:ext cx="70685" cy="92169"/>
            </a:xfrm>
            <a:custGeom>
              <a:avLst/>
              <a:gdLst/>
              <a:ahLst/>
              <a:cxnLst>
                <a:cxn ang="0">
                  <a:pos x="wd2" y="hd2"/>
                </a:cxn>
                <a:cxn ang="5400000">
                  <a:pos x="wd2" y="hd2"/>
                </a:cxn>
                <a:cxn ang="10800000">
                  <a:pos x="wd2" y="hd2"/>
                </a:cxn>
                <a:cxn ang="16200000">
                  <a:pos x="wd2" y="hd2"/>
                </a:cxn>
              </a:cxnLst>
              <a:rect l="0" t="0" r="r" b="b"/>
              <a:pathLst>
                <a:path w="17878" h="21600" extrusionOk="0">
                  <a:moveTo>
                    <a:pt x="17068" y="21600"/>
                  </a:moveTo>
                  <a:cubicBezTo>
                    <a:pt x="17068" y="21600"/>
                    <a:pt x="17068" y="21600"/>
                    <a:pt x="17068" y="21600"/>
                  </a:cubicBezTo>
                  <a:cubicBezTo>
                    <a:pt x="17068" y="20057"/>
                    <a:pt x="13745" y="16971"/>
                    <a:pt x="12083" y="16971"/>
                  </a:cubicBezTo>
                  <a:cubicBezTo>
                    <a:pt x="10422" y="13886"/>
                    <a:pt x="12083" y="12343"/>
                    <a:pt x="10422" y="10800"/>
                  </a:cubicBezTo>
                  <a:cubicBezTo>
                    <a:pt x="8760" y="9257"/>
                    <a:pt x="8760" y="9257"/>
                    <a:pt x="8760" y="7714"/>
                  </a:cubicBezTo>
                  <a:cubicBezTo>
                    <a:pt x="7099" y="4629"/>
                    <a:pt x="8760" y="4629"/>
                    <a:pt x="10422" y="3086"/>
                  </a:cubicBezTo>
                  <a:cubicBezTo>
                    <a:pt x="13745" y="0"/>
                    <a:pt x="3776" y="4629"/>
                    <a:pt x="5437" y="6171"/>
                  </a:cubicBezTo>
                  <a:cubicBezTo>
                    <a:pt x="3776" y="4629"/>
                    <a:pt x="8760" y="1543"/>
                    <a:pt x="8760" y="1543"/>
                  </a:cubicBezTo>
                  <a:cubicBezTo>
                    <a:pt x="7099" y="0"/>
                    <a:pt x="453" y="0"/>
                    <a:pt x="453" y="0"/>
                  </a:cubicBezTo>
                  <a:cubicBezTo>
                    <a:pt x="-1209" y="1543"/>
                    <a:pt x="2114" y="7714"/>
                    <a:pt x="3776" y="9257"/>
                  </a:cubicBezTo>
                  <a:cubicBezTo>
                    <a:pt x="7099" y="12343"/>
                    <a:pt x="12083" y="20057"/>
                    <a:pt x="17068" y="21600"/>
                  </a:cubicBezTo>
                  <a:cubicBezTo>
                    <a:pt x="20391" y="21600"/>
                    <a:pt x="12083" y="20057"/>
                    <a:pt x="17068"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1" name="Shape 1980">
              <a:extLst>
                <a:ext uri="{FF2B5EF4-FFF2-40B4-BE49-F238E27FC236}">
                  <a16:creationId xmlns:a16="http://schemas.microsoft.com/office/drawing/2014/main" id="{31F8AB84-639D-DED4-80AA-2E5667CC4DEA}"/>
                </a:ext>
              </a:extLst>
            </p:cNvPr>
            <p:cNvSpPr/>
            <p:nvPr/>
          </p:nvSpPr>
          <p:spPr>
            <a:xfrm>
              <a:off x="1155939" y="1668882"/>
              <a:ext cx="15306" cy="16812"/>
            </a:xfrm>
            <a:custGeom>
              <a:avLst/>
              <a:gdLst/>
              <a:ahLst/>
              <a:cxnLst>
                <a:cxn ang="0">
                  <a:pos x="wd2" y="hd2"/>
                </a:cxn>
                <a:cxn ang="5400000">
                  <a:pos x="wd2" y="hd2"/>
                </a:cxn>
                <a:cxn ang="10800000">
                  <a:pos x="wd2" y="hd2"/>
                </a:cxn>
                <a:cxn ang="16200000">
                  <a:pos x="wd2" y="hd2"/>
                </a:cxn>
              </a:cxnLst>
              <a:rect l="0" t="0" r="r" b="b"/>
              <a:pathLst>
                <a:path w="12258" h="13461" extrusionOk="0">
                  <a:moveTo>
                    <a:pt x="10021" y="11902"/>
                  </a:moveTo>
                  <a:cubicBezTo>
                    <a:pt x="4621" y="6502"/>
                    <a:pt x="-6179" y="6502"/>
                    <a:pt x="4621" y="1102"/>
                  </a:cubicBezTo>
                  <a:cubicBezTo>
                    <a:pt x="10021" y="-4298"/>
                    <a:pt x="15421" y="11902"/>
                    <a:pt x="10021" y="11902"/>
                  </a:cubicBezTo>
                  <a:cubicBezTo>
                    <a:pt x="10021" y="11902"/>
                    <a:pt x="10021" y="11902"/>
                    <a:pt x="10021" y="11902"/>
                  </a:cubicBezTo>
                  <a:cubicBezTo>
                    <a:pt x="4621" y="6502"/>
                    <a:pt x="15421" y="17302"/>
                    <a:pt x="10021" y="119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2" name="Shape 1981">
              <a:extLst>
                <a:ext uri="{FF2B5EF4-FFF2-40B4-BE49-F238E27FC236}">
                  <a16:creationId xmlns:a16="http://schemas.microsoft.com/office/drawing/2014/main" id="{15B2B592-5D21-2EB2-0DD0-34B092518CE8}"/>
                </a:ext>
              </a:extLst>
            </p:cNvPr>
            <p:cNvSpPr/>
            <p:nvPr/>
          </p:nvSpPr>
          <p:spPr>
            <a:xfrm>
              <a:off x="1114511" y="1636630"/>
              <a:ext cx="35658" cy="33630"/>
            </a:xfrm>
            <a:custGeom>
              <a:avLst/>
              <a:gdLst/>
              <a:ahLst/>
              <a:cxnLst>
                <a:cxn ang="0">
                  <a:pos x="wd2" y="hd2"/>
                </a:cxn>
                <a:cxn ang="5400000">
                  <a:pos x="wd2" y="hd2"/>
                </a:cxn>
                <a:cxn ang="10800000">
                  <a:pos x="wd2" y="hd2"/>
                </a:cxn>
                <a:cxn ang="16200000">
                  <a:pos x="wd2" y="hd2"/>
                </a:cxn>
              </a:cxnLst>
              <a:rect l="0" t="0" r="r" b="b"/>
              <a:pathLst>
                <a:path w="19039" h="19008" extrusionOk="0">
                  <a:moveTo>
                    <a:pt x="18000" y="4608"/>
                  </a:moveTo>
                  <a:cubicBezTo>
                    <a:pt x="14400" y="4608"/>
                    <a:pt x="3600" y="-2592"/>
                    <a:pt x="0" y="1008"/>
                  </a:cubicBezTo>
                  <a:cubicBezTo>
                    <a:pt x="3600" y="-2592"/>
                    <a:pt x="7200" y="11808"/>
                    <a:pt x="3600" y="8208"/>
                  </a:cubicBezTo>
                  <a:cubicBezTo>
                    <a:pt x="3600" y="11808"/>
                    <a:pt x="3600" y="15408"/>
                    <a:pt x="3600" y="19008"/>
                  </a:cubicBezTo>
                  <a:cubicBezTo>
                    <a:pt x="3600" y="15408"/>
                    <a:pt x="18000" y="11808"/>
                    <a:pt x="18000" y="15408"/>
                  </a:cubicBezTo>
                  <a:cubicBezTo>
                    <a:pt x="18000" y="11808"/>
                    <a:pt x="14400" y="11808"/>
                    <a:pt x="10800" y="8208"/>
                  </a:cubicBezTo>
                  <a:cubicBezTo>
                    <a:pt x="14400" y="11808"/>
                    <a:pt x="21600" y="4608"/>
                    <a:pt x="18000" y="4608"/>
                  </a:cubicBezTo>
                  <a:cubicBezTo>
                    <a:pt x="14400" y="4608"/>
                    <a:pt x="21600" y="4608"/>
                    <a:pt x="18000" y="46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3" name="Shape 1982">
              <a:extLst>
                <a:ext uri="{FF2B5EF4-FFF2-40B4-BE49-F238E27FC236}">
                  <a16:creationId xmlns:a16="http://schemas.microsoft.com/office/drawing/2014/main" id="{D5255863-84EE-34FD-3593-3FE7D244AAFB}"/>
                </a:ext>
              </a:extLst>
            </p:cNvPr>
            <p:cNvSpPr/>
            <p:nvPr/>
          </p:nvSpPr>
          <p:spPr>
            <a:xfrm>
              <a:off x="1103400" y="1643283"/>
              <a:ext cx="13221" cy="35096"/>
            </a:xfrm>
            <a:custGeom>
              <a:avLst/>
              <a:gdLst/>
              <a:ahLst/>
              <a:cxnLst>
                <a:cxn ang="0">
                  <a:pos x="wd2" y="hd2"/>
                </a:cxn>
                <a:cxn ang="5400000">
                  <a:pos x="wd2" y="hd2"/>
                </a:cxn>
                <a:cxn ang="10800000">
                  <a:pos x="wd2" y="hd2"/>
                </a:cxn>
                <a:cxn ang="16200000">
                  <a:pos x="wd2" y="hd2"/>
                </a:cxn>
              </a:cxnLst>
              <a:rect l="0" t="0" r="r" b="b"/>
              <a:pathLst>
                <a:path w="11550" h="18735" extrusionOk="0">
                  <a:moveTo>
                    <a:pt x="4800" y="0"/>
                  </a:moveTo>
                  <a:cubicBezTo>
                    <a:pt x="-6000" y="0"/>
                    <a:pt x="4800" y="3600"/>
                    <a:pt x="4800" y="7200"/>
                  </a:cubicBezTo>
                  <a:cubicBezTo>
                    <a:pt x="4800" y="10800"/>
                    <a:pt x="-600" y="18000"/>
                    <a:pt x="4800" y="18000"/>
                  </a:cubicBezTo>
                  <a:cubicBezTo>
                    <a:pt x="10200" y="21600"/>
                    <a:pt x="10200" y="10800"/>
                    <a:pt x="10200" y="10800"/>
                  </a:cubicBezTo>
                  <a:cubicBezTo>
                    <a:pt x="10200" y="7200"/>
                    <a:pt x="15600" y="0"/>
                    <a:pt x="4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4" name="Shape 1983">
              <a:extLst>
                <a:ext uri="{FF2B5EF4-FFF2-40B4-BE49-F238E27FC236}">
                  <a16:creationId xmlns:a16="http://schemas.microsoft.com/office/drawing/2014/main" id="{D029FFF2-A786-F211-5AE9-7410A72DCF21}"/>
                </a:ext>
              </a:extLst>
            </p:cNvPr>
            <p:cNvSpPr/>
            <p:nvPr/>
          </p:nvSpPr>
          <p:spPr>
            <a:xfrm>
              <a:off x="1061719" y="1618416"/>
              <a:ext cx="28071" cy="53934"/>
            </a:xfrm>
            <a:custGeom>
              <a:avLst/>
              <a:gdLst/>
              <a:ahLst/>
              <a:cxnLst>
                <a:cxn ang="0">
                  <a:pos x="wd2" y="hd2"/>
                </a:cxn>
                <a:cxn ang="5400000">
                  <a:pos x="wd2" y="hd2"/>
                </a:cxn>
                <a:cxn ang="10800000">
                  <a:pos x="wd2" y="hd2"/>
                </a:cxn>
                <a:cxn ang="16200000">
                  <a:pos x="wd2" y="hd2"/>
                </a:cxn>
              </a:cxnLst>
              <a:rect l="0" t="0" r="r" b="b"/>
              <a:pathLst>
                <a:path w="17986" h="16195" extrusionOk="0">
                  <a:moveTo>
                    <a:pt x="13666" y="15627"/>
                  </a:moveTo>
                  <a:cubicBezTo>
                    <a:pt x="13666" y="13664"/>
                    <a:pt x="5026" y="7773"/>
                    <a:pt x="5026" y="7773"/>
                  </a:cubicBezTo>
                  <a:cubicBezTo>
                    <a:pt x="13666" y="3846"/>
                    <a:pt x="-3614" y="3846"/>
                    <a:pt x="706" y="1882"/>
                  </a:cubicBezTo>
                  <a:cubicBezTo>
                    <a:pt x="5026" y="-4009"/>
                    <a:pt x="17986" y="5809"/>
                    <a:pt x="17986" y="5809"/>
                  </a:cubicBezTo>
                  <a:cubicBezTo>
                    <a:pt x="17986" y="7773"/>
                    <a:pt x="17986" y="17591"/>
                    <a:pt x="13666" y="15627"/>
                  </a:cubicBezTo>
                  <a:cubicBezTo>
                    <a:pt x="13666" y="13664"/>
                    <a:pt x="17986" y="17591"/>
                    <a:pt x="13666" y="1562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5" name="Shape 1984">
              <a:extLst>
                <a:ext uri="{FF2B5EF4-FFF2-40B4-BE49-F238E27FC236}">
                  <a16:creationId xmlns:a16="http://schemas.microsoft.com/office/drawing/2014/main" id="{5E1DAEDC-550B-0CD1-6365-7F92917FA903}"/>
                </a:ext>
              </a:extLst>
            </p:cNvPr>
            <p:cNvSpPr/>
            <p:nvPr/>
          </p:nvSpPr>
          <p:spPr>
            <a:xfrm>
              <a:off x="1029110" y="1582041"/>
              <a:ext cx="47196" cy="38402"/>
            </a:xfrm>
            <a:custGeom>
              <a:avLst/>
              <a:gdLst/>
              <a:ahLst/>
              <a:cxnLst>
                <a:cxn ang="0">
                  <a:pos x="wd2" y="hd2"/>
                </a:cxn>
                <a:cxn ang="5400000">
                  <a:pos x="wd2" y="hd2"/>
                </a:cxn>
                <a:cxn ang="10800000">
                  <a:pos x="wd2" y="hd2"/>
                </a:cxn>
                <a:cxn ang="16200000">
                  <a:pos x="wd2" y="hd2"/>
                </a:cxn>
              </a:cxnLst>
              <a:rect l="0" t="0" r="r" b="b"/>
              <a:pathLst>
                <a:path w="21600" h="17571" extrusionOk="0">
                  <a:moveTo>
                    <a:pt x="12343" y="16706"/>
                  </a:moveTo>
                  <a:cubicBezTo>
                    <a:pt x="6171" y="10535"/>
                    <a:pt x="3086" y="10535"/>
                    <a:pt x="6171" y="7449"/>
                  </a:cubicBezTo>
                  <a:cubicBezTo>
                    <a:pt x="6171" y="4363"/>
                    <a:pt x="0" y="4363"/>
                    <a:pt x="0" y="4363"/>
                  </a:cubicBezTo>
                  <a:cubicBezTo>
                    <a:pt x="0" y="1278"/>
                    <a:pt x="12343" y="-1808"/>
                    <a:pt x="15429" y="1278"/>
                  </a:cubicBezTo>
                  <a:cubicBezTo>
                    <a:pt x="15429" y="1278"/>
                    <a:pt x="9257" y="4363"/>
                    <a:pt x="12343" y="7449"/>
                  </a:cubicBezTo>
                  <a:cubicBezTo>
                    <a:pt x="15429" y="7449"/>
                    <a:pt x="21600" y="10535"/>
                    <a:pt x="21600" y="10535"/>
                  </a:cubicBezTo>
                  <a:cubicBezTo>
                    <a:pt x="21600" y="13621"/>
                    <a:pt x="15429" y="13621"/>
                    <a:pt x="15429" y="13621"/>
                  </a:cubicBezTo>
                  <a:cubicBezTo>
                    <a:pt x="12343" y="13621"/>
                    <a:pt x="15429" y="19792"/>
                    <a:pt x="12343" y="16706"/>
                  </a:cubicBezTo>
                  <a:cubicBezTo>
                    <a:pt x="6171" y="13621"/>
                    <a:pt x="12343" y="16706"/>
                    <a:pt x="12343" y="1670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6" name="Shape 1985">
              <a:extLst>
                <a:ext uri="{FF2B5EF4-FFF2-40B4-BE49-F238E27FC236}">
                  <a16:creationId xmlns:a16="http://schemas.microsoft.com/office/drawing/2014/main" id="{53C09546-C278-5EDC-11D1-F2B6AF2EC438}"/>
                </a:ext>
              </a:extLst>
            </p:cNvPr>
            <p:cNvSpPr/>
            <p:nvPr/>
          </p:nvSpPr>
          <p:spPr>
            <a:xfrm>
              <a:off x="1086746" y="1583476"/>
              <a:ext cx="29117" cy="50514"/>
            </a:xfrm>
            <a:custGeom>
              <a:avLst/>
              <a:gdLst/>
              <a:ahLst/>
              <a:cxnLst>
                <a:cxn ang="0">
                  <a:pos x="wd2" y="hd2"/>
                </a:cxn>
                <a:cxn ang="5400000">
                  <a:pos x="wd2" y="hd2"/>
                </a:cxn>
                <a:cxn ang="10800000">
                  <a:pos x="wd2" y="hd2"/>
                </a:cxn>
                <a:cxn ang="16200000">
                  <a:pos x="wd2" y="hd2"/>
                </a:cxn>
              </a:cxnLst>
              <a:rect l="0" t="0" r="r" b="b"/>
              <a:pathLst>
                <a:path w="13992" h="17976" extrusionOk="0">
                  <a:moveTo>
                    <a:pt x="4239" y="17283"/>
                  </a:moveTo>
                  <a:cubicBezTo>
                    <a:pt x="7325" y="14883"/>
                    <a:pt x="10411" y="14883"/>
                    <a:pt x="7325" y="12483"/>
                  </a:cubicBezTo>
                  <a:cubicBezTo>
                    <a:pt x="7325" y="10083"/>
                    <a:pt x="1153" y="10083"/>
                    <a:pt x="1153" y="7683"/>
                  </a:cubicBezTo>
                  <a:cubicBezTo>
                    <a:pt x="4239" y="5283"/>
                    <a:pt x="-5018" y="-1917"/>
                    <a:pt x="4239" y="483"/>
                  </a:cubicBezTo>
                  <a:cubicBezTo>
                    <a:pt x="13496" y="2883"/>
                    <a:pt x="13496" y="5283"/>
                    <a:pt x="13496" y="10083"/>
                  </a:cubicBezTo>
                  <a:cubicBezTo>
                    <a:pt x="16582" y="14883"/>
                    <a:pt x="4239" y="17283"/>
                    <a:pt x="4239" y="17283"/>
                  </a:cubicBezTo>
                  <a:cubicBezTo>
                    <a:pt x="4239" y="17283"/>
                    <a:pt x="4239" y="17283"/>
                    <a:pt x="4239" y="17283"/>
                  </a:cubicBezTo>
                  <a:cubicBezTo>
                    <a:pt x="7325" y="14883"/>
                    <a:pt x="1153" y="19683"/>
                    <a:pt x="4239" y="1728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7" name="Shape 1986">
              <a:extLst>
                <a:ext uri="{FF2B5EF4-FFF2-40B4-BE49-F238E27FC236}">
                  <a16:creationId xmlns:a16="http://schemas.microsoft.com/office/drawing/2014/main" id="{AC92F68B-C16C-9D9B-A45F-29B480138AF2}"/>
                </a:ext>
              </a:extLst>
            </p:cNvPr>
            <p:cNvSpPr/>
            <p:nvPr/>
          </p:nvSpPr>
          <p:spPr>
            <a:xfrm>
              <a:off x="1062819" y="1591578"/>
              <a:ext cx="20227" cy="6745"/>
            </a:xfrm>
            <a:custGeom>
              <a:avLst/>
              <a:gdLst/>
              <a:ahLst/>
              <a:cxnLst>
                <a:cxn ang="0">
                  <a:pos x="wd2" y="hd2"/>
                </a:cxn>
                <a:cxn ang="5400000">
                  <a:pos x="wd2" y="hd2"/>
                </a:cxn>
                <a:cxn ang="10800000">
                  <a:pos x="wd2" y="hd2"/>
                </a:cxn>
                <a:cxn ang="16200000">
                  <a:pos x="wd2" y="hd2"/>
                </a:cxn>
              </a:cxnLst>
              <a:rect l="0" t="0" r="r" b="b"/>
              <a:pathLst>
                <a:path w="21600" h="21600" extrusionOk="0">
                  <a:moveTo>
                    <a:pt x="14400" y="21600"/>
                  </a:moveTo>
                  <a:cubicBezTo>
                    <a:pt x="7200" y="21600"/>
                    <a:pt x="0" y="21600"/>
                    <a:pt x="0" y="0"/>
                  </a:cubicBezTo>
                  <a:cubicBezTo>
                    <a:pt x="0" y="0"/>
                    <a:pt x="14400" y="0"/>
                    <a:pt x="21600" y="0"/>
                  </a:cubicBezTo>
                  <a:cubicBezTo>
                    <a:pt x="21600" y="0"/>
                    <a:pt x="14400" y="21600"/>
                    <a:pt x="144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8" name="Shape 1987">
              <a:extLst>
                <a:ext uri="{FF2B5EF4-FFF2-40B4-BE49-F238E27FC236}">
                  <a16:creationId xmlns:a16="http://schemas.microsoft.com/office/drawing/2014/main" id="{0D5B31F6-0018-AA2D-3E4F-1FD0A1BEC163}"/>
                </a:ext>
              </a:extLst>
            </p:cNvPr>
            <p:cNvSpPr/>
            <p:nvPr/>
          </p:nvSpPr>
          <p:spPr>
            <a:xfrm>
              <a:off x="430738" y="1601892"/>
              <a:ext cx="81058" cy="36720"/>
            </a:xfrm>
            <a:custGeom>
              <a:avLst/>
              <a:gdLst/>
              <a:ahLst/>
              <a:cxnLst>
                <a:cxn ang="0">
                  <a:pos x="wd2" y="hd2"/>
                </a:cxn>
                <a:cxn ang="5400000">
                  <a:pos x="wd2" y="hd2"/>
                </a:cxn>
                <a:cxn ang="10800000">
                  <a:pos x="wd2" y="hd2"/>
                </a:cxn>
                <a:cxn ang="16200000">
                  <a:pos x="wd2" y="hd2"/>
                </a:cxn>
              </a:cxnLst>
              <a:rect l="0" t="0" r="r" b="b"/>
              <a:pathLst>
                <a:path w="19976" h="17641" extrusionOk="0">
                  <a:moveTo>
                    <a:pt x="16200" y="1372"/>
                  </a:moveTo>
                  <a:cubicBezTo>
                    <a:pt x="14539" y="1372"/>
                    <a:pt x="12877" y="1372"/>
                    <a:pt x="11216" y="1372"/>
                  </a:cubicBezTo>
                  <a:cubicBezTo>
                    <a:pt x="9554" y="1372"/>
                    <a:pt x="9554" y="1372"/>
                    <a:pt x="7893" y="1372"/>
                  </a:cubicBezTo>
                  <a:cubicBezTo>
                    <a:pt x="4570" y="4457"/>
                    <a:pt x="6231" y="10629"/>
                    <a:pt x="7893" y="10629"/>
                  </a:cubicBezTo>
                  <a:cubicBezTo>
                    <a:pt x="6231" y="10629"/>
                    <a:pt x="2908" y="1372"/>
                    <a:pt x="1247" y="7543"/>
                  </a:cubicBezTo>
                  <a:cubicBezTo>
                    <a:pt x="-415" y="10629"/>
                    <a:pt x="-415" y="13715"/>
                    <a:pt x="1247" y="16800"/>
                  </a:cubicBezTo>
                  <a:cubicBezTo>
                    <a:pt x="2908" y="19886"/>
                    <a:pt x="16200" y="13715"/>
                    <a:pt x="17862" y="10629"/>
                  </a:cubicBezTo>
                  <a:cubicBezTo>
                    <a:pt x="17862" y="10629"/>
                    <a:pt x="16200" y="7543"/>
                    <a:pt x="14539" y="7543"/>
                  </a:cubicBezTo>
                  <a:cubicBezTo>
                    <a:pt x="16200" y="7543"/>
                    <a:pt x="19523" y="7543"/>
                    <a:pt x="19523" y="7543"/>
                  </a:cubicBezTo>
                  <a:cubicBezTo>
                    <a:pt x="21185" y="4457"/>
                    <a:pt x="17862" y="-1714"/>
                    <a:pt x="16200" y="1372"/>
                  </a:cubicBezTo>
                  <a:cubicBezTo>
                    <a:pt x="14539" y="1372"/>
                    <a:pt x="17862" y="-1714"/>
                    <a:pt x="16200" y="13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9" name="Shape 1988">
              <a:extLst>
                <a:ext uri="{FF2B5EF4-FFF2-40B4-BE49-F238E27FC236}">
                  <a16:creationId xmlns:a16="http://schemas.microsoft.com/office/drawing/2014/main" id="{85967896-DCCB-F291-2AF2-37A3259CD267}"/>
                </a:ext>
              </a:extLst>
            </p:cNvPr>
            <p:cNvSpPr/>
            <p:nvPr/>
          </p:nvSpPr>
          <p:spPr>
            <a:xfrm>
              <a:off x="472354" y="1567570"/>
              <a:ext cx="44347" cy="32700"/>
            </a:xfrm>
            <a:custGeom>
              <a:avLst/>
              <a:gdLst/>
              <a:ahLst/>
              <a:cxnLst>
                <a:cxn ang="0">
                  <a:pos x="wd2" y="hd2"/>
                </a:cxn>
                <a:cxn ang="5400000">
                  <a:pos x="wd2" y="hd2"/>
                </a:cxn>
                <a:cxn ang="10800000">
                  <a:pos x="wd2" y="hd2"/>
                </a:cxn>
                <a:cxn ang="16200000">
                  <a:pos x="wd2" y="hd2"/>
                </a:cxn>
              </a:cxnLst>
              <a:rect l="0" t="0" r="r" b="b"/>
              <a:pathLst>
                <a:path w="17759" h="14962" extrusionOk="0">
                  <a:moveTo>
                    <a:pt x="1559" y="14071"/>
                  </a:moveTo>
                  <a:cubicBezTo>
                    <a:pt x="4259" y="10986"/>
                    <a:pt x="6959" y="10986"/>
                    <a:pt x="9659" y="7900"/>
                  </a:cubicBezTo>
                  <a:cubicBezTo>
                    <a:pt x="12359" y="7900"/>
                    <a:pt x="17759" y="7900"/>
                    <a:pt x="17759" y="7900"/>
                  </a:cubicBezTo>
                  <a:cubicBezTo>
                    <a:pt x="17759" y="7900"/>
                    <a:pt x="15059" y="-4443"/>
                    <a:pt x="9659" y="1728"/>
                  </a:cubicBezTo>
                  <a:cubicBezTo>
                    <a:pt x="9659" y="1728"/>
                    <a:pt x="-1141" y="10986"/>
                    <a:pt x="1559" y="14071"/>
                  </a:cubicBezTo>
                  <a:cubicBezTo>
                    <a:pt x="1559" y="14071"/>
                    <a:pt x="1559" y="14071"/>
                    <a:pt x="1559" y="14071"/>
                  </a:cubicBezTo>
                  <a:cubicBezTo>
                    <a:pt x="6959" y="10986"/>
                    <a:pt x="-3841" y="17157"/>
                    <a:pt x="1559" y="140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0" name="Shape 1989">
              <a:extLst>
                <a:ext uri="{FF2B5EF4-FFF2-40B4-BE49-F238E27FC236}">
                  <a16:creationId xmlns:a16="http://schemas.microsoft.com/office/drawing/2014/main" id="{71016024-9BD7-EB99-2129-AEA9D11B1EA6}"/>
                </a:ext>
              </a:extLst>
            </p:cNvPr>
            <p:cNvSpPr/>
            <p:nvPr/>
          </p:nvSpPr>
          <p:spPr>
            <a:xfrm>
              <a:off x="94903" y="1737697"/>
              <a:ext cx="53082" cy="24730"/>
            </a:xfrm>
            <a:custGeom>
              <a:avLst/>
              <a:gdLst/>
              <a:ahLst/>
              <a:cxnLst>
                <a:cxn ang="0">
                  <a:pos x="wd2" y="hd2"/>
                </a:cxn>
                <a:cxn ang="5400000">
                  <a:pos x="wd2" y="hd2"/>
                </a:cxn>
                <a:cxn ang="10800000">
                  <a:pos x="wd2" y="hd2"/>
                </a:cxn>
                <a:cxn ang="16200000">
                  <a:pos x="wd2" y="hd2"/>
                </a:cxn>
              </a:cxnLst>
              <a:rect l="0" t="0" r="r" b="b"/>
              <a:pathLst>
                <a:path w="17592" h="21600" extrusionOk="0">
                  <a:moveTo>
                    <a:pt x="16968" y="10800"/>
                  </a:moveTo>
                  <a:cubicBezTo>
                    <a:pt x="19128" y="10800"/>
                    <a:pt x="14808" y="5400"/>
                    <a:pt x="16968" y="5400"/>
                  </a:cubicBezTo>
                  <a:cubicBezTo>
                    <a:pt x="14808" y="0"/>
                    <a:pt x="12648" y="0"/>
                    <a:pt x="10488" y="0"/>
                  </a:cubicBezTo>
                  <a:cubicBezTo>
                    <a:pt x="8328" y="5400"/>
                    <a:pt x="4008" y="5400"/>
                    <a:pt x="1848" y="10800"/>
                  </a:cubicBezTo>
                  <a:cubicBezTo>
                    <a:pt x="-2472" y="16200"/>
                    <a:pt x="1848" y="21600"/>
                    <a:pt x="4008" y="21600"/>
                  </a:cubicBezTo>
                  <a:cubicBezTo>
                    <a:pt x="8328" y="21600"/>
                    <a:pt x="12648" y="5400"/>
                    <a:pt x="16968" y="10800"/>
                  </a:cubicBezTo>
                  <a:cubicBezTo>
                    <a:pt x="19128" y="10800"/>
                    <a:pt x="12648" y="5400"/>
                    <a:pt x="16968"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1" name="Shape 1990">
              <a:extLst>
                <a:ext uri="{FF2B5EF4-FFF2-40B4-BE49-F238E27FC236}">
                  <a16:creationId xmlns:a16="http://schemas.microsoft.com/office/drawing/2014/main" id="{80D2CE0F-CD13-09D7-665C-8F2ED2418C16}"/>
                </a:ext>
              </a:extLst>
            </p:cNvPr>
            <p:cNvSpPr/>
            <p:nvPr/>
          </p:nvSpPr>
          <p:spPr>
            <a:xfrm>
              <a:off x="8787" y="1781615"/>
              <a:ext cx="38206" cy="28021"/>
            </a:xfrm>
            <a:custGeom>
              <a:avLst/>
              <a:gdLst/>
              <a:ahLst/>
              <a:cxnLst>
                <a:cxn ang="0">
                  <a:pos x="wd2" y="hd2"/>
                </a:cxn>
                <a:cxn ang="5400000">
                  <a:pos x="wd2" y="hd2"/>
                </a:cxn>
                <a:cxn ang="10800000">
                  <a:pos x="wd2" y="hd2"/>
                </a:cxn>
                <a:cxn ang="16200000">
                  <a:pos x="wd2" y="hd2"/>
                </a:cxn>
              </a:cxnLst>
              <a:rect l="0" t="0" r="r" b="b"/>
              <a:pathLst>
                <a:path w="21600" h="17948" extrusionOk="0">
                  <a:moveTo>
                    <a:pt x="21600" y="4988"/>
                  </a:moveTo>
                  <a:cubicBezTo>
                    <a:pt x="21600" y="-3652"/>
                    <a:pt x="14400" y="668"/>
                    <a:pt x="10800" y="4988"/>
                  </a:cubicBezTo>
                  <a:cubicBezTo>
                    <a:pt x="10800" y="4988"/>
                    <a:pt x="10800" y="9308"/>
                    <a:pt x="10800" y="13628"/>
                  </a:cubicBezTo>
                  <a:cubicBezTo>
                    <a:pt x="7200" y="13628"/>
                    <a:pt x="0" y="17948"/>
                    <a:pt x="0" y="17948"/>
                  </a:cubicBezTo>
                  <a:cubicBezTo>
                    <a:pt x="0" y="17948"/>
                    <a:pt x="21600" y="17948"/>
                    <a:pt x="21600" y="498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2" name="Shape 1991">
              <a:extLst>
                <a:ext uri="{FF2B5EF4-FFF2-40B4-BE49-F238E27FC236}">
                  <a16:creationId xmlns:a16="http://schemas.microsoft.com/office/drawing/2014/main" id="{8A9D35C6-63AF-7110-6BE6-2058C41F9E2E}"/>
                </a:ext>
              </a:extLst>
            </p:cNvPr>
            <p:cNvSpPr/>
            <p:nvPr/>
          </p:nvSpPr>
          <p:spPr>
            <a:xfrm>
              <a:off x="2249451" y="963350"/>
              <a:ext cx="130564" cy="75868"/>
            </a:xfrm>
            <a:custGeom>
              <a:avLst/>
              <a:gdLst/>
              <a:ahLst/>
              <a:cxnLst>
                <a:cxn ang="0">
                  <a:pos x="wd2" y="hd2"/>
                </a:cxn>
                <a:cxn ang="5400000">
                  <a:pos x="wd2" y="hd2"/>
                </a:cxn>
                <a:cxn ang="10800000">
                  <a:pos x="wd2" y="hd2"/>
                </a:cxn>
                <a:cxn ang="16200000">
                  <a:pos x="wd2" y="hd2"/>
                </a:cxn>
              </a:cxnLst>
              <a:rect l="0" t="0" r="r" b="b"/>
              <a:pathLst>
                <a:path w="20571" h="19184" extrusionOk="0">
                  <a:moveTo>
                    <a:pt x="19543" y="13511"/>
                  </a:moveTo>
                  <a:cubicBezTo>
                    <a:pt x="15429" y="15172"/>
                    <a:pt x="19543" y="11849"/>
                    <a:pt x="18514" y="10188"/>
                  </a:cubicBezTo>
                  <a:cubicBezTo>
                    <a:pt x="17486" y="10188"/>
                    <a:pt x="15429" y="5203"/>
                    <a:pt x="14400" y="5203"/>
                  </a:cubicBezTo>
                  <a:cubicBezTo>
                    <a:pt x="12343" y="5203"/>
                    <a:pt x="10286" y="219"/>
                    <a:pt x="8229" y="219"/>
                  </a:cubicBezTo>
                  <a:cubicBezTo>
                    <a:pt x="6171" y="-1443"/>
                    <a:pt x="6171" y="6865"/>
                    <a:pt x="5143" y="8526"/>
                  </a:cubicBezTo>
                  <a:cubicBezTo>
                    <a:pt x="4114" y="8526"/>
                    <a:pt x="0" y="8526"/>
                    <a:pt x="0" y="11849"/>
                  </a:cubicBezTo>
                  <a:cubicBezTo>
                    <a:pt x="1029" y="15172"/>
                    <a:pt x="6171" y="16834"/>
                    <a:pt x="7200" y="16834"/>
                  </a:cubicBezTo>
                  <a:cubicBezTo>
                    <a:pt x="9257" y="18495"/>
                    <a:pt x="13371" y="20157"/>
                    <a:pt x="15429" y="18495"/>
                  </a:cubicBezTo>
                  <a:cubicBezTo>
                    <a:pt x="15429" y="18495"/>
                    <a:pt x="20571" y="15172"/>
                    <a:pt x="20571" y="13511"/>
                  </a:cubicBezTo>
                  <a:cubicBezTo>
                    <a:pt x="20571" y="13511"/>
                    <a:pt x="19543" y="13511"/>
                    <a:pt x="19543" y="13511"/>
                  </a:cubicBezTo>
                  <a:cubicBezTo>
                    <a:pt x="18514" y="15172"/>
                    <a:pt x="21600" y="13511"/>
                    <a:pt x="19543" y="135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3" name="Shape 1992">
              <a:extLst>
                <a:ext uri="{FF2B5EF4-FFF2-40B4-BE49-F238E27FC236}">
                  <a16:creationId xmlns:a16="http://schemas.microsoft.com/office/drawing/2014/main" id="{015DDED0-6911-2D06-0F3F-CAF241C816F1}"/>
                </a:ext>
              </a:extLst>
            </p:cNvPr>
            <p:cNvSpPr/>
            <p:nvPr/>
          </p:nvSpPr>
          <p:spPr>
            <a:xfrm>
              <a:off x="2211966" y="1003298"/>
              <a:ext cx="19098" cy="19540"/>
            </a:xfrm>
            <a:custGeom>
              <a:avLst/>
              <a:gdLst/>
              <a:ahLst/>
              <a:cxnLst>
                <a:cxn ang="0">
                  <a:pos x="wd2" y="hd2"/>
                </a:cxn>
                <a:cxn ang="5400000">
                  <a:pos x="wd2" y="hd2"/>
                </a:cxn>
                <a:cxn ang="10800000">
                  <a:pos x="wd2" y="hd2"/>
                </a:cxn>
                <a:cxn ang="16200000">
                  <a:pos x="wd2" y="hd2"/>
                </a:cxn>
              </a:cxnLst>
              <a:rect l="0" t="0" r="r" b="b"/>
              <a:pathLst>
                <a:path w="12237" h="17067" extrusionOk="0">
                  <a:moveTo>
                    <a:pt x="2419" y="17067"/>
                  </a:moveTo>
                  <a:cubicBezTo>
                    <a:pt x="-6221" y="17067"/>
                    <a:pt x="11059" y="-4533"/>
                    <a:pt x="11059" y="867"/>
                  </a:cubicBezTo>
                  <a:cubicBezTo>
                    <a:pt x="15379" y="867"/>
                    <a:pt x="6739" y="17067"/>
                    <a:pt x="2419" y="17067"/>
                  </a:cubicBezTo>
                  <a:cubicBezTo>
                    <a:pt x="-1901" y="17067"/>
                    <a:pt x="11059" y="17067"/>
                    <a:pt x="2419"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4" name="Shape 1993">
              <a:extLst>
                <a:ext uri="{FF2B5EF4-FFF2-40B4-BE49-F238E27FC236}">
                  <a16:creationId xmlns:a16="http://schemas.microsoft.com/office/drawing/2014/main" id="{43C46891-884A-7D67-638A-E1505E0C8385}"/>
                </a:ext>
              </a:extLst>
            </p:cNvPr>
            <p:cNvSpPr/>
            <p:nvPr/>
          </p:nvSpPr>
          <p:spPr>
            <a:xfrm>
              <a:off x="2163490" y="1022835"/>
              <a:ext cx="10115" cy="13490"/>
            </a:xfrm>
            <a:custGeom>
              <a:avLst/>
              <a:gdLst/>
              <a:ahLst/>
              <a:cxnLst>
                <a:cxn ang="0">
                  <a:pos x="wd2" y="hd2"/>
                </a:cxn>
                <a:cxn ang="5400000">
                  <a:pos x="wd2" y="hd2"/>
                </a:cxn>
                <a:cxn ang="10800000">
                  <a:pos x="wd2" y="hd2"/>
                </a:cxn>
                <a:cxn ang="16200000">
                  <a:pos x="wd2" y="hd2"/>
                </a:cxn>
              </a:cxnLst>
              <a:rect l="0" t="0" r="r" b="b"/>
              <a:pathLst>
                <a:path w="16200" h="21600" extrusionOk="0">
                  <a:moveTo>
                    <a:pt x="8100" y="21600"/>
                  </a:moveTo>
                  <a:cubicBezTo>
                    <a:pt x="-2700" y="21600"/>
                    <a:pt x="-2700" y="10800"/>
                    <a:pt x="8100" y="0"/>
                  </a:cubicBezTo>
                  <a:cubicBezTo>
                    <a:pt x="18900" y="0"/>
                    <a:pt x="18900" y="21600"/>
                    <a:pt x="81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5" name="Shape 1994">
              <a:extLst>
                <a:ext uri="{FF2B5EF4-FFF2-40B4-BE49-F238E27FC236}">
                  <a16:creationId xmlns:a16="http://schemas.microsoft.com/office/drawing/2014/main" id="{F073F6EA-190C-0410-185F-B066E8192E47}"/>
                </a:ext>
              </a:extLst>
            </p:cNvPr>
            <p:cNvSpPr/>
            <p:nvPr/>
          </p:nvSpPr>
          <p:spPr>
            <a:xfrm>
              <a:off x="1601406" y="751024"/>
              <a:ext cx="600850" cy="284718"/>
            </a:xfrm>
            <a:custGeom>
              <a:avLst/>
              <a:gdLst/>
              <a:ahLst/>
              <a:cxnLst>
                <a:cxn ang="0">
                  <a:pos x="wd2" y="hd2"/>
                </a:cxn>
                <a:cxn ang="5400000">
                  <a:pos x="wd2" y="hd2"/>
                </a:cxn>
                <a:cxn ang="10800000">
                  <a:pos x="wd2" y="hd2"/>
                </a:cxn>
                <a:cxn ang="16200000">
                  <a:pos x="wd2" y="hd2"/>
                </a:cxn>
              </a:cxnLst>
              <a:rect l="0" t="0" r="r" b="b"/>
              <a:pathLst>
                <a:path w="21388" h="20725" extrusionOk="0">
                  <a:moveTo>
                    <a:pt x="19275" y="19339"/>
                  </a:moveTo>
                  <a:cubicBezTo>
                    <a:pt x="18805" y="19339"/>
                    <a:pt x="18336" y="19339"/>
                    <a:pt x="17631" y="19339"/>
                  </a:cubicBezTo>
                  <a:cubicBezTo>
                    <a:pt x="17397" y="19339"/>
                    <a:pt x="17162" y="19339"/>
                    <a:pt x="16927" y="19339"/>
                  </a:cubicBezTo>
                  <a:cubicBezTo>
                    <a:pt x="16692" y="19339"/>
                    <a:pt x="16692" y="18859"/>
                    <a:pt x="16458" y="18379"/>
                  </a:cubicBezTo>
                  <a:cubicBezTo>
                    <a:pt x="16223" y="18379"/>
                    <a:pt x="15284" y="18859"/>
                    <a:pt x="15049" y="17899"/>
                  </a:cubicBezTo>
                  <a:cubicBezTo>
                    <a:pt x="15049" y="16459"/>
                    <a:pt x="14579" y="17419"/>
                    <a:pt x="14110" y="17899"/>
                  </a:cubicBezTo>
                  <a:cubicBezTo>
                    <a:pt x="13405" y="18859"/>
                    <a:pt x="12936" y="18379"/>
                    <a:pt x="12466" y="18859"/>
                  </a:cubicBezTo>
                  <a:cubicBezTo>
                    <a:pt x="11762" y="19339"/>
                    <a:pt x="11058" y="19819"/>
                    <a:pt x="10353" y="20299"/>
                  </a:cubicBezTo>
                  <a:cubicBezTo>
                    <a:pt x="9414" y="20299"/>
                    <a:pt x="8005" y="21259"/>
                    <a:pt x="7066" y="20299"/>
                  </a:cubicBezTo>
                  <a:cubicBezTo>
                    <a:pt x="7066" y="20299"/>
                    <a:pt x="6597" y="19819"/>
                    <a:pt x="6597" y="19339"/>
                  </a:cubicBezTo>
                  <a:cubicBezTo>
                    <a:pt x="6597" y="18859"/>
                    <a:pt x="6597" y="17899"/>
                    <a:pt x="6127" y="17899"/>
                  </a:cubicBezTo>
                  <a:cubicBezTo>
                    <a:pt x="5658" y="17899"/>
                    <a:pt x="5188" y="17899"/>
                    <a:pt x="4718" y="17899"/>
                  </a:cubicBezTo>
                  <a:cubicBezTo>
                    <a:pt x="4249" y="17899"/>
                    <a:pt x="3779" y="17899"/>
                    <a:pt x="3310" y="16939"/>
                  </a:cubicBezTo>
                  <a:cubicBezTo>
                    <a:pt x="3075" y="16939"/>
                    <a:pt x="1901" y="15019"/>
                    <a:pt x="2136" y="14539"/>
                  </a:cubicBezTo>
                  <a:cubicBezTo>
                    <a:pt x="3545" y="13099"/>
                    <a:pt x="5188" y="13579"/>
                    <a:pt x="6362" y="13579"/>
                  </a:cubicBezTo>
                  <a:cubicBezTo>
                    <a:pt x="6597" y="13579"/>
                    <a:pt x="9179" y="13579"/>
                    <a:pt x="9179" y="13579"/>
                  </a:cubicBezTo>
                  <a:cubicBezTo>
                    <a:pt x="9179" y="12619"/>
                    <a:pt x="5892" y="11659"/>
                    <a:pt x="5658" y="11659"/>
                  </a:cubicBezTo>
                  <a:cubicBezTo>
                    <a:pt x="4484" y="11659"/>
                    <a:pt x="3075" y="13099"/>
                    <a:pt x="1901" y="12139"/>
                  </a:cubicBezTo>
                  <a:cubicBezTo>
                    <a:pt x="1431" y="11659"/>
                    <a:pt x="492" y="10699"/>
                    <a:pt x="1431" y="9739"/>
                  </a:cubicBezTo>
                  <a:cubicBezTo>
                    <a:pt x="2136" y="9259"/>
                    <a:pt x="2840" y="8779"/>
                    <a:pt x="3545" y="8779"/>
                  </a:cubicBezTo>
                  <a:cubicBezTo>
                    <a:pt x="4014" y="8299"/>
                    <a:pt x="4484" y="8299"/>
                    <a:pt x="4718" y="8299"/>
                  </a:cubicBezTo>
                  <a:cubicBezTo>
                    <a:pt x="4249" y="8779"/>
                    <a:pt x="3545" y="8299"/>
                    <a:pt x="3075" y="8299"/>
                  </a:cubicBezTo>
                  <a:cubicBezTo>
                    <a:pt x="2840" y="8299"/>
                    <a:pt x="1431" y="8779"/>
                    <a:pt x="1197" y="8299"/>
                  </a:cubicBezTo>
                  <a:cubicBezTo>
                    <a:pt x="1197" y="8299"/>
                    <a:pt x="1431" y="7819"/>
                    <a:pt x="1431" y="7819"/>
                  </a:cubicBezTo>
                  <a:cubicBezTo>
                    <a:pt x="1431" y="7339"/>
                    <a:pt x="-212" y="7819"/>
                    <a:pt x="23" y="6859"/>
                  </a:cubicBezTo>
                  <a:cubicBezTo>
                    <a:pt x="258" y="6379"/>
                    <a:pt x="492" y="5419"/>
                    <a:pt x="727" y="4939"/>
                  </a:cubicBezTo>
                  <a:cubicBezTo>
                    <a:pt x="1666" y="4459"/>
                    <a:pt x="727" y="4459"/>
                    <a:pt x="727" y="3979"/>
                  </a:cubicBezTo>
                  <a:cubicBezTo>
                    <a:pt x="727" y="3979"/>
                    <a:pt x="1431" y="3019"/>
                    <a:pt x="1666" y="3019"/>
                  </a:cubicBezTo>
                  <a:cubicBezTo>
                    <a:pt x="2136" y="2539"/>
                    <a:pt x="2371" y="2059"/>
                    <a:pt x="2840" y="1579"/>
                  </a:cubicBezTo>
                  <a:cubicBezTo>
                    <a:pt x="3779" y="619"/>
                    <a:pt x="4484" y="139"/>
                    <a:pt x="5423" y="139"/>
                  </a:cubicBezTo>
                  <a:cubicBezTo>
                    <a:pt x="6597" y="139"/>
                    <a:pt x="5423" y="3019"/>
                    <a:pt x="5423" y="3019"/>
                  </a:cubicBezTo>
                  <a:cubicBezTo>
                    <a:pt x="5892" y="3499"/>
                    <a:pt x="6362" y="3499"/>
                    <a:pt x="6597" y="3019"/>
                  </a:cubicBezTo>
                  <a:cubicBezTo>
                    <a:pt x="6831" y="3019"/>
                    <a:pt x="6831" y="1579"/>
                    <a:pt x="7066" y="1579"/>
                  </a:cubicBezTo>
                  <a:cubicBezTo>
                    <a:pt x="7536" y="1579"/>
                    <a:pt x="8475" y="1579"/>
                    <a:pt x="8945" y="2539"/>
                  </a:cubicBezTo>
                  <a:cubicBezTo>
                    <a:pt x="9649" y="3499"/>
                    <a:pt x="8005" y="4939"/>
                    <a:pt x="9179" y="4459"/>
                  </a:cubicBezTo>
                  <a:cubicBezTo>
                    <a:pt x="9414" y="4459"/>
                    <a:pt x="9649" y="3979"/>
                    <a:pt x="9884" y="3499"/>
                  </a:cubicBezTo>
                  <a:cubicBezTo>
                    <a:pt x="10118" y="3499"/>
                    <a:pt x="10118" y="3499"/>
                    <a:pt x="10353" y="3499"/>
                  </a:cubicBezTo>
                  <a:cubicBezTo>
                    <a:pt x="10588" y="3499"/>
                    <a:pt x="10588" y="3499"/>
                    <a:pt x="10823" y="3979"/>
                  </a:cubicBezTo>
                  <a:cubicBezTo>
                    <a:pt x="11058" y="3979"/>
                    <a:pt x="11058" y="3019"/>
                    <a:pt x="11058" y="2539"/>
                  </a:cubicBezTo>
                  <a:cubicBezTo>
                    <a:pt x="10823" y="2539"/>
                    <a:pt x="10118" y="1579"/>
                    <a:pt x="9884" y="1579"/>
                  </a:cubicBezTo>
                  <a:cubicBezTo>
                    <a:pt x="10353" y="1099"/>
                    <a:pt x="11292" y="2059"/>
                    <a:pt x="11527" y="2539"/>
                  </a:cubicBezTo>
                  <a:cubicBezTo>
                    <a:pt x="12231" y="3019"/>
                    <a:pt x="12231" y="3499"/>
                    <a:pt x="12466" y="4459"/>
                  </a:cubicBezTo>
                  <a:cubicBezTo>
                    <a:pt x="12466" y="4939"/>
                    <a:pt x="12466" y="7339"/>
                    <a:pt x="12936" y="7339"/>
                  </a:cubicBezTo>
                  <a:cubicBezTo>
                    <a:pt x="13171" y="7339"/>
                    <a:pt x="14110" y="7339"/>
                    <a:pt x="13875" y="6379"/>
                  </a:cubicBezTo>
                  <a:cubicBezTo>
                    <a:pt x="13640" y="4459"/>
                    <a:pt x="13171" y="3019"/>
                    <a:pt x="12936" y="1099"/>
                  </a:cubicBezTo>
                  <a:cubicBezTo>
                    <a:pt x="12701" y="-341"/>
                    <a:pt x="13405" y="139"/>
                    <a:pt x="13640" y="139"/>
                  </a:cubicBezTo>
                  <a:cubicBezTo>
                    <a:pt x="14345" y="619"/>
                    <a:pt x="14345" y="-341"/>
                    <a:pt x="14814" y="139"/>
                  </a:cubicBezTo>
                  <a:cubicBezTo>
                    <a:pt x="15284" y="1099"/>
                    <a:pt x="15988" y="1579"/>
                    <a:pt x="15988" y="2539"/>
                  </a:cubicBezTo>
                  <a:cubicBezTo>
                    <a:pt x="16223" y="3979"/>
                    <a:pt x="16458" y="4939"/>
                    <a:pt x="16927" y="5899"/>
                  </a:cubicBezTo>
                  <a:cubicBezTo>
                    <a:pt x="17162" y="7339"/>
                    <a:pt x="17397" y="7819"/>
                    <a:pt x="17162" y="8779"/>
                  </a:cubicBezTo>
                  <a:cubicBezTo>
                    <a:pt x="16927" y="10219"/>
                    <a:pt x="17631" y="11659"/>
                    <a:pt x="18101" y="12139"/>
                  </a:cubicBezTo>
                  <a:cubicBezTo>
                    <a:pt x="18336" y="12139"/>
                    <a:pt x="18805" y="12139"/>
                    <a:pt x="19040" y="12139"/>
                  </a:cubicBezTo>
                  <a:cubicBezTo>
                    <a:pt x="19275" y="12619"/>
                    <a:pt x="19510" y="13099"/>
                    <a:pt x="19745" y="13099"/>
                  </a:cubicBezTo>
                  <a:cubicBezTo>
                    <a:pt x="20449" y="13579"/>
                    <a:pt x="21388" y="13579"/>
                    <a:pt x="21388" y="15499"/>
                  </a:cubicBezTo>
                  <a:cubicBezTo>
                    <a:pt x="21388" y="16459"/>
                    <a:pt x="19275" y="15019"/>
                    <a:pt x="19275" y="15019"/>
                  </a:cubicBezTo>
                  <a:cubicBezTo>
                    <a:pt x="19275" y="15499"/>
                    <a:pt x="19275" y="15979"/>
                    <a:pt x="19275" y="16459"/>
                  </a:cubicBezTo>
                  <a:cubicBezTo>
                    <a:pt x="19275" y="16459"/>
                    <a:pt x="18571" y="16459"/>
                    <a:pt x="18571" y="16459"/>
                  </a:cubicBezTo>
                  <a:cubicBezTo>
                    <a:pt x="18805" y="16459"/>
                    <a:pt x="18805" y="16939"/>
                    <a:pt x="18805" y="16939"/>
                  </a:cubicBezTo>
                  <a:cubicBezTo>
                    <a:pt x="18805" y="17419"/>
                    <a:pt x="18805" y="17899"/>
                    <a:pt x="18805" y="17899"/>
                  </a:cubicBezTo>
                  <a:cubicBezTo>
                    <a:pt x="18805" y="17899"/>
                    <a:pt x="19745" y="16939"/>
                    <a:pt x="19745" y="16939"/>
                  </a:cubicBezTo>
                  <a:cubicBezTo>
                    <a:pt x="20214" y="16939"/>
                    <a:pt x="19979" y="17419"/>
                    <a:pt x="19979" y="17899"/>
                  </a:cubicBezTo>
                  <a:cubicBezTo>
                    <a:pt x="19979" y="17899"/>
                    <a:pt x="20449" y="17899"/>
                    <a:pt x="20684" y="18379"/>
                  </a:cubicBezTo>
                  <a:cubicBezTo>
                    <a:pt x="20684" y="18379"/>
                    <a:pt x="19275" y="19339"/>
                    <a:pt x="19275" y="19339"/>
                  </a:cubicBezTo>
                  <a:cubicBezTo>
                    <a:pt x="18805" y="19339"/>
                    <a:pt x="19979" y="19339"/>
                    <a:pt x="19275" y="193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6" name="Shape 1995">
              <a:extLst>
                <a:ext uri="{FF2B5EF4-FFF2-40B4-BE49-F238E27FC236}">
                  <a16:creationId xmlns:a16="http://schemas.microsoft.com/office/drawing/2014/main" id="{CED41F4C-34EC-03D1-D4CB-A3536A2621BB}"/>
                </a:ext>
              </a:extLst>
            </p:cNvPr>
            <p:cNvSpPr/>
            <p:nvPr/>
          </p:nvSpPr>
          <p:spPr>
            <a:xfrm>
              <a:off x="1997744" y="719357"/>
              <a:ext cx="84434" cy="55026"/>
            </a:xfrm>
            <a:custGeom>
              <a:avLst/>
              <a:gdLst/>
              <a:ahLst/>
              <a:cxnLst>
                <a:cxn ang="0">
                  <a:pos x="wd2" y="hd2"/>
                </a:cxn>
                <a:cxn ang="5400000">
                  <a:pos x="wd2" y="hd2"/>
                </a:cxn>
                <a:cxn ang="10800000">
                  <a:pos x="wd2" y="hd2"/>
                </a:cxn>
                <a:cxn ang="16200000">
                  <a:pos x="wd2" y="hd2"/>
                </a:cxn>
              </a:cxnLst>
              <a:rect l="0" t="0" r="r" b="b"/>
              <a:pathLst>
                <a:path w="19792" h="19582" extrusionOk="0">
                  <a:moveTo>
                    <a:pt x="13886" y="19200"/>
                  </a:moveTo>
                  <a:cubicBezTo>
                    <a:pt x="10800" y="19200"/>
                    <a:pt x="9257" y="12000"/>
                    <a:pt x="7714" y="12000"/>
                  </a:cubicBezTo>
                  <a:cubicBezTo>
                    <a:pt x="6171" y="9600"/>
                    <a:pt x="0" y="7200"/>
                    <a:pt x="0" y="7200"/>
                  </a:cubicBezTo>
                  <a:cubicBezTo>
                    <a:pt x="1543" y="4800"/>
                    <a:pt x="4629" y="2400"/>
                    <a:pt x="6171" y="0"/>
                  </a:cubicBezTo>
                  <a:cubicBezTo>
                    <a:pt x="9257" y="0"/>
                    <a:pt x="12343" y="0"/>
                    <a:pt x="15429" y="2400"/>
                  </a:cubicBezTo>
                  <a:cubicBezTo>
                    <a:pt x="18514" y="4800"/>
                    <a:pt x="21600" y="4800"/>
                    <a:pt x="18514" y="9600"/>
                  </a:cubicBezTo>
                  <a:cubicBezTo>
                    <a:pt x="16971" y="12000"/>
                    <a:pt x="15429" y="21600"/>
                    <a:pt x="13886" y="19200"/>
                  </a:cubicBezTo>
                  <a:cubicBezTo>
                    <a:pt x="12343" y="19200"/>
                    <a:pt x="13886" y="19200"/>
                    <a:pt x="13886" y="19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7" name="Shape 1996">
              <a:extLst>
                <a:ext uri="{FF2B5EF4-FFF2-40B4-BE49-F238E27FC236}">
                  <a16:creationId xmlns:a16="http://schemas.microsoft.com/office/drawing/2014/main" id="{38399BCB-897D-F2D3-AE80-8788186E6F53}"/>
                </a:ext>
              </a:extLst>
            </p:cNvPr>
            <p:cNvSpPr/>
            <p:nvPr/>
          </p:nvSpPr>
          <p:spPr>
            <a:xfrm>
              <a:off x="2143824" y="697181"/>
              <a:ext cx="205184" cy="179890"/>
            </a:xfrm>
            <a:custGeom>
              <a:avLst/>
              <a:gdLst/>
              <a:ahLst/>
              <a:cxnLst>
                <a:cxn ang="0">
                  <a:pos x="wd2" y="hd2"/>
                </a:cxn>
                <a:cxn ang="5400000">
                  <a:pos x="wd2" y="hd2"/>
                </a:cxn>
                <a:cxn ang="10800000">
                  <a:pos x="wd2" y="hd2"/>
                </a:cxn>
                <a:cxn ang="16200000">
                  <a:pos x="wd2" y="hd2"/>
                </a:cxn>
              </a:cxnLst>
              <a:rect l="0" t="0" r="r" b="b"/>
              <a:pathLst>
                <a:path w="21205" h="20099" extrusionOk="0">
                  <a:moveTo>
                    <a:pt x="12150" y="19574"/>
                  </a:moveTo>
                  <a:cubicBezTo>
                    <a:pt x="10125" y="18085"/>
                    <a:pt x="8775" y="15105"/>
                    <a:pt x="6750" y="13616"/>
                  </a:cubicBezTo>
                  <a:cubicBezTo>
                    <a:pt x="4725" y="12871"/>
                    <a:pt x="2700" y="11381"/>
                    <a:pt x="675" y="10636"/>
                  </a:cubicBezTo>
                  <a:cubicBezTo>
                    <a:pt x="0" y="9892"/>
                    <a:pt x="0" y="9892"/>
                    <a:pt x="0" y="9147"/>
                  </a:cubicBezTo>
                  <a:cubicBezTo>
                    <a:pt x="0" y="6912"/>
                    <a:pt x="1350" y="7657"/>
                    <a:pt x="2700" y="8402"/>
                  </a:cubicBezTo>
                  <a:cubicBezTo>
                    <a:pt x="4050" y="9147"/>
                    <a:pt x="5400" y="10636"/>
                    <a:pt x="7425" y="9892"/>
                  </a:cubicBezTo>
                  <a:cubicBezTo>
                    <a:pt x="8100" y="9892"/>
                    <a:pt x="7425" y="8402"/>
                    <a:pt x="7425" y="8402"/>
                  </a:cubicBezTo>
                  <a:cubicBezTo>
                    <a:pt x="7425" y="7657"/>
                    <a:pt x="8775" y="8402"/>
                    <a:pt x="8775" y="7657"/>
                  </a:cubicBezTo>
                  <a:cubicBezTo>
                    <a:pt x="9450" y="6912"/>
                    <a:pt x="4725" y="5423"/>
                    <a:pt x="4725" y="5423"/>
                  </a:cubicBezTo>
                  <a:cubicBezTo>
                    <a:pt x="3375" y="4678"/>
                    <a:pt x="4050" y="3933"/>
                    <a:pt x="4725" y="3933"/>
                  </a:cubicBezTo>
                  <a:cubicBezTo>
                    <a:pt x="6075" y="3188"/>
                    <a:pt x="6075" y="3933"/>
                    <a:pt x="6750" y="4678"/>
                  </a:cubicBezTo>
                  <a:cubicBezTo>
                    <a:pt x="6750" y="4678"/>
                    <a:pt x="7425" y="3188"/>
                    <a:pt x="7425" y="3188"/>
                  </a:cubicBezTo>
                  <a:cubicBezTo>
                    <a:pt x="8100" y="3188"/>
                    <a:pt x="5400" y="2443"/>
                    <a:pt x="5400" y="2443"/>
                  </a:cubicBezTo>
                  <a:cubicBezTo>
                    <a:pt x="5400" y="2443"/>
                    <a:pt x="6750" y="1698"/>
                    <a:pt x="6750" y="1698"/>
                  </a:cubicBezTo>
                  <a:cubicBezTo>
                    <a:pt x="7425" y="1698"/>
                    <a:pt x="8775" y="2443"/>
                    <a:pt x="9450" y="2443"/>
                  </a:cubicBezTo>
                  <a:cubicBezTo>
                    <a:pt x="9450" y="2443"/>
                    <a:pt x="8775" y="1698"/>
                    <a:pt x="8775" y="1698"/>
                  </a:cubicBezTo>
                  <a:cubicBezTo>
                    <a:pt x="9450" y="954"/>
                    <a:pt x="12150" y="3188"/>
                    <a:pt x="12825" y="3188"/>
                  </a:cubicBezTo>
                  <a:cubicBezTo>
                    <a:pt x="13500" y="2443"/>
                    <a:pt x="12150" y="2443"/>
                    <a:pt x="12150" y="1698"/>
                  </a:cubicBezTo>
                  <a:cubicBezTo>
                    <a:pt x="12150" y="1698"/>
                    <a:pt x="12825" y="1698"/>
                    <a:pt x="12825" y="1698"/>
                  </a:cubicBezTo>
                  <a:cubicBezTo>
                    <a:pt x="12825" y="1698"/>
                    <a:pt x="11475" y="1698"/>
                    <a:pt x="11475" y="954"/>
                  </a:cubicBezTo>
                  <a:cubicBezTo>
                    <a:pt x="11475" y="954"/>
                    <a:pt x="16200" y="-536"/>
                    <a:pt x="16875" y="209"/>
                  </a:cubicBezTo>
                  <a:cubicBezTo>
                    <a:pt x="17550" y="209"/>
                    <a:pt x="15525" y="954"/>
                    <a:pt x="15525" y="1698"/>
                  </a:cubicBezTo>
                  <a:cubicBezTo>
                    <a:pt x="16200" y="2443"/>
                    <a:pt x="18225" y="1698"/>
                    <a:pt x="18900" y="2443"/>
                  </a:cubicBezTo>
                  <a:cubicBezTo>
                    <a:pt x="18900" y="3188"/>
                    <a:pt x="16200" y="4678"/>
                    <a:pt x="18225" y="4678"/>
                  </a:cubicBezTo>
                  <a:cubicBezTo>
                    <a:pt x="18900" y="4678"/>
                    <a:pt x="18225" y="5423"/>
                    <a:pt x="17550" y="5423"/>
                  </a:cubicBezTo>
                  <a:cubicBezTo>
                    <a:pt x="16875" y="5423"/>
                    <a:pt x="16200" y="5423"/>
                    <a:pt x="15525" y="6912"/>
                  </a:cubicBezTo>
                  <a:cubicBezTo>
                    <a:pt x="15525" y="6912"/>
                    <a:pt x="14175" y="9147"/>
                    <a:pt x="14175" y="9147"/>
                  </a:cubicBezTo>
                  <a:cubicBezTo>
                    <a:pt x="14850" y="9147"/>
                    <a:pt x="15525" y="7657"/>
                    <a:pt x="16200" y="7657"/>
                  </a:cubicBezTo>
                  <a:cubicBezTo>
                    <a:pt x="16875" y="7657"/>
                    <a:pt x="16875" y="8402"/>
                    <a:pt x="17550" y="9147"/>
                  </a:cubicBezTo>
                  <a:cubicBezTo>
                    <a:pt x="18225" y="9147"/>
                    <a:pt x="20250" y="12126"/>
                    <a:pt x="19575" y="9147"/>
                  </a:cubicBezTo>
                  <a:cubicBezTo>
                    <a:pt x="19575" y="8402"/>
                    <a:pt x="18225" y="7657"/>
                    <a:pt x="18900" y="6912"/>
                  </a:cubicBezTo>
                  <a:cubicBezTo>
                    <a:pt x="19575" y="6912"/>
                    <a:pt x="20250" y="6912"/>
                    <a:pt x="20250" y="7657"/>
                  </a:cubicBezTo>
                  <a:cubicBezTo>
                    <a:pt x="20250" y="8402"/>
                    <a:pt x="19575" y="9147"/>
                    <a:pt x="20250" y="9892"/>
                  </a:cubicBezTo>
                  <a:cubicBezTo>
                    <a:pt x="20925" y="10636"/>
                    <a:pt x="21600" y="11381"/>
                    <a:pt x="20925" y="12126"/>
                  </a:cubicBezTo>
                  <a:cubicBezTo>
                    <a:pt x="19575" y="13616"/>
                    <a:pt x="21600" y="15850"/>
                    <a:pt x="18900" y="16595"/>
                  </a:cubicBezTo>
                  <a:cubicBezTo>
                    <a:pt x="18900" y="16595"/>
                    <a:pt x="14175" y="18085"/>
                    <a:pt x="14850" y="16595"/>
                  </a:cubicBezTo>
                  <a:cubicBezTo>
                    <a:pt x="14850" y="15850"/>
                    <a:pt x="14175" y="15850"/>
                    <a:pt x="14175" y="16595"/>
                  </a:cubicBezTo>
                  <a:cubicBezTo>
                    <a:pt x="14850" y="17340"/>
                    <a:pt x="14850" y="18085"/>
                    <a:pt x="15525" y="18830"/>
                  </a:cubicBezTo>
                  <a:cubicBezTo>
                    <a:pt x="15525" y="20319"/>
                    <a:pt x="12825" y="19574"/>
                    <a:pt x="12150" y="19574"/>
                  </a:cubicBezTo>
                  <a:cubicBezTo>
                    <a:pt x="11475" y="18830"/>
                    <a:pt x="14850" y="21064"/>
                    <a:pt x="12150" y="195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8" name="Shape 1997">
              <a:extLst>
                <a:ext uri="{FF2B5EF4-FFF2-40B4-BE49-F238E27FC236}">
                  <a16:creationId xmlns:a16="http://schemas.microsoft.com/office/drawing/2014/main" id="{61ED1A01-60BE-A35F-EECF-26594879634F}"/>
                </a:ext>
              </a:extLst>
            </p:cNvPr>
            <p:cNvSpPr/>
            <p:nvPr/>
          </p:nvSpPr>
          <p:spPr>
            <a:xfrm>
              <a:off x="2369973" y="696271"/>
              <a:ext cx="169239" cy="142230"/>
            </a:xfrm>
            <a:custGeom>
              <a:avLst/>
              <a:gdLst/>
              <a:ahLst/>
              <a:cxnLst>
                <a:cxn ang="0">
                  <a:pos x="wd2" y="hd2"/>
                </a:cxn>
                <a:cxn ang="5400000">
                  <a:pos x="wd2" y="hd2"/>
                </a:cxn>
                <a:cxn ang="10800000">
                  <a:pos x="wd2" y="hd2"/>
                </a:cxn>
                <a:cxn ang="16200000">
                  <a:pos x="wd2" y="hd2"/>
                </a:cxn>
              </a:cxnLst>
              <a:rect l="0" t="0" r="r" b="b"/>
              <a:pathLst>
                <a:path w="19836" h="21025" extrusionOk="0">
                  <a:moveTo>
                    <a:pt x="4971" y="21025"/>
                  </a:moveTo>
                  <a:cubicBezTo>
                    <a:pt x="3428" y="20043"/>
                    <a:pt x="1885" y="20043"/>
                    <a:pt x="1885" y="18080"/>
                  </a:cubicBezTo>
                  <a:cubicBezTo>
                    <a:pt x="1885" y="15134"/>
                    <a:pt x="-429" y="13170"/>
                    <a:pt x="342" y="10225"/>
                  </a:cubicBezTo>
                  <a:cubicBezTo>
                    <a:pt x="342" y="8261"/>
                    <a:pt x="-429" y="5316"/>
                    <a:pt x="342" y="3352"/>
                  </a:cubicBezTo>
                  <a:cubicBezTo>
                    <a:pt x="1114" y="3352"/>
                    <a:pt x="4200" y="4334"/>
                    <a:pt x="4200" y="3352"/>
                  </a:cubicBezTo>
                  <a:cubicBezTo>
                    <a:pt x="4200" y="2370"/>
                    <a:pt x="-429" y="2370"/>
                    <a:pt x="3428" y="407"/>
                  </a:cubicBezTo>
                  <a:cubicBezTo>
                    <a:pt x="6514" y="-575"/>
                    <a:pt x="8828" y="407"/>
                    <a:pt x="11914" y="1389"/>
                  </a:cubicBezTo>
                  <a:cubicBezTo>
                    <a:pt x="14228" y="1389"/>
                    <a:pt x="16542" y="1389"/>
                    <a:pt x="18857" y="2370"/>
                  </a:cubicBezTo>
                  <a:cubicBezTo>
                    <a:pt x="21171" y="3352"/>
                    <a:pt x="18857" y="5316"/>
                    <a:pt x="17314" y="7280"/>
                  </a:cubicBezTo>
                  <a:cubicBezTo>
                    <a:pt x="16542" y="9243"/>
                    <a:pt x="15771" y="11207"/>
                    <a:pt x="14228" y="12189"/>
                  </a:cubicBezTo>
                  <a:cubicBezTo>
                    <a:pt x="13457" y="14152"/>
                    <a:pt x="10371" y="12189"/>
                    <a:pt x="8828" y="12189"/>
                  </a:cubicBezTo>
                  <a:cubicBezTo>
                    <a:pt x="8828" y="12189"/>
                    <a:pt x="6514" y="12189"/>
                    <a:pt x="7285" y="13170"/>
                  </a:cubicBezTo>
                  <a:cubicBezTo>
                    <a:pt x="7285" y="14152"/>
                    <a:pt x="8828" y="14152"/>
                    <a:pt x="8057" y="16116"/>
                  </a:cubicBezTo>
                  <a:cubicBezTo>
                    <a:pt x="7285" y="16116"/>
                    <a:pt x="5742" y="21025"/>
                    <a:pt x="4971" y="21025"/>
                  </a:cubicBezTo>
                  <a:cubicBezTo>
                    <a:pt x="3428" y="20043"/>
                    <a:pt x="5742" y="21025"/>
                    <a:pt x="4971" y="210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9" name="Shape 1998">
              <a:extLst>
                <a:ext uri="{FF2B5EF4-FFF2-40B4-BE49-F238E27FC236}">
                  <a16:creationId xmlns:a16="http://schemas.microsoft.com/office/drawing/2014/main" id="{96C52683-ECF8-DC7E-A95F-F47DB1391A8C}"/>
                </a:ext>
              </a:extLst>
            </p:cNvPr>
            <p:cNvSpPr/>
            <p:nvPr/>
          </p:nvSpPr>
          <p:spPr>
            <a:xfrm>
              <a:off x="1379706" y="674397"/>
              <a:ext cx="346571" cy="213250"/>
            </a:xfrm>
            <a:custGeom>
              <a:avLst/>
              <a:gdLst/>
              <a:ahLst/>
              <a:cxnLst>
                <a:cxn ang="0">
                  <a:pos x="wd2" y="hd2"/>
                </a:cxn>
                <a:cxn ang="5400000">
                  <a:pos x="wd2" y="hd2"/>
                </a:cxn>
                <a:cxn ang="10800000">
                  <a:pos x="wd2" y="hd2"/>
                </a:cxn>
                <a:cxn ang="16200000">
                  <a:pos x="wd2" y="hd2"/>
                </a:cxn>
              </a:cxnLst>
              <a:rect l="0" t="0" r="r" b="b"/>
              <a:pathLst>
                <a:path w="21082" h="21124" extrusionOk="0">
                  <a:moveTo>
                    <a:pt x="20800" y="6545"/>
                  </a:moveTo>
                  <a:cubicBezTo>
                    <a:pt x="20000" y="5236"/>
                    <a:pt x="19200" y="3927"/>
                    <a:pt x="18000" y="2618"/>
                  </a:cubicBezTo>
                  <a:cubicBezTo>
                    <a:pt x="17600" y="2618"/>
                    <a:pt x="16800" y="1964"/>
                    <a:pt x="16400" y="1964"/>
                  </a:cubicBezTo>
                  <a:cubicBezTo>
                    <a:pt x="15200" y="1309"/>
                    <a:pt x="14800" y="1964"/>
                    <a:pt x="14000" y="2618"/>
                  </a:cubicBezTo>
                  <a:cubicBezTo>
                    <a:pt x="13600" y="2618"/>
                    <a:pt x="13200" y="1964"/>
                    <a:pt x="12800" y="1964"/>
                  </a:cubicBezTo>
                  <a:cubicBezTo>
                    <a:pt x="12400" y="1309"/>
                    <a:pt x="11600" y="1309"/>
                    <a:pt x="10800" y="655"/>
                  </a:cubicBezTo>
                  <a:cubicBezTo>
                    <a:pt x="10000" y="655"/>
                    <a:pt x="8800" y="0"/>
                    <a:pt x="8000" y="0"/>
                  </a:cubicBezTo>
                  <a:cubicBezTo>
                    <a:pt x="6800" y="0"/>
                    <a:pt x="5600" y="655"/>
                    <a:pt x="4400" y="655"/>
                  </a:cubicBezTo>
                  <a:cubicBezTo>
                    <a:pt x="3600" y="1309"/>
                    <a:pt x="2400" y="655"/>
                    <a:pt x="3200" y="1964"/>
                  </a:cubicBezTo>
                  <a:cubicBezTo>
                    <a:pt x="4000" y="4582"/>
                    <a:pt x="4000" y="5236"/>
                    <a:pt x="2800" y="7200"/>
                  </a:cubicBezTo>
                  <a:cubicBezTo>
                    <a:pt x="2000" y="8509"/>
                    <a:pt x="2800" y="9164"/>
                    <a:pt x="2800" y="9818"/>
                  </a:cubicBezTo>
                  <a:cubicBezTo>
                    <a:pt x="2400" y="10473"/>
                    <a:pt x="1600" y="10473"/>
                    <a:pt x="1600" y="11782"/>
                  </a:cubicBezTo>
                  <a:cubicBezTo>
                    <a:pt x="1200" y="13091"/>
                    <a:pt x="400" y="14400"/>
                    <a:pt x="0" y="15709"/>
                  </a:cubicBezTo>
                  <a:cubicBezTo>
                    <a:pt x="0" y="16364"/>
                    <a:pt x="2400" y="17018"/>
                    <a:pt x="2800" y="17018"/>
                  </a:cubicBezTo>
                  <a:cubicBezTo>
                    <a:pt x="4000" y="18327"/>
                    <a:pt x="4800" y="20945"/>
                    <a:pt x="6000" y="20945"/>
                  </a:cubicBezTo>
                  <a:cubicBezTo>
                    <a:pt x="6400" y="21600"/>
                    <a:pt x="7200" y="20291"/>
                    <a:pt x="7600" y="19636"/>
                  </a:cubicBezTo>
                  <a:cubicBezTo>
                    <a:pt x="8400" y="18982"/>
                    <a:pt x="9200" y="19636"/>
                    <a:pt x="10000" y="18982"/>
                  </a:cubicBezTo>
                  <a:cubicBezTo>
                    <a:pt x="10800" y="18982"/>
                    <a:pt x="10800" y="18327"/>
                    <a:pt x="11200" y="17018"/>
                  </a:cubicBezTo>
                  <a:cubicBezTo>
                    <a:pt x="11200" y="15709"/>
                    <a:pt x="11200" y="15055"/>
                    <a:pt x="12400" y="13745"/>
                  </a:cubicBezTo>
                  <a:cubicBezTo>
                    <a:pt x="13200" y="13091"/>
                    <a:pt x="13600" y="11782"/>
                    <a:pt x="14800" y="11127"/>
                  </a:cubicBezTo>
                  <a:cubicBezTo>
                    <a:pt x="16000" y="9818"/>
                    <a:pt x="17200" y="9164"/>
                    <a:pt x="18400" y="8509"/>
                  </a:cubicBezTo>
                  <a:cubicBezTo>
                    <a:pt x="18400" y="8509"/>
                    <a:pt x="21200" y="6545"/>
                    <a:pt x="20800" y="6545"/>
                  </a:cubicBezTo>
                  <a:cubicBezTo>
                    <a:pt x="20400" y="5891"/>
                    <a:pt x="21600" y="7200"/>
                    <a:pt x="20800" y="654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0" name="Shape 1999">
              <a:extLst>
                <a:ext uri="{FF2B5EF4-FFF2-40B4-BE49-F238E27FC236}">
                  <a16:creationId xmlns:a16="http://schemas.microsoft.com/office/drawing/2014/main" id="{A7FA52CF-3E35-E7B4-E609-BDEE99B14F1F}"/>
                </a:ext>
              </a:extLst>
            </p:cNvPr>
            <p:cNvSpPr/>
            <p:nvPr/>
          </p:nvSpPr>
          <p:spPr>
            <a:xfrm>
              <a:off x="2075026" y="613701"/>
              <a:ext cx="33816" cy="26977"/>
            </a:xfrm>
            <a:custGeom>
              <a:avLst/>
              <a:gdLst/>
              <a:ahLst/>
              <a:cxnLst>
                <a:cxn ang="0">
                  <a:pos x="wd2" y="hd2"/>
                </a:cxn>
                <a:cxn ang="5400000">
                  <a:pos x="wd2" y="hd2"/>
                </a:cxn>
                <a:cxn ang="10800000">
                  <a:pos x="wd2" y="hd2"/>
                </a:cxn>
                <a:cxn ang="16200000">
                  <a:pos x="wd2" y="hd2"/>
                </a:cxn>
              </a:cxnLst>
              <a:rect l="0" t="0" r="r" b="b"/>
              <a:pathLst>
                <a:path w="15476" h="21600" extrusionOk="0">
                  <a:moveTo>
                    <a:pt x="9887" y="21600"/>
                  </a:moveTo>
                  <a:cubicBezTo>
                    <a:pt x="6801" y="21600"/>
                    <a:pt x="630" y="21600"/>
                    <a:pt x="630" y="16200"/>
                  </a:cubicBezTo>
                  <a:cubicBezTo>
                    <a:pt x="-2456" y="10800"/>
                    <a:pt x="6801" y="0"/>
                    <a:pt x="6801" y="0"/>
                  </a:cubicBezTo>
                  <a:cubicBezTo>
                    <a:pt x="16058" y="0"/>
                    <a:pt x="19144" y="21600"/>
                    <a:pt x="9887" y="21600"/>
                  </a:cubicBezTo>
                  <a:cubicBezTo>
                    <a:pt x="630" y="16200"/>
                    <a:pt x="16058" y="21600"/>
                    <a:pt x="9887"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1" name="Shape 2000">
              <a:extLst>
                <a:ext uri="{FF2B5EF4-FFF2-40B4-BE49-F238E27FC236}">
                  <a16:creationId xmlns:a16="http://schemas.microsoft.com/office/drawing/2014/main" id="{519999F8-087D-7216-D39D-AF68C2970A48}"/>
                </a:ext>
              </a:extLst>
            </p:cNvPr>
            <p:cNvSpPr/>
            <p:nvPr/>
          </p:nvSpPr>
          <p:spPr>
            <a:xfrm>
              <a:off x="1662879" y="507244"/>
              <a:ext cx="390749" cy="173899"/>
            </a:xfrm>
            <a:custGeom>
              <a:avLst/>
              <a:gdLst/>
              <a:ahLst/>
              <a:cxnLst>
                <a:cxn ang="0">
                  <a:pos x="wd2" y="hd2"/>
                </a:cxn>
                <a:cxn ang="5400000">
                  <a:pos x="wd2" y="hd2"/>
                </a:cxn>
                <a:cxn ang="10800000">
                  <a:pos x="wd2" y="hd2"/>
                </a:cxn>
                <a:cxn ang="16200000">
                  <a:pos x="wd2" y="hd2"/>
                </a:cxn>
              </a:cxnLst>
              <a:rect l="0" t="0" r="r" b="b"/>
              <a:pathLst>
                <a:path w="21338" h="20131" extrusionOk="0">
                  <a:moveTo>
                    <a:pt x="18000" y="15502"/>
                  </a:moveTo>
                  <a:cubicBezTo>
                    <a:pt x="17640" y="15502"/>
                    <a:pt x="17640" y="14731"/>
                    <a:pt x="17280" y="14731"/>
                  </a:cubicBezTo>
                  <a:cubicBezTo>
                    <a:pt x="17280" y="14731"/>
                    <a:pt x="16560" y="15502"/>
                    <a:pt x="16560" y="16274"/>
                  </a:cubicBezTo>
                  <a:cubicBezTo>
                    <a:pt x="16200" y="16274"/>
                    <a:pt x="15840" y="16274"/>
                    <a:pt x="15480" y="15502"/>
                  </a:cubicBezTo>
                  <a:cubicBezTo>
                    <a:pt x="15120" y="15502"/>
                    <a:pt x="14760" y="15502"/>
                    <a:pt x="14400" y="16274"/>
                  </a:cubicBezTo>
                  <a:cubicBezTo>
                    <a:pt x="12600" y="17817"/>
                    <a:pt x="10800" y="18588"/>
                    <a:pt x="8640" y="19360"/>
                  </a:cubicBezTo>
                  <a:cubicBezTo>
                    <a:pt x="8280" y="19360"/>
                    <a:pt x="7200" y="20131"/>
                    <a:pt x="6840" y="20131"/>
                  </a:cubicBezTo>
                  <a:cubicBezTo>
                    <a:pt x="6120" y="19360"/>
                    <a:pt x="4680" y="18588"/>
                    <a:pt x="6120" y="17045"/>
                  </a:cubicBezTo>
                  <a:cubicBezTo>
                    <a:pt x="6840" y="17045"/>
                    <a:pt x="7920" y="15502"/>
                    <a:pt x="8640" y="15502"/>
                  </a:cubicBezTo>
                  <a:cubicBezTo>
                    <a:pt x="9360" y="15502"/>
                    <a:pt x="10080" y="15502"/>
                    <a:pt x="10440" y="15502"/>
                  </a:cubicBezTo>
                  <a:cubicBezTo>
                    <a:pt x="10440" y="15502"/>
                    <a:pt x="11520" y="13960"/>
                    <a:pt x="11160" y="13960"/>
                  </a:cubicBezTo>
                  <a:cubicBezTo>
                    <a:pt x="10800" y="13188"/>
                    <a:pt x="9000" y="13960"/>
                    <a:pt x="8640" y="13960"/>
                  </a:cubicBezTo>
                  <a:cubicBezTo>
                    <a:pt x="7920" y="14731"/>
                    <a:pt x="7560" y="14731"/>
                    <a:pt x="6840" y="14731"/>
                  </a:cubicBezTo>
                  <a:cubicBezTo>
                    <a:pt x="6120" y="14731"/>
                    <a:pt x="6840" y="13960"/>
                    <a:pt x="6840" y="13188"/>
                  </a:cubicBezTo>
                  <a:cubicBezTo>
                    <a:pt x="6840" y="10874"/>
                    <a:pt x="4680" y="14731"/>
                    <a:pt x="4320" y="14731"/>
                  </a:cubicBezTo>
                  <a:cubicBezTo>
                    <a:pt x="4320" y="14731"/>
                    <a:pt x="3960" y="15502"/>
                    <a:pt x="3960" y="15502"/>
                  </a:cubicBezTo>
                  <a:cubicBezTo>
                    <a:pt x="3240" y="13960"/>
                    <a:pt x="3240" y="15502"/>
                    <a:pt x="3240" y="16274"/>
                  </a:cubicBezTo>
                  <a:cubicBezTo>
                    <a:pt x="3240" y="16274"/>
                    <a:pt x="2160" y="14731"/>
                    <a:pt x="1800" y="14731"/>
                  </a:cubicBezTo>
                  <a:cubicBezTo>
                    <a:pt x="1440" y="14731"/>
                    <a:pt x="0" y="15502"/>
                    <a:pt x="0" y="13960"/>
                  </a:cubicBezTo>
                  <a:cubicBezTo>
                    <a:pt x="0" y="12417"/>
                    <a:pt x="720" y="13188"/>
                    <a:pt x="1440" y="12417"/>
                  </a:cubicBezTo>
                  <a:cubicBezTo>
                    <a:pt x="2160" y="12417"/>
                    <a:pt x="2880" y="12417"/>
                    <a:pt x="3240" y="11645"/>
                  </a:cubicBezTo>
                  <a:cubicBezTo>
                    <a:pt x="3240" y="11645"/>
                    <a:pt x="4320" y="10874"/>
                    <a:pt x="3960" y="10874"/>
                  </a:cubicBezTo>
                  <a:cubicBezTo>
                    <a:pt x="3240" y="10102"/>
                    <a:pt x="2160" y="10874"/>
                    <a:pt x="1800" y="10874"/>
                  </a:cubicBezTo>
                  <a:cubicBezTo>
                    <a:pt x="720" y="10874"/>
                    <a:pt x="0" y="9331"/>
                    <a:pt x="1440" y="9331"/>
                  </a:cubicBezTo>
                  <a:cubicBezTo>
                    <a:pt x="2160" y="9331"/>
                    <a:pt x="3600" y="8560"/>
                    <a:pt x="4320" y="8560"/>
                  </a:cubicBezTo>
                  <a:cubicBezTo>
                    <a:pt x="3960" y="8560"/>
                    <a:pt x="1440" y="9331"/>
                    <a:pt x="1440" y="7788"/>
                  </a:cubicBezTo>
                  <a:cubicBezTo>
                    <a:pt x="1080" y="6245"/>
                    <a:pt x="4320" y="7017"/>
                    <a:pt x="4680" y="6245"/>
                  </a:cubicBezTo>
                  <a:cubicBezTo>
                    <a:pt x="4680" y="6245"/>
                    <a:pt x="3240" y="5474"/>
                    <a:pt x="3240" y="4702"/>
                  </a:cubicBezTo>
                  <a:cubicBezTo>
                    <a:pt x="2880" y="3931"/>
                    <a:pt x="5040" y="3160"/>
                    <a:pt x="5040" y="3160"/>
                  </a:cubicBezTo>
                  <a:cubicBezTo>
                    <a:pt x="6120" y="3160"/>
                    <a:pt x="5400" y="6245"/>
                    <a:pt x="6120" y="6245"/>
                  </a:cubicBezTo>
                  <a:cubicBezTo>
                    <a:pt x="7200" y="6245"/>
                    <a:pt x="7920" y="6245"/>
                    <a:pt x="9000" y="7017"/>
                  </a:cubicBezTo>
                  <a:cubicBezTo>
                    <a:pt x="9360" y="7788"/>
                    <a:pt x="10080" y="8560"/>
                    <a:pt x="10440" y="9331"/>
                  </a:cubicBezTo>
                  <a:cubicBezTo>
                    <a:pt x="11160" y="10874"/>
                    <a:pt x="10800" y="11645"/>
                    <a:pt x="11520" y="11645"/>
                  </a:cubicBezTo>
                  <a:cubicBezTo>
                    <a:pt x="12600" y="11645"/>
                    <a:pt x="13320" y="11645"/>
                    <a:pt x="14040" y="10874"/>
                  </a:cubicBezTo>
                  <a:cubicBezTo>
                    <a:pt x="15480" y="10102"/>
                    <a:pt x="13320" y="9331"/>
                    <a:pt x="13320" y="8560"/>
                  </a:cubicBezTo>
                  <a:cubicBezTo>
                    <a:pt x="13320" y="8560"/>
                    <a:pt x="16200" y="7788"/>
                    <a:pt x="13680" y="5474"/>
                  </a:cubicBezTo>
                  <a:cubicBezTo>
                    <a:pt x="13320" y="5474"/>
                    <a:pt x="12600" y="5474"/>
                    <a:pt x="12960" y="4702"/>
                  </a:cubicBezTo>
                  <a:cubicBezTo>
                    <a:pt x="13320" y="3931"/>
                    <a:pt x="13680" y="3160"/>
                    <a:pt x="13680" y="2388"/>
                  </a:cubicBezTo>
                  <a:cubicBezTo>
                    <a:pt x="14040" y="1617"/>
                    <a:pt x="15480" y="-1469"/>
                    <a:pt x="15480" y="845"/>
                  </a:cubicBezTo>
                  <a:cubicBezTo>
                    <a:pt x="15480" y="1617"/>
                    <a:pt x="15840" y="2388"/>
                    <a:pt x="15840" y="3931"/>
                  </a:cubicBezTo>
                  <a:cubicBezTo>
                    <a:pt x="16200" y="3931"/>
                    <a:pt x="16200" y="4702"/>
                    <a:pt x="16200" y="5474"/>
                  </a:cubicBezTo>
                  <a:cubicBezTo>
                    <a:pt x="16560" y="6245"/>
                    <a:pt x="15840" y="5474"/>
                    <a:pt x="15840" y="6245"/>
                  </a:cubicBezTo>
                  <a:cubicBezTo>
                    <a:pt x="15840" y="7788"/>
                    <a:pt x="16920" y="6245"/>
                    <a:pt x="16920" y="7017"/>
                  </a:cubicBezTo>
                  <a:cubicBezTo>
                    <a:pt x="16920" y="8560"/>
                    <a:pt x="18000" y="9331"/>
                    <a:pt x="18360" y="9331"/>
                  </a:cubicBezTo>
                  <a:cubicBezTo>
                    <a:pt x="19080" y="9331"/>
                    <a:pt x="19080" y="10102"/>
                    <a:pt x="19080" y="8560"/>
                  </a:cubicBezTo>
                  <a:cubicBezTo>
                    <a:pt x="19080" y="7017"/>
                    <a:pt x="19800" y="7017"/>
                    <a:pt x="20520" y="7788"/>
                  </a:cubicBezTo>
                  <a:cubicBezTo>
                    <a:pt x="20880" y="7788"/>
                    <a:pt x="21600" y="9331"/>
                    <a:pt x="21240" y="10102"/>
                  </a:cubicBezTo>
                  <a:cubicBezTo>
                    <a:pt x="21240" y="10874"/>
                    <a:pt x="20880" y="13188"/>
                    <a:pt x="20880" y="13960"/>
                  </a:cubicBezTo>
                  <a:cubicBezTo>
                    <a:pt x="20520" y="14731"/>
                    <a:pt x="18360" y="15502"/>
                    <a:pt x="18000" y="15502"/>
                  </a:cubicBezTo>
                  <a:cubicBezTo>
                    <a:pt x="17280" y="14731"/>
                    <a:pt x="18360" y="15502"/>
                    <a:pt x="18000" y="155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2" name="Shape 2001">
              <a:extLst>
                <a:ext uri="{FF2B5EF4-FFF2-40B4-BE49-F238E27FC236}">
                  <a16:creationId xmlns:a16="http://schemas.microsoft.com/office/drawing/2014/main" id="{15782BE2-D944-5372-49C5-6C3029520E06}"/>
                </a:ext>
              </a:extLst>
            </p:cNvPr>
            <p:cNvSpPr/>
            <p:nvPr/>
          </p:nvSpPr>
          <p:spPr>
            <a:xfrm>
              <a:off x="1595456" y="572311"/>
              <a:ext cx="62099" cy="35963"/>
            </a:xfrm>
            <a:custGeom>
              <a:avLst/>
              <a:gdLst/>
              <a:ahLst/>
              <a:cxnLst>
                <a:cxn ang="0">
                  <a:pos x="wd2" y="hd2"/>
                </a:cxn>
                <a:cxn ang="5400000">
                  <a:pos x="wd2" y="hd2"/>
                </a:cxn>
                <a:cxn ang="10800000">
                  <a:pos x="wd2" y="hd2"/>
                </a:cxn>
                <a:cxn ang="16200000">
                  <a:pos x="wd2" y="hd2"/>
                </a:cxn>
              </a:cxnLst>
              <a:rect l="0" t="0" r="r" b="b"/>
              <a:pathLst>
                <a:path w="19894" h="17277" extrusionOk="0">
                  <a:moveTo>
                    <a:pt x="19440" y="1372"/>
                  </a:moveTo>
                  <a:cubicBezTo>
                    <a:pt x="17280" y="1372"/>
                    <a:pt x="0" y="13715"/>
                    <a:pt x="0" y="13715"/>
                  </a:cubicBezTo>
                  <a:cubicBezTo>
                    <a:pt x="4320" y="16800"/>
                    <a:pt x="10800" y="19886"/>
                    <a:pt x="12960" y="13715"/>
                  </a:cubicBezTo>
                  <a:cubicBezTo>
                    <a:pt x="15120" y="10629"/>
                    <a:pt x="19440" y="-1714"/>
                    <a:pt x="19440" y="1372"/>
                  </a:cubicBezTo>
                  <a:cubicBezTo>
                    <a:pt x="15120" y="1372"/>
                    <a:pt x="21600" y="-1714"/>
                    <a:pt x="19440" y="13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3" name="Shape 2002">
              <a:extLst>
                <a:ext uri="{FF2B5EF4-FFF2-40B4-BE49-F238E27FC236}">
                  <a16:creationId xmlns:a16="http://schemas.microsoft.com/office/drawing/2014/main" id="{E8F8B456-5720-EF18-95BC-A5CC23D8D54C}"/>
                </a:ext>
              </a:extLst>
            </p:cNvPr>
            <p:cNvSpPr/>
            <p:nvPr/>
          </p:nvSpPr>
          <p:spPr>
            <a:xfrm>
              <a:off x="1478591" y="469832"/>
              <a:ext cx="237501" cy="112402"/>
            </a:xfrm>
            <a:custGeom>
              <a:avLst/>
              <a:gdLst/>
              <a:ahLst/>
              <a:cxnLst>
                <a:cxn ang="0">
                  <a:pos x="wd2" y="hd2"/>
                </a:cxn>
                <a:cxn ang="5400000">
                  <a:pos x="wd2" y="hd2"/>
                </a:cxn>
                <a:cxn ang="10800000">
                  <a:pos x="wd2" y="hd2"/>
                </a:cxn>
                <a:cxn ang="16200000">
                  <a:pos x="wd2" y="hd2"/>
                </a:cxn>
              </a:cxnLst>
              <a:rect l="0" t="0" r="r" b="b"/>
              <a:pathLst>
                <a:path w="21135" h="21600" extrusionOk="0">
                  <a:moveTo>
                    <a:pt x="17514" y="15247"/>
                  </a:moveTo>
                  <a:cubicBezTo>
                    <a:pt x="16930" y="16518"/>
                    <a:pt x="15762" y="16518"/>
                    <a:pt x="15762" y="16518"/>
                  </a:cubicBezTo>
                  <a:cubicBezTo>
                    <a:pt x="14011" y="16518"/>
                    <a:pt x="14595" y="13976"/>
                    <a:pt x="15178" y="12706"/>
                  </a:cubicBezTo>
                  <a:cubicBezTo>
                    <a:pt x="15762" y="10165"/>
                    <a:pt x="14011" y="8894"/>
                    <a:pt x="13427" y="10165"/>
                  </a:cubicBezTo>
                  <a:cubicBezTo>
                    <a:pt x="13427" y="11435"/>
                    <a:pt x="13427" y="12706"/>
                    <a:pt x="12843" y="12706"/>
                  </a:cubicBezTo>
                  <a:cubicBezTo>
                    <a:pt x="12843" y="12706"/>
                    <a:pt x="12259" y="12706"/>
                    <a:pt x="12259" y="11435"/>
                  </a:cubicBezTo>
                  <a:cubicBezTo>
                    <a:pt x="11676" y="12706"/>
                    <a:pt x="12259" y="15247"/>
                    <a:pt x="11676" y="16518"/>
                  </a:cubicBezTo>
                  <a:cubicBezTo>
                    <a:pt x="11092" y="19059"/>
                    <a:pt x="10508" y="16518"/>
                    <a:pt x="9924" y="17788"/>
                  </a:cubicBezTo>
                  <a:cubicBezTo>
                    <a:pt x="9341" y="17788"/>
                    <a:pt x="9924" y="20329"/>
                    <a:pt x="9341" y="20329"/>
                  </a:cubicBezTo>
                  <a:cubicBezTo>
                    <a:pt x="9341" y="21600"/>
                    <a:pt x="7589" y="21600"/>
                    <a:pt x="7005" y="21600"/>
                  </a:cubicBezTo>
                  <a:cubicBezTo>
                    <a:pt x="6422" y="20329"/>
                    <a:pt x="6422" y="17788"/>
                    <a:pt x="5838" y="19059"/>
                  </a:cubicBezTo>
                  <a:cubicBezTo>
                    <a:pt x="4670" y="20329"/>
                    <a:pt x="4086" y="20329"/>
                    <a:pt x="2919" y="20329"/>
                  </a:cubicBezTo>
                  <a:cubicBezTo>
                    <a:pt x="2335" y="20329"/>
                    <a:pt x="1168" y="21600"/>
                    <a:pt x="584" y="21600"/>
                  </a:cubicBezTo>
                  <a:cubicBezTo>
                    <a:pt x="0" y="21600"/>
                    <a:pt x="1751" y="17788"/>
                    <a:pt x="1168" y="16518"/>
                  </a:cubicBezTo>
                  <a:cubicBezTo>
                    <a:pt x="1168" y="16518"/>
                    <a:pt x="584" y="17788"/>
                    <a:pt x="0" y="17788"/>
                  </a:cubicBezTo>
                  <a:cubicBezTo>
                    <a:pt x="0" y="16518"/>
                    <a:pt x="2919" y="15247"/>
                    <a:pt x="3503" y="15247"/>
                  </a:cubicBezTo>
                  <a:cubicBezTo>
                    <a:pt x="4670" y="15247"/>
                    <a:pt x="4670" y="13976"/>
                    <a:pt x="5254" y="12706"/>
                  </a:cubicBezTo>
                  <a:cubicBezTo>
                    <a:pt x="6422" y="10165"/>
                    <a:pt x="7005" y="10165"/>
                    <a:pt x="7589" y="8894"/>
                  </a:cubicBezTo>
                  <a:cubicBezTo>
                    <a:pt x="8757" y="6353"/>
                    <a:pt x="9341" y="3812"/>
                    <a:pt x="10508" y="3812"/>
                  </a:cubicBezTo>
                  <a:cubicBezTo>
                    <a:pt x="11676" y="2541"/>
                    <a:pt x="12843" y="2541"/>
                    <a:pt x="14011" y="3812"/>
                  </a:cubicBezTo>
                  <a:cubicBezTo>
                    <a:pt x="15178" y="3812"/>
                    <a:pt x="16930" y="5082"/>
                    <a:pt x="17514" y="3812"/>
                  </a:cubicBezTo>
                  <a:cubicBezTo>
                    <a:pt x="18097" y="2541"/>
                    <a:pt x="17514" y="0"/>
                    <a:pt x="18681" y="0"/>
                  </a:cubicBezTo>
                  <a:cubicBezTo>
                    <a:pt x="18681" y="0"/>
                    <a:pt x="21016" y="1271"/>
                    <a:pt x="21016" y="2541"/>
                  </a:cubicBezTo>
                  <a:cubicBezTo>
                    <a:pt x="21600" y="2541"/>
                    <a:pt x="19849" y="3812"/>
                    <a:pt x="19849" y="5082"/>
                  </a:cubicBezTo>
                  <a:cubicBezTo>
                    <a:pt x="19849" y="6353"/>
                    <a:pt x="21600" y="7624"/>
                    <a:pt x="19849" y="8894"/>
                  </a:cubicBezTo>
                  <a:cubicBezTo>
                    <a:pt x="19265" y="10165"/>
                    <a:pt x="21016" y="11435"/>
                    <a:pt x="20432" y="11435"/>
                  </a:cubicBezTo>
                  <a:cubicBezTo>
                    <a:pt x="19265" y="12706"/>
                    <a:pt x="18681" y="12706"/>
                    <a:pt x="18097" y="12706"/>
                  </a:cubicBezTo>
                  <a:cubicBezTo>
                    <a:pt x="18097" y="13976"/>
                    <a:pt x="18097" y="13976"/>
                    <a:pt x="17514" y="15247"/>
                  </a:cubicBezTo>
                  <a:cubicBezTo>
                    <a:pt x="16930" y="16518"/>
                    <a:pt x="18097" y="13976"/>
                    <a:pt x="17514" y="1524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4" name="Shape 2003">
              <a:extLst>
                <a:ext uri="{FF2B5EF4-FFF2-40B4-BE49-F238E27FC236}">
                  <a16:creationId xmlns:a16="http://schemas.microsoft.com/office/drawing/2014/main" id="{94A0405D-8455-B819-F212-70B9E8E477FC}"/>
                </a:ext>
              </a:extLst>
            </p:cNvPr>
            <p:cNvSpPr/>
            <p:nvPr/>
          </p:nvSpPr>
          <p:spPr>
            <a:xfrm>
              <a:off x="1753951" y="514788"/>
              <a:ext cx="30617" cy="13489"/>
            </a:xfrm>
            <a:custGeom>
              <a:avLst/>
              <a:gdLst/>
              <a:ahLst/>
              <a:cxnLst>
                <a:cxn ang="0">
                  <a:pos x="wd2" y="hd2"/>
                </a:cxn>
                <a:cxn ang="5400000">
                  <a:pos x="wd2" y="hd2"/>
                </a:cxn>
                <a:cxn ang="10800000">
                  <a:pos x="wd2" y="hd2"/>
                </a:cxn>
                <a:cxn ang="16200000">
                  <a:pos x="wd2" y="hd2"/>
                </a:cxn>
              </a:cxnLst>
              <a:rect l="0" t="0" r="r" b="b"/>
              <a:pathLst>
                <a:path w="12793" h="21600" extrusionOk="0">
                  <a:moveTo>
                    <a:pt x="11013" y="21600"/>
                  </a:moveTo>
                  <a:cubicBezTo>
                    <a:pt x="5613" y="21600"/>
                    <a:pt x="-5187" y="10800"/>
                    <a:pt x="2913" y="0"/>
                  </a:cubicBezTo>
                  <a:cubicBezTo>
                    <a:pt x="8313" y="0"/>
                    <a:pt x="16413" y="21600"/>
                    <a:pt x="11013"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5" name="Shape 2004">
              <a:extLst>
                <a:ext uri="{FF2B5EF4-FFF2-40B4-BE49-F238E27FC236}">
                  <a16:creationId xmlns:a16="http://schemas.microsoft.com/office/drawing/2014/main" id="{477EC07A-8852-418A-FB29-35BAF6A8EC63}"/>
                </a:ext>
              </a:extLst>
            </p:cNvPr>
            <p:cNvSpPr/>
            <p:nvPr/>
          </p:nvSpPr>
          <p:spPr>
            <a:xfrm>
              <a:off x="1797068" y="422624"/>
              <a:ext cx="119953" cy="61571"/>
            </a:xfrm>
            <a:custGeom>
              <a:avLst/>
              <a:gdLst/>
              <a:ahLst/>
              <a:cxnLst>
                <a:cxn ang="0">
                  <a:pos x="wd2" y="hd2"/>
                </a:cxn>
                <a:cxn ang="5400000">
                  <a:pos x="wd2" y="hd2"/>
                </a:cxn>
                <a:cxn ang="10800000">
                  <a:pos x="wd2" y="hd2"/>
                </a:cxn>
                <a:cxn ang="16200000">
                  <a:pos x="wd2" y="hd2"/>
                </a:cxn>
              </a:cxnLst>
              <a:rect l="0" t="0" r="r" b="b"/>
              <a:pathLst>
                <a:path w="18595" h="20400" extrusionOk="0">
                  <a:moveTo>
                    <a:pt x="5560" y="19440"/>
                  </a:moveTo>
                  <a:cubicBezTo>
                    <a:pt x="4531" y="19440"/>
                    <a:pt x="-1640" y="12960"/>
                    <a:pt x="417" y="8640"/>
                  </a:cubicBezTo>
                  <a:cubicBezTo>
                    <a:pt x="2474" y="4320"/>
                    <a:pt x="5560" y="4320"/>
                    <a:pt x="7617" y="4320"/>
                  </a:cubicBezTo>
                  <a:cubicBezTo>
                    <a:pt x="10703" y="2160"/>
                    <a:pt x="13789" y="0"/>
                    <a:pt x="15846" y="0"/>
                  </a:cubicBezTo>
                  <a:cubicBezTo>
                    <a:pt x="16874" y="0"/>
                    <a:pt x="19960" y="2160"/>
                    <a:pt x="17903" y="4320"/>
                  </a:cubicBezTo>
                  <a:cubicBezTo>
                    <a:pt x="16874" y="6480"/>
                    <a:pt x="13789" y="4320"/>
                    <a:pt x="12760" y="8640"/>
                  </a:cubicBezTo>
                  <a:cubicBezTo>
                    <a:pt x="12760" y="8640"/>
                    <a:pt x="17903" y="12960"/>
                    <a:pt x="13789" y="15120"/>
                  </a:cubicBezTo>
                  <a:cubicBezTo>
                    <a:pt x="11731" y="17280"/>
                    <a:pt x="8646" y="21600"/>
                    <a:pt x="5560" y="19440"/>
                  </a:cubicBezTo>
                  <a:cubicBezTo>
                    <a:pt x="3503" y="19440"/>
                    <a:pt x="7617" y="21600"/>
                    <a:pt x="5560" y="194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6" name="Shape 2005">
              <a:extLst>
                <a:ext uri="{FF2B5EF4-FFF2-40B4-BE49-F238E27FC236}">
                  <a16:creationId xmlns:a16="http://schemas.microsoft.com/office/drawing/2014/main" id="{EBC96996-D469-0312-4D65-803C47DC3A76}"/>
                </a:ext>
              </a:extLst>
            </p:cNvPr>
            <p:cNvSpPr/>
            <p:nvPr/>
          </p:nvSpPr>
          <p:spPr>
            <a:xfrm>
              <a:off x="1740468" y="436110"/>
              <a:ext cx="31556" cy="26978"/>
            </a:xfrm>
            <a:custGeom>
              <a:avLst/>
              <a:gdLst/>
              <a:ahLst/>
              <a:cxnLst>
                <a:cxn ang="0">
                  <a:pos x="wd2" y="hd2"/>
                </a:cxn>
                <a:cxn ang="5400000">
                  <a:pos x="wd2" y="hd2"/>
                </a:cxn>
                <a:cxn ang="10800000">
                  <a:pos x="wd2" y="hd2"/>
                </a:cxn>
                <a:cxn ang="16200000">
                  <a:pos x="wd2" y="hd2"/>
                </a:cxn>
              </a:cxnLst>
              <a:rect l="0" t="0" r="r" b="b"/>
              <a:pathLst>
                <a:path w="13186" h="21600" extrusionOk="0">
                  <a:moveTo>
                    <a:pt x="11013" y="21600"/>
                  </a:moveTo>
                  <a:cubicBezTo>
                    <a:pt x="5613" y="21600"/>
                    <a:pt x="-5187" y="0"/>
                    <a:pt x="2913" y="0"/>
                  </a:cubicBezTo>
                  <a:cubicBezTo>
                    <a:pt x="11013" y="0"/>
                    <a:pt x="16413" y="16200"/>
                    <a:pt x="11013"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7" name="Shape 2006">
              <a:extLst>
                <a:ext uri="{FF2B5EF4-FFF2-40B4-BE49-F238E27FC236}">
                  <a16:creationId xmlns:a16="http://schemas.microsoft.com/office/drawing/2014/main" id="{79BEC9C3-FF3B-4CDD-C390-78042C78A26F}"/>
                </a:ext>
              </a:extLst>
            </p:cNvPr>
            <p:cNvSpPr/>
            <p:nvPr/>
          </p:nvSpPr>
          <p:spPr>
            <a:xfrm>
              <a:off x="1804690" y="379513"/>
              <a:ext cx="118759" cy="39363"/>
            </a:xfrm>
            <a:custGeom>
              <a:avLst/>
              <a:gdLst/>
              <a:ahLst/>
              <a:cxnLst>
                <a:cxn ang="0">
                  <a:pos x="wd2" y="hd2"/>
                </a:cxn>
                <a:cxn ang="5400000">
                  <a:pos x="wd2" y="hd2"/>
                </a:cxn>
                <a:cxn ang="10800000">
                  <a:pos x="wd2" y="hd2"/>
                </a:cxn>
                <a:cxn ang="16200000">
                  <a:pos x="wd2" y="hd2"/>
                </a:cxn>
              </a:cxnLst>
              <a:rect l="0" t="0" r="r" b="b"/>
              <a:pathLst>
                <a:path w="18409" h="18011" extrusionOk="0">
                  <a:moveTo>
                    <a:pt x="297" y="13554"/>
                  </a:moveTo>
                  <a:cubicBezTo>
                    <a:pt x="-732" y="13554"/>
                    <a:pt x="2354" y="10468"/>
                    <a:pt x="3382" y="10468"/>
                  </a:cubicBezTo>
                  <a:cubicBezTo>
                    <a:pt x="5439" y="7382"/>
                    <a:pt x="6468" y="4296"/>
                    <a:pt x="8525" y="1211"/>
                  </a:cubicBezTo>
                  <a:cubicBezTo>
                    <a:pt x="11611" y="-1875"/>
                    <a:pt x="14697" y="1211"/>
                    <a:pt x="17782" y="7382"/>
                  </a:cubicBezTo>
                  <a:cubicBezTo>
                    <a:pt x="20868" y="16639"/>
                    <a:pt x="11611" y="16639"/>
                    <a:pt x="10582" y="16639"/>
                  </a:cubicBezTo>
                  <a:cubicBezTo>
                    <a:pt x="8525" y="16639"/>
                    <a:pt x="7497" y="19725"/>
                    <a:pt x="5439" y="16639"/>
                  </a:cubicBezTo>
                  <a:cubicBezTo>
                    <a:pt x="3382" y="13554"/>
                    <a:pt x="1325" y="16639"/>
                    <a:pt x="297" y="13554"/>
                  </a:cubicBezTo>
                  <a:cubicBezTo>
                    <a:pt x="-732" y="10468"/>
                    <a:pt x="1325" y="16639"/>
                    <a:pt x="297" y="135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8" name="Shape 2007">
              <a:extLst>
                <a:ext uri="{FF2B5EF4-FFF2-40B4-BE49-F238E27FC236}">
                  <a16:creationId xmlns:a16="http://schemas.microsoft.com/office/drawing/2014/main" id="{8661476B-2266-D720-1E6D-B713ED75A3FB}"/>
                </a:ext>
              </a:extLst>
            </p:cNvPr>
            <p:cNvSpPr/>
            <p:nvPr/>
          </p:nvSpPr>
          <p:spPr>
            <a:xfrm>
              <a:off x="2141820" y="521414"/>
              <a:ext cx="177290" cy="119264"/>
            </a:xfrm>
            <a:custGeom>
              <a:avLst/>
              <a:gdLst/>
              <a:ahLst/>
              <a:cxnLst>
                <a:cxn ang="0">
                  <a:pos x="wd2" y="hd2"/>
                </a:cxn>
                <a:cxn ang="5400000">
                  <a:pos x="wd2" y="hd2"/>
                </a:cxn>
                <a:cxn ang="10800000">
                  <a:pos x="wd2" y="hd2"/>
                </a:cxn>
                <a:cxn ang="16200000">
                  <a:pos x="wd2" y="hd2"/>
                </a:cxn>
              </a:cxnLst>
              <a:rect l="0" t="0" r="r" b="b"/>
              <a:pathLst>
                <a:path w="20780" h="20463" extrusionOk="0">
                  <a:moveTo>
                    <a:pt x="16416" y="20463"/>
                  </a:moveTo>
                  <a:cubicBezTo>
                    <a:pt x="14874" y="20463"/>
                    <a:pt x="12559" y="20463"/>
                    <a:pt x="11016" y="20463"/>
                  </a:cubicBezTo>
                  <a:cubicBezTo>
                    <a:pt x="8702" y="20463"/>
                    <a:pt x="11016" y="19326"/>
                    <a:pt x="11016" y="18189"/>
                  </a:cubicBezTo>
                  <a:cubicBezTo>
                    <a:pt x="11788" y="17052"/>
                    <a:pt x="7931" y="17052"/>
                    <a:pt x="8702" y="15916"/>
                  </a:cubicBezTo>
                  <a:cubicBezTo>
                    <a:pt x="9474" y="14779"/>
                    <a:pt x="11016" y="13642"/>
                    <a:pt x="12559" y="13642"/>
                  </a:cubicBezTo>
                  <a:cubicBezTo>
                    <a:pt x="13331" y="12505"/>
                    <a:pt x="12559" y="12505"/>
                    <a:pt x="11788" y="12505"/>
                  </a:cubicBezTo>
                  <a:cubicBezTo>
                    <a:pt x="10245" y="11368"/>
                    <a:pt x="8702" y="12505"/>
                    <a:pt x="6388" y="13642"/>
                  </a:cubicBezTo>
                  <a:cubicBezTo>
                    <a:pt x="4845" y="13642"/>
                    <a:pt x="3302" y="13642"/>
                    <a:pt x="988" y="13642"/>
                  </a:cubicBezTo>
                  <a:cubicBezTo>
                    <a:pt x="988" y="14779"/>
                    <a:pt x="-555" y="14779"/>
                    <a:pt x="216" y="12505"/>
                  </a:cubicBezTo>
                  <a:cubicBezTo>
                    <a:pt x="1759" y="10231"/>
                    <a:pt x="3302" y="11368"/>
                    <a:pt x="4845" y="10231"/>
                  </a:cubicBezTo>
                  <a:cubicBezTo>
                    <a:pt x="7931" y="9095"/>
                    <a:pt x="2531" y="9095"/>
                    <a:pt x="2531" y="7958"/>
                  </a:cubicBezTo>
                  <a:cubicBezTo>
                    <a:pt x="1759" y="7958"/>
                    <a:pt x="4845" y="5684"/>
                    <a:pt x="4845" y="5684"/>
                  </a:cubicBezTo>
                  <a:cubicBezTo>
                    <a:pt x="4845" y="5684"/>
                    <a:pt x="2531" y="5684"/>
                    <a:pt x="1759" y="5684"/>
                  </a:cubicBezTo>
                  <a:cubicBezTo>
                    <a:pt x="1759" y="4547"/>
                    <a:pt x="4074" y="3410"/>
                    <a:pt x="4845" y="3410"/>
                  </a:cubicBezTo>
                  <a:cubicBezTo>
                    <a:pt x="6388" y="3410"/>
                    <a:pt x="7931" y="6821"/>
                    <a:pt x="9474" y="7958"/>
                  </a:cubicBezTo>
                  <a:cubicBezTo>
                    <a:pt x="10245" y="7958"/>
                    <a:pt x="11016" y="10231"/>
                    <a:pt x="11788" y="9095"/>
                  </a:cubicBezTo>
                  <a:cubicBezTo>
                    <a:pt x="14102" y="6821"/>
                    <a:pt x="9474" y="6821"/>
                    <a:pt x="9474" y="6821"/>
                  </a:cubicBezTo>
                  <a:cubicBezTo>
                    <a:pt x="10245" y="6821"/>
                    <a:pt x="13331" y="5684"/>
                    <a:pt x="10245" y="4547"/>
                  </a:cubicBezTo>
                  <a:cubicBezTo>
                    <a:pt x="9474" y="4547"/>
                    <a:pt x="8702" y="4547"/>
                    <a:pt x="7931" y="3410"/>
                  </a:cubicBezTo>
                  <a:cubicBezTo>
                    <a:pt x="6388" y="2274"/>
                    <a:pt x="7931" y="2274"/>
                    <a:pt x="7931" y="1137"/>
                  </a:cubicBezTo>
                  <a:cubicBezTo>
                    <a:pt x="7159" y="1137"/>
                    <a:pt x="4845" y="2274"/>
                    <a:pt x="4845" y="2274"/>
                  </a:cubicBezTo>
                  <a:cubicBezTo>
                    <a:pt x="4074" y="1137"/>
                    <a:pt x="9474" y="0"/>
                    <a:pt x="9474" y="0"/>
                  </a:cubicBezTo>
                  <a:cubicBezTo>
                    <a:pt x="9474" y="0"/>
                    <a:pt x="8702" y="1137"/>
                    <a:pt x="8702" y="1137"/>
                  </a:cubicBezTo>
                  <a:cubicBezTo>
                    <a:pt x="7931" y="2274"/>
                    <a:pt x="10245" y="2274"/>
                    <a:pt x="11016" y="2274"/>
                  </a:cubicBezTo>
                  <a:cubicBezTo>
                    <a:pt x="13331" y="3410"/>
                    <a:pt x="14102" y="3410"/>
                    <a:pt x="15645" y="1137"/>
                  </a:cubicBezTo>
                  <a:cubicBezTo>
                    <a:pt x="17959" y="-1137"/>
                    <a:pt x="20274" y="5684"/>
                    <a:pt x="19502" y="7958"/>
                  </a:cubicBezTo>
                  <a:cubicBezTo>
                    <a:pt x="19502" y="10231"/>
                    <a:pt x="19502" y="11368"/>
                    <a:pt x="20274" y="12505"/>
                  </a:cubicBezTo>
                  <a:cubicBezTo>
                    <a:pt x="21045" y="14779"/>
                    <a:pt x="21045" y="15916"/>
                    <a:pt x="19502" y="14779"/>
                  </a:cubicBezTo>
                  <a:cubicBezTo>
                    <a:pt x="17959" y="12505"/>
                    <a:pt x="18731" y="17052"/>
                    <a:pt x="19502" y="18189"/>
                  </a:cubicBezTo>
                  <a:cubicBezTo>
                    <a:pt x="20274" y="19326"/>
                    <a:pt x="17188" y="20463"/>
                    <a:pt x="16416" y="2046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9" name="Shape 2008">
              <a:extLst>
                <a:ext uri="{FF2B5EF4-FFF2-40B4-BE49-F238E27FC236}">
                  <a16:creationId xmlns:a16="http://schemas.microsoft.com/office/drawing/2014/main" id="{D4B165DF-6715-9C25-5129-39D5CFC3F7BF}"/>
                </a:ext>
              </a:extLst>
            </p:cNvPr>
            <p:cNvSpPr/>
            <p:nvPr/>
          </p:nvSpPr>
          <p:spPr>
            <a:xfrm>
              <a:off x="2122331" y="575486"/>
              <a:ext cx="42955" cy="17985"/>
            </a:xfrm>
            <a:custGeom>
              <a:avLst/>
              <a:gdLst/>
              <a:ahLst/>
              <a:cxnLst>
                <a:cxn ang="0">
                  <a:pos x="wd2" y="hd2"/>
                </a:cxn>
                <a:cxn ang="5400000">
                  <a:pos x="wd2" y="hd2"/>
                </a:cxn>
                <a:cxn ang="10800000">
                  <a:pos x="wd2" y="hd2"/>
                </a:cxn>
                <a:cxn ang="16200000">
                  <a:pos x="wd2" y="hd2"/>
                </a:cxn>
              </a:cxnLst>
              <a:rect l="0" t="0" r="r" b="b"/>
              <a:pathLst>
                <a:path w="15878" h="21600" extrusionOk="0">
                  <a:moveTo>
                    <a:pt x="376" y="21600"/>
                  </a:moveTo>
                  <a:cubicBezTo>
                    <a:pt x="7576" y="14400"/>
                    <a:pt x="19576" y="0"/>
                    <a:pt x="14776" y="0"/>
                  </a:cubicBezTo>
                  <a:cubicBezTo>
                    <a:pt x="7576" y="0"/>
                    <a:pt x="-2024" y="21600"/>
                    <a:pt x="376"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0" name="Shape 2009">
              <a:extLst>
                <a:ext uri="{FF2B5EF4-FFF2-40B4-BE49-F238E27FC236}">
                  <a16:creationId xmlns:a16="http://schemas.microsoft.com/office/drawing/2014/main" id="{E0E1691A-8F8B-DD74-192F-9EFD437E4675}"/>
                </a:ext>
              </a:extLst>
            </p:cNvPr>
            <p:cNvSpPr/>
            <p:nvPr/>
          </p:nvSpPr>
          <p:spPr>
            <a:xfrm>
              <a:off x="2109048" y="568743"/>
              <a:ext cx="38406" cy="13489"/>
            </a:xfrm>
            <a:custGeom>
              <a:avLst/>
              <a:gdLst/>
              <a:ahLst/>
              <a:cxnLst>
                <a:cxn ang="0">
                  <a:pos x="wd2" y="hd2"/>
                </a:cxn>
                <a:cxn ang="5400000">
                  <a:pos x="wd2" y="hd2"/>
                </a:cxn>
                <a:cxn ang="10800000">
                  <a:pos x="wd2" y="hd2"/>
                </a:cxn>
                <a:cxn ang="16200000">
                  <a:pos x="wd2" y="hd2"/>
                </a:cxn>
              </a:cxnLst>
              <a:rect l="0" t="0" r="r" b="b"/>
              <a:pathLst>
                <a:path w="15380" h="21600" extrusionOk="0">
                  <a:moveTo>
                    <a:pt x="426" y="21600"/>
                  </a:moveTo>
                  <a:cubicBezTo>
                    <a:pt x="-2274" y="21600"/>
                    <a:pt x="8526" y="0"/>
                    <a:pt x="13926" y="0"/>
                  </a:cubicBezTo>
                  <a:cubicBezTo>
                    <a:pt x="19326" y="0"/>
                    <a:pt x="8526" y="21600"/>
                    <a:pt x="426"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1" name="Shape 2010">
              <a:extLst>
                <a:ext uri="{FF2B5EF4-FFF2-40B4-BE49-F238E27FC236}">
                  <a16:creationId xmlns:a16="http://schemas.microsoft.com/office/drawing/2014/main" id="{11C7446C-758F-B7CF-3876-D91664F3B6E8}"/>
                </a:ext>
              </a:extLst>
            </p:cNvPr>
            <p:cNvSpPr/>
            <p:nvPr/>
          </p:nvSpPr>
          <p:spPr>
            <a:xfrm>
              <a:off x="2088102" y="553415"/>
              <a:ext cx="55722" cy="19865"/>
            </a:xfrm>
            <a:custGeom>
              <a:avLst/>
              <a:gdLst/>
              <a:ahLst/>
              <a:cxnLst>
                <a:cxn ang="0">
                  <a:pos x="wd2" y="hd2"/>
                </a:cxn>
                <a:cxn ang="5400000">
                  <a:pos x="wd2" y="hd2"/>
                </a:cxn>
                <a:cxn ang="10800000">
                  <a:pos x="wd2" y="hd2"/>
                </a:cxn>
                <a:cxn ang="16200000">
                  <a:pos x="wd2" y="hd2"/>
                </a:cxn>
              </a:cxnLst>
              <a:rect l="0" t="0" r="r" b="b"/>
              <a:pathLst>
                <a:path w="17851" h="12724" extrusionOk="0">
                  <a:moveTo>
                    <a:pt x="571" y="9817"/>
                  </a:moveTo>
                  <a:cubicBezTo>
                    <a:pt x="-3749" y="5497"/>
                    <a:pt x="17851" y="-3143"/>
                    <a:pt x="17851" y="1177"/>
                  </a:cubicBezTo>
                  <a:cubicBezTo>
                    <a:pt x="17851" y="5497"/>
                    <a:pt x="9211" y="18457"/>
                    <a:pt x="571" y="98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2" name="Shape 2011">
              <a:extLst>
                <a:ext uri="{FF2B5EF4-FFF2-40B4-BE49-F238E27FC236}">
                  <a16:creationId xmlns:a16="http://schemas.microsoft.com/office/drawing/2014/main" id="{CA4928C1-98AD-F276-528C-931A9BDE3214}"/>
                </a:ext>
              </a:extLst>
            </p:cNvPr>
            <p:cNvSpPr/>
            <p:nvPr/>
          </p:nvSpPr>
          <p:spPr>
            <a:xfrm>
              <a:off x="2083144" y="525486"/>
              <a:ext cx="47197" cy="29771"/>
            </a:xfrm>
            <a:custGeom>
              <a:avLst/>
              <a:gdLst/>
              <a:ahLst/>
              <a:cxnLst>
                <a:cxn ang="0">
                  <a:pos x="wd2" y="hd2"/>
                </a:cxn>
                <a:cxn ang="5400000">
                  <a:pos x="wd2" y="hd2"/>
                </a:cxn>
                <a:cxn ang="10800000">
                  <a:pos x="wd2" y="hd2"/>
                </a:cxn>
                <a:cxn ang="16200000">
                  <a:pos x="wd2" y="hd2"/>
                </a:cxn>
              </a:cxnLst>
              <a:rect l="0" t="0" r="r" b="b"/>
              <a:pathLst>
                <a:path w="21600" h="19069" extrusionOk="0">
                  <a:moveTo>
                    <a:pt x="3086" y="19069"/>
                  </a:moveTo>
                  <a:cubicBezTo>
                    <a:pt x="0" y="14749"/>
                    <a:pt x="0" y="6109"/>
                    <a:pt x="0" y="1789"/>
                  </a:cubicBezTo>
                  <a:cubicBezTo>
                    <a:pt x="3086" y="-2531"/>
                    <a:pt x="9257" y="1789"/>
                    <a:pt x="12343" y="6109"/>
                  </a:cubicBezTo>
                  <a:cubicBezTo>
                    <a:pt x="12343" y="6109"/>
                    <a:pt x="21600" y="10429"/>
                    <a:pt x="21600" y="14749"/>
                  </a:cubicBezTo>
                  <a:cubicBezTo>
                    <a:pt x="21600" y="14749"/>
                    <a:pt x="6171" y="19069"/>
                    <a:pt x="3086" y="19069"/>
                  </a:cubicBezTo>
                  <a:cubicBezTo>
                    <a:pt x="0" y="14749"/>
                    <a:pt x="12343" y="19069"/>
                    <a:pt x="3086" y="1906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3" name="Shape 2012">
              <a:extLst>
                <a:ext uri="{FF2B5EF4-FFF2-40B4-BE49-F238E27FC236}">
                  <a16:creationId xmlns:a16="http://schemas.microsoft.com/office/drawing/2014/main" id="{433BBAF6-466D-A9E7-910B-D3941F610EBF}"/>
                </a:ext>
              </a:extLst>
            </p:cNvPr>
            <p:cNvSpPr/>
            <p:nvPr/>
          </p:nvSpPr>
          <p:spPr>
            <a:xfrm>
              <a:off x="2032228" y="448843"/>
              <a:ext cx="46913" cy="46471"/>
            </a:xfrm>
            <a:custGeom>
              <a:avLst/>
              <a:gdLst/>
              <a:ahLst/>
              <a:cxnLst>
                <a:cxn ang="0">
                  <a:pos x="wd2" y="hd2"/>
                </a:cxn>
                <a:cxn ang="5400000">
                  <a:pos x="wd2" y="hd2"/>
                </a:cxn>
                <a:cxn ang="10800000">
                  <a:pos x="wd2" y="hd2"/>
                </a:cxn>
                <a:cxn ang="16200000">
                  <a:pos x="wd2" y="hd2"/>
                </a:cxn>
              </a:cxnLst>
              <a:rect l="0" t="0" r="r" b="b"/>
              <a:pathLst>
                <a:path w="12882" h="17173" extrusionOk="0">
                  <a:moveTo>
                    <a:pt x="10485" y="16987"/>
                  </a:moveTo>
                  <a:cubicBezTo>
                    <a:pt x="6885" y="19387"/>
                    <a:pt x="-3915" y="-2213"/>
                    <a:pt x="1485" y="187"/>
                  </a:cubicBezTo>
                  <a:cubicBezTo>
                    <a:pt x="6885" y="4987"/>
                    <a:pt x="17685" y="16987"/>
                    <a:pt x="10485" y="1698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4" name="Shape 2013">
              <a:extLst>
                <a:ext uri="{FF2B5EF4-FFF2-40B4-BE49-F238E27FC236}">
                  <a16:creationId xmlns:a16="http://schemas.microsoft.com/office/drawing/2014/main" id="{AFF6C762-AA13-E5C3-7127-BD04D7D93B11}"/>
                </a:ext>
              </a:extLst>
            </p:cNvPr>
            <p:cNvSpPr/>
            <p:nvPr/>
          </p:nvSpPr>
          <p:spPr>
            <a:xfrm>
              <a:off x="2152742" y="440966"/>
              <a:ext cx="44040" cy="11426"/>
            </a:xfrm>
            <a:custGeom>
              <a:avLst/>
              <a:gdLst/>
              <a:ahLst/>
              <a:cxnLst>
                <a:cxn ang="0">
                  <a:pos x="wd2" y="hd2"/>
                </a:cxn>
                <a:cxn ang="5400000">
                  <a:pos x="wd2" y="hd2"/>
                </a:cxn>
                <a:cxn ang="10800000">
                  <a:pos x="wd2" y="hd2"/>
                </a:cxn>
                <a:cxn ang="16200000">
                  <a:pos x="wd2" y="hd2"/>
                </a:cxn>
              </a:cxnLst>
              <a:rect l="0" t="0" r="r" b="b"/>
              <a:pathLst>
                <a:path w="16279" h="12198" extrusionOk="0">
                  <a:moveTo>
                    <a:pt x="1504" y="2016"/>
                  </a:moveTo>
                  <a:cubicBezTo>
                    <a:pt x="8704" y="-5184"/>
                    <a:pt x="18304" y="9216"/>
                    <a:pt x="15904" y="9216"/>
                  </a:cubicBezTo>
                  <a:cubicBezTo>
                    <a:pt x="3904" y="16416"/>
                    <a:pt x="-3296" y="9216"/>
                    <a:pt x="1504" y="20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5" name="Shape 2014">
              <a:extLst>
                <a:ext uri="{FF2B5EF4-FFF2-40B4-BE49-F238E27FC236}">
                  <a16:creationId xmlns:a16="http://schemas.microsoft.com/office/drawing/2014/main" id="{A1FC72ED-1006-8041-E4D8-DD4CA2F77E73}"/>
                </a:ext>
              </a:extLst>
            </p:cNvPr>
            <p:cNvSpPr/>
            <p:nvPr/>
          </p:nvSpPr>
          <p:spPr>
            <a:xfrm>
              <a:off x="2046288" y="334336"/>
              <a:ext cx="213643" cy="113423"/>
            </a:xfrm>
            <a:custGeom>
              <a:avLst/>
              <a:gdLst/>
              <a:ahLst/>
              <a:cxnLst>
                <a:cxn ang="0">
                  <a:pos x="wd2" y="hd2"/>
                </a:cxn>
                <a:cxn ang="5400000">
                  <a:pos x="wd2" y="hd2"/>
                </a:cxn>
                <a:cxn ang="10800000">
                  <a:pos x="wd2" y="hd2"/>
                </a:cxn>
                <a:cxn ang="16200000">
                  <a:pos x="wd2" y="hd2"/>
                </a:cxn>
              </a:cxnLst>
              <a:rect l="0" t="0" r="r" b="b"/>
              <a:pathLst>
                <a:path w="19556" h="19461" extrusionOk="0">
                  <a:moveTo>
                    <a:pt x="15442" y="18660"/>
                  </a:moveTo>
                  <a:cubicBezTo>
                    <a:pt x="14842" y="18660"/>
                    <a:pt x="14842" y="17523"/>
                    <a:pt x="14842" y="16387"/>
                  </a:cubicBezTo>
                  <a:cubicBezTo>
                    <a:pt x="14242" y="15250"/>
                    <a:pt x="12442" y="14113"/>
                    <a:pt x="11842" y="14113"/>
                  </a:cubicBezTo>
                  <a:cubicBezTo>
                    <a:pt x="11242" y="14113"/>
                    <a:pt x="7042" y="16387"/>
                    <a:pt x="7042" y="15250"/>
                  </a:cubicBezTo>
                  <a:cubicBezTo>
                    <a:pt x="7042" y="15250"/>
                    <a:pt x="9442" y="12976"/>
                    <a:pt x="9442" y="12976"/>
                  </a:cubicBezTo>
                  <a:cubicBezTo>
                    <a:pt x="7642" y="11839"/>
                    <a:pt x="5242" y="15250"/>
                    <a:pt x="3442" y="12976"/>
                  </a:cubicBezTo>
                  <a:cubicBezTo>
                    <a:pt x="-158" y="9566"/>
                    <a:pt x="6442" y="10702"/>
                    <a:pt x="6442" y="10702"/>
                  </a:cubicBezTo>
                  <a:cubicBezTo>
                    <a:pt x="6442" y="10702"/>
                    <a:pt x="5842" y="9566"/>
                    <a:pt x="5842" y="9566"/>
                  </a:cubicBezTo>
                  <a:cubicBezTo>
                    <a:pt x="5842" y="9566"/>
                    <a:pt x="6442" y="8429"/>
                    <a:pt x="6442" y="8429"/>
                  </a:cubicBezTo>
                  <a:cubicBezTo>
                    <a:pt x="7042" y="7292"/>
                    <a:pt x="5242" y="8429"/>
                    <a:pt x="5242" y="8429"/>
                  </a:cubicBezTo>
                  <a:cubicBezTo>
                    <a:pt x="4642" y="7292"/>
                    <a:pt x="5842" y="6155"/>
                    <a:pt x="4642" y="6155"/>
                  </a:cubicBezTo>
                  <a:cubicBezTo>
                    <a:pt x="4042" y="6155"/>
                    <a:pt x="2842" y="7292"/>
                    <a:pt x="2242" y="6155"/>
                  </a:cubicBezTo>
                  <a:cubicBezTo>
                    <a:pt x="2242" y="5018"/>
                    <a:pt x="1042" y="6155"/>
                    <a:pt x="442" y="5018"/>
                  </a:cubicBezTo>
                  <a:cubicBezTo>
                    <a:pt x="-1358" y="-666"/>
                    <a:pt x="2842" y="1608"/>
                    <a:pt x="4042" y="1608"/>
                  </a:cubicBezTo>
                  <a:cubicBezTo>
                    <a:pt x="5242" y="471"/>
                    <a:pt x="7042" y="-666"/>
                    <a:pt x="8242" y="471"/>
                  </a:cubicBezTo>
                  <a:cubicBezTo>
                    <a:pt x="10042" y="1608"/>
                    <a:pt x="7042" y="7292"/>
                    <a:pt x="9442" y="5018"/>
                  </a:cubicBezTo>
                  <a:cubicBezTo>
                    <a:pt x="10042" y="5018"/>
                    <a:pt x="11242" y="2745"/>
                    <a:pt x="11842" y="3881"/>
                  </a:cubicBezTo>
                  <a:cubicBezTo>
                    <a:pt x="12442" y="5018"/>
                    <a:pt x="13042" y="7292"/>
                    <a:pt x="13642" y="7292"/>
                  </a:cubicBezTo>
                  <a:cubicBezTo>
                    <a:pt x="14242" y="7292"/>
                    <a:pt x="16042" y="6155"/>
                    <a:pt x="16642" y="7292"/>
                  </a:cubicBezTo>
                  <a:cubicBezTo>
                    <a:pt x="17842" y="8429"/>
                    <a:pt x="17842" y="11839"/>
                    <a:pt x="18442" y="12976"/>
                  </a:cubicBezTo>
                  <a:cubicBezTo>
                    <a:pt x="19042" y="15250"/>
                    <a:pt x="20242" y="16387"/>
                    <a:pt x="19042" y="17523"/>
                  </a:cubicBezTo>
                  <a:cubicBezTo>
                    <a:pt x="18442" y="19797"/>
                    <a:pt x="16642" y="19797"/>
                    <a:pt x="15442" y="18660"/>
                  </a:cubicBezTo>
                  <a:cubicBezTo>
                    <a:pt x="14842" y="17523"/>
                    <a:pt x="17242" y="20934"/>
                    <a:pt x="15442" y="186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6" name="Shape 2015">
              <a:extLst>
                <a:ext uri="{FF2B5EF4-FFF2-40B4-BE49-F238E27FC236}">
                  <a16:creationId xmlns:a16="http://schemas.microsoft.com/office/drawing/2014/main" id="{A315FB3C-1E59-190B-6260-B885EA3E3DD0}"/>
                </a:ext>
              </a:extLst>
            </p:cNvPr>
            <p:cNvSpPr/>
            <p:nvPr/>
          </p:nvSpPr>
          <p:spPr>
            <a:xfrm>
              <a:off x="2225154" y="275895"/>
              <a:ext cx="52891" cy="27586"/>
            </a:xfrm>
            <a:custGeom>
              <a:avLst/>
              <a:gdLst/>
              <a:ahLst/>
              <a:cxnLst>
                <a:cxn ang="0">
                  <a:pos x="wd2" y="hd2"/>
                </a:cxn>
                <a:cxn ang="5400000">
                  <a:pos x="wd2" y="hd2"/>
                </a:cxn>
                <a:cxn ang="10800000">
                  <a:pos x="wd2" y="hd2"/>
                </a:cxn>
                <a:cxn ang="16200000">
                  <a:pos x="wd2" y="hd2"/>
                </a:cxn>
              </a:cxnLst>
              <a:rect l="0" t="0" r="r" b="b"/>
              <a:pathLst>
                <a:path w="15885" h="17670" extrusionOk="0">
                  <a:moveTo>
                    <a:pt x="12881" y="17670"/>
                  </a:moveTo>
                  <a:cubicBezTo>
                    <a:pt x="8954" y="17670"/>
                    <a:pt x="8954" y="13350"/>
                    <a:pt x="5027" y="13350"/>
                  </a:cubicBezTo>
                  <a:cubicBezTo>
                    <a:pt x="5027" y="13350"/>
                    <a:pt x="-2828" y="13350"/>
                    <a:pt x="1099" y="9030"/>
                  </a:cubicBezTo>
                  <a:cubicBezTo>
                    <a:pt x="3063" y="390"/>
                    <a:pt x="8954" y="-3930"/>
                    <a:pt x="10917" y="4710"/>
                  </a:cubicBezTo>
                  <a:cubicBezTo>
                    <a:pt x="14845" y="9030"/>
                    <a:pt x="18772" y="17670"/>
                    <a:pt x="12881" y="1767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7" name="Shape 2016">
              <a:extLst>
                <a:ext uri="{FF2B5EF4-FFF2-40B4-BE49-F238E27FC236}">
                  <a16:creationId xmlns:a16="http://schemas.microsoft.com/office/drawing/2014/main" id="{2B210679-1D2B-2432-206F-4A1B38C2D760}"/>
                </a:ext>
              </a:extLst>
            </p:cNvPr>
            <p:cNvSpPr/>
            <p:nvPr/>
          </p:nvSpPr>
          <p:spPr>
            <a:xfrm>
              <a:off x="2280802" y="379161"/>
              <a:ext cx="120672" cy="70439"/>
            </a:xfrm>
            <a:custGeom>
              <a:avLst/>
              <a:gdLst/>
              <a:ahLst/>
              <a:cxnLst>
                <a:cxn ang="0">
                  <a:pos x="wd2" y="hd2"/>
                </a:cxn>
                <a:cxn ang="5400000">
                  <a:pos x="wd2" y="hd2"/>
                </a:cxn>
                <a:cxn ang="10800000">
                  <a:pos x="wd2" y="hd2"/>
                </a:cxn>
                <a:cxn ang="16200000">
                  <a:pos x="wd2" y="hd2"/>
                </a:cxn>
              </a:cxnLst>
              <a:rect l="0" t="0" r="r" b="b"/>
              <a:pathLst>
                <a:path w="19657" h="20509" extrusionOk="0">
                  <a:moveTo>
                    <a:pt x="7560" y="12654"/>
                  </a:moveTo>
                  <a:cubicBezTo>
                    <a:pt x="5400" y="12654"/>
                    <a:pt x="3240" y="10691"/>
                    <a:pt x="2160" y="8727"/>
                  </a:cubicBezTo>
                  <a:cubicBezTo>
                    <a:pt x="-1080" y="6764"/>
                    <a:pt x="3240" y="4800"/>
                    <a:pt x="3240" y="4800"/>
                  </a:cubicBezTo>
                  <a:cubicBezTo>
                    <a:pt x="3240" y="2836"/>
                    <a:pt x="1080" y="873"/>
                    <a:pt x="0" y="873"/>
                  </a:cubicBezTo>
                  <a:cubicBezTo>
                    <a:pt x="0" y="-1091"/>
                    <a:pt x="5400" y="873"/>
                    <a:pt x="5400" y="873"/>
                  </a:cubicBezTo>
                  <a:cubicBezTo>
                    <a:pt x="7560" y="873"/>
                    <a:pt x="9720" y="2836"/>
                    <a:pt x="11880" y="4800"/>
                  </a:cubicBezTo>
                  <a:cubicBezTo>
                    <a:pt x="14040" y="4800"/>
                    <a:pt x="15120" y="4800"/>
                    <a:pt x="16200" y="4800"/>
                  </a:cubicBezTo>
                  <a:cubicBezTo>
                    <a:pt x="17280" y="4800"/>
                    <a:pt x="20520" y="6764"/>
                    <a:pt x="19440" y="6764"/>
                  </a:cubicBezTo>
                  <a:cubicBezTo>
                    <a:pt x="17280" y="10691"/>
                    <a:pt x="16200" y="8727"/>
                    <a:pt x="18360" y="14618"/>
                  </a:cubicBezTo>
                  <a:cubicBezTo>
                    <a:pt x="19440" y="16582"/>
                    <a:pt x="16200" y="16582"/>
                    <a:pt x="15120" y="18545"/>
                  </a:cubicBezTo>
                  <a:cubicBezTo>
                    <a:pt x="12960" y="18545"/>
                    <a:pt x="10800" y="20509"/>
                    <a:pt x="8640" y="20509"/>
                  </a:cubicBezTo>
                  <a:cubicBezTo>
                    <a:pt x="7560" y="18545"/>
                    <a:pt x="3240" y="16582"/>
                    <a:pt x="3240" y="14618"/>
                  </a:cubicBezTo>
                  <a:cubicBezTo>
                    <a:pt x="3240" y="14618"/>
                    <a:pt x="9720" y="12654"/>
                    <a:pt x="7560" y="12654"/>
                  </a:cubicBezTo>
                  <a:cubicBezTo>
                    <a:pt x="4320" y="10691"/>
                    <a:pt x="9720" y="12654"/>
                    <a:pt x="7560" y="126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8" name="Shape 2017">
              <a:extLst>
                <a:ext uri="{FF2B5EF4-FFF2-40B4-BE49-F238E27FC236}">
                  <a16:creationId xmlns:a16="http://schemas.microsoft.com/office/drawing/2014/main" id="{E6C42B51-93E0-7B59-EA85-0F61BD7F633A}"/>
                </a:ext>
              </a:extLst>
            </p:cNvPr>
            <p:cNvSpPr/>
            <p:nvPr/>
          </p:nvSpPr>
          <p:spPr>
            <a:xfrm>
              <a:off x="2356056" y="446601"/>
              <a:ext cx="99800" cy="29975"/>
            </a:xfrm>
            <a:custGeom>
              <a:avLst/>
              <a:gdLst/>
              <a:ahLst/>
              <a:cxnLst>
                <a:cxn ang="0">
                  <a:pos x="wd2" y="hd2"/>
                </a:cxn>
                <a:cxn ang="5400000">
                  <a:pos x="wd2" y="hd2"/>
                </a:cxn>
                <a:cxn ang="10800000">
                  <a:pos x="wd2" y="hd2"/>
                </a:cxn>
                <a:cxn ang="16200000">
                  <a:pos x="wd2" y="hd2"/>
                </a:cxn>
              </a:cxnLst>
              <a:rect l="0" t="0" r="r" b="b"/>
              <a:pathLst>
                <a:path w="18446" h="19200" extrusionOk="0">
                  <a:moveTo>
                    <a:pt x="15374" y="19200"/>
                  </a:moveTo>
                  <a:cubicBezTo>
                    <a:pt x="15374" y="14880"/>
                    <a:pt x="20174" y="6240"/>
                    <a:pt x="17774" y="6240"/>
                  </a:cubicBezTo>
                  <a:cubicBezTo>
                    <a:pt x="16574" y="1920"/>
                    <a:pt x="15374" y="1920"/>
                    <a:pt x="14174" y="1920"/>
                  </a:cubicBezTo>
                  <a:cubicBezTo>
                    <a:pt x="10574" y="1920"/>
                    <a:pt x="5774" y="-2400"/>
                    <a:pt x="2174" y="1920"/>
                  </a:cubicBezTo>
                  <a:cubicBezTo>
                    <a:pt x="-1426" y="1920"/>
                    <a:pt x="-226" y="14880"/>
                    <a:pt x="3374" y="14880"/>
                  </a:cubicBezTo>
                  <a:cubicBezTo>
                    <a:pt x="6974" y="14880"/>
                    <a:pt x="11774" y="19200"/>
                    <a:pt x="15374" y="19200"/>
                  </a:cubicBezTo>
                  <a:cubicBezTo>
                    <a:pt x="17774" y="14880"/>
                    <a:pt x="12974" y="19200"/>
                    <a:pt x="15374" y="19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9" name="Shape 2018">
              <a:extLst>
                <a:ext uri="{FF2B5EF4-FFF2-40B4-BE49-F238E27FC236}">
                  <a16:creationId xmlns:a16="http://schemas.microsoft.com/office/drawing/2014/main" id="{6C3EAE75-05E0-C450-DF3D-82DF658018EE}"/>
                </a:ext>
              </a:extLst>
            </p:cNvPr>
            <p:cNvSpPr/>
            <p:nvPr/>
          </p:nvSpPr>
          <p:spPr>
            <a:xfrm>
              <a:off x="2347517" y="597217"/>
              <a:ext cx="98284" cy="68752"/>
            </a:xfrm>
            <a:custGeom>
              <a:avLst/>
              <a:gdLst/>
              <a:ahLst/>
              <a:cxnLst>
                <a:cxn ang="0">
                  <a:pos x="wd2" y="hd2"/>
                </a:cxn>
                <a:cxn ang="5400000">
                  <a:pos x="wd2" y="hd2"/>
                </a:cxn>
                <a:cxn ang="10800000">
                  <a:pos x="wd2" y="hd2"/>
                </a:cxn>
                <a:cxn ang="16200000">
                  <a:pos x="wd2" y="hd2"/>
                </a:cxn>
              </a:cxnLst>
              <a:rect l="0" t="0" r="r" b="b"/>
              <a:pathLst>
                <a:path w="19278" h="20018" extrusionOk="0">
                  <a:moveTo>
                    <a:pt x="7733" y="873"/>
                  </a:moveTo>
                  <a:cubicBezTo>
                    <a:pt x="5192" y="-1091"/>
                    <a:pt x="1380" y="6764"/>
                    <a:pt x="110" y="10691"/>
                  </a:cubicBezTo>
                  <a:cubicBezTo>
                    <a:pt x="-1161" y="14618"/>
                    <a:pt x="9004" y="18545"/>
                    <a:pt x="11545" y="18545"/>
                  </a:cubicBezTo>
                  <a:cubicBezTo>
                    <a:pt x="12815" y="20509"/>
                    <a:pt x="16627" y="20509"/>
                    <a:pt x="17898" y="18545"/>
                  </a:cubicBezTo>
                  <a:cubicBezTo>
                    <a:pt x="19168" y="18545"/>
                    <a:pt x="17898" y="16582"/>
                    <a:pt x="17898" y="14618"/>
                  </a:cubicBezTo>
                  <a:cubicBezTo>
                    <a:pt x="17898" y="12654"/>
                    <a:pt x="17898" y="10691"/>
                    <a:pt x="19168" y="10691"/>
                  </a:cubicBezTo>
                  <a:cubicBezTo>
                    <a:pt x="20439" y="6764"/>
                    <a:pt x="10274" y="873"/>
                    <a:pt x="7733" y="873"/>
                  </a:cubicBezTo>
                  <a:cubicBezTo>
                    <a:pt x="5192" y="-1091"/>
                    <a:pt x="9004" y="873"/>
                    <a:pt x="7733" y="8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0" name="Shape 2019">
              <a:extLst>
                <a:ext uri="{FF2B5EF4-FFF2-40B4-BE49-F238E27FC236}">
                  <a16:creationId xmlns:a16="http://schemas.microsoft.com/office/drawing/2014/main" id="{31200CB3-833F-BD28-6915-8E837913EFF3}"/>
                </a:ext>
              </a:extLst>
            </p:cNvPr>
            <p:cNvSpPr/>
            <p:nvPr/>
          </p:nvSpPr>
          <p:spPr>
            <a:xfrm>
              <a:off x="2397383" y="579802"/>
              <a:ext cx="17968" cy="9353"/>
            </a:xfrm>
            <a:custGeom>
              <a:avLst/>
              <a:gdLst/>
              <a:ahLst/>
              <a:cxnLst>
                <a:cxn ang="0">
                  <a:pos x="wd2" y="hd2"/>
                </a:cxn>
                <a:cxn ang="5400000">
                  <a:pos x="wd2" y="hd2"/>
                </a:cxn>
                <a:cxn ang="10800000">
                  <a:pos x="wd2" y="hd2"/>
                </a:cxn>
                <a:cxn ang="16200000">
                  <a:pos x="wd2" y="hd2"/>
                </a:cxn>
              </a:cxnLst>
              <a:rect l="0" t="0" r="r" b="b"/>
              <a:pathLst>
                <a:path w="14390" h="11232" extrusionOk="0">
                  <a:moveTo>
                    <a:pt x="12918" y="9216"/>
                  </a:moveTo>
                  <a:cubicBezTo>
                    <a:pt x="2118" y="16416"/>
                    <a:pt x="-3282" y="2016"/>
                    <a:pt x="2118" y="2016"/>
                  </a:cubicBezTo>
                  <a:cubicBezTo>
                    <a:pt x="7518" y="-5184"/>
                    <a:pt x="18318" y="9216"/>
                    <a:pt x="12918" y="92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1" name="Shape 2020">
              <a:extLst>
                <a:ext uri="{FF2B5EF4-FFF2-40B4-BE49-F238E27FC236}">
                  <a16:creationId xmlns:a16="http://schemas.microsoft.com/office/drawing/2014/main" id="{1656BDF4-0C52-CE6C-AE14-340A482D7A40}"/>
                </a:ext>
              </a:extLst>
            </p:cNvPr>
            <p:cNvSpPr/>
            <p:nvPr/>
          </p:nvSpPr>
          <p:spPr>
            <a:xfrm>
              <a:off x="2517016" y="459880"/>
              <a:ext cx="53815" cy="33085"/>
            </a:xfrm>
            <a:custGeom>
              <a:avLst/>
              <a:gdLst/>
              <a:ahLst/>
              <a:cxnLst>
                <a:cxn ang="0">
                  <a:pos x="wd2" y="hd2"/>
                </a:cxn>
                <a:cxn ang="5400000">
                  <a:pos x="wd2" y="hd2"/>
                </a:cxn>
                <a:cxn ang="10800000">
                  <a:pos x="wd2" y="hd2"/>
                </a:cxn>
                <a:cxn ang="16200000">
                  <a:pos x="wd2" y="hd2"/>
                </a:cxn>
              </a:cxnLst>
              <a:rect l="0" t="0" r="r" b="b"/>
              <a:pathLst>
                <a:path w="19893" h="18700" extrusionOk="0">
                  <a:moveTo>
                    <a:pt x="693" y="16000"/>
                  </a:moveTo>
                  <a:cubicBezTo>
                    <a:pt x="693" y="16000"/>
                    <a:pt x="3093" y="5200"/>
                    <a:pt x="693" y="1600"/>
                  </a:cubicBezTo>
                  <a:cubicBezTo>
                    <a:pt x="693" y="-2000"/>
                    <a:pt x="7893" y="1600"/>
                    <a:pt x="10293" y="1600"/>
                  </a:cubicBezTo>
                  <a:cubicBezTo>
                    <a:pt x="12693" y="1600"/>
                    <a:pt x="19893" y="5200"/>
                    <a:pt x="19893" y="8800"/>
                  </a:cubicBezTo>
                  <a:cubicBezTo>
                    <a:pt x="17493" y="12400"/>
                    <a:pt x="12693" y="16000"/>
                    <a:pt x="10293" y="16000"/>
                  </a:cubicBezTo>
                  <a:cubicBezTo>
                    <a:pt x="5493" y="19600"/>
                    <a:pt x="5493" y="19600"/>
                    <a:pt x="693" y="16000"/>
                  </a:cubicBezTo>
                  <a:cubicBezTo>
                    <a:pt x="-1707" y="12400"/>
                    <a:pt x="3093" y="19600"/>
                    <a:pt x="693" y="16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2" name="Shape 2021">
              <a:extLst>
                <a:ext uri="{FF2B5EF4-FFF2-40B4-BE49-F238E27FC236}">
                  <a16:creationId xmlns:a16="http://schemas.microsoft.com/office/drawing/2014/main" id="{11639489-03E0-C602-EC44-AE6FA87361F6}"/>
                </a:ext>
              </a:extLst>
            </p:cNvPr>
            <p:cNvSpPr/>
            <p:nvPr/>
          </p:nvSpPr>
          <p:spPr>
            <a:xfrm>
              <a:off x="2546175" y="520156"/>
              <a:ext cx="13964" cy="16703"/>
            </a:xfrm>
            <a:custGeom>
              <a:avLst/>
              <a:gdLst/>
              <a:ahLst/>
              <a:cxnLst>
                <a:cxn ang="0">
                  <a:pos x="wd2" y="hd2"/>
                </a:cxn>
                <a:cxn ang="5400000">
                  <a:pos x="wd2" y="hd2"/>
                </a:cxn>
                <a:cxn ang="10800000">
                  <a:pos x="wd2" y="hd2"/>
                </a:cxn>
                <a:cxn ang="16200000">
                  <a:pos x="wd2" y="hd2"/>
                </a:cxn>
              </a:cxnLst>
              <a:rect l="0" t="0" r="r" b="b"/>
              <a:pathLst>
                <a:path w="14912" h="13374" extrusionOk="0">
                  <a:moveTo>
                    <a:pt x="11929" y="1102"/>
                  </a:moveTo>
                  <a:cubicBezTo>
                    <a:pt x="-2471" y="-4298"/>
                    <a:pt x="-2471" y="11902"/>
                    <a:pt x="4729" y="11902"/>
                  </a:cubicBezTo>
                  <a:cubicBezTo>
                    <a:pt x="11929" y="17302"/>
                    <a:pt x="19129" y="6502"/>
                    <a:pt x="11929" y="11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3" name="Shape 2022">
              <a:extLst>
                <a:ext uri="{FF2B5EF4-FFF2-40B4-BE49-F238E27FC236}">
                  <a16:creationId xmlns:a16="http://schemas.microsoft.com/office/drawing/2014/main" id="{598DE3B4-068E-C08A-7118-0069FEBFD971}"/>
                </a:ext>
              </a:extLst>
            </p:cNvPr>
            <p:cNvSpPr/>
            <p:nvPr/>
          </p:nvSpPr>
          <p:spPr>
            <a:xfrm>
              <a:off x="2328111" y="498461"/>
              <a:ext cx="568349" cy="175939"/>
            </a:xfrm>
            <a:custGeom>
              <a:avLst/>
              <a:gdLst/>
              <a:ahLst/>
              <a:cxnLst>
                <a:cxn ang="0">
                  <a:pos x="wd2" y="hd2"/>
                </a:cxn>
                <a:cxn ang="5400000">
                  <a:pos x="wd2" y="hd2"/>
                </a:cxn>
                <a:cxn ang="10800000">
                  <a:pos x="wd2" y="hd2"/>
                </a:cxn>
                <a:cxn ang="16200000">
                  <a:pos x="wd2" y="hd2"/>
                </a:cxn>
              </a:cxnLst>
              <a:rect l="0" t="0" r="r" b="b"/>
              <a:pathLst>
                <a:path w="20929" h="21131" extrusionOk="0">
                  <a:moveTo>
                    <a:pt x="4126" y="5131"/>
                  </a:moveTo>
                  <a:cubicBezTo>
                    <a:pt x="4369" y="5131"/>
                    <a:pt x="4854" y="3531"/>
                    <a:pt x="4611" y="2731"/>
                  </a:cubicBezTo>
                  <a:cubicBezTo>
                    <a:pt x="4369" y="1931"/>
                    <a:pt x="3883" y="1131"/>
                    <a:pt x="3640" y="1131"/>
                  </a:cubicBezTo>
                  <a:cubicBezTo>
                    <a:pt x="3398" y="1131"/>
                    <a:pt x="3155" y="1131"/>
                    <a:pt x="2912" y="1131"/>
                  </a:cubicBezTo>
                  <a:cubicBezTo>
                    <a:pt x="2184" y="331"/>
                    <a:pt x="1699" y="-469"/>
                    <a:pt x="971" y="331"/>
                  </a:cubicBezTo>
                  <a:cubicBezTo>
                    <a:pt x="0" y="1131"/>
                    <a:pt x="728" y="1131"/>
                    <a:pt x="971" y="1931"/>
                  </a:cubicBezTo>
                  <a:cubicBezTo>
                    <a:pt x="971" y="1931"/>
                    <a:pt x="0" y="1931"/>
                    <a:pt x="0" y="2731"/>
                  </a:cubicBezTo>
                  <a:cubicBezTo>
                    <a:pt x="0" y="3531"/>
                    <a:pt x="971" y="3531"/>
                    <a:pt x="1213" y="3531"/>
                  </a:cubicBezTo>
                  <a:cubicBezTo>
                    <a:pt x="1213" y="4331"/>
                    <a:pt x="1699" y="4331"/>
                    <a:pt x="1699" y="4331"/>
                  </a:cubicBezTo>
                  <a:cubicBezTo>
                    <a:pt x="1699" y="5131"/>
                    <a:pt x="1456" y="5131"/>
                    <a:pt x="1456" y="5131"/>
                  </a:cubicBezTo>
                  <a:cubicBezTo>
                    <a:pt x="2912" y="8331"/>
                    <a:pt x="5097" y="3531"/>
                    <a:pt x="5825" y="9931"/>
                  </a:cubicBezTo>
                  <a:cubicBezTo>
                    <a:pt x="5825" y="10731"/>
                    <a:pt x="6310" y="11531"/>
                    <a:pt x="6067" y="12331"/>
                  </a:cubicBezTo>
                  <a:cubicBezTo>
                    <a:pt x="5825" y="13931"/>
                    <a:pt x="5582" y="14731"/>
                    <a:pt x="5825" y="16331"/>
                  </a:cubicBezTo>
                  <a:cubicBezTo>
                    <a:pt x="5825" y="16331"/>
                    <a:pt x="6310" y="19531"/>
                    <a:pt x="6553" y="19531"/>
                  </a:cubicBezTo>
                  <a:cubicBezTo>
                    <a:pt x="6796" y="20331"/>
                    <a:pt x="7281" y="17931"/>
                    <a:pt x="7281" y="18731"/>
                  </a:cubicBezTo>
                  <a:cubicBezTo>
                    <a:pt x="7524" y="18731"/>
                    <a:pt x="7766" y="20331"/>
                    <a:pt x="8009" y="20331"/>
                  </a:cubicBezTo>
                  <a:cubicBezTo>
                    <a:pt x="8494" y="21131"/>
                    <a:pt x="8980" y="20331"/>
                    <a:pt x="9222" y="20331"/>
                  </a:cubicBezTo>
                  <a:cubicBezTo>
                    <a:pt x="9465" y="19531"/>
                    <a:pt x="9951" y="17931"/>
                    <a:pt x="10193" y="17931"/>
                  </a:cubicBezTo>
                  <a:cubicBezTo>
                    <a:pt x="10193" y="17931"/>
                    <a:pt x="10679" y="20331"/>
                    <a:pt x="10921" y="20331"/>
                  </a:cubicBezTo>
                  <a:cubicBezTo>
                    <a:pt x="11407" y="21131"/>
                    <a:pt x="12135" y="21131"/>
                    <a:pt x="12620" y="21131"/>
                  </a:cubicBezTo>
                  <a:cubicBezTo>
                    <a:pt x="13591" y="21131"/>
                    <a:pt x="14319" y="21131"/>
                    <a:pt x="15047" y="21131"/>
                  </a:cubicBezTo>
                  <a:cubicBezTo>
                    <a:pt x="15290" y="21131"/>
                    <a:pt x="15533" y="21131"/>
                    <a:pt x="15775" y="21131"/>
                  </a:cubicBezTo>
                  <a:cubicBezTo>
                    <a:pt x="16261" y="20331"/>
                    <a:pt x="16018" y="18731"/>
                    <a:pt x="16261" y="18731"/>
                  </a:cubicBezTo>
                  <a:cubicBezTo>
                    <a:pt x="16503" y="17931"/>
                    <a:pt x="16746" y="18731"/>
                    <a:pt x="16989" y="19531"/>
                  </a:cubicBezTo>
                  <a:cubicBezTo>
                    <a:pt x="17231" y="20331"/>
                    <a:pt x="17960" y="21131"/>
                    <a:pt x="18445" y="21131"/>
                  </a:cubicBezTo>
                  <a:cubicBezTo>
                    <a:pt x="18930" y="21131"/>
                    <a:pt x="19416" y="21131"/>
                    <a:pt x="19901" y="20331"/>
                  </a:cubicBezTo>
                  <a:cubicBezTo>
                    <a:pt x="20387" y="20331"/>
                    <a:pt x="20144" y="18731"/>
                    <a:pt x="20629" y="18731"/>
                  </a:cubicBezTo>
                  <a:cubicBezTo>
                    <a:pt x="20872" y="18731"/>
                    <a:pt x="21115" y="16331"/>
                    <a:pt x="20629" y="17131"/>
                  </a:cubicBezTo>
                  <a:cubicBezTo>
                    <a:pt x="20629" y="17131"/>
                    <a:pt x="20144" y="17131"/>
                    <a:pt x="19901" y="17131"/>
                  </a:cubicBezTo>
                  <a:cubicBezTo>
                    <a:pt x="19901" y="17131"/>
                    <a:pt x="21600" y="13931"/>
                    <a:pt x="20629" y="13131"/>
                  </a:cubicBezTo>
                  <a:cubicBezTo>
                    <a:pt x="20387" y="13131"/>
                    <a:pt x="19901" y="12331"/>
                    <a:pt x="19416" y="12331"/>
                  </a:cubicBezTo>
                  <a:cubicBezTo>
                    <a:pt x="18930" y="12331"/>
                    <a:pt x="19416" y="10731"/>
                    <a:pt x="18930" y="10731"/>
                  </a:cubicBezTo>
                  <a:cubicBezTo>
                    <a:pt x="18202" y="10731"/>
                    <a:pt x="17717" y="10731"/>
                    <a:pt x="16989" y="10731"/>
                  </a:cubicBezTo>
                  <a:cubicBezTo>
                    <a:pt x="16503" y="10731"/>
                    <a:pt x="16261" y="9931"/>
                    <a:pt x="15775" y="10731"/>
                  </a:cubicBezTo>
                  <a:cubicBezTo>
                    <a:pt x="15533" y="10731"/>
                    <a:pt x="13348" y="12331"/>
                    <a:pt x="13348" y="13131"/>
                  </a:cubicBezTo>
                  <a:cubicBezTo>
                    <a:pt x="13348" y="13131"/>
                    <a:pt x="13591" y="13131"/>
                    <a:pt x="13591" y="13931"/>
                  </a:cubicBezTo>
                  <a:cubicBezTo>
                    <a:pt x="13591" y="13931"/>
                    <a:pt x="12863" y="13931"/>
                    <a:pt x="12620" y="13931"/>
                  </a:cubicBezTo>
                  <a:cubicBezTo>
                    <a:pt x="12378" y="13931"/>
                    <a:pt x="12135" y="13131"/>
                    <a:pt x="11892" y="12331"/>
                  </a:cubicBezTo>
                  <a:cubicBezTo>
                    <a:pt x="11649" y="12331"/>
                    <a:pt x="11407" y="13131"/>
                    <a:pt x="11164" y="13131"/>
                  </a:cubicBezTo>
                  <a:cubicBezTo>
                    <a:pt x="10921" y="13131"/>
                    <a:pt x="10436" y="12331"/>
                    <a:pt x="10193" y="12331"/>
                  </a:cubicBezTo>
                  <a:cubicBezTo>
                    <a:pt x="9951" y="12331"/>
                    <a:pt x="10193" y="13931"/>
                    <a:pt x="9951" y="13931"/>
                  </a:cubicBezTo>
                  <a:cubicBezTo>
                    <a:pt x="9708" y="13931"/>
                    <a:pt x="9465" y="12331"/>
                    <a:pt x="9222" y="12331"/>
                  </a:cubicBezTo>
                  <a:cubicBezTo>
                    <a:pt x="8494" y="12331"/>
                    <a:pt x="9465" y="11531"/>
                    <a:pt x="9465" y="10731"/>
                  </a:cubicBezTo>
                  <a:cubicBezTo>
                    <a:pt x="9465" y="9931"/>
                    <a:pt x="8494" y="9131"/>
                    <a:pt x="8252" y="9131"/>
                  </a:cubicBezTo>
                  <a:cubicBezTo>
                    <a:pt x="8252" y="9131"/>
                    <a:pt x="7281" y="9931"/>
                    <a:pt x="7281" y="9931"/>
                  </a:cubicBezTo>
                  <a:cubicBezTo>
                    <a:pt x="7281" y="9131"/>
                    <a:pt x="7766" y="9131"/>
                    <a:pt x="7766" y="9131"/>
                  </a:cubicBezTo>
                  <a:cubicBezTo>
                    <a:pt x="7766" y="8331"/>
                    <a:pt x="6553" y="7531"/>
                    <a:pt x="6796" y="6731"/>
                  </a:cubicBezTo>
                  <a:cubicBezTo>
                    <a:pt x="6796" y="6731"/>
                    <a:pt x="9222" y="7531"/>
                    <a:pt x="9222" y="7531"/>
                  </a:cubicBezTo>
                  <a:cubicBezTo>
                    <a:pt x="9222" y="6731"/>
                    <a:pt x="8252" y="5931"/>
                    <a:pt x="8009" y="5131"/>
                  </a:cubicBezTo>
                  <a:cubicBezTo>
                    <a:pt x="7766" y="5131"/>
                    <a:pt x="7281" y="5131"/>
                    <a:pt x="6796" y="5131"/>
                  </a:cubicBezTo>
                  <a:cubicBezTo>
                    <a:pt x="7038" y="5131"/>
                    <a:pt x="7524" y="5131"/>
                    <a:pt x="7766" y="4331"/>
                  </a:cubicBezTo>
                  <a:cubicBezTo>
                    <a:pt x="7766" y="3531"/>
                    <a:pt x="6553" y="3531"/>
                    <a:pt x="6553" y="3531"/>
                  </a:cubicBezTo>
                  <a:cubicBezTo>
                    <a:pt x="5582" y="3531"/>
                    <a:pt x="5097" y="4331"/>
                    <a:pt x="4126" y="5131"/>
                  </a:cubicBezTo>
                  <a:cubicBezTo>
                    <a:pt x="4126" y="5131"/>
                    <a:pt x="4369" y="5131"/>
                    <a:pt x="4126" y="51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4" name="Shape 2023">
              <a:extLst>
                <a:ext uri="{FF2B5EF4-FFF2-40B4-BE49-F238E27FC236}">
                  <a16:creationId xmlns:a16="http://schemas.microsoft.com/office/drawing/2014/main" id="{B09227D2-C966-B6F5-65B0-E343AA70668D}"/>
                </a:ext>
              </a:extLst>
            </p:cNvPr>
            <p:cNvSpPr/>
            <p:nvPr/>
          </p:nvSpPr>
          <p:spPr>
            <a:xfrm>
              <a:off x="2341597" y="184336"/>
              <a:ext cx="383084" cy="238410"/>
            </a:xfrm>
            <a:custGeom>
              <a:avLst/>
              <a:gdLst/>
              <a:ahLst/>
              <a:cxnLst>
                <a:cxn ang="0">
                  <a:pos x="wd2" y="hd2"/>
                </a:cxn>
                <a:cxn ang="5400000">
                  <a:pos x="wd2" y="hd2"/>
                </a:cxn>
                <a:cxn ang="10800000">
                  <a:pos x="wd2" y="hd2"/>
                </a:cxn>
                <a:cxn ang="16200000">
                  <a:pos x="wd2" y="hd2"/>
                </a:cxn>
              </a:cxnLst>
              <a:rect l="0" t="0" r="r" b="b"/>
              <a:pathLst>
                <a:path w="21282" h="21016" extrusionOk="0">
                  <a:moveTo>
                    <a:pt x="21234" y="14011"/>
                  </a:moveTo>
                  <a:cubicBezTo>
                    <a:pt x="21234" y="12843"/>
                    <a:pt x="20502" y="12843"/>
                    <a:pt x="20136" y="12259"/>
                  </a:cubicBezTo>
                  <a:cubicBezTo>
                    <a:pt x="19769" y="11676"/>
                    <a:pt x="19403" y="12843"/>
                    <a:pt x="19037" y="12259"/>
                  </a:cubicBezTo>
                  <a:cubicBezTo>
                    <a:pt x="18305" y="11092"/>
                    <a:pt x="17573" y="12259"/>
                    <a:pt x="16841" y="11676"/>
                  </a:cubicBezTo>
                  <a:cubicBezTo>
                    <a:pt x="16841" y="11676"/>
                    <a:pt x="17573" y="11092"/>
                    <a:pt x="17573" y="10508"/>
                  </a:cubicBezTo>
                  <a:cubicBezTo>
                    <a:pt x="17573" y="10508"/>
                    <a:pt x="16841" y="10508"/>
                    <a:pt x="16841" y="10508"/>
                  </a:cubicBezTo>
                  <a:cubicBezTo>
                    <a:pt x="16841" y="9924"/>
                    <a:pt x="17207" y="9924"/>
                    <a:pt x="17207" y="9341"/>
                  </a:cubicBezTo>
                  <a:cubicBezTo>
                    <a:pt x="17207" y="8757"/>
                    <a:pt x="16108" y="9341"/>
                    <a:pt x="16108" y="8757"/>
                  </a:cubicBezTo>
                  <a:cubicBezTo>
                    <a:pt x="15742" y="8757"/>
                    <a:pt x="16475" y="8173"/>
                    <a:pt x="16475" y="8173"/>
                  </a:cubicBezTo>
                  <a:cubicBezTo>
                    <a:pt x="16841" y="7589"/>
                    <a:pt x="16108" y="7005"/>
                    <a:pt x="16108" y="6422"/>
                  </a:cubicBezTo>
                  <a:cubicBezTo>
                    <a:pt x="15742" y="5838"/>
                    <a:pt x="13912" y="6422"/>
                    <a:pt x="13912" y="6422"/>
                  </a:cubicBezTo>
                  <a:cubicBezTo>
                    <a:pt x="13912" y="7005"/>
                    <a:pt x="15742" y="8173"/>
                    <a:pt x="15742" y="8757"/>
                  </a:cubicBezTo>
                  <a:cubicBezTo>
                    <a:pt x="15376" y="9341"/>
                    <a:pt x="14278" y="8173"/>
                    <a:pt x="13912" y="7589"/>
                  </a:cubicBezTo>
                  <a:cubicBezTo>
                    <a:pt x="13180" y="7005"/>
                    <a:pt x="14278" y="5838"/>
                    <a:pt x="12814" y="5838"/>
                  </a:cubicBezTo>
                  <a:cubicBezTo>
                    <a:pt x="12081" y="5838"/>
                    <a:pt x="10983" y="5838"/>
                    <a:pt x="10617" y="4670"/>
                  </a:cubicBezTo>
                  <a:cubicBezTo>
                    <a:pt x="10251" y="3503"/>
                    <a:pt x="9519" y="1751"/>
                    <a:pt x="8786" y="1168"/>
                  </a:cubicBezTo>
                  <a:cubicBezTo>
                    <a:pt x="7688" y="584"/>
                    <a:pt x="6590" y="0"/>
                    <a:pt x="5858" y="0"/>
                  </a:cubicBezTo>
                  <a:cubicBezTo>
                    <a:pt x="5492" y="0"/>
                    <a:pt x="3661" y="0"/>
                    <a:pt x="4393" y="584"/>
                  </a:cubicBezTo>
                  <a:cubicBezTo>
                    <a:pt x="4759" y="584"/>
                    <a:pt x="6224" y="1168"/>
                    <a:pt x="6224" y="1168"/>
                  </a:cubicBezTo>
                  <a:cubicBezTo>
                    <a:pt x="6224" y="2335"/>
                    <a:pt x="4759" y="1751"/>
                    <a:pt x="4393" y="1751"/>
                  </a:cubicBezTo>
                  <a:cubicBezTo>
                    <a:pt x="4393" y="1751"/>
                    <a:pt x="4759" y="2335"/>
                    <a:pt x="4759" y="2335"/>
                  </a:cubicBezTo>
                  <a:cubicBezTo>
                    <a:pt x="4759" y="2919"/>
                    <a:pt x="2563" y="1168"/>
                    <a:pt x="2197" y="2919"/>
                  </a:cubicBezTo>
                  <a:cubicBezTo>
                    <a:pt x="2197" y="2919"/>
                    <a:pt x="4027" y="4086"/>
                    <a:pt x="4393" y="4086"/>
                  </a:cubicBezTo>
                  <a:cubicBezTo>
                    <a:pt x="3661" y="3503"/>
                    <a:pt x="4027" y="5254"/>
                    <a:pt x="4027" y="5254"/>
                  </a:cubicBezTo>
                  <a:cubicBezTo>
                    <a:pt x="4027" y="5838"/>
                    <a:pt x="1464" y="4086"/>
                    <a:pt x="1098" y="4670"/>
                  </a:cubicBezTo>
                  <a:cubicBezTo>
                    <a:pt x="1098" y="4086"/>
                    <a:pt x="2197" y="4670"/>
                    <a:pt x="2197" y="5254"/>
                  </a:cubicBezTo>
                  <a:cubicBezTo>
                    <a:pt x="2197" y="4670"/>
                    <a:pt x="1464" y="5254"/>
                    <a:pt x="1464" y="5254"/>
                  </a:cubicBezTo>
                  <a:cubicBezTo>
                    <a:pt x="1098" y="5838"/>
                    <a:pt x="1831" y="6422"/>
                    <a:pt x="1831" y="6422"/>
                  </a:cubicBezTo>
                  <a:cubicBezTo>
                    <a:pt x="2197" y="7005"/>
                    <a:pt x="732" y="7005"/>
                    <a:pt x="366" y="7005"/>
                  </a:cubicBezTo>
                  <a:cubicBezTo>
                    <a:pt x="732" y="7005"/>
                    <a:pt x="1464" y="7589"/>
                    <a:pt x="2197" y="8173"/>
                  </a:cubicBezTo>
                  <a:cubicBezTo>
                    <a:pt x="2929" y="8173"/>
                    <a:pt x="3661" y="7589"/>
                    <a:pt x="4393" y="7589"/>
                  </a:cubicBezTo>
                  <a:cubicBezTo>
                    <a:pt x="4393" y="7589"/>
                    <a:pt x="3661" y="8173"/>
                    <a:pt x="3661" y="8173"/>
                  </a:cubicBezTo>
                  <a:cubicBezTo>
                    <a:pt x="3661" y="8757"/>
                    <a:pt x="4027" y="8757"/>
                    <a:pt x="4027" y="8757"/>
                  </a:cubicBezTo>
                  <a:cubicBezTo>
                    <a:pt x="4027" y="9341"/>
                    <a:pt x="0" y="8757"/>
                    <a:pt x="0" y="8757"/>
                  </a:cubicBezTo>
                  <a:cubicBezTo>
                    <a:pt x="0" y="8757"/>
                    <a:pt x="732" y="10508"/>
                    <a:pt x="732" y="10508"/>
                  </a:cubicBezTo>
                  <a:cubicBezTo>
                    <a:pt x="1098" y="11092"/>
                    <a:pt x="2563" y="12259"/>
                    <a:pt x="2563" y="11676"/>
                  </a:cubicBezTo>
                  <a:cubicBezTo>
                    <a:pt x="2563" y="12259"/>
                    <a:pt x="1831" y="11676"/>
                    <a:pt x="2197" y="12843"/>
                  </a:cubicBezTo>
                  <a:cubicBezTo>
                    <a:pt x="2197" y="12843"/>
                    <a:pt x="2563" y="13427"/>
                    <a:pt x="2929" y="13427"/>
                  </a:cubicBezTo>
                  <a:cubicBezTo>
                    <a:pt x="3295" y="14011"/>
                    <a:pt x="3661" y="13427"/>
                    <a:pt x="4027" y="13427"/>
                  </a:cubicBezTo>
                  <a:cubicBezTo>
                    <a:pt x="4393" y="12843"/>
                    <a:pt x="4759" y="14011"/>
                    <a:pt x="5125" y="13427"/>
                  </a:cubicBezTo>
                  <a:cubicBezTo>
                    <a:pt x="6224" y="12843"/>
                    <a:pt x="6956" y="12259"/>
                    <a:pt x="7688" y="12843"/>
                  </a:cubicBezTo>
                  <a:cubicBezTo>
                    <a:pt x="8420" y="13427"/>
                    <a:pt x="8786" y="13427"/>
                    <a:pt x="9519" y="13427"/>
                  </a:cubicBezTo>
                  <a:cubicBezTo>
                    <a:pt x="9153" y="13427"/>
                    <a:pt x="8420" y="13427"/>
                    <a:pt x="7688" y="13427"/>
                  </a:cubicBezTo>
                  <a:cubicBezTo>
                    <a:pt x="8420" y="13427"/>
                    <a:pt x="9885" y="13427"/>
                    <a:pt x="10251" y="14011"/>
                  </a:cubicBezTo>
                  <a:cubicBezTo>
                    <a:pt x="10251" y="14011"/>
                    <a:pt x="8420" y="14595"/>
                    <a:pt x="8420" y="14595"/>
                  </a:cubicBezTo>
                  <a:cubicBezTo>
                    <a:pt x="7688" y="14595"/>
                    <a:pt x="6590" y="14595"/>
                    <a:pt x="5858" y="14595"/>
                  </a:cubicBezTo>
                  <a:cubicBezTo>
                    <a:pt x="5858" y="15178"/>
                    <a:pt x="4393" y="15762"/>
                    <a:pt x="4759" y="15762"/>
                  </a:cubicBezTo>
                  <a:cubicBezTo>
                    <a:pt x="5125" y="16346"/>
                    <a:pt x="5492" y="16346"/>
                    <a:pt x="5858" y="17514"/>
                  </a:cubicBezTo>
                  <a:cubicBezTo>
                    <a:pt x="5858" y="18681"/>
                    <a:pt x="8054" y="17514"/>
                    <a:pt x="8420" y="18681"/>
                  </a:cubicBezTo>
                  <a:cubicBezTo>
                    <a:pt x="8420" y="18681"/>
                    <a:pt x="6956" y="18681"/>
                    <a:pt x="6956" y="19265"/>
                  </a:cubicBezTo>
                  <a:cubicBezTo>
                    <a:pt x="7322" y="19849"/>
                    <a:pt x="9153" y="21016"/>
                    <a:pt x="9519" y="21016"/>
                  </a:cubicBezTo>
                  <a:cubicBezTo>
                    <a:pt x="9519" y="21016"/>
                    <a:pt x="11715" y="21016"/>
                    <a:pt x="11715" y="20432"/>
                  </a:cubicBezTo>
                  <a:cubicBezTo>
                    <a:pt x="11715" y="20432"/>
                    <a:pt x="11349" y="20432"/>
                    <a:pt x="11349" y="20432"/>
                  </a:cubicBezTo>
                  <a:cubicBezTo>
                    <a:pt x="11349" y="19265"/>
                    <a:pt x="12814" y="21016"/>
                    <a:pt x="12447" y="21016"/>
                  </a:cubicBezTo>
                  <a:cubicBezTo>
                    <a:pt x="12814" y="21016"/>
                    <a:pt x="12081" y="19265"/>
                    <a:pt x="12081" y="18681"/>
                  </a:cubicBezTo>
                  <a:cubicBezTo>
                    <a:pt x="12814" y="18097"/>
                    <a:pt x="13546" y="21600"/>
                    <a:pt x="14644" y="20432"/>
                  </a:cubicBezTo>
                  <a:cubicBezTo>
                    <a:pt x="15010" y="19849"/>
                    <a:pt x="14278" y="18681"/>
                    <a:pt x="14644" y="18681"/>
                  </a:cubicBezTo>
                  <a:cubicBezTo>
                    <a:pt x="15010" y="18681"/>
                    <a:pt x="15010" y="19849"/>
                    <a:pt x="15010" y="20432"/>
                  </a:cubicBezTo>
                  <a:cubicBezTo>
                    <a:pt x="15376" y="20432"/>
                    <a:pt x="15742" y="18097"/>
                    <a:pt x="15376" y="18097"/>
                  </a:cubicBezTo>
                  <a:cubicBezTo>
                    <a:pt x="15376" y="17514"/>
                    <a:pt x="15376" y="16930"/>
                    <a:pt x="15010" y="16930"/>
                  </a:cubicBezTo>
                  <a:cubicBezTo>
                    <a:pt x="15010" y="16346"/>
                    <a:pt x="15376" y="15178"/>
                    <a:pt x="15742" y="15762"/>
                  </a:cubicBezTo>
                  <a:cubicBezTo>
                    <a:pt x="16108" y="16346"/>
                    <a:pt x="15742" y="18681"/>
                    <a:pt x="16841" y="17514"/>
                  </a:cubicBezTo>
                  <a:cubicBezTo>
                    <a:pt x="17207" y="16930"/>
                    <a:pt x="18305" y="14595"/>
                    <a:pt x="19037" y="15762"/>
                  </a:cubicBezTo>
                  <a:cubicBezTo>
                    <a:pt x="19403" y="15762"/>
                    <a:pt x="18671" y="16346"/>
                    <a:pt x="18671" y="16346"/>
                  </a:cubicBezTo>
                  <a:cubicBezTo>
                    <a:pt x="18671" y="16346"/>
                    <a:pt x="20502" y="15762"/>
                    <a:pt x="20502" y="15762"/>
                  </a:cubicBezTo>
                  <a:cubicBezTo>
                    <a:pt x="20502" y="15762"/>
                    <a:pt x="19769" y="15762"/>
                    <a:pt x="19769" y="15178"/>
                  </a:cubicBezTo>
                  <a:cubicBezTo>
                    <a:pt x="19769" y="14595"/>
                    <a:pt x="21600" y="14595"/>
                    <a:pt x="21234" y="14011"/>
                  </a:cubicBezTo>
                  <a:cubicBezTo>
                    <a:pt x="21234" y="12843"/>
                    <a:pt x="21234" y="14595"/>
                    <a:pt x="21234" y="140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5" name="Shape 2024">
              <a:extLst>
                <a:ext uri="{FF2B5EF4-FFF2-40B4-BE49-F238E27FC236}">
                  <a16:creationId xmlns:a16="http://schemas.microsoft.com/office/drawing/2014/main" id="{8D5ED4CD-A620-9DAF-059E-C5062F3CEE5D}"/>
                </a:ext>
              </a:extLst>
            </p:cNvPr>
            <p:cNvSpPr/>
            <p:nvPr/>
          </p:nvSpPr>
          <p:spPr>
            <a:xfrm>
              <a:off x="2498913" y="43996"/>
              <a:ext cx="1012236" cy="519016"/>
            </a:xfrm>
            <a:custGeom>
              <a:avLst/>
              <a:gdLst/>
              <a:ahLst/>
              <a:cxnLst>
                <a:cxn ang="0">
                  <a:pos x="wd2" y="hd2"/>
                </a:cxn>
                <a:cxn ang="5400000">
                  <a:pos x="wd2" y="hd2"/>
                </a:cxn>
                <a:cxn ang="10800000">
                  <a:pos x="wd2" y="hd2"/>
                </a:cxn>
                <a:cxn ang="16200000">
                  <a:pos x="wd2" y="hd2"/>
                </a:cxn>
              </a:cxnLst>
              <a:rect l="0" t="0" r="r" b="b"/>
              <a:pathLst>
                <a:path w="21288" h="20954" extrusionOk="0">
                  <a:moveTo>
                    <a:pt x="3600" y="18252"/>
                  </a:moveTo>
                  <a:cubicBezTo>
                    <a:pt x="3046" y="18252"/>
                    <a:pt x="2354" y="18252"/>
                    <a:pt x="1800" y="18518"/>
                  </a:cubicBezTo>
                  <a:cubicBezTo>
                    <a:pt x="1523" y="18785"/>
                    <a:pt x="1523" y="19585"/>
                    <a:pt x="1662" y="19852"/>
                  </a:cubicBezTo>
                  <a:cubicBezTo>
                    <a:pt x="1800" y="20118"/>
                    <a:pt x="2077" y="20385"/>
                    <a:pt x="2077" y="20118"/>
                  </a:cubicBezTo>
                  <a:cubicBezTo>
                    <a:pt x="2354" y="20118"/>
                    <a:pt x="2215" y="19852"/>
                    <a:pt x="2354" y="19585"/>
                  </a:cubicBezTo>
                  <a:cubicBezTo>
                    <a:pt x="2354" y="19585"/>
                    <a:pt x="2354" y="20385"/>
                    <a:pt x="2354" y="20385"/>
                  </a:cubicBezTo>
                  <a:cubicBezTo>
                    <a:pt x="2631" y="20385"/>
                    <a:pt x="3046" y="20385"/>
                    <a:pt x="3323" y="20385"/>
                  </a:cubicBezTo>
                  <a:cubicBezTo>
                    <a:pt x="3600" y="20385"/>
                    <a:pt x="3600" y="19852"/>
                    <a:pt x="3738" y="19852"/>
                  </a:cubicBezTo>
                  <a:cubicBezTo>
                    <a:pt x="4015" y="19852"/>
                    <a:pt x="3738" y="20385"/>
                    <a:pt x="3738" y="20385"/>
                  </a:cubicBezTo>
                  <a:cubicBezTo>
                    <a:pt x="3738" y="20385"/>
                    <a:pt x="5123" y="20652"/>
                    <a:pt x="5123" y="20385"/>
                  </a:cubicBezTo>
                  <a:cubicBezTo>
                    <a:pt x="5123" y="20385"/>
                    <a:pt x="4846" y="20118"/>
                    <a:pt x="4708" y="19852"/>
                  </a:cubicBezTo>
                  <a:cubicBezTo>
                    <a:pt x="4708" y="19852"/>
                    <a:pt x="5262" y="20118"/>
                    <a:pt x="5123" y="20385"/>
                  </a:cubicBezTo>
                  <a:cubicBezTo>
                    <a:pt x="5262" y="20118"/>
                    <a:pt x="5123" y="19852"/>
                    <a:pt x="5262" y="19852"/>
                  </a:cubicBezTo>
                  <a:cubicBezTo>
                    <a:pt x="5262" y="19852"/>
                    <a:pt x="5538" y="20118"/>
                    <a:pt x="5677" y="20118"/>
                  </a:cubicBezTo>
                  <a:cubicBezTo>
                    <a:pt x="5954" y="20652"/>
                    <a:pt x="5677" y="19852"/>
                    <a:pt x="5815" y="19585"/>
                  </a:cubicBezTo>
                  <a:cubicBezTo>
                    <a:pt x="5815" y="19585"/>
                    <a:pt x="6646" y="20385"/>
                    <a:pt x="6646" y="20118"/>
                  </a:cubicBezTo>
                  <a:cubicBezTo>
                    <a:pt x="6646" y="19852"/>
                    <a:pt x="6369" y="19852"/>
                    <a:pt x="6369" y="19585"/>
                  </a:cubicBezTo>
                  <a:cubicBezTo>
                    <a:pt x="6369" y="19585"/>
                    <a:pt x="7338" y="19852"/>
                    <a:pt x="7338" y="19852"/>
                  </a:cubicBezTo>
                  <a:cubicBezTo>
                    <a:pt x="7892" y="19852"/>
                    <a:pt x="7200" y="20652"/>
                    <a:pt x="7200" y="20918"/>
                  </a:cubicBezTo>
                  <a:cubicBezTo>
                    <a:pt x="7200" y="21185"/>
                    <a:pt x="8862" y="19852"/>
                    <a:pt x="9000" y="19852"/>
                  </a:cubicBezTo>
                  <a:cubicBezTo>
                    <a:pt x="9277" y="19852"/>
                    <a:pt x="9969" y="19052"/>
                    <a:pt x="9415" y="18785"/>
                  </a:cubicBezTo>
                  <a:cubicBezTo>
                    <a:pt x="9138" y="18518"/>
                    <a:pt x="8723" y="19052"/>
                    <a:pt x="8446" y="18785"/>
                  </a:cubicBezTo>
                  <a:cubicBezTo>
                    <a:pt x="8446" y="18785"/>
                    <a:pt x="8723" y="18252"/>
                    <a:pt x="8723" y="18252"/>
                  </a:cubicBezTo>
                  <a:cubicBezTo>
                    <a:pt x="8723" y="17985"/>
                    <a:pt x="8308" y="18252"/>
                    <a:pt x="8169" y="18252"/>
                  </a:cubicBezTo>
                  <a:cubicBezTo>
                    <a:pt x="7892" y="18252"/>
                    <a:pt x="7754" y="17718"/>
                    <a:pt x="7477" y="17718"/>
                  </a:cubicBezTo>
                  <a:cubicBezTo>
                    <a:pt x="7338" y="17985"/>
                    <a:pt x="6923" y="18252"/>
                    <a:pt x="6646" y="17985"/>
                  </a:cubicBezTo>
                  <a:cubicBezTo>
                    <a:pt x="6785" y="17985"/>
                    <a:pt x="6923" y="17985"/>
                    <a:pt x="7062" y="17985"/>
                  </a:cubicBezTo>
                  <a:cubicBezTo>
                    <a:pt x="7200" y="17718"/>
                    <a:pt x="6923" y="17185"/>
                    <a:pt x="6923" y="16918"/>
                  </a:cubicBezTo>
                  <a:cubicBezTo>
                    <a:pt x="6923" y="17452"/>
                    <a:pt x="8169" y="17718"/>
                    <a:pt x="8308" y="17718"/>
                  </a:cubicBezTo>
                  <a:cubicBezTo>
                    <a:pt x="8446" y="17718"/>
                    <a:pt x="8723" y="17718"/>
                    <a:pt x="9000" y="17718"/>
                  </a:cubicBezTo>
                  <a:cubicBezTo>
                    <a:pt x="9277" y="17718"/>
                    <a:pt x="9554" y="16918"/>
                    <a:pt x="9415" y="16652"/>
                  </a:cubicBezTo>
                  <a:cubicBezTo>
                    <a:pt x="9000" y="15852"/>
                    <a:pt x="9831" y="15852"/>
                    <a:pt x="10108" y="15852"/>
                  </a:cubicBezTo>
                  <a:cubicBezTo>
                    <a:pt x="10246" y="15852"/>
                    <a:pt x="10938" y="15852"/>
                    <a:pt x="11077" y="15585"/>
                  </a:cubicBezTo>
                  <a:cubicBezTo>
                    <a:pt x="11077" y="15585"/>
                    <a:pt x="10385" y="15052"/>
                    <a:pt x="10385" y="15052"/>
                  </a:cubicBezTo>
                  <a:cubicBezTo>
                    <a:pt x="10662" y="14785"/>
                    <a:pt x="11215" y="15318"/>
                    <a:pt x="11354" y="14785"/>
                  </a:cubicBezTo>
                  <a:cubicBezTo>
                    <a:pt x="11492" y="14518"/>
                    <a:pt x="10662" y="14252"/>
                    <a:pt x="10523" y="14252"/>
                  </a:cubicBezTo>
                  <a:cubicBezTo>
                    <a:pt x="10662" y="14252"/>
                    <a:pt x="11631" y="13985"/>
                    <a:pt x="11769" y="13718"/>
                  </a:cubicBezTo>
                  <a:cubicBezTo>
                    <a:pt x="12046" y="13452"/>
                    <a:pt x="10662" y="12918"/>
                    <a:pt x="10662" y="13185"/>
                  </a:cubicBezTo>
                  <a:cubicBezTo>
                    <a:pt x="10662" y="12918"/>
                    <a:pt x="10938" y="12918"/>
                    <a:pt x="10938" y="12918"/>
                  </a:cubicBezTo>
                  <a:cubicBezTo>
                    <a:pt x="10938" y="12652"/>
                    <a:pt x="9969" y="12918"/>
                    <a:pt x="9831" y="12918"/>
                  </a:cubicBezTo>
                  <a:cubicBezTo>
                    <a:pt x="9554" y="12918"/>
                    <a:pt x="9415" y="13185"/>
                    <a:pt x="9138" y="13452"/>
                  </a:cubicBezTo>
                  <a:cubicBezTo>
                    <a:pt x="9277" y="13452"/>
                    <a:pt x="9692" y="12652"/>
                    <a:pt x="9415" y="12652"/>
                  </a:cubicBezTo>
                  <a:cubicBezTo>
                    <a:pt x="9415" y="12652"/>
                    <a:pt x="8862" y="12652"/>
                    <a:pt x="8862" y="12385"/>
                  </a:cubicBezTo>
                  <a:cubicBezTo>
                    <a:pt x="8862" y="12385"/>
                    <a:pt x="9831" y="12385"/>
                    <a:pt x="9969" y="12385"/>
                  </a:cubicBezTo>
                  <a:cubicBezTo>
                    <a:pt x="9831" y="12385"/>
                    <a:pt x="9415" y="12118"/>
                    <a:pt x="9415" y="12118"/>
                  </a:cubicBezTo>
                  <a:cubicBezTo>
                    <a:pt x="9554" y="11852"/>
                    <a:pt x="9969" y="12385"/>
                    <a:pt x="10246" y="12118"/>
                  </a:cubicBezTo>
                  <a:cubicBezTo>
                    <a:pt x="10108" y="12118"/>
                    <a:pt x="9554" y="11852"/>
                    <a:pt x="9554" y="11852"/>
                  </a:cubicBezTo>
                  <a:cubicBezTo>
                    <a:pt x="9554" y="11585"/>
                    <a:pt x="10662" y="11852"/>
                    <a:pt x="10800" y="11585"/>
                  </a:cubicBezTo>
                  <a:cubicBezTo>
                    <a:pt x="10800" y="11585"/>
                    <a:pt x="10385" y="11318"/>
                    <a:pt x="10385" y="11318"/>
                  </a:cubicBezTo>
                  <a:cubicBezTo>
                    <a:pt x="10246" y="11318"/>
                    <a:pt x="10662" y="11318"/>
                    <a:pt x="10662" y="11318"/>
                  </a:cubicBezTo>
                  <a:cubicBezTo>
                    <a:pt x="10938" y="11585"/>
                    <a:pt x="11077" y="11852"/>
                    <a:pt x="11354" y="11852"/>
                  </a:cubicBezTo>
                  <a:cubicBezTo>
                    <a:pt x="11631" y="11852"/>
                    <a:pt x="12046" y="11585"/>
                    <a:pt x="12462" y="11318"/>
                  </a:cubicBezTo>
                  <a:cubicBezTo>
                    <a:pt x="13569" y="11052"/>
                    <a:pt x="11769" y="10785"/>
                    <a:pt x="11631" y="10252"/>
                  </a:cubicBezTo>
                  <a:cubicBezTo>
                    <a:pt x="11631" y="9985"/>
                    <a:pt x="12877" y="10252"/>
                    <a:pt x="13015" y="10518"/>
                  </a:cubicBezTo>
                  <a:cubicBezTo>
                    <a:pt x="13292" y="10785"/>
                    <a:pt x="13431" y="10785"/>
                    <a:pt x="13846" y="10518"/>
                  </a:cubicBezTo>
                  <a:cubicBezTo>
                    <a:pt x="13985" y="10518"/>
                    <a:pt x="14677" y="9985"/>
                    <a:pt x="14538" y="9452"/>
                  </a:cubicBezTo>
                  <a:cubicBezTo>
                    <a:pt x="14538" y="9185"/>
                    <a:pt x="13015" y="10518"/>
                    <a:pt x="13431" y="9185"/>
                  </a:cubicBezTo>
                  <a:cubicBezTo>
                    <a:pt x="13292" y="9452"/>
                    <a:pt x="13985" y="9452"/>
                    <a:pt x="13985" y="9452"/>
                  </a:cubicBezTo>
                  <a:cubicBezTo>
                    <a:pt x="14400" y="9452"/>
                    <a:pt x="14677" y="9185"/>
                    <a:pt x="14954" y="9185"/>
                  </a:cubicBezTo>
                  <a:cubicBezTo>
                    <a:pt x="14954" y="8918"/>
                    <a:pt x="14538" y="8118"/>
                    <a:pt x="14538" y="8118"/>
                  </a:cubicBezTo>
                  <a:cubicBezTo>
                    <a:pt x="14677" y="8118"/>
                    <a:pt x="14815" y="8385"/>
                    <a:pt x="14815" y="8652"/>
                  </a:cubicBezTo>
                  <a:cubicBezTo>
                    <a:pt x="14954" y="8918"/>
                    <a:pt x="15231" y="8652"/>
                    <a:pt x="15369" y="8652"/>
                  </a:cubicBezTo>
                  <a:cubicBezTo>
                    <a:pt x="15785" y="8118"/>
                    <a:pt x="16062" y="7585"/>
                    <a:pt x="16477" y="7318"/>
                  </a:cubicBezTo>
                  <a:cubicBezTo>
                    <a:pt x="16754" y="7052"/>
                    <a:pt x="18831" y="5452"/>
                    <a:pt x="18831" y="5185"/>
                  </a:cubicBezTo>
                  <a:cubicBezTo>
                    <a:pt x="18831" y="4918"/>
                    <a:pt x="17031" y="5718"/>
                    <a:pt x="16892" y="5718"/>
                  </a:cubicBezTo>
                  <a:cubicBezTo>
                    <a:pt x="16477" y="5985"/>
                    <a:pt x="16062" y="5985"/>
                    <a:pt x="15508" y="6252"/>
                  </a:cubicBezTo>
                  <a:cubicBezTo>
                    <a:pt x="15508" y="6252"/>
                    <a:pt x="14954" y="6252"/>
                    <a:pt x="14954" y="6252"/>
                  </a:cubicBezTo>
                  <a:cubicBezTo>
                    <a:pt x="14954" y="5985"/>
                    <a:pt x="15785" y="5985"/>
                    <a:pt x="15923" y="5718"/>
                  </a:cubicBezTo>
                  <a:cubicBezTo>
                    <a:pt x="16062" y="5718"/>
                    <a:pt x="17031" y="5452"/>
                    <a:pt x="17031" y="5185"/>
                  </a:cubicBezTo>
                  <a:cubicBezTo>
                    <a:pt x="17031" y="5452"/>
                    <a:pt x="15646" y="4918"/>
                    <a:pt x="15785" y="4652"/>
                  </a:cubicBezTo>
                  <a:cubicBezTo>
                    <a:pt x="15785" y="4652"/>
                    <a:pt x="17446" y="4918"/>
                    <a:pt x="17585" y="4652"/>
                  </a:cubicBezTo>
                  <a:cubicBezTo>
                    <a:pt x="17862" y="4652"/>
                    <a:pt x="18277" y="4385"/>
                    <a:pt x="18554" y="4385"/>
                  </a:cubicBezTo>
                  <a:cubicBezTo>
                    <a:pt x="18692" y="4385"/>
                    <a:pt x="18969" y="4385"/>
                    <a:pt x="19108" y="4385"/>
                  </a:cubicBezTo>
                  <a:cubicBezTo>
                    <a:pt x="19662" y="4118"/>
                    <a:pt x="20215" y="3852"/>
                    <a:pt x="20631" y="3585"/>
                  </a:cubicBezTo>
                  <a:cubicBezTo>
                    <a:pt x="20631" y="3585"/>
                    <a:pt x="21600" y="2518"/>
                    <a:pt x="21185" y="2252"/>
                  </a:cubicBezTo>
                  <a:cubicBezTo>
                    <a:pt x="20908" y="2252"/>
                    <a:pt x="20492" y="2252"/>
                    <a:pt x="20215" y="2252"/>
                  </a:cubicBezTo>
                  <a:cubicBezTo>
                    <a:pt x="20077" y="1985"/>
                    <a:pt x="19800" y="2252"/>
                    <a:pt x="19800" y="1985"/>
                  </a:cubicBezTo>
                  <a:cubicBezTo>
                    <a:pt x="19800" y="1452"/>
                    <a:pt x="19523" y="1452"/>
                    <a:pt x="19523" y="918"/>
                  </a:cubicBezTo>
                  <a:cubicBezTo>
                    <a:pt x="19523" y="918"/>
                    <a:pt x="18969" y="1185"/>
                    <a:pt x="18831" y="1185"/>
                  </a:cubicBezTo>
                  <a:cubicBezTo>
                    <a:pt x="18692" y="918"/>
                    <a:pt x="18554" y="385"/>
                    <a:pt x="18415" y="918"/>
                  </a:cubicBezTo>
                  <a:cubicBezTo>
                    <a:pt x="18415" y="918"/>
                    <a:pt x="17585" y="1185"/>
                    <a:pt x="17446" y="1185"/>
                  </a:cubicBezTo>
                  <a:cubicBezTo>
                    <a:pt x="17169" y="1452"/>
                    <a:pt x="16892" y="1452"/>
                    <a:pt x="16615" y="1452"/>
                  </a:cubicBezTo>
                  <a:cubicBezTo>
                    <a:pt x="16615" y="1452"/>
                    <a:pt x="16062" y="1452"/>
                    <a:pt x="16062" y="1452"/>
                  </a:cubicBezTo>
                  <a:cubicBezTo>
                    <a:pt x="16062" y="1185"/>
                    <a:pt x="16615" y="1185"/>
                    <a:pt x="16754" y="918"/>
                  </a:cubicBezTo>
                  <a:cubicBezTo>
                    <a:pt x="17031" y="918"/>
                    <a:pt x="17308" y="652"/>
                    <a:pt x="17446" y="385"/>
                  </a:cubicBezTo>
                  <a:cubicBezTo>
                    <a:pt x="17169" y="1185"/>
                    <a:pt x="14262" y="-415"/>
                    <a:pt x="14123" y="118"/>
                  </a:cubicBezTo>
                  <a:cubicBezTo>
                    <a:pt x="14123" y="385"/>
                    <a:pt x="14400" y="385"/>
                    <a:pt x="14538" y="652"/>
                  </a:cubicBezTo>
                  <a:cubicBezTo>
                    <a:pt x="14538" y="918"/>
                    <a:pt x="13846" y="118"/>
                    <a:pt x="13846" y="118"/>
                  </a:cubicBezTo>
                  <a:cubicBezTo>
                    <a:pt x="13569" y="-148"/>
                    <a:pt x="13154" y="118"/>
                    <a:pt x="13015" y="118"/>
                  </a:cubicBezTo>
                  <a:cubicBezTo>
                    <a:pt x="12877" y="118"/>
                    <a:pt x="12462" y="118"/>
                    <a:pt x="12600" y="385"/>
                  </a:cubicBezTo>
                  <a:cubicBezTo>
                    <a:pt x="12738" y="652"/>
                    <a:pt x="13015" y="1452"/>
                    <a:pt x="13154" y="1185"/>
                  </a:cubicBezTo>
                  <a:cubicBezTo>
                    <a:pt x="13154" y="1452"/>
                    <a:pt x="12600" y="1185"/>
                    <a:pt x="12600" y="918"/>
                  </a:cubicBezTo>
                  <a:cubicBezTo>
                    <a:pt x="12185" y="918"/>
                    <a:pt x="12046" y="118"/>
                    <a:pt x="11769" y="118"/>
                  </a:cubicBezTo>
                  <a:cubicBezTo>
                    <a:pt x="11215" y="118"/>
                    <a:pt x="10800" y="118"/>
                    <a:pt x="10385" y="118"/>
                  </a:cubicBezTo>
                  <a:cubicBezTo>
                    <a:pt x="9692" y="385"/>
                    <a:pt x="10108" y="652"/>
                    <a:pt x="10523" y="918"/>
                  </a:cubicBezTo>
                  <a:cubicBezTo>
                    <a:pt x="10662" y="1185"/>
                    <a:pt x="10938" y="1452"/>
                    <a:pt x="11077" y="1718"/>
                  </a:cubicBezTo>
                  <a:cubicBezTo>
                    <a:pt x="11077" y="1718"/>
                    <a:pt x="10662" y="2252"/>
                    <a:pt x="10662" y="2252"/>
                  </a:cubicBezTo>
                  <a:cubicBezTo>
                    <a:pt x="10523" y="2252"/>
                    <a:pt x="10800" y="1985"/>
                    <a:pt x="10800" y="1985"/>
                  </a:cubicBezTo>
                  <a:cubicBezTo>
                    <a:pt x="10800" y="1718"/>
                    <a:pt x="9831" y="652"/>
                    <a:pt x="9692" y="652"/>
                  </a:cubicBezTo>
                  <a:cubicBezTo>
                    <a:pt x="9138" y="652"/>
                    <a:pt x="8585" y="385"/>
                    <a:pt x="8031" y="652"/>
                  </a:cubicBezTo>
                  <a:cubicBezTo>
                    <a:pt x="8031" y="652"/>
                    <a:pt x="8308" y="1185"/>
                    <a:pt x="8446" y="1185"/>
                  </a:cubicBezTo>
                  <a:cubicBezTo>
                    <a:pt x="8585" y="1185"/>
                    <a:pt x="8862" y="1452"/>
                    <a:pt x="9138" y="1185"/>
                  </a:cubicBezTo>
                  <a:cubicBezTo>
                    <a:pt x="8862" y="1452"/>
                    <a:pt x="8446" y="1718"/>
                    <a:pt x="8169" y="1452"/>
                  </a:cubicBezTo>
                  <a:cubicBezTo>
                    <a:pt x="8031" y="1452"/>
                    <a:pt x="7062" y="652"/>
                    <a:pt x="7200" y="918"/>
                  </a:cubicBezTo>
                  <a:cubicBezTo>
                    <a:pt x="7200" y="652"/>
                    <a:pt x="7892" y="2252"/>
                    <a:pt x="7338" y="1985"/>
                  </a:cubicBezTo>
                  <a:cubicBezTo>
                    <a:pt x="7200" y="1718"/>
                    <a:pt x="6785" y="1452"/>
                    <a:pt x="6508" y="1718"/>
                  </a:cubicBezTo>
                  <a:cubicBezTo>
                    <a:pt x="6646" y="1718"/>
                    <a:pt x="7062" y="1985"/>
                    <a:pt x="7062" y="1985"/>
                  </a:cubicBezTo>
                  <a:cubicBezTo>
                    <a:pt x="6923" y="2252"/>
                    <a:pt x="6369" y="1718"/>
                    <a:pt x="6369" y="2252"/>
                  </a:cubicBezTo>
                  <a:cubicBezTo>
                    <a:pt x="6369" y="2518"/>
                    <a:pt x="6923" y="2785"/>
                    <a:pt x="7062" y="3052"/>
                  </a:cubicBezTo>
                  <a:cubicBezTo>
                    <a:pt x="7477" y="3052"/>
                    <a:pt x="8446" y="3318"/>
                    <a:pt x="8446" y="4118"/>
                  </a:cubicBezTo>
                  <a:cubicBezTo>
                    <a:pt x="8446" y="3852"/>
                    <a:pt x="7477" y="3585"/>
                    <a:pt x="7200" y="3318"/>
                  </a:cubicBezTo>
                  <a:cubicBezTo>
                    <a:pt x="6923" y="3318"/>
                    <a:pt x="6508" y="2518"/>
                    <a:pt x="6231" y="2785"/>
                  </a:cubicBezTo>
                  <a:cubicBezTo>
                    <a:pt x="6231" y="2785"/>
                    <a:pt x="6646" y="3318"/>
                    <a:pt x="6646" y="3318"/>
                  </a:cubicBezTo>
                  <a:cubicBezTo>
                    <a:pt x="6646" y="3318"/>
                    <a:pt x="6231" y="3585"/>
                    <a:pt x="6231" y="3318"/>
                  </a:cubicBezTo>
                  <a:cubicBezTo>
                    <a:pt x="5954" y="3052"/>
                    <a:pt x="5815" y="2785"/>
                    <a:pt x="5538" y="2518"/>
                  </a:cubicBezTo>
                  <a:cubicBezTo>
                    <a:pt x="5400" y="2252"/>
                    <a:pt x="4292" y="2252"/>
                    <a:pt x="4292" y="2252"/>
                  </a:cubicBezTo>
                  <a:cubicBezTo>
                    <a:pt x="4292" y="2518"/>
                    <a:pt x="4708" y="2518"/>
                    <a:pt x="4292" y="2785"/>
                  </a:cubicBezTo>
                  <a:cubicBezTo>
                    <a:pt x="4154" y="2785"/>
                    <a:pt x="3462" y="3318"/>
                    <a:pt x="3462" y="3318"/>
                  </a:cubicBezTo>
                  <a:cubicBezTo>
                    <a:pt x="3600" y="3318"/>
                    <a:pt x="4015" y="3052"/>
                    <a:pt x="4015" y="3052"/>
                  </a:cubicBezTo>
                  <a:cubicBezTo>
                    <a:pt x="4154" y="3318"/>
                    <a:pt x="4708" y="3852"/>
                    <a:pt x="4708" y="3852"/>
                  </a:cubicBezTo>
                  <a:cubicBezTo>
                    <a:pt x="4708" y="3852"/>
                    <a:pt x="4292" y="3585"/>
                    <a:pt x="4292" y="3852"/>
                  </a:cubicBezTo>
                  <a:cubicBezTo>
                    <a:pt x="4292" y="3852"/>
                    <a:pt x="4431" y="4652"/>
                    <a:pt x="4154" y="4118"/>
                  </a:cubicBezTo>
                  <a:cubicBezTo>
                    <a:pt x="4015" y="3852"/>
                    <a:pt x="3877" y="3318"/>
                    <a:pt x="3600" y="3585"/>
                  </a:cubicBezTo>
                  <a:cubicBezTo>
                    <a:pt x="3462" y="3585"/>
                    <a:pt x="3323" y="4118"/>
                    <a:pt x="3185" y="3852"/>
                  </a:cubicBezTo>
                  <a:cubicBezTo>
                    <a:pt x="3046" y="3585"/>
                    <a:pt x="2908" y="3318"/>
                    <a:pt x="2631" y="3318"/>
                  </a:cubicBezTo>
                  <a:cubicBezTo>
                    <a:pt x="2492" y="3318"/>
                    <a:pt x="2077" y="3585"/>
                    <a:pt x="1938" y="3852"/>
                  </a:cubicBezTo>
                  <a:cubicBezTo>
                    <a:pt x="1662" y="4118"/>
                    <a:pt x="1800" y="4385"/>
                    <a:pt x="1385" y="4118"/>
                  </a:cubicBezTo>
                  <a:cubicBezTo>
                    <a:pt x="1108" y="3852"/>
                    <a:pt x="969" y="4118"/>
                    <a:pt x="692" y="4118"/>
                  </a:cubicBezTo>
                  <a:cubicBezTo>
                    <a:pt x="554" y="4385"/>
                    <a:pt x="0" y="4385"/>
                    <a:pt x="0" y="4652"/>
                  </a:cubicBezTo>
                  <a:cubicBezTo>
                    <a:pt x="0" y="5185"/>
                    <a:pt x="1246" y="4652"/>
                    <a:pt x="1246" y="4918"/>
                  </a:cubicBezTo>
                  <a:cubicBezTo>
                    <a:pt x="1246" y="5185"/>
                    <a:pt x="831" y="5185"/>
                    <a:pt x="692" y="5452"/>
                  </a:cubicBezTo>
                  <a:cubicBezTo>
                    <a:pt x="692" y="5185"/>
                    <a:pt x="1385" y="5185"/>
                    <a:pt x="1523" y="5185"/>
                  </a:cubicBezTo>
                  <a:cubicBezTo>
                    <a:pt x="1662" y="5185"/>
                    <a:pt x="2354" y="5185"/>
                    <a:pt x="2354" y="5185"/>
                  </a:cubicBezTo>
                  <a:cubicBezTo>
                    <a:pt x="2354" y="5185"/>
                    <a:pt x="2077" y="5452"/>
                    <a:pt x="1938" y="5452"/>
                  </a:cubicBezTo>
                  <a:cubicBezTo>
                    <a:pt x="1662" y="5452"/>
                    <a:pt x="1523" y="5452"/>
                    <a:pt x="1246" y="5985"/>
                  </a:cubicBezTo>
                  <a:cubicBezTo>
                    <a:pt x="692" y="6518"/>
                    <a:pt x="1662" y="6518"/>
                    <a:pt x="1800" y="6518"/>
                  </a:cubicBezTo>
                  <a:cubicBezTo>
                    <a:pt x="2354" y="6785"/>
                    <a:pt x="2769" y="6785"/>
                    <a:pt x="3323" y="6518"/>
                  </a:cubicBezTo>
                  <a:cubicBezTo>
                    <a:pt x="3600" y="6252"/>
                    <a:pt x="4292" y="5452"/>
                    <a:pt x="4708" y="5985"/>
                  </a:cubicBezTo>
                  <a:cubicBezTo>
                    <a:pt x="4708" y="5985"/>
                    <a:pt x="4015" y="6518"/>
                    <a:pt x="4015" y="6518"/>
                  </a:cubicBezTo>
                  <a:cubicBezTo>
                    <a:pt x="3738" y="6518"/>
                    <a:pt x="3462" y="6518"/>
                    <a:pt x="3185" y="6785"/>
                  </a:cubicBezTo>
                  <a:cubicBezTo>
                    <a:pt x="3046" y="6785"/>
                    <a:pt x="2769" y="6785"/>
                    <a:pt x="2492" y="6785"/>
                  </a:cubicBezTo>
                  <a:cubicBezTo>
                    <a:pt x="2215" y="7052"/>
                    <a:pt x="1938" y="6785"/>
                    <a:pt x="1662" y="7052"/>
                  </a:cubicBezTo>
                  <a:cubicBezTo>
                    <a:pt x="1800" y="7052"/>
                    <a:pt x="2215" y="7318"/>
                    <a:pt x="2215" y="7318"/>
                  </a:cubicBezTo>
                  <a:cubicBezTo>
                    <a:pt x="2354" y="7585"/>
                    <a:pt x="2492" y="7852"/>
                    <a:pt x="2769" y="7852"/>
                  </a:cubicBezTo>
                  <a:cubicBezTo>
                    <a:pt x="3323" y="7852"/>
                    <a:pt x="3600" y="7052"/>
                    <a:pt x="4154" y="6785"/>
                  </a:cubicBezTo>
                  <a:cubicBezTo>
                    <a:pt x="4292" y="6785"/>
                    <a:pt x="6092" y="6518"/>
                    <a:pt x="6092" y="6252"/>
                  </a:cubicBezTo>
                  <a:cubicBezTo>
                    <a:pt x="6092" y="6518"/>
                    <a:pt x="5262" y="6518"/>
                    <a:pt x="5123" y="6518"/>
                  </a:cubicBezTo>
                  <a:cubicBezTo>
                    <a:pt x="4708" y="6785"/>
                    <a:pt x="4015" y="7052"/>
                    <a:pt x="3600" y="7585"/>
                  </a:cubicBezTo>
                  <a:cubicBezTo>
                    <a:pt x="3185" y="8385"/>
                    <a:pt x="4431" y="8118"/>
                    <a:pt x="4569" y="8118"/>
                  </a:cubicBezTo>
                  <a:cubicBezTo>
                    <a:pt x="4846" y="8118"/>
                    <a:pt x="5123" y="8385"/>
                    <a:pt x="5400" y="7852"/>
                  </a:cubicBezTo>
                  <a:cubicBezTo>
                    <a:pt x="5538" y="7852"/>
                    <a:pt x="5538" y="7585"/>
                    <a:pt x="5538" y="7318"/>
                  </a:cubicBezTo>
                  <a:cubicBezTo>
                    <a:pt x="5677" y="7318"/>
                    <a:pt x="5815" y="7318"/>
                    <a:pt x="5815" y="7585"/>
                  </a:cubicBezTo>
                  <a:cubicBezTo>
                    <a:pt x="5815" y="7585"/>
                    <a:pt x="5815" y="7585"/>
                    <a:pt x="5677" y="7585"/>
                  </a:cubicBezTo>
                  <a:cubicBezTo>
                    <a:pt x="5954" y="7585"/>
                    <a:pt x="6646" y="7052"/>
                    <a:pt x="6923" y="7318"/>
                  </a:cubicBezTo>
                  <a:cubicBezTo>
                    <a:pt x="6785" y="7052"/>
                    <a:pt x="6092" y="8118"/>
                    <a:pt x="5954" y="8118"/>
                  </a:cubicBezTo>
                  <a:cubicBezTo>
                    <a:pt x="6092" y="8385"/>
                    <a:pt x="6923" y="7852"/>
                    <a:pt x="7200" y="7852"/>
                  </a:cubicBezTo>
                  <a:cubicBezTo>
                    <a:pt x="7615" y="7852"/>
                    <a:pt x="8031" y="7585"/>
                    <a:pt x="8446" y="7052"/>
                  </a:cubicBezTo>
                  <a:cubicBezTo>
                    <a:pt x="8585" y="6785"/>
                    <a:pt x="8585" y="6252"/>
                    <a:pt x="8585" y="6252"/>
                  </a:cubicBezTo>
                  <a:cubicBezTo>
                    <a:pt x="8862" y="6252"/>
                    <a:pt x="8862" y="6252"/>
                    <a:pt x="9000" y="5985"/>
                  </a:cubicBezTo>
                  <a:cubicBezTo>
                    <a:pt x="9138" y="5985"/>
                    <a:pt x="10108" y="4918"/>
                    <a:pt x="10108" y="5185"/>
                  </a:cubicBezTo>
                  <a:cubicBezTo>
                    <a:pt x="10108" y="5185"/>
                    <a:pt x="9554" y="5985"/>
                    <a:pt x="9554" y="5985"/>
                  </a:cubicBezTo>
                  <a:cubicBezTo>
                    <a:pt x="9415" y="6252"/>
                    <a:pt x="8862" y="6785"/>
                    <a:pt x="8862" y="7052"/>
                  </a:cubicBezTo>
                  <a:cubicBezTo>
                    <a:pt x="8862" y="7318"/>
                    <a:pt x="10385" y="7052"/>
                    <a:pt x="10385" y="7318"/>
                  </a:cubicBezTo>
                  <a:cubicBezTo>
                    <a:pt x="10385" y="7052"/>
                    <a:pt x="8308" y="8118"/>
                    <a:pt x="8308" y="7852"/>
                  </a:cubicBezTo>
                  <a:cubicBezTo>
                    <a:pt x="8308" y="7852"/>
                    <a:pt x="9554" y="8118"/>
                    <a:pt x="9415" y="8118"/>
                  </a:cubicBezTo>
                  <a:cubicBezTo>
                    <a:pt x="9415" y="8385"/>
                    <a:pt x="8862" y="8385"/>
                    <a:pt x="8723" y="8385"/>
                  </a:cubicBezTo>
                  <a:cubicBezTo>
                    <a:pt x="8446" y="8385"/>
                    <a:pt x="8031" y="8385"/>
                    <a:pt x="7754" y="8652"/>
                  </a:cubicBezTo>
                  <a:cubicBezTo>
                    <a:pt x="7200" y="8652"/>
                    <a:pt x="6646" y="8652"/>
                    <a:pt x="6092" y="8918"/>
                  </a:cubicBezTo>
                  <a:cubicBezTo>
                    <a:pt x="5954" y="8918"/>
                    <a:pt x="5954" y="9185"/>
                    <a:pt x="6231" y="9185"/>
                  </a:cubicBezTo>
                  <a:cubicBezTo>
                    <a:pt x="6369" y="9452"/>
                    <a:pt x="6785" y="9718"/>
                    <a:pt x="6923" y="9985"/>
                  </a:cubicBezTo>
                  <a:cubicBezTo>
                    <a:pt x="7200" y="10518"/>
                    <a:pt x="6923" y="11052"/>
                    <a:pt x="7338" y="11052"/>
                  </a:cubicBezTo>
                  <a:cubicBezTo>
                    <a:pt x="7477" y="10785"/>
                    <a:pt x="7892" y="11052"/>
                    <a:pt x="8031" y="10785"/>
                  </a:cubicBezTo>
                  <a:cubicBezTo>
                    <a:pt x="6785" y="12118"/>
                    <a:pt x="6092" y="9185"/>
                    <a:pt x="5123" y="9185"/>
                  </a:cubicBezTo>
                  <a:cubicBezTo>
                    <a:pt x="4846" y="9185"/>
                    <a:pt x="3600" y="8652"/>
                    <a:pt x="3600" y="9185"/>
                  </a:cubicBezTo>
                  <a:cubicBezTo>
                    <a:pt x="3600" y="9185"/>
                    <a:pt x="3462" y="9718"/>
                    <a:pt x="3462" y="9718"/>
                  </a:cubicBezTo>
                  <a:cubicBezTo>
                    <a:pt x="3600" y="9718"/>
                    <a:pt x="4431" y="9718"/>
                    <a:pt x="4431" y="9985"/>
                  </a:cubicBezTo>
                  <a:cubicBezTo>
                    <a:pt x="4431" y="9985"/>
                    <a:pt x="3600" y="9985"/>
                    <a:pt x="3600" y="10518"/>
                  </a:cubicBezTo>
                  <a:cubicBezTo>
                    <a:pt x="3600" y="10785"/>
                    <a:pt x="4431" y="10785"/>
                    <a:pt x="4708" y="11052"/>
                  </a:cubicBezTo>
                  <a:cubicBezTo>
                    <a:pt x="4846" y="11318"/>
                    <a:pt x="4985" y="11585"/>
                    <a:pt x="5123" y="11852"/>
                  </a:cubicBezTo>
                  <a:cubicBezTo>
                    <a:pt x="5262" y="12385"/>
                    <a:pt x="5538" y="12652"/>
                    <a:pt x="5815" y="12918"/>
                  </a:cubicBezTo>
                  <a:cubicBezTo>
                    <a:pt x="6092" y="13185"/>
                    <a:pt x="6231" y="13185"/>
                    <a:pt x="6508" y="12918"/>
                  </a:cubicBezTo>
                  <a:cubicBezTo>
                    <a:pt x="6646" y="12918"/>
                    <a:pt x="6923" y="12652"/>
                    <a:pt x="7062" y="12918"/>
                  </a:cubicBezTo>
                  <a:cubicBezTo>
                    <a:pt x="7062" y="12918"/>
                    <a:pt x="6923" y="13452"/>
                    <a:pt x="6923" y="13452"/>
                  </a:cubicBezTo>
                  <a:cubicBezTo>
                    <a:pt x="6646" y="13452"/>
                    <a:pt x="6231" y="13185"/>
                    <a:pt x="6092" y="13452"/>
                  </a:cubicBezTo>
                  <a:cubicBezTo>
                    <a:pt x="6092" y="13185"/>
                    <a:pt x="6646" y="13985"/>
                    <a:pt x="6646" y="13985"/>
                  </a:cubicBezTo>
                  <a:cubicBezTo>
                    <a:pt x="6646" y="14252"/>
                    <a:pt x="5954" y="13718"/>
                    <a:pt x="5954" y="13718"/>
                  </a:cubicBezTo>
                  <a:cubicBezTo>
                    <a:pt x="5538" y="13185"/>
                    <a:pt x="5262" y="13185"/>
                    <a:pt x="4846" y="13185"/>
                  </a:cubicBezTo>
                  <a:cubicBezTo>
                    <a:pt x="4569" y="13185"/>
                    <a:pt x="4431" y="13185"/>
                    <a:pt x="4154" y="13452"/>
                  </a:cubicBezTo>
                  <a:cubicBezTo>
                    <a:pt x="3877" y="13718"/>
                    <a:pt x="3738" y="13452"/>
                    <a:pt x="3600" y="13718"/>
                  </a:cubicBezTo>
                  <a:cubicBezTo>
                    <a:pt x="3462" y="13985"/>
                    <a:pt x="3462" y="14252"/>
                    <a:pt x="3185" y="14252"/>
                  </a:cubicBezTo>
                  <a:cubicBezTo>
                    <a:pt x="3046" y="14518"/>
                    <a:pt x="2908" y="15318"/>
                    <a:pt x="3185" y="15318"/>
                  </a:cubicBezTo>
                  <a:cubicBezTo>
                    <a:pt x="3462" y="15318"/>
                    <a:pt x="3738" y="15052"/>
                    <a:pt x="3738" y="15318"/>
                  </a:cubicBezTo>
                  <a:cubicBezTo>
                    <a:pt x="3877" y="15852"/>
                    <a:pt x="4431" y="15585"/>
                    <a:pt x="4431" y="15318"/>
                  </a:cubicBezTo>
                  <a:cubicBezTo>
                    <a:pt x="4569" y="15318"/>
                    <a:pt x="4846" y="14518"/>
                    <a:pt x="4846" y="14252"/>
                  </a:cubicBezTo>
                  <a:cubicBezTo>
                    <a:pt x="4846" y="14518"/>
                    <a:pt x="4846" y="14518"/>
                    <a:pt x="4846" y="14785"/>
                  </a:cubicBezTo>
                  <a:cubicBezTo>
                    <a:pt x="4846" y="14785"/>
                    <a:pt x="4985" y="14785"/>
                    <a:pt x="4985" y="14785"/>
                  </a:cubicBezTo>
                  <a:cubicBezTo>
                    <a:pt x="4985" y="14785"/>
                    <a:pt x="4846" y="15052"/>
                    <a:pt x="4846" y="15318"/>
                  </a:cubicBezTo>
                  <a:cubicBezTo>
                    <a:pt x="4846" y="15318"/>
                    <a:pt x="4846" y="15318"/>
                    <a:pt x="4985" y="15318"/>
                  </a:cubicBezTo>
                  <a:cubicBezTo>
                    <a:pt x="4985" y="15318"/>
                    <a:pt x="4569" y="15585"/>
                    <a:pt x="4708" y="15585"/>
                  </a:cubicBezTo>
                  <a:cubicBezTo>
                    <a:pt x="4708" y="15585"/>
                    <a:pt x="4708" y="15585"/>
                    <a:pt x="4708" y="15585"/>
                  </a:cubicBezTo>
                  <a:cubicBezTo>
                    <a:pt x="4708" y="15852"/>
                    <a:pt x="4292" y="15585"/>
                    <a:pt x="4154" y="15852"/>
                  </a:cubicBezTo>
                  <a:cubicBezTo>
                    <a:pt x="4292" y="15852"/>
                    <a:pt x="4846" y="15852"/>
                    <a:pt x="4985" y="16118"/>
                  </a:cubicBezTo>
                  <a:cubicBezTo>
                    <a:pt x="4985" y="16118"/>
                    <a:pt x="4292" y="16918"/>
                    <a:pt x="4431" y="16918"/>
                  </a:cubicBezTo>
                  <a:cubicBezTo>
                    <a:pt x="4431" y="17185"/>
                    <a:pt x="5123" y="16918"/>
                    <a:pt x="5123" y="16918"/>
                  </a:cubicBezTo>
                  <a:cubicBezTo>
                    <a:pt x="5123" y="16918"/>
                    <a:pt x="4985" y="16918"/>
                    <a:pt x="4985" y="16918"/>
                  </a:cubicBezTo>
                  <a:cubicBezTo>
                    <a:pt x="4985" y="17185"/>
                    <a:pt x="5677" y="16918"/>
                    <a:pt x="5815" y="16652"/>
                  </a:cubicBezTo>
                  <a:cubicBezTo>
                    <a:pt x="5815" y="16652"/>
                    <a:pt x="6369" y="15318"/>
                    <a:pt x="6508" y="15585"/>
                  </a:cubicBezTo>
                  <a:cubicBezTo>
                    <a:pt x="6646" y="15852"/>
                    <a:pt x="5538" y="17452"/>
                    <a:pt x="5262" y="17718"/>
                  </a:cubicBezTo>
                  <a:cubicBezTo>
                    <a:pt x="4846" y="17718"/>
                    <a:pt x="4569" y="17718"/>
                    <a:pt x="4154" y="17185"/>
                  </a:cubicBezTo>
                  <a:cubicBezTo>
                    <a:pt x="3877" y="16918"/>
                    <a:pt x="3877" y="16385"/>
                    <a:pt x="3600" y="16385"/>
                  </a:cubicBezTo>
                  <a:cubicBezTo>
                    <a:pt x="3323" y="16118"/>
                    <a:pt x="3046" y="16118"/>
                    <a:pt x="2769" y="16118"/>
                  </a:cubicBezTo>
                  <a:cubicBezTo>
                    <a:pt x="2354" y="16118"/>
                    <a:pt x="2354" y="16385"/>
                    <a:pt x="2631" y="16918"/>
                  </a:cubicBezTo>
                  <a:cubicBezTo>
                    <a:pt x="2769" y="17185"/>
                    <a:pt x="2769" y="17452"/>
                    <a:pt x="3046" y="17452"/>
                  </a:cubicBezTo>
                  <a:cubicBezTo>
                    <a:pt x="3462" y="17452"/>
                    <a:pt x="3046" y="17452"/>
                    <a:pt x="3046" y="17718"/>
                  </a:cubicBezTo>
                  <a:cubicBezTo>
                    <a:pt x="3046" y="17718"/>
                    <a:pt x="3600" y="18252"/>
                    <a:pt x="3600" y="1825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6" name="Shape 2025">
              <a:extLst>
                <a:ext uri="{FF2B5EF4-FFF2-40B4-BE49-F238E27FC236}">
                  <a16:creationId xmlns:a16="http://schemas.microsoft.com/office/drawing/2014/main" id="{A8E37A77-A4A4-799C-4FED-A875DECA1E81}"/>
                </a:ext>
              </a:extLst>
            </p:cNvPr>
            <p:cNvSpPr/>
            <p:nvPr/>
          </p:nvSpPr>
          <p:spPr>
            <a:xfrm>
              <a:off x="2979860" y="335310"/>
              <a:ext cx="87464" cy="24069"/>
            </a:xfrm>
            <a:custGeom>
              <a:avLst/>
              <a:gdLst/>
              <a:ahLst/>
              <a:cxnLst>
                <a:cxn ang="0">
                  <a:pos x="wd2" y="hd2"/>
                </a:cxn>
                <a:cxn ang="5400000">
                  <a:pos x="wd2" y="hd2"/>
                </a:cxn>
                <a:cxn ang="10800000">
                  <a:pos x="wd2" y="hd2"/>
                </a:cxn>
                <a:cxn ang="16200000">
                  <a:pos x="wd2" y="hd2"/>
                </a:cxn>
              </a:cxnLst>
              <a:rect l="0" t="0" r="r" b="b"/>
              <a:pathLst>
                <a:path w="20503" h="15417" extrusionOk="0">
                  <a:moveTo>
                    <a:pt x="20057" y="14170"/>
                  </a:moveTo>
                  <a:cubicBezTo>
                    <a:pt x="18514" y="9850"/>
                    <a:pt x="20057" y="9850"/>
                    <a:pt x="16971" y="5530"/>
                  </a:cubicBezTo>
                  <a:cubicBezTo>
                    <a:pt x="15429" y="5530"/>
                    <a:pt x="13886" y="5530"/>
                    <a:pt x="12343" y="5530"/>
                  </a:cubicBezTo>
                  <a:cubicBezTo>
                    <a:pt x="10800" y="5530"/>
                    <a:pt x="3086" y="-3110"/>
                    <a:pt x="1543" y="1210"/>
                  </a:cubicBezTo>
                  <a:cubicBezTo>
                    <a:pt x="1543" y="1210"/>
                    <a:pt x="4629" y="5530"/>
                    <a:pt x="3086" y="5530"/>
                  </a:cubicBezTo>
                  <a:cubicBezTo>
                    <a:pt x="3086" y="9850"/>
                    <a:pt x="0" y="14170"/>
                    <a:pt x="0" y="9850"/>
                  </a:cubicBezTo>
                  <a:cubicBezTo>
                    <a:pt x="0" y="14170"/>
                    <a:pt x="3086" y="9850"/>
                    <a:pt x="4629" y="9850"/>
                  </a:cubicBezTo>
                  <a:cubicBezTo>
                    <a:pt x="6171" y="9850"/>
                    <a:pt x="9257" y="14170"/>
                    <a:pt x="12343" y="14170"/>
                  </a:cubicBezTo>
                  <a:cubicBezTo>
                    <a:pt x="13886" y="14170"/>
                    <a:pt x="20057" y="14170"/>
                    <a:pt x="20057" y="14170"/>
                  </a:cubicBezTo>
                  <a:cubicBezTo>
                    <a:pt x="18514" y="9850"/>
                    <a:pt x="21600" y="18490"/>
                    <a:pt x="20057" y="1417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7" name="Shape 2026">
              <a:extLst>
                <a:ext uri="{FF2B5EF4-FFF2-40B4-BE49-F238E27FC236}">
                  <a16:creationId xmlns:a16="http://schemas.microsoft.com/office/drawing/2014/main" id="{534FE270-898E-428F-E0E1-AEE19CEF2A3E}"/>
                </a:ext>
              </a:extLst>
            </p:cNvPr>
            <p:cNvSpPr/>
            <p:nvPr/>
          </p:nvSpPr>
          <p:spPr>
            <a:xfrm>
              <a:off x="2732874" y="357429"/>
              <a:ext cx="23903" cy="8633"/>
            </a:xfrm>
            <a:custGeom>
              <a:avLst/>
              <a:gdLst/>
              <a:ahLst/>
              <a:cxnLst>
                <a:cxn ang="0">
                  <a:pos x="wd2" y="hd2"/>
                </a:cxn>
                <a:cxn ang="5400000">
                  <a:pos x="wd2" y="hd2"/>
                </a:cxn>
                <a:cxn ang="10800000">
                  <a:pos x="wd2" y="hd2"/>
                </a:cxn>
                <a:cxn ang="16200000">
                  <a:pos x="wd2" y="hd2"/>
                </a:cxn>
              </a:cxnLst>
              <a:rect l="0" t="0" r="r" b="b"/>
              <a:pathLst>
                <a:path w="13513" h="13824" extrusionOk="0">
                  <a:moveTo>
                    <a:pt x="12788" y="10800"/>
                  </a:moveTo>
                  <a:cubicBezTo>
                    <a:pt x="9188" y="21600"/>
                    <a:pt x="-5212" y="0"/>
                    <a:pt x="1988" y="0"/>
                  </a:cubicBezTo>
                  <a:cubicBezTo>
                    <a:pt x="5588" y="0"/>
                    <a:pt x="16388" y="10800"/>
                    <a:pt x="12788"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8" name="Shape 2027">
              <a:extLst>
                <a:ext uri="{FF2B5EF4-FFF2-40B4-BE49-F238E27FC236}">
                  <a16:creationId xmlns:a16="http://schemas.microsoft.com/office/drawing/2014/main" id="{7CAEBC84-E334-DA5D-F0A1-504FB6FB0684}"/>
                </a:ext>
              </a:extLst>
            </p:cNvPr>
            <p:cNvSpPr/>
            <p:nvPr/>
          </p:nvSpPr>
          <p:spPr>
            <a:xfrm>
              <a:off x="2899544" y="566854"/>
              <a:ext cx="23903" cy="10522"/>
            </a:xfrm>
            <a:custGeom>
              <a:avLst/>
              <a:gdLst/>
              <a:ahLst/>
              <a:cxnLst>
                <a:cxn ang="0">
                  <a:pos x="wd2" y="hd2"/>
                </a:cxn>
                <a:cxn ang="5400000">
                  <a:pos x="wd2" y="hd2"/>
                </a:cxn>
                <a:cxn ang="10800000">
                  <a:pos x="wd2" y="hd2"/>
                </a:cxn>
                <a:cxn ang="16200000">
                  <a:pos x="wd2" y="hd2"/>
                </a:cxn>
              </a:cxnLst>
              <a:rect l="0" t="0" r="r" b="b"/>
              <a:pathLst>
                <a:path w="13513" h="11232" extrusionOk="0">
                  <a:moveTo>
                    <a:pt x="11525" y="2016"/>
                  </a:moveTo>
                  <a:cubicBezTo>
                    <a:pt x="7925" y="-5184"/>
                    <a:pt x="-2875" y="9216"/>
                    <a:pt x="725" y="9216"/>
                  </a:cubicBezTo>
                  <a:cubicBezTo>
                    <a:pt x="4325" y="16416"/>
                    <a:pt x="18725" y="2016"/>
                    <a:pt x="11525" y="20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9" name="Shape 2028">
              <a:extLst>
                <a:ext uri="{FF2B5EF4-FFF2-40B4-BE49-F238E27FC236}">
                  <a16:creationId xmlns:a16="http://schemas.microsoft.com/office/drawing/2014/main" id="{965E81F3-F42F-7809-311E-EB0E475853DE}"/>
                </a:ext>
              </a:extLst>
            </p:cNvPr>
            <p:cNvSpPr/>
            <p:nvPr/>
          </p:nvSpPr>
          <p:spPr>
            <a:xfrm>
              <a:off x="659177" y="1484841"/>
              <a:ext cx="22666" cy="21315"/>
            </a:xfrm>
            <a:custGeom>
              <a:avLst/>
              <a:gdLst/>
              <a:ahLst/>
              <a:cxnLst>
                <a:cxn ang="0">
                  <a:pos x="wd2" y="hd2"/>
                </a:cxn>
                <a:cxn ang="5400000">
                  <a:pos x="wd2" y="hd2"/>
                </a:cxn>
                <a:cxn ang="10800000">
                  <a:pos x="wd2" y="hd2"/>
                </a:cxn>
                <a:cxn ang="16200000">
                  <a:pos x="wd2" y="hd2"/>
                </a:cxn>
              </a:cxnLst>
              <a:rect l="0" t="0" r="r" b="b"/>
              <a:pathLst>
                <a:path w="14523" h="17067" extrusionOk="0">
                  <a:moveTo>
                    <a:pt x="13829" y="867"/>
                  </a:moveTo>
                  <a:cubicBezTo>
                    <a:pt x="9509" y="-4533"/>
                    <a:pt x="-3451" y="17067"/>
                    <a:pt x="869" y="17067"/>
                  </a:cubicBezTo>
                  <a:cubicBezTo>
                    <a:pt x="869" y="17067"/>
                    <a:pt x="18149" y="867"/>
                    <a:pt x="13829" y="8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0" name="Shape 2029">
              <a:extLst>
                <a:ext uri="{FF2B5EF4-FFF2-40B4-BE49-F238E27FC236}">
                  <a16:creationId xmlns:a16="http://schemas.microsoft.com/office/drawing/2014/main" id="{1CBB2EB9-F3D9-554D-715C-CD1117F8FD2E}"/>
                </a:ext>
              </a:extLst>
            </p:cNvPr>
            <p:cNvSpPr/>
            <p:nvPr/>
          </p:nvSpPr>
          <p:spPr>
            <a:xfrm>
              <a:off x="700989" y="1472434"/>
              <a:ext cx="6745" cy="674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21600"/>
                    <a:pt x="21600" y="21600"/>
                    <a:pt x="21600" y="21600"/>
                  </a:cubicBezTo>
                  <a:cubicBezTo>
                    <a:pt x="21600" y="0"/>
                    <a:pt x="0" y="0"/>
                    <a:pt x="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1" name="Shape 2030">
              <a:extLst>
                <a:ext uri="{FF2B5EF4-FFF2-40B4-BE49-F238E27FC236}">
                  <a16:creationId xmlns:a16="http://schemas.microsoft.com/office/drawing/2014/main" id="{EBAFAD01-1518-E600-41CA-112A5D9C9470}"/>
                </a:ext>
              </a:extLst>
            </p:cNvPr>
            <p:cNvSpPr/>
            <p:nvPr/>
          </p:nvSpPr>
          <p:spPr>
            <a:xfrm>
              <a:off x="34411" y="1482551"/>
              <a:ext cx="29711" cy="20802"/>
            </a:xfrm>
            <a:custGeom>
              <a:avLst/>
              <a:gdLst/>
              <a:ahLst/>
              <a:cxnLst>
                <a:cxn ang="0">
                  <a:pos x="wd2" y="hd2"/>
                </a:cxn>
                <a:cxn ang="5400000">
                  <a:pos x="wd2" y="hd2"/>
                </a:cxn>
                <a:cxn ang="10800000">
                  <a:pos x="wd2" y="hd2"/>
                </a:cxn>
                <a:cxn ang="16200000">
                  <a:pos x="wd2" y="hd2"/>
                </a:cxn>
              </a:cxnLst>
              <a:rect l="0" t="0" r="r" b="b"/>
              <a:pathLst>
                <a:path w="14277" h="11104" extrusionOk="0">
                  <a:moveTo>
                    <a:pt x="12834" y="5400"/>
                  </a:moveTo>
                  <a:cubicBezTo>
                    <a:pt x="19005" y="-1800"/>
                    <a:pt x="3576" y="-1800"/>
                    <a:pt x="491" y="5400"/>
                  </a:cubicBezTo>
                  <a:cubicBezTo>
                    <a:pt x="-2595" y="9000"/>
                    <a:pt x="9748" y="16200"/>
                    <a:pt x="12834" y="5400"/>
                  </a:cubicBezTo>
                  <a:cubicBezTo>
                    <a:pt x="15919" y="1800"/>
                    <a:pt x="6662" y="19800"/>
                    <a:pt x="12834" y="5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2" name="Shape 2031">
              <a:extLst>
                <a:ext uri="{FF2B5EF4-FFF2-40B4-BE49-F238E27FC236}">
                  <a16:creationId xmlns:a16="http://schemas.microsoft.com/office/drawing/2014/main" id="{0613F5A4-8027-FC9D-28B9-8B85EFC5C225}"/>
                </a:ext>
              </a:extLst>
            </p:cNvPr>
            <p:cNvSpPr/>
            <p:nvPr/>
          </p:nvSpPr>
          <p:spPr>
            <a:xfrm>
              <a:off x="9726577" y="3823834"/>
              <a:ext cx="13486" cy="2999"/>
            </a:xfrm>
            <a:custGeom>
              <a:avLst/>
              <a:gdLst/>
              <a:ahLst/>
              <a:cxnLst>
                <a:cxn ang="0">
                  <a:pos x="wd2" y="hd2"/>
                </a:cxn>
                <a:cxn ang="5400000">
                  <a:pos x="wd2" y="hd2"/>
                </a:cxn>
                <a:cxn ang="10800000">
                  <a:pos x="wd2" y="hd2"/>
                </a:cxn>
                <a:cxn ang="16200000">
                  <a:pos x="wd2" y="hd2"/>
                </a:cxn>
              </a:cxnLst>
              <a:rect l="0" t="0" r="r" b="b"/>
              <a:pathLst>
                <a:path w="21600" h="9600" extrusionOk="0">
                  <a:moveTo>
                    <a:pt x="21600" y="0"/>
                  </a:moveTo>
                  <a:cubicBezTo>
                    <a:pt x="21600" y="21600"/>
                    <a:pt x="0" y="0"/>
                    <a:pt x="0" y="0"/>
                  </a:cubicBezTo>
                  <a:cubicBezTo>
                    <a:pt x="10800" y="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3" name="Shape 2032">
              <a:extLst>
                <a:ext uri="{FF2B5EF4-FFF2-40B4-BE49-F238E27FC236}">
                  <a16:creationId xmlns:a16="http://schemas.microsoft.com/office/drawing/2014/main" id="{BCEBF2A1-EB6B-F97E-0066-58B63F29AFEE}"/>
                </a:ext>
              </a:extLst>
            </p:cNvPr>
            <p:cNvSpPr/>
            <p:nvPr/>
          </p:nvSpPr>
          <p:spPr>
            <a:xfrm>
              <a:off x="9641175" y="3810346"/>
              <a:ext cx="13486" cy="9539"/>
            </a:xfrm>
            <a:custGeom>
              <a:avLst/>
              <a:gdLst/>
              <a:ahLst/>
              <a:cxnLst>
                <a:cxn ang="0">
                  <a:pos x="wd2" y="hd2"/>
                </a:cxn>
                <a:cxn ang="5400000">
                  <a:pos x="wd2" y="hd2"/>
                </a:cxn>
                <a:cxn ang="10800000">
                  <a:pos x="wd2" y="hd2"/>
                </a:cxn>
                <a:cxn ang="16200000">
                  <a:pos x="wd2" y="hd2"/>
                </a:cxn>
              </a:cxnLst>
              <a:rect l="0" t="0" r="r" b="b"/>
              <a:pathLst>
                <a:path w="21600" h="15274" extrusionOk="0">
                  <a:moveTo>
                    <a:pt x="21600" y="0"/>
                  </a:moveTo>
                  <a:cubicBezTo>
                    <a:pt x="21600" y="10800"/>
                    <a:pt x="0" y="21600"/>
                    <a:pt x="0" y="10800"/>
                  </a:cubicBezTo>
                  <a:cubicBezTo>
                    <a:pt x="0" y="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4" name="Shape 2033">
              <a:extLst>
                <a:ext uri="{FF2B5EF4-FFF2-40B4-BE49-F238E27FC236}">
                  <a16:creationId xmlns:a16="http://schemas.microsoft.com/office/drawing/2014/main" id="{8D17E09F-BFD3-D348-0DC3-EC443C90AB85}"/>
                </a:ext>
              </a:extLst>
            </p:cNvPr>
            <p:cNvSpPr/>
            <p:nvPr/>
          </p:nvSpPr>
          <p:spPr>
            <a:xfrm>
              <a:off x="9943626" y="4991748"/>
              <a:ext cx="33367" cy="18475"/>
            </a:xfrm>
            <a:custGeom>
              <a:avLst/>
              <a:gdLst/>
              <a:ahLst/>
              <a:cxnLst>
                <a:cxn ang="0">
                  <a:pos x="wd2" y="hd2"/>
                </a:cxn>
                <a:cxn ang="5400000">
                  <a:pos x="wd2" y="hd2"/>
                </a:cxn>
                <a:cxn ang="10800000">
                  <a:pos x="wd2" y="hd2"/>
                </a:cxn>
                <a:cxn ang="16200000">
                  <a:pos x="wd2" y="hd2"/>
                </a:cxn>
              </a:cxnLst>
              <a:rect l="0" t="0" r="r" b="b"/>
              <a:pathLst>
                <a:path w="16034" h="11833" extrusionOk="0">
                  <a:moveTo>
                    <a:pt x="15731" y="4988"/>
                  </a:moveTo>
                  <a:cubicBezTo>
                    <a:pt x="18817" y="-3652"/>
                    <a:pt x="-2783" y="668"/>
                    <a:pt x="303" y="4988"/>
                  </a:cubicBezTo>
                  <a:cubicBezTo>
                    <a:pt x="303" y="9308"/>
                    <a:pt x="12646" y="17948"/>
                    <a:pt x="15731" y="498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5" name="Shape 2034">
              <a:extLst>
                <a:ext uri="{FF2B5EF4-FFF2-40B4-BE49-F238E27FC236}">
                  <a16:creationId xmlns:a16="http://schemas.microsoft.com/office/drawing/2014/main" id="{64939797-826C-F63A-28DC-022266F245AA}"/>
                </a:ext>
              </a:extLst>
            </p:cNvPr>
            <p:cNvSpPr/>
            <p:nvPr/>
          </p:nvSpPr>
          <p:spPr>
            <a:xfrm>
              <a:off x="6049519" y="1042768"/>
              <a:ext cx="2851" cy="2851"/>
            </a:xfrm>
            <a:prstGeom prst="rect">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6" name="Shape 2035">
              <a:extLst>
                <a:ext uri="{FF2B5EF4-FFF2-40B4-BE49-F238E27FC236}">
                  <a16:creationId xmlns:a16="http://schemas.microsoft.com/office/drawing/2014/main" id="{E2ED67C4-AF82-4F47-D273-098C5F264EB0}"/>
                </a:ext>
              </a:extLst>
            </p:cNvPr>
            <p:cNvSpPr/>
            <p:nvPr/>
          </p:nvSpPr>
          <p:spPr>
            <a:xfrm>
              <a:off x="3795669" y="4788226"/>
              <a:ext cx="57662" cy="54843"/>
            </a:xfrm>
            <a:custGeom>
              <a:avLst/>
              <a:gdLst/>
              <a:ahLst/>
              <a:cxnLst>
                <a:cxn ang="0">
                  <a:pos x="wd2" y="hd2"/>
                </a:cxn>
                <a:cxn ang="5400000">
                  <a:pos x="wd2" y="hd2"/>
                </a:cxn>
                <a:cxn ang="10800000">
                  <a:pos x="wd2" y="hd2"/>
                </a:cxn>
                <a:cxn ang="16200000">
                  <a:pos x="wd2" y="hd2"/>
                </a:cxn>
              </a:cxnLst>
              <a:rect l="0" t="0" r="r" b="b"/>
              <a:pathLst>
                <a:path w="18473" h="20267" extrusionOk="0">
                  <a:moveTo>
                    <a:pt x="8640" y="9600"/>
                  </a:moveTo>
                  <a:cubicBezTo>
                    <a:pt x="8640" y="12000"/>
                    <a:pt x="2160" y="16800"/>
                    <a:pt x="0" y="19200"/>
                  </a:cubicBezTo>
                  <a:cubicBezTo>
                    <a:pt x="0" y="21600"/>
                    <a:pt x="4320" y="19200"/>
                    <a:pt x="4320" y="19200"/>
                  </a:cubicBezTo>
                  <a:cubicBezTo>
                    <a:pt x="6480" y="16800"/>
                    <a:pt x="8640" y="14400"/>
                    <a:pt x="10800" y="12000"/>
                  </a:cubicBezTo>
                  <a:cubicBezTo>
                    <a:pt x="12960" y="9600"/>
                    <a:pt x="21600" y="0"/>
                    <a:pt x="17280" y="0"/>
                  </a:cubicBezTo>
                  <a:cubicBezTo>
                    <a:pt x="15120" y="0"/>
                    <a:pt x="8640" y="7200"/>
                    <a:pt x="8640" y="9600"/>
                  </a:cubicBezTo>
                  <a:cubicBezTo>
                    <a:pt x="8640" y="12000"/>
                    <a:pt x="8640" y="7200"/>
                    <a:pt x="8640" y="9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7" name="Shape 2036">
              <a:extLst>
                <a:ext uri="{FF2B5EF4-FFF2-40B4-BE49-F238E27FC236}">
                  <a16:creationId xmlns:a16="http://schemas.microsoft.com/office/drawing/2014/main" id="{D9B1D757-6A0D-75E4-FB1E-A7DE612EB075}"/>
                </a:ext>
              </a:extLst>
            </p:cNvPr>
            <p:cNvSpPr/>
            <p:nvPr/>
          </p:nvSpPr>
          <p:spPr>
            <a:xfrm>
              <a:off x="2788173" y="2126601"/>
              <a:ext cx="41113" cy="11383"/>
            </a:xfrm>
            <a:custGeom>
              <a:avLst/>
              <a:gdLst/>
              <a:ahLst/>
              <a:cxnLst>
                <a:cxn ang="0">
                  <a:pos x="wd2" y="hd2"/>
                </a:cxn>
                <a:cxn ang="5400000">
                  <a:pos x="wd2" y="hd2"/>
                </a:cxn>
                <a:cxn ang="10800000">
                  <a:pos x="wd2" y="hd2"/>
                </a:cxn>
                <a:cxn ang="16200000">
                  <a:pos x="wd2" y="hd2"/>
                </a:cxn>
              </a:cxnLst>
              <a:rect l="0" t="0" r="r" b="b"/>
              <a:pathLst>
                <a:path w="18816" h="12150" extrusionOk="0">
                  <a:moveTo>
                    <a:pt x="18816" y="7200"/>
                  </a:moveTo>
                  <a:cubicBezTo>
                    <a:pt x="18816" y="0"/>
                    <a:pt x="-2784" y="0"/>
                    <a:pt x="302" y="0"/>
                  </a:cubicBezTo>
                  <a:cubicBezTo>
                    <a:pt x="3387" y="0"/>
                    <a:pt x="15730" y="21600"/>
                    <a:pt x="18816"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8" name="Shape 2037">
              <a:extLst>
                <a:ext uri="{FF2B5EF4-FFF2-40B4-BE49-F238E27FC236}">
                  <a16:creationId xmlns:a16="http://schemas.microsoft.com/office/drawing/2014/main" id="{2D949F31-D1FB-E2A3-9D44-B6EE198A8CE9}"/>
                </a:ext>
              </a:extLst>
            </p:cNvPr>
            <p:cNvSpPr/>
            <p:nvPr/>
          </p:nvSpPr>
          <p:spPr>
            <a:xfrm>
              <a:off x="3249548" y="5678429"/>
              <a:ext cx="119114" cy="105657"/>
            </a:xfrm>
            <a:custGeom>
              <a:avLst/>
              <a:gdLst/>
              <a:ahLst/>
              <a:cxnLst>
                <a:cxn ang="0">
                  <a:pos x="wd2" y="hd2"/>
                </a:cxn>
                <a:cxn ang="5400000">
                  <a:pos x="wd2" y="hd2"/>
                </a:cxn>
                <a:cxn ang="10800000">
                  <a:pos x="wd2" y="hd2"/>
                </a:cxn>
                <a:cxn ang="16200000">
                  <a:pos x="wd2" y="hd2"/>
                </a:cxn>
              </a:cxnLst>
              <a:rect l="0" t="0" r="r" b="b"/>
              <a:pathLst>
                <a:path w="21600" h="21600" extrusionOk="0">
                  <a:moveTo>
                    <a:pt x="20400" y="18900"/>
                  </a:moveTo>
                  <a:cubicBezTo>
                    <a:pt x="15600" y="18900"/>
                    <a:pt x="13200" y="14850"/>
                    <a:pt x="9600" y="12150"/>
                  </a:cubicBezTo>
                  <a:cubicBezTo>
                    <a:pt x="8400" y="9450"/>
                    <a:pt x="6000" y="8100"/>
                    <a:pt x="4800" y="6750"/>
                  </a:cubicBezTo>
                  <a:cubicBezTo>
                    <a:pt x="3600" y="6750"/>
                    <a:pt x="1200" y="5400"/>
                    <a:pt x="1200" y="4050"/>
                  </a:cubicBezTo>
                  <a:cubicBezTo>
                    <a:pt x="1200" y="4050"/>
                    <a:pt x="2400" y="4050"/>
                    <a:pt x="2400" y="2700"/>
                  </a:cubicBezTo>
                  <a:cubicBezTo>
                    <a:pt x="3600" y="2700"/>
                    <a:pt x="1200" y="0"/>
                    <a:pt x="0" y="0"/>
                  </a:cubicBezTo>
                  <a:cubicBezTo>
                    <a:pt x="0" y="6750"/>
                    <a:pt x="0" y="13500"/>
                    <a:pt x="0" y="18900"/>
                  </a:cubicBezTo>
                  <a:cubicBezTo>
                    <a:pt x="0" y="20250"/>
                    <a:pt x="7200" y="20250"/>
                    <a:pt x="8400" y="20250"/>
                  </a:cubicBezTo>
                  <a:cubicBezTo>
                    <a:pt x="9600" y="20250"/>
                    <a:pt x="10800" y="20250"/>
                    <a:pt x="12000" y="21600"/>
                  </a:cubicBezTo>
                  <a:cubicBezTo>
                    <a:pt x="14400" y="21600"/>
                    <a:pt x="14400" y="21600"/>
                    <a:pt x="15600" y="20250"/>
                  </a:cubicBezTo>
                  <a:cubicBezTo>
                    <a:pt x="16800" y="20250"/>
                    <a:pt x="21600" y="20250"/>
                    <a:pt x="21600" y="18900"/>
                  </a:cubicBezTo>
                  <a:cubicBezTo>
                    <a:pt x="21600" y="18900"/>
                    <a:pt x="21600" y="17550"/>
                    <a:pt x="20400" y="189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9" name="Shape 2038">
              <a:extLst>
                <a:ext uri="{FF2B5EF4-FFF2-40B4-BE49-F238E27FC236}">
                  <a16:creationId xmlns:a16="http://schemas.microsoft.com/office/drawing/2014/main" id="{C68C62E1-E278-4146-E2DA-8977FFCE51C4}"/>
                </a:ext>
              </a:extLst>
            </p:cNvPr>
            <p:cNvSpPr/>
            <p:nvPr/>
          </p:nvSpPr>
          <p:spPr>
            <a:xfrm>
              <a:off x="3123695" y="5669779"/>
              <a:ext cx="197773" cy="148028"/>
            </a:xfrm>
            <a:custGeom>
              <a:avLst/>
              <a:gdLst/>
              <a:ahLst/>
              <a:cxnLst>
                <a:cxn ang="0">
                  <a:pos x="wd2" y="hd2"/>
                </a:cxn>
                <a:cxn ang="5400000">
                  <a:pos x="wd2" y="hd2"/>
                </a:cxn>
                <a:cxn ang="10800000">
                  <a:pos x="wd2" y="hd2"/>
                </a:cxn>
                <a:cxn ang="16200000">
                  <a:pos x="wd2" y="hd2"/>
                </a:cxn>
              </a:cxnLst>
              <a:rect l="0" t="0" r="r" b="b"/>
              <a:pathLst>
                <a:path w="21600" h="20917" extrusionOk="0">
                  <a:moveTo>
                    <a:pt x="13680" y="15282"/>
                  </a:moveTo>
                  <a:cubicBezTo>
                    <a:pt x="13680" y="11526"/>
                    <a:pt x="13680" y="8708"/>
                    <a:pt x="13680" y="5891"/>
                  </a:cubicBezTo>
                  <a:cubicBezTo>
                    <a:pt x="13680" y="4952"/>
                    <a:pt x="13680" y="3074"/>
                    <a:pt x="13680" y="2134"/>
                  </a:cubicBezTo>
                  <a:cubicBezTo>
                    <a:pt x="13680" y="1195"/>
                    <a:pt x="11520" y="-683"/>
                    <a:pt x="10800" y="256"/>
                  </a:cubicBezTo>
                  <a:cubicBezTo>
                    <a:pt x="10080" y="1195"/>
                    <a:pt x="8640" y="256"/>
                    <a:pt x="8640" y="2134"/>
                  </a:cubicBezTo>
                  <a:cubicBezTo>
                    <a:pt x="7920" y="4013"/>
                    <a:pt x="6480" y="5891"/>
                    <a:pt x="9360" y="4952"/>
                  </a:cubicBezTo>
                  <a:cubicBezTo>
                    <a:pt x="9360" y="4952"/>
                    <a:pt x="10800" y="4952"/>
                    <a:pt x="10800" y="4952"/>
                  </a:cubicBezTo>
                  <a:cubicBezTo>
                    <a:pt x="11520" y="4952"/>
                    <a:pt x="10080" y="6830"/>
                    <a:pt x="10080" y="6830"/>
                  </a:cubicBezTo>
                  <a:cubicBezTo>
                    <a:pt x="9360" y="6830"/>
                    <a:pt x="7920" y="8708"/>
                    <a:pt x="9360" y="9647"/>
                  </a:cubicBezTo>
                  <a:cubicBezTo>
                    <a:pt x="9360" y="10587"/>
                    <a:pt x="11520" y="10587"/>
                    <a:pt x="11520" y="11526"/>
                  </a:cubicBezTo>
                  <a:cubicBezTo>
                    <a:pt x="11520" y="11526"/>
                    <a:pt x="8640" y="11526"/>
                    <a:pt x="8640" y="11526"/>
                  </a:cubicBezTo>
                  <a:cubicBezTo>
                    <a:pt x="7920" y="11526"/>
                    <a:pt x="6480" y="10587"/>
                    <a:pt x="6480" y="10587"/>
                  </a:cubicBezTo>
                  <a:cubicBezTo>
                    <a:pt x="6480" y="10587"/>
                    <a:pt x="7200" y="11526"/>
                    <a:pt x="7200" y="10587"/>
                  </a:cubicBezTo>
                  <a:cubicBezTo>
                    <a:pt x="7200" y="9647"/>
                    <a:pt x="7920" y="8708"/>
                    <a:pt x="7200" y="7769"/>
                  </a:cubicBezTo>
                  <a:cubicBezTo>
                    <a:pt x="7200" y="7769"/>
                    <a:pt x="5760" y="9647"/>
                    <a:pt x="5760" y="9647"/>
                  </a:cubicBezTo>
                  <a:cubicBezTo>
                    <a:pt x="5040" y="10587"/>
                    <a:pt x="4320" y="9647"/>
                    <a:pt x="3600" y="9647"/>
                  </a:cubicBezTo>
                  <a:cubicBezTo>
                    <a:pt x="2880" y="9647"/>
                    <a:pt x="0" y="8708"/>
                    <a:pt x="0" y="10587"/>
                  </a:cubicBezTo>
                  <a:cubicBezTo>
                    <a:pt x="0" y="11526"/>
                    <a:pt x="1440" y="10587"/>
                    <a:pt x="1440" y="10587"/>
                  </a:cubicBezTo>
                  <a:cubicBezTo>
                    <a:pt x="2160" y="9647"/>
                    <a:pt x="1440" y="10587"/>
                    <a:pt x="2160" y="10587"/>
                  </a:cubicBezTo>
                  <a:cubicBezTo>
                    <a:pt x="2880" y="11526"/>
                    <a:pt x="2880" y="9647"/>
                    <a:pt x="3600" y="10587"/>
                  </a:cubicBezTo>
                  <a:cubicBezTo>
                    <a:pt x="3600" y="10587"/>
                    <a:pt x="4320" y="11526"/>
                    <a:pt x="4320" y="11526"/>
                  </a:cubicBezTo>
                  <a:cubicBezTo>
                    <a:pt x="4320" y="11526"/>
                    <a:pt x="1440" y="12465"/>
                    <a:pt x="2880" y="13404"/>
                  </a:cubicBezTo>
                  <a:cubicBezTo>
                    <a:pt x="3600" y="14343"/>
                    <a:pt x="4320" y="12465"/>
                    <a:pt x="4320" y="13404"/>
                  </a:cubicBezTo>
                  <a:cubicBezTo>
                    <a:pt x="5040" y="13404"/>
                    <a:pt x="5760" y="14343"/>
                    <a:pt x="5760" y="14343"/>
                  </a:cubicBezTo>
                  <a:cubicBezTo>
                    <a:pt x="5760" y="14343"/>
                    <a:pt x="5760" y="14343"/>
                    <a:pt x="5040" y="14343"/>
                  </a:cubicBezTo>
                  <a:cubicBezTo>
                    <a:pt x="5040" y="15282"/>
                    <a:pt x="6480" y="15282"/>
                    <a:pt x="7200" y="15282"/>
                  </a:cubicBezTo>
                  <a:cubicBezTo>
                    <a:pt x="7920" y="15282"/>
                    <a:pt x="7920" y="13404"/>
                    <a:pt x="8640" y="15282"/>
                  </a:cubicBezTo>
                  <a:cubicBezTo>
                    <a:pt x="8640" y="15282"/>
                    <a:pt x="11520" y="19978"/>
                    <a:pt x="12240" y="19039"/>
                  </a:cubicBezTo>
                  <a:cubicBezTo>
                    <a:pt x="12240" y="19039"/>
                    <a:pt x="11520" y="18100"/>
                    <a:pt x="11520" y="18100"/>
                  </a:cubicBezTo>
                  <a:cubicBezTo>
                    <a:pt x="11520" y="17160"/>
                    <a:pt x="15840" y="20917"/>
                    <a:pt x="16560" y="20917"/>
                  </a:cubicBezTo>
                  <a:cubicBezTo>
                    <a:pt x="16560" y="19978"/>
                    <a:pt x="13680" y="17160"/>
                    <a:pt x="13680" y="16221"/>
                  </a:cubicBezTo>
                  <a:cubicBezTo>
                    <a:pt x="14400" y="16221"/>
                    <a:pt x="17280" y="17160"/>
                    <a:pt x="17280" y="17160"/>
                  </a:cubicBezTo>
                  <a:cubicBezTo>
                    <a:pt x="18720" y="17160"/>
                    <a:pt x="20160" y="17160"/>
                    <a:pt x="21600" y="16221"/>
                  </a:cubicBezTo>
                  <a:cubicBezTo>
                    <a:pt x="19440" y="14343"/>
                    <a:pt x="16560" y="15282"/>
                    <a:pt x="13680" y="152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0" name="Shape 2039">
              <a:extLst>
                <a:ext uri="{FF2B5EF4-FFF2-40B4-BE49-F238E27FC236}">
                  <a16:creationId xmlns:a16="http://schemas.microsoft.com/office/drawing/2014/main" id="{42EC01E5-1692-6FAA-AA4D-B65011351D21}"/>
                </a:ext>
              </a:extLst>
            </p:cNvPr>
            <p:cNvSpPr/>
            <p:nvPr/>
          </p:nvSpPr>
          <p:spPr>
            <a:xfrm>
              <a:off x="3103445" y="3374236"/>
              <a:ext cx="449572" cy="357554"/>
            </a:xfrm>
            <a:custGeom>
              <a:avLst/>
              <a:gdLst/>
              <a:ahLst/>
              <a:cxnLst>
                <a:cxn ang="0">
                  <a:pos x="wd2" y="hd2"/>
                </a:cxn>
                <a:cxn ang="5400000">
                  <a:pos x="wd2" y="hd2"/>
                </a:cxn>
                <a:cxn ang="10800000">
                  <a:pos x="wd2" y="hd2"/>
                </a:cxn>
                <a:cxn ang="16200000">
                  <a:pos x="wd2" y="hd2"/>
                </a:cxn>
              </a:cxnLst>
              <a:rect l="0" t="0" r="r" b="b"/>
              <a:pathLst>
                <a:path w="19376" h="21207" extrusionOk="0">
                  <a:moveTo>
                    <a:pt x="17422" y="10996"/>
                  </a:moveTo>
                  <a:cubicBezTo>
                    <a:pt x="17422" y="10211"/>
                    <a:pt x="17422" y="9818"/>
                    <a:pt x="18275" y="9425"/>
                  </a:cubicBezTo>
                  <a:cubicBezTo>
                    <a:pt x="18275" y="9033"/>
                    <a:pt x="18843" y="9033"/>
                    <a:pt x="18559" y="8640"/>
                  </a:cubicBezTo>
                  <a:cubicBezTo>
                    <a:pt x="18275" y="8247"/>
                    <a:pt x="17991" y="7462"/>
                    <a:pt x="18559" y="7069"/>
                  </a:cubicBezTo>
                  <a:cubicBezTo>
                    <a:pt x="21117" y="5498"/>
                    <a:pt x="16854" y="5891"/>
                    <a:pt x="16854" y="5891"/>
                  </a:cubicBezTo>
                  <a:cubicBezTo>
                    <a:pt x="16854" y="5498"/>
                    <a:pt x="17138" y="5498"/>
                    <a:pt x="17422" y="5498"/>
                  </a:cubicBezTo>
                  <a:cubicBezTo>
                    <a:pt x="17706" y="5498"/>
                    <a:pt x="17706" y="4713"/>
                    <a:pt x="17706" y="4320"/>
                  </a:cubicBezTo>
                  <a:cubicBezTo>
                    <a:pt x="17706" y="3927"/>
                    <a:pt x="16570" y="3142"/>
                    <a:pt x="16570" y="3535"/>
                  </a:cubicBezTo>
                  <a:cubicBezTo>
                    <a:pt x="16570" y="3927"/>
                    <a:pt x="16285" y="3142"/>
                    <a:pt x="16285" y="3142"/>
                  </a:cubicBezTo>
                  <a:cubicBezTo>
                    <a:pt x="16001" y="3142"/>
                    <a:pt x="16001" y="3927"/>
                    <a:pt x="15717" y="3535"/>
                  </a:cubicBezTo>
                  <a:cubicBezTo>
                    <a:pt x="15717" y="3535"/>
                    <a:pt x="15717" y="3142"/>
                    <a:pt x="15717" y="2749"/>
                  </a:cubicBezTo>
                  <a:cubicBezTo>
                    <a:pt x="15433" y="2356"/>
                    <a:pt x="15149" y="3142"/>
                    <a:pt x="14864" y="3142"/>
                  </a:cubicBezTo>
                  <a:cubicBezTo>
                    <a:pt x="14864" y="3142"/>
                    <a:pt x="14864" y="2356"/>
                    <a:pt x="14864" y="2356"/>
                  </a:cubicBezTo>
                  <a:cubicBezTo>
                    <a:pt x="14864" y="1571"/>
                    <a:pt x="15717" y="1964"/>
                    <a:pt x="16001" y="1964"/>
                  </a:cubicBezTo>
                  <a:cubicBezTo>
                    <a:pt x="16285" y="1571"/>
                    <a:pt x="15149" y="1571"/>
                    <a:pt x="15149" y="1571"/>
                  </a:cubicBezTo>
                  <a:cubicBezTo>
                    <a:pt x="14580" y="1571"/>
                    <a:pt x="14012" y="1178"/>
                    <a:pt x="13443" y="1571"/>
                  </a:cubicBezTo>
                  <a:cubicBezTo>
                    <a:pt x="12875" y="1964"/>
                    <a:pt x="12591" y="3142"/>
                    <a:pt x="12022" y="2749"/>
                  </a:cubicBezTo>
                  <a:cubicBezTo>
                    <a:pt x="11170" y="2749"/>
                    <a:pt x="10885" y="2749"/>
                    <a:pt x="10317" y="1964"/>
                  </a:cubicBezTo>
                  <a:cubicBezTo>
                    <a:pt x="9749" y="1178"/>
                    <a:pt x="8612" y="1964"/>
                    <a:pt x="7759" y="1964"/>
                  </a:cubicBezTo>
                  <a:cubicBezTo>
                    <a:pt x="7191" y="1964"/>
                    <a:pt x="7191" y="1571"/>
                    <a:pt x="6906" y="785"/>
                  </a:cubicBezTo>
                  <a:cubicBezTo>
                    <a:pt x="6622" y="0"/>
                    <a:pt x="6054" y="0"/>
                    <a:pt x="5201" y="0"/>
                  </a:cubicBezTo>
                  <a:cubicBezTo>
                    <a:pt x="4917" y="0"/>
                    <a:pt x="2643" y="393"/>
                    <a:pt x="2643" y="1571"/>
                  </a:cubicBezTo>
                  <a:cubicBezTo>
                    <a:pt x="2643" y="2749"/>
                    <a:pt x="3780" y="3142"/>
                    <a:pt x="3212" y="4713"/>
                  </a:cubicBezTo>
                  <a:cubicBezTo>
                    <a:pt x="2643" y="5498"/>
                    <a:pt x="1506" y="3927"/>
                    <a:pt x="1791" y="3142"/>
                  </a:cubicBezTo>
                  <a:cubicBezTo>
                    <a:pt x="1791" y="2749"/>
                    <a:pt x="2359" y="2356"/>
                    <a:pt x="2359" y="1964"/>
                  </a:cubicBezTo>
                  <a:cubicBezTo>
                    <a:pt x="2643" y="1178"/>
                    <a:pt x="1791" y="785"/>
                    <a:pt x="1791" y="393"/>
                  </a:cubicBezTo>
                  <a:cubicBezTo>
                    <a:pt x="938" y="1178"/>
                    <a:pt x="654" y="1571"/>
                    <a:pt x="654" y="2749"/>
                  </a:cubicBezTo>
                  <a:cubicBezTo>
                    <a:pt x="370" y="3142"/>
                    <a:pt x="-483" y="4713"/>
                    <a:pt x="370" y="4713"/>
                  </a:cubicBezTo>
                  <a:cubicBezTo>
                    <a:pt x="370" y="4713"/>
                    <a:pt x="654" y="4713"/>
                    <a:pt x="938" y="5105"/>
                  </a:cubicBezTo>
                  <a:cubicBezTo>
                    <a:pt x="938" y="5498"/>
                    <a:pt x="1222" y="5891"/>
                    <a:pt x="1506" y="6284"/>
                  </a:cubicBezTo>
                  <a:cubicBezTo>
                    <a:pt x="2075" y="7069"/>
                    <a:pt x="938" y="8640"/>
                    <a:pt x="2359" y="9033"/>
                  </a:cubicBezTo>
                  <a:cubicBezTo>
                    <a:pt x="2359" y="9033"/>
                    <a:pt x="2928" y="9033"/>
                    <a:pt x="3212" y="9033"/>
                  </a:cubicBezTo>
                  <a:cubicBezTo>
                    <a:pt x="3496" y="9033"/>
                    <a:pt x="3496" y="8640"/>
                    <a:pt x="3780" y="8640"/>
                  </a:cubicBezTo>
                  <a:cubicBezTo>
                    <a:pt x="4633" y="8640"/>
                    <a:pt x="4917" y="9818"/>
                    <a:pt x="5485" y="10604"/>
                  </a:cubicBezTo>
                  <a:cubicBezTo>
                    <a:pt x="5485" y="10604"/>
                    <a:pt x="5770" y="10996"/>
                    <a:pt x="6054" y="10604"/>
                  </a:cubicBezTo>
                  <a:cubicBezTo>
                    <a:pt x="6054" y="10211"/>
                    <a:pt x="6338" y="10604"/>
                    <a:pt x="6906" y="10604"/>
                  </a:cubicBezTo>
                  <a:cubicBezTo>
                    <a:pt x="7475" y="10996"/>
                    <a:pt x="8896" y="9818"/>
                    <a:pt x="8328" y="11389"/>
                  </a:cubicBezTo>
                  <a:cubicBezTo>
                    <a:pt x="7759" y="12567"/>
                    <a:pt x="7759" y="13745"/>
                    <a:pt x="8328" y="14924"/>
                  </a:cubicBezTo>
                  <a:cubicBezTo>
                    <a:pt x="8328" y="15316"/>
                    <a:pt x="8612" y="15709"/>
                    <a:pt x="8612" y="16102"/>
                  </a:cubicBezTo>
                  <a:cubicBezTo>
                    <a:pt x="8612" y="16495"/>
                    <a:pt x="7759" y="16887"/>
                    <a:pt x="8043" y="17280"/>
                  </a:cubicBezTo>
                  <a:cubicBezTo>
                    <a:pt x="8896" y="18458"/>
                    <a:pt x="9180" y="21600"/>
                    <a:pt x="10885" y="20815"/>
                  </a:cubicBezTo>
                  <a:cubicBezTo>
                    <a:pt x="11170" y="20815"/>
                    <a:pt x="11170" y="21207"/>
                    <a:pt x="11454" y="21207"/>
                  </a:cubicBezTo>
                  <a:cubicBezTo>
                    <a:pt x="11738" y="21207"/>
                    <a:pt x="12022" y="20815"/>
                    <a:pt x="12306" y="20422"/>
                  </a:cubicBezTo>
                  <a:cubicBezTo>
                    <a:pt x="12875" y="20029"/>
                    <a:pt x="13159" y="19244"/>
                    <a:pt x="14012" y="18458"/>
                  </a:cubicBezTo>
                  <a:cubicBezTo>
                    <a:pt x="14580" y="18065"/>
                    <a:pt x="13443" y="18065"/>
                    <a:pt x="13443" y="17280"/>
                  </a:cubicBezTo>
                  <a:cubicBezTo>
                    <a:pt x="13443" y="16887"/>
                    <a:pt x="13159" y="16495"/>
                    <a:pt x="13159" y="16102"/>
                  </a:cubicBezTo>
                  <a:cubicBezTo>
                    <a:pt x="13159" y="15709"/>
                    <a:pt x="12306" y="15316"/>
                    <a:pt x="12306" y="14924"/>
                  </a:cubicBezTo>
                  <a:cubicBezTo>
                    <a:pt x="12306" y="14531"/>
                    <a:pt x="14012" y="14924"/>
                    <a:pt x="14296" y="14924"/>
                  </a:cubicBezTo>
                  <a:cubicBezTo>
                    <a:pt x="14864" y="14924"/>
                    <a:pt x="14580" y="15316"/>
                    <a:pt x="14864" y="15709"/>
                  </a:cubicBezTo>
                  <a:cubicBezTo>
                    <a:pt x="15149" y="15709"/>
                    <a:pt x="15149" y="14924"/>
                    <a:pt x="15433" y="14924"/>
                  </a:cubicBezTo>
                  <a:cubicBezTo>
                    <a:pt x="15717" y="14531"/>
                    <a:pt x="16570" y="14531"/>
                    <a:pt x="17138" y="14138"/>
                  </a:cubicBezTo>
                  <a:cubicBezTo>
                    <a:pt x="17422" y="13745"/>
                    <a:pt x="17991" y="13353"/>
                    <a:pt x="18559" y="12960"/>
                  </a:cubicBezTo>
                  <a:cubicBezTo>
                    <a:pt x="18275" y="12175"/>
                    <a:pt x="17422" y="11782"/>
                    <a:pt x="17422" y="1099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1" name="Shape 2040">
              <a:extLst>
                <a:ext uri="{FF2B5EF4-FFF2-40B4-BE49-F238E27FC236}">
                  <a16:creationId xmlns:a16="http://schemas.microsoft.com/office/drawing/2014/main" id="{F7138149-ECEC-337F-CC88-CE5B34479CF3}"/>
                </a:ext>
              </a:extLst>
            </p:cNvPr>
            <p:cNvSpPr/>
            <p:nvPr/>
          </p:nvSpPr>
          <p:spPr>
            <a:xfrm>
              <a:off x="3504174" y="3473148"/>
              <a:ext cx="161144" cy="240733"/>
            </a:xfrm>
            <a:custGeom>
              <a:avLst/>
              <a:gdLst/>
              <a:ahLst/>
              <a:cxnLst>
                <a:cxn ang="0">
                  <a:pos x="wd2" y="hd2"/>
                </a:cxn>
                <a:cxn ang="5400000">
                  <a:pos x="wd2" y="hd2"/>
                </a:cxn>
                <a:cxn ang="10800000">
                  <a:pos x="wd2" y="hd2"/>
                </a:cxn>
                <a:cxn ang="16200000">
                  <a:pos x="wd2" y="hd2"/>
                </a:cxn>
              </a:cxnLst>
              <a:rect l="0" t="0" r="r" b="b"/>
              <a:pathLst>
                <a:path w="20379" h="20653" extrusionOk="0">
                  <a:moveTo>
                    <a:pt x="17056" y="16484"/>
                  </a:moveTo>
                  <a:cubicBezTo>
                    <a:pt x="17056" y="15916"/>
                    <a:pt x="12902" y="12505"/>
                    <a:pt x="13733" y="11937"/>
                  </a:cubicBezTo>
                  <a:cubicBezTo>
                    <a:pt x="14564" y="11368"/>
                    <a:pt x="13733" y="10800"/>
                    <a:pt x="15394" y="10232"/>
                  </a:cubicBezTo>
                  <a:cubicBezTo>
                    <a:pt x="17887" y="10232"/>
                    <a:pt x="17056" y="9095"/>
                    <a:pt x="17056" y="8526"/>
                  </a:cubicBezTo>
                  <a:cubicBezTo>
                    <a:pt x="17056" y="7958"/>
                    <a:pt x="17056" y="7389"/>
                    <a:pt x="17056" y="7389"/>
                  </a:cubicBezTo>
                  <a:cubicBezTo>
                    <a:pt x="17056" y="6821"/>
                    <a:pt x="16225" y="6821"/>
                    <a:pt x="15394" y="6253"/>
                  </a:cubicBezTo>
                  <a:cubicBezTo>
                    <a:pt x="14564" y="5116"/>
                    <a:pt x="12071" y="5116"/>
                    <a:pt x="12071" y="3979"/>
                  </a:cubicBezTo>
                  <a:cubicBezTo>
                    <a:pt x="11241" y="2274"/>
                    <a:pt x="7917" y="568"/>
                    <a:pt x="6256" y="0"/>
                  </a:cubicBezTo>
                  <a:cubicBezTo>
                    <a:pt x="6256" y="1705"/>
                    <a:pt x="2102" y="1705"/>
                    <a:pt x="2933" y="2842"/>
                  </a:cubicBezTo>
                  <a:cubicBezTo>
                    <a:pt x="2933" y="3411"/>
                    <a:pt x="4594" y="3979"/>
                    <a:pt x="3764" y="4547"/>
                  </a:cubicBezTo>
                  <a:cubicBezTo>
                    <a:pt x="2933" y="4547"/>
                    <a:pt x="1271" y="5116"/>
                    <a:pt x="1271" y="5684"/>
                  </a:cubicBezTo>
                  <a:cubicBezTo>
                    <a:pt x="-1221" y="6253"/>
                    <a:pt x="441" y="7958"/>
                    <a:pt x="2102" y="9095"/>
                  </a:cubicBezTo>
                  <a:cubicBezTo>
                    <a:pt x="2933" y="9663"/>
                    <a:pt x="2933" y="10232"/>
                    <a:pt x="4594" y="10232"/>
                  </a:cubicBezTo>
                  <a:cubicBezTo>
                    <a:pt x="5425" y="10232"/>
                    <a:pt x="4594" y="10800"/>
                    <a:pt x="5425" y="11368"/>
                  </a:cubicBezTo>
                  <a:cubicBezTo>
                    <a:pt x="7087" y="13074"/>
                    <a:pt x="6256" y="13642"/>
                    <a:pt x="5425" y="15347"/>
                  </a:cubicBezTo>
                  <a:cubicBezTo>
                    <a:pt x="5425" y="17053"/>
                    <a:pt x="7087" y="18758"/>
                    <a:pt x="7917" y="19895"/>
                  </a:cubicBezTo>
                  <a:cubicBezTo>
                    <a:pt x="10410" y="21600"/>
                    <a:pt x="11241" y="19895"/>
                    <a:pt x="12902" y="19895"/>
                  </a:cubicBezTo>
                  <a:cubicBezTo>
                    <a:pt x="14564" y="19895"/>
                    <a:pt x="15394" y="19326"/>
                    <a:pt x="16225" y="19326"/>
                  </a:cubicBezTo>
                  <a:cubicBezTo>
                    <a:pt x="17887" y="18758"/>
                    <a:pt x="18717" y="18758"/>
                    <a:pt x="20379" y="19326"/>
                  </a:cubicBezTo>
                  <a:cubicBezTo>
                    <a:pt x="19548" y="18189"/>
                    <a:pt x="18717" y="17053"/>
                    <a:pt x="17056" y="16484"/>
                  </a:cubicBezTo>
                  <a:cubicBezTo>
                    <a:pt x="16225" y="15347"/>
                    <a:pt x="17887" y="16484"/>
                    <a:pt x="17056" y="164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2" name="Shape 2041">
              <a:extLst>
                <a:ext uri="{FF2B5EF4-FFF2-40B4-BE49-F238E27FC236}">
                  <a16:creationId xmlns:a16="http://schemas.microsoft.com/office/drawing/2014/main" id="{F63AB594-E97D-881D-E781-3C8E9B771A1A}"/>
                </a:ext>
              </a:extLst>
            </p:cNvPr>
            <p:cNvSpPr/>
            <p:nvPr/>
          </p:nvSpPr>
          <p:spPr>
            <a:xfrm>
              <a:off x="3609512" y="3551828"/>
              <a:ext cx="141208" cy="147283"/>
            </a:xfrm>
            <a:custGeom>
              <a:avLst/>
              <a:gdLst/>
              <a:ahLst/>
              <a:cxnLst>
                <a:cxn ang="0">
                  <a:pos x="wd2" y="hd2"/>
                </a:cxn>
                <a:cxn ang="5400000">
                  <a:pos x="wd2" y="hd2"/>
                </a:cxn>
                <a:cxn ang="10800000">
                  <a:pos x="wd2" y="hd2"/>
                </a:cxn>
                <a:cxn ang="16200000">
                  <a:pos x="wd2" y="hd2"/>
                </a:cxn>
              </a:cxnLst>
              <a:rect l="0" t="0" r="r" b="b"/>
              <a:pathLst>
                <a:path w="20879" h="20812" extrusionOk="0">
                  <a:moveTo>
                    <a:pt x="17934" y="6574"/>
                  </a:moveTo>
                  <a:cubicBezTo>
                    <a:pt x="17934" y="4696"/>
                    <a:pt x="19897" y="2817"/>
                    <a:pt x="20879" y="1878"/>
                  </a:cubicBezTo>
                  <a:cubicBezTo>
                    <a:pt x="17934" y="939"/>
                    <a:pt x="13024" y="0"/>
                    <a:pt x="11061" y="1878"/>
                  </a:cubicBezTo>
                  <a:cubicBezTo>
                    <a:pt x="9097" y="2817"/>
                    <a:pt x="8115" y="939"/>
                    <a:pt x="8115" y="0"/>
                  </a:cubicBezTo>
                  <a:cubicBezTo>
                    <a:pt x="7134" y="0"/>
                    <a:pt x="6152" y="1878"/>
                    <a:pt x="4188" y="939"/>
                  </a:cubicBezTo>
                  <a:cubicBezTo>
                    <a:pt x="4188" y="1878"/>
                    <a:pt x="6152" y="5635"/>
                    <a:pt x="3206" y="5635"/>
                  </a:cubicBezTo>
                  <a:cubicBezTo>
                    <a:pt x="1243" y="6574"/>
                    <a:pt x="-721" y="7513"/>
                    <a:pt x="261" y="9391"/>
                  </a:cubicBezTo>
                  <a:cubicBezTo>
                    <a:pt x="1243" y="11270"/>
                    <a:pt x="2224" y="12209"/>
                    <a:pt x="3206" y="14087"/>
                  </a:cubicBezTo>
                  <a:cubicBezTo>
                    <a:pt x="4188" y="15965"/>
                    <a:pt x="6152" y="17843"/>
                    <a:pt x="8115" y="20661"/>
                  </a:cubicBezTo>
                  <a:cubicBezTo>
                    <a:pt x="11061" y="21600"/>
                    <a:pt x="9097" y="17843"/>
                    <a:pt x="11061" y="17843"/>
                  </a:cubicBezTo>
                  <a:cubicBezTo>
                    <a:pt x="13024" y="17843"/>
                    <a:pt x="14006" y="17843"/>
                    <a:pt x="14988" y="16904"/>
                  </a:cubicBezTo>
                  <a:cubicBezTo>
                    <a:pt x="15970" y="16904"/>
                    <a:pt x="15970" y="18783"/>
                    <a:pt x="17934" y="17843"/>
                  </a:cubicBezTo>
                  <a:cubicBezTo>
                    <a:pt x="18915" y="15965"/>
                    <a:pt x="19897" y="15026"/>
                    <a:pt x="18915" y="13148"/>
                  </a:cubicBezTo>
                  <a:cubicBezTo>
                    <a:pt x="18915" y="11270"/>
                    <a:pt x="17934" y="8452"/>
                    <a:pt x="17934" y="65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3" name="Shape 2042">
              <a:extLst>
                <a:ext uri="{FF2B5EF4-FFF2-40B4-BE49-F238E27FC236}">
                  <a16:creationId xmlns:a16="http://schemas.microsoft.com/office/drawing/2014/main" id="{78336DE1-0839-CC51-8EB6-942E77C3B9BA}"/>
                </a:ext>
              </a:extLst>
            </p:cNvPr>
            <p:cNvSpPr/>
            <p:nvPr/>
          </p:nvSpPr>
          <p:spPr>
            <a:xfrm>
              <a:off x="3723751" y="3570892"/>
              <a:ext cx="105630" cy="109896"/>
            </a:xfrm>
            <a:custGeom>
              <a:avLst/>
              <a:gdLst/>
              <a:ahLst/>
              <a:cxnLst>
                <a:cxn ang="0">
                  <a:pos x="wd2" y="hd2"/>
                </a:cxn>
                <a:cxn ang="5400000">
                  <a:pos x="wd2" y="hd2"/>
                </a:cxn>
                <a:cxn ang="10800000">
                  <a:pos x="wd2" y="hd2"/>
                </a:cxn>
                <a:cxn ang="16200000">
                  <a:pos x="wd2" y="hd2"/>
                </a:cxn>
              </a:cxnLst>
              <a:rect l="0" t="0" r="r" b="b"/>
              <a:pathLst>
                <a:path w="21600" h="19923" extrusionOk="0">
                  <a:moveTo>
                    <a:pt x="16200" y="4989"/>
                  </a:moveTo>
                  <a:cubicBezTo>
                    <a:pt x="13500" y="2589"/>
                    <a:pt x="10800" y="189"/>
                    <a:pt x="6750" y="189"/>
                  </a:cubicBezTo>
                  <a:cubicBezTo>
                    <a:pt x="4050" y="-1011"/>
                    <a:pt x="0" y="3789"/>
                    <a:pt x="1350" y="6189"/>
                  </a:cubicBezTo>
                  <a:cubicBezTo>
                    <a:pt x="1350" y="8589"/>
                    <a:pt x="2700" y="10989"/>
                    <a:pt x="2700" y="13389"/>
                  </a:cubicBezTo>
                  <a:cubicBezTo>
                    <a:pt x="4050" y="15789"/>
                    <a:pt x="1350" y="18189"/>
                    <a:pt x="0" y="19389"/>
                  </a:cubicBezTo>
                  <a:cubicBezTo>
                    <a:pt x="1350" y="20589"/>
                    <a:pt x="4050" y="19389"/>
                    <a:pt x="5400" y="19389"/>
                  </a:cubicBezTo>
                  <a:cubicBezTo>
                    <a:pt x="8100" y="19389"/>
                    <a:pt x="9450" y="20589"/>
                    <a:pt x="12150" y="19389"/>
                  </a:cubicBezTo>
                  <a:cubicBezTo>
                    <a:pt x="16200" y="18189"/>
                    <a:pt x="17550" y="10989"/>
                    <a:pt x="21600" y="8589"/>
                  </a:cubicBezTo>
                  <a:cubicBezTo>
                    <a:pt x="18900" y="7389"/>
                    <a:pt x="17550" y="6189"/>
                    <a:pt x="16200" y="4989"/>
                  </a:cubicBezTo>
                  <a:cubicBezTo>
                    <a:pt x="13500" y="3789"/>
                    <a:pt x="17550" y="6189"/>
                    <a:pt x="16200" y="498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4" name="Shape 2043">
              <a:extLst>
                <a:ext uri="{FF2B5EF4-FFF2-40B4-BE49-F238E27FC236}">
                  <a16:creationId xmlns:a16="http://schemas.microsoft.com/office/drawing/2014/main" id="{5DFC7001-5386-22D9-32A1-11FC7D76F609}"/>
                </a:ext>
              </a:extLst>
            </p:cNvPr>
            <p:cNvSpPr/>
            <p:nvPr/>
          </p:nvSpPr>
          <p:spPr>
            <a:xfrm>
              <a:off x="2785942" y="3342786"/>
              <a:ext cx="515634" cy="552988"/>
            </a:xfrm>
            <a:custGeom>
              <a:avLst/>
              <a:gdLst/>
              <a:ahLst/>
              <a:cxnLst>
                <a:cxn ang="0">
                  <a:pos x="wd2" y="hd2"/>
                </a:cxn>
                <a:cxn ang="5400000">
                  <a:pos x="wd2" y="hd2"/>
                </a:cxn>
                <a:cxn ang="10800000">
                  <a:pos x="wd2" y="hd2"/>
                </a:cxn>
                <a:cxn ang="16200000">
                  <a:pos x="wd2" y="hd2"/>
                </a:cxn>
              </a:cxnLst>
              <a:rect l="0" t="0" r="r" b="b"/>
              <a:pathLst>
                <a:path w="20910" h="21512" extrusionOk="0">
                  <a:moveTo>
                    <a:pt x="20377" y="12255"/>
                  </a:moveTo>
                  <a:cubicBezTo>
                    <a:pt x="21444" y="11483"/>
                    <a:pt x="20111" y="10712"/>
                    <a:pt x="20111" y="9941"/>
                  </a:cubicBezTo>
                  <a:cubicBezTo>
                    <a:pt x="20111" y="9426"/>
                    <a:pt x="20644" y="8912"/>
                    <a:pt x="20644" y="8398"/>
                  </a:cubicBezTo>
                  <a:cubicBezTo>
                    <a:pt x="20911" y="7626"/>
                    <a:pt x="19844" y="8141"/>
                    <a:pt x="19577" y="8141"/>
                  </a:cubicBezTo>
                  <a:cubicBezTo>
                    <a:pt x="19311" y="8141"/>
                    <a:pt x="19044" y="8141"/>
                    <a:pt x="18777" y="8141"/>
                  </a:cubicBezTo>
                  <a:cubicBezTo>
                    <a:pt x="18511" y="8141"/>
                    <a:pt x="18511" y="8398"/>
                    <a:pt x="18244" y="8398"/>
                  </a:cubicBezTo>
                  <a:cubicBezTo>
                    <a:pt x="17977" y="8398"/>
                    <a:pt x="17711" y="7626"/>
                    <a:pt x="17444" y="7626"/>
                  </a:cubicBezTo>
                  <a:cubicBezTo>
                    <a:pt x="16911" y="6598"/>
                    <a:pt x="16377" y="7112"/>
                    <a:pt x="15311" y="7112"/>
                  </a:cubicBezTo>
                  <a:cubicBezTo>
                    <a:pt x="14777" y="7112"/>
                    <a:pt x="14511" y="7112"/>
                    <a:pt x="14244" y="6598"/>
                  </a:cubicBezTo>
                  <a:cubicBezTo>
                    <a:pt x="13977" y="6083"/>
                    <a:pt x="14777" y="5569"/>
                    <a:pt x="13977" y="5055"/>
                  </a:cubicBezTo>
                  <a:cubicBezTo>
                    <a:pt x="13711" y="4798"/>
                    <a:pt x="13711" y="4283"/>
                    <a:pt x="13177" y="4283"/>
                  </a:cubicBezTo>
                  <a:cubicBezTo>
                    <a:pt x="12644" y="4283"/>
                    <a:pt x="12911" y="4283"/>
                    <a:pt x="13177" y="3769"/>
                  </a:cubicBezTo>
                  <a:cubicBezTo>
                    <a:pt x="13444" y="3255"/>
                    <a:pt x="13177" y="2741"/>
                    <a:pt x="13444" y="2226"/>
                  </a:cubicBezTo>
                  <a:cubicBezTo>
                    <a:pt x="13711" y="1712"/>
                    <a:pt x="14244" y="1455"/>
                    <a:pt x="14777" y="1198"/>
                  </a:cubicBezTo>
                  <a:cubicBezTo>
                    <a:pt x="15044" y="941"/>
                    <a:pt x="15577" y="941"/>
                    <a:pt x="15844" y="426"/>
                  </a:cubicBezTo>
                  <a:cubicBezTo>
                    <a:pt x="15844" y="-88"/>
                    <a:pt x="14777" y="-88"/>
                    <a:pt x="14777" y="169"/>
                  </a:cubicBezTo>
                  <a:cubicBezTo>
                    <a:pt x="14244" y="683"/>
                    <a:pt x="13444" y="1455"/>
                    <a:pt x="12644" y="1455"/>
                  </a:cubicBezTo>
                  <a:cubicBezTo>
                    <a:pt x="11844" y="1455"/>
                    <a:pt x="11844" y="1455"/>
                    <a:pt x="11577" y="1969"/>
                  </a:cubicBezTo>
                  <a:cubicBezTo>
                    <a:pt x="11311" y="2483"/>
                    <a:pt x="11311" y="1712"/>
                    <a:pt x="10777" y="1712"/>
                  </a:cubicBezTo>
                  <a:cubicBezTo>
                    <a:pt x="9711" y="1969"/>
                    <a:pt x="10244" y="3512"/>
                    <a:pt x="9444" y="4026"/>
                  </a:cubicBezTo>
                  <a:cubicBezTo>
                    <a:pt x="9177" y="4283"/>
                    <a:pt x="8644" y="4541"/>
                    <a:pt x="8377" y="5055"/>
                  </a:cubicBezTo>
                  <a:cubicBezTo>
                    <a:pt x="8377" y="5055"/>
                    <a:pt x="8377" y="5826"/>
                    <a:pt x="8111" y="5826"/>
                  </a:cubicBezTo>
                  <a:cubicBezTo>
                    <a:pt x="7844" y="5312"/>
                    <a:pt x="7577" y="5055"/>
                    <a:pt x="7311" y="4798"/>
                  </a:cubicBezTo>
                  <a:cubicBezTo>
                    <a:pt x="7044" y="4283"/>
                    <a:pt x="6777" y="4283"/>
                    <a:pt x="6511" y="4283"/>
                  </a:cubicBezTo>
                  <a:cubicBezTo>
                    <a:pt x="5444" y="4026"/>
                    <a:pt x="4911" y="3255"/>
                    <a:pt x="3844" y="4026"/>
                  </a:cubicBezTo>
                  <a:cubicBezTo>
                    <a:pt x="3311" y="4283"/>
                    <a:pt x="2244" y="5055"/>
                    <a:pt x="1711" y="4541"/>
                  </a:cubicBezTo>
                  <a:cubicBezTo>
                    <a:pt x="1444" y="4283"/>
                    <a:pt x="1177" y="4283"/>
                    <a:pt x="911" y="4026"/>
                  </a:cubicBezTo>
                  <a:cubicBezTo>
                    <a:pt x="377" y="4026"/>
                    <a:pt x="644" y="3512"/>
                    <a:pt x="111" y="4026"/>
                  </a:cubicBezTo>
                  <a:cubicBezTo>
                    <a:pt x="-156" y="4283"/>
                    <a:pt x="111" y="4283"/>
                    <a:pt x="377" y="4541"/>
                  </a:cubicBezTo>
                  <a:cubicBezTo>
                    <a:pt x="377" y="4798"/>
                    <a:pt x="111" y="5055"/>
                    <a:pt x="111" y="5312"/>
                  </a:cubicBezTo>
                  <a:cubicBezTo>
                    <a:pt x="644" y="5312"/>
                    <a:pt x="1177" y="5569"/>
                    <a:pt x="1444" y="5569"/>
                  </a:cubicBezTo>
                  <a:cubicBezTo>
                    <a:pt x="1711" y="5826"/>
                    <a:pt x="1977" y="5826"/>
                    <a:pt x="1977" y="6083"/>
                  </a:cubicBezTo>
                  <a:cubicBezTo>
                    <a:pt x="2244" y="6341"/>
                    <a:pt x="2244" y="6083"/>
                    <a:pt x="2511" y="6083"/>
                  </a:cubicBezTo>
                  <a:cubicBezTo>
                    <a:pt x="2511" y="5826"/>
                    <a:pt x="2511" y="6598"/>
                    <a:pt x="2777" y="6598"/>
                  </a:cubicBezTo>
                  <a:cubicBezTo>
                    <a:pt x="3044" y="6855"/>
                    <a:pt x="3311" y="6598"/>
                    <a:pt x="3844" y="6341"/>
                  </a:cubicBezTo>
                  <a:cubicBezTo>
                    <a:pt x="4111" y="6341"/>
                    <a:pt x="3311" y="5826"/>
                    <a:pt x="3311" y="5826"/>
                  </a:cubicBezTo>
                  <a:cubicBezTo>
                    <a:pt x="3311" y="5569"/>
                    <a:pt x="4111" y="5055"/>
                    <a:pt x="4111" y="4798"/>
                  </a:cubicBezTo>
                  <a:cubicBezTo>
                    <a:pt x="4377" y="4541"/>
                    <a:pt x="4911" y="4283"/>
                    <a:pt x="5177" y="4541"/>
                  </a:cubicBezTo>
                  <a:cubicBezTo>
                    <a:pt x="5444" y="4541"/>
                    <a:pt x="5977" y="4798"/>
                    <a:pt x="5977" y="4798"/>
                  </a:cubicBezTo>
                  <a:cubicBezTo>
                    <a:pt x="5977" y="5055"/>
                    <a:pt x="5977" y="5055"/>
                    <a:pt x="6244" y="5055"/>
                  </a:cubicBezTo>
                  <a:cubicBezTo>
                    <a:pt x="6244" y="5312"/>
                    <a:pt x="5977" y="5569"/>
                    <a:pt x="5977" y="5569"/>
                  </a:cubicBezTo>
                  <a:cubicBezTo>
                    <a:pt x="5977" y="5826"/>
                    <a:pt x="6511" y="6341"/>
                    <a:pt x="6511" y="6598"/>
                  </a:cubicBezTo>
                  <a:cubicBezTo>
                    <a:pt x="7044" y="7369"/>
                    <a:pt x="7577" y="7369"/>
                    <a:pt x="7577" y="8398"/>
                  </a:cubicBezTo>
                  <a:cubicBezTo>
                    <a:pt x="7577" y="9169"/>
                    <a:pt x="7577" y="9941"/>
                    <a:pt x="7311" y="10712"/>
                  </a:cubicBezTo>
                  <a:cubicBezTo>
                    <a:pt x="7311" y="10969"/>
                    <a:pt x="7844" y="10969"/>
                    <a:pt x="7844" y="11226"/>
                  </a:cubicBezTo>
                  <a:cubicBezTo>
                    <a:pt x="7577" y="11483"/>
                    <a:pt x="7311" y="11741"/>
                    <a:pt x="7311" y="11998"/>
                  </a:cubicBezTo>
                  <a:cubicBezTo>
                    <a:pt x="7044" y="12255"/>
                    <a:pt x="7044" y="12769"/>
                    <a:pt x="6777" y="12769"/>
                  </a:cubicBezTo>
                  <a:cubicBezTo>
                    <a:pt x="6244" y="13026"/>
                    <a:pt x="5711" y="12769"/>
                    <a:pt x="5711" y="13541"/>
                  </a:cubicBezTo>
                  <a:cubicBezTo>
                    <a:pt x="5711" y="14055"/>
                    <a:pt x="4911" y="14055"/>
                    <a:pt x="5711" y="14312"/>
                  </a:cubicBezTo>
                  <a:cubicBezTo>
                    <a:pt x="5977" y="14569"/>
                    <a:pt x="6244" y="14569"/>
                    <a:pt x="6777" y="14826"/>
                  </a:cubicBezTo>
                  <a:cubicBezTo>
                    <a:pt x="7044" y="15083"/>
                    <a:pt x="7311" y="15341"/>
                    <a:pt x="7577" y="15598"/>
                  </a:cubicBezTo>
                  <a:cubicBezTo>
                    <a:pt x="8111" y="15855"/>
                    <a:pt x="8377" y="15598"/>
                    <a:pt x="8911" y="15598"/>
                  </a:cubicBezTo>
                  <a:cubicBezTo>
                    <a:pt x="9177" y="15598"/>
                    <a:pt x="9444" y="15855"/>
                    <a:pt x="9977" y="16112"/>
                  </a:cubicBezTo>
                  <a:cubicBezTo>
                    <a:pt x="10244" y="16112"/>
                    <a:pt x="10511" y="16112"/>
                    <a:pt x="10777" y="16369"/>
                  </a:cubicBezTo>
                  <a:cubicBezTo>
                    <a:pt x="11577" y="16883"/>
                    <a:pt x="12111" y="17398"/>
                    <a:pt x="12644" y="18169"/>
                  </a:cubicBezTo>
                  <a:cubicBezTo>
                    <a:pt x="12911" y="18941"/>
                    <a:pt x="13177" y="19198"/>
                    <a:pt x="14244" y="19455"/>
                  </a:cubicBezTo>
                  <a:cubicBezTo>
                    <a:pt x="14511" y="19455"/>
                    <a:pt x="14777" y="19198"/>
                    <a:pt x="15044" y="18941"/>
                  </a:cubicBezTo>
                  <a:cubicBezTo>
                    <a:pt x="15311" y="18941"/>
                    <a:pt x="15577" y="19455"/>
                    <a:pt x="15844" y="19198"/>
                  </a:cubicBezTo>
                  <a:cubicBezTo>
                    <a:pt x="16377" y="18941"/>
                    <a:pt x="16911" y="19198"/>
                    <a:pt x="17177" y="19455"/>
                  </a:cubicBezTo>
                  <a:cubicBezTo>
                    <a:pt x="17177" y="19712"/>
                    <a:pt x="16911" y="20226"/>
                    <a:pt x="16911" y="20483"/>
                  </a:cubicBezTo>
                  <a:cubicBezTo>
                    <a:pt x="16644" y="20741"/>
                    <a:pt x="16377" y="20741"/>
                    <a:pt x="16911" y="20998"/>
                  </a:cubicBezTo>
                  <a:cubicBezTo>
                    <a:pt x="16911" y="20998"/>
                    <a:pt x="17444" y="21512"/>
                    <a:pt x="17177" y="21512"/>
                  </a:cubicBezTo>
                  <a:cubicBezTo>
                    <a:pt x="17711" y="21512"/>
                    <a:pt x="17977" y="18683"/>
                    <a:pt x="18244" y="18169"/>
                  </a:cubicBezTo>
                  <a:cubicBezTo>
                    <a:pt x="18244" y="17141"/>
                    <a:pt x="17444" y="16883"/>
                    <a:pt x="17177" y="16112"/>
                  </a:cubicBezTo>
                  <a:cubicBezTo>
                    <a:pt x="17177" y="15598"/>
                    <a:pt x="17177" y="15341"/>
                    <a:pt x="17444" y="15341"/>
                  </a:cubicBezTo>
                  <a:cubicBezTo>
                    <a:pt x="17711" y="15341"/>
                    <a:pt x="18511" y="15083"/>
                    <a:pt x="18511" y="14826"/>
                  </a:cubicBezTo>
                  <a:cubicBezTo>
                    <a:pt x="18244" y="14826"/>
                    <a:pt x="17711" y="14826"/>
                    <a:pt x="17711" y="14569"/>
                  </a:cubicBezTo>
                  <a:cubicBezTo>
                    <a:pt x="17444" y="14569"/>
                    <a:pt x="17444" y="14055"/>
                    <a:pt x="17444" y="14055"/>
                  </a:cubicBezTo>
                  <a:cubicBezTo>
                    <a:pt x="17977" y="14055"/>
                    <a:pt x="18511" y="14055"/>
                    <a:pt x="19044" y="14055"/>
                  </a:cubicBezTo>
                  <a:cubicBezTo>
                    <a:pt x="19311" y="14055"/>
                    <a:pt x="20911" y="13283"/>
                    <a:pt x="20911" y="13541"/>
                  </a:cubicBezTo>
                  <a:cubicBezTo>
                    <a:pt x="20911" y="13026"/>
                    <a:pt x="20111" y="12255"/>
                    <a:pt x="20377" y="12255"/>
                  </a:cubicBezTo>
                  <a:cubicBezTo>
                    <a:pt x="20644" y="11998"/>
                    <a:pt x="20111" y="12255"/>
                    <a:pt x="20377" y="1225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5" name="Shape 2044">
              <a:extLst>
                <a:ext uri="{FF2B5EF4-FFF2-40B4-BE49-F238E27FC236}">
                  <a16:creationId xmlns:a16="http://schemas.microsoft.com/office/drawing/2014/main" id="{FC9D38EF-62C9-0D5D-87ED-CDDBF3E47CFD}"/>
                </a:ext>
              </a:extLst>
            </p:cNvPr>
            <p:cNvSpPr/>
            <p:nvPr/>
          </p:nvSpPr>
          <p:spPr>
            <a:xfrm>
              <a:off x="2854004" y="3711436"/>
              <a:ext cx="180631" cy="212510"/>
            </a:xfrm>
            <a:custGeom>
              <a:avLst/>
              <a:gdLst/>
              <a:ahLst/>
              <a:cxnLst>
                <a:cxn ang="0">
                  <a:pos x="wd2" y="hd2"/>
                </a:cxn>
                <a:cxn ang="5400000">
                  <a:pos x="wd2" y="hd2"/>
                </a:cxn>
                <a:cxn ang="10800000">
                  <a:pos x="wd2" y="hd2"/>
                </a:cxn>
                <a:cxn ang="16200000">
                  <a:pos x="wd2" y="hd2"/>
                </a:cxn>
              </a:cxnLst>
              <a:rect l="0" t="0" r="r" b="b"/>
              <a:pathLst>
                <a:path w="21171" h="21051" extrusionOk="0">
                  <a:moveTo>
                    <a:pt x="15429" y="3927"/>
                  </a:moveTo>
                  <a:cubicBezTo>
                    <a:pt x="13886" y="3927"/>
                    <a:pt x="13114" y="2618"/>
                    <a:pt x="11571" y="1964"/>
                  </a:cubicBezTo>
                  <a:cubicBezTo>
                    <a:pt x="10800" y="1309"/>
                    <a:pt x="9257" y="0"/>
                    <a:pt x="7714" y="0"/>
                  </a:cubicBezTo>
                  <a:cubicBezTo>
                    <a:pt x="7714" y="1964"/>
                    <a:pt x="3086" y="655"/>
                    <a:pt x="3086" y="2618"/>
                  </a:cubicBezTo>
                  <a:cubicBezTo>
                    <a:pt x="3086" y="3927"/>
                    <a:pt x="3086" y="3927"/>
                    <a:pt x="2314" y="4582"/>
                  </a:cubicBezTo>
                  <a:cubicBezTo>
                    <a:pt x="771" y="5236"/>
                    <a:pt x="1543" y="5891"/>
                    <a:pt x="1543" y="6545"/>
                  </a:cubicBezTo>
                  <a:cubicBezTo>
                    <a:pt x="1543" y="7200"/>
                    <a:pt x="771" y="7855"/>
                    <a:pt x="0" y="8509"/>
                  </a:cubicBezTo>
                  <a:cubicBezTo>
                    <a:pt x="0" y="8509"/>
                    <a:pt x="0" y="9164"/>
                    <a:pt x="0" y="9818"/>
                  </a:cubicBezTo>
                  <a:cubicBezTo>
                    <a:pt x="771" y="10473"/>
                    <a:pt x="0" y="11127"/>
                    <a:pt x="0" y="11782"/>
                  </a:cubicBezTo>
                  <a:cubicBezTo>
                    <a:pt x="0" y="11782"/>
                    <a:pt x="771" y="13745"/>
                    <a:pt x="1543" y="13091"/>
                  </a:cubicBezTo>
                  <a:cubicBezTo>
                    <a:pt x="3086" y="13091"/>
                    <a:pt x="3086" y="11782"/>
                    <a:pt x="3857" y="11782"/>
                  </a:cubicBezTo>
                  <a:cubicBezTo>
                    <a:pt x="3086" y="11782"/>
                    <a:pt x="4629" y="13091"/>
                    <a:pt x="3857" y="13091"/>
                  </a:cubicBezTo>
                  <a:cubicBezTo>
                    <a:pt x="3857" y="14400"/>
                    <a:pt x="3857" y="15055"/>
                    <a:pt x="2314" y="15709"/>
                  </a:cubicBezTo>
                  <a:cubicBezTo>
                    <a:pt x="2314" y="15709"/>
                    <a:pt x="3086" y="17018"/>
                    <a:pt x="2314" y="17018"/>
                  </a:cubicBezTo>
                  <a:cubicBezTo>
                    <a:pt x="2314" y="17673"/>
                    <a:pt x="1543" y="17673"/>
                    <a:pt x="2314" y="18327"/>
                  </a:cubicBezTo>
                  <a:cubicBezTo>
                    <a:pt x="3857" y="18982"/>
                    <a:pt x="4629" y="18982"/>
                    <a:pt x="6171" y="20945"/>
                  </a:cubicBezTo>
                  <a:cubicBezTo>
                    <a:pt x="6943" y="21600"/>
                    <a:pt x="7714" y="18982"/>
                    <a:pt x="8486" y="18982"/>
                  </a:cubicBezTo>
                  <a:cubicBezTo>
                    <a:pt x="9257" y="17018"/>
                    <a:pt x="10029" y="15055"/>
                    <a:pt x="12343" y="14400"/>
                  </a:cubicBezTo>
                  <a:cubicBezTo>
                    <a:pt x="13886" y="13745"/>
                    <a:pt x="15429" y="13745"/>
                    <a:pt x="16971" y="12436"/>
                  </a:cubicBezTo>
                  <a:cubicBezTo>
                    <a:pt x="18514" y="11782"/>
                    <a:pt x="20057" y="10473"/>
                    <a:pt x="20829" y="8509"/>
                  </a:cubicBezTo>
                  <a:cubicBezTo>
                    <a:pt x="20829" y="7200"/>
                    <a:pt x="21600" y="6545"/>
                    <a:pt x="20829" y="5236"/>
                  </a:cubicBezTo>
                  <a:cubicBezTo>
                    <a:pt x="20057" y="4582"/>
                    <a:pt x="19286" y="3927"/>
                    <a:pt x="18514" y="3273"/>
                  </a:cubicBezTo>
                  <a:cubicBezTo>
                    <a:pt x="17743" y="3273"/>
                    <a:pt x="16200" y="3927"/>
                    <a:pt x="15429" y="392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6" name="Shape 2045">
              <a:extLst>
                <a:ext uri="{FF2B5EF4-FFF2-40B4-BE49-F238E27FC236}">
                  <a16:creationId xmlns:a16="http://schemas.microsoft.com/office/drawing/2014/main" id="{512E6A77-C32C-80B8-3448-58C37F737976}"/>
                </a:ext>
              </a:extLst>
            </p:cNvPr>
            <p:cNvSpPr/>
            <p:nvPr/>
          </p:nvSpPr>
          <p:spPr>
            <a:xfrm>
              <a:off x="2843383" y="3751900"/>
              <a:ext cx="412909" cy="617634"/>
            </a:xfrm>
            <a:custGeom>
              <a:avLst/>
              <a:gdLst/>
              <a:ahLst/>
              <a:cxnLst>
                <a:cxn ang="0">
                  <a:pos x="wd2" y="hd2"/>
                </a:cxn>
                <a:cxn ang="5400000">
                  <a:pos x="wd2" y="hd2"/>
                </a:cxn>
                <a:cxn ang="10800000">
                  <a:pos x="wd2" y="hd2"/>
                </a:cxn>
                <a:cxn ang="16200000">
                  <a:pos x="wd2" y="hd2"/>
                </a:cxn>
              </a:cxnLst>
              <a:rect l="0" t="0" r="r" b="b"/>
              <a:pathLst>
                <a:path w="21109" h="21271" extrusionOk="0">
                  <a:moveTo>
                    <a:pt x="18746" y="4775"/>
                  </a:moveTo>
                  <a:cubicBezTo>
                    <a:pt x="17396" y="4320"/>
                    <a:pt x="19421" y="3411"/>
                    <a:pt x="18409" y="3183"/>
                  </a:cubicBezTo>
                  <a:cubicBezTo>
                    <a:pt x="17734" y="2728"/>
                    <a:pt x="17059" y="2956"/>
                    <a:pt x="16384" y="2956"/>
                  </a:cubicBezTo>
                  <a:cubicBezTo>
                    <a:pt x="15709" y="2728"/>
                    <a:pt x="15709" y="3183"/>
                    <a:pt x="15034" y="3183"/>
                  </a:cubicBezTo>
                  <a:cubicBezTo>
                    <a:pt x="14359" y="2956"/>
                    <a:pt x="13684" y="2956"/>
                    <a:pt x="13346" y="2501"/>
                  </a:cubicBezTo>
                  <a:cubicBezTo>
                    <a:pt x="13009" y="2274"/>
                    <a:pt x="12671" y="1592"/>
                    <a:pt x="12334" y="1364"/>
                  </a:cubicBezTo>
                  <a:cubicBezTo>
                    <a:pt x="11659" y="1137"/>
                    <a:pt x="11321" y="682"/>
                    <a:pt x="10646" y="455"/>
                  </a:cubicBezTo>
                  <a:cubicBezTo>
                    <a:pt x="10309" y="0"/>
                    <a:pt x="9634" y="227"/>
                    <a:pt x="8959" y="0"/>
                  </a:cubicBezTo>
                  <a:cubicBezTo>
                    <a:pt x="9634" y="455"/>
                    <a:pt x="9971" y="682"/>
                    <a:pt x="9971" y="1137"/>
                  </a:cubicBezTo>
                  <a:cubicBezTo>
                    <a:pt x="9634" y="1592"/>
                    <a:pt x="9634" y="2046"/>
                    <a:pt x="8959" y="2274"/>
                  </a:cubicBezTo>
                  <a:cubicBezTo>
                    <a:pt x="8284" y="2728"/>
                    <a:pt x="7946" y="3183"/>
                    <a:pt x="7272" y="3183"/>
                  </a:cubicBezTo>
                  <a:cubicBezTo>
                    <a:pt x="6596" y="3411"/>
                    <a:pt x="5922" y="3411"/>
                    <a:pt x="5247" y="3865"/>
                  </a:cubicBezTo>
                  <a:cubicBezTo>
                    <a:pt x="4909" y="4093"/>
                    <a:pt x="3559" y="6139"/>
                    <a:pt x="3222" y="5912"/>
                  </a:cubicBezTo>
                  <a:cubicBezTo>
                    <a:pt x="2547" y="5229"/>
                    <a:pt x="2209" y="5229"/>
                    <a:pt x="1534" y="5002"/>
                  </a:cubicBezTo>
                  <a:cubicBezTo>
                    <a:pt x="1197" y="5002"/>
                    <a:pt x="1197" y="5002"/>
                    <a:pt x="1534" y="4775"/>
                  </a:cubicBezTo>
                  <a:cubicBezTo>
                    <a:pt x="1872" y="4547"/>
                    <a:pt x="1872" y="4320"/>
                    <a:pt x="1534" y="4093"/>
                  </a:cubicBezTo>
                  <a:cubicBezTo>
                    <a:pt x="859" y="4320"/>
                    <a:pt x="-491" y="5229"/>
                    <a:pt x="184" y="5912"/>
                  </a:cubicBezTo>
                  <a:cubicBezTo>
                    <a:pt x="184" y="5912"/>
                    <a:pt x="859" y="6594"/>
                    <a:pt x="522" y="6821"/>
                  </a:cubicBezTo>
                  <a:cubicBezTo>
                    <a:pt x="184" y="6821"/>
                    <a:pt x="-153" y="7048"/>
                    <a:pt x="522" y="7276"/>
                  </a:cubicBezTo>
                  <a:cubicBezTo>
                    <a:pt x="2209" y="7958"/>
                    <a:pt x="3559" y="9322"/>
                    <a:pt x="4234" y="10686"/>
                  </a:cubicBezTo>
                  <a:cubicBezTo>
                    <a:pt x="5247" y="11823"/>
                    <a:pt x="5922" y="13187"/>
                    <a:pt x="7272" y="14324"/>
                  </a:cubicBezTo>
                  <a:cubicBezTo>
                    <a:pt x="7609" y="14779"/>
                    <a:pt x="8284" y="15234"/>
                    <a:pt x="8284" y="15916"/>
                  </a:cubicBezTo>
                  <a:cubicBezTo>
                    <a:pt x="8284" y="16143"/>
                    <a:pt x="7946" y="15916"/>
                    <a:pt x="7946" y="16143"/>
                  </a:cubicBezTo>
                  <a:cubicBezTo>
                    <a:pt x="8284" y="16371"/>
                    <a:pt x="8621" y="16598"/>
                    <a:pt x="8959" y="16825"/>
                  </a:cubicBezTo>
                  <a:cubicBezTo>
                    <a:pt x="9296" y="17280"/>
                    <a:pt x="9634" y="17735"/>
                    <a:pt x="10309" y="17962"/>
                  </a:cubicBezTo>
                  <a:cubicBezTo>
                    <a:pt x="11321" y="18189"/>
                    <a:pt x="12334" y="18644"/>
                    <a:pt x="13346" y="18872"/>
                  </a:cubicBezTo>
                  <a:cubicBezTo>
                    <a:pt x="14021" y="19099"/>
                    <a:pt x="14696" y="19554"/>
                    <a:pt x="15709" y="19781"/>
                  </a:cubicBezTo>
                  <a:cubicBezTo>
                    <a:pt x="16384" y="20236"/>
                    <a:pt x="17059" y="20691"/>
                    <a:pt x="17734" y="21145"/>
                  </a:cubicBezTo>
                  <a:cubicBezTo>
                    <a:pt x="19084" y="21600"/>
                    <a:pt x="18746" y="20691"/>
                    <a:pt x="19421" y="20463"/>
                  </a:cubicBezTo>
                  <a:cubicBezTo>
                    <a:pt x="19759" y="20236"/>
                    <a:pt x="19759" y="19781"/>
                    <a:pt x="20096" y="19554"/>
                  </a:cubicBezTo>
                  <a:cubicBezTo>
                    <a:pt x="20096" y="19326"/>
                    <a:pt x="21109" y="18872"/>
                    <a:pt x="20771" y="18644"/>
                  </a:cubicBezTo>
                  <a:cubicBezTo>
                    <a:pt x="20096" y="18417"/>
                    <a:pt x="19759" y="18417"/>
                    <a:pt x="20096" y="17735"/>
                  </a:cubicBezTo>
                  <a:cubicBezTo>
                    <a:pt x="20096" y="17507"/>
                    <a:pt x="20096" y="17280"/>
                    <a:pt x="20096" y="17280"/>
                  </a:cubicBezTo>
                  <a:cubicBezTo>
                    <a:pt x="20434" y="17053"/>
                    <a:pt x="20771" y="16825"/>
                    <a:pt x="20771" y="16825"/>
                  </a:cubicBezTo>
                  <a:cubicBezTo>
                    <a:pt x="21109" y="16143"/>
                    <a:pt x="20434" y="15006"/>
                    <a:pt x="21109" y="14552"/>
                  </a:cubicBezTo>
                  <a:cubicBezTo>
                    <a:pt x="21109" y="14324"/>
                    <a:pt x="20771" y="13869"/>
                    <a:pt x="20434" y="13415"/>
                  </a:cubicBezTo>
                  <a:cubicBezTo>
                    <a:pt x="20096" y="12733"/>
                    <a:pt x="19759" y="12733"/>
                    <a:pt x="18746" y="12960"/>
                  </a:cubicBezTo>
                  <a:cubicBezTo>
                    <a:pt x="17396" y="12960"/>
                    <a:pt x="18071" y="11368"/>
                    <a:pt x="18071" y="10914"/>
                  </a:cubicBezTo>
                  <a:cubicBezTo>
                    <a:pt x="17396" y="11141"/>
                    <a:pt x="17059" y="11596"/>
                    <a:pt x="16384" y="11596"/>
                  </a:cubicBezTo>
                  <a:cubicBezTo>
                    <a:pt x="16046" y="11596"/>
                    <a:pt x="15371" y="11596"/>
                    <a:pt x="15034" y="11596"/>
                  </a:cubicBezTo>
                  <a:cubicBezTo>
                    <a:pt x="14696" y="11368"/>
                    <a:pt x="14696" y="10914"/>
                    <a:pt x="14359" y="10914"/>
                  </a:cubicBezTo>
                  <a:cubicBezTo>
                    <a:pt x="13346" y="10914"/>
                    <a:pt x="13346" y="10004"/>
                    <a:pt x="13009" y="9549"/>
                  </a:cubicBezTo>
                  <a:cubicBezTo>
                    <a:pt x="12334" y="9095"/>
                    <a:pt x="11996" y="8413"/>
                    <a:pt x="12671" y="7958"/>
                  </a:cubicBezTo>
                  <a:cubicBezTo>
                    <a:pt x="13009" y="7731"/>
                    <a:pt x="13684" y="7731"/>
                    <a:pt x="13684" y="7503"/>
                  </a:cubicBezTo>
                  <a:cubicBezTo>
                    <a:pt x="13684" y="7276"/>
                    <a:pt x="13684" y="7048"/>
                    <a:pt x="13684" y="6821"/>
                  </a:cubicBezTo>
                  <a:cubicBezTo>
                    <a:pt x="13684" y="6139"/>
                    <a:pt x="13684" y="5912"/>
                    <a:pt x="14696" y="5684"/>
                  </a:cubicBezTo>
                  <a:cubicBezTo>
                    <a:pt x="15371" y="5457"/>
                    <a:pt x="15709" y="5457"/>
                    <a:pt x="16384" y="5457"/>
                  </a:cubicBezTo>
                  <a:cubicBezTo>
                    <a:pt x="16721" y="5457"/>
                    <a:pt x="17059" y="5229"/>
                    <a:pt x="17396" y="5002"/>
                  </a:cubicBezTo>
                  <a:cubicBezTo>
                    <a:pt x="17734" y="5002"/>
                    <a:pt x="19421" y="5229"/>
                    <a:pt x="18746" y="477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7" name="Shape 2046">
              <a:extLst>
                <a:ext uri="{FF2B5EF4-FFF2-40B4-BE49-F238E27FC236}">
                  <a16:creationId xmlns:a16="http://schemas.microsoft.com/office/drawing/2014/main" id="{EFF4F53A-D8C4-6B19-CFCC-F0784DB15514}"/>
                </a:ext>
              </a:extLst>
            </p:cNvPr>
            <p:cNvSpPr/>
            <p:nvPr/>
          </p:nvSpPr>
          <p:spPr>
            <a:xfrm>
              <a:off x="3020314" y="4338626"/>
              <a:ext cx="287668" cy="1391831"/>
            </a:xfrm>
            <a:custGeom>
              <a:avLst/>
              <a:gdLst/>
              <a:ahLst/>
              <a:cxnLst>
                <a:cxn ang="0">
                  <a:pos x="wd2" y="hd2"/>
                </a:cxn>
                <a:cxn ang="5400000">
                  <a:pos x="wd2" y="hd2"/>
                </a:cxn>
                <a:cxn ang="10800000">
                  <a:pos x="wd2" y="hd2"/>
                </a:cxn>
                <a:cxn ang="16200000">
                  <a:pos x="wd2" y="hd2"/>
                </a:cxn>
              </a:cxnLst>
              <a:rect l="0" t="0" r="r" b="b"/>
              <a:pathLst>
                <a:path w="21600" h="21466" extrusionOk="0">
                  <a:moveTo>
                    <a:pt x="19636" y="2853"/>
                  </a:moveTo>
                  <a:cubicBezTo>
                    <a:pt x="18655" y="2751"/>
                    <a:pt x="19636" y="2242"/>
                    <a:pt x="18655" y="2038"/>
                  </a:cubicBezTo>
                  <a:cubicBezTo>
                    <a:pt x="18164" y="1936"/>
                    <a:pt x="17182" y="1630"/>
                    <a:pt x="17673" y="1426"/>
                  </a:cubicBezTo>
                  <a:cubicBezTo>
                    <a:pt x="18655" y="1325"/>
                    <a:pt x="17182" y="1325"/>
                    <a:pt x="17673" y="1223"/>
                  </a:cubicBezTo>
                  <a:cubicBezTo>
                    <a:pt x="18164" y="1121"/>
                    <a:pt x="17673" y="1019"/>
                    <a:pt x="17182" y="917"/>
                  </a:cubicBezTo>
                  <a:cubicBezTo>
                    <a:pt x="16691" y="815"/>
                    <a:pt x="16691" y="713"/>
                    <a:pt x="16691" y="509"/>
                  </a:cubicBezTo>
                  <a:cubicBezTo>
                    <a:pt x="16691" y="306"/>
                    <a:pt x="16200" y="204"/>
                    <a:pt x="15709" y="0"/>
                  </a:cubicBezTo>
                  <a:cubicBezTo>
                    <a:pt x="15218" y="102"/>
                    <a:pt x="14727" y="204"/>
                    <a:pt x="14727" y="306"/>
                  </a:cubicBezTo>
                  <a:cubicBezTo>
                    <a:pt x="14236" y="509"/>
                    <a:pt x="13255" y="408"/>
                    <a:pt x="13745" y="611"/>
                  </a:cubicBezTo>
                  <a:cubicBezTo>
                    <a:pt x="13745" y="917"/>
                    <a:pt x="13745" y="1223"/>
                    <a:pt x="13745" y="1528"/>
                  </a:cubicBezTo>
                  <a:cubicBezTo>
                    <a:pt x="13745" y="1936"/>
                    <a:pt x="14236" y="2445"/>
                    <a:pt x="13745" y="2853"/>
                  </a:cubicBezTo>
                  <a:cubicBezTo>
                    <a:pt x="13255" y="2955"/>
                    <a:pt x="12764" y="3057"/>
                    <a:pt x="12764" y="3158"/>
                  </a:cubicBezTo>
                  <a:cubicBezTo>
                    <a:pt x="12764" y="3362"/>
                    <a:pt x="13255" y="3566"/>
                    <a:pt x="13255" y="3770"/>
                  </a:cubicBezTo>
                  <a:cubicBezTo>
                    <a:pt x="13255" y="4381"/>
                    <a:pt x="12273" y="5094"/>
                    <a:pt x="11291" y="5706"/>
                  </a:cubicBezTo>
                  <a:cubicBezTo>
                    <a:pt x="10800" y="6011"/>
                    <a:pt x="10800" y="6215"/>
                    <a:pt x="11291" y="6521"/>
                  </a:cubicBezTo>
                  <a:cubicBezTo>
                    <a:pt x="11291" y="6725"/>
                    <a:pt x="11291" y="6826"/>
                    <a:pt x="10309" y="6928"/>
                  </a:cubicBezTo>
                  <a:cubicBezTo>
                    <a:pt x="9818" y="7030"/>
                    <a:pt x="10309" y="7132"/>
                    <a:pt x="10309" y="7234"/>
                  </a:cubicBezTo>
                  <a:cubicBezTo>
                    <a:pt x="10309" y="7540"/>
                    <a:pt x="10309" y="7845"/>
                    <a:pt x="10309" y="8151"/>
                  </a:cubicBezTo>
                  <a:cubicBezTo>
                    <a:pt x="10309" y="8253"/>
                    <a:pt x="10309" y="8457"/>
                    <a:pt x="10309" y="8558"/>
                  </a:cubicBezTo>
                  <a:cubicBezTo>
                    <a:pt x="9818" y="8660"/>
                    <a:pt x="10309" y="8864"/>
                    <a:pt x="9818" y="8966"/>
                  </a:cubicBezTo>
                  <a:cubicBezTo>
                    <a:pt x="8836" y="9475"/>
                    <a:pt x="7855" y="9985"/>
                    <a:pt x="6873" y="10494"/>
                  </a:cubicBezTo>
                  <a:cubicBezTo>
                    <a:pt x="6382" y="10800"/>
                    <a:pt x="4909" y="10902"/>
                    <a:pt x="5400" y="11208"/>
                  </a:cubicBezTo>
                  <a:cubicBezTo>
                    <a:pt x="5891" y="11513"/>
                    <a:pt x="6873" y="12023"/>
                    <a:pt x="5891" y="12430"/>
                  </a:cubicBezTo>
                  <a:cubicBezTo>
                    <a:pt x="4909" y="12634"/>
                    <a:pt x="3927" y="13143"/>
                    <a:pt x="4909" y="13449"/>
                  </a:cubicBezTo>
                  <a:cubicBezTo>
                    <a:pt x="5400" y="13653"/>
                    <a:pt x="5891" y="13653"/>
                    <a:pt x="6382" y="13551"/>
                  </a:cubicBezTo>
                  <a:cubicBezTo>
                    <a:pt x="6873" y="13449"/>
                    <a:pt x="8836" y="13449"/>
                    <a:pt x="8345" y="13551"/>
                  </a:cubicBezTo>
                  <a:cubicBezTo>
                    <a:pt x="8345" y="13551"/>
                    <a:pt x="7855" y="13551"/>
                    <a:pt x="7364" y="13653"/>
                  </a:cubicBezTo>
                  <a:cubicBezTo>
                    <a:pt x="7364" y="13755"/>
                    <a:pt x="7364" y="13755"/>
                    <a:pt x="7855" y="13857"/>
                  </a:cubicBezTo>
                  <a:cubicBezTo>
                    <a:pt x="7855" y="13857"/>
                    <a:pt x="7364" y="13958"/>
                    <a:pt x="7364" y="13958"/>
                  </a:cubicBezTo>
                  <a:cubicBezTo>
                    <a:pt x="6873" y="14162"/>
                    <a:pt x="6382" y="14570"/>
                    <a:pt x="6873" y="14774"/>
                  </a:cubicBezTo>
                  <a:cubicBezTo>
                    <a:pt x="6873" y="14875"/>
                    <a:pt x="6873" y="14875"/>
                    <a:pt x="6382" y="15079"/>
                  </a:cubicBezTo>
                  <a:cubicBezTo>
                    <a:pt x="5891" y="15181"/>
                    <a:pt x="6873" y="15181"/>
                    <a:pt x="7364" y="15283"/>
                  </a:cubicBezTo>
                  <a:cubicBezTo>
                    <a:pt x="7364" y="15283"/>
                    <a:pt x="7364" y="15283"/>
                    <a:pt x="6873" y="15385"/>
                  </a:cubicBezTo>
                  <a:cubicBezTo>
                    <a:pt x="6382" y="15385"/>
                    <a:pt x="5400" y="15487"/>
                    <a:pt x="6382" y="15487"/>
                  </a:cubicBezTo>
                  <a:cubicBezTo>
                    <a:pt x="5891" y="15589"/>
                    <a:pt x="6382" y="15894"/>
                    <a:pt x="6873" y="15894"/>
                  </a:cubicBezTo>
                  <a:cubicBezTo>
                    <a:pt x="6382" y="15894"/>
                    <a:pt x="4909" y="15792"/>
                    <a:pt x="5400" y="16098"/>
                  </a:cubicBezTo>
                  <a:cubicBezTo>
                    <a:pt x="5400" y="16098"/>
                    <a:pt x="5891" y="16608"/>
                    <a:pt x="4909" y="16506"/>
                  </a:cubicBezTo>
                  <a:cubicBezTo>
                    <a:pt x="4909" y="16506"/>
                    <a:pt x="3927" y="16302"/>
                    <a:pt x="3927" y="16200"/>
                  </a:cubicBezTo>
                  <a:cubicBezTo>
                    <a:pt x="2945" y="16098"/>
                    <a:pt x="3436" y="15996"/>
                    <a:pt x="2455" y="16098"/>
                  </a:cubicBezTo>
                  <a:cubicBezTo>
                    <a:pt x="2455" y="16098"/>
                    <a:pt x="1964" y="16200"/>
                    <a:pt x="1964" y="16200"/>
                  </a:cubicBezTo>
                  <a:cubicBezTo>
                    <a:pt x="1964" y="16302"/>
                    <a:pt x="2455" y="16302"/>
                    <a:pt x="1964" y="16404"/>
                  </a:cubicBezTo>
                  <a:cubicBezTo>
                    <a:pt x="1964" y="16506"/>
                    <a:pt x="0" y="16506"/>
                    <a:pt x="0" y="16709"/>
                  </a:cubicBezTo>
                  <a:cubicBezTo>
                    <a:pt x="0" y="16709"/>
                    <a:pt x="491" y="16811"/>
                    <a:pt x="982" y="16811"/>
                  </a:cubicBezTo>
                  <a:cubicBezTo>
                    <a:pt x="982" y="16811"/>
                    <a:pt x="491" y="16709"/>
                    <a:pt x="982" y="16608"/>
                  </a:cubicBezTo>
                  <a:cubicBezTo>
                    <a:pt x="982" y="16608"/>
                    <a:pt x="2455" y="16811"/>
                    <a:pt x="3436" y="16709"/>
                  </a:cubicBezTo>
                  <a:cubicBezTo>
                    <a:pt x="5400" y="16608"/>
                    <a:pt x="2455" y="17321"/>
                    <a:pt x="3436" y="17423"/>
                  </a:cubicBezTo>
                  <a:cubicBezTo>
                    <a:pt x="3927" y="17423"/>
                    <a:pt x="4909" y="17321"/>
                    <a:pt x="5400" y="17423"/>
                  </a:cubicBezTo>
                  <a:cubicBezTo>
                    <a:pt x="5891" y="17423"/>
                    <a:pt x="5891" y="17728"/>
                    <a:pt x="5400" y="17626"/>
                  </a:cubicBezTo>
                  <a:cubicBezTo>
                    <a:pt x="5400" y="17626"/>
                    <a:pt x="3927" y="17423"/>
                    <a:pt x="3927" y="17525"/>
                  </a:cubicBezTo>
                  <a:cubicBezTo>
                    <a:pt x="3436" y="17626"/>
                    <a:pt x="2945" y="17626"/>
                    <a:pt x="3436" y="17728"/>
                  </a:cubicBezTo>
                  <a:cubicBezTo>
                    <a:pt x="3436" y="17728"/>
                    <a:pt x="4418" y="17932"/>
                    <a:pt x="3927" y="17932"/>
                  </a:cubicBezTo>
                  <a:cubicBezTo>
                    <a:pt x="3436" y="17932"/>
                    <a:pt x="3436" y="18238"/>
                    <a:pt x="3436" y="18238"/>
                  </a:cubicBezTo>
                  <a:cubicBezTo>
                    <a:pt x="2945" y="18543"/>
                    <a:pt x="4418" y="18136"/>
                    <a:pt x="4418" y="18136"/>
                  </a:cubicBezTo>
                  <a:cubicBezTo>
                    <a:pt x="4418" y="18136"/>
                    <a:pt x="3927" y="18645"/>
                    <a:pt x="4418" y="18543"/>
                  </a:cubicBezTo>
                  <a:cubicBezTo>
                    <a:pt x="4418" y="18543"/>
                    <a:pt x="3927" y="18543"/>
                    <a:pt x="3927" y="18645"/>
                  </a:cubicBezTo>
                  <a:cubicBezTo>
                    <a:pt x="3436" y="18747"/>
                    <a:pt x="3927" y="18747"/>
                    <a:pt x="4418" y="18849"/>
                  </a:cubicBezTo>
                  <a:cubicBezTo>
                    <a:pt x="4418" y="18849"/>
                    <a:pt x="3436" y="18951"/>
                    <a:pt x="3436" y="18951"/>
                  </a:cubicBezTo>
                  <a:cubicBezTo>
                    <a:pt x="2945" y="18951"/>
                    <a:pt x="3436" y="18951"/>
                    <a:pt x="3436" y="19053"/>
                  </a:cubicBezTo>
                  <a:cubicBezTo>
                    <a:pt x="2945" y="19257"/>
                    <a:pt x="4909" y="19257"/>
                    <a:pt x="4909" y="19155"/>
                  </a:cubicBezTo>
                  <a:cubicBezTo>
                    <a:pt x="4909" y="19257"/>
                    <a:pt x="4418" y="19257"/>
                    <a:pt x="4909" y="19358"/>
                  </a:cubicBezTo>
                  <a:cubicBezTo>
                    <a:pt x="4909" y="19358"/>
                    <a:pt x="4909" y="19358"/>
                    <a:pt x="4909" y="19358"/>
                  </a:cubicBezTo>
                  <a:cubicBezTo>
                    <a:pt x="4909" y="19460"/>
                    <a:pt x="3927" y="19562"/>
                    <a:pt x="3927" y="19664"/>
                  </a:cubicBezTo>
                  <a:cubicBezTo>
                    <a:pt x="3436" y="19868"/>
                    <a:pt x="4909" y="19562"/>
                    <a:pt x="5400" y="19562"/>
                  </a:cubicBezTo>
                  <a:cubicBezTo>
                    <a:pt x="4909" y="19664"/>
                    <a:pt x="5400" y="19766"/>
                    <a:pt x="5400" y="19766"/>
                  </a:cubicBezTo>
                  <a:cubicBezTo>
                    <a:pt x="5400" y="19868"/>
                    <a:pt x="3927" y="19970"/>
                    <a:pt x="3927" y="19970"/>
                  </a:cubicBezTo>
                  <a:cubicBezTo>
                    <a:pt x="4909" y="20072"/>
                    <a:pt x="4909" y="19970"/>
                    <a:pt x="5400" y="20174"/>
                  </a:cubicBezTo>
                  <a:cubicBezTo>
                    <a:pt x="5891" y="20377"/>
                    <a:pt x="6873" y="19868"/>
                    <a:pt x="6382" y="19868"/>
                  </a:cubicBezTo>
                  <a:cubicBezTo>
                    <a:pt x="6873" y="19868"/>
                    <a:pt x="6873" y="19970"/>
                    <a:pt x="7364" y="20072"/>
                  </a:cubicBezTo>
                  <a:cubicBezTo>
                    <a:pt x="7364" y="20072"/>
                    <a:pt x="7364" y="19868"/>
                    <a:pt x="7364" y="19868"/>
                  </a:cubicBezTo>
                  <a:cubicBezTo>
                    <a:pt x="7364" y="19868"/>
                    <a:pt x="7364" y="20072"/>
                    <a:pt x="7364" y="20072"/>
                  </a:cubicBezTo>
                  <a:cubicBezTo>
                    <a:pt x="7855" y="19970"/>
                    <a:pt x="7855" y="19868"/>
                    <a:pt x="7855" y="19970"/>
                  </a:cubicBezTo>
                  <a:cubicBezTo>
                    <a:pt x="8345" y="19970"/>
                    <a:pt x="7855" y="20174"/>
                    <a:pt x="7855" y="20174"/>
                  </a:cubicBezTo>
                  <a:cubicBezTo>
                    <a:pt x="7364" y="20275"/>
                    <a:pt x="8345" y="20275"/>
                    <a:pt x="7855" y="20377"/>
                  </a:cubicBezTo>
                  <a:cubicBezTo>
                    <a:pt x="7364" y="20581"/>
                    <a:pt x="8345" y="20479"/>
                    <a:pt x="8836" y="20581"/>
                  </a:cubicBezTo>
                  <a:cubicBezTo>
                    <a:pt x="10309" y="20581"/>
                    <a:pt x="11782" y="20785"/>
                    <a:pt x="10309" y="20989"/>
                  </a:cubicBezTo>
                  <a:cubicBezTo>
                    <a:pt x="9818" y="21091"/>
                    <a:pt x="8345" y="20989"/>
                    <a:pt x="7855" y="21091"/>
                  </a:cubicBezTo>
                  <a:cubicBezTo>
                    <a:pt x="7364" y="21294"/>
                    <a:pt x="8836" y="21192"/>
                    <a:pt x="9327" y="21294"/>
                  </a:cubicBezTo>
                  <a:cubicBezTo>
                    <a:pt x="8836" y="21294"/>
                    <a:pt x="8836" y="21294"/>
                    <a:pt x="8836" y="21294"/>
                  </a:cubicBezTo>
                  <a:cubicBezTo>
                    <a:pt x="8836" y="21294"/>
                    <a:pt x="10800" y="21600"/>
                    <a:pt x="11782" y="21396"/>
                  </a:cubicBezTo>
                  <a:cubicBezTo>
                    <a:pt x="12273" y="21192"/>
                    <a:pt x="11291" y="20989"/>
                    <a:pt x="12273" y="20785"/>
                  </a:cubicBezTo>
                  <a:cubicBezTo>
                    <a:pt x="12764" y="20581"/>
                    <a:pt x="14236" y="20581"/>
                    <a:pt x="14727" y="20581"/>
                  </a:cubicBezTo>
                  <a:cubicBezTo>
                    <a:pt x="17182" y="20275"/>
                    <a:pt x="13745" y="20275"/>
                    <a:pt x="12764" y="20275"/>
                  </a:cubicBezTo>
                  <a:cubicBezTo>
                    <a:pt x="11782" y="20275"/>
                    <a:pt x="10309" y="20275"/>
                    <a:pt x="9327" y="20174"/>
                  </a:cubicBezTo>
                  <a:cubicBezTo>
                    <a:pt x="8345" y="19970"/>
                    <a:pt x="8345" y="19970"/>
                    <a:pt x="8345" y="19562"/>
                  </a:cubicBezTo>
                  <a:cubicBezTo>
                    <a:pt x="8345" y="19155"/>
                    <a:pt x="7855" y="19460"/>
                    <a:pt x="6382" y="19257"/>
                  </a:cubicBezTo>
                  <a:cubicBezTo>
                    <a:pt x="5891" y="19257"/>
                    <a:pt x="5891" y="18951"/>
                    <a:pt x="5891" y="18849"/>
                  </a:cubicBezTo>
                  <a:cubicBezTo>
                    <a:pt x="5400" y="18645"/>
                    <a:pt x="5400" y="18340"/>
                    <a:pt x="6382" y="18238"/>
                  </a:cubicBezTo>
                  <a:cubicBezTo>
                    <a:pt x="6873" y="18136"/>
                    <a:pt x="6873" y="18136"/>
                    <a:pt x="7364" y="18034"/>
                  </a:cubicBezTo>
                  <a:cubicBezTo>
                    <a:pt x="7364" y="17932"/>
                    <a:pt x="7855" y="17830"/>
                    <a:pt x="8345" y="17830"/>
                  </a:cubicBezTo>
                  <a:cubicBezTo>
                    <a:pt x="8836" y="17728"/>
                    <a:pt x="7855" y="17423"/>
                    <a:pt x="8345" y="17219"/>
                  </a:cubicBezTo>
                  <a:cubicBezTo>
                    <a:pt x="8345" y="17117"/>
                    <a:pt x="9327" y="17015"/>
                    <a:pt x="9818" y="16811"/>
                  </a:cubicBezTo>
                  <a:cubicBezTo>
                    <a:pt x="9818" y="16608"/>
                    <a:pt x="9818" y="16302"/>
                    <a:pt x="10309" y="16098"/>
                  </a:cubicBezTo>
                  <a:cubicBezTo>
                    <a:pt x="10309" y="15894"/>
                    <a:pt x="11291" y="15894"/>
                    <a:pt x="10309" y="15691"/>
                  </a:cubicBezTo>
                  <a:cubicBezTo>
                    <a:pt x="9818" y="15589"/>
                    <a:pt x="8345" y="15589"/>
                    <a:pt x="10309" y="15487"/>
                  </a:cubicBezTo>
                  <a:cubicBezTo>
                    <a:pt x="12764" y="15385"/>
                    <a:pt x="9818" y="15385"/>
                    <a:pt x="9327" y="15181"/>
                  </a:cubicBezTo>
                  <a:cubicBezTo>
                    <a:pt x="9327" y="14875"/>
                    <a:pt x="9327" y="14468"/>
                    <a:pt x="9327" y="14264"/>
                  </a:cubicBezTo>
                  <a:cubicBezTo>
                    <a:pt x="9327" y="13857"/>
                    <a:pt x="9327" y="13347"/>
                    <a:pt x="9327" y="12940"/>
                  </a:cubicBezTo>
                  <a:cubicBezTo>
                    <a:pt x="9818" y="12634"/>
                    <a:pt x="10309" y="12125"/>
                    <a:pt x="11291" y="11921"/>
                  </a:cubicBezTo>
                  <a:cubicBezTo>
                    <a:pt x="12764" y="11615"/>
                    <a:pt x="11291" y="11106"/>
                    <a:pt x="11291" y="10800"/>
                  </a:cubicBezTo>
                  <a:cubicBezTo>
                    <a:pt x="11291" y="10596"/>
                    <a:pt x="11782" y="10494"/>
                    <a:pt x="12764" y="10392"/>
                  </a:cubicBezTo>
                  <a:cubicBezTo>
                    <a:pt x="13745" y="10189"/>
                    <a:pt x="13255" y="10087"/>
                    <a:pt x="13255" y="9781"/>
                  </a:cubicBezTo>
                  <a:cubicBezTo>
                    <a:pt x="13255" y="9374"/>
                    <a:pt x="14727" y="9068"/>
                    <a:pt x="14236" y="8660"/>
                  </a:cubicBezTo>
                  <a:cubicBezTo>
                    <a:pt x="14236" y="8355"/>
                    <a:pt x="13745" y="8049"/>
                    <a:pt x="13255" y="7743"/>
                  </a:cubicBezTo>
                  <a:cubicBezTo>
                    <a:pt x="13255" y="7642"/>
                    <a:pt x="12764" y="7540"/>
                    <a:pt x="13255" y="7438"/>
                  </a:cubicBezTo>
                  <a:cubicBezTo>
                    <a:pt x="13745" y="7336"/>
                    <a:pt x="14236" y="6928"/>
                    <a:pt x="14236" y="6826"/>
                  </a:cubicBezTo>
                  <a:cubicBezTo>
                    <a:pt x="14236" y="6725"/>
                    <a:pt x="13745" y="6521"/>
                    <a:pt x="14727" y="6317"/>
                  </a:cubicBezTo>
                  <a:cubicBezTo>
                    <a:pt x="15218" y="6215"/>
                    <a:pt x="14727" y="6011"/>
                    <a:pt x="15218" y="5909"/>
                  </a:cubicBezTo>
                  <a:cubicBezTo>
                    <a:pt x="15218" y="5706"/>
                    <a:pt x="16200" y="5604"/>
                    <a:pt x="16691" y="5502"/>
                  </a:cubicBezTo>
                  <a:cubicBezTo>
                    <a:pt x="16691" y="5400"/>
                    <a:pt x="18164" y="5094"/>
                    <a:pt x="18164" y="4992"/>
                  </a:cubicBezTo>
                  <a:cubicBezTo>
                    <a:pt x="18164" y="4891"/>
                    <a:pt x="17673" y="4687"/>
                    <a:pt x="17673" y="4483"/>
                  </a:cubicBezTo>
                  <a:cubicBezTo>
                    <a:pt x="17673" y="4279"/>
                    <a:pt x="17673" y="4177"/>
                    <a:pt x="17673" y="3974"/>
                  </a:cubicBezTo>
                  <a:cubicBezTo>
                    <a:pt x="17673" y="3668"/>
                    <a:pt x="18164" y="3668"/>
                    <a:pt x="19636" y="3566"/>
                  </a:cubicBezTo>
                  <a:cubicBezTo>
                    <a:pt x="21600" y="3464"/>
                    <a:pt x="21600" y="3260"/>
                    <a:pt x="21600" y="2853"/>
                  </a:cubicBezTo>
                  <a:cubicBezTo>
                    <a:pt x="21109" y="2955"/>
                    <a:pt x="20127" y="2955"/>
                    <a:pt x="19636" y="2853"/>
                  </a:cubicBezTo>
                  <a:cubicBezTo>
                    <a:pt x="19636" y="2853"/>
                    <a:pt x="19636" y="2955"/>
                    <a:pt x="19636" y="285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8" name="Shape 2047">
              <a:extLst>
                <a:ext uri="{FF2B5EF4-FFF2-40B4-BE49-F238E27FC236}">
                  <a16:creationId xmlns:a16="http://schemas.microsoft.com/office/drawing/2014/main" id="{238A9805-28DA-E19F-7EC3-3AAAD2CC1120}"/>
                </a:ext>
              </a:extLst>
            </p:cNvPr>
            <p:cNvSpPr/>
            <p:nvPr/>
          </p:nvSpPr>
          <p:spPr>
            <a:xfrm>
              <a:off x="3228276" y="4079446"/>
              <a:ext cx="397507" cy="445471"/>
            </a:xfrm>
            <a:custGeom>
              <a:avLst/>
              <a:gdLst/>
              <a:ahLst/>
              <a:cxnLst>
                <a:cxn ang="0">
                  <a:pos x="wd2" y="hd2"/>
                </a:cxn>
                <a:cxn ang="5400000">
                  <a:pos x="wd2" y="hd2"/>
                </a:cxn>
                <a:cxn ang="10800000">
                  <a:pos x="wd2" y="hd2"/>
                </a:cxn>
                <a:cxn ang="16200000">
                  <a:pos x="wd2" y="hd2"/>
                </a:cxn>
              </a:cxnLst>
              <a:rect l="0" t="0" r="r" b="b"/>
              <a:pathLst>
                <a:path w="20322" h="20880" extrusionOk="0">
                  <a:moveTo>
                    <a:pt x="19951" y="12464"/>
                  </a:moveTo>
                  <a:cubicBezTo>
                    <a:pt x="18601" y="11847"/>
                    <a:pt x="18939" y="11538"/>
                    <a:pt x="18939" y="10304"/>
                  </a:cubicBezTo>
                  <a:cubicBezTo>
                    <a:pt x="17926" y="10304"/>
                    <a:pt x="16914" y="10304"/>
                    <a:pt x="16239" y="10304"/>
                  </a:cubicBezTo>
                  <a:cubicBezTo>
                    <a:pt x="15564" y="10304"/>
                    <a:pt x="15901" y="9995"/>
                    <a:pt x="15901" y="9687"/>
                  </a:cubicBezTo>
                  <a:cubicBezTo>
                    <a:pt x="15901" y="9378"/>
                    <a:pt x="15564" y="8761"/>
                    <a:pt x="15226" y="8761"/>
                  </a:cubicBezTo>
                  <a:cubicBezTo>
                    <a:pt x="15226" y="8453"/>
                    <a:pt x="15564" y="8453"/>
                    <a:pt x="15564" y="8144"/>
                  </a:cubicBezTo>
                  <a:cubicBezTo>
                    <a:pt x="15901" y="7835"/>
                    <a:pt x="15564" y="7527"/>
                    <a:pt x="15226" y="7527"/>
                  </a:cubicBezTo>
                  <a:cubicBezTo>
                    <a:pt x="15226" y="7218"/>
                    <a:pt x="15564" y="6910"/>
                    <a:pt x="15226" y="6601"/>
                  </a:cubicBezTo>
                  <a:cubicBezTo>
                    <a:pt x="14551" y="5984"/>
                    <a:pt x="13876" y="5984"/>
                    <a:pt x="13201" y="5984"/>
                  </a:cubicBezTo>
                  <a:cubicBezTo>
                    <a:pt x="12864" y="5984"/>
                    <a:pt x="12189" y="5367"/>
                    <a:pt x="11851" y="5058"/>
                  </a:cubicBezTo>
                  <a:cubicBezTo>
                    <a:pt x="11176" y="5058"/>
                    <a:pt x="10839" y="4441"/>
                    <a:pt x="10501" y="4441"/>
                  </a:cubicBezTo>
                  <a:cubicBezTo>
                    <a:pt x="9826" y="4441"/>
                    <a:pt x="9489" y="4441"/>
                    <a:pt x="9152" y="4441"/>
                  </a:cubicBezTo>
                  <a:cubicBezTo>
                    <a:pt x="8476" y="4441"/>
                    <a:pt x="7127" y="2898"/>
                    <a:pt x="7127" y="2281"/>
                  </a:cubicBezTo>
                  <a:cubicBezTo>
                    <a:pt x="7127" y="1973"/>
                    <a:pt x="7127" y="1664"/>
                    <a:pt x="7127" y="1355"/>
                  </a:cubicBezTo>
                  <a:cubicBezTo>
                    <a:pt x="7127" y="1047"/>
                    <a:pt x="7127" y="1047"/>
                    <a:pt x="7127" y="738"/>
                  </a:cubicBezTo>
                  <a:cubicBezTo>
                    <a:pt x="7127" y="-496"/>
                    <a:pt x="6451" y="121"/>
                    <a:pt x="5439" y="430"/>
                  </a:cubicBezTo>
                  <a:cubicBezTo>
                    <a:pt x="4427" y="430"/>
                    <a:pt x="3752" y="1355"/>
                    <a:pt x="2739" y="1355"/>
                  </a:cubicBezTo>
                  <a:cubicBezTo>
                    <a:pt x="2064" y="1355"/>
                    <a:pt x="2064" y="1973"/>
                    <a:pt x="1727" y="2281"/>
                  </a:cubicBezTo>
                  <a:cubicBezTo>
                    <a:pt x="1389" y="2281"/>
                    <a:pt x="377" y="1973"/>
                    <a:pt x="39" y="1973"/>
                  </a:cubicBezTo>
                  <a:cubicBezTo>
                    <a:pt x="714" y="2281"/>
                    <a:pt x="1052" y="3824"/>
                    <a:pt x="1389" y="4441"/>
                  </a:cubicBezTo>
                  <a:cubicBezTo>
                    <a:pt x="714" y="4750"/>
                    <a:pt x="1052" y="5984"/>
                    <a:pt x="1052" y="6601"/>
                  </a:cubicBezTo>
                  <a:cubicBezTo>
                    <a:pt x="1052" y="7218"/>
                    <a:pt x="1052" y="7527"/>
                    <a:pt x="714" y="7835"/>
                  </a:cubicBezTo>
                  <a:cubicBezTo>
                    <a:pt x="377" y="8144"/>
                    <a:pt x="377" y="8761"/>
                    <a:pt x="377" y="9070"/>
                  </a:cubicBezTo>
                  <a:cubicBezTo>
                    <a:pt x="39" y="9687"/>
                    <a:pt x="1052" y="9687"/>
                    <a:pt x="1052" y="10304"/>
                  </a:cubicBezTo>
                  <a:cubicBezTo>
                    <a:pt x="1052" y="10613"/>
                    <a:pt x="377" y="10921"/>
                    <a:pt x="377" y="11230"/>
                  </a:cubicBezTo>
                  <a:cubicBezTo>
                    <a:pt x="-636" y="12155"/>
                    <a:pt x="714" y="12464"/>
                    <a:pt x="714" y="13698"/>
                  </a:cubicBezTo>
                  <a:cubicBezTo>
                    <a:pt x="714" y="14007"/>
                    <a:pt x="714" y="14315"/>
                    <a:pt x="714" y="14624"/>
                  </a:cubicBezTo>
                  <a:cubicBezTo>
                    <a:pt x="1052" y="14933"/>
                    <a:pt x="1389" y="15241"/>
                    <a:pt x="1727" y="15550"/>
                  </a:cubicBezTo>
                  <a:cubicBezTo>
                    <a:pt x="1727" y="15858"/>
                    <a:pt x="1052" y="15858"/>
                    <a:pt x="1727" y="16167"/>
                  </a:cubicBezTo>
                  <a:cubicBezTo>
                    <a:pt x="1727" y="16167"/>
                    <a:pt x="1389" y="16784"/>
                    <a:pt x="1389" y="16784"/>
                  </a:cubicBezTo>
                  <a:cubicBezTo>
                    <a:pt x="1389" y="17710"/>
                    <a:pt x="2402" y="18327"/>
                    <a:pt x="2402" y="18944"/>
                  </a:cubicBezTo>
                  <a:cubicBezTo>
                    <a:pt x="2739" y="19870"/>
                    <a:pt x="2064" y="20795"/>
                    <a:pt x="3752" y="20795"/>
                  </a:cubicBezTo>
                  <a:cubicBezTo>
                    <a:pt x="4089" y="21104"/>
                    <a:pt x="4089" y="20487"/>
                    <a:pt x="4089" y="20178"/>
                  </a:cubicBezTo>
                  <a:cubicBezTo>
                    <a:pt x="4089" y="19870"/>
                    <a:pt x="4764" y="19561"/>
                    <a:pt x="5102" y="19561"/>
                  </a:cubicBezTo>
                  <a:cubicBezTo>
                    <a:pt x="5439" y="19253"/>
                    <a:pt x="5777" y="18944"/>
                    <a:pt x="6114" y="19561"/>
                  </a:cubicBezTo>
                  <a:cubicBezTo>
                    <a:pt x="6789" y="19870"/>
                    <a:pt x="7464" y="19561"/>
                    <a:pt x="7801" y="19561"/>
                  </a:cubicBezTo>
                  <a:cubicBezTo>
                    <a:pt x="8476" y="19561"/>
                    <a:pt x="8476" y="20487"/>
                    <a:pt x="8814" y="20487"/>
                  </a:cubicBezTo>
                  <a:cubicBezTo>
                    <a:pt x="9152" y="20487"/>
                    <a:pt x="9489" y="19870"/>
                    <a:pt x="9826" y="19561"/>
                  </a:cubicBezTo>
                  <a:cubicBezTo>
                    <a:pt x="10164" y="18944"/>
                    <a:pt x="11514" y="19870"/>
                    <a:pt x="11851" y="19253"/>
                  </a:cubicBezTo>
                  <a:cubicBezTo>
                    <a:pt x="12526" y="17710"/>
                    <a:pt x="12189" y="16167"/>
                    <a:pt x="14214" y="15550"/>
                  </a:cubicBezTo>
                  <a:cubicBezTo>
                    <a:pt x="14889" y="15241"/>
                    <a:pt x="15901" y="15241"/>
                    <a:pt x="16914" y="15241"/>
                  </a:cubicBezTo>
                  <a:cubicBezTo>
                    <a:pt x="17926" y="15241"/>
                    <a:pt x="18601" y="15550"/>
                    <a:pt x="19276" y="16167"/>
                  </a:cubicBezTo>
                  <a:cubicBezTo>
                    <a:pt x="19614" y="15241"/>
                    <a:pt x="20964" y="12773"/>
                    <a:pt x="19951" y="12464"/>
                  </a:cubicBezTo>
                  <a:cubicBezTo>
                    <a:pt x="19614" y="12155"/>
                    <a:pt x="20289" y="12464"/>
                    <a:pt x="19951" y="1246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9" name="Shape 2048">
              <a:extLst>
                <a:ext uri="{FF2B5EF4-FFF2-40B4-BE49-F238E27FC236}">
                  <a16:creationId xmlns:a16="http://schemas.microsoft.com/office/drawing/2014/main" id="{FA61477D-9102-D69D-0D6C-3361ED8CDBF7}"/>
                </a:ext>
              </a:extLst>
            </p:cNvPr>
            <p:cNvSpPr/>
            <p:nvPr/>
          </p:nvSpPr>
          <p:spPr>
            <a:xfrm>
              <a:off x="3457926" y="4401109"/>
              <a:ext cx="276413" cy="288204"/>
            </a:xfrm>
            <a:custGeom>
              <a:avLst/>
              <a:gdLst/>
              <a:ahLst/>
              <a:cxnLst>
                <a:cxn ang="0">
                  <a:pos x="wd2" y="hd2"/>
                </a:cxn>
                <a:cxn ang="5400000">
                  <a:pos x="wd2" y="hd2"/>
                </a:cxn>
                <a:cxn ang="10800000">
                  <a:pos x="wd2" y="hd2"/>
                </a:cxn>
                <a:cxn ang="16200000">
                  <a:pos x="wd2" y="hd2"/>
                </a:cxn>
              </a:cxnLst>
              <a:rect l="0" t="0" r="r" b="b"/>
              <a:pathLst>
                <a:path w="20126" h="21302" extrusionOk="0">
                  <a:moveTo>
                    <a:pt x="18919" y="11484"/>
                  </a:moveTo>
                  <a:cubicBezTo>
                    <a:pt x="18439" y="11975"/>
                    <a:pt x="17479" y="12466"/>
                    <a:pt x="16999" y="11484"/>
                  </a:cubicBezTo>
                  <a:cubicBezTo>
                    <a:pt x="16519" y="10993"/>
                    <a:pt x="17479" y="10502"/>
                    <a:pt x="16999" y="9520"/>
                  </a:cubicBezTo>
                  <a:cubicBezTo>
                    <a:pt x="16519" y="9029"/>
                    <a:pt x="16519" y="8538"/>
                    <a:pt x="16039" y="8047"/>
                  </a:cubicBezTo>
                  <a:cubicBezTo>
                    <a:pt x="14599" y="7066"/>
                    <a:pt x="14599" y="8047"/>
                    <a:pt x="13639" y="7557"/>
                  </a:cubicBezTo>
                  <a:cubicBezTo>
                    <a:pt x="13159" y="7557"/>
                    <a:pt x="12679" y="7557"/>
                    <a:pt x="11719" y="7066"/>
                  </a:cubicBezTo>
                  <a:cubicBezTo>
                    <a:pt x="10759" y="7066"/>
                    <a:pt x="11239" y="6084"/>
                    <a:pt x="11719" y="5593"/>
                  </a:cubicBezTo>
                  <a:cubicBezTo>
                    <a:pt x="11719" y="4611"/>
                    <a:pt x="11239" y="3629"/>
                    <a:pt x="11239" y="3138"/>
                  </a:cubicBezTo>
                  <a:cubicBezTo>
                    <a:pt x="10759" y="1666"/>
                    <a:pt x="11239" y="1666"/>
                    <a:pt x="9799" y="1175"/>
                  </a:cubicBezTo>
                  <a:cubicBezTo>
                    <a:pt x="8839" y="193"/>
                    <a:pt x="8359" y="-298"/>
                    <a:pt x="6439" y="193"/>
                  </a:cubicBezTo>
                  <a:cubicBezTo>
                    <a:pt x="4999" y="193"/>
                    <a:pt x="3079" y="684"/>
                    <a:pt x="2119" y="1175"/>
                  </a:cubicBezTo>
                  <a:cubicBezTo>
                    <a:pt x="679" y="2647"/>
                    <a:pt x="1159" y="3629"/>
                    <a:pt x="679" y="5102"/>
                  </a:cubicBezTo>
                  <a:cubicBezTo>
                    <a:pt x="679" y="5593"/>
                    <a:pt x="199" y="6084"/>
                    <a:pt x="199" y="6575"/>
                  </a:cubicBezTo>
                  <a:cubicBezTo>
                    <a:pt x="-281" y="7066"/>
                    <a:pt x="199" y="7066"/>
                    <a:pt x="679" y="8047"/>
                  </a:cubicBezTo>
                  <a:cubicBezTo>
                    <a:pt x="1639" y="9520"/>
                    <a:pt x="2599" y="10011"/>
                    <a:pt x="4039" y="11484"/>
                  </a:cubicBezTo>
                  <a:cubicBezTo>
                    <a:pt x="4519" y="11975"/>
                    <a:pt x="5479" y="11975"/>
                    <a:pt x="5959" y="11975"/>
                  </a:cubicBezTo>
                  <a:cubicBezTo>
                    <a:pt x="6919" y="11975"/>
                    <a:pt x="7399" y="12466"/>
                    <a:pt x="7879" y="12957"/>
                  </a:cubicBezTo>
                  <a:cubicBezTo>
                    <a:pt x="8839" y="13447"/>
                    <a:pt x="12679" y="14920"/>
                    <a:pt x="11719" y="16884"/>
                  </a:cubicBezTo>
                  <a:cubicBezTo>
                    <a:pt x="11239" y="17375"/>
                    <a:pt x="10279" y="17866"/>
                    <a:pt x="10279" y="18847"/>
                  </a:cubicBezTo>
                  <a:cubicBezTo>
                    <a:pt x="10279" y="19829"/>
                    <a:pt x="10279" y="19829"/>
                    <a:pt x="9319" y="20320"/>
                  </a:cubicBezTo>
                  <a:cubicBezTo>
                    <a:pt x="8839" y="21302"/>
                    <a:pt x="12679" y="20811"/>
                    <a:pt x="13159" y="21302"/>
                  </a:cubicBezTo>
                  <a:cubicBezTo>
                    <a:pt x="14119" y="21302"/>
                    <a:pt x="14119" y="21302"/>
                    <a:pt x="15079" y="20811"/>
                  </a:cubicBezTo>
                  <a:cubicBezTo>
                    <a:pt x="15559" y="19829"/>
                    <a:pt x="16999" y="20811"/>
                    <a:pt x="17479" y="20320"/>
                  </a:cubicBezTo>
                  <a:cubicBezTo>
                    <a:pt x="17959" y="19829"/>
                    <a:pt x="18439" y="19338"/>
                    <a:pt x="18919" y="18847"/>
                  </a:cubicBezTo>
                  <a:cubicBezTo>
                    <a:pt x="19399" y="17866"/>
                    <a:pt x="18919" y="16884"/>
                    <a:pt x="19399" y="16393"/>
                  </a:cubicBezTo>
                  <a:cubicBezTo>
                    <a:pt x="19399" y="15411"/>
                    <a:pt x="21319" y="11484"/>
                    <a:pt x="18919" y="11484"/>
                  </a:cubicBezTo>
                  <a:cubicBezTo>
                    <a:pt x="18919" y="11975"/>
                    <a:pt x="19399" y="11484"/>
                    <a:pt x="18919" y="114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0" name="Shape 2049">
              <a:extLst>
                <a:ext uri="{FF2B5EF4-FFF2-40B4-BE49-F238E27FC236}">
                  <a16:creationId xmlns:a16="http://schemas.microsoft.com/office/drawing/2014/main" id="{7E233AC8-EE36-037D-8330-2B3DDBEC871B}"/>
                </a:ext>
              </a:extLst>
            </p:cNvPr>
            <p:cNvSpPr/>
            <p:nvPr/>
          </p:nvSpPr>
          <p:spPr>
            <a:xfrm>
              <a:off x="3086062" y="3590845"/>
              <a:ext cx="1289974" cy="1323269"/>
            </a:xfrm>
            <a:custGeom>
              <a:avLst/>
              <a:gdLst/>
              <a:ahLst/>
              <a:cxnLst>
                <a:cxn ang="0">
                  <a:pos x="wd2" y="hd2"/>
                </a:cxn>
                <a:cxn ang="5400000">
                  <a:pos x="wd2" y="hd2"/>
                </a:cxn>
                <a:cxn ang="10800000">
                  <a:pos x="wd2" y="hd2"/>
                </a:cxn>
                <a:cxn ang="16200000">
                  <a:pos x="wd2" y="hd2"/>
                </a:cxn>
              </a:cxnLst>
              <a:rect l="0" t="0" r="r" b="b"/>
              <a:pathLst>
                <a:path w="21266" h="21514" extrusionOk="0">
                  <a:moveTo>
                    <a:pt x="21153" y="6039"/>
                  </a:moveTo>
                  <a:cubicBezTo>
                    <a:pt x="21045" y="5824"/>
                    <a:pt x="21045" y="5610"/>
                    <a:pt x="20936" y="5502"/>
                  </a:cubicBezTo>
                  <a:cubicBezTo>
                    <a:pt x="20719" y="5395"/>
                    <a:pt x="20394" y="5502"/>
                    <a:pt x="20285" y="5395"/>
                  </a:cubicBezTo>
                  <a:cubicBezTo>
                    <a:pt x="19742" y="5287"/>
                    <a:pt x="19417" y="4857"/>
                    <a:pt x="19091" y="4642"/>
                  </a:cubicBezTo>
                  <a:cubicBezTo>
                    <a:pt x="18874" y="4535"/>
                    <a:pt x="18657" y="4427"/>
                    <a:pt x="18548" y="4320"/>
                  </a:cubicBezTo>
                  <a:cubicBezTo>
                    <a:pt x="18223" y="4213"/>
                    <a:pt x="18114" y="4320"/>
                    <a:pt x="17789" y="4320"/>
                  </a:cubicBezTo>
                  <a:cubicBezTo>
                    <a:pt x="17354" y="4427"/>
                    <a:pt x="16920" y="3890"/>
                    <a:pt x="16486" y="4105"/>
                  </a:cubicBezTo>
                  <a:cubicBezTo>
                    <a:pt x="16160" y="4213"/>
                    <a:pt x="15835" y="3675"/>
                    <a:pt x="15618" y="3568"/>
                  </a:cubicBezTo>
                  <a:cubicBezTo>
                    <a:pt x="15292" y="3353"/>
                    <a:pt x="14858" y="3138"/>
                    <a:pt x="14532" y="3138"/>
                  </a:cubicBezTo>
                  <a:cubicBezTo>
                    <a:pt x="14315" y="3030"/>
                    <a:pt x="14098" y="3030"/>
                    <a:pt x="13990" y="3138"/>
                  </a:cubicBezTo>
                  <a:cubicBezTo>
                    <a:pt x="13881" y="3460"/>
                    <a:pt x="13555" y="3568"/>
                    <a:pt x="13447" y="3783"/>
                  </a:cubicBezTo>
                  <a:cubicBezTo>
                    <a:pt x="13230" y="4105"/>
                    <a:pt x="13338" y="3998"/>
                    <a:pt x="13121" y="3783"/>
                  </a:cubicBezTo>
                  <a:cubicBezTo>
                    <a:pt x="13121" y="3783"/>
                    <a:pt x="13013" y="3675"/>
                    <a:pt x="13013" y="3675"/>
                  </a:cubicBezTo>
                  <a:cubicBezTo>
                    <a:pt x="12796" y="3568"/>
                    <a:pt x="12904" y="3783"/>
                    <a:pt x="12796" y="3890"/>
                  </a:cubicBezTo>
                  <a:cubicBezTo>
                    <a:pt x="12687" y="3998"/>
                    <a:pt x="12361" y="3030"/>
                    <a:pt x="12470" y="3030"/>
                  </a:cubicBezTo>
                  <a:cubicBezTo>
                    <a:pt x="12470" y="3030"/>
                    <a:pt x="12144" y="3460"/>
                    <a:pt x="12036" y="3460"/>
                  </a:cubicBezTo>
                  <a:cubicBezTo>
                    <a:pt x="12036" y="3460"/>
                    <a:pt x="12470" y="3138"/>
                    <a:pt x="12361" y="3030"/>
                  </a:cubicBezTo>
                  <a:cubicBezTo>
                    <a:pt x="12144" y="2923"/>
                    <a:pt x="12144" y="3460"/>
                    <a:pt x="11927" y="3460"/>
                  </a:cubicBezTo>
                  <a:cubicBezTo>
                    <a:pt x="11927" y="3460"/>
                    <a:pt x="12361" y="2815"/>
                    <a:pt x="12361" y="2708"/>
                  </a:cubicBezTo>
                  <a:cubicBezTo>
                    <a:pt x="12361" y="2601"/>
                    <a:pt x="12578" y="2601"/>
                    <a:pt x="12578" y="2493"/>
                  </a:cubicBezTo>
                  <a:cubicBezTo>
                    <a:pt x="12687" y="2386"/>
                    <a:pt x="12796" y="2601"/>
                    <a:pt x="12904" y="2386"/>
                  </a:cubicBezTo>
                  <a:cubicBezTo>
                    <a:pt x="13013" y="2278"/>
                    <a:pt x="12904" y="2278"/>
                    <a:pt x="12904" y="2063"/>
                  </a:cubicBezTo>
                  <a:cubicBezTo>
                    <a:pt x="13013" y="1956"/>
                    <a:pt x="13013" y="1741"/>
                    <a:pt x="12796" y="1633"/>
                  </a:cubicBezTo>
                  <a:cubicBezTo>
                    <a:pt x="12470" y="1526"/>
                    <a:pt x="12470" y="1096"/>
                    <a:pt x="12470" y="774"/>
                  </a:cubicBezTo>
                  <a:cubicBezTo>
                    <a:pt x="12470" y="666"/>
                    <a:pt x="12361" y="559"/>
                    <a:pt x="12253" y="451"/>
                  </a:cubicBezTo>
                  <a:cubicBezTo>
                    <a:pt x="12144" y="344"/>
                    <a:pt x="12036" y="666"/>
                    <a:pt x="11927" y="774"/>
                  </a:cubicBezTo>
                  <a:cubicBezTo>
                    <a:pt x="11819" y="1096"/>
                    <a:pt x="11602" y="1526"/>
                    <a:pt x="11276" y="1526"/>
                  </a:cubicBezTo>
                  <a:cubicBezTo>
                    <a:pt x="11167" y="1526"/>
                    <a:pt x="11059" y="1418"/>
                    <a:pt x="10842" y="1418"/>
                  </a:cubicBezTo>
                  <a:cubicBezTo>
                    <a:pt x="10733" y="1418"/>
                    <a:pt x="10625" y="1526"/>
                    <a:pt x="10516" y="1418"/>
                  </a:cubicBezTo>
                  <a:cubicBezTo>
                    <a:pt x="10299" y="1311"/>
                    <a:pt x="10191" y="1418"/>
                    <a:pt x="9973" y="1418"/>
                  </a:cubicBezTo>
                  <a:cubicBezTo>
                    <a:pt x="9756" y="1418"/>
                    <a:pt x="9865" y="1418"/>
                    <a:pt x="9756" y="1633"/>
                  </a:cubicBezTo>
                  <a:cubicBezTo>
                    <a:pt x="9648" y="1741"/>
                    <a:pt x="9105" y="1633"/>
                    <a:pt x="8997" y="1741"/>
                  </a:cubicBezTo>
                  <a:cubicBezTo>
                    <a:pt x="8780" y="1741"/>
                    <a:pt x="8454" y="1956"/>
                    <a:pt x="8237" y="1956"/>
                  </a:cubicBezTo>
                  <a:cubicBezTo>
                    <a:pt x="7911" y="1956"/>
                    <a:pt x="7694" y="1526"/>
                    <a:pt x="7694" y="1311"/>
                  </a:cubicBezTo>
                  <a:cubicBezTo>
                    <a:pt x="7477" y="989"/>
                    <a:pt x="7911" y="774"/>
                    <a:pt x="7803" y="451"/>
                  </a:cubicBezTo>
                  <a:cubicBezTo>
                    <a:pt x="7694" y="236"/>
                    <a:pt x="7586" y="-86"/>
                    <a:pt x="7368" y="21"/>
                  </a:cubicBezTo>
                  <a:cubicBezTo>
                    <a:pt x="7368" y="129"/>
                    <a:pt x="6609" y="451"/>
                    <a:pt x="6500" y="451"/>
                  </a:cubicBezTo>
                  <a:cubicBezTo>
                    <a:pt x="6392" y="451"/>
                    <a:pt x="6174" y="451"/>
                    <a:pt x="6174" y="559"/>
                  </a:cubicBezTo>
                  <a:cubicBezTo>
                    <a:pt x="6066" y="559"/>
                    <a:pt x="6066" y="881"/>
                    <a:pt x="5957" y="666"/>
                  </a:cubicBezTo>
                  <a:cubicBezTo>
                    <a:pt x="5849" y="559"/>
                    <a:pt x="4981" y="451"/>
                    <a:pt x="4981" y="559"/>
                  </a:cubicBezTo>
                  <a:cubicBezTo>
                    <a:pt x="4981" y="559"/>
                    <a:pt x="5198" y="666"/>
                    <a:pt x="5198" y="666"/>
                  </a:cubicBezTo>
                  <a:cubicBezTo>
                    <a:pt x="5306" y="774"/>
                    <a:pt x="5306" y="881"/>
                    <a:pt x="5306" y="1096"/>
                  </a:cubicBezTo>
                  <a:cubicBezTo>
                    <a:pt x="5415" y="1096"/>
                    <a:pt x="5415" y="1311"/>
                    <a:pt x="5523" y="1418"/>
                  </a:cubicBezTo>
                  <a:cubicBezTo>
                    <a:pt x="5523" y="1418"/>
                    <a:pt x="5740" y="1418"/>
                    <a:pt x="5740" y="1418"/>
                  </a:cubicBezTo>
                  <a:cubicBezTo>
                    <a:pt x="5740" y="1526"/>
                    <a:pt x="5523" y="1633"/>
                    <a:pt x="5415" y="1633"/>
                  </a:cubicBezTo>
                  <a:cubicBezTo>
                    <a:pt x="5306" y="1741"/>
                    <a:pt x="5306" y="1848"/>
                    <a:pt x="5198" y="1956"/>
                  </a:cubicBezTo>
                  <a:cubicBezTo>
                    <a:pt x="5198" y="1956"/>
                    <a:pt x="4655" y="2386"/>
                    <a:pt x="4546" y="2278"/>
                  </a:cubicBezTo>
                  <a:cubicBezTo>
                    <a:pt x="4546" y="2171"/>
                    <a:pt x="4438" y="2171"/>
                    <a:pt x="4329" y="2278"/>
                  </a:cubicBezTo>
                  <a:cubicBezTo>
                    <a:pt x="4221" y="2386"/>
                    <a:pt x="4004" y="2171"/>
                    <a:pt x="4004" y="2171"/>
                  </a:cubicBezTo>
                  <a:cubicBezTo>
                    <a:pt x="3787" y="2063"/>
                    <a:pt x="3678" y="1633"/>
                    <a:pt x="3569" y="1633"/>
                  </a:cubicBezTo>
                  <a:cubicBezTo>
                    <a:pt x="3352" y="1526"/>
                    <a:pt x="3027" y="1848"/>
                    <a:pt x="2810" y="1848"/>
                  </a:cubicBezTo>
                  <a:cubicBezTo>
                    <a:pt x="2593" y="1848"/>
                    <a:pt x="2375" y="1848"/>
                    <a:pt x="2158" y="1848"/>
                  </a:cubicBezTo>
                  <a:cubicBezTo>
                    <a:pt x="2158" y="1848"/>
                    <a:pt x="2158" y="2063"/>
                    <a:pt x="2267" y="2063"/>
                  </a:cubicBezTo>
                  <a:cubicBezTo>
                    <a:pt x="2267" y="2171"/>
                    <a:pt x="2484" y="2171"/>
                    <a:pt x="2593" y="2171"/>
                  </a:cubicBezTo>
                  <a:cubicBezTo>
                    <a:pt x="2593" y="2278"/>
                    <a:pt x="2158" y="2386"/>
                    <a:pt x="2050" y="2386"/>
                  </a:cubicBezTo>
                  <a:cubicBezTo>
                    <a:pt x="1941" y="2493"/>
                    <a:pt x="2158" y="2815"/>
                    <a:pt x="2267" y="2923"/>
                  </a:cubicBezTo>
                  <a:cubicBezTo>
                    <a:pt x="2484" y="3353"/>
                    <a:pt x="2484" y="3675"/>
                    <a:pt x="2267" y="4105"/>
                  </a:cubicBezTo>
                  <a:cubicBezTo>
                    <a:pt x="2267" y="4320"/>
                    <a:pt x="2267" y="4965"/>
                    <a:pt x="2050" y="4965"/>
                  </a:cubicBezTo>
                  <a:cubicBezTo>
                    <a:pt x="1941" y="5072"/>
                    <a:pt x="1724" y="4965"/>
                    <a:pt x="1507" y="5072"/>
                  </a:cubicBezTo>
                  <a:cubicBezTo>
                    <a:pt x="1399" y="5180"/>
                    <a:pt x="1073" y="5180"/>
                    <a:pt x="964" y="5180"/>
                  </a:cubicBezTo>
                  <a:cubicBezTo>
                    <a:pt x="422" y="5395"/>
                    <a:pt x="422" y="5610"/>
                    <a:pt x="422" y="6039"/>
                  </a:cubicBezTo>
                  <a:cubicBezTo>
                    <a:pt x="422" y="6254"/>
                    <a:pt x="96" y="6254"/>
                    <a:pt x="96" y="6362"/>
                  </a:cubicBezTo>
                  <a:cubicBezTo>
                    <a:pt x="96" y="6684"/>
                    <a:pt x="-121" y="6792"/>
                    <a:pt x="96" y="7007"/>
                  </a:cubicBezTo>
                  <a:cubicBezTo>
                    <a:pt x="313" y="7221"/>
                    <a:pt x="313" y="7436"/>
                    <a:pt x="422" y="7651"/>
                  </a:cubicBezTo>
                  <a:cubicBezTo>
                    <a:pt x="422" y="7759"/>
                    <a:pt x="530" y="7759"/>
                    <a:pt x="639" y="7759"/>
                  </a:cubicBezTo>
                  <a:cubicBezTo>
                    <a:pt x="747" y="7759"/>
                    <a:pt x="747" y="7866"/>
                    <a:pt x="856" y="7974"/>
                  </a:cubicBezTo>
                  <a:cubicBezTo>
                    <a:pt x="1073" y="8296"/>
                    <a:pt x="1616" y="7974"/>
                    <a:pt x="1833" y="7759"/>
                  </a:cubicBezTo>
                  <a:cubicBezTo>
                    <a:pt x="1833" y="8081"/>
                    <a:pt x="1616" y="8618"/>
                    <a:pt x="1941" y="8726"/>
                  </a:cubicBezTo>
                  <a:cubicBezTo>
                    <a:pt x="2050" y="8726"/>
                    <a:pt x="2375" y="8618"/>
                    <a:pt x="2484" y="8618"/>
                  </a:cubicBezTo>
                  <a:cubicBezTo>
                    <a:pt x="2810" y="8726"/>
                    <a:pt x="2918" y="8726"/>
                    <a:pt x="3135" y="8511"/>
                  </a:cubicBezTo>
                  <a:cubicBezTo>
                    <a:pt x="3135" y="8404"/>
                    <a:pt x="3352" y="8404"/>
                    <a:pt x="3461" y="8404"/>
                  </a:cubicBezTo>
                  <a:cubicBezTo>
                    <a:pt x="3678" y="8189"/>
                    <a:pt x="3895" y="8081"/>
                    <a:pt x="4112" y="8081"/>
                  </a:cubicBezTo>
                  <a:cubicBezTo>
                    <a:pt x="4329" y="7974"/>
                    <a:pt x="4872" y="7759"/>
                    <a:pt x="4655" y="8189"/>
                  </a:cubicBezTo>
                  <a:cubicBezTo>
                    <a:pt x="4655" y="8404"/>
                    <a:pt x="4546" y="8618"/>
                    <a:pt x="4655" y="8833"/>
                  </a:cubicBezTo>
                  <a:cubicBezTo>
                    <a:pt x="4763" y="9048"/>
                    <a:pt x="4981" y="9263"/>
                    <a:pt x="5198" y="9371"/>
                  </a:cubicBezTo>
                  <a:cubicBezTo>
                    <a:pt x="5415" y="9586"/>
                    <a:pt x="5740" y="9478"/>
                    <a:pt x="5957" y="9586"/>
                  </a:cubicBezTo>
                  <a:cubicBezTo>
                    <a:pt x="6066" y="9693"/>
                    <a:pt x="6174" y="9801"/>
                    <a:pt x="6283" y="9801"/>
                  </a:cubicBezTo>
                  <a:cubicBezTo>
                    <a:pt x="6392" y="9801"/>
                    <a:pt x="6500" y="9908"/>
                    <a:pt x="6500" y="10015"/>
                  </a:cubicBezTo>
                  <a:cubicBezTo>
                    <a:pt x="6717" y="10015"/>
                    <a:pt x="7260" y="9908"/>
                    <a:pt x="7260" y="10230"/>
                  </a:cubicBezTo>
                  <a:cubicBezTo>
                    <a:pt x="7368" y="10445"/>
                    <a:pt x="7260" y="10445"/>
                    <a:pt x="7368" y="10660"/>
                  </a:cubicBezTo>
                  <a:cubicBezTo>
                    <a:pt x="7477" y="10768"/>
                    <a:pt x="7368" y="10768"/>
                    <a:pt x="7260" y="10875"/>
                  </a:cubicBezTo>
                  <a:cubicBezTo>
                    <a:pt x="7260" y="10875"/>
                    <a:pt x="7477" y="11413"/>
                    <a:pt x="7477" y="11520"/>
                  </a:cubicBezTo>
                  <a:cubicBezTo>
                    <a:pt x="7477" y="11627"/>
                    <a:pt x="8345" y="11520"/>
                    <a:pt x="8454" y="11520"/>
                  </a:cubicBezTo>
                  <a:cubicBezTo>
                    <a:pt x="8454" y="11735"/>
                    <a:pt x="8345" y="12057"/>
                    <a:pt x="8562" y="12165"/>
                  </a:cubicBezTo>
                  <a:cubicBezTo>
                    <a:pt x="8888" y="12380"/>
                    <a:pt x="8888" y="12595"/>
                    <a:pt x="8780" y="13024"/>
                  </a:cubicBezTo>
                  <a:cubicBezTo>
                    <a:pt x="8671" y="13239"/>
                    <a:pt x="8562" y="13562"/>
                    <a:pt x="8671" y="13884"/>
                  </a:cubicBezTo>
                  <a:cubicBezTo>
                    <a:pt x="8671" y="13992"/>
                    <a:pt x="8780" y="14207"/>
                    <a:pt x="8780" y="14421"/>
                  </a:cubicBezTo>
                  <a:cubicBezTo>
                    <a:pt x="8780" y="14529"/>
                    <a:pt x="8562" y="14744"/>
                    <a:pt x="8780" y="14744"/>
                  </a:cubicBezTo>
                  <a:cubicBezTo>
                    <a:pt x="8888" y="14851"/>
                    <a:pt x="9214" y="14959"/>
                    <a:pt x="9431" y="14851"/>
                  </a:cubicBezTo>
                  <a:cubicBezTo>
                    <a:pt x="9648" y="14636"/>
                    <a:pt x="10082" y="15389"/>
                    <a:pt x="9973" y="15496"/>
                  </a:cubicBezTo>
                  <a:cubicBezTo>
                    <a:pt x="9973" y="15604"/>
                    <a:pt x="9973" y="15711"/>
                    <a:pt x="10082" y="15818"/>
                  </a:cubicBezTo>
                  <a:cubicBezTo>
                    <a:pt x="10191" y="15926"/>
                    <a:pt x="10408" y="15711"/>
                    <a:pt x="10516" y="15818"/>
                  </a:cubicBezTo>
                  <a:cubicBezTo>
                    <a:pt x="10950" y="16033"/>
                    <a:pt x="10516" y="16463"/>
                    <a:pt x="10516" y="16786"/>
                  </a:cubicBezTo>
                  <a:cubicBezTo>
                    <a:pt x="10733" y="16463"/>
                    <a:pt x="10950" y="17108"/>
                    <a:pt x="10950" y="17108"/>
                  </a:cubicBezTo>
                  <a:cubicBezTo>
                    <a:pt x="11059" y="17538"/>
                    <a:pt x="10842" y="17645"/>
                    <a:pt x="10516" y="17753"/>
                  </a:cubicBezTo>
                  <a:cubicBezTo>
                    <a:pt x="10082" y="17968"/>
                    <a:pt x="9865" y="18183"/>
                    <a:pt x="9648" y="18505"/>
                  </a:cubicBezTo>
                  <a:cubicBezTo>
                    <a:pt x="9539" y="18720"/>
                    <a:pt x="9431" y="18827"/>
                    <a:pt x="9214" y="18935"/>
                  </a:cubicBezTo>
                  <a:cubicBezTo>
                    <a:pt x="9105" y="19150"/>
                    <a:pt x="8888" y="19257"/>
                    <a:pt x="8671" y="19472"/>
                  </a:cubicBezTo>
                  <a:cubicBezTo>
                    <a:pt x="8888" y="19472"/>
                    <a:pt x="9105" y="19365"/>
                    <a:pt x="9214" y="19365"/>
                  </a:cubicBezTo>
                  <a:cubicBezTo>
                    <a:pt x="9322" y="19365"/>
                    <a:pt x="9431" y="19580"/>
                    <a:pt x="9539" y="19580"/>
                  </a:cubicBezTo>
                  <a:cubicBezTo>
                    <a:pt x="9539" y="19687"/>
                    <a:pt x="9648" y="19795"/>
                    <a:pt x="9756" y="19902"/>
                  </a:cubicBezTo>
                  <a:cubicBezTo>
                    <a:pt x="9865" y="20010"/>
                    <a:pt x="9973" y="19902"/>
                    <a:pt x="10082" y="20010"/>
                  </a:cubicBezTo>
                  <a:cubicBezTo>
                    <a:pt x="10299" y="20224"/>
                    <a:pt x="10733" y="20332"/>
                    <a:pt x="10842" y="20654"/>
                  </a:cubicBezTo>
                  <a:cubicBezTo>
                    <a:pt x="10950" y="20869"/>
                    <a:pt x="11059" y="21299"/>
                    <a:pt x="11167" y="21514"/>
                  </a:cubicBezTo>
                  <a:cubicBezTo>
                    <a:pt x="11276" y="21407"/>
                    <a:pt x="11385" y="21299"/>
                    <a:pt x="11493" y="21084"/>
                  </a:cubicBezTo>
                  <a:cubicBezTo>
                    <a:pt x="11493" y="20977"/>
                    <a:pt x="11602" y="20762"/>
                    <a:pt x="11710" y="20654"/>
                  </a:cubicBezTo>
                  <a:cubicBezTo>
                    <a:pt x="11819" y="20332"/>
                    <a:pt x="12144" y="20224"/>
                    <a:pt x="12470" y="20010"/>
                  </a:cubicBezTo>
                  <a:cubicBezTo>
                    <a:pt x="12687" y="19795"/>
                    <a:pt x="12687" y="19580"/>
                    <a:pt x="12796" y="19257"/>
                  </a:cubicBezTo>
                  <a:cubicBezTo>
                    <a:pt x="13013" y="18827"/>
                    <a:pt x="13338" y="18720"/>
                    <a:pt x="13555" y="18398"/>
                  </a:cubicBezTo>
                  <a:cubicBezTo>
                    <a:pt x="13881" y="18075"/>
                    <a:pt x="13555" y="17645"/>
                    <a:pt x="13664" y="17215"/>
                  </a:cubicBezTo>
                  <a:cubicBezTo>
                    <a:pt x="13772" y="17108"/>
                    <a:pt x="13772" y="17001"/>
                    <a:pt x="13772" y="16786"/>
                  </a:cubicBezTo>
                  <a:cubicBezTo>
                    <a:pt x="13772" y="16678"/>
                    <a:pt x="13772" y="16678"/>
                    <a:pt x="13881" y="16678"/>
                  </a:cubicBezTo>
                  <a:cubicBezTo>
                    <a:pt x="14098" y="16571"/>
                    <a:pt x="14207" y="16356"/>
                    <a:pt x="14315" y="16248"/>
                  </a:cubicBezTo>
                  <a:cubicBezTo>
                    <a:pt x="14424" y="16141"/>
                    <a:pt x="14532" y="16033"/>
                    <a:pt x="14749" y="15926"/>
                  </a:cubicBezTo>
                  <a:cubicBezTo>
                    <a:pt x="14858" y="15926"/>
                    <a:pt x="14966" y="15818"/>
                    <a:pt x="15184" y="15711"/>
                  </a:cubicBezTo>
                  <a:cubicBezTo>
                    <a:pt x="15292" y="15711"/>
                    <a:pt x="15401" y="15818"/>
                    <a:pt x="15509" y="15818"/>
                  </a:cubicBezTo>
                  <a:cubicBezTo>
                    <a:pt x="15618" y="15818"/>
                    <a:pt x="15509" y="15711"/>
                    <a:pt x="15509" y="15711"/>
                  </a:cubicBezTo>
                  <a:cubicBezTo>
                    <a:pt x="15401" y="15604"/>
                    <a:pt x="15835" y="15496"/>
                    <a:pt x="15835" y="15496"/>
                  </a:cubicBezTo>
                  <a:cubicBezTo>
                    <a:pt x="15835" y="15496"/>
                    <a:pt x="16052" y="15174"/>
                    <a:pt x="16052" y="15281"/>
                  </a:cubicBezTo>
                  <a:cubicBezTo>
                    <a:pt x="16160" y="15389"/>
                    <a:pt x="16703" y="15174"/>
                    <a:pt x="16703" y="15174"/>
                  </a:cubicBezTo>
                  <a:cubicBezTo>
                    <a:pt x="16812" y="15174"/>
                    <a:pt x="16703" y="15281"/>
                    <a:pt x="16812" y="15281"/>
                  </a:cubicBezTo>
                  <a:cubicBezTo>
                    <a:pt x="16920" y="15281"/>
                    <a:pt x="17246" y="15281"/>
                    <a:pt x="17354" y="15174"/>
                  </a:cubicBezTo>
                  <a:cubicBezTo>
                    <a:pt x="17463" y="15066"/>
                    <a:pt x="17463" y="14959"/>
                    <a:pt x="17571" y="14851"/>
                  </a:cubicBezTo>
                  <a:cubicBezTo>
                    <a:pt x="17680" y="14851"/>
                    <a:pt x="17789" y="14744"/>
                    <a:pt x="17789" y="14636"/>
                  </a:cubicBezTo>
                  <a:cubicBezTo>
                    <a:pt x="17897" y="14529"/>
                    <a:pt x="17789" y="14314"/>
                    <a:pt x="17897" y="14207"/>
                  </a:cubicBezTo>
                  <a:cubicBezTo>
                    <a:pt x="18006" y="14099"/>
                    <a:pt x="18114" y="13992"/>
                    <a:pt x="18223" y="13884"/>
                  </a:cubicBezTo>
                  <a:cubicBezTo>
                    <a:pt x="18440" y="13562"/>
                    <a:pt x="18548" y="13454"/>
                    <a:pt x="18548" y="13132"/>
                  </a:cubicBezTo>
                  <a:cubicBezTo>
                    <a:pt x="18548" y="12917"/>
                    <a:pt x="18548" y="12810"/>
                    <a:pt x="18657" y="12595"/>
                  </a:cubicBezTo>
                  <a:cubicBezTo>
                    <a:pt x="18657" y="12487"/>
                    <a:pt x="18765" y="12487"/>
                    <a:pt x="18874" y="12380"/>
                  </a:cubicBezTo>
                  <a:cubicBezTo>
                    <a:pt x="18983" y="12272"/>
                    <a:pt x="18874" y="12057"/>
                    <a:pt x="18874" y="11950"/>
                  </a:cubicBezTo>
                  <a:cubicBezTo>
                    <a:pt x="18874" y="11735"/>
                    <a:pt x="18983" y="11627"/>
                    <a:pt x="18983" y="11413"/>
                  </a:cubicBezTo>
                  <a:cubicBezTo>
                    <a:pt x="19091" y="11090"/>
                    <a:pt x="18983" y="10768"/>
                    <a:pt x="18983" y="10445"/>
                  </a:cubicBezTo>
                  <a:cubicBezTo>
                    <a:pt x="18983" y="10230"/>
                    <a:pt x="18874" y="10015"/>
                    <a:pt x="18983" y="9908"/>
                  </a:cubicBezTo>
                  <a:cubicBezTo>
                    <a:pt x="19091" y="9693"/>
                    <a:pt x="18983" y="9801"/>
                    <a:pt x="18983" y="9586"/>
                  </a:cubicBezTo>
                  <a:cubicBezTo>
                    <a:pt x="18983" y="9586"/>
                    <a:pt x="19200" y="9693"/>
                    <a:pt x="19200" y="9693"/>
                  </a:cubicBezTo>
                  <a:cubicBezTo>
                    <a:pt x="19200" y="9693"/>
                    <a:pt x="19200" y="9586"/>
                    <a:pt x="19200" y="9586"/>
                  </a:cubicBezTo>
                  <a:cubicBezTo>
                    <a:pt x="19200" y="9586"/>
                    <a:pt x="19308" y="9586"/>
                    <a:pt x="19308" y="9586"/>
                  </a:cubicBezTo>
                  <a:cubicBezTo>
                    <a:pt x="19525" y="9586"/>
                    <a:pt x="19634" y="9263"/>
                    <a:pt x="19634" y="9156"/>
                  </a:cubicBezTo>
                  <a:cubicBezTo>
                    <a:pt x="19742" y="9048"/>
                    <a:pt x="19851" y="8833"/>
                    <a:pt x="19959" y="8618"/>
                  </a:cubicBezTo>
                  <a:cubicBezTo>
                    <a:pt x="20176" y="8404"/>
                    <a:pt x="20394" y="8404"/>
                    <a:pt x="20502" y="8189"/>
                  </a:cubicBezTo>
                  <a:cubicBezTo>
                    <a:pt x="21045" y="7544"/>
                    <a:pt x="21479" y="6792"/>
                    <a:pt x="21153" y="6039"/>
                  </a:cubicBezTo>
                  <a:cubicBezTo>
                    <a:pt x="20936" y="5610"/>
                    <a:pt x="21370" y="6362"/>
                    <a:pt x="21153" y="6039"/>
                  </a:cubicBezTo>
                  <a:close/>
                  <a:moveTo>
                    <a:pt x="12361" y="19902"/>
                  </a:moveTo>
                  <a:cubicBezTo>
                    <a:pt x="12144" y="20010"/>
                    <a:pt x="12036" y="20224"/>
                    <a:pt x="11819" y="20332"/>
                  </a:cubicBezTo>
                  <a:cubicBezTo>
                    <a:pt x="11493" y="20439"/>
                    <a:pt x="12036" y="20117"/>
                    <a:pt x="12036" y="20010"/>
                  </a:cubicBezTo>
                  <a:cubicBezTo>
                    <a:pt x="12144" y="19902"/>
                    <a:pt x="12253" y="19687"/>
                    <a:pt x="12470" y="19472"/>
                  </a:cubicBezTo>
                  <a:cubicBezTo>
                    <a:pt x="12687" y="19257"/>
                    <a:pt x="12578" y="19687"/>
                    <a:pt x="12361" y="19902"/>
                  </a:cubicBezTo>
                  <a:cubicBezTo>
                    <a:pt x="12361" y="19902"/>
                    <a:pt x="12470" y="19795"/>
                    <a:pt x="12361" y="19902"/>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1" name="Shape 2050">
              <a:extLst>
                <a:ext uri="{FF2B5EF4-FFF2-40B4-BE49-F238E27FC236}">
                  <a16:creationId xmlns:a16="http://schemas.microsoft.com/office/drawing/2014/main" id="{761D57BF-28AC-5895-55C5-46BAA0256508}"/>
                </a:ext>
              </a:extLst>
            </p:cNvPr>
            <p:cNvSpPr/>
            <p:nvPr/>
          </p:nvSpPr>
          <p:spPr>
            <a:xfrm>
              <a:off x="3588916" y="4781320"/>
              <a:ext cx="171293" cy="177753"/>
            </a:xfrm>
            <a:custGeom>
              <a:avLst/>
              <a:gdLst/>
              <a:ahLst/>
              <a:cxnLst>
                <a:cxn ang="0">
                  <a:pos x="wd2" y="hd2"/>
                </a:cxn>
                <a:cxn ang="5400000">
                  <a:pos x="wd2" y="hd2"/>
                </a:cxn>
                <a:cxn ang="10800000">
                  <a:pos x="wd2" y="hd2"/>
                </a:cxn>
                <a:cxn ang="16200000">
                  <a:pos x="wd2" y="hd2"/>
                </a:cxn>
              </a:cxnLst>
              <a:rect l="0" t="0" r="r" b="b"/>
              <a:pathLst>
                <a:path w="20839" h="20829" extrusionOk="0">
                  <a:moveTo>
                    <a:pt x="16525" y="6943"/>
                  </a:moveTo>
                  <a:cubicBezTo>
                    <a:pt x="15725" y="5400"/>
                    <a:pt x="14125" y="5400"/>
                    <a:pt x="13325" y="4629"/>
                  </a:cubicBezTo>
                  <a:cubicBezTo>
                    <a:pt x="12525" y="3858"/>
                    <a:pt x="11725" y="4629"/>
                    <a:pt x="10925" y="3858"/>
                  </a:cubicBezTo>
                  <a:cubicBezTo>
                    <a:pt x="10125" y="3086"/>
                    <a:pt x="9325" y="2315"/>
                    <a:pt x="8525" y="1543"/>
                  </a:cubicBezTo>
                  <a:cubicBezTo>
                    <a:pt x="7725" y="-771"/>
                    <a:pt x="6925" y="0"/>
                    <a:pt x="4525" y="772"/>
                  </a:cubicBezTo>
                  <a:cubicBezTo>
                    <a:pt x="3725" y="772"/>
                    <a:pt x="3725" y="0"/>
                    <a:pt x="2925" y="1543"/>
                  </a:cubicBezTo>
                  <a:cubicBezTo>
                    <a:pt x="2125" y="2315"/>
                    <a:pt x="2125" y="3086"/>
                    <a:pt x="2125" y="3858"/>
                  </a:cubicBezTo>
                  <a:cubicBezTo>
                    <a:pt x="2125" y="5400"/>
                    <a:pt x="2125" y="6943"/>
                    <a:pt x="2125" y="8486"/>
                  </a:cubicBezTo>
                  <a:cubicBezTo>
                    <a:pt x="2125" y="9258"/>
                    <a:pt x="2125" y="10800"/>
                    <a:pt x="1325" y="12343"/>
                  </a:cubicBezTo>
                  <a:cubicBezTo>
                    <a:pt x="-275" y="13886"/>
                    <a:pt x="-275" y="13886"/>
                    <a:pt x="525" y="16200"/>
                  </a:cubicBezTo>
                  <a:cubicBezTo>
                    <a:pt x="1325" y="17743"/>
                    <a:pt x="1325" y="17743"/>
                    <a:pt x="2925" y="18515"/>
                  </a:cubicBezTo>
                  <a:cubicBezTo>
                    <a:pt x="4525" y="18515"/>
                    <a:pt x="6125" y="18515"/>
                    <a:pt x="6925" y="19286"/>
                  </a:cubicBezTo>
                  <a:cubicBezTo>
                    <a:pt x="7725" y="19286"/>
                    <a:pt x="9325" y="20829"/>
                    <a:pt x="10125" y="20829"/>
                  </a:cubicBezTo>
                  <a:cubicBezTo>
                    <a:pt x="11725" y="20058"/>
                    <a:pt x="13325" y="20829"/>
                    <a:pt x="14925" y="20829"/>
                  </a:cubicBezTo>
                  <a:cubicBezTo>
                    <a:pt x="15725" y="20829"/>
                    <a:pt x="18125" y="19286"/>
                    <a:pt x="18925" y="18515"/>
                  </a:cubicBezTo>
                  <a:cubicBezTo>
                    <a:pt x="20525" y="16972"/>
                    <a:pt x="21325" y="15429"/>
                    <a:pt x="20525" y="13886"/>
                  </a:cubicBezTo>
                  <a:cubicBezTo>
                    <a:pt x="19725" y="12343"/>
                    <a:pt x="19725" y="11572"/>
                    <a:pt x="18925" y="10029"/>
                  </a:cubicBezTo>
                  <a:cubicBezTo>
                    <a:pt x="18925" y="8486"/>
                    <a:pt x="18125" y="7715"/>
                    <a:pt x="16525" y="6943"/>
                  </a:cubicBezTo>
                  <a:cubicBezTo>
                    <a:pt x="15725" y="6172"/>
                    <a:pt x="17325" y="6943"/>
                    <a:pt x="16525" y="694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2" name="Shape 2051">
              <a:extLst>
                <a:ext uri="{FF2B5EF4-FFF2-40B4-BE49-F238E27FC236}">
                  <a16:creationId xmlns:a16="http://schemas.microsoft.com/office/drawing/2014/main" id="{42680177-B0F0-DEBB-7116-50082B1B2248}"/>
                </a:ext>
              </a:extLst>
            </p:cNvPr>
            <p:cNvSpPr/>
            <p:nvPr/>
          </p:nvSpPr>
          <p:spPr>
            <a:xfrm>
              <a:off x="3093193" y="4489492"/>
              <a:ext cx="660411" cy="1175451"/>
            </a:xfrm>
            <a:custGeom>
              <a:avLst/>
              <a:gdLst/>
              <a:ahLst/>
              <a:cxnLst>
                <a:cxn ang="0">
                  <a:pos x="wd2" y="hd2"/>
                </a:cxn>
                <a:cxn ang="5400000">
                  <a:pos x="wd2" y="hd2"/>
                </a:cxn>
                <a:cxn ang="10800000">
                  <a:pos x="wd2" y="hd2"/>
                </a:cxn>
                <a:cxn ang="16200000">
                  <a:pos x="wd2" y="hd2"/>
                </a:cxn>
              </a:cxnLst>
              <a:rect l="0" t="0" r="r" b="b"/>
              <a:pathLst>
                <a:path w="21017" h="21513" extrusionOk="0">
                  <a:moveTo>
                    <a:pt x="15897" y="7395"/>
                  </a:moveTo>
                  <a:cubicBezTo>
                    <a:pt x="16526" y="7033"/>
                    <a:pt x="16107" y="6671"/>
                    <a:pt x="16317" y="6188"/>
                  </a:cubicBezTo>
                  <a:cubicBezTo>
                    <a:pt x="16317" y="6067"/>
                    <a:pt x="16317" y="5826"/>
                    <a:pt x="16317" y="5705"/>
                  </a:cubicBezTo>
                  <a:cubicBezTo>
                    <a:pt x="16526" y="5343"/>
                    <a:pt x="16946" y="5222"/>
                    <a:pt x="17365" y="4981"/>
                  </a:cubicBezTo>
                  <a:cubicBezTo>
                    <a:pt x="18204" y="4619"/>
                    <a:pt x="18623" y="4016"/>
                    <a:pt x="19462" y="3654"/>
                  </a:cubicBezTo>
                  <a:cubicBezTo>
                    <a:pt x="19882" y="3533"/>
                    <a:pt x="20511" y="3533"/>
                    <a:pt x="20930" y="3412"/>
                  </a:cubicBezTo>
                  <a:cubicBezTo>
                    <a:pt x="21140" y="3171"/>
                    <a:pt x="20930" y="2809"/>
                    <a:pt x="20721" y="2688"/>
                  </a:cubicBezTo>
                  <a:cubicBezTo>
                    <a:pt x="20511" y="2447"/>
                    <a:pt x="20721" y="2447"/>
                    <a:pt x="20301" y="2447"/>
                  </a:cubicBezTo>
                  <a:cubicBezTo>
                    <a:pt x="19882" y="2326"/>
                    <a:pt x="20091" y="2809"/>
                    <a:pt x="19882" y="2930"/>
                  </a:cubicBezTo>
                  <a:cubicBezTo>
                    <a:pt x="19672" y="3050"/>
                    <a:pt x="19462" y="3292"/>
                    <a:pt x="19253" y="3412"/>
                  </a:cubicBezTo>
                  <a:cubicBezTo>
                    <a:pt x="19043" y="3533"/>
                    <a:pt x="18414" y="3412"/>
                    <a:pt x="17994" y="3533"/>
                  </a:cubicBezTo>
                  <a:cubicBezTo>
                    <a:pt x="17785" y="3774"/>
                    <a:pt x="17156" y="3533"/>
                    <a:pt x="16736" y="3533"/>
                  </a:cubicBezTo>
                  <a:cubicBezTo>
                    <a:pt x="16526" y="3533"/>
                    <a:pt x="16107" y="3654"/>
                    <a:pt x="15897" y="3533"/>
                  </a:cubicBezTo>
                  <a:cubicBezTo>
                    <a:pt x="15478" y="3533"/>
                    <a:pt x="16107" y="3292"/>
                    <a:pt x="16107" y="3292"/>
                  </a:cubicBezTo>
                  <a:cubicBezTo>
                    <a:pt x="16317" y="3171"/>
                    <a:pt x="16107" y="3050"/>
                    <a:pt x="16107" y="3050"/>
                  </a:cubicBezTo>
                  <a:cubicBezTo>
                    <a:pt x="16107" y="2809"/>
                    <a:pt x="16317" y="2688"/>
                    <a:pt x="16526" y="2568"/>
                  </a:cubicBezTo>
                  <a:cubicBezTo>
                    <a:pt x="17365" y="2085"/>
                    <a:pt x="15688" y="1844"/>
                    <a:pt x="15058" y="1602"/>
                  </a:cubicBezTo>
                  <a:cubicBezTo>
                    <a:pt x="14429" y="1361"/>
                    <a:pt x="13590" y="1361"/>
                    <a:pt x="12961" y="999"/>
                  </a:cubicBezTo>
                  <a:cubicBezTo>
                    <a:pt x="12752" y="878"/>
                    <a:pt x="12332" y="758"/>
                    <a:pt x="12123" y="637"/>
                  </a:cubicBezTo>
                  <a:cubicBezTo>
                    <a:pt x="11913" y="396"/>
                    <a:pt x="11703" y="154"/>
                    <a:pt x="11493" y="154"/>
                  </a:cubicBezTo>
                  <a:cubicBezTo>
                    <a:pt x="11284" y="34"/>
                    <a:pt x="10655" y="34"/>
                    <a:pt x="10445" y="154"/>
                  </a:cubicBezTo>
                  <a:cubicBezTo>
                    <a:pt x="10235" y="275"/>
                    <a:pt x="10025" y="637"/>
                    <a:pt x="9606" y="396"/>
                  </a:cubicBezTo>
                  <a:cubicBezTo>
                    <a:pt x="9396" y="154"/>
                    <a:pt x="8977" y="154"/>
                    <a:pt x="8557" y="154"/>
                  </a:cubicBezTo>
                  <a:cubicBezTo>
                    <a:pt x="8138" y="154"/>
                    <a:pt x="8138" y="-87"/>
                    <a:pt x="7719" y="34"/>
                  </a:cubicBezTo>
                  <a:cubicBezTo>
                    <a:pt x="7509" y="154"/>
                    <a:pt x="6880" y="275"/>
                    <a:pt x="6880" y="396"/>
                  </a:cubicBezTo>
                  <a:cubicBezTo>
                    <a:pt x="6670" y="637"/>
                    <a:pt x="6880" y="878"/>
                    <a:pt x="6880" y="999"/>
                  </a:cubicBezTo>
                  <a:cubicBezTo>
                    <a:pt x="6670" y="1482"/>
                    <a:pt x="6041" y="1482"/>
                    <a:pt x="5412" y="1602"/>
                  </a:cubicBezTo>
                  <a:cubicBezTo>
                    <a:pt x="4992" y="1723"/>
                    <a:pt x="5202" y="2326"/>
                    <a:pt x="5202" y="2568"/>
                  </a:cubicBezTo>
                  <a:cubicBezTo>
                    <a:pt x="5202" y="2809"/>
                    <a:pt x="5412" y="3050"/>
                    <a:pt x="5412" y="3171"/>
                  </a:cubicBezTo>
                  <a:cubicBezTo>
                    <a:pt x="5412" y="3292"/>
                    <a:pt x="4783" y="3654"/>
                    <a:pt x="4783" y="3774"/>
                  </a:cubicBezTo>
                  <a:cubicBezTo>
                    <a:pt x="4573" y="3895"/>
                    <a:pt x="3944" y="4136"/>
                    <a:pt x="3944" y="4257"/>
                  </a:cubicBezTo>
                  <a:cubicBezTo>
                    <a:pt x="3944" y="4378"/>
                    <a:pt x="3944" y="4498"/>
                    <a:pt x="3944" y="4619"/>
                  </a:cubicBezTo>
                  <a:cubicBezTo>
                    <a:pt x="3944" y="4740"/>
                    <a:pt x="3734" y="4860"/>
                    <a:pt x="3734" y="4981"/>
                  </a:cubicBezTo>
                  <a:cubicBezTo>
                    <a:pt x="3734" y="5102"/>
                    <a:pt x="3944" y="5464"/>
                    <a:pt x="3524" y="5585"/>
                  </a:cubicBezTo>
                  <a:cubicBezTo>
                    <a:pt x="3524" y="5705"/>
                    <a:pt x="3524" y="5947"/>
                    <a:pt x="3524" y="6067"/>
                  </a:cubicBezTo>
                  <a:cubicBezTo>
                    <a:pt x="3315" y="6067"/>
                    <a:pt x="3105" y="6067"/>
                    <a:pt x="3105" y="6188"/>
                  </a:cubicBezTo>
                  <a:cubicBezTo>
                    <a:pt x="3105" y="6429"/>
                    <a:pt x="3524" y="6550"/>
                    <a:pt x="3524" y="6791"/>
                  </a:cubicBezTo>
                  <a:cubicBezTo>
                    <a:pt x="3524" y="6912"/>
                    <a:pt x="3524" y="7153"/>
                    <a:pt x="3734" y="7274"/>
                  </a:cubicBezTo>
                  <a:cubicBezTo>
                    <a:pt x="4154" y="7757"/>
                    <a:pt x="3315" y="8239"/>
                    <a:pt x="3315" y="8722"/>
                  </a:cubicBezTo>
                  <a:cubicBezTo>
                    <a:pt x="3105" y="8963"/>
                    <a:pt x="3524" y="9205"/>
                    <a:pt x="3315" y="9446"/>
                  </a:cubicBezTo>
                  <a:cubicBezTo>
                    <a:pt x="3105" y="9567"/>
                    <a:pt x="2686" y="9687"/>
                    <a:pt x="2476" y="9929"/>
                  </a:cubicBezTo>
                  <a:cubicBezTo>
                    <a:pt x="2266" y="10170"/>
                    <a:pt x="3105" y="11135"/>
                    <a:pt x="2686" y="11256"/>
                  </a:cubicBezTo>
                  <a:cubicBezTo>
                    <a:pt x="1847" y="11497"/>
                    <a:pt x="2057" y="12101"/>
                    <a:pt x="1847" y="12583"/>
                  </a:cubicBezTo>
                  <a:cubicBezTo>
                    <a:pt x="1427" y="12945"/>
                    <a:pt x="1637" y="13549"/>
                    <a:pt x="1637" y="14031"/>
                  </a:cubicBezTo>
                  <a:cubicBezTo>
                    <a:pt x="1637" y="14393"/>
                    <a:pt x="1637" y="14755"/>
                    <a:pt x="1637" y="15117"/>
                  </a:cubicBezTo>
                  <a:cubicBezTo>
                    <a:pt x="1637" y="15238"/>
                    <a:pt x="2686" y="15600"/>
                    <a:pt x="2266" y="15600"/>
                  </a:cubicBezTo>
                  <a:cubicBezTo>
                    <a:pt x="2266" y="15600"/>
                    <a:pt x="1427" y="15721"/>
                    <a:pt x="1847" y="15841"/>
                  </a:cubicBezTo>
                  <a:cubicBezTo>
                    <a:pt x="2266" y="15841"/>
                    <a:pt x="2266" y="15962"/>
                    <a:pt x="2057" y="16204"/>
                  </a:cubicBezTo>
                  <a:cubicBezTo>
                    <a:pt x="1847" y="16445"/>
                    <a:pt x="1847" y="16686"/>
                    <a:pt x="1847" y="17048"/>
                  </a:cubicBezTo>
                  <a:cubicBezTo>
                    <a:pt x="1847" y="17290"/>
                    <a:pt x="1427" y="17410"/>
                    <a:pt x="1218" y="17652"/>
                  </a:cubicBezTo>
                  <a:cubicBezTo>
                    <a:pt x="1008" y="17772"/>
                    <a:pt x="1218" y="18014"/>
                    <a:pt x="1218" y="18255"/>
                  </a:cubicBezTo>
                  <a:cubicBezTo>
                    <a:pt x="1218" y="18376"/>
                    <a:pt x="798" y="18738"/>
                    <a:pt x="589" y="18738"/>
                  </a:cubicBezTo>
                  <a:cubicBezTo>
                    <a:pt x="-460" y="18979"/>
                    <a:pt x="169" y="19703"/>
                    <a:pt x="379" y="20065"/>
                  </a:cubicBezTo>
                  <a:cubicBezTo>
                    <a:pt x="589" y="20306"/>
                    <a:pt x="1218" y="19944"/>
                    <a:pt x="1218" y="20427"/>
                  </a:cubicBezTo>
                  <a:cubicBezTo>
                    <a:pt x="1218" y="20548"/>
                    <a:pt x="1008" y="20910"/>
                    <a:pt x="1427" y="21030"/>
                  </a:cubicBezTo>
                  <a:cubicBezTo>
                    <a:pt x="1637" y="21151"/>
                    <a:pt x="1847" y="21151"/>
                    <a:pt x="2266" y="21151"/>
                  </a:cubicBezTo>
                  <a:cubicBezTo>
                    <a:pt x="2686" y="21272"/>
                    <a:pt x="3315" y="21272"/>
                    <a:pt x="3734" y="21272"/>
                  </a:cubicBezTo>
                  <a:cubicBezTo>
                    <a:pt x="3944" y="21272"/>
                    <a:pt x="4154" y="21272"/>
                    <a:pt x="4363" y="21392"/>
                  </a:cubicBezTo>
                  <a:cubicBezTo>
                    <a:pt x="4363" y="21272"/>
                    <a:pt x="4573" y="21272"/>
                    <a:pt x="4783" y="21272"/>
                  </a:cubicBezTo>
                  <a:cubicBezTo>
                    <a:pt x="4783" y="21392"/>
                    <a:pt x="5202" y="21513"/>
                    <a:pt x="5202" y="21513"/>
                  </a:cubicBezTo>
                  <a:cubicBezTo>
                    <a:pt x="5412" y="21513"/>
                    <a:pt x="4992" y="21151"/>
                    <a:pt x="4992" y="21030"/>
                  </a:cubicBezTo>
                  <a:cubicBezTo>
                    <a:pt x="4573" y="20789"/>
                    <a:pt x="4573" y="20548"/>
                    <a:pt x="4573" y="20306"/>
                  </a:cubicBezTo>
                  <a:cubicBezTo>
                    <a:pt x="4573" y="20065"/>
                    <a:pt x="4573" y="19944"/>
                    <a:pt x="5202" y="19703"/>
                  </a:cubicBezTo>
                  <a:cubicBezTo>
                    <a:pt x="5622" y="19582"/>
                    <a:pt x="4783" y="19582"/>
                    <a:pt x="4783" y="19582"/>
                  </a:cubicBezTo>
                  <a:cubicBezTo>
                    <a:pt x="4783" y="19582"/>
                    <a:pt x="5202" y="19462"/>
                    <a:pt x="4992" y="19462"/>
                  </a:cubicBezTo>
                  <a:cubicBezTo>
                    <a:pt x="5202" y="19462"/>
                    <a:pt x="5202" y="19582"/>
                    <a:pt x="5412" y="19582"/>
                  </a:cubicBezTo>
                  <a:cubicBezTo>
                    <a:pt x="5622" y="19703"/>
                    <a:pt x="5831" y="19582"/>
                    <a:pt x="6041" y="19582"/>
                  </a:cubicBezTo>
                  <a:cubicBezTo>
                    <a:pt x="6251" y="19341"/>
                    <a:pt x="6041" y="19100"/>
                    <a:pt x="6041" y="18858"/>
                  </a:cubicBezTo>
                  <a:cubicBezTo>
                    <a:pt x="6251" y="18617"/>
                    <a:pt x="6670" y="18496"/>
                    <a:pt x="7299" y="18376"/>
                  </a:cubicBezTo>
                  <a:cubicBezTo>
                    <a:pt x="7509" y="18255"/>
                    <a:pt x="7719" y="18255"/>
                    <a:pt x="7928" y="18134"/>
                  </a:cubicBezTo>
                  <a:cubicBezTo>
                    <a:pt x="8138" y="18014"/>
                    <a:pt x="7719" y="17893"/>
                    <a:pt x="7719" y="17893"/>
                  </a:cubicBezTo>
                  <a:cubicBezTo>
                    <a:pt x="7719" y="17772"/>
                    <a:pt x="8348" y="17652"/>
                    <a:pt x="8138" y="17410"/>
                  </a:cubicBezTo>
                  <a:cubicBezTo>
                    <a:pt x="7928" y="17169"/>
                    <a:pt x="7090" y="17410"/>
                    <a:pt x="6880" y="17169"/>
                  </a:cubicBezTo>
                  <a:cubicBezTo>
                    <a:pt x="6670" y="17048"/>
                    <a:pt x="6460" y="17048"/>
                    <a:pt x="6251" y="16807"/>
                  </a:cubicBezTo>
                  <a:cubicBezTo>
                    <a:pt x="6041" y="16566"/>
                    <a:pt x="6460" y="16204"/>
                    <a:pt x="6670" y="16083"/>
                  </a:cubicBezTo>
                  <a:cubicBezTo>
                    <a:pt x="7090" y="15962"/>
                    <a:pt x="7299" y="15721"/>
                    <a:pt x="7719" y="15721"/>
                  </a:cubicBezTo>
                  <a:cubicBezTo>
                    <a:pt x="8138" y="15600"/>
                    <a:pt x="8138" y="15841"/>
                    <a:pt x="8348" y="15479"/>
                  </a:cubicBezTo>
                  <a:cubicBezTo>
                    <a:pt x="8348" y="15238"/>
                    <a:pt x="8767" y="15117"/>
                    <a:pt x="8557" y="14876"/>
                  </a:cubicBezTo>
                  <a:cubicBezTo>
                    <a:pt x="8348" y="14514"/>
                    <a:pt x="9396" y="14514"/>
                    <a:pt x="9606" y="14273"/>
                  </a:cubicBezTo>
                  <a:cubicBezTo>
                    <a:pt x="9606" y="14273"/>
                    <a:pt x="8557" y="13790"/>
                    <a:pt x="9606" y="13911"/>
                  </a:cubicBezTo>
                  <a:cubicBezTo>
                    <a:pt x="9816" y="14031"/>
                    <a:pt x="9816" y="14152"/>
                    <a:pt x="10025" y="14152"/>
                  </a:cubicBezTo>
                  <a:cubicBezTo>
                    <a:pt x="10445" y="14152"/>
                    <a:pt x="10445" y="13790"/>
                    <a:pt x="10235" y="13669"/>
                  </a:cubicBezTo>
                  <a:cubicBezTo>
                    <a:pt x="10235" y="13549"/>
                    <a:pt x="9816" y="13790"/>
                    <a:pt x="9816" y="13790"/>
                  </a:cubicBezTo>
                  <a:cubicBezTo>
                    <a:pt x="9396" y="13790"/>
                    <a:pt x="8977" y="13669"/>
                    <a:pt x="8977" y="13549"/>
                  </a:cubicBezTo>
                  <a:cubicBezTo>
                    <a:pt x="8977" y="13428"/>
                    <a:pt x="8557" y="12583"/>
                    <a:pt x="8977" y="12583"/>
                  </a:cubicBezTo>
                  <a:cubicBezTo>
                    <a:pt x="9606" y="12704"/>
                    <a:pt x="10025" y="12945"/>
                    <a:pt x="10864" y="12945"/>
                  </a:cubicBezTo>
                  <a:cubicBezTo>
                    <a:pt x="11074" y="12945"/>
                    <a:pt x="11284" y="12825"/>
                    <a:pt x="11493" y="12825"/>
                  </a:cubicBezTo>
                  <a:cubicBezTo>
                    <a:pt x="11913" y="12583"/>
                    <a:pt x="11493" y="12463"/>
                    <a:pt x="11703" y="12221"/>
                  </a:cubicBezTo>
                  <a:cubicBezTo>
                    <a:pt x="11703" y="12101"/>
                    <a:pt x="11913" y="11980"/>
                    <a:pt x="11913" y="11980"/>
                  </a:cubicBezTo>
                  <a:cubicBezTo>
                    <a:pt x="12123" y="11739"/>
                    <a:pt x="11913" y="11739"/>
                    <a:pt x="11913" y="11618"/>
                  </a:cubicBezTo>
                  <a:cubicBezTo>
                    <a:pt x="11703" y="11497"/>
                    <a:pt x="11703" y="11256"/>
                    <a:pt x="11913" y="11256"/>
                  </a:cubicBezTo>
                  <a:cubicBezTo>
                    <a:pt x="12332" y="11256"/>
                    <a:pt x="12123" y="11497"/>
                    <a:pt x="12123" y="11497"/>
                  </a:cubicBezTo>
                  <a:cubicBezTo>
                    <a:pt x="11913" y="11377"/>
                    <a:pt x="13171" y="11377"/>
                    <a:pt x="13171" y="11377"/>
                  </a:cubicBezTo>
                  <a:cubicBezTo>
                    <a:pt x="14010" y="11377"/>
                    <a:pt x="14639" y="11135"/>
                    <a:pt x="15478" y="11135"/>
                  </a:cubicBezTo>
                  <a:cubicBezTo>
                    <a:pt x="15688" y="11015"/>
                    <a:pt x="16317" y="10894"/>
                    <a:pt x="16736" y="10773"/>
                  </a:cubicBezTo>
                  <a:cubicBezTo>
                    <a:pt x="16946" y="10653"/>
                    <a:pt x="16946" y="10532"/>
                    <a:pt x="17156" y="10411"/>
                  </a:cubicBezTo>
                  <a:cubicBezTo>
                    <a:pt x="17365" y="10291"/>
                    <a:pt x="17575" y="10170"/>
                    <a:pt x="17785" y="9929"/>
                  </a:cubicBezTo>
                  <a:cubicBezTo>
                    <a:pt x="17785" y="9567"/>
                    <a:pt x="17365" y="9567"/>
                    <a:pt x="16946" y="9325"/>
                  </a:cubicBezTo>
                  <a:cubicBezTo>
                    <a:pt x="16736" y="9084"/>
                    <a:pt x="17365" y="8963"/>
                    <a:pt x="16946" y="8722"/>
                  </a:cubicBezTo>
                  <a:cubicBezTo>
                    <a:pt x="16736" y="8601"/>
                    <a:pt x="15897" y="8481"/>
                    <a:pt x="15897" y="8239"/>
                  </a:cubicBezTo>
                  <a:cubicBezTo>
                    <a:pt x="15897" y="8239"/>
                    <a:pt x="15897" y="8119"/>
                    <a:pt x="16107" y="8119"/>
                  </a:cubicBezTo>
                  <a:cubicBezTo>
                    <a:pt x="16107" y="7998"/>
                    <a:pt x="15897" y="7998"/>
                    <a:pt x="15897" y="7877"/>
                  </a:cubicBezTo>
                  <a:cubicBezTo>
                    <a:pt x="15897" y="7757"/>
                    <a:pt x="15688" y="7515"/>
                    <a:pt x="15897" y="7395"/>
                  </a:cubicBezTo>
                  <a:cubicBezTo>
                    <a:pt x="16107" y="7274"/>
                    <a:pt x="15688" y="7515"/>
                    <a:pt x="15897" y="7395"/>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3" name="Shape 2052">
              <a:extLst>
                <a:ext uri="{FF2B5EF4-FFF2-40B4-BE49-F238E27FC236}">
                  <a16:creationId xmlns:a16="http://schemas.microsoft.com/office/drawing/2014/main" id="{1C558BCC-CDC5-4109-5FD1-8CF32DB9C83B}"/>
                </a:ext>
              </a:extLst>
            </p:cNvPr>
            <p:cNvSpPr/>
            <p:nvPr/>
          </p:nvSpPr>
          <p:spPr>
            <a:xfrm>
              <a:off x="2638253" y="3254138"/>
              <a:ext cx="143837" cy="147077"/>
            </a:xfrm>
            <a:custGeom>
              <a:avLst/>
              <a:gdLst/>
              <a:ahLst/>
              <a:cxnLst>
                <a:cxn ang="0">
                  <a:pos x="wd2" y="hd2"/>
                </a:cxn>
                <a:cxn ang="5400000">
                  <a:pos x="wd2" y="hd2"/>
                </a:cxn>
                <a:cxn ang="10800000">
                  <a:pos x="wd2" y="hd2"/>
                </a:cxn>
                <a:cxn ang="16200000">
                  <a:pos x="wd2" y="hd2"/>
                </a:cxn>
              </a:cxnLst>
              <a:rect l="0" t="0" r="r" b="b"/>
              <a:pathLst>
                <a:path w="21600" h="19904" extrusionOk="0">
                  <a:moveTo>
                    <a:pt x="14727" y="19004"/>
                  </a:moveTo>
                  <a:cubicBezTo>
                    <a:pt x="15709" y="19904"/>
                    <a:pt x="16691" y="19904"/>
                    <a:pt x="18655" y="19904"/>
                  </a:cubicBezTo>
                  <a:cubicBezTo>
                    <a:pt x="16691" y="17204"/>
                    <a:pt x="18655" y="16304"/>
                    <a:pt x="18655" y="13604"/>
                  </a:cubicBezTo>
                  <a:cubicBezTo>
                    <a:pt x="18655" y="11804"/>
                    <a:pt x="19636" y="9104"/>
                    <a:pt x="19636" y="7304"/>
                  </a:cubicBezTo>
                  <a:cubicBezTo>
                    <a:pt x="19636" y="6404"/>
                    <a:pt x="20618" y="5504"/>
                    <a:pt x="20618" y="4604"/>
                  </a:cubicBezTo>
                  <a:cubicBezTo>
                    <a:pt x="21600" y="3704"/>
                    <a:pt x="20618" y="2804"/>
                    <a:pt x="21600" y="1004"/>
                  </a:cubicBezTo>
                  <a:cubicBezTo>
                    <a:pt x="21600" y="-1696"/>
                    <a:pt x="17673" y="1904"/>
                    <a:pt x="16691" y="1904"/>
                  </a:cubicBezTo>
                  <a:cubicBezTo>
                    <a:pt x="14727" y="1904"/>
                    <a:pt x="13745" y="1004"/>
                    <a:pt x="11782" y="2804"/>
                  </a:cubicBezTo>
                  <a:cubicBezTo>
                    <a:pt x="11782" y="2804"/>
                    <a:pt x="9818" y="6404"/>
                    <a:pt x="8836" y="5504"/>
                  </a:cubicBezTo>
                  <a:cubicBezTo>
                    <a:pt x="6873" y="5504"/>
                    <a:pt x="5891" y="5504"/>
                    <a:pt x="3927" y="6404"/>
                  </a:cubicBezTo>
                  <a:cubicBezTo>
                    <a:pt x="3927" y="7304"/>
                    <a:pt x="3927" y="9104"/>
                    <a:pt x="2945" y="9104"/>
                  </a:cubicBezTo>
                  <a:cubicBezTo>
                    <a:pt x="2945" y="10004"/>
                    <a:pt x="982" y="10004"/>
                    <a:pt x="0" y="10004"/>
                  </a:cubicBezTo>
                  <a:cubicBezTo>
                    <a:pt x="1964" y="11804"/>
                    <a:pt x="3927" y="14504"/>
                    <a:pt x="5891" y="15404"/>
                  </a:cubicBezTo>
                  <a:cubicBezTo>
                    <a:pt x="6873" y="17204"/>
                    <a:pt x="8836" y="18104"/>
                    <a:pt x="10800" y="18104"/>
                  </a:cubicBezTo>
                  <a:cubicBezTo>
                    <a:pt x="11782" y="18104"/>
                    <a:pt x="13745" y="18104"/>
                    <a:pt x="14727" y="19004"/>
                  </a:cubicBezTo>
                  <a:cubicBezTo>
                    <a:pt x="15709" y="19004"/>
                    <a:pt x="14727" y="18104"/>
                    <a:pt x="14727" y="1900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4" name="Shape 2053">
              <a:extLst>
                <a:ext uri="{FF2B5EF4-FFF2-40B4-BE49-F238E27FC236}">
                  <a16:creationId xmlns:a16="http://schemas.microsoft.com/office/drawing/2014/main" id="{689B7512-BF2C-59DC-54DB-0BBA6FAD096C}"/>
                </a:ext>
              </a:extLst>
            </p:cNvPr>
            <p:cNvSpPr/>
            <p:nvPr/>
          </p:nvSpPr>
          <p:spPr>
            <a:xfrm>
              <a:off x="2695516" y="3387724"/>
              <a:ext cx="100058" cy="93627"/>
            </a:xfrm>
            <a:custGeom>
              <a:avLst/>
              <a:gdLst/>
              <a:ahLst/>
              <a:cxnLst>
                <a:cxn ang="0">
                  <a:pos x="wd2" y="hd2"/>
                </a:cxn>
                <a:cxn ang="5400000">
                  <a:pos x="wd2" y="hd2"/>
                </a:cxn>
                <a:cxn ang="10800000">
                  <a:pos x="wd2" y="hd2"/>
                </a:cxn>
                <a:cxn ang="16200000">
                  <a:pos x="wd2" y="hd2"/>
                </a:cxn>
              </a:cxnLst>
              <a:rect l="0" t="0" r="r" b="b"/>
              <a:pathLst>
                <a:path w="19233" h="20446" extrusionOk="0">
                  <a:moveTo>
                    <a:pt x="17962" y="14400"/>
                  </a:moveTo>
                  <a:cubicBezTo>
                    <a:pt x="17962" y="12960"/>
                    <a:pt x="17962" y="11520"/>
                    <a:pt x="19233" y="11520"/>
                  </a:cubicBezTo>
                  <a:cubicBezTo>
                    <a:pt x="17962" y="10080"/>
                    <a:pt x="17962" y="8640"/>
                    <a:pt x="16692" y="8640"/>
                  </a:cubicBezTo>
                  <a:cubicBezTo>
                    <a:pt x="15421" y="7200"/>
                    <a:pt x="14151" y="2880"/>
                    <a:pt x="12880" y="2880"/>
                  </a:cubicBezTo>
                  <a:cubicBezTo>
                    <a:pt x="10339" y="2880"/>
                    <a:pt x="9068" y="2880"/>
                    <a:pt x="7798" y="1440"/>
                  </a:cubicBezTo>
                  <a:cubicBezTo>
                    <a:pt x="6527" y="0"/>
                    <a:pt x="2715" y="0"/>
                    <a:pt x="1445" y="0"/>
                  </a:cubicBezTo>
                  <a:cubicBezTo>
                    <a:pt x="2715" y="1440"/>
                    <a:pt x="-2367" y="8640"/>
                    <a:pt x="1445" y="8640"/>
                  </a:cubicBezTo>
                  <a:cubicBezTo>
                    <a:pt x="2715" y="8640"/>
                    <a:pt x="2715" y="11520"/>
                    <a:pt x="5257" y="10080"/>
                  </a:cubicBezTo>
                  <a:cubicBezTo>
                    <a:pt x="6527" y="8640"/>
                    <a:pt x="2715" y="7200"/>
                    <a:pt x="2715" y="7200"/>
                  </a:cubicBezTo>
                  <a:cubicBezTo>
                    <a:pt x="3986" y="7200"/>
                    <a:pt x="6527" y="8640"/>
                    <a:pt x="6527" y="10080"/>
                  </a:cubicBezTo>
                  <a:cubicBezTo>
                    <a:pt x="7798" y="12960"/>
                    <a:pt x="10339" y="11520"/>
                    <a:pt x="11609" y="14400"/>
                  </a:cubicBezTo>
                  <a:cubicBezTo>
                    <a:pt x="12880" y="15840"/>
                    <a:pt x="12880" y="18720"/>
                    <a:pt x="15421" y="20160"/>
                  </a:cubicBezTo>
                  <a:cubicBezTo>
                    <a:pt x="19233" y="21600"/>
                    <a:pt x="19233" y="17280"/>
                    <a:pt x="17962" y="14400"/>
                  </a:cubicBezTo>
                  <a:cubicBezTo>
                    <a:pt x="17962" y="12960"/>
                    <a:pt x="17962" y="15840"/>
                    <a:pt x="17962" y="14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5" name="Shape 2054">
              <a:extLst>
                <a:ext uri="{FF2B5EF4-FFF2-40B4-BE49-F238E27FC236}">
                  <a16:creationId xmlns:a16="http://schemas.microsoft.com/office/drawing/2014/main" id="{E94E6032-B0BE-67AF-3684-799EDF9CB9D7}"/>
                </a:ext>
              </a:extLst>
            </p:cNvPr>
            <p:cNvSpPr/>
            <p:nvPr/>
          </p:nvSpPr>
          <p:spPr>
            <a:xfrm>
              <a:off x="2557347" y="3275324"/>
              <a:ext cx="74165" cy="43792"/>
            </a:xfrm>
            <a:custGeom>
              <a:avLst/>
              <a:gdLst/>
              <a:ahLst/>
              <a:cxnLst>
                <a:cxn ang="0">
                  <a:pos x="wd2" y="hd2"/>
                </a:cxn>
                <a:cxn ang="5400000">
                  <a:pos x="wd2" y="hd2"/>
                </a:cxn>
                <a:cxn ang="10800000">
                  <a:pos x="wd2" y="hd2"/>
                </a:cxn>
                <a:cxn ang="16200000">
                  <a:pos x="wd2" y="hd2"/>
                </a:cxn>
              </a:cxnLst>
              <a:rect l="0" t="0" r="r" b="b"/>
              <a:pathLst>
                <a:path w="21600" h="16183" extrusionOk="0">
                  <a:moveTo>
                    <a:pt x="7855" y="2400"/>
                  </a:moveTo>
                  <a:cubicBezTo>
                    <a:pt x="7855" y="0"/>
                    <a:pt x="7855" y="0"/>
                    <a:pt x="7855" y="0"/>
                  </a:cubicBezTo>
                  <a:cubicBezTo>
                    <a:pt x="5891" y="2400"/>
                    <a:pt x="1964" y="7200"/>
                    <a:pt x="0" y="9600"/>
                  </a:cubicBezTo>
                  <a:cubicBezTo>
                    <a:pt x="3927" y="12000"/>
                    <a:pt x="21600" y="21600"/>
                    <a:pt x="21600" y="12000"/>
                  </a:cubicBezTo>
                  <a:cubicBezTo>
                    <a:pt x="21600" y="4800"/>
                    <a:pt x="11782" y="7200"/>
                    <a:pt x="7855" y="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6" name="Shape 2055">
              <a:extLst>
                <a:ext uri="{FF2B5EF4-FFF2-40B4-BE49-F238E27FC236}">
                  <a16:creationId xmlns:a16="http://schemas.microsoft.com/office/drawing/2014/main" id="{3AB97783-5AF7-F486-768D-7F7B6DB19BD6}"/>
                </a:ext>
              </a:extLst>
            </p:cNvPr>
            <p:cNvSpPr/>
            <p:nvPr/>
          </p:nvSpPr>
          <p:spPr>
            <a:xfrm>
              <a:off x="2489854" y="3159876"/>
              <a:ext cx="121434" cy="138572"/>
            </a:xfrm>
            <a:custGeom>
              <a:avLst/>
              <a:gdLst/>
              <a:ahLst/>
              <a:cxnLst>
                <a:cxn ang="0">
                  <a:pos x="wd2" y="hd2"/>
                </a:cxn>
                <a:cxn ang="5400000">
                  <a:pos x="wd2" y="hd2"/>
                </a:cxn>
                <a:cxn ang="10800000">
                  <a:pos x="wd2" y="hd2"/>
                </a:cxn>
                <a:cxn ang="16200000">
                  <a:pos x="wd2" y="hd2"/>
                </a:cxn>
              </a:cxnLst>
              <a:rect l="0" t="0" r="r" b="b"/>
              <a:pathLst>
                <a:path w="19781" h="19581" extrusionOk="0">
                  <a:moveTo>
                    <a:pt x="15461" y="14504"/>
                  </a:moveTo>
                  <a:cubicBezTo>
                    <a:pt x="15461" y="12626"/>
                    <a:pt x="18701" y="11687"/>
                    <a:pt x="19781" y="10748"/>
                  </a:cubicBezTo>
                  <a:cubicBezTo>
                    <a:pt x="16541" y="9808"/>
                    <a:pt x="15461" y="9808"/>
                    <a:pt x="15461" y="6991"/>
                  </a:cubicBezTo>
                  <a:cubicBezTo>
                    <a:pt x="15461" y="6052"/>
                    <a:pt x="16541" y="1356"/>
                    <a:pt x="15461" y="417"/>
                  </a:cubicBezTo>
                  <a:cubicBezTo>
                    <a:pt x="14381" y="-522"/>
                    <a:pt x="8981" y="417"/>
                    <a:pt x="6821" y="417"/>
                  </a:cubicBezTo>
                  <a:cubicBezTo>
                    <a:pt x="4661" y="417"/>
                    <a:pt x="4661" y="3235"/>
                    <a:pt x="5741" y="5113"/>
                  </a:cubicBezTo>
                  <a:cubicBezTo>
                    <a:pt x="6821" y="6052"/>
                    <a:pt x="11141" y="8869"/>
                    <a:pt x="6821" y="8869"/>
                  </a:cubicBezTo>
                  <a:cubicBezTo>
                    <a:pt x="5741" y="8869"/>
                    <a:pt x="3581" y="8869"/>
                    <a:pt x="2501" y="8869"/>
                  </a:cubicBezTo>
                  <a:cubicBezTo>
                    <a:pt x="341" y="8869"/>
                    <a:pt x="341" y="12626"/>
                    <a:pt x="341" y="13565"/>
                  </a:cubicBezTo>
                  <a:cubicBezTo>
                    <a:pt x="-1819" y="19200"/>
                    <a:pt x="6821" y="18261"/>
                    <a:pt x="11141" y="19200"/>
                  </a:cubicBezTo>
                  <a:cubicBezTo>
                    <a:pt x="12221" y="21078"/>
                    <a:pt x="15461" y="15443"/>
                    <a:pt x="15461" y="1450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7" name="Shape 2056">
              <a:extLst>
                <a:ext uri="{FF2B5EF4-FFF2-40B4-BE49-F238E27FC236}">
                  <a16:creationId xmlns:a16="http://schemas.microsoft.com/office/drawing/2014/main" id="{7CC664AA-5034-34D1-0E83-BDA73E1DF018}"/>
                </a:ext>
              </a:extLst>
            </p:cNvPr>
            <p:cNvSpPr/>
            <p:nvPr/>
          </p:nvSpPr>
          <p:spPr>
            <a:xfrm>
              <a:off x="1676363" y="2638518"/>
              <a:ext cx="986615" cy="630066"/>
            </a:xfrm>
            <a:custGeom>
              <a:avLst/>
              <a:gdLst/>
              <a:ahLst/>
              <a:cxnLst>
                <a:cxn ang="0">
                  <a:pos x="wd2" y="hd2"/>
                </a:cxn>
                <a:cxn ang="5400000">
                  <a:pos x="wd2" y="hd2"/>
                </a:cxn>
                <a:cxn ang="10800000">
                  <a:pos x="wd2" y="hd2"/>
                </a:cxn>
                <a:cxn ang="16200000">
                  <a:pos x="wd2" y="hd2"/>
                </a:cxn>
              </a:cxnLst>
              <a:rect l="0" t="0" r="r" b="b"/>
              <a:pathLst>
                <a:path w="21600" h="21468" extrusionOk="0">
                  <a:moveTo>
                    <a:pt x="18144" y="19893"/>
                  </a:moveTo>
                  <a:cubicBezTo>
                    <a:pt x="18288" y="19893"/>
                    <a:pt x="19296" y="20118"/>
                    <a:pt x="19008" y="19668"/>
                  </a:cubicBezTo>
                  <a:cubicBezTo>
                    <a:pt x="18864" y="19218"/>
                    <a:pt x="18576" y="18993"/>
                    <a:pt x="18432" y="18543"/>
                  </a:cubicBezTo>
                  <a:cubicBezTo>
                    <a:pt x="18432" y="18543"/>
                    <a:pt x="18576" y="17868"/>
                    <a:pt x="18720" y="17868"/>
                  </a:cubicBezTo>
                  <a:cubicBezTo>
                    <a:pt x="18864" y="17643"/>
                    <a:pt x="19584" y="17868"/>
                    <a:pt x="19872" y="17868"/>
                  </a:cubicBezTo>
                  <a:cubicBezTo>
                    <a:pt x="20304" y="17868"/>
                    <a:pt x="20160" y="16743"/>
                    <a:pt x="20736" y="17418"/>
                  </a:cubicBezTo>
                  <a:cubicBezTo>
                    <a:pt x="20880" y="16968"/>
                    <a:pt x="21024" y="16743"/>
                    <a:pt x="21024" y="16293"/>
                  </a:cubicBezTo>
                  <a:cubicBezTo>
                    <a:pt x="21024" y="15843"/>
                    <a:pt x="20880" y="15393"/>
                    <a:pt x="21024" y="15168"/>
                  </a:cubicBezTo>
                  <a:cubicBezTo>
                    <a:pt x="21168" y="14718"/>
                    <a:pt x="21600" y="14268"/>
                    <a:pt x="21600" y="14043"/>
                  </a:cubicBezTo>
                  <a:cubicBezTo>
                    <a:pt x="21456" y="13593"/>
                    <a:pt x="21312" y="13593"/>
                    <a:pt x="21024" y="13593"/>
                  </a:cubicBezTo>
                  <a:cubicBezTo>
                    <a:pt x="20592" y="13593"/>
                    <a:pt x="20016" y="13593"/>
                    <a:pt x="19584" y="13818"/>
                  </a:cubicBezTo>
                  <a:cubicBezTo>
                    <a:pt x="19296" y="13818"/>
                    <a:pt x="19152" y="14043"/>
                    <a:pt x="19008" y="14268"/>
                  </a:cubicBezTo>
                  <a:cubicBezTo>
                    <a:pt x="18864" y="14718"/>
                    <a:pt x="19008" y="15168"/>
                    <a:pt x="18864" y="15618"/>
                  </a:cubicBezTo>
                  <a:cubicBezTo>
                    <a:pt x="18864" y="15843"/>
                    <a:pt x="18144" y="16968"/>
                    <a:pt x="18144" y="16968"/>
                  </a:cubicBezTo>
                  <a:cubicBezTo>
                    <a:pt x="17568" y="16743"/>
                    <a:pt x="16992" y="16968"/>
                    <a:pt x="16416" y="17418"/>
                  </a:cubicBezTo>
                  <a:cubicBezTo>
                    <a:pt x="16128" y="17418"/>
                    <a:pt x="15984" y="17193"/>
                    <a:pt x="15840" y="16968"/>
                  </a:cubicBezTo>
                  <a:cubicBezTo>
                    <a:pt x="15696" y="16743"/>
                    <a:pt x="15408" y="16743"/>
                    <a:pt x="15120" y="16518"/>
                  </a:cubicBezTo>
                  <a:cubicBezTo>
                    <a:pt x="14832" y="16518"/>
                    <a:pt x="14832" y="15843"/>
                    <a:pt x="14688" y="15393"/>
                  </a:cubicBezTo>
                  <a:cubicBezTo>
                    <a:pt x="14544" y="14943"/>
                    <a:pt x="14256" y="14718"/>
                    <a:pt x="14112" y="14268"/>
                  </a:cubicBezTo>
                  <a:cubicBezTo>
                    <a:pt x="13968" y="13368"/>
                    <a:pt x="13680" y="12243"/>
                    <a:pt x="13824" y="11343"/>
                  </a:cubicBezTo>
                  <a:cubicBezTo>
                    <a:pt x="13824" y="10668"/>
                    <a:pt x="13680" y="9768"/>
                    <a:pt x="13968" y="9093"/>
                  </a:cubicBezTo>
                  <a:cubicBezTo>
                    <a:pt x="14112" y="8868"/>
                    <a:pt x="14112" y="8643"/>
                    <a:pt x="14112" y="8418"/>
                  </a:cubicBezTo>
                  <a:cubicBezTo>
                    <a:pt x="14256" y="7968"/>
                    <a:pt x="13968" y="8193"/>
                    <a:pt x="13824" y="7968"/>
                  </a:cubicBezTo>
                  <a:cubicBezTo>
                    <a:pt x="13536" y="7968"/>
                    <a:pt x="13248" y="7743"/>
                    <a:pt x="12960" y="7743"/>
                  </a:cubicBezTo>
                  <a:cubicBezTo>
                    <a:pt x="12816" y="7518"/>
                    <a:pt x="12528" y="7068"/>
                    <a:pt x="12528" y="6618"/>
                  </a:cubicBezTo>
                  <a:cubicBezTo>
                    <a:pt x="12528" y="5943"/>
                    <a:pt x="12096" y="5718"/>
                    <a:pt x="11808" y="5268"/>
                  </a:cubicBezTo>
                  <a:cubicBezTo>
                    <a:pt x="11664" y="4818"/>
                    <a:pt x="11664" y="4368"/>
                    <a:pt x="11520" y="3918"/>
                  </a:cubicBezTo>
                  <a:cubicBezTo>
                    <a:pt x="11376" y="3693"/>
                    <a:pt x="11088" y="3693"/>
                    <a:pt x="10800" y="3693"/>
                  </a:cubicBezTo>
                  <a:cubicBezTo>
                    <a:pt x="10656" y="3468"/>
                    <a:pt x="10368" y="3468"/>
                    <a:pt x="10224" y="3693"/>
                  </a:cubicBezTo>
                  <a:cubicBezTo>
                    <a:pt x="10224" y="3918"/>
                    <a:pt x="10080" y="4368"/>
                    <a:pt x="9792" y="4368"/>
                  </a:cubicBezTo>
                  <a:cubicBezTo>
                    <a:pt x="9504" y="4368"/>
                    <a:pt x="9072" y="3918"/>
                    <a:pt x="8928" y="3468"/>
                  </a:cubicBezTo>
                  <a:cubicBezTo>
                    <a:pt x="8784" y="2793"/>
                    <a:pt x="8784" y="2568"/>
                    <a:pt x="8496" y="2118"/>
                  </a:cubicBezTo>
                  <a:cubicBezTo>
                    <a:pt x="8208" y="1893"/>
                    <a:pt x="7776" y="1218"/>
                    <a:pt x="7488" y="1218"/>
                  </a:cubicBezTo>
                  <a:cubicBezTo>
                    <a:pt x="7344" y="993"/>
                    <a:pt x="6480" y="993"/>
                    <a:pt x="6480" y="1218"/>
                  </a:cubicBezTo>
                  <a:cubicBezTo>
                    <a:pt x="6192" y="1893"/>
                    <a:pt x="6048" y="1668"/>
                    <a:pt x="5616" y="1668"/>
                  </a:cubicBezTo>
                  <a:cubicBezTo>
                    <a:pt x="5040" y="1668"/>
                    <a:pt x="4608" y="1668"/>
                    <a:pt x="4176" y="1668"/>
                  </a:cubicBezTo>
                  <a:cubicBezTo>
                    <a:pt x="4032" y="1668"/>
                    <a:pt x="3600" y="1218"/>
                    <a:pt x="3312" y="993"/>
                  </a:cubicBezTo>
                  <a:cubicBezTo>
                    <a:pt x="2880" y="768"/>
                    <a:pt x="2448" y="543"/>
                    <a:pt x="1872" y="93"/>
                  </a:cubicBezTo>
                  <a:cubicBezTo>
                    <a:pt x="1296" y="-132"/>
                    <a:pt x="576" y="93"/>
                    <a:pt x="0" y="318"/>
                  </a:cubicBezTo>
                  <a:cubicBezTo>
                    <a:pt x="144" y="1443"/>
                    <a:pt x="720" y="2343"/>
                    <a:pt x="1008" y="3468"/>
                  </a:cubicBezTo>
                  <a:cubicBezTo>
                    <a:pt x="1152" y="3918"/>
                    <a:pt x="1584" y="4368"/>
                    <a:pt x="1872" y="4593"/>
                  </a:cubicBezTo>
                  <a:cubicBezTo>
                    <a:pt x="2016" y="5043"/>
                    <a:pt x="2304" y="5718"/>
                    <a:pt x="2160" y="6168"/>
                  </a:cubicBezTo>
                  <a:cubicBezTo>
                    <a:pt x="2160" y="6168"/>
                    <a:pt x="1152" y="5718"/>
                    <a:pt x="1728" y="6393"/>
                  </a:cubicBezTo>
                  <a:cubicBezTo>
                    <a:pt x="1872" y="6618"/>
                    <a:pt x="2016" y="6843"/>
                    <a:pt x="2160" y="7068"/>
                  </a:cubicBezTo>
                  <a:cubicBezTo>
                    <a:pt x="2448" y="7068"/>
                    <a:pt x="2592" y="7068"/>
                    <a:pt x="2736" y="7293"/>
                  </a:cubicBezTo>
                  <a:cubicBezTo>
                    <a:pt x="3024" y="7518"/>
                    <a:pt x="3312" y="7968"/>
                    <a:pt x="3600" y="8418"/>
                  </a:cubicBezTo>
                  <a:cubicBezTo>
                    <a:pt x="3744" y="8643"/>
                    <a:pt x="3600" y="9093"/>
                    <a:pt x="3456" y="9318"/>
                  </a:cubicBezTo>
                  <a:cubicBezTo>
                    <a:pt x="3312" y="9543"/>
                    <a:pt x="3600" y="9768"/>
                    <a:pt x="3744" y="9768"/>
                  </a:cubicBezTo>
                  <a:cubicBezTo>
                    <a:pt x="4176" y="10218"/>
                    <a:pt x="4464" y="10668"/>
                    <a:pt x="4752" y="11118"/>
                  </a:cubicBezTo>
                  <a:cubicBezTo>
                    <a:pt x="4896" y="11343"/>
                    <a:pt x="5040" y="11793"/>
                    <a:pt x="5184" y="11793"/>
                  </a:cubicBezTo>
                  <a:cubicBezTo>
                    <a:pt x="5328" y="11793"/>
                    <a:pt x="5472" y="11343"/>
                    <a:pt x="5328" y="11118"/>
                  </a:cubicBezTo>
                  <a:cubicBezTo>
                    <a:pt x="5328" y="10893"/>
                    <a:pt x="5184" y="10668"/>
                    <a:pt x="5184" y="10443"/>
                  </a:cubicBezTo>
                  <a:cubicBezTo>
                    <a:pt x="5040" y="10218"/>
                    <a:pt x="4752" y="10443"/>
                    <a:pt x="4608" y="10218"/>
                  </a:cubicBezTo>
                  <a:cubicBezTo>
                    <a:pt x="4320" y="9768"/>
                    <a:pt x="4608" y="9768"/>
                    <a:pt x="4608" y="9318"/>
                  </a:cubicBezTo>
                  <a:cubicBezTo>
                    <a:pt x="4608" y="9318"/>
                    <a:pt x="4320" y="8868"/>
                    <a:pt x="4320" y="8643"/>
                  </a:cubicBezTo>
                  <a:cubicBezTo>
                    <a:pt x="4032" y="8193"/>
                    <a:pt x="4032" y="7518"/>
                    <a:pt x="3744" y="7068"/>
                  </a:cubicBezTo>
                  <a:cubicBezTo>
                    <a:pt x="3456" y="6843"/>
                    <a:pt x="3168" y="6393"/>
                    <a:pt x="3024" y="5943"/>
                  </a:cubicBezTo>
                  <a:cubicBezTo>
                    <a:pt x="3024" y="5718"/>
                    <a:pt x="3024" y="5268"/>
                    <a:pt x="2880" y="5043"/>
                  </a:cubicBezTo>
                  <a:cubicBezTo>
                    <a:pt x="2736" y="4818"/>
                    <a:pt x="2592" y="4593"/>
                    <a:pt x="2448" y="4368"/>
                  </a:cubicBezTo>
                  <a:cubicBezTo>
                    <a:pt x="2304" y="3918"/>
                    <a:pt x="2160" y="3693"/>
                    <a:pt x="1872" y="3468"/>
                  </a:cubicBezTo>
                  <a:cubicBezTo>
                    <a:pt x="1728" y="3243"/>
                    <a:pt x="1728" y="2793"/>
                    <a:pt x="1728" y="2568"/>
                  </a:cubicBezTo>
                  <a:cubicBezTo>
                    <a:pt x="1728" y="2343"/>
                    <a:pt x="1440" y="1218"/>
                    <a:pt x="1584" y="993"/>
                  </a:cubicBezTo>
                  <a:cubicBezTo>
                    <a:pt x="1728" y="768"/>
                    <a:pt x="1872" y="1443"/>
                    <a:pt x="2016" y="1443"/>
                  </a:cubicBezTo>
                  <a:cubicBezTo>
                    <a:pt x="2160" y="1443"/>
                    <a:pt x="2160" y="1443"/>
                    <a:pt x="2160" y="1443"/>
                  </a:cubicBezTo>
                  <a:cubicBezTo>
                    <a:pt x="2448" y="1218"/>
                    <a:pt x="2448" y="1443"/>
                    <a:pt x="2592" y="1668"/>
                  </a:cubicBezTo>
                  <a:cubicBezTo>
                    <a:pt x="2736" y="1668"/>
                    <a:pt x="2880" y="1668"/>
                    <a:pt x="2880" y="1893"/>
                  </a:cubicBezTo>
                  <a:cubicBezTo>
                    <a:pt x="2880" y="2343"/>
                    <a:pt x="3024" y="2793"/>
                    <a:pt x="3168" y="3243"/>
                  </a:cubicBezTo>
                  <a:cubicBezTo>
                    <a:pt x="3168" y="3468"/>
                    <a:pt x="3312" y="3918"/>
                    <a:pt x="3312" y="4143"/>
                  </a:cubicBezTo>
                  <a:cubicBezTo>
                    <a:pt x="3312" y="4368"/>
                    <a:pt x="3168" y="4593"/>
                    <a:pt x="3168" y="4818"/>
                  </a:cubicBezTo>
                  <a:cubicBezTo>
                    <a:pt x="3312" y="4818"/>
                    <a:pt x="3312" y="4368"/>
                    <a:pt x="3312" y="4368"/>
                  </a:cubicBezTo>
                  <a:cubicBezTo>
                    <a:pt x="3456" y="4143"/>
                    <a:pt x="3600" y="4818"/>
                    <a:pt x="3744" y="4818"/>
                  </a:cubicBezTo>
                  <a:cubicBezTo>
                    <a:pt x="3888" y="5043"/>
                    <a:pt x="4608" y="5718"/>
                    <a:pt x="4608" y="5943"/>
                  </a:cubicBezTo>
                  <a:cubicBezTo>
                    <a:pt x="4608" y="6393"/>
                    <a:pt x="4752" y="6618"/>
                    <a:pt x="4896" y="6618"/>
                  </a:cubicBezTo>
                  <a:cubicBezTo>
                    <a:pt x="5040" y="6843"/>
                    <a:pt x="5040" y="7068"/>
                    <a:pt x="5184" y="7293"/>
                  </a:cubicBezTo>
                  <a:cubicBezTo>
                    <a:pt x="5328" y="7518"/>
                    <a:pt x="5472" y="7293"/>
                    <a:pt x="5472" y="7518"/>
                  </a:cubicBezTo>
                  <a:cubicBezTo>
                    <a:pt x="5616" y="7743"/>
                    <a:pt x="5328" y="7968"/>
                    <a:pt x="5472" y="8418"/>
                  </a:cubicBezTo>
                  <a:cubicBezTo>
                    <a:pt x="5760" y="8643"/>
                    <a:pt x="6048" y="8868"/>
                    <a:pt x="6336" y="9318"/>
                  </a:cubicBezTo>
                  <a:cubicBezTo>
                    <a:pt x="6480" y="9543"/>
                    <a:pt x="6480" y="9768"/>
                    <a:pt x="6624" y="9993"/>
                  </a:cubicBezTo>
                  <a:cubicBezTo>
                    <a:pt x="6768" y="10218"/>
                    <a:pt x="6912" y="10218"/>
                    <a:pt x="7056" y="10668"/>
                  </a:cubicBezTo>
                  <a:cubicBezTo>
                    <a:pt x="7344" y="10893"/>
                    <a:pt x="7488" y="11343"/>
                    <a:pt x="7776" y="11793"/>
                  </a:cubicBezTo>
                  <a:cubicBezTo>
                    <a:pt x="7920" y="12018"/>
                    <a:pt x="8064" y="12243"/>
                    <a:pt x="8208" y="12468"/>
                  </a:cubicBezTo>
                  <a:cubicBezTo>
                    <a:pt x="8352" y="12918"/>
                    <a:pt x="8064" y="12918"/>
                    <a:pt x="8064" y="13143"/>
                  </a:cubicBezTo>
                  <a:cubicBezTo>
                    <a:pt x="8064" y="13368"/>
                    <a:pt x="8496" y="13143"/>
                    <a:pt x="8496" y="13593"/>
                  </a:cubicBezTo>
                  <a:cubicBezTo>
                    <a:pt x="8352" y="14043"/>
                    <a:pt x="8208" y="14043"/>
                    <a:pt x="8352" y="14493"/>
                  </a:cubicBezTo>
                  <a:cubicBezTo>
                    <a:pt x="8352" y="14493"/>
                    <a:pt x="8064" y="14943"/>
                    <a:pt x="8208" y="15168"/>
                  </a:cubicBezTo>
                  <a:cubicBezTo>
                    <a:pt x="8352" y="15393"/>
                    <a:pt x="8496" y="15843"/>
                    <a:pt x="8640" y="16068"/>
                  </a:cubicBezTo>
                  <a:cubicBezTo>
                    <a:pt x="8784" y="16293"/>
                    <a:pt x="8928" y="16293"/>
                    <a:pt x="9072" y="16293"/>
                  </a:cubicBezTo>
                  <a:cubicBezTo>
                    <a:pt x="9504" y="16518"/>
                    <a:pt x="9504" y="16968"/>
                    <a:pt x="9792" y="17193"/>
                  </a:cubicBezTo>
                  <a:cubicBezTo>
                    <a:pt x="10224" y="17643"/>
                    <a:pt x="10800" y="17643"/>
                    <a:pt x="11088" y="18093"/>
                  </a:cubicBezTo>
                  <a:cubicBezTo>
                    <a:pt x="11664" y="18543"/>
                    <a:pt x="12240" y="18993"/>
                    <a:pt x="12816" y="19218"/>
                  </a:cubicBezTo>
                  <a:cubicBezTo>
                    <a:pt x="13248" y="19668"/>
                    <a:pt x="13968" y="20118"/>
                    <a:pt x="14544" y="20343"/>
                  </a:cubicBezTo>
                  <a:cubicBezTo>
                    <a:pt x="15120" y="20343"/>
                    <a:pt x="15552" y="19443"/>
                    <a:pt x="16272" y="19668"/>
                  </a:cubicBezTo>
                  <a:cubicBezTo>
                    <a:pt x="16848" y="19893"/>
                    <a:pt x="17280" y="20793"/>
                    <a:pt x="17712" y="21468"/>
                  </a:cubicBezTo>
                  <a:cubicBezTo>
                    <a:pt x="17712" y="21243"/>
                    <a:pt x="17856" y="20118"/>
                    <a:pt x="18144" y="19893"/>
                  </a:cubicBezTo>
                  <a:cubicBezTo>
                    <a:pt x="18288" y="19893"/>
                    <a:pt x="18000" y="19893"/>
                    <a:pt x="18144" y="1989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8" name="Shape 2057">
              <a:extLst>
                <a:ext uri="{FF2B5EF4-FFF2-40B4-BE49-F238E27FC236}">
                  <a16:creationId xmlns:a16="http://schemas.microsoft.com/office/drawing/2014/main" id="{E09BC930-757D-43B3-75A8-38A2F630A04D}"/>
                </a:ext>
              </a:extLst>
            </p:cNvPr>
            <p:cNvSpPr/>
            <p:nvPr/>
          </p:nvSpPr>
          <p:spPr>
            <a:xfrm>
              <a:off x="2582322" y="3228915"/>
              <a:ext cx="193027" cy="100365"/>
            </a:xfrm>
            <a:custGeom>
              <a:avLst/>
              <a:gdLst/>
              <a:ahLst/>
              <a:cxnLst>
                <a:cxn ang="0">
                  <a:pos x="wd2" y="hd2"/>
                </a:cxn>
                <a:cxn ang="5400000">
                  <a:pos x="wd2" y="hd2"/>
                </a:cxn>
                <a:cxn ang="10800000">
                  <a:pos x="wd2" y="hd2"/>
                </a:cxn>
                <a:cxn ang="16200000">
                  <a:pos x="wd2" y="hd2"/>
                </a:cxn>
              </a:cxnLst>
              <a:rect l="0" t="0" r="r" b="b"/>
              <a:pathLst>
                <a:path w="21082" h="20518" extrusionOk="0">
                  <a:moveTo>
                    <a:pt x="8122" y="19168"/>
                  </a:moveTo>
                  <a:cubicBezTo>
                    <a:pt x="8842" y="19168"/>
                    <a:pt x="8842" y="17818"/>
                    <a:pt x="8842" y="16468"/>
                  </a:cubicBezTo>
                  <a:cubicBezTo>
                    <a:pt x="8842" y="15118"/>
                    <a:pt x="10282" y="13768"/>
                    <a:pt x="11002" y="13768"/>
                  </a:cubicBezTo>
                  <a:cubicBezTo>
                    <a:pt x="12442" y="12418"/>
                    <a:pt x="12442" y="15118"/>
                    <a:pt x="13882" y="12418"/>
                  </a:cubicBezTo>
                  <a:cubicBezTo>
                    <a:pt x="14602" y="11068"/>
                    <a:pt x="15322" y="7018"/>
                    <a:pt x="16762" y="8368"/>
                  </a:cubicBezTo>
                  <a:cubicBezTo>
                    <a:pt x="18922" y="8368"/>
                    <a:pt x="18922" y="7018"/>
                    <a:pt x="21082" y="5668"/>
                  </a:cubicBezTo>
                  <a:cubicBezTo>
                    <a:pt x="18202" y="2968"/>
                    <a:pt x="17482" y="-1082"/>
                    <a:pt x="13882" y="268"/>
                  </a:cubicBezTo>
                  <a:cubicBezTo>
                    <a:pt x="12442" y="268"/>
                    <a:pt x="11002" y="1618"/>
                    <a:pt x="9562" y="1618"/>
                  </a:cubicBezTo>
                  <a:cubicBezTo>
                    <a:pt x="8122" y="1618"/>
                    <a:pt x="6682" y="268"/>
                    <a:pt x="5242" y="268"/>
                  </a:cubicBezTo>
                  <a:cubicBezTo>
                    <a:pt x="3082" y="1618"/>
                    <a:pt x="2362" y="1618"/>
                    <a:pt x="922" y="4318"/>
                  </a:cubicBezTo>
                  <a:cubicBezTo>
                    <a:pt x="922" y="5668"/>
                    <a:pt x="-518" y="8368"/>
                    <a:pt x="202" y="11068"/>
                  </a:cubicBezTo>
                  <a:cubicBezTo>
                    <a:pt x="2362" y="13768"/>
                    <a:pt x="5242" y="11068"/>
                    <a:pt x="5242" y="17818"/>
                  </a:cubicBezTo>
                  <a:cubicBezTo>
                    <a:pt x="5242" y="17818"/>
                    <a:pt x="6682" y="17818"/>
                    <a:pt x="6682" y="17818"/>
                  </a:cubicBezTo>
                  <a:cubicBezTo>
                    <a:pt x="6682" y="17818"/>
                    <a:pt x="5962" y="20518"/>
                    <a:pt x="5962" y="20518"/>
                  </a:cubicBezTo>
                  <a:cubicBezTo>
                    <a:pt x="6682" y="20518"/>
                    <a:pt x="8122" y="20518"/>
                    <a:pt x="8122" y="1916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9" name="Shape 2058">
              <a:extLst>
                <a:ext uri="{FF2B5EF4-FFF2-40B4-BE49-F238E27FC236}">
                  <a16:creationId xmlns:a16="http://schemas.microsoft.com/office/drawing/2014/main" id="{0A346E53-D73E-8692-39C2-873FCEF73461}"/>
                </a:ext>
              </a:extLst>
            </p:cNvPr>
            <p:cNvSpPr/>
            <p:nvPr/>
          </p:nvSpPr>
          <p:spPr>
            <a:xfrm>
              <a:off x="2582632" y="3139614"/>
              <a:ext cx="42140" cy="89224"/>
            </a:xfrm>
            <a:custGeom>
              <a:avLst/>
              <a:gdLst/>
              <a:ahLst/>
              <a:cxnLst>
                <a:cxn ang="0">
                  <a:pos x="wd2" y="hd2"/>
                </a:cxn>
                <a:cxn ang="5400000">
                  <a:pos x="wd2" y="hd2"/>
                </a:cxn>
                <a:cxn ang="10800000">
                  <a:pos x="wd2" y="hd2"/>
                </a:cxn>
                <a:cxn ang="16200000">
                  <a:pos x="wd2" y="hd2"/>
                </a:cxn>
              </a:cxnLst>
              <a:rect l="0" t="0" r="r" b="b"/>
              <a:pathLst>
                <a:path w="19286" h="19484" extrusionOk="0">
                  <a:moveTo>
                    <a:pt x="13115" y="640"/>
                  </a:moveTo>
                  <a:cubicBezTo>
                    <a:pt x="10029" y="-800"/>
                    <a:pt x="3857" y="3520"/>
                    <a:pt x="3857" y="4960"/>
                  </a:cubicBezTo>
                  <a:cubicBezTo>
                    <a:pt x="772" y="6400"/>
                    <a:pt x="772" y="4960"/>
                    <a:pt x="772" y="7840"/>
                  </a:cubicBezTo>
                  <a:cubicBezTo>
                    <a:pt x="772" y="9280"/>
                    <a:pt x="-2314" y="20800"/>
                    <a:pt x="3857" y="19360"/>
                  </a:cubicBezTo>
                  <a:cubicBezTo>
                    <a:pt x="3857" y="17920"/>
                    <a:pt x="13115" y="13600"/>
                    <a:pt x="16200" y="10720"/>
                  </a:cubicBezTo>
                  <a:cubicBezTo>
                    <a:pt x="16200" y="6400"/>
                    <a:pt x="16200" y="4960"/>
                    <a:pt x="19286" y="2080"/>
                  </a:cubicBezTo>
                  <a:cubicBezTo>
                    <a:pt x="19286" y="640"/>
                    <a:pt x="16200" y="640"/>
                    <a:pt x="13115" y="640"/>
                  </a:cubicBezTo>
                  <a:cubicBezTo>
                    <a:pt x="10029" y="-800"/>
                    <a:pt x="16200" y="640"/>
                    <a:pt x="13115" y="6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0" name="Shape 2059">
              <a:extLst>
                <a:ext uri="{FF2B5EF4-FFF2-40B4-BE49-F238E27FC236}">
                  <a16:creationId xmlns:a16="http://schemas.microsoft.com/office/drawing/2014/main" id="{24E682B5-C91F-6B2C-A41A-80AB26AA4A3B}"/>
                </a:ext>
              </a:extLst>
            </p:cNvPr>
            <p:cNvSpPr/>
            <p:nvPr/>
          </p:nvSpPr>
          <p:spPr>
            <a:xfrm>
              <a:off x="3072002" y="3082706"/>
              <a:ext cx="85402" cy="66731"/>
            </a:xfrm>
            <a:custGeom>
              <a:avLst/>
              <a:gdLst/>
              <a:ahLst/>
              <a:cxnLst>
                <a:cxn ang="0">
                  <a:pos x="wd2" y="hd2"/>
                </a:cxn>
                <a:cxn ang="5400000">
                  <a:pos x="wd2" y="hd2"/>
                </a:cxn>
                <a:cxn ang="10800000">
                  <a:pos x="wd2" y="hd2"/>
                </a:cxn>
                <a:cxn ang="16200000">
                  <a:pos x="wd2" y="hd2"/>
                </a:cxn>
              </a:cxnLst>
              <a:rect l="0" t="0" r="r" b="b"/>
              <a:pathLst>
                <a:path w="21600" h="20037" extrusionOk="0">
                  <a:moveTo>
                    <a:pt x="19938" y="4328"/>
                  </a:moveTo>
                  <a:cubicBezTo>
                    <a:pt x="16615" y="4328"/>
                    <a:pt x="13292" y="-1563"/>
                    <a:pt x="9969" y="401"/>
                  </a:cubicBezTo>
                  <a:cubicBezTo>
                    <a:pt x="4985" y="2364"/>
                    <a:pt x="11631" y="4328"/>
                    <a:pt x="11631" y="8255"/>
                  </a:cubicBezTo>
                  <a:cubicBezTo>
                    <a:pt x="13292" y="10219"/>
                    <a:pt x="16615" y="14146"/>
                    <a:pt x="14954" y="16110"/>
                  </a:cubicBezTo>
                  <a:cubicBezTo>
                    <a:pt x="13292" y="18073"/>
                    <a:pt x="11631" y="18073"/>
                    <a:pt x="9969" y="18073"/>
                  </a:cubicBezTo>
                  <a:cubicBezTo>
                    <a:pt x="6646" y="16110"/>
                    <a:pt x="9969" y="16110"/>
                    <a:pt x="8308" y="14146"/>
                  </a:cubicBezTo>
                  <a:cubicBezTo>
                    <a:pt x="8308" y="14146"/>
                    <a:pt x="0" y="16110"/>
                    <a:pt x="0" y="16110"/>
                  </a:cubicBezTo>
                  <a:cubicBezTo>
                    <a:pt x="0" y="20037"/>
                    <a:pt x="3323" y="20037"/>
                    <a:pt x="4985" y="20037"/>
                  </a:cubicBezTo>
                  <a:cubicBezTo>
                    <a:pt x="9969" y="18073"/>
                    <a:pt x="14954" y="20037"/>
                    <a:pt x="21600" y="20037"/>
                  </a:cubicBezTo>
                  <a:cubicBezTo>
                    <a:pt x="21600" y="14146"/>
                    <a:pt x="19938" y="8255"/>
                    <a:pt x="19938" y="4328"/>
                  </a:cubicBezTo>
                  <a:cubicBezTo>
                    <a:pt x="18277" y="4328"/>
                    <a:pt x="19938" y="8255"/>
                    <a:pt x="19938" y="432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1" name="Shape 2060">
              <a:extLst>
                <a:ext uri="{FF2B5EF4-FFF2-40B4-BE49-F238E27FC236}">
                  <a16:creationId xmlns:a16="http://schemas.microsoft.com/office/drawing/2014/main" id="{A87D4C70-4C47-A123-4D5E-E255C37768B9}"/>
                </a:ext>
              </a:extLst>
            </p:cNvPr>
            <p:cNvSpPr/>
            <p:nvPr/>
          </p:nvSpPr>
          <p:spPr>
            <a:xfrm>
              <a:off x="3150662" y="3082298"/>
              <a:ext cx="114979" cy="81563"/>
            </a:xfrm>
            <a:custGeom>
              <a:avLst/>
              <a:gdLst/>
              <a:ahLst/>
              <a:cxnLst>
                <a:cxn ang="0">
                  <a:pos x="wd2" y="hd2"/>
                </a:cxn>
                <a:cxn ang="5400000">
                  <a:pos x="wd2" y="hd2"/>
                </a:cxn>
                <a:cxn ang="10800000">
                  <a:pos x="wd2" y="hd2"/>
                </a:cxn>
                <a:cxn ang="16200000">
                  <a:pos x="wd2" y="hd2"/>
                </a:cxn>
              </a:cxnLst>
              <a:rect l="0" t="0" r="r" b="b"/>
              <a:pathLst>
                <a:path w="20850" h="17811" extrusionOk="0">
                  <a:moveTo>
                    <a:pt x="16800" y="9032"/>
                  </a:moveTo>
                  <a:cubicBezTo>
                    <a:pt x="14400" y="7592"/>
                    <a:pt x="12000" y="4712"/>
                    <a:pt x="9600" y="3272"/>
                  </a:cubicBezTo>
                  <a:cubicBezTo>
                    <a:pt x="8400" y="1832"/>
                    <a:pt x="2400" y="-1048"/>
                    <a:pt x="1200" y="392"/>
                  </a:cubicBezTo>
                  <a:cubicBezTo>
                    <a:pt x="1200" y="392"/>
                    <a:pt x="3600" y="3272"/>
                    <a:pt x="0" y="3272"/>
                  </a:cubicBezTo>
                  <a:cubicBezTo>
                    <a:pt x="0" y="6152"/>
                    <a:pt x="1200" y="9032"/>
                    <a:pt x="1200" y="13352"/>
                  </a:cubicBezTo>
                  <a:cubicBezTo>
                    <a:pt x="1200" y="14792"/>
                    <a:pt x="1200" y="14792"/>
                    <a:pt x="2400" y="16232"/>
                  </a:cubicBezTo>
                  <a:cubicBezTo>
                    <a:pt x="3600" y="20552"/>
                    <a:pt x="3600" y="14792"/>
                    <a:pt x="4800" y="13352"/>
                  </a:cubicBezTo>
                  <a:cubicBezTo>
                    <a:pt x="7200" y="10472"/>
                    <a:pt x="13200" y="13352"/>
                    <a:pt x="15600" y="13352"/>
                  </a:cubicBezTo>
                  <a:cubicBezTo>
                    <a:pt x="18000" y="13352"/>
                    <a:pt x="18000" y="14792"/>
                    <a:pt x="20400" y="13352"/>
                  </a:cubicBezTo>
                  <a:cubicBezTo>
                    <a:pt x="21600" y="10472"/>
                    <a:pt x="20400" y="9032"/>
                    <a:pt x="16800" y="9032"/>
                  </a:cubicBezTo>
                  <a:cubicBezTo>
                    <a:pt x="14400" y="9032"/>
                    <a:pt x="19200" y="9032"/>
                    <a:pt x="16800" y="903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2" name="Shape 2061">
              <a:extLst>
                <a:ext uri="{FF2B5EF4-FFF2-40B4-BE49-F238E27FC236}">
                  <a16:creationId xmlns:a16="http://schemas.microsoft.com/office/drawing/2014/main" id="{9FBBA87D-36BD-D0B5-9E0C-1A436B8D0296}"/>
                </a:ext>
              </a:extLst>
            </p:cNvPr>
            <p:cNvSpPr/>
            <p:nvPr/>
          </p:nvSpPr>
          <p:spPr>
            <a:xfrm>
              <a:off x="0" y="882978"/>
              <a:ext cx="1253853" cy="849914"/>
            </a:xfrm>
            <a:custGeom>
              <a:avLst/>
              <a:gdLst/>
              <a:ahLst/>
              <a:cxnLst>
                <a:cxn ang="0">
                  <a:pos x="wd2" y="hd2"/>
                </a:cxn>
                <a:cxn ang="5400000">
                  <a:pos x="wd2" y="hd2"/>
                </a:cxn>
                <a:cxn ang="10800000">
                  <a:pos x="wd2" y="hd2"/>
                </a:cxn>
                <a:cxn ang="16200000">
                  <a:pos x="wd2" y="hd2"/>
                </a:cxn>
              </a:cxnLst>
              <a:rect l="0" t="0" r="r" b="b"/>
              <a:pathLst>
                <a:path w="21179" h="21378" extrusionOk="0">
                  <a:moveTo>
                    <a:pt x="21179" y="20834"/>
                  </a:moveTo>
                  <a:cubicBezTo>
                    <a:pt x="21068" y="20668"/>
                    <a:pt x="20845" y="20668"/>
                    <a:pt x="21068" y="20336"/>
                  </a:cubicBezTo>
                  <a:cubicBezTo>
                    <a:pt x="21068" y="20170"/>
                    <a:pt x="20956" y="20170"/>
                    <a:pt x="20845" y="20170"/>
                  </a:cubicBezTo>
                  <a:cubicBezTo>
                    <a:pt x="20622" y="19837"/>
                    <a:pt x="20177" y="19671"/>
                    <a:pt x="20066" y="19505"/>
                  </a:cubicBezTo>
                  <a:cubicBezTo>
                    <a:pt x="19620" y="18674"/>
                    <a:pt x="19398" y="17677"/>
                    <a:pt x="18952" y="17013"/>
                  </a:cubicBezTo>
                  <a:cubicBezTo>
                    <a:pt x="18730" y="16847"/>
                    <a:pt x="18507" y="16514"/>
                    <a:pt x="18395" y="16348"/>
                  </a:cubicBezTo>
                  <a:cubicBezTo>
                    <a:pt x="18173" y="16182"/>
                    <a:pt x="18173" y="15684"/>
                    <a:pt x="17950" y="15684"/>
                  </a:cubicBezTo>
                  <a:cubicBezTo>
                    <a:pt x="17839" y="15684"/>
                    <a:pt x="17505" y="16016"/>
                    <a:pt x="17505" y="16016"/>
                  </a:cubicBezTo>
                  <a:cubicBezTo>
                    <a:pt x="17616" y="16348"/>
                    <a:pt x="17282" y="16514"/>
                    <a:pt x="17171" y="16514"/>
                  </a:cubicBezTo>
                  <a:cubicBezTo>
                    <a:pt x="16837" y="16681"/>
                    <a:pt x="16503" y="16016"/>
                    <a:pt x="16280" y="15684"/>
                  </a:cubicBezTo>
                  <a:cubicBezTo>
                    <a:pt x="16169" y="15517"/>
                    <a:pt x="16057" y="15517"/>
                    <a:pt x="15946" y="15185"/>
                  </a:cubicBezTo>
                  <a:cubicBezTo>
                    <a:pt x="15835" y="14853"/>
                    <a:pt x="15612" y="15019"/>
                    <a:pt x="15501" y="15185"/>
                  </a:cubicBezTo>
                  <a:cubicBezTo>
                    <a:pt x="15278" y="15185"/>
                    <a:pt x="15278" y="15019"/>
                    <a:pt x="15055" y="15185"/>
                  </a:cubicBezTo>
                  <a:cubicBezTo>
                    <a:pt x="15055" y="15185"/>
                    <a:pt x="14944" y="15185"/>
                    <a:pt x="14944" y="15019"/>
                  </a:cubicBezTo>
                  <a:cubicBezTo>
                    <a:pt x="14944" y="14853"/>
                    <a:pt x="14944" y="14853"/>
                    <a:pt x="14944" y="14687"/>
                  </a:cubicBezTo>
                  <a:cubicBezTo>
                    <a:pt x="14944" y="14022"/>
                    <a:pt x="14944" y="13191"/>
                    <a:pt x="14944" y="12527"/>
                  </a:cubicBezTo>
                  <a:cubicBezTo>
                    <a:pt x="14944" y="10533"/>
                    <a:pt x="14944" y="8373"/>
                    <a:pt x="14944" y="6213"/>
                  </a:cubicBezTo>
                  <a:cubicBezTo>
                    <a:pt x="14944" y="5382"/>
                    <a:pt x="14944" y="4385"/>
                    <a:pt x="14944" y="3388"/>
                  </a:cubicBezTo>
                  <a:cubicBezTo>
                    <a:pt x="14944" y="3222"/>
                    <a:pt x="14944" y="2890"/>
                    <a:pt x="14944" y="2557"/>
                  </a:cubicBezTo>
                  <a:cubicBezTo>
                    <a:pt x="14944" y="2391"/>
                    <a:pt x="14833" y="2391"/>
                    <a:pt x="14610" y="2225"/>
                  </a:cubicBezTo>
                  <a:cubicBezTo>
                    <a:pt x="14053" y="1893"/>
                    <a:pt x="13719" y="1893"/>
                    <a:pt x="13163" y="1893"/>
                  </a:cubicBezTo>
                  <a:cubicBezTo>
                    <a:pt x="12606" y="1893"/>
                    <a:pt x="12160" y="1727"/>
                    <a:pt x="11604" y="1561"/>
                  </a:cubicBezTo>
                  <a:cubicBezTo>
                    <a:pt x="10936" y="1561"/>
                    <a:pt x="10379" y="1228"/>
                    <a:pt x="9822" y="1228"/>
                  </a:cubicBezTo>
                  <a:cubicBezTo>
                    <a:pt x="9488" y="1228"/>
                    <a:pt x="9266" y="1394"/>
                    <a:pt x="8932" y="1228"/>
                  </a:cubicBezTo>
                  <a:cubicBezTo>
                    <a:pt x="8932" y="1228"/>
                    <a:pt x="8486" y="1062"/>
                    <a:pt x="8486" y="1062"/>
                  </a:cubicBezTo>
                  <a:cubicBezTo>
                    <a:pt x="8486" y="1062"/>
                    <a:pt x="8598" y="730"/>
                    <a:pt x="8598" y="564"/>
                  </a:cubicBezTo>
                  <a:cubicBezTo>
                    <a:pt x="8598" y="564"/>
                    <a:pt x="8264" y="564"/>
                    <a:pt x="8264" y="564"/>
                  </a:cubicBezTo>
                  <a:cubicBezTo>
                    <a:pt x="8041" y="564"/>
                    <a:pt x="7707" y="730"/>
                    <a:pt x="7484" y="730"/>
                  </a:cubicBezTo>
                  <a:cubicBezTo>
                    <a:pt x="7261" y="730"/>
                    <a:pt x="7373" y="65"/>
                    <a:pt x="7039" y="397"/>
                  </a:cubicBezTo>
                  <a:cubicBezTo>
                    <a:pt x="6927" y="397"/>
                    <a:pt x="6816" y="730"/>
                    <a:pt x="6705" y="564"/>
                  </a:cubicBezTo>
                  <a:cubicBezTo>
                    <a:pt x="6482" y="564"/>
                    <a:pt x="6482" y="397"/>
                    <a:pt x="6705" y="231"/>
                  </a:cubicBezTo>
                  <a:cubicBezTo>
                    <a:pt x="6927" y="231"/>
                    <a:pt x="6593" y="65"/>
                    <a:pt x="6482" y="65"/>
                  </a:cubicBezTo>
                  <a:cubicBezTo>
                    <a:pt x="6037" y="-101"/>
                    <a:pt x="6037" y="65"/>
                    <a:pt x="5814" y="397"/>
                  </a:cubicBezTo>
                  <a:cubicBezTo>
                    <a:pt x="5480" y="896"/>
                    <a:pt x="5035" y="564"/>
                    <a:pt x="4589" y="730"/>
                  </a:cubicBezTo>
                  <a:cubicBezTo>
                    <a:pt x="4144" y="896"/>
                    <a:pt x="4589" y="1228"/>
                    <a:pt x="4589" y="1228"/>
                  </a:cubicBezTo>
                  <a:cubicBezTo>
                    <a:pt x="4478" y="1228"/>
                    <a:pt x="4367" y="1228"/>
                    <a:pt x="4367" y="1228"/>
                  </a:cubicBezTo>
                  <a:cubicBezTo>
                    <a:pt x="4367" y="1228"/>
                    <a:pt x="4478" y="1561"/>
                    <a:pt x="4367" y="1561"/>
                  </a:cubicBezTo>
                  <a:cubicBezTo>
                    <a:pt x="4255" y="1561"/>
                    <a:pt x="4255" y="1228"/>
                    <a:pt x="4255" y="1062"/>
                  </a:cubicBezTo>
                  <a:cubicBezTo>
                    <a:pt x="4144" y="1062"/>
                    <a:pt x="3810" y="1561"/>
                    <a:pt x="3810" y="1561"/>
                  </a:cubicBezTo>
                  <a:cubicBezTo>
                    <a:pt x="3587" y="1727"/>
                    <a:pt x="3365" y="1394"/>
                    <a:pt x="3142" y="1727"/>
                  </a:cubicBezTo>
                  <a:cubicBezTo>
                    <a:pt x="2919" y="1893"/>
                    <a:pt x="2697" y="2059"/>
                    <a:pt x="2585" y="2391"/>
                  </a:cubicBezTo>
                  <a:cubicBezTo>
                    <a:pt x="2585" y="2724"/>
                    <a:pt x="2585" y="3056"/>
                    <a:pt x="2363" y="3222"/>
                  </a:cubicBezTo>
                  <a:cubicBezTo>
                    <a:pt x="2140" y="3388"/>
                    <a:pt x="2028" y="3554"/>
                    <a:pt x="1806" y="3554"/>
                  </a:cubicBezTo>
                  <a:cubicBezTo>
                    <a:pt x="1694" y="3554"/>
                    <a:pt x="1026" y="3554"/>
                    <a:pt x="915" y="3721"/>
                  </a:cubicBezTo>
                  <a:cubicBezTo>
                    <a:pt x="915" y="3887"/>
                    <a:pt x="692" y="4385"/>
                    <a:pt x="692" y="4385"/>
                  </a:cubicBezTo>
                  <a:cubicBezTo>
                    <a:pt x="804" y="4551"/>
                    <a:pt x="1138" y="4551"/>
                    <a:pt x="1249" y="4717"/>
                  </a:cubicBezTo>
                  <a:cubicBezTo>
                    <a:pt x="1583" y="4884"/>
                    <a:pt x="1917" y="5216"/>
                    <a:pt x="2140" y="5548"/>
                  </a:cubicBezTo>
                  <a:cubicBezTo>
                    <a:pt x="2251" y="5714"/>
                    <a:pt x="2251" y="6047"/>
                    <a:pt x="2474" y="6213"/>
                  </a:cubicBezTo>
                  <a:cubicBezTo>
                    <a:pt x="2697" y="6213"/>
                    <a:pt x="2808" y="6213"/>
                    <a:pt x="3031" y="6047"/>
                  </a:cubicBezTo>
                  <a:cubicBezTo>
                    <a:pt x="3031" y="6047"/>
                    <a:pt x="3365" y="6213"/>
                    <a:pt x="3365" y="6213"/>
                  </a:cubicBezTo>
                  <a:cubicBezTo>
                    <a:pt x="3587" y="6711"/>
                    <a:pt x="3031" y="6379"/>
                    <a:pt x="3031" y="6379"/>
                  </a:cubicBezTo>
                  <a:cubicBezTo>
                    <a:pt x="2808" y="6379"/>
                    <a:pt x="3142" y="6711"/>
                    <a:pt x="3253" y="6877"/>
                  </a:cubicBezTo>
                  <a:cubicBezTo>
                    <a:pt x="3365" y="7210"/>
                    <a:pt x="3476" y="7044"/>
                    <a:pt x="3699" y="6877"/>
                  </a:cubicBezTo>
                  <a:cubicBezTo>
                    <a:pt x="3810" y="6711"/>
                    <a:pt x="4144" y="6711"/>
                    <a:pt x="4255" y="6877"/>
                  </a:cubicBezTo>
                  <a:cubicBezTo>
                    <a:pt x="4367" y="7044"/>
                    <a:pt x="3810" y="7210"/>
                    <a:pt x="3810" y="7210"/>
                  </a:cubicBezTo>
                  <a:cubicBezTo>
                    <a:pt x="3699" y="7210"/>
                    <a:pt x="3810" y="7210"/>
                    <a:pt x="3810" y="7376"/>
                  </a:cubicBezTo>
                  <a:cubicBezTo>
                    <a:pt x="3810" y="7542"/>
                    <a:pt x="3587" y="7376"/>
                    <a:pt x="3587" y="7376"/>
                  </a:cubicBezTo>
                  <a:cubicBezTo>
                    <a:pt x="3476" y="7376"/>
                    <a:pt x="3365" y="7542"/>
                    <a:pt x="3142" y="7542"/>
                  </a:cubicBezTo>
                  <a:cubicBezTo>
                    <a:pt x="2919" y="7542"/>
                    <a:pt x="2474" y="7708"/>
                    <a:pt x="2251" y="7542"/>
                  </a:cubicBezTo>
                  <a:cubicBezTo>
                    <a:pt x="2028" y="7376"/>
                    <a:pt x="2363" y="7044"/>
                    <a:pt x="2251" y="6877"/>
                  </a:cubicBezTo>
                  <a:cubicBezTo>
                    <a:pt x="2140" y="6877"/>
                    <a:pt x="1917" y="6877"/>
                    <a:pt x="1806" y="7044"/>
                  </a:cubicBezTo>
                  <a:cubicBezTo>
                    <a:pt x="1694" y="7044"/>
                    <a:pt x="1472" y="7044"/>
                    <a:pt x="1360" y="7044"/>
                  </a:cubicBezTo>
                  <a:cubicBezTo>
                    <a:pt x="1138" y="7210"/>
                    <a:pt x="1249" y="7542"/>
                    <a:pt x="1249" y="7542"/>
                  </a:cubicBezTo>
                  <a:cubicBezTo>
                    <a:pt x="1026" y="7542"/>
                    <a:pt x="804" y="7376"/>
                    <a:pt x="581" y="7542"/>
                  </a:cubicBezTo>
                  <a:cubicBezTo>
                    <a:pt x="470" y="7708"/>
                    <a:pt x="247" y="7874"/>
                    <a:pt x="136" y="8041"/>
                  </a:cubicBezTo>
                  <a:cubicBezTo>
                    <a:pt x="-421" y="8539"/>
                    <a:pt x="915" y="8539"/>
                    <a:pt x="915" y="8705"/>
                  </a:cubicBezTo>
                  <a:cubicBezTo>
                    <a:pt x="804" y="8871"/>
                    <a:pt x="470" y="8871"/>
                    <a:pt x="692" y="9037"/>
                  </a:cubicBezTo>
                  <a:cubicBezTo>
                    <a:pt x="804" y="9204"/>
                    <a:pt x="804" y="9536"/>
                    <a:pt x="915" y="9536"/>
                  </a:cubicBezTo>
                  <a:cubicBezTo>
                    <a:pt x="1360" y="9702"/>
                    <a:pt x="1694" y="9536"/>
                    <a:pt x="2140" y="9536"/>
                  </a:cubicBezTo>
                  <a:cubicBezTo>
                    <a:pt x="2251" y="9702"/>
                    <a:pt x="2363" y="9702"/>
                    <a:pt x="2474" y="9702"/>
                  </a:cubicBezTo>
                  <a:cubicBezTo>
                    <a:pt x="2697" y="9702"/>
                    <a:pt x="2585" y="9702"/>
                    <a:pt x="2808" y="9868"/>
                  </a:cubicBezTo>
                  <a:cubicBezTo>
                    <a:pt x="2808" y="9868"/>
                    <a:pt x="3031" y="9536"/>
                    <a:pt x="3142" y="9536"/>
                  </a:cubicBezTo>
                  <a:cubicBezTo>
                    <a:pt x="3253" y="9370"/>
                    <a:pt x="3365" y="9370"/>
                    <a:pt x="3476" y="9370"/>
                  </a:cubicBezTo>
                  <a:cubicBezTo>
                    <a:pt x="3587" y="9204"/>
                    <a:pt x="3699" y="9037"/>
                    <a:pt x="3699" y="9037"/>
                  </a:cubicBezTo>
                  <a:cubicBezTo>
                    <a:pt x="3810" y="9204"/>
                    <a:pt x="3921" y="9370"/>
                    <a:pt x="3810" y="9536"/>
                  </a:cubicBezTo>
                  <a:cubicBezTo>
                    <a:pt x="3699" y="9702"/>
                    <a:pt x="3587" y="9702"/>
                    <a:pt x="3810" y="10034"/>
                  </a:cubicBezTo>
                  <a:cubicBezTo>
                    <a:pt x="4033" y="10699"/>
                    <a:pt x="3810" y="11197"/>
                    <a:pt x="3253" y="11031"/>
                  </a:cubicBezTo>
                  <a:cubicBezTo>
                    <a:pt x="3253" y="11031"/>
                    <a:pt x="3142" y="10865"/>
                    <a:pt x="3031" y="11031"/>
                  </a:cubicBezTo>
                  <a:cubicBezTo>
                    <a:pt x="2919" y="11197"/>
                    <a:pt x="2808" y="11530"/>
                    <a:pt x="2697" y="11530"/>
                  </a:cubicBezTo>
                  <a:cubicBezTo>
                    <a:pt x="2474" y="11696"/>
                    <a:pt x="1806" y="11197"/>
                    <a:pt x="1917" y="11696"/>
                  </a:cubicBezTo>
                  <a:cubicBezTo>
                    <a:pt x="1917" y="11696"/>
                    <a:pt x="1583" y="12028"/>
                    <a:pt x="1694" y="12028"/>
                  </a:cubicBezTo>
                  <a:cubicBezTo>
                    <a:pt x="1694" y="12028"/>
                    <a:pt x="1806" y="12028"/>
                    <a:pt x="1806" y="12028"/>
                  </a:cubicBezTo>
                  <a:cubicBezTo>
                    <a:pt x="1917" y="12194"/>
                    <a:pt x="1583" y="12361"/>
                    <a:pt x="1472" y="12527"/>
                  </a:cubicBezTo>
                  <a:cubicBezTo>
                    <a:pt x="1360" y="12527"/>
                    <a:pt x="1249" y="12693"/>
                    <a:pt x="1249" y="12859"/>
                  </a:cubicBezTo>
                  <a:cubicBezTo>
                    <a:pt x="1138" y="13191"/>
                    <a:pt x="1360" y="13191"/>
                    <a:pt x="1138" y="13357"/>
                  </a:cubicBezTo>
                  <a:cubicBezTo>
                    <a:pt x="915" y="13524"/>
                    <a:pt x="1138" y="13856"/>
                    <a:pt x="1249" y="14022"/>
                  </a:cubicBezTo>
                  <a:cubicBezTo>
                    <a:pt x="1249" y="14188"/>
                    <a:pt x="1583" y="13357"/>
                    <a:pt x="1694" y="13357"/>
                  </a:cubicBezTo>
                  <a:cubicBezTo>
                    <a:pt x="1694" y="13357"/>
                    <a:pt x="1472" y="13856"/>
                    <a:pt x="1472" y="13856"/>
                  </a:cubicBezTo>
                  <a:cubicBezTo>
                    <a:pt x="1360" y="14022"/>
                    <a:pt x="1694" y="14354"/>
                    <a:pt x="1806" y="14354"/>
                  </a:cubicBezTo>
                  <a:cubicBezTo>
                    <a:pt x="1917" y="14521"/>
                    <a:pt x="1917" y="14687"/>
                    <a:pt x="2028" y="14521"/>
                  </a:cubicBezTo>
                  <a:cubicBezTo>
                    <a:pt x="2140" y="14354"/>
                    <a:pt x="2251" y="14188"/>
                    <a:pt x="2251" y="14188"/>
                  </a:cubicBezTo>
                  <a:cubicBezTo>
                    <a:pt x="2251" y="14354"/>
                    <a:pt x="2363" y="14687"/>
                    <a:pt x="2474" y="14687"/>
                  </a:cubicBezTo>
                  <a:cubicBezTo>
                    <a:pt x="2251" y="14853"/>
                    <a:pt x="2140" y="14687"/>
                    <a:pt x="2028" y="14687"/>
                  </a:cubicBezTo>
                  <a:cubicBezTo>
                    <a:pt x="1917" y="14853"/>
                    <a:pt x="1806" y="14354"/>
                    <a:pt x="1694" y="14354"/>
                  </a:cubicBezTo>
                  <a:cubicBezTo>
                    <a:pt x="1583" y="14354"/>
                    <a:pt x="1360" y="14853"/>
                    <a:pt x="1583" y="15019"/>
                  </a:cubicBezTo>
                  <a:cubicBezTo>
                    <a:pt x="1806" y="15185"/>
                    <a:pt x="1806" y="15351"/>
                    <a:pt x="2028" y="15517"/>
                  </a:cubicBezTo>
                  <a:cubicBezTo>
                    <a:pt x="2140" y="15850"/>
                    <a:pt x="2363" y="15684"/>
                    <a:pt x="2585" y="15684"/>
                  </a:cubicBezTo>
                  <a:cubicBezTo>
                    <a:pt x="2697" y="15517"/>
                    <a:pt x="2919" y="15684"/>
                    <a:pt x="2919" y="15351"/>
                  </a:cubicBezTo>
                  <a:cubicBezTo>
                    <a:pt x="2919" y="15019"/>
                    <a:pt x="3031" y="14521"/>
                    <a:pt x="3253" y="14687"/>
                  </a:cubicBezTo>
                  <a:cubicBezTo>
                    <a:pt x="3253" y="14521"/>
                    <a:pt x="3031" y="15185"/>
                    <a:pt x="3031" y="15351"/>
                  </a:cubicBezTo>
                  <a:cubicBezTo>
                    <a:pt x="3031" y="15517"/>
                    <a:pt x="3476" y="16016"/>
                    <a:pt x="3365" y="16182"/>
                  </a:cubicBezTo>
                  <a:cubicBezTo>
                    <a:pt x="3142" y="16514"/>
                    <a:pt x="3476" y="16681"/>
                    <a:pt x="3476" y="16681"/>
                  </a:cubicBezTo>
                  <a:cubicBezTo>
                    <a:pt x="3365" y="16681"/>
                    <a:pt x="3142" y="17179"/>
                    <a:pt x="3142" y="17179"/>
                  </a:cubicBezTo>
                  <a:cubicBezTo>
                    <a:pt x="3253" y="17345"/>
                    <a:pt x="3810" y="16847"/>
                    <a:pt x="3810" y="16847"/>
                  </a:cubicBezTo>
                  <a:cubicBezTo>
                    <a:pt x="3810" y="17013"/>
                    <a:pt x="3699" y="17013"/>
                    <a:pt x="3699" y="17179"/>
                  </a:cubicBezTo>
                  <a:cubicBezTo>
                    <a:pt x="3699" y="17179"/>
                    <a:pt x="3921" y="16847"/>
                    <a:pt x="4033" y="16681"/>
                  </a:cubicBezTo>
                  <a:cubicBezTo>
                    <a:pt x="4144" y="16681"/>
                    <a:pt x="4589" y="16847"/>
                    <a:pt x="4589" y="17013"/>
                  </a:cubicBezTo>
                  <a:cubicBezTo>
                    <a:pt x="4701" y="17179"/>
                    <a:pt x="4923" y="17677"/>
                    <a:pt x="4923" y="17345"/>
                  </a:cubicBezTo>
                  <a:cubicBezTo>
                    <a:pt x="4923" y="17179"/>
                    <a:pt x="5146" y="16514"/>
                    <a:pt x="5146" y="16514"/>
                  </a:cubicBezTo>
                  <a:cubicBezTo>
                    <a:pt x="5146" y="16348"/>
                    <a:pt x="5480" y="16847"/>
                    <a:pt x="5480" y="16681"/>
                  </a:cubicBezTo>
                  <a:cubicBezTo>
                    <a:pt x="5480" y="16681"/>
                    <a:pt x="5146" y="16681"/>
                    <a:pt x="5146" y="16847"/>
                  </a:cubicBezTo>
                  <a:cubicBezTo>
                    <a:pt x="5146" y="17179"/>
                    <a:pt x="5480" y="17179"/>
                    <a:pt x="5591" y="17013"/>
                  </a:cubicBezTo>
                  <a:cubicBezTo>
                    <a:pt x="5703" y="16847"/>
                    <a:pt x="5814" y="17013"/>
                    <a:pt x="5925" y="16847"/>
                  </a:cubicBezTo>
                  <a:cubicBezTo>
                    <a:pt x="5925" y="16847"/>
                    <a:pt x="6148" y="16514"/>
                    <a:pt x="6148" y="16514"/>
                  </a:cubicBezTo>
                  <a:cubicBezTo>
                    <a:pt x="6148" y="16514"/>
                    <a:pt x="5925" y="17013"/>
                    <a:pt x="5814" y="17179"/>
                  </a:cubicBezTo>
                  <a:cubicBezTo>
                    <a:pt x="5814" y="17345"/>
                    <a:pt x="5814" y="17345"/>
                    <a:pt x="5703" y="17511"/>
                  </a:cubicBezTo>
                  <a:cubicBezTo>
                    <a:pt x="5703" y="17677"/>
                    <a:pt x="5814" y="17511"/>
                    <a:pt x="5814" y="17677"/>
                  </a:cubicBezTo>
                  <a:cubicBezTo>
                    <a:pt x="5814" y="17677"/>
                    <a:pt x="5703" y="17844"/>
                    <a:pt x="5591" y="18010"/>
                  </a:cubicBezTo>
                  <a:cubicBezTo>
                    <a:pt x="5591" y="18342"/>
                    <a:pt x="5591" y="18342"/>
                    <a:pt x="5703" y="18508"/>
                  </a:cubicBezTo>
                  <a:cubicBezTo>
                    <a:pt x="5703" y="18508"/>
                    <a:pt x="5369" y="18841"/>
                    <a:pt x="5257" y="18841"/>
                  </a:cubicBezTo>
                  <a:cubicBezTo>
                    <a:pt x="5146" y="19173"/>
                    <a:pt x="5035" y="19339"/>
                    <a:pt x="4812" y="19505"/>
                  </a:cubicBezTo>
                  <a:cubicBezTo>
                    <a:pt x="4589" y="19505"/>
                    <a:pt x="4367" y="19837"/>
                    <a:pt x="4255" y="20004"/>
                  </a:cubicBezTo>
                  <a:cubicBezTo>
                    <a:pt x="4144" y="20004"/>
                    <a:pt x="4144" y="20170"/>
                    <a:pt x="4033" y="20170"/>
                  </a:cubicBezTo>
                  <a:cubicBezTo>
                    <a:pt x="4033" y="20336"/>
                    <a:pt x="4144" y="20502"/>
                    <a:pt x="4144" y="20502"/>
                  </a:cubicBezTo>
                  <a:cubicBezTo>
                    <a:pt x="4033" y="20668"/>
                    <a:pt x="3699" y="20502"/>
                    <a:pt x="3587" y="20502"/>
                  </a:cubicBezTo>
                  <a:cubicBezTo>
                    <a:pt x="3253" y="20502"/>
                    <a:pt x="3142" y="20668"/>
                    <a:pt x="2919" y="21001"/>
                  </a:cubicBezTo>
                  <a:cubicBezTo>
                    <a:pt x="2808" y="21167"/>
                    <a:pt x="2919" y="21499"/>
                    <a:pt x="3031" y="21333"/>
                  </a:cubicBezTo>
                  <a:cubicBezTo>
                    <a:pt x="3253" y="21167"/>
                    <a:pt x="3476" y="20668"/>
                    <a:pt x="3587" y="20834"/>
                  </a:cubicBezTo>
                  <a:cubicBezTo>
                    <a:pt x="3587" y="20668"/>
                    <a:pt x="3476" y="21333"/>
                    <a:pt x="3810" y="20834"/>
                  </a:cubicBezTo>
                  <a:cubicBezTo>
                    <a:pt x="3810" y="20834"/>
                    <a:pt x="4033" y="21333"/>
                    <a:pt x="4144" y="21001"/>
                  </a:cubicBezTo>
                  <a:cubicBezTo>
                    <a:pt x="4144" y="20834"/>
                    <a:pt x="4033" y="20834"/>
                    <a:pt x="4144" y="20834"/>
                  </a:cubicBezTo>
                  <a:cubicBezTo>
                    <a:pt x="4255" y="20668"/>
                    <a:pt x="4255" y="20668"/>
                    <a:pt x="4367" y="20668"/>
                  </a:cubicBezTo>
                  <a:cubicBezTo>
                    <a:pt x="4478" y="20668"/>
                    <a:pt x="4478" y="20668"/>
                    <a:pt x="4589" y="20502"/>
                  </a:cubicBezTo>
                  <a:cubicBezTo>
                    <a:pt x="4701" y="20336"/>
                    <a:pt x="4923" y="20336"/>
                    <a:pt x="5146" y="20170"/>
                  </a:cubicBezTo>
                  <a:cubicBezTo>
                    <a:pt x="5480" y="20004"/>
                    <a:pt x="5035" y="20004"/>
                    <a:pt x="5257" y="19837"/>
                  </a:cubicBezTo>
                  <a:cubicBezTo>
                    <a:pt x="5369" y="19671"/>
                    <a:pt x="5480" y="19505"/>
                    <a:pt x="5591" y="19505"/>
                  </a:cubicBezTo>
                  <a:cubicBezTo>
                    <a:pt x="5814" y="19339"/>
                    <a:pt x="6037" y="19173"/>
                    <a:pt x="6148" y="19173"/>
                  </a:cubicBezTo>
                  <a:cubicBezTo>
                    <a:pt x="6482" y="18841"/>
                    <a:pt x="6259" y="19007"/>
                    <a:pt x="6259" y="18674"/>
                  </a:cubicBezTo>
                  <a:cubicBezTo>
                    <a:pt x="6259" y="18674"/>
                    <a:pt x="7150" y="18010"/>
                    <a:pt x="7261" y="17844"/>
                  </a:cubicBezTo>
                  <a:cubicBezTo>
                    <a:pt x="7373" y="17844"/>
                    <a:pt x="7595" y="17844"/>
                    <a:pt x="7595" y="17677"/>
                  </a:cubicBezTo>
                  <a:cubicBezTo>
                    <a:pt x="7595" y="17179"/>
                    <a:pt x="7707" y="17345"/>
                    <a:pt x="7930" y="17179"/>
                  </a:cubicBezTo>
                  <a:cubicBezTo>
                    <a:pt x="8264" y="16847"/>
                    <a:pt x="7261" y="16681"/>
                    <a:pt x="7707" y="16016"/>
                  </a:cubicBezTo>
                  <a:cubicBezTo>
                    <a:pt x="7930" y="15850"/>
                    <a:pt x="8152" y="15850"/>
                    <a:pt x="8264" y="15684"/>
                  </a:cubicBezTo>
                  <a:cubicBezTo>
                    <a:pt x="8375" y="15517"/>
                    <a:pt x="8375" y="15019"/>
                    <a:pt x="8152" y="15019"/>
                  </a:cubicBezTo>
                  <a:cubicBezTo>
                    <a:pt x="8375" y="15019"/>
                    <a:pt x="8375" y="15185"/>
                    <a:pt x="8598" y="15019"/>
                  </a:cubicBezTo>
                  <a:cubicBezTo>
                    <a:pt x="8709" y="14853"/>
                    <a:pt x="8820" y="14521"/>
                    <a:pt x="9043" y="14354"/>
                  </a:cubicBezTo>
                  <a:cubicBezTo>
                    <a:pt x="9154" y="14188"/>
                    <a:pt x="9377" y="13856"/>
                    <a:pt x="9488" y="13856"/>
                  </a:cubicBezTo>
                  <a:cubicBezTo>
                    <a:pt x="9600" y="13856"/>
                    <a:pt x="10156" y="13856"/>
                    <a:pt x="10045" y="14188"/>
                  </a:cubicBezTo>
                  <a:cubicBezTo>
                    <a:pt x="9934" y="14354"/>
                    <a:pt x="9711" y="14022"/>
                    <a:pt x="9488" y="14188"/>
                  </a:cubicBezTo>
                  <a:cubicBezTo>
                    <a:pt x="9266" y="14354"/>
                    <a:pt x="9266" y="14521"/>
                    <a:pt x="9154" y="14853"/>
                  </a:cubicBezTo>
                  <a:cubicBezTo>
                    <a:pt x="9154" y="15185"/>
                    <a:pt x="8932" y="15517"/>
                    <a:pt x="8932" y="15850"/>
                  </a:cubicBezTo>
                  <a:cubicBezTo>
                    <a:pt x="8820" y="16016"/>
                    <a:pt x="9266" y="15850"/>
                    <a:pt x="9266" y="16016"/>
                  </a:cubicBezTo>
                  <a:cubicBezTo>
                    <a:pt x="9154" y="16016"/>
                    <a:pt x="8598" y="16348"/>
                    <a:pt x="9043" y="16348"/>
                  </a:cubicBezTo>
                  <a:cubicBezTo>
                    <a:pt x="9377" y="16348"/>
                    <a:pt x="9600" y="16016"/>
                    <a:pt x="9934" y="15850"/>
                  </a:cubicBezTo>
                  <a:cubicBezTo>
                    <a:pt x="10156" y="15517"/>
                    <a:pt x="10379" y="15517"/>
                    <a:pt x="10602" y="15351"/>
                  </a:cubicBezTo>
                  <a:cubicBezTo>
                    <a:pt x="11047" y="15185"/>
                    <a:pt x="10824" y="14853"/>
                    <a:pt x="10824" y="14521"/>
                  </a:cubicBezTo>
                  <a:cubicBezTo>
                    <a:pt x="10713" y="13856"/>
                    <a:pt x="11715" y="14354"/>
                    <a:pt x="11938" y="14521"/>
                  </a:cubicBezTo>
                  <a:cubicBezTo>
                    <a:pt x="12160" y="14521"/>
                    <a:pt x="12272" y="14853"/>
                    <a:pt x="12494" y="15019"/>
                  </a:cubicBezTo>
                  <a:cubicBezTo>
                    <a:pt x="12494" y="15019"/>
                    <a:pt x="12717" y="14521"/>
                    <a:pt x="12828" y="14687"/>
                  </a:cubicBezTo>
                  <a:cubicBezTo>
                    <a:pt x="12828" y="14687"/>
                    <a:pt x="12828" y="15019"/>
                    <a:pt x="12828" y="15185"/>
                  </a:cubicBezTo>
                  <a:cubicBezTo>
                    <a:pt x="13051" y="15351"/>
                    <a:pt x="13163" y="15351"/>
                    <a:pt x="13274" y="15351"/>
                  </a:cubicBezTo>
                  <a:cubicBezTo>
                    <a:pt x="13608" y="15351"/>
                    <a:pt x="13942" y="15185"/>
                    <a:pt x="14165" y="15351"/>
                  </a:cubicBezTo>
                  <a:cubicBezTo>
                    <a:pt x="14276" y="15351"/>
                    <a:pt x="14387" y="15517"/>
                    <a:pt x="14499" y="15351"/>
                  </a:cubicBezTo>
                  <a:cubicBezTo>
                    <a:pt x="14610" y="15351"/>
                    <a:pt x="14610" y="15517"/>
                    <a:pt x="14721" y="15684"/>
                  </a:cubicBezTo>
                  <a:cubicBezTo>
                    <a:pt x="14833" y="15684"/>
                    <a:pt x="15055" y="15850"/>
                    <a:pt x="15167" y="15850"/>
                  </a:cubicBezTo>
                  <a:cubicBezTo>
                    <a:pt x="15389" y="15850"/>
                    <a:pt x="15501" y="15517"/>
                    <a:pt x="15612" y="15517"/>
                  </a:cubicBezTo>
                  <a:cubicBezTo>
                    <a:pt x="15835" y="15351"/>
                    <a:pt x="15723" y="15850"/>
                    <a:pt x="15723" y="15850"/>
                  </a:cubicBezTo>
                  <a:cubicBezTo>
                    <a:pt x="15612" y="16016"/>
                    <a:pt x="15612" y="16016"/>
                    <a:pt x="15723" y="16182"/>
                  </a:cubicBezTo>
                  <a:cubicBezTo>
                    <a:pt x="16057" y="16348"/>
                    <a:pt x="16280" y="16514"/>
                    <a:pt x="16503" y="16681"/>
                  </a:cubicBezTo>
                  <a:cubicBezTo>
                    <a:pt x="16725" y="17013"/>
                    <a:pt x="16948" y="17345"/>
                    <a:pt x="17171" y="17511"/>
                  </a:cubicBezTo>
                  <a:cubicBezTo>
                    <a:pt x="17282" y="17511"/>
                    <a:pt x="17393" y="17345"/>
                    <a:pt x="17505" y="17345"/>
                  </a:cubicBezTo>
                  <a:cubicBezTo>
                    <a:pt x="17616" y="17179"/>
                    <a:pt x="17393" y="17013"/>
                    <a:pt x="17393" y="16847"/>
                  </a:cubicBezTo>
                  <a:cubicBezTo>
                    <a:pt x="17393" y="16681"/>
                    <a:pt x="17727" y="17013"/>
                    <a:pt x="17727" y="17013"/>
                  </a:cubicBezTo>
                  <a:cubicBezTo>
                    <a:pt x="17727" y="17179"/>
                    <a:pt x="18061" y="17511"/>
                    <a:pt x="18173" y="17345"/>
                  </a:cubicBezTo>
                  <a:cubicBezTo>
                    <a:pt x="18173" y="17345"/>
                    <a:pt x="17950" y="16348"/>
                    <a:pt x="17950" y="16348"/>
                  </a:cubicBezTo>
                  <a:cubicBezTo>
                    <a:pt x="18061" y="16348"/>
                    <a:pt x="18284" y="17179"/>
                    <a:pt x="18395" y="17179"/>
                  </a:cubicBezTo>
                  <a:cubicBezTo>
                    <a:pt x="18395" y="17345"/>
                    <a:pt x="18507" y="17677"/>
                    <a:pt x="18618" y="17677"/>
                  </a:cubicBezTo>
                  <a:cubicBezTo>
                    <a:pt x="18730" y="17677"/>
                    <a:pt x="18841" y="17345"/>
                    <a:pt x="18841" y="17345"/>
                  </a:cubicBezTo>
                  <a:cubicBezTo>
                    <a:pt x="18618" y="17511"/>
                    <a:pt x="19286" y="18176"/>
                    <a:pt x="19286" y="18342"/>
                  </a:cubicBezTo>
                  <a:cubicBezTo>
                    <a:pt x="19175" y="18342"/>
                    <a:pt x="19175" y="18342"/>
                    <a:pt x="19175" y="18342"/>
                  </a:cubicBezTo>
                  <a:cubicBezTo>
                    <a:pt x="19064" y="18508"/>
                    <a:pt x="19286" y="18508"/>
                    <a:pt x="19286" y="18674"/>
                  </a:cubicBezTo>
                  <a:cubicBezTo>
                    <a:pt x="19286" y="18674"/>
                    <a:pt x="19064" y="18841"/>
                    <a:pt x="19175" y="18841"/>
                  </a:cubicBezTo>
                  <a:cubicBezTo>
                    <a:pt x="19286" y="19007"/>
                    <a:pt x="19398" y="19173"/>
                    <a:pt x="19509" y="19339"/>
                  </a:cubicBezTo>
                  <a:cubicBezTo>
                    <a:pt x="19732" y="19671"/>
                    <a:pt x="19843" y="19837"/>
                    <a:pt x="20066" y="20004"/>
                  </a:cubicBezTo>
                  <a:cubicBezTo>
                    <a:pt x="20066" y="20004"/>
                    <a:pt x="19843" y="20668"/>
                    <a:pt x="19954" y="20668"/>
                  </a:cubicBezTo>
                  <a:cubicBezTo>
                    <a:pt x="20066" y="20834"/>
                    <a:pt x="20066" y="20502"/>
                    <a:pt x="20066" y="20502"/>
                  </a:cubicBezTo>
                  <a:cubicBezTo>
                    <a:pt x="20177" y="20336"/>
                    <a:pt x="20177" y="20834"/>
                    <a:pt x="20288" y="21001"/>
                  </a:cubicBezTo>
                  <a:cubicBezTo>
                    <a:pt x="20288" y="21001"/>
                    <a:pt x="20288" y="20834"/>
                    <a:pt x="20288" y="20668"/>
                  </a:cubicBezTo>
                  <a:cubicBezTo>
                    <a:pt x="20288" y="21001"/>
                    <a:pt x="20956" y="21499"/>
                    <a:pt x="21068" y="21001"/>
                  </a:cubicBezTo>
                  <a:cubicBezTo>
                    <a:pt x="21068" y="21001"/>
                    <a:pt x="21068" y="21167"/>
                    <a:pt x="21068" y="21167"/>
                  </a:cubicBezTo>
                  <a:cubicBezTo>
                    <a:pt x="21068" y="21167"/>
                    <a:pt x="21179" y="21001"/>
                    <a:pt x="21179" y="20834"/>
                  </a:cubicBezTo>
                  <a:cubicBezTo>
                    <a:pt x="21068" y="20834"/>
                    <a:pt x="21179" y="21001"/>
                    <a:pt x="21179" y="20834"/>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3" name="Shape 2062">
              <a:extLst>
                <a:ext uri="{FF2B5EF4-FFF2-40B4-BE49-F238E27FC236}">
                  <a16:creationId xmlns:a16="http://schemas.microsoft.com/office/drawing/2014/main" id="{D5D1DD28-EE2B-FFD2-782F-0FB220187D17}"/>
                </a:ext>
              </a:extLst>
            </p:cNvPr>
            <p:cNvSpPr/>
            <p:nvPr/>
          </p:nvSpPr>
          <p:spPr>
            <a:xfrm>
              <a:off x="1422653" y="1978991"/>
              <a:ext cx="1894021" cy="938904"/>
            </a:xfrm>
            <a:custGeom>
              <a:avLst/>
              <a:gdLst/>
              <a:ahLst/>
              <a:cxnLst>
                <a:cxn ang="0">
                  <a:pos x="wd2" y="hd2"/>
                </a:cxn>
                <a:cxn ang="5400000">
                  <a:pos x="wd2" y="hd2"/>
                </a:cxn>
                <a:cxn ang="10800000">
                  <a:pos x="wd2" y="hd2"/>
                </a:cxn>
                <a:cxn ang="16200000">
                  <a:pos x="wd2" y="hd2"/>
                </a:cxn>
              </a:cxnLst>
              <a:rect l="0" t="0" r="r" b="b"/>
              <a:pathLst>
                <a:path w="21492" h="21480" extrusionOk="0">
                  <a:moveTo>
                    <a:pt x="5028" y="16193"/>
                  </a:moveTo>
                  <a:cubicBezTo>
                    <a:pt x="5253" y="16193"/>
                    <a:pt x="5477" y="16193"/>
                    <a:pt x="5776" y="16193"/>
                  </a:cubicBezTo>
                  <a:cubicBezTo>
                    <a:pt x="5850" y="16193"/>
                    <a:pt x="6000" y="16193"/>
                    <a:pt x="6075" y="16193"/>
                  </a:cubicBezTo>
                  <a:cubicBezTo>
                    <a:pt x="6149" y="16193"/>
                    <a:pt x="6149" y="15891"/>
                    <a:pt x="6224" y="15891"/>
                  </a:cubicBezTo>
                  <a:cubicBezTo>
                    <a:pt x="6299" y="15740"/>
                    <a:pt x="6747" y="15740"/>
                    <a:pt x="6747" y="15891"/>
                  </a:cubicBezTo>
                  <a:cubicBezTo>
                    <a:pt x="6972" y="16193"/>
                    <a:pt x="7196" y="16495"/>
                    <a:pt x="7420" y="16797"/>
                  </a:cubicBezTo>
                  <a:cubicBezTo>
                    <a:pt x="7420" y="16797"/>
                    <a:pt x="7495" y="17251"/>
                    <a:pt x="7495" y="17402"/>
                  </a:cubicBezTo>
                  <a:cubicBezTo>
                    <a:pt x="7570" y="17704"/>
                    <a:pt x="7570" y="17704"/>
                    <a:pt x="7794" y="17855"/>
                  </a:cubicBezTo>
                  <a:cubicBezTo>
                    <a:pt x="7943" y="18006"/>
                    <a:pt x="8018" y="18157"/>
                    <a:pt x="8093" y="17855"/>
                  </a:cubicBezTo>
                  <a:cubicBezTo>
                    <a:pt x="8167" y="17402"/>
                    <a:pt x="8242" y="17402"/>
                    <a:pt x="8466" y="17553"/>
                  </a:cubicBezTo>
                  <a:cubicBezTo>
                    <a:pt x="8616" y="17553"/>
                    <a:pt x="8840" y="17704"/>
                    <a:pt x="8840" y="18006"/>
                  </a:cubicBezTo>
                  <a:cubicBezTo>
                    <a:pt x="8990" y="18459"/>
                    <a:pt x="9139" y="18610"/>
                    <a:pt x="9289" y="19063"/>
                  </a:cubicBezTo>
                  <a:cubicBezTo>
                    <a:pt x="9438" y="19365"/>
                    <a:pt x="9363" y="19970"/>
                    <a:pt x="9588" y="20121"/>
                  </a:cubicBezTo>
                  <a:cubicBezTo>
                    <a:pt x="9737" y="20423"/>
                    <a:pt x="10036" y="20423"/>
                    <a:pt x="10185" y="20574"/>
                  </a:cubicBezTo>
                  <a:cubicBezTo>
                    <a:pt x="10185" y="20423"/>
                    <a:pt x="10036" y="19365"/>
                    <a:pt x="10036" y="19365"/>
                  </a:cubicBezTo>
                  <a:cubicBezTo>
                    <a:pt x="10185" y="19516"/>
                    <a:pt x="10111" y="19063"/>
                    <a:pt x="10185" y="19063"/>
                  </a:cubicBezTo>
                  <a:cubicBezTo>
                    <a:pt x="10185" y="18912"/>
                    <a:pt x="10335" y="18912"/>
                    <a:pt x="10410" y="18761"/>
                  </a:cubicBezTo>
                  <a:cubicBezTo>
                    <a:pt x="10484" y="18761"/>
                    <a:pt x="10559" y="18308"/>
                    <a:pt x="10559" y="18308"/>
                  </a:cubicBezTo>
                  <a:cubicBezTo>
                    <a:pt x="10634" y="18459"/>
                    <a:pt x="10709" y="18459"/>
                    <a:pt x="10783" y="18308"/>
                  </a:cubicBezTo>
                  <a:cubicBezTo>
                    <a:pt x="10933" y="18157"/>
                    <a:pt x="11008" y="18157"/>
                    <a:pt x="11082" y="17855"/>
                  </a:cubicBezTo>
                  <a:cubicBezTo>
                    <a:pt x="11232" y="17704"/>
                    <a:pt x="11008" y="17704"/>
                    <a:pt x="11008" y="17553"/>
                  </a:cubicBezTo>
                  <a:cubicBezTo>
                    <a:pt x="11008" y="17553"/>
                    <a:pt x="11232" y="17704"/>
                    <a:pt x="11307" y="17553"/>
                  </a:cubicBezTo>
                  <a:cubicBezTo>
                    <a:pt x="11456" y="17402"/>
                    <a:pt x="11531" y="17402"/>
                    <a:pt x="11680" y="17402"/>
                  </a:cubicBezTo>
                  <a:cubicBezTo>
                    <a:pt x="11830" y="17402"/>
                    <a:pt x="11904" y="17855"/>
                    <a:pt x="12054" y="17704"/>
                  </a:cubicBezTo>
                  <a:cubicBezTo>
                    <a:pt x="12278" y="17402"/>
                    <a:pt x="12353" y="17704"/>
                    <a:pt x="12502" y="17855"/>
                  </a:cubicBezTo>
                  <a:cubicBezTo>
                    <a:pt x="12652" y="18006"/>
                    <a:pt x="12727" y="17704"/>
                    <a:pt x="12801" y="17704"/>
                  </a:cubicBezTo>
                  <a:cubicBezTo>
                    <a:pt x="12876" y="17553"/>
                    <a:pt x="13100" y="17855"/>
                    <a:pt x="13100" y="18006"/>
                  </a:cubicBezTo>
                  <a:cubicBezTo>
                    <a:pt x="13175" y="18157"/>
                    <a:pt x="13250" y="18006"/>
                    <a:pt x="13175" y="17855"/>
                  </a:cubicBezTo>
                  <a:cubicBezTo>
                    <a:pt x="13175" y="17855"/>
                    <a:pt x="13100" y="17704"/>
                    <a:pt x="13026" y="17704"/>
                  </a:cubicBezTo>
                  <a:cubicBezTo>
                    <a:pt x="12951" y="17553"/>
                    <a:pt x="13100" y="17553"/>
                    <a:pt x="13100" y="17553"/>
                  </a:cubicBezTo>
                  <a:cubicBezTo>
                    <a:pt x="13026" y="17251"/>
                    <a:pt x="13026" y="17100"/>
                    <a:pt x="12876" y="17251"/>
                  </a:cubicBezTo>
                  <a:cubicBezTo>
                    <a:pt x="12876" y="17251"/>
                    <a:pt x="12577" y="17251"/>
                    <a:pt x="12727" y="16949"/>
                  </a:cubicBezTo>
                  <a:cubicBezTo>
                    <a:pt x="12876" y="16949"/>
                    <a:pt x="12951" y="17100"/>
                    <a:pt x="13026" y="17100"/>
                  </a:cubicBezTo>
                  <a:cubicBezTo>
                    <a:pt x="13250" y="16949"/>
                    <a:pt x="13399" y="16949"/>
                    <a:pt x="13624" y="16949"/>
                  </a:cubicBezTo>
                  <a:cubicBezTo>
                    <a:pt x="13698" y="16949"/>
                    <a:pt x="13624" y="16949"/>
                    <a:pt x="13698" y="17100"/>
                  </a:cubicBezTo>
                  <a:cubicBezTo>
                    <a:pt x="13698" y="17100"/>
                    <a:pt x="13773" y="17100"/>
                    <a:pt x="13848" y="16949"/>
                  </a:cubicBezTo>
                  <a:cubicBezTo>
                    <a:pt x="13997" y="16949"/>
                    <a:pt x="14147" y="16949"/>
                    <a:pt x="14296" y="16949"/>
                  </a:cubicBezTo>
                  <a:cubicBezTo>
                    <a:pt x="14446" y="16949"/>
                    <a:pt x="14446" y="17251"/>
                    <a:pt x="14595" y="17402"/>
                  </a:cubicBezTo>
                  <a:cubicBezTo>
                    <a:pt x="14745" y="17704"/>
                    <a:pt x="14894" y="17402"/>
                    <a:pt x="15044" y="17251"/>
                  </a:cubicBezTo>
                  <a:cubicBezTo>
                    <a:pt x="15118" y="17251"/>
                    <a:pt x="15567" y="18157"/>
                    <a:pt x="15567" y="18308"/>
                  </a:cubicBezTo>
                  <a:cubicBezTo>
                    <a:pt x="15642" y="18459"/>
                    <a:pt x="15492" y="18761"/>
                    <a:pt x="15567" y="18912"/>
                  </a:cubicBezTo>
                  <a:cubicBezTo>
                    <a:pt x="15642" y="19214"/>
                    <a:pt x="15567" y="19214"/>
                    <a:pt x="15642" y="19516"/>
                  </a:cubicBezTo>
                  <a:cubicBezTo>
                    <a:pt x="15642" y="19667"/>
                    <a:pt x="15716" y="19818"/>
                    <a:pt x="15716" y="19818"/>
                  </a:cubicBezTo>
                  <a:cubicBezTo>
                    <a:pt x="15791" y="19818"/>
                    <a:pt x="15791" y="19970"/>
                    <a:pt x="15866" y="19970"/>
                  </a:cubicBezTo>
                  <a:cubicBezTo>
                    <a:pt x="15940" y="20121"/>
                    <a:pt x="15866" y="20423"/>
                    <a:pt x="15940" y="20574"/>
                  </a:cubicBezTo>
                  <a:cubicBezTo>
                    <a:pt x="16015" y="20725"/>
                    <a:pt x="16090" y="20725"/>
                    <a:pt x="16165" y="21027"/>
                  </a:cubicBezTo>
                  <a:cubicBezTo>
                    <a:pt x="16314" y="21480"/>
                    <a:pt x="16239" y="21027"/>
                    <a:pt x="16389" y="21178"/>
                  </a:cubicBezTo>
                  <a:cubicBezTo>
                    <a:pt x="16389" y="21178"/>
                    <a:pt x="16389" y="21480"/>
                    <a:pt x="16389" y="21480"/>
                  </a:cubicBezTo>
                  <a:cubicBezTo>
                    <a:pt x="16464" y="21480"/>
                    <a:pt x="16538" y="20423"/>
                    <a:pt x="16538" y="20272"/>
                  </a:cubicBezTo>
                  <a:cubicBezTo>
                    <a:pt x="16538" y="19818"/>
                    <a:pt x="16464" y="19516"/>
                    <a:pt x="16389" y="18912"/>
                  </a:cubicBezTo>
                  <a:cubicBezTo>
                    <a:pt x="16239" y="18459"/>
                    <a:pt x="16239" y="18006"/>
                    <a:pt x="16165" y="17553"/>
                  </a:cubicBezTo>
                  <a:cubicBezTo>
                    <a:pt x="16015" y="17251"/>
                    <a:pt x="15940" y="16646"/>
                    <a:pt x="16015" y="16193"/>
                  </a:cubicBezTo>
                  <a:cubicBezTo>
                    <a:pt x="16090" y="15740"/>
                    <a:pt x="16239" y="15438"/>
                    <a:pt x="16464" y="15136"/>
                  </a:cubicBezTo>
                  <a:cubicBezTo>
                    <a:pt x="16538" y="14985"/>
                    <a:pt x="16613" y="14985"/>
                    <a:pt x="16688" y="14834"/>
                  </a:cubicBezTo>
                  <a:cubicBezTo>
                    <a:pt x="16763" y="14683"/>
                    <a:pt x="16837" y="14381"/>
                    <a:pt x="16912" y="14381"/>
                  </a:cubicBezTo>
                  <a:cubicBezTo>
                    <a:pt x="17062" y="14079"/>
                    <a:pt x="17286" y="14079"/>
                    <a:pt x="17435" y="13777"/>
                  </a:cubicBezTo>
                  <a:cubicBezTo>
                    <a:pt x="17510" y="13625"/>
                    <a:pt x="17585" y="13323"/>
                    <a:pt x="17734" y="13323"/>
                  </a:cubicBezTo>
                  <a:cubicBezTo>
                    <a:pt x="17734" y="13323"/>
                    <a:pt x="18033" y="13323"/>
                    <a:pt x="17958" y="13021"/>
                  </a:cubicBezTo>
                  <a:cubicBezTo>
                    <a:pt x="17958" y="13021"/>
                    <a:pt x="17734" y="13172"/>
                    <a:pt x="17734" y="13172"/>
                  </a:cubicBezTo>
                  <a:cubicBezTo>
                    <a:pt x="17734" y="13021"/>
                    <a:pt x="17884" y="13172"/>
                    <a:pt x="17809" y="12870"/>
                  </a:cubicBezTo>
                  <a:cubicBezTo>
                    <a:pt x="17809" y="12870"/>
                    <a:pt x="17734" y="12719"/>
                    <a:pt x="17809" y="12719"/>
                  </a:cubicBezTo>
                  <a:cubicBezTo>
                    <a:pt x="17809" y="12568"/>
                    <a:pt x="17809" y="12719"/>
                    <a:pt x="17884" y="12568"/>
                  </a:cubicBezTo>
                  <a:cubicBezTo>
                    <a:pt x="17809" y="12719"/>
                    <a:pt x="17958" y="12870"/>
                    <a:pt x="17958" y="12719"/>
                  </a:cubicBezTo>
                  <a:cubicBezTo>
                    <a:pt x="18033" y="12719"/>
                    <a:pt x="18257" y="12417"/>
                    <a:pt x="18183" y="12266"/>
                  </a:cubicBezTo>
                  <a:cubicBezTo>
                    <a:pt x="18183" y="12417"/>
                    <a:pt x="17734" y="12266"/>
                    <a:pt x="17809" y="12115"/>
                  </a:cubicBezTo>
                  <a:cubicBezTo>
                    <a:pt x="17809" y="11964"/>
                    <a:pt x="17884" y="12266"/>
                    <a:pt x="17958" y="12115"/>
                  </a:cubicBezTo>
                  <a:cubicBezTo>
                    <a:pt x="17958" y="12115"/>
                    <a:pt x="18108" y="11964"/>
                    <a:pt x="18108" y="11964"/>
                  </a:cubicBezTo>
                  <a:cubicBezTo>
                    <a:pt x="18108" y="11964"/>
                    <a:pt x="18033" y="11813"/>
                    <a:pt x="18033" y="11662"/>
                  </a:cubicBezTo>
                  <a:cubicBezTo>
                    <a:pt x="18108" y="11511"/>
                    <a:pt x="18108" y="11360"/>
                    <a:pt x="17958" y="11360"/>
                  </a:cubicBezTo>
                  <a:cubicBezTo>
                    <a:pt x="17958" y="11360"/>
                    <a:pt x="17659" y="11058"/>
                    <a:pt x="17659" y="11058"/>
                  </a:cubicBezTo>
                  <a:cubicBezTo>
                    <a:pt x="17734" y="10907"/>
                    <a:pt x="17809" y="11058"/>
                    <a:pt x="17884" y="11058"/>
                  </a:cubicBezTo>
                  <a:cubicBezTo>
                    <a:pt x="17958" y="10907"/>
                    <a:pt x="17809" y="10604"/>
                    <a:pt x="17734" y="10604"/>
                  </a:cubicBezTo>
                  <a:cubicBezTo>
                    <a:pt x="17659" y="10453"/>
                    <a:pt x="17585" y="10302"/>
                    <a:pt x="17585" y="10151"/>
                  </a:cubicBezTo>
                  <a:cubicBezTo>
                    <a:pt x="17510" y="10000"/>
                    <a:pt x="17734" y="9698"/>
                    <a:pt x="17659" y="9547"/>
                  </a:cubicBezTo>
                  <a:cubicBezTo>
                    <a:pt x="17734" y="9698"/>
                    <a:pt x="17659" y="9849"/>
                    <a:pt x="17659" y="10000"/>
                  </a:cubicBezTo>
                  <a:cubicBezTo>
                    <a:pt x="17659" y="10000"/>
                    <a:pt x="17809" y="10302"/>
                    <a:pt x="17809" y="10302"/>
                  </a:cubicBezTo>
                  <a:cubicBezTo>
                    <a:pt x="17958" y="10000"/>
                    <a:pt x="17809" y="9245"/>
                    <a:pt x="18033" y="9094"/>
                  </a:cubicBezTo>
                  <a:cubicBezTo>
                    <a:pt x="17958" y="9094"/>
                    <a:pt x="17958" y="9849"/>
                    <a:pt x="18033" y="10000"/>
                  </a:cubicBezTo>
                  <a:cubicBezTo>
                    <a:pt x="18033" y="10302"/>
                    <a:pt x="18183" y="10302"/>
                    <a:pt x="18183" y="10604"/>
                  </a:cubicBezTo>
                  <a:cubicBezTo>
                    <a:pt x="18183" y="10756"/>
                    <a:pt x="17958" y="11058"/>
                    <a:pt x="18033" y="11209"/>
                  </a:cubicBezTo>
                  <a:cubicBezTo>
                    <a:pt x="18033" y="11209"/>
                    <a:pt x="18482" y="10302"/>
                    <a:pt x="18407" y="10000"/>
                  </a:cubicBezTo>
                  <a:cubicBezTo>
                    <a:pt x="18407" y="9698"/>
                    <a:pt x="18257" y="9547"/>
                    <a:pt x="18257" y="9245"/>
                  </a:cubicBezTo>
                  <a:cubicBezTo>
                    <a:pt x="18183" y="9094"/>
                    <a:pt x="18257" y="8641"/>
                    <a:pt x="18407" y="8792"/>
                  </a:cubicBezTo>
                  <a:cubicBezTo>
                    <a:pt x="18332" y="8641"/>
                    <a:pt x="18257" y="9094"/>
                    <a:pt x="18332" y="9245"/>
                  </a:cubicBezTo>
                  <a:cubicBezTo>
                    <a:pt x="18482" y="9547"/>
                    <a:pt x="18482" y="9698"/>
                    <a:pt x="18631" y="9245"/>
                  </a:cubicBezTo>
                  <a:cubicBezTo>
                    <a:pt x="18706" y="9094"/>
                    <a:pt x="18855" y="8641"/>
                    <a:pt x="18781" y="8339"/>
                  </a:cubicBezTo>
                  <a:cubicBezTo>
                    <a:pt x="18781" y="8339"/>
                    <a:pt x="18706" y="8188"/>
                    <a:pt x="18781" y="8037"/>
                  </a:cubicBezTo>
                  <a:cubicBezTo>
                    <a:pt x="18781" y="8037"/>
                    <a:pt x="18855" y="7735"/>
                    <a:pt x="18855" y="7735"/>
                  </a:cubicBezTo>
                  <a:cubicBezTo>
                    <a:pt x="18855" y="7735"/>
                    <a:pt x="18855" y="8037"/>
                    <a:pt x="18855" y="8037"/>
                  </a:cubicBezTo>
                  <a:cubicBezTo>
                    <a:pt x="18855" y="8037"/>
                    <a:pt x="19229" y="7583"/>
                    <a:pt x="19379" y="7583"/>
                  </a:cubicBezTo>
                  <a:cubicBezTo>
                    <a:pt x="19453" y="7432"/>
                    <a:pt x="19603" y="7583"/>
                    <a:pt x="19677" y="7583"/>
                  </a:cubicBezTo>
                  <a:cubicBezTo>
                    <a:pt x="19827" y="7432"/>
                    <a:pt x="19752" y="7281"/>
                    <a:pt x="19752" y="7130"/>
                  </a:cubicBezTo>
                  <a:cubicBezTo>
                    <a:pt x="19827" y="7130"/>
                    <a:pt x="19827" y="7432"/>
                    <a:pt x="19902" y="7432"/>
                  </a:cubicBezTo>
                  <a:cubicBezTo>
                    <a:pt x="19902" y="7432"/>
                    <a:pt x="20051" y="7281"/>
                    <a:pt x="20051" y="7281"/>
                  </a:cubicBezTo>
                  <a:cubicBezTo>
                    <a:pt x="20201" y="7583"/>
                    <a:pt x="20500" y="6828"/>
                    <a:pt x="20275" y="6828"/>
                  </a:cubicBezTo>
                  <a:cubicBezTo>
                    <a:pt x="20275" y="6828"/>
                    <a:pt x="20275" y="7130"/>
                    <a:pt x="20201" y="7130"/>
                  </a:cubicBezTo>
                  <a:cubicBezTo>
                    <a:pt x="20126" y="7130"/>
                    <a:pt x="19976" y="6526"/>
                    <a:pt x="19976" y="6526"/>
                  </a:cubicBezTo>
                  <a:cubicBezTo>
                    <a:pt x="20051" y="6375"/>
                    <a:pt x="19976" y="6224"/>
                    <a:pt x="20051" y="6073"/>
                  </a:cubicBezTo>
                  <a:cubicBezTo>
                    <a:pt x="20126" y="5771"/>
                    <a:pt x="20201" y="5469"/>
                    <a:pt x="20275" y="5318"/>
                  </a:cubicBezTo>
                  <a:cubicBezTo>
                    <a:pt x="20350" y="5318"/>
                    <a:pt x="20425" y="5167"/>
                    <a:pt x="20425" y="5167"/>
                  </a:cubicBezTo>
                  <a:cubicBezTo>
                    <a:pt x="20574" y="5318"/>
                    <a:pt x="20649" y="4865"/>
                    <a:pt x="20724" y="4714"/>
                  </a:cubicBezTo>
                  <a:cubicBezTo>
                    <a:pt x="20724" y="4714"/>
                    <a:pt x="20873" y="4865"/>
                    <a:pt x="20948" y="4714"/>
                  </a:cubicBezTo>
                  <a:cubicBezTo>
                    <a:pt x="21098" y="4563"/>
                    <a:pt x="21247" y="4563"/>
                    <a:pt x="21322" y="4411"/>
                  </a:cubicBezTo>
                  <a:cubicBezTo>
                    <a:pt x="21397" y="4411"/>
                    <a:pt x="21546" y="4260"/>
                    <a:pt x="21471" y="4109"/>
                  </a:cubicBezTo>
                  <a:cubicBezTo>
                    <a:pt x="21322" y="3807"/>
                    <a:pt x="21322" y="3656"/>
                    <a:pt x="21247" y="3505"/>
                  </a:cubicBezTo>
                  <a:cubicBezTo>
                    <a:pt x="20948" y="3354"/>
                    <a:pt x="21397" y="1995"/>
                    <a:pt x="20948" y="1995"/>
                  </a:cubicBezTo>
                  <a:cubicBezTo>
                    <a:pt x="20873" y="1844"/>
                    <a:pt x="20799" y="2146"/>
                    <a:pt x="20724" y="1995"/>
                  </a:cubicBezTo>
                  <a:cubicBezTo>
                    <a:pt x="20649" y="1844"/>
                    <a:pt x="20649" y="1693"/>
                    <a:pt x="20574" y="1844"/>
                  </a:cubicBezTo>
                  <a:cubicBezTo>
                    <a:pt x="20500" y="1995"/>
                    <a:pt x="20425" y="2297"/>
                    <a:pt x="20350" y="2448"/>
                  </a:cubicBezTo>
                  <a:cubicBezTo>
                    <a:pt x="20275" y="2599"/>
                    <a:pt x="20275" y="2901"/>
                    <a:pt x="20201" y="3052"/>
                  </a:cubicBezTo>
                  <a:cubicBezTo>
                    <a:pt x="20201" y="3354"/>
                    <a:pt x="20126" y="3807"/>
                    <a:pt x="19976" y="3807"/>
                  </a:cubicBezTo>
                  <a:cubicBezTo>
                    <a:pt x="19827" y="3807"/>
                    <a:pt x="19827" y="4109"/>
                    <a:pt x="19677" y="4109"/>
                  </a:cubicBezTo>
                  <a:cubicBezTo>
                    <a:pt x="19304" y="4109"/>
                    <a:pt x="18930" y="4109"/>
                    <a:pt x="18556" y="4109"/>
                  </a:cubicBezTo>
                  <a:cubicBezTo>
                    <a:pt x="18407" y="4109"/>
                    <a:pt x="18407" y="4109"/>
                    <a:pt x="18332" y="4260"/>
                  </a:cubicBezTo>
                  <a:cubicBezTo>
                    <a:pt x="18257" y="4563"/>
                    <a:pt x="17958" y="4865"/>
                    <a:pt x="17958" y="5016"/>
                  </a:cubicBezTo>
                  <a:cubicBezTo>
                    <a:pt x="18033" y="5469"/>
                    <a:pt x="17809" y="5771"/>
                    <a:pt x="17659" y="5771"/>
                  </a:cubicBezTo>
                  <a:cubicBezTo>
                    <a:pt x="17510" y="5771"/>
                    <a:pt x="17435" y="5620"/>
                    <a:pt x="17286" y="5620"/>
                  </a:cubicBezTo>
                  <a:cubicBezTo>
                    <a:pt x="17136" y="5620"/>
                    <a:pt x="16987" y="5771"/>
                    <a:pt x="16912" y="5771"/>
                  </a:cubicBezTo>
                  <a:cubicBezTo>
                    <a:pt x="16912" y="5771"/>
                    <a:pt x="16912" y="6224"/>
                    <a:pt x="16987" y="6224"/>
                  </a:cubicBezTo>
                  <a:cubicBezTo>
                    <a:pt x="16912" y="6375"/>
                    <a:pt x="16837" y="6526"/>
                    <a:pt x="16688" y="6677"/>
                  </a:cubicBezTo>
                  <a:cubicBezTo>
                    <a:pt x="16538" y="6828"/>
                    <a:pt x="16314" y="7130"/>
                    <a:pt x="16090" y="7281"/>
                  </a:cubicBezTo>
                  <a:cubicBezTo>
                    <a:pt x="15866" y="7432"/>
                    <a:pt x="15642" y="7432"/>
                    <a:pt x="15417" y="7281"/>
                  </a:cubicBezTo>
                  <a:cubicBezTo>
                    <a:pt x="15343" y="7130"/>
                    <a:pt x="15268" y="6979"/>
                    <a:pt x="15343" y="6828"/>
                  </a:cubicBezTo>
                  <a:cubicBezTo>
                    <a:pt x="15343" y="6828"/>
                    <a:pt x="15417" y="6526"/>
                    <a:pt x="15492" y="6526"/>
                  </a:cubicBezTo>
                  <a:cubicBezTo>
                    <a:pt x="15492" y="6526"/>
                    <a:pt x="15492" y="6677"/>
                    <a:pt x="15492" y="6828"/>
                  </a:cubicBezTo>
                  <a:cubicBezTo>
                    <a:pt x="15642" y="6224"/>
                    <a:pt x="15716" y="5771"/>
                    <a:pt x="15567" y="5167"/>
                  </a:cubicBezTo>
                  <a:cubicBezTo>
                    <a:pt x="15492" y="5016"/>
                    <a:pt x="15343" y="5318"/>
                    <a:pt x="15268" y="5318"/>
                  </a:cubicBezTo>
                  <a:cubicBezTo>
                    <a:pt x="15193" y="5469"/>
                    <a:pt x="15193" y="5318"/>
                    <a:pt x="15118" y="5318"/>
                  </a:cubicBezTo>
                  <a:cubicBezTo>
                    <a:pt x="15044" y="5167"/>
                    <a:pt x="15193" y="5016"/>
                    <a:pt x="15193" y="5016"/>
                  </a:cubicBezTo>
                  <a:cubicBezTo>
                    <a:pt x="15492" y="4411"/>
                    <a:pt x="15268" y="3807"/>
                    <a:pt x="14969" y="3656"/>
                  </a:cubicBezTo>
                  <a:cubicBezTo>
                    <a:pt x="14745" y="3505"/>
                    <a:pt x="14745" y="3656"/>
                    <a:pt x="14595" y="3807"/>
                  </a:cubicBezTo>
                  <a:cubicBezTo>
                    <a:pt x="14595" y="3958"/>
                    <a:pt x="14595" y="3958"/>
                    <a:pt x="14595" y="4109"/>
                  </a:cubicBezTo>
                  <a:cubicBezTo>
                    <a:pt x="14595" y="4260"/>
                    <a:pt x="14446" y="4109"/>
                    <a:pt x="14371" y="4109"/>
                  </a:cubicBezTo>
                  <a:cubicBezTo>
                    <a:pt x="14296" y="4109"/>
                    <a:pt x="14147" y="5318"/>
                    <a:pt x="14147" y="5469"/>
                  </a:cubicBezTo>
                  <a:cubicBezTo>
                    <a:pt x="14221" y="6224"/>
                    <a:pt x="14296" y="6677"/>
                    <a:pt x="13997" y="6979"/>
                  </a:cubicBezTo>
                  <a:cubicBezTo>
                    <a:pt x="13997" y="7130"/>
                    <a:pt x="13773" y="7281"/>
                    <a:pt x="13773" y="7130"/>
                  </a:cubicBezTo>
                  <a:cubicBezTo>
                    <a:pt x="13773" y="6828"/>
                    <a:pt x="13698" y="6526"/>
                    <a:pt x="13698" y="6224"/>
                  </a:cubicBezTo>
                  <a:cubicBezTo>
                    <a:pt x="13698" y="6073"/>
                    <a:pt x="13848" y="4411"/>
                    <a:pt x="13848" y="4411"/>
                  </a:cubicBezTo>
                  <a:cubicBezTo>
                    <a:pt x="13773" y="4411"/>
                    <a:pt x="13624" y="4714"/>
                    <a:pt x="13624" y="4563"/>
                  </a:cubicBezTo>
                  <a:cubicBezTo>
                    <a:pt x="13624" y="4411"/>
                    <a:pt x="13848" y="3807"/>
                    <a:pt x="13922" y="3656"/>
                  </a:cubicBezTo>
                  <a:cubicBezTo>
                    <a:pt x="13997" y="3354"/>
                    <a:pt x="14221" y="3354"/>
                    <a:pt x="14371" y="3203"/>
                  </a:cubicBezTo>
                  <a:cubicBezTo>
                    <a:pt x="14595" y="3203"/>
                    <a:pt x="14819" y="3354"/>
                    <a:pt x="15044" y="3354"/>
                  </a:cubicBezTo>
                  <a:cubicBezTo>
                    <a:pt x="15268" y="3354"/>
                    <a:pt x="14969" y="2901"/>
                    <a:pt x="14819" y="2901"/>
                  </a:cubicBezTo>
                  <a:cubicBezTo>
                    <a:pt x="14670" y="2901"/>
                    <a:pt x="14819" y="2448"/>
                    <a:pt x="14595" y="2448"/>
                  </a:cubicBezTo>
                  <a:cubicBezTo>
                    <a:pt x="14446" y="2599"/>
                    <a:pt x="14296" y="2750"/>
                    <a:pt x="14072" y="2750"/>
                  </a:cubicBezTo>
                  <a:cubicBezTo>
                    <a:pt x="13922" y="2750"/>
                    <a:pt x="13773" y="2448"/>
                    <a:pt x="13624" y="2297"/>
                  </a:cubicBezTo>
                  <a:cubicBezTo>
                    <a:pt x="13624" y="2297"/>
                    <a:pt x="13399" y="2297"/>
                    <a:pt x="13474" y="2146"/>
                  </a:cubicBezTo>
                  <a:cubicBezTo>
                    <a:pt x="13549" y="2146"/>
                    <a:pt x="13698" y="1995"/>
                    <a:pt x="13698" y="1844"/>
                  </a:cubicBezTo>
                  <a:cubicBezTo>
                    <a:pt x="13698" y="1844"/>
                    <a:pt x="13100" y="2297"/>
                    <a:pt x="13026" y="2297"/>
                  </a:cubicBezTo>
                  <a:cubicBezTo>
                    <a:pt x="12951" y="2448"/>
                    <a:pt x="12876" y="2599"/>
                    <a:pt x="12801" y="2599"/>
                  </a:cubicBezTo>
                  <a:cubicBezTo>
                    <a:pt x="12652" y="2599"/>
                    <a:pt x="12652" y="2297"/>
                    <a:pt x="12502" y="2297"/>
                  </a:cubicBezTo>
                  <a:cubicBezTo>
                    <a:pt x="12428" y="2297"/>
                    <a:pt x="12054" y="2599"/>
                    <a:pt x="12278" y="2146"/>
                  </a:cubicBezTo>
                  <a:cubicBezTo>
                    <a:pt x="12502" y="1844"/>
                    <a:pt x="12727" y="1542"/>
                    <a:pt x="12951" y="1239"/>
                  </a:cubicBezTo>
                  <a:cubicBezTo>
                    <a:pt x="12801" y="1239"/>
                    <a:pt x="12652" y="937"/>
                    <a:pt x="12502" y="1239"/>
                  </a:cubicBezTo>
                  <a:cubicBezTo>
                    <a:pt x="12278" y="1390"/>
                    <a:pt x="12203" y="1088"/>
                    <a:pt x="11979" y="937"/>
                  </a:cubicBezTo>
                  <a:cubicBezTo>
                    <a:pt x="11904" y="937"/>
                    <a:pt x="11830" y="786"/>
                    <a:pt x="11755" y="635"/>
                  </a:cubicBezTo>
                  <a:cubicBezTo>
                    <a:pt x="11606" y="635"/>
                    <a:pt x="11531" y="786"/>
                    <a:pt x="11381" y="786"/>
                  </a:cubicBezTo>
                  <a:cubicBezTo>
                    <a:pt x="11307" y="635"/>
                    <a:pt x="11157" y="635"/>
                    <a:pt x="11157" y="333"/>
                  </a:cubicBezTo>
                  <a:cubicBezTo>
                    <a:pt x="11157" y="333"/>
                    <a:pt x="11008" y="-120"/>
                    <a:pt x="11008" y="31"/>
                  </a:cubicBezTo>
                  <a:cubicBezTo>
                    <a:pt x="10933" y="31"/>
                    <a:pt x="11008" y="484"/>
                    <a:pt x="10933" y="484"/>
                  </a:cubicBezTo>
                  <a:cubicBezTo>
                    <a:pt x="10858" y="484"/>
                    <a:pt x="10783" y="484"/>
                    <a:pt x="10783" y="484"/>
                  </a:cubicBezTo>
                  <a:cubicBezTo>
                    <a:pt x="10559" y="484"/>
                    <a:pt x="10335" y="484"/>
                    <a:pt x="10111" y="484"/>
                  </a:cubicBezTo>
                  <a:cubicBezTo>
                    <a:pt x="9289" y="484"/>
                    <a:pt x="8541" y="484"/>
                    <a:pt x="7794" y="484"/>
                  </a:cubicBezTo>
                  <a:cubicBezTo>
                    <a:pt x="5925" y="484"/>
                    <a:pt x="4057" y="484"/>
                    <a:pt x="2188" y="484"/>
                  </a:cubicBezTo>
                  <a:cubicBezTo>
                    <a:pt x="1740" y="484"/>
                    <a:pt x="1217" y="484"/>
                    <a:pt x="768" y="484"/>
                  </a:cubicBezTo>
                  <a:cubicBezTo>
                    <a:pt x="843" y="635"/>
                    <a:pt x="992" y="1844"/>
                    <a:pt x="768" y="1995"/>
                  </a:cubicBezTo>
                  <a:cubicBezTo>
                    <a:pt x="619" y="1995"/>
                    <a:pt x="544" y="1995"/>
                    <a:pt x="693" y="1693"/>
                  </a:cubicBezTo>
                  <a:cubicBezTo>
                    <a:pt x="843" y="1239"/>
                    <a:pt x="619" y="1239"/>
                    <a:pt x="469" y="1239"/>
                  </a:cubicBezTo>
                  <a:cubicBezTo>
                    <a:pt x="320" y="1239"/>
                    <a:pt x="95" y="937"/>
                    <a:pt x="21" y="937"/>
                  </a:cubicBezTo>
                  <a:cubicBezTo>
                    <a:pt x="-54" y="1088"/>
                    <a:pt x="95" y="1693"/>
                    <a:pt x="95" y="1693"/>
                  </a:cubicBezTo>
                  <a:cubicBezTo>
                    <a:pt x="170" y="2146"/>
                    <a:pt x="245" y="2297"/>
                    <a:pt x="245" y="2599"/>
                  </a:cubicBezTo>
                  <a:cubicBezTo>
                    <a:pt x="245" y="2750"/>
                    <a:pt x="469" y="3052"/>
                    <a:pt x="544" y="3052"/>
                  </a:cubicBezTo>
                  <a:cubicBezTo>
                    <a:pt x="469" y="3052"/>
                    <a:pt x="394" y="3052"/>
                    <a:pt x="320" y="3203"/>
                  </a:cubicBezTo>
                  <a:cubicBezTo>
                    <a:pt x="245" y="3354"/>
                    <a:pt x="320" y="3505"/>
                    <a:pt x="320" y="3656"/>
                  </a:cubicBezTo>
                  <a:cubicBezTo>
                    <a:pt x="320" y="4109"/>
                    <a:pt x="320" y="4411"/>
                    <a:pt x="245" y="4714"/>
                  </a:cubicBezTo>
                  <a:cubicBezTo>
                    <a:pt x="245" y="5167"/>
                    <a:pt x="170" y="5469"/>
                    <a:pt x="95" y="5922"/>
                  </a:cubicBezTo>
                  <a:cubicBezTo>
                    <a:pt x="21" y="6375"/>
                    <a:pt x="170" y="6828"/>
                    <a:pt x="245" y="7281"/>
                  </a:cubicBezTo>
                  <a:cubicBezTo>
                    <a:pt x="245" y="7735"/>
                    <a:pt x="170" y="8037"/>
                    <a:pt x="170" y="8339"/>
                  </a:cubicBezTo>
                  <a:cubicBezTo>
                    <a:pt x="170" y="8490"/>
                    <a:pt x="245" y="8641"/>
                    <a:pt x="245" y="8792"/>
                  </a:cubicBezTo>
                  <a:cubicBezTo>
                    <a:pt x="320" y="8943"/>
                    <a:pt x="320" y="9245"/>
                    <a:pt x="320" y="9396"/>
                  </a:cubicBezTo>
                  <a:cubicBezTo>
                    <a:pt x="394" y="9849"/>
                    <a:pt x="619" y="10000"/>
                    <a:pt x="693" y="10453"/>
                  </a:cubicBezTo>
                  <a:cubicBezTo>
                    <a:pt x="768" y="10756"/>
                    <a:pt x="768" y="10604"/>
                    <a:pt x="843" y="10453"/>
                  </a:cubicBezTo>
                  <a:cubicBezTo>
                    <a:pt x="843" y="10453"/>
                    <a:pt x="918" y="10907"/>
                    <a:pt x="918" y="10907"/>
                  </a:cubicBezTo>
                  <a:cubicBezTo>
                    <a:pt x="918" y="10907"/>
                    <a:pt x="843" y="10756"/>
                    <a:pt x="843" y="10907"/>
                  </a:cubicBezTo>
                  <a:cubicBezTo>
                    <a:pt x="843" y="11058"/>
                    <a:pt x="843" y="11209"/>
                    <a:pt x="918" y="11360"/>
                  </a:cubicBezTo>
                  <a:cubicBezTo>
                    <a:pt x="992" y="11360"/>
                    <a:pt x="992" y="11360"/>
                    <a:pt x="1067" y="11511"/>
                  </a:cubicBezTo>
                  <a:cubicBezTo>
                    <a:pt x="1142" y="11662"/>
                    <a:pt x="992" y="11813"/>
                    <a:pt x="1067" y="11964"/>
                  </a:cubicBezTo>
                  <a:cubicBezTo>
                    <a:pt x="1217" y="12417"/>
                    <a:pt x="1516" y="12719"/>
                    <a:pt x="1516" y="13172"/>
                  </a:cubicBezTo>
                  <a:cubicBezTo>
                    <a:pt x="1590" y="13474"/>
                    <a:pt x="1665" y="13474"/>
                    <a:pt x="1815" y="13625"/>
                  </a:cubicBezTo>
                  <a:cubicBezTo>
                    <a:pt x="1964" y="13777"/>
                    <a:pt x="2113" y="13928"/>
                    <a:pt x="2263" y="13928"/>
                  </a:cubicBezTo>
                  <a:cubicBezTo>
                    <a:pt x="2412" y="13928"/>
                    <a:pt x="2562" y="14230"/>
                    <a:pt x="2637" y="14381"/>
                  </a:cubicBezTo>
                  <a:cubicBezTo>
                    <a:pt x="2637" y="14532"/>
                    <a:pt x="2936" y="15136"/>
                    <a:pt x="2861" y="15287"/>
                  </a:cubicBezTo>
                  <a:cubicBezTo>
                    <a:pt x="3160" y="15136"/>
                    <a:pt x="3534" y="14985"/>
                    <a:pt x="3833" y="15136"/>
                  </a:cubicBezTo>
                  <a:cubicBezTo>
                    <a:pt x="4281" y="15438"/>
                    <a:pt x="4655" y="15891"/>
                    <a:pt x="5028" y="16193"/>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4" name="Shape 2063">
              <a:extLst>
                <a:ext uri="{FF2B5EF4-FFF2-40B4-BE49-F238E27FC236}">
                  <a16:creationId xmlns:a16="http://schemas.microsoft.com/office/drawing/2014/main" id="{EF3BF8F8-3C5C-8FE9-F907-220E59686DD6}"/>
                </a:ext>
              </a:extLst>
            </p:cNvPr>
            <p:cNvSpPr/>
            <p:nvPr/>
          </p:nvSpPr>
          <p:spPr>
            <a:xfrm>
              <a:off x="885276" y="838501"/>
              <a:ext cx="2801448" cy="1445462"/>
            </a:xfrm>
            <a:custGeom>
              <a:avLst/>
              <a:gdLst/>
              <a:ahLst/>
              <a:cxnLst>
                <a:cxn ang="0">
                  <a:pos x="wd2" y="hd2"/>
                </a:cxn>
                <a:cxn ang="5400000">
                  <a:pos x="wd2" y="hd2"/>
                </a:cxn>
                <a:cxn ang="10800000">
                  <a:pos x="wd2" y="hd2"/>
                </a:cxn>
                <a:cxn ang="16200000">
                  <a:pos x="wd2" y="hd2"/>
                </a:cxn>
              </a:cxnLst>
              <a:rect l="0" t="0" r="r" b="b"/>
              <a:pathLst>
                <a:path w="21523" h="21600" extrusionOk="0">
                  <a:moveTo>
                    <a:pt x="11584" y="17162"/>
                  </a:moveTo>
                  <a:cubicBezTo>
                    <a:pt x="11584" y="17162"/>
                    <a:pt x="11584" y="17063"/>
                    <a:pt x="11584" y="17063"/>
                  </a:cubicBezTo>
                  <a:cubicBezTo>
                    <a:pt x="11584" y="17063"/>
                    <a:pt x="11736" y="17458"/>
                    <a:pt x="11736" y="17458"/>
                  </a:cubicBezTo>
                  <a:cubicBezTo>
                    <a:pt x="11837" y="17458"/>
                    <a:pt x="11888" y="17556"/>
                    <a:pt x="11938" y="17556"/>
                  </a:cubicBezTo>
                  <a:cubicBezTo>
                    <a:pt x="12039" y="17556"/>
                    <a:pt x="12039" y="17458"/>
                    <a:pt x="12090" y="17556"/>
                  </a:cubicBezTo>
                  <a:cubicBezTo>
                    <a:pt x="12242" y="17655"/>
                    <a:pt x="12343" y="17753"/>
                    <a:pt x="12444" y="17852"/>
                  </a:cubicBezTo>
                  <a:cubicBezTo>
                    <a:pt x="12495" y="17951"/>
                    <a:pt x="12545" y="17852"/>
                    <a:pt x="12596" y="17852"/>
                  </a:cubicBezTo>
                  <a:cubicBezTo>
                    <a:pt x="12646" y="17753"/>
                    <a:pt x="12697" y="17753"/>
                    <a:pt x="12748" y="17753"/>
                  </a:cubicBezTo>
                  <a:cubicBezTo>
                    <a:pt x="12798" y="17753"/>
                    <a:pt x="12849" y="17852"/>
                    <a:pt x="12899" y="17852"/>
                  </a:cubicBezTo>
                  <a:cubicBezTo>
                    <a:pt x="13000" y="17852"/>
                    <a:pt x="13051" y="17753"/>
                    <a:pt x="13102" y="17655"/>
                  </a:cubicBezTo>
                  <a:cubicBezTo>
                    <a:pt x="13152" y="17556"/>
                    <a:pt x="13304" y="17260"/>
                    <a:pt x="13355" y="17260"/>
                  </a:cubicBezTo>
                  <a:cubicBezTo>
                    <a:pt x="13355" y="17260"/>
                    <a:pt x="13405" y="17359"/>
                    <a:pt x="13405" y="17359"/>
                  </a:cubicBezTo>
                  <a:cubicBezTo>
                    <a:pt x="13506" y="17359"/>
                    <a:pt x="13557" y="17359"/>
                    <a:pt x="13607" y="17359"/>
                  </a:cubicBezTo>
                  <a:cubicBezTo>
                    <a:pt x="13810" y="17359"/>
                    <a:pt x="13759" y="17655"/>
                    <a:pt x="13860" y="17852"/>
                  </a:cubicBezTo>
                  <a:cubicBezTo>
                    <a:pt x="13911" y="17951"/>
                    <a:pt x="14113" y="17852"/>
                    <a:pt x="14113" y="18049"/>
                  </a:cubicBezTo>
                  <a:cubicBezTo>
                    <a:pt x="14113" y="18247"/>
                    <a:pt x="14164" y="18444"/>
                    <a:pt x="14215" y="18641"/>
                  </a:cubicBezTo>
                  <a:cubicBezTo>
                    <a:pt x="14215" y="19134"/>
                    <a:pt x="14670" y="19036"/>
                    <a:pt x="14822" y="19134"/>
                  </a:cubicBezTo>
                  <a:cubicBezTo>
                    <a:pt x="14923" y="19134"/>
                    <a:pt x="15074" y="19134"/>
                    <a:pt x="15125" y="19233"/>
                  </a:cubicBezTo>
                  <a:cubicBezTo>
                    <a:pt x="15176" y="19332"/>
                    <a:pt x="15429" y="19825"/>
                    <a:pt x="15378" y="19825"/>
                  </a:cubicBezTo>
                  <a:cubicBezTo>
                    <a:pt x="15277" y="20022"/>
                    <a:pt x="15277" y="20022"/>
                    <a:pt x="15176" y="19923"/>
                  </a:cubicBezTo>
                  <a:cubicBezTo>
                    <a:pt x="15125" y="19825"/>
                    <a:pt x="14923" y="19627"/>
                    <a:pt x="14923" y="19627"/>
                  </a:cubicBezTo>
                  <a:cubicBezTo>
                    <a:pt x="14923" y="19726"/>
                    <a:pt x="15074" y="19825"/>
                    <a:pt x="15024" y="20022"/>
                  </a:cubicBezTo>
                  <a:cubicBezTo>
                    <a:pt x="14973" y="20121"/>
                    <a:pt x="14923" y="20318"/>
                    <a:pt x="14923" y="20416"/>
                  </a:cubicBezTo>
                  <a:cubicBezTo>
                    <a:pt x="14923" y="20614"/>
                    <a:pt x="14923" y="20712"/>
                    <a:pt x="14872" y="20811"/>
                  </a:cubicBezTo>
                  <a:cubicBezTo>
                    <a:pt x="14872" y="20910"/>
                    <a:pt x="14720" y="21008"/>
                    <a:pt x="14720" y="21008"/>
                  </a:cubicBezTo>
                  <a:cubicBezTo>
                    <a:pt x="14670" y="21107"/>
                    <a:pt x="14518" y="21600"/>
                    <a:pt x="14720" y="21600"/>
                  </a:cubicBezTo>
                  <a:cubicBezTo>
                    <a:pt x="14771" y="21600"/>
                    <a:pt x="14872" y="21403"/>
                    <a:pt x="14973" y="21205"/>
                  </a:cubicBezTo>
                  <a:cubicBezTo>
                    <a:pt x="15074" y="21107"/>
                    <a:pt x="15125" y="21304"/>
                    <a:pt x="15226" y="21205"/>
                  </a:cubicBezTo>
                  <a:cubicBezTo>
                    <a:pt x="15378" y="21205"/>
                    <a:pt x="15429" y="21008"/>
                    <a:pt x="15580" y="21008"/>
                  </a:cubicBezTo>
                  <a:cubicBezTo>
                    <a:pt x="15580" y="20811"/>
                    <a:pt x="15580" y="20910"/>
                    <a:pt x="15479" y="20811"/>
                  </a:cubicBezTo>
                  <a:cubicBezTo>
                    <a:pt x="15429" y="20811"/>
                    <a:pt x="15429" y="20712"/>
                    <a:pt x="15479" y="20712"/>
                  </a:cubicBezTo>
                  <a:cubicBezTo>
                    <a:pt x="15530" y="20515"/>
                    <a:pt x="15580" y="20416"/>
                    <a:pt x="15732" y="20416"/>
                  </a:cubicBezTo>
                  <a:cubicBezTo>
                    <a:pt x="15783" y="20416"/>
                    <a:pt x="15934" y="20219"/>
                    <a:pt x="16036" y="20318"/>
                  </a:cubicBezTo>
                  <a:cubicBezTo>
                    <a:pt x="16137" y="20416"/>
                    <a:pt x="16187" y="20022"/>
                    <a:pt x="16289" y="20318"/>
                  </a:cubicBezTo>
                  <a:cubicBezTo>
                    <a:pt x="16390" y="20121"/>
                    <a:pt x="16440" y="20022"/>
                    <a:pt x="16541" y="19825"/>
                  </a:cubicBezTo>
                  <a:cubicBezTo>
                    <a:pt x="16643" y="19726"/>
                    <a:pt x="16693" y="19726"/>
                    <a:pt x="16794" y="19726"/>
                  </a:cubicBezTo>
                  <a:cubicBezTo>
                    <a:pt x="16946" y="19726"/>
                    <a:pt x="17148" y="19726"/>
                    <a:pt x="17300" y="19726"/>
                  </a:cubicBezTo>
                  <a:cubicBezTo>
                    <a:pt x="17452" y="19726"/>
                    <a:pt x="17503" y="19825"/>
                    <a:pt x="17553" y="19627"/>
                  </a:cubicBezTo>
                  <a:cubicBezTo>
                    <a:pt x="17604" y="19529"/>
                    <a:pt x="17654" y="19627"/>
                    <a:pt x="17705" y="19529"/>
                  </a:cubicBezTo>
                  <a:cubicBezTo>
                    <a:pt x="17756" y="19332"/>
                    <a:pt x="17806" y="19233"/>
                    <a:pt x="17806" y="19036"/>
                  </a:cubicBezTo>
                  <a:cubicBezTo>
                    <a:pt x="17857" y="18838"/>
                    <a:pt x="17857" y="18740"/>
                    <a:pt x="17907" y="18542"/>
                  </a:cubicBezTo>
                  <a:cubicBezTo>
                    <a:pt x="17958" y="18444"/>
                    <a:pt x="18008" y="18345"/>
                    <a:pt x="18059" y="18247"/>
                  </a:cubicBezTo>
                  <a:cubicBezTo>
                    <a:pt x="18110" y="18148"/>
                    <a:pt x="18160" y="18444"/>
                    <a:pt x="18261" y="18345"/>
                  </a:cubicBezTo>
                  <a:cubicBezTo>
                    <a:pt x="18363" y="18148"/>
                    <a:pt x="18464" y="18444"/>
                    <a:pt x="18464" y="18641"/>
                  </a:cubicBezTo>
                  <a:cubicBezTo>
                    <a:pt x="18464" y="18740"/>
                    <a:pt x="18413" y="19332"/>
                    <a:pt x="18514" y="19332"/>
                  </a:cubicBezTo>
                  <a:cubicBezTo>
                    <a:pt x="18565" y="19430"/>
                    <a:pt x="18615" y="19627"/>
                    <a:pt x="18666" y="19825"/>
                  </a:cubicBezTo>
                  <a:cubicBezTo>
                    <a:pt x="18717" y="19627"/>
                    <a:pt x="19273" y="19332"/>
                    <a:pt x="19273" y="19332"/>
                  </a:cubicBezTo>
                  <a:cubicBezTo>
                    <a:pt x="19273" y="19233"/>
                    <a:pt x="19222" y="19233"/>
                    <a:pt x="19222" y="19134"/>
                  </a:cubicBezTo>
                  <a:cubicBezTo>
                    <a:pt x="19222" y="19134"/>
                    <a:pt x="19324" y="19332"/>
                    <a:pt x="19324" y="19332"/>
                  </a:cubicBezTo>
                  <a:cubicBezTo>
                    <a:pt x="19324" y="19430"/>
                    <a:pt x="19222" y="19430"/>
                    <a:pt x="19222" y="19430"/>
                  </a:cubicBezTo>
                  <a:cubicBezTo>
                    <a:pt x="19222" y="19430"/>
                    <a:pt x="19526" y="19529"/>
                    <a:pt x="19526" y="19529"/>
                  </a:cubicBezTo>
                  <a:cubicBezTo>
                    <a:pt x="19526" y="19529"/>
                    <a:pt x="19526" y="19529"/>
                    <a:pt x="19526" y="19529"/>
                  </a:cubicBezTo>
                  <a:cubicBezTo>
                    <a:pt x="19526" y="19529"/>
                    <a:pt x="19526" y="19627"/>
                    <a:pt x="19526" y="19627"/>
                  </a:cubicBezTo>
                  <a:cubicBezTo>
                    <a:pt x="19475" y="19627"/>
                    <a:pt x="19425" y="19627"/>
                    <a:pt x="19374" y="19726"/>
                  </a:cubicBezTo>
                  <a:cubicBezTo>
                    <a:pt x="19374" y="19825"/>
                    <a:pt x="19324" y="19529"/>
                    <a:pt x="19324" y="19529"/>
                  </a:cubicBezTo>
                  <a:cubicBezTo>
                    <a:pt x="19273" y="19529"/>
                    <a:pt x="19273" y="19627"/>
                    <a:pt x="19273" y="19627"/>
                  </a:cubicBezTo>
                  <a:cubicBezTo>
                    <a:pt x="19273" y="19627"/>
                    <a:pt x="19273" y="19529"/>
                    <a:pt x="19222" y="19627"/>
                  </a:cubicBezTo>
                  <a:cubicBezTo>
                    <a:pt x="19172" y="19726"/>
                    <a:pt x="19121" y="19726"/>
                    <a:pt x="19071" y="19825"/>
                  </a:cubicBezTo>
                  <a:cubicBezTo>
                    <a:pt x="18970" y="19923"/>
                    <a:pt x="18767" y="20219"/>
                    <a:pt x="18868" y="20515"/>
                  </a:cubicBezTo>
                  <a:cubicBezTo>
                    <a:pt x="19020" y="20712"/>
                    <a:pt x="19121" y="20515"/>
                    <a:pt x="19172" y="20416"/>
                  </a:cubicBezTo>
                  <a:cubicBezTo>
                    <a:pt x="19222" y="20318"/>
                    <a:pt x="19425" y="20022"/>
                    <a:pt x="19425" y="19923"/>
                  </a:cubicBezTo>
                  <a:cubicBezTo>
                    <a:pt x="19425" y="20022"/>
                    <a:pt x="19526" y="20121"/>
                    <a:pt x="19577" y="20022"/>
                  </a:cubicBezTo>
                  <a:cubicBezTo>
                    <a:pt x="19577" y="19923"/>
                    <a:pt x="19728" y="19825"/>
                    <a:pt x="19779" y="19825"/>
                  </a:cubicBezTo>
                  <a:cubicBezTo>
                    <a:pt x="19880" y="19726"/>
                    <a:pt x="19981" y="19627"/>
                    <a:pt x="20082" y="19627"/>
                  </a:cubicBezTo>
                  <a:cubicBezTo>
                    <a:pt x="20133" y="19627"/>
                    <a:pt x="20133" y="19627"/>
                    <a:pt x="20133" y="19529"/>
                  </a:cubicBezTo>
                  <a:cubicBezTo>
                    <a:pt x="20082" y="19430"/>
                    <a:pt x="20133" y="19430"/>
                    <a:pt x="20133" y="19430"/>
                  </a:cubicBezTo>
                  <a:cubicBezTo>
                    <a:pt x="20133" y="19332"/>
                    <a:pt x="20032" y="19430"/>
                    <a:pt x="19981" y="19332"/>
                  </a:cubicBezTo>
                  <a:cubicBezTo>
                    <a:pt x="19931" y="19332"/>
                    <a:pt x="19981" y="19134"/>
                    <a:pt x="19880" y="19332"/>
                  </a:cubicBezTo>
                  <a:cubicBezTo>
                    <a:pt x="19779" y="19430"/>
                    <a:pt x="19577" y="19332"/>
                    <a:pt x="19475" y="19233"/>
                  </a:cubicBezTo>
                  <a:cubicBezTo>
                    <a:pt x="19425" y="19233"/>
                    <a:pt x="19475" y="19036"/>
                    <a:pt x="19425" y="19036"/>
                  </a:cubicBezTo>
                  <a:cubicBezTo>
                    <a:pt x="19425" y="19036"/>
                    <a:pt x="19324" y="19036"/>
                    <a:pt x="19273" y="18937"/>
                  </a:cubicBezTo>
                  <a:cubicBezTo>
                    <a:pt x="19222" y="18937"/>
                    <a:pt x="19222" y="18641"/>
                    <a:pt x="19222" y="18542"/>
                  </a:cubicBezTo>
                  <a:cubicBezTo>
                    <a:pt x="19222" y="18444"/>
                    <a:pt x="19121" y="18542"/>
                    <a:pt x="19071" y="18444"/>
                  </a:cubicBezTo>
                  <a:cubicBezTo>
                    <a:pt x="19071" y="18444"/>
                    <a:pt x="19172" y="18247"/>
                    <a:pt x="19172" y="18247"/>
                  </a:cubicBezTo>
                  <a:cubicBezTo>
                    <a:pt x="19222" y="18148"/>
                    <a:pt x="19222" y="17852"/>
                    <a:pt x="19121" y="17852"/>
                  </a:cubicBezTo>
                  <a:cubicBezTo>
                    <a:pt x="19121" y="17852"/>
                    <a:pt x="19020" y="18247"/>
                    <a:pt x="18970" y="18049"/>
                  </a:cubicBezTo>
                  <a:cubicBezTo>
                    <a:pt x="18970" y="17852"/>
                    <a:pt x="18919" y="17951"/>
                    <a:pt x="18868" y="17852"/>
                  </a:cubicBezTo>
                  <a:cubicBezTo>
                    <a:pt x="18868" y="17753"/>
                    <a:pt x="19020" y="17852"/>
                    <a:pt x="19020" y="17852"/>
                  </a:cubicBezTo>
                  <a:cubicBezTo>
                    <a:pt x="19121" y="17852"/>
                    <a:pt x="19172" y="17753"/>
                    <a:pt x="19222" y="17753"/>
                  </a:cubicBezTo>
                  <a:cubicBezTo>
                    <a:pt x="19273" y="17655"/>
                    <a:pt x="19324" y="17655"/>
                    <a:pt x="19374" y="17655"/>
                  </a:cubicBezTo>
                  <a:cubicBezTo>
                    <a:pt x="19425" y="17556"/>
                    <a:pt x="19324" y="17359"/>
                    <a:pt x="19324" y="17359"/>
                  </a:cubicBezTo>
                  <a:cubicBezTo>
                    <a:pt x="19324" y="17359"/>
                    <a:pt x="19374" y="17359"/>
                    <a:pt x="19374" y="17359"/>
                  </a:cubicBezTo>
                  <a:cubicBezTo>
                    <a:pt x="19374" y="17359"/>
                    <a:pt x="19172" y="17162"/>
                    <a:pt x="19172" y="17162"/>
                  </a:cubicBezTo>
                  <a:cubicBezTo>
                    <a:pt x="19071" y="17063"/>
                    <a:pt x="18970" y="17063"/>
                    <a:pt x="18868" y="17162"/>
                  </a:cubicBezTo>
                  <a:cubicBezTo>
                    <a:pt x="18666" y="17260"/>
                    <a:pt x="18514" y="17359"/>
                    <a:pt x="18363" y="17556"/>
                  </a:cubicBezTo>
                  <a:cubicBezTo>
                    <a:pt x="18211" y="17655"/>
                    <a:pt x="18110" y="17852"/>
                    <a:pt x="17958" y="18049"/>
                  </a:cubicBezTo>
                  <a:cubicBezTo>
                    <a:pt x="17907" y="18148"/>
                    <a:pt x="17857" y="18247"/>
                    <a:pt x="17806" y="18444"/>
                  </a:cubicBezTo>
                  <a:cubicBezTo>
                    <a:pt x="17806" y="18444"/>
                    <a:pt x="17604" y="18641"/>
                    <a:pt x="17604" y="18641"/>
                  </a:cubicBezTo>
                  <a:cubicBezTo>
                    <a:pt x="17604" y="18542"/>
                    <a:pt x="17857" y="18148"/>
                    <a:pt x="17907" y="18049"/>
                  </a:cubicBezTo>
                  <a:cubicBezTo>
                    <a:pt x="17907" y="17951"/>
                    <a:pt x="17958" y="17852"/>
                    <a:pt x="17907" y="17753"/>
                  </a:cubicBezTo>
                  <a:cubicBezTo>
                    <a:pt x="17857" y="17753"/>
                    <a:pt x="17756" y="17655"/>
                    <a:pt x="17705" y="17655"/>
                  </a:cubicBezTo>
                  <a:cubicBezTo>
                    <a:pt x="17756" y="17655"/>
                    <a:pt x="17857" y="17753"/>
                    <a:pt x="17907" y="17753"/>
                  </a:cubicBezTo>
                  <a:cubicBezTo>
                    <a:pt x="18008" y="17852"/>
                    <a:pt x="18110" y="17556"/>
                    <a:pt x="18160" y="17458"/>
                  </a:cubicBezTo>
                  <a:cubicBezTo>
                    <a:pt x="18211" y="17359"/>
                    <a:pt x="18261" y="17162"/>
                    <a:pt x="18363" y="17063"/>
                  </a:cubicBezTo>
                  <a:cubicBezTo>
                    <a:pt x="18464" y="17063"/>
                    <a:pt x="18565" y="17162"/>
                    <a:pt x="18615" y="16964"/>
                  </a:cubicBezTo>
                  <a:cubicBezTo>
                    <a:pt x="18666" y="16570"/>
                    <a:pt x="18767" y="16471"/>
                    <a:pt x="18970" y="16471"/>
                  </a:cubicBezTo>
                  <a:cubicBezTo>
                    <a:pt x="19172" y="16471"/>
                    <a:pt x="19374" y="16471"/>
                    <a:pt x="19577" y="16471"/>
                  </a:cubicBezTo>
                  <a:cubicBezTo>
                    <a:pt x="19931" y="16471"/>
                    <a:pt x="20437" y="16668"/>
                    <a:pt x="20689" y="16077"/>
                  </a:cubicBezTo>
                  <a:cubicBezTo>
                    <a:pt x="20791" y="15879"/>
                    <a:pt x="20841" y="15781"/>
                    <a:pt x="20942" y="15781"/>
                  </a:cubicBezTo>
                  <a:cubicBezTo>
                    <a:pt x="21044" y="15781"/>
                    <a:pt x="21145" y="15781"/>
                    <a:pt x="21296" y="15584"/>
                  </a:cubicBezTo>
                  <a:cubicBezTo>
                    <a:pt x="21347" y="15584"/>
                    <a:pt x="21499" y="15386"/>
                    <a:pt x="21499" y="15288"/>
                  </a:cubicBezTo>
                  <a:cubicBezTo>
                    <a:pt x="21600" y="14992"/>
                    <a:pt x="21347" y="15090"/>
                    <a:pt x="21347" y="14992"/>
                  </a:cubicBezTo>
                  <a:cubicBezTo>
                    <a:pt x="21347" y="14893"/>
                    <a:pt x="21448" y="14893"/>
                    <a:pt x="21448" y="14893"/>
                  </a:cubicBezTo>
                  <a:cubicBezTo>
                    <a:pt x="21499" y="14795"/>
                    <a:pt x="21448" y="14696"/>
                    <a:pt x="21448" y="14597"/>
                  </a:cubicBezTo>
                  <a:cubicBezTo>
                    <a:pt x="21448" y="14597"/>
                    <a:pt x="21499" y="14499"/>
                    <a:pt x="21499" y="14499"/>
                  </a:cubicBezTo>
                  <a:cubicBezTo>
                    <a:pt x="21499" y="14400"/>
                    <a:pt x="21398" y="14301"/>
                    <a:pt x="21398" y="14301"/>
                  </a:cubicBezTo>
                  <a:cubicBezTo>
                    <a:pt x="21347" y="14203"/>
                    <a:pt x="21296" y="14203"/>
                    <a:pt x="21296" y="14104"/>
                  </a:cubicBezTo>
                  <a:cubicBezTo>
                    <a:pt x="21246" y="14104"/>
                    <a:pt x="21145" y="14400"/>
                    <a:pt x="21094" y="14203"/>
                  </a:cubicBezTo>
                  <a:cubicBezTo>
                    <a:pt x="21094" y="14203"/>
                    <a:pt x="21195" y="14104"/>
                    <a:pt x="21145" y="14104"/>
                  </a:cubicBezTo>
                  <a:cubicBezTo>
                    <a:pt x="21145" y="14005"/>
                    <a:pt x="21094" y="13907"/>
                    <a:pt x="21044" y="13907"/>
                  </a:cubicBezTo>
                  <a:cubicBezTo>
                    <a:pt x="20993" y="13808"/>
                    <a:pt x="20791" y="13907"/>
                    <a:pt x="20740" y="14005"/>
                  </a:cubicBezTo>
                  <a:cubicBezTo>
                    <a:pt x="20689" y="14203"/>
                    <a:pt x="20538" y="14301"/>
                    <a:pt x="20437" y="14400"/>
                  </a:cubicBezTo>
                  <a:cubicBezTo>
                    <a:pt x="20386" y="14400"/>
                    <a:pt x="20234" y="14203"/>
                    <a:pt x="20234" y="14104"/>
                  </a:cubicBezTo>
                  <a:cubicBezTo>
                    <a:pt x="20234" y="14005"/>
                    <a:pt x="20386" y="14301"/>
                    <a:pt x="20386" y="14301"/>
                  </a:cubicBezTo>
                  <a:cubicBezTo>
                    <a:pt x="20437" y="14301"/>
                    <a:pt x="20639" y="14005"/>
                    <a:pt x="20639" y="14005"/>
                  </a:cubicBezTo>
                  <a:cubicBezTo>
                    <a:pt x="20639" y="14005"/>
                    <a:pt x="20538" y="13907"/>
                    <a:pt x="20538" y="13907"/>
                  </a:cubicBezTo>
                  <a:cubicBezTo>
                    <a:pt x="20689" y="13808"/>
                    <a:pt x="20841" y="13808"/>
                    <a:pt x="20993" y="13710"/>
                  </a:cubicBezTo>
                  <a:cubicBezTo>
                    <a:pt x="20993" y="13710"/>
                    <a:pt x="21094" y="13611"/>
                    <a:pt x="21044" y="13512"/>
                  </a:cubicBezTo>
                  <a:cubicBezTo>
                    <a:pt x="21044" y="13512"/>
                    <a:pt x="20942" y="13315"/>
                    <a:pt x="20942" y="13315"/>
                  </a:cubicBezTo>
                  <a:cubicBezTo>
                    <a:pt x="20841" y="13414"/>
                    <a:pt x="20740" y="13414"/>
                    <a:pt x="20689" y="13216"/>
                  </a:cubicBezTo>
                  <a:cubicBezTo>
                    <a:pt x="20639" y="13216"/>
                    <a:pt x="20437" y="13512"/>
                    <a:pt x="20437" y="13414"/>
                  </a:cubicBezTo>
                  <a:cubicBezTo>
                    <a:pt x="20437" y="13414"/>
                    <a:pt x="20588" y="13118"/>
                    <a:pt x="20437" y="13216"/>
                  </a:cubicBezTo>
                  <a:cubicBezTo>
                    <a:pt x="20437" y="13216"/>
                    <a:pt x="20234" y="13315"/>
                    <a:pt x="20234" y="13315"/>
                  </a:cubicBezTo>
                  <a:cubicBezTo>
                    <a:pt x="20285" y="13118"/>
                    <a:pt x="20437" y="13118"/>
                    <a:pt x="20335" y="12822"/>
                  </a:cubicBezTo>
                  <a:cubicBezTo>
                    <a:pt x="20335" y="12822"/>
                    <a:pt x="20133" y="12625"/>
                    <a:pt x="20133" y="12625"/>
                  </a:cubicBezTo>
                  <a:cubicBezTo>
                    <a:pt x="20032" y="12625"/>
                    <a:pt x="20032" y="12427"/>
                    <a:pt x="19931" y="12427"/>
                  </a:cubicBezTo>
                  <a:cubicBezTo>
                    <a:pt x="19981" y="12427"/>
                    <a:pt x="19830" y="12033"/>
                    <a:pt x="19830" y="12033"/>
                  </a:cubicBezTo>
                  <a:cubicBezTo>
                    <a:pt x="19830" y="12033"/>
                    <a:pt x="19880" y="12132"/>
                    <a:pt x="19931" y="12132"/>
                  </a:cubicBezTo>
                  <a:cubicBezTo>
                    <a:pt x="19981" y="12230"/>
                    <a:pt x="19981" y="12033"/>
                    <a:pt x="20032" y="12033"/>
                  </a:cubicBezTo>
                  <a:cubicBezTo>
                    <a:pt x="20234" y="11934"/>
                    <a:pt x="19880" y="11638"/>
                    <a:pt x="19830" y="11540"/>
                  </a:cubicBezTo>
                  <a:cubicBezTo>
                    <a:pt x="19830" y="11638"/>
                    <a:pt x="19931" y="11441"/>
                    <a:pt x="19931" y="11441"/>
                  </a:cubicBezTo>
                  <a:cubicBezTo>
                    <a:pt x="19981" y="11342"/>
                    <a:pt x="19880" y="11342"/>
                    <a:pt x="19830" y="11244"/>
                  </a:cubicBezTo>
                  <a:cubicBezTo>
                    <a:pt x="19830" y="11244"/>
                    <a:pt x="19779" y="11145"/>
                    <a:pt x="19728" y="11145"/>
                  </a:cubicBezTo>
                  <a:cubicBezTo>
                    <a:pt x="19728" y="11145"/>
                    <a:pt x="19627" y="11145"/>
                    <a:pt x="19627" y="11145"/>
                  </a:cubicBezTo>
                  <a:cubicBezTo>
                    <a:pt x="19678" y="11047"/>
                    <a:pt x="19779" y="11145"/>
                    <a:pt x="19728" y="10849"/>
                  </a:cubicBezTo>
                  <a:cubicBezTo>
                    <a:pt x="19678" y="10849"/>
                    <a:pt x="19526" y="10948"/>
                    <a:pt x="19526" y="10948"/>
                  </a:cubicBezTo>
                  <a:cubicBezTo>
                    <a:pt x="19526" y="10849"/>
                    <a:pt x="19678" y="10849"/>
                    <a:pt x="19627" y="10652"/>
                  </a:cubicBezTo>
                  <a:cubicBezTo>
                    <a:pt x="19627" y="10553"/>
                    <a:pt x="19627" y="10455"/>
                    <a:pt x="19577" y="10356"/>
                  </a:cubicBezTo>
                  <a:cubicBezTo>
                    <a:pt x="19577" y="10356"/>
                    <a:pt x="19526" y="10455"/>
                    <a:pt x="19526" y="10356"/>
                  </a:cubicBezTo>
                  <a:cubicBezTo>
                    <a:pt x="19526" y="10455"/>
                    <a:pt x="19425" y="10060"/>
                    <a:pt x="19425" y="10060"/>
                  </a:cubicBezTo>
                  <a:cubicBezTo>
                    <a:pt x="19374" y="9863"/>
                    <a:pt x="19324" y="9764"/>
                    <a:pt x="19324" y="9666"/>
                  </a:cubicBezTo>
                  <a:cubicBezTo>
                    <a:pt x="19273" y="9468"/>
                    <a:pt x="19273" y="9271"/>
                    <a:pt x="19172" y="9567"/>
                  </a:cubicBezTo>
                  <a:cubicBezTo>
                    <a:pt x="19172" y="9567"/>
                    <a:pt x="19121" y="9962"/>
                    <a:pt x="19172" y="9863"/>
                  </a:cubicBezTo>
                  <a:cubicBezTo>
                    <a:pt x="18970" y="9962"/>
                    <a:pt x="19071" y="9962"/>
                    <a:pt x="19121" y="10258"/>
                  </a:cubicBezTo>
                  <a:cubicBezTo>
                    <a:pt x="19121" y="10159"/>
                    <a:pt x="19071" y="10159"/>
                    <a:pt x="19071" y="10258"/>
                  </a:cubicBezTo>
                  <a:cubicBezTo>
                    <a:pt x="19020" y="10258"/>
                    <a:pt x="19020" y="10258"/>
                    <a:pt x="18970" y="10356"/>
                  </a:cubicBezTo>
                  <a:cubicBezTo>
                    <a:pt x="18970" y="10356"/>
                    <a:pt x="19071" y="10455"/>
                    <a:pt x="19071" y="10455"/>
                  </a:cubicBezTo>
                  <a:cubicBezTo>
                    <a:pt x="19020" y="10553"/>
                    <a:pt x="18919" y="10455"/>
                    <a:pt x="18919" y="10553"/>
                  </a:cubicBezTo>
                  <a:cubicBezTo>
                    <a:pt x="18868" y="10652"/>
                    <a:pt x="18970" y="10849"/>
                    <a:pt x="18868" y="10948"/>
                  </a:cubicBezTo>
                  <a:cubicBezTo>
                    <a:pt x="18919" y="10948"/>
                    <a:pt x="18818" y="10553"/>
                    <a:pt x="18717" y="10751"/>
                  </a:cubicBezTo>
                  <a:cubicBezTo>
                    <a:pt x="18717" y="10849"/>
                    <a:pt x="18514" y="11145"/>
                    <a:pt x="18514" y="11145"/>
                  </a:cubicBezTo>
                  <a:cubicBezTo>
                    <a:pt x="18464" y="11145"/>
                    <a:pt x="18464" y="11047"/>
                    <a:pt x="18464" y="10948"/>
                  </a:cubicBezTo>
                  <a:cubicBezTo>
                    <a:pt x="18413" y="10948"/>
                    <a:pt x="18413" y="11047"/>
                    <a:pt x="18413" y="11047"/>
                  </a:cubicBezTo>
                  <a:cubicBezTo>
                    <a:pt x="18363" y="10948"/>
                    <a:pt x="18413" y="10948"/>
                    <a:pt x="18413" y="10849"/>
                  </a:cubicBezTo>
                  <a:cubicBezTo>
                    <a:pt x="18413" y="10948"/>
                    <a:pt x="18059" y="11441"/>
                    <a:pt x="18059" y="11342"/>
                  </a:cubicBezTo>
                  <a:cubicBezTo>
                    <a:pt x="18008" y="11244"/>
                    <a:pt x="18211" y="11145"/>
                    <a:pt x="18261" y="11145"/>
                  </a:cubicBezTo>
                  <a:cubicBezTo>
                    <a:pt x="18363" y="10948"/>
                    <a:pt x="18363" y="10849"/>
                    <a:pt x="18312" y="10652"/>
                  </a:cubicBezTo>
                  <a:cubicBezTo>
                    <a:pt x="18261" y="10553"/>
                    <a:pt x="18110" y="10553"/>
                    <a:pt x="18059" y="10553"/>
                  </a:cubicBezTo>
                  <a:cubicBezTo>
                    <a:pt x="18008" y="10553"/>
                    <a:pt x="18008" y="10652"/>
                    <a:pt x="18008" y="10652"/>
                  </a:cubicBezTo>
                  <a:cubicBezTo>
                    <a:pt x="17958" y="10849"/>
                    <a:pt x="17857" y="10652"/>
                    <a:pt x="17806" y="10652"/>
                  </a:cubicBezTo>
                  <a:cubicBezTo>
                    <a:pt x="17857" y="10652"/>
                    <a:pt x="17958" y="10455"/>
                    <a:pt x="17958" y="10455"/>
                  </a:cubicBezTo>
                  <a:cubicBezTo>
                    <a:pt x="17958" y="10455"/>
                    <a:pt x="18008" y="10553"/>
                    <a:pt x="18008" y="10553"/>
                  </a:cubicBezTo>
                  <a:cubicBezTo>
                    <a:pt x="17958" y="10553"/>
                    <a:pt x="18059" y="10356"/>
                    <a:pt x="18059" y="10356"/>
                  </a:cubicBezTo>
                  <a:cubicBezTo>
                    <a:pt x="18110" y="10159"/>
                    <a:pt x="18008" y="10258"/>
                    <a:pt x="17958" y="10159"/>
                  </a:cubicBezTo>
                  <a:cubicBezTo>
                    <a:pt x="17958" y="10159"/>
                    <a:pt x="18008" y="9666"/>
                    <a:pt x="17907" y="9764"/>
                  </a:cubicBezTo>
                  <a:cubicBezTo>
                    <a:pt x="17958" y="9666"/>
                    <a:pt x="18008" y="9666"/>
                    <a:pt x="17958" y="9468"/>
                  </a:cubicBezTo>
                  <a:cubicBezTo>
                    <a:pt x="17857" y="9370"/>
                    <a:pt x="18059" y="9271"/>
                    <a:pt x="18008" y="9074"/>
                  </a:cubicBezTo>
                  <a:cubicBezTo>
                    <a:pt x="18008" y="8975"/>
                    <a:pt x="17907" y="9173"/>
                    <a:pt x="17857" y="9074"/>
                  </a:cubicBezTo>
                  <a:cubicBezTo>
                    <a:pt x="17806" y="8975"/>
                    <a:pt x="17705" y="8975"/>
                    <a:pt x="17654" y="8975"/>
                  </a:cubicBezTo>
                  <a:cubicBezTo>
                    <a:pt x="17553" y="8877"/>
                    <a:pt x="17503" y="8877"/>
                    <a:pt x="17452" y="8679"/>
                  </a:cubicBezTo>
                  <a:cubicBezTo>
                    <a:pt x="17452" y="8482"/>
                    <a:pt x="17300" y="8581"/>
                    <a:pt x="17300" y="8384"/>
                  </a:cubicBezTo>
                  <a:cubicBezTo>
                    <a:pt x="17300" y="8285"/>
                    <a:pt x="17199" y="8384"/>
                    <a:pt x="17199" y="8384"/>
                  </a:cubicBezTo>
                  <a:cubicBezTo>
                    <a:pt x="17250" y="8186"/>
                    <a:pt x="17148" y="8186"/>
                    <a:pt x="17098" y="8088"/>
                  </a:cubicBezTo>
                  <a:cubicBezTo>
                    <a:pt x="16997" y="7989"/>
                    <a:pt x="16997" y="7890"/>
                    <a:pt x="16896" y="7989"/>
                  </a:cubicBezTo>
                  <a:cubicBezTo>
                    <a:pt x="16794" y="8088"/>
                    <a:pt x="16744" y="8186"/>
                    <a:pt x="16643" y="8088"/>
                  </a:cubicBezTo>
                  <a:cubicBezTo>
                    <a:pt x="16541" y="7989"/>
                    <a:pt x="16491" y="8186"/>
                    <a:pt x="16390" y="8088"/>
                  </a:cubicBezTo>
                  <a:cubicBezTo>
                    <a:pt x="16289" y="7890"/>
                    <a:pt x="16187" y="7890"/>
                    <a:pt x="16086" y="7890"/>
                  </a:cubicBezTo>
                  <a:cubicBezTo>
                    <a:pt x="15985" y="7890"/>
                    <a:pt x="15884" y="7890"/>
                    <a:pt x="15833" y="8088"/>
                  </a:cubicBezTo>
                  <a:cubicBezTo>
                    <a:pt x="15783" y="8285"/>
                    <a:pt x="15934" y="8384"/>
                    <a:pt x="15934" y="8482"/>
                  </a:cubicBezTo>
                  <a:cubicBezTo>
                    <a:pt x="15985" y="8581"/>
                    <a:pt x="15934" y="8877"/>
                    <a:pt x="15884" y="8975"/>
                  </a:cubicBezTo>
                  <a:cubicBezTo>
                    <a:pt x="15884" y="9074"/>
                    <a:pt x="15884" y="8975"/>
                    <a:pt x="15833" y="9074"/>
                  </a:cubicBezTo>
                  <a:cubicBezTo>
                    <a:pt x="15833" y="9074"/>
                    <a:pt x="15934" y="9271"/>
                    <a:pt x="15934" y="9271"/>
                  </a:cubicBezTo>
                  <a:cubicBezTo>
                    <a:pt x="15934" y="9468"/>
                    <a:pt x="15985" y="9666"/>
                    <a:pt x="15985" y="9764"/>
                  </a:cubicBezTo>
                  <a:cubicBezTo>
                    <a:pt x="15985" y="9863"/>
                    <a:pt x="15985" y="9863"/>
                    <a:pt x="15985" y="9962"/>
                  </a:cubicBezTo>
                  <a:cubicBezTo>
                    <a:pt x="15985" y="10060"/>
                    <a:pt x="15934" y="9962"/>
                    <a:pt x="15934" y="9962"/>
                  </a:cubicBezTo>
                  <a:cubicBezTo>
                    <a:pt x="15884" y="10060"/>
                    <a:pt x="15884" y="10258"/>
                    <a:pt x="15884" y="10258"/>
                  </a:cubicBezTo>
                  <a:cubicBezTo>
                    <a:pt x="15833" y="10356"/>
                    <a:pt x="15783" y="10455"/>
                    <a:pt x="15783" y="10553"/>
                  </a:cubicBezTo>
                  <a:cubicBezTo>
                    <a:pt x="15732" y="10751"/>
                    <a:pt x="15732" y="10751"/>
                    <a:pt x="15783" y="10849"/>
                  </a:cubicBezTo>
                  <a:cubicBezTo>
                    <a:pt x="15934" y="11047"/>
                    <a:pt x="16086" y="11244"/>
                    <a:pt x="16187" y="11441"/>
                  </a:cubicBezTo>
                  <a:cubicBezTo>
                    <a:pt x="16238" y="11737"/>
                    <a:pt x="16289" y="12230"/>
                    <a:pt x="16238" y="12526"/>
                  </a:cubicBezTo>
                  <a:cubicBezTo>
                    <a:pt x="16137" y="12921"/>
                    <a:pt x="15833" y="13118"/>
                    <a:pt x="15681" y="13315"/>
                  </a:cubicBezTo>
                  <a:cubicBezTo>
                    <a:pt x="15631" y="13414"/>
                    <a:pt x="15580" y="13414"/>
                    <a:pt x="15530" y="13512"/>
                  </a:cubicBezTo>
                  <a:cubicBezTo>
                    <a:pt x="15378" y="13611"/>
                    <a:pt x="15580" y="13907"/>
                    <a:pt x="15580" y="14104"/>
                  </a:cubicBezTo>
                  <a:cubicBezTo>
                    <a:pt x="15580" y="14104"/>
                    <a:pt x="15631" y="14301"/>
                    <a:pt x="15631" y="14400"/>
                  </a:cubicBezTo>
                  <a:cubicBezTo>
                    <a:pt x="15631" y="14597"/>
                    <a:pt x="15631" y="14696"/>
                    <a:pt x="15681" y="14893"/>
                  </a:cubicBezTo>
                  <a:cubicBezTo>
                    <a:pt x="15732" y="15090"/>
                    <a:pt x="15732" y="15189"/>
                    <a:pt x="15631" y="15386"/>
                  </a:cubicBezTo>
                  <a:cubicBezTo>
                    <a:pt x="15631" y="15386"/>
                    <a:pt x="15681" y="15781"/>
                    <a:pt x="15631" y="15879"/>
                  </a:cubicBezTo>
                  <a:cubicBezTo>
                    <a:pt x="15580" y="15879"/>
                    <a:pt x="15530" y="15485"/>
                    <a:pt x="15479" y="15682"/>
                  </a:cubicBezTo>
                  <a:cubicBezTo>
                    <a:pt x="15429" y="15879"/>
                    <a:pt x="15530" y="16175"/>
                    <a:pt x="15530" y="16175"/>
                  </a:cubicBezTo>
                  <a:cubicBezTo>
                    <a:pt x="15530" y="16077"/>
                    <a:pt x="15226" y="15584"/>
                    <a:pt x="15074" y="15879"/>
                  </a:cubicBezTo>
                  <a:cubicBezTo>
                    <a:pt x="15125" y="15781"/>
                    <a:pt x="15277" y="15682"/>
                    <a:pt x="15176" y="15485"/>
                  </a:cubicBezTo>
                  <a:cubicBezTo>
                    <a:pt x="15125" y="15386"/>
                    <a:pt x="15074" y="15288"/>
                    <a:pt x="15024" y="15288"/>
                  </a:cubicBezTo>
                  <a:cubicBezTo>
                    <a:pt x="15024" y="15189"/>
                    <a:pt x="14923" y="15189"/>
                    <a:pt x="14872" y="15189"/>
                  </a:cubicBezTo>
                  <a:cubicBezTo>
                    <a:pt x="14872" y="15090"/>
                    <a:pt x="14923" y="15090"/>
                    <a:pt x="14872" y="14893"/>
                  </a:cubicBezTo>
                  <a:cubicBezTo>
                    <a:pt x="14822" y="14795"/>
                    <a:pt x="14771" y="14597"/>
                    <a:pt x="14822" y="14400"/>
                  </a:cubicBezTo>
                  <a:cubicBezTo>
                    <a:pt x="14872" y="14104"/>
                    <a:pt x="14720" y="14005"/>
                    <a:pt x="14720" y="13808"/>
                  </a:cubicBezTo>
                  <a:cubicBezTo>
                    <a:pt x="14720" y="13611"/>
                    <a:pt x="14822" y="13512"/>
                    <a:pt x="14771" y="13315"/>
                  </a:cubicBezTo>
                  <a:cubicBezTo>
                    <a:pt x="14670" y="13118"/>
                    <a:pt x="14467" y="13118"/>
                    <a:pt x="14316" y="13118"/>
                  </a:cubicBezTo>
                  <a:cubicBezTo>
                    <a:pt x="14265" y="13118"/>
                    <a:pt x="14215" y="13118"/>
                    <a:pt x="14113" y="13118"/>
                  </a:cubicBezTo>
                  <a:cubicBezTo>
                    <a:pt x="14113" y="13118"/>
                    <a:pt x="14012" y="13315"/>
                    <a:pt x="14012" y="13315"/>
                  </a:cubicBezTo>
                  <a:cubicBezTo>
                    <a:pt x="14012" y="13216"/>
                    <a:pt x="14063" y="13216"/>
                    <a:pt x="14012" y="13118"/>
                  </a:cubicBezTo>
                  <a:cubicBezTo>
                    <a:pt x="14012" y="13019"/>
                    <a:pt x="13962" y="12921"/>
                    <a:pt x="13911" y="12921"/>
                  </a:cubicBezTo>
                  <a:cubicBezTo>
                    <a:pt x="13810" y="12822"/>
                    <a:pt x="13709" y="12822"/>
                    <a:pt x="13607" y="12723"/>
                  </a:cubicBezTo>
                  <a:cubicBezTo>
                    <a:pt x="13456" y="12625"/>
                    <a:pt x="13355" y="12329"/>
                    <a:pt x="13203" y="12132"/>
                  </a:cubicBezTo>
                  <a:cubicBezTo>
                    <a:pt x="13102" y="12033"/>
                    <a:pt x="13000" y="11934"/>
                    <a:pt x="12950" y="11934"/>
                  </a:cubicBezTo>
                  <a:cubicBezTo>
                    <a:pt x="12849" y="11934"/>
                    <a:pt x="12748" y="11737"/>
                    <a:pt x="12646" y="11737"/>
                  </a:cubicBezTo>
                  <a:cubicBezTo>
                    <a:pt x="12596" y="11737"/>
                    <a:pt x="12141" y="11934"/>
                    <a:pt x="12141" y="11934"/>
                  </a:cubicBezTo>
                  <a:cubicBezTo>
                    <a:pt x="12141" y="11836"/>
                    <a:pt x="12191" y="11836"/>
                    <a:pt x="12242" y="11737"/>
                  </a:cubicBezTo>
                  <a:cubicBezTo>
                    <a:pt x="12242" y="11638"/>
                    <a:pt x="12191" y="11540"/>
                    <a:pt x="12191" y="11540"/>
                  </a:cubicBezTo>
                  <a:cubicBezTo>
                    <a:pt x="12141" y="11244"/>
                    <a:pt x="12090" y="11047"/>
                    <a:pt x="12039" y="10849"/>
                  </a:cubicBezTo>
                  <a:cubicBezTo>
                    <a:pt x="11989" y="10652"/>
                    <a:pt x="11938" y="10652"/>
                    <a:pt x="11837" y="10652"/>
                  </a:cubicBezTo>
                  <a:cubicBezTo>
                    <a:pt x="11685" y="10652"/>
                    <a:pt x="11635" y="10652"/>
                    <a:pt x="11635" y="10356"/>
                  </a:cubicBezTo>
                  <a:cubicBezTo>
                    <a:pt x="11685" y="10159"/>
                    <a:pt x="11635" y="9863"/>
                    <a:pt x="11635" y="9666"/>
                  </a:cubicBezTo>
                  <a:cubicBezTo>
                    <a:pt x="11685" y="9370"/>
                    <a:pt x="11786" y="9173"/>
                    <a:pt x="11837" y="8877"/>
                  </a:cubicBezTo>
                  <a:cubicBezTo>
                    <a:pt x="11888" y="8679"/>
                    <a:pt x="11888" y="8581"/>
                    <a:pt x="11989" y="8482"/>
                  </a:cubicBezTo>
                  <a:cubicBezTo>
                    <a:pt x="12039" y="8482"/>
                    <a:pt x="11989" y="8384"/>
                    <a:pt x="11989" y="8285"/>
                  </a:cubicBezTo>
                  <a:cubicBezTo>
                    <a:pt x="12039" y="8285"/>
                    <a:pt x="12141" y="8088"/>
                    <a:pt x="12141" y="8088"/>
                  </a:cubicBezTo>
                  <a:cubicBezTo>
                    <a:pt x="12141" y="8088"/>
                    <a:pt x="12141" y="8088"/>
                    <a:pt x="12090" y="7989"/>
                  </a:cubicBezTo>
                  <a:cubicBezTo>
                    <a:pt x="12090" y="7989"/>
                    <a:pt x="12141" y="7989"/>
                    <a:pt x="12141" y="7989"/>
                  </a:cubicBezTo>
                  <a:cubicBezTo>
                    <a:pt x="12141" y="7792"/>
                    <a:pt x="12242" y="7890"/>
                    <a:pt x="12292" y="7890"/>
                  </a:cubicBezTo>
                  <a:cubicBezTo>
                    <a:pt x="12343" y="7890"/>
                    <a:pt x="12343" y="7792"/>
                    <a:pt x="12343" y="7792"/>
                  </a:cubicBezTo>
                  <a:cubicBezTo>
                    <a:pt x="12393" y="7595"/>
                    <a:pt x="12292" y="7693"/>
                    <a:pt x="12242" y="7595"/>
                  </a:cubicBezTo>
                  <a:cubicBezTo>
                    <a:pt x="12242" y="7595"/>
                    <a:pt x="12343" y="7595"/>
                    <a:pt x="12343" y="7595"/>
                  </a:cubicBezTo>
                  <a:cubicBezTo>
                    <a:pt x="12393" y="7496"/>
                    <a:pt x="12444" y="7595"/>
                    <a:pt x="12444" y="7595"/>
                  </a:cubicBezTo>
                  <a:cubicBezTo>
                    <a:pt x="12545" y="7792"/>
                    <a:pt x="12545" y="7595"/>
                    <a:pt x="12646" y="7496"/>
                  </a:cubicBezTo>
                  <a:cubicBezTo>
                    <a:pt x="12748" y="7299"/>
                    <a:pt x="12545" y="7101"/>
                    <a:pt x="12444" y="7003"/>
                  </a:cubicBezTo>
                  <a:cubicBezTo>
                    <a:pt x="12393" y="7003"/>
                    <a:pt x="12191" y="7101"/>
                    <a:pt x="12191" y="7101"/>
                  </a:cubicBezTo>
                  <a:cubicBezTo>
                    <a:pt x="12141" y="6904"/>
                    <a:pt x="12292" y="6904"/>
                    <a:pt x="12141" y="6805"/>
                  </a:cubicBezTo>
                  <a:cubicBezTo>
                    <a:pt x="12090" y="6805"/>
                    <a:pt x="11837" y="6805"/>
                    <a:pt x="11837" y="6707"/>
                  </a:cubicBezTo>
                  <a:cubicBezTo>
                    <a:pt x="11837" y="6608"/>
                    <a:pt x="11938" y="6608"/>
                    <a:pt x="11938" y="6608"/>
                  </a:cubicBezTo>
                  <a:cubicBezTo>
                    <a:pt x="11989" y="6510"/>
                    <a:pt x="11989" y="6608"/>
                    <a:pt x="12039" y="6608"/>
                  </a:cubicBezTo>
                  <a:cubicBezTo>
                    <a:pt x="11989" y="6707"/>
                    <a:pt x="12141" y="6707"/>
                    <a:pt x="12141" y="6707"/>
                  </a:cubicBezTo>
                  <a:cubicBezTo>
                    <a:pt x="12242" y="6707"/>
                    <a:pt x="12393" y="6904"/>
                    <a:pt x="12444" y="6904"/>
                  </a:cubicBezTo>
                  <a:cubicBezTo>
                    <a:pt x="12495" y="6904"/>
                    <a:pt x="12545" y="7003"/>
                    <a:pt x="12596" y="7003"/>
                  </a:cubicBezTo>
                  <a:cubicBezTo>
                    <a:pt x="12697" y="7101"/>
                    <a:pt x="12646" y="7003"/>
                    <a:pt x="12697" y="7003"/>
                  </a:cubicBezTo>
                  <a:cubicBezTo>
                    <a:pt x="12748" y="7003"/>
                    <a:pt x="12899" y="7003"/>
                    <a:pt x="12849" y="6904"/>
                  </a:cubicBezTo>
                  <a:cubicBezTo>
                    <a:pt x="12798" y="6805"/>
                    <a:pt x="12849" y="6608"/>
                    <a:pt x="12899" y="6510"/>
                  </a:cubicBezTo>
                  <a:cubicBezTo>
                    <a:pt x="12899" y="6608"/>
                    <a:pt x="13051" y="6707"/>
                    <a:pt x="13051" y="6707"/>
                  </a:cubicBezTo>
                  <a:cubicBezTo>
                    <a:pt x="13152" y="6707"/>
                    <a:pt x="13203" y="6707"/>
                    <a:pt x="13304" y="6608"/>
                  </a:cubicBezTo>
                  <a:cubicBezTo>
                    <a:pt x="13355" y="6510"/>
                    <a:pt x="13405" y="6312"/>
                    <a:pt x="13456" y="6214"/>
                  </a:cubicBezTo>
                  <a:cubicBezTo>
                    <a:pt x="13506" y="6115"/>
                    <a:pt x="13607" y="6016"/>
                    <a:pt x="13557" y="5819"/>
                  </a:cubicBezTo>
                  <a:cubicBezTo>
                    <a:pt x="13506" y="5622"/>
                    <a:pt x="13355" y="5721"/>
                    <a:pt x="13304" y="5721"/>
                  </a:cubicBezTo>
                  <a:cubicBezTo>
                    <a:pt x="13152" y="5721"/>
                    <a:pt x="13051" y="5622"/>
                    <a:pt x="12950" y="5523"/>
                  </a:cubicBezTo>
                  <a:cubicBezTo>
                    <a:pt x="12899" y="5425"/>
                    <a:pt x="12849" y="5326"/>
                    <a:pt x="12748" y="5227"/>
                  </a:cubicBezTo>
                  <a:cubicBezTo>
                    <a:pt x="12748" y="5227"/>
                    <a:pt x="12495" y="5227"/>
                    <a:pt x="12495" y="5227"/>
                  </a:cubicBezTo>
                  <a:cubicBezTo>
                    <a:pt x="12495" y="5129"/>
                    <a:pt x="12748" y="5227"/>
                    <a:pt x="12798" y="5227"/>
                  </a:cubicBezTo>
                  <a:cubicBezTo>
                    <a:pt x="12899" y="5227"/>
                    <a:pt x="12899" y="5129"/>
                    <a:pt x="13000" y="5227"/>
                  </a:cubicBezTo>
                  <a:cubicBezTo>
                    <a:pt x="13203" y="5425"/>
                    <a:pt x="13405" y="5819"/>
                    <a:pt x="13607" y="5523"/>
                  </a:cubicBezTo>
                  <a:cubicBezTo>
                    <a:pt x="13709" y="5326"/>
                    <a:pt x="13759" y="5227"/>
                    <a:pt x="13810" y="5030"/>
                  </a:cubicBezTo>
                  <a:cubicBezTo>
                    <a:pt x="13860" y="4932"/>
                    <a:pt x="13557" y="4833"/>
                    <a:pt x="13709" y="4636"/>
                  </a:cubicBezTo>
                  <a:cubicBezTo>
                    <a:pt x="13759" y="4636"/>
                    <a:pt x="13911" y="4636"/>
                    <a:pt x="13962" y="4734"/>
                  </a:cubicBezTo>
                  <a:cubicBezTo>
                    <a:pt x="14113" y="4734"/>
                    <a:pt x="14113" y="4932"/>
                    <a:pt x="14265" y="4734"/>
                  </a:cubicBezTo>
                  <a:cubicBezTo>
                    <a:pt x="14265" y="4734"/>
                    <a:pt x="14417" y="4833"/>
                    <a:pt x="14366" y="4636"/>
                  </a:cubicBezTo>
                  <a:cubicBezTo>
                    <a:pt x="14316" y="4537"/>
                    <a:pt x="14113" y="4340"/>
                    <a:pt x="14063" y="4340"/>
                  </a:cubicBezTo>
                  <a:cubicBezTo>
                    <a:pt x="14164" y="4241"/>
                    <a:pt x="14265" y="4438"/>
                    <a:pt x="14366" y="4438"/>
                  </a:cubicBezTo>
                  <a:cubicBezTo>
                    <a:pt x="14417" y="4438"/>
                    <a:pt x="14518" y="4932"/>
                    <a:pt x="14619" y="4833"/>
                  </a:cubicBezTo>
                  <a:cubicBezTo>
                    <a:pt x="14619" y="4833"/>
                    <a:pt x="14569" y="4734"/>
                    <a:pt x="14569" y="4734"/>
                  </a:cubicBezTo>
                  <a:cubicBezTo>
                    <a:pt x="14619" y="4636"/>
                    <a:pt x="14670" y="4636"/>
                    <a:pt x="14771" y="4537"/>
                  </a:cubicBezTo>
                  <a:cubicBezTo>
                    <a:pt x="14822" y="4438"/>
                    <a:pt x="14973" y="4142"/>
                    <a:pt x="15024" y="4044"/>
                  </a:cubicBezTo>
                  <a:cubicBezTo>
                    <a:pt x="15024" y="3748"/>
                    <a:pt x="14923" y="3748"/>
                    <a:pt x="14822" y="3551"/>
                  </a:cubicBezTo>
                  <a:cubicBezTo>
                    <a:pt x="14822" y="3551"/>
                    <a:pt x="14670" y="2959"/>
                    <a:pt x="14670" y="3058"/>
                  </a:cubicBezTo>
                  <a:cubicBezTo>
                    <a:pt x="14720" y="2959"/>
                    <a:pt x="14923" y="2959"/>
                    <a:pt x="14973" y="2959"/>
                  </a:cubicBezTo>
                  <a:cubicBezTo>
                    <a:pt x="15125" y="2860"/>
                    <a:pt x="14872" y="2762"/>
                    <a:pt x="14872" y="2663"/>
                  </a:cubicBezTo>
                  <a:cubicBezTo>
                    <a:pt x="14822" y="2564"/>
                    <a:pt x="15024" y="2564"/>
                    <a:pt x="15024" y="2466"/>
                  </a:cubicBezTo>
                  <a:cubicBezTo>
                    <a:pt x="15024" y="2466"/>
                    <a:pt x="14518" y="2071"/>
                    <a:pt x="14518" y="2071"/>
                  </a:cubicBezTo>
                  <a:cubicBezTo>
                    <a:pt x="14569" y="2071"/>
                    <a:pt x="14670" y="1973"/>
                    <a:pt x="14720" y="1973"/>
                  </a:cubicBezTo>
                  <a:cubicBezTo>
                    <a:pt x="14569" y="1973"/>
                    <a:pt x="14417" y="1874"/>
                    <a:pt x="14265" y="1874"/>
                  </a:cubicBezTo>
                  <a:cubicBezTo>
                    <a:pt x="14164" y="1874"/>
                    <a:pt x="14012" y="1973"/>
                    <a:pt x="13962" y="1874"/>
                  </a:cubicBezTo>
                  <a:cubicBezTo>
                    <a:pt x="14063" y="1973"/>
                    <a:pt x="13911" y="2071"/>
                    <a:pt x="13962" y="2268"/>
                  </a:cubicBezTo>
                  <a:cubicBezTo>
                    <a:pt x="14012" y="2367"/>
                    <a:pt x="14164" y="2466"/>
                    <a:pt x="14164" y="2564"/>
                  </a:cubicBezTo>
                  <a:cubicBezTo>
                    <a:pt x="14164" y="2564"/>
                    <a:pt x="14063" y="2663"/>
                    <a:pt x="14063" y="2663"/>
                  </a:cubicBezTo>
                  <a:cubicBezTo>
                    <a:pt x="14063" y="2663"/>
                    <a:pt x="14164" y="2762"/>
                    <a:pt x="14113" y="2762"/>
                  </a:cubicBezTo>
                  <a:cubicBezTo>
                    <a:pt x="14012" y="2860"/>
                    <a:pt x="13962" y="2663"/>
                    <a:pt x="13911" y="3058"/>
                  </a:cubicBezTo>
                  <a:cubicBezTo>
                    <a:pt x="13860" y="3255"/>
                    <a:pt x="13860" y="3452"/>
                    <a:pt x="13810" y="3649"/>
                  </a:cubicBezTo>
                  <a:cubicBezTo>
                    <a:pt x="13759" y="3649"/>
                    <a:pt x="13709" y="3748"/>
                    <a:pt x="13709" y="3847"/>
                  </a:cubicBezTo>
                  <a:cubicBezTo>
                    <a:pt x="13709" y="3945"/>
                    <a:pt x="13658" y="3945"/>
                    <a:pt x="13658" y="4044"/>
                  </a:cubicBezTo>
                  <a:cubicBezTo>
                    <a:pt x="13506" y="4142"/>
                    <a:pt x="13557" y="4241"/>
                    <a:pt x="13456" y="3945"/>
                  </a:cubicBezTo>
                  <a:cubicBezTo>
                    <a:pt x="13405" y="3847"/>
                    <a:pt x="13253" y="3649"/>
                    <a:pt x="13253" y="3452"/>
                  </a:cubicBezTo>
                  <a:cubicBezTo>
                    <a:pt x="13253" y="3452"/>
                    <a:pt x="13253" y="3156"/>
                    <a:pt x="13304" y="3156"/>
                  </a:cubicBezTo>
                  <a:cubicBezTo>
                    <a:pt x="13304" y="3156"/>
                    <a:pt x="13405" y="3255"/>
                    <a:pt x="13405" y="3058"/>
                  </a:cubicBezTo>
                  <a:cubicBezTo>
                    <a:pt x="13355" y="2860"/>
                    <a:pt x="13355" y="2762"/>
                    <a:pt x="13253" y="2564"/>
                  </a:cubicBezTo>
                  <a:cubicBezTo>
                    <a:pt x="13152" y="2466"/>
                    <a:pt x="13051" y="2268"/>
                    <a:pt x="12950" y="2466"/>
                  </a:cubicBezTo>
                  <a:cubicBezTo>
                    <a:pt x="12899" y="2564"/>
                    <a:pt x="12899" y="2762"/>
                    <a:pt x="12899" y="2959"/>
                  </a:cubicBezTo>
                  <a:cubicBezTo>
                    <a:pt x="12899" y="3058"/>
                    <a:pt x="12697" y="3058"/>
                    <a:pt x="12697" y="2959"/>
                  </a:cubicBezTo>
                  <a:cubicBezTo>
                    <a:pt x="12697" y="2860"/>
                    <a:pt x="12697" y="2564"/>
                    <a:pt x="12646" y="2466"/>
                  </a:cubicBezTo>
                  <a:cubicBezTo>
                    <a:pt x="12444" y="2170"/>
                    <a:pt x="12697" y="2466"/>
                    <a:pt x="12697" y="2367"/>
                  </a:cubicBezTo>
                  <a:cubicBezTo>
                    <a:pt x="12748" y="2367"/>
                    <a:pt x="12798" y="2268"/>
                    <a:pt x="12748" y="2268"/>
                  </a:cubicBezTo>
                  <a:cubicBezTo>
                    <a:pt x="12748" y="2170"/>
                    <a:pt x="12697" y="2071"/>
                    <a:pt x="12646" y="2170"/>
                  </a:cubicBezTo>
                  <a:cubicBezTo>
                    <a:pt x="12596" y="2268"/>
                    <a:pt x="12596" y="2071"/>
                    <a:pt x="12545" y="2071"/>
                  </a:cubicBezTo>
                  <a:cubicBezTo>
                    <a:pt x="12495" y="1973"/>
                    <a:pt x="12444" y="2170"/>
                    <a:pt x="12393" y="2071"/>
                  </a:cubicBezTo>
                  <a:cubicBezTo>
                    <a:pt x="12292" y="1973"/>
                    <a:pt x="12242" y="2071"/>
                    <a:pt x="12292" y="1775"/>
                  </a:cubicBezTo>
                  <a:cubicBezTo>
                    <a:pt x="12292" y="1775"/>
                    <a:pt x="12292" y="1775"/>
                    <a:pt x="12343" y="1775"/>
                  </a:cubicBezTo>
                  <a:cubicBezTo>
                    <a:pt x="12343" y="1677"/>
                    <a:pt x="12343" y="1677"/>
                    <a:pt x="12343" y="1578"/>
                  </a:cubicBezTo>
                  <a:cubicBezTo>
                    <a:pt x="12393" y="1578"/>
                    <a:pt x="12393" y="1578"/>
                    <a:pt x="12444" y="1578"/>
                  </a:cubicBezTo>
                  <a:cubicBezTo>
                    <a:pt x="12393" y="1578"/>
                    <a:pt x="12343" y="1282"/>
                    <a:pt x="12343" y="1282"/>
                  </a:cubicBezTo>
                  <a:cubicBezTo>
                    <a:pt x="12292" y="1085"/>
                    <a:pt x="12191" y="1085"/>
                    <a:pt x="12191" y="986"/>
                  </a:cubicBezTo>
                  <a:cubicBezTo>
                    <a:pt x="12090" y="888"/>
                    <a:pt x="12141" y="888"/>
                    <a:pt x="12090" y="690"/>
                  </a:cubicBezTo>
                  <a:cubicBezTo>
                    <a:pt x="12090" y="493"/>
                    <a:pt x="11989" y="395"/>
                    <a:pt x="11989" y="296"/>
                  </a:cubicBezTo>
                  <a:cubicBezTo>
                    <a:pt x="11938" y="99"/>
                    <a:pt x="11837" y="99"/>
                    <a:pt x="11736" y="99"/>
                  </a:cubicBezTo>
                  <a:cubicBezTo>
                    <a:pt x="11685" y="99"/>
                    <a:pt x="11736" y="0"/>
                    <a:pt x="11635" y="0"/>
                  </a:cubicBezTo>
                  <a:cubicBezTo>
                    <a:pt x="11584" y="0"/>
                    <a:pt x="11533" y="0"/>
                    <a:pt x="11533" y="197"/>
                  </a:cubicBezTo>
                  <a:cubicBezTo>
                    <a:pt x="11533" y="197"/>
                    <a:pt x="11382" y="296"/>
                    <a:pt x="11382" y="296"/>
                  </a:cubicBezTo>
                  <a:cubicBezTo>
                    <a:pt x="11432" y="296"/>
                    <a:pt x="11533" y="296"/>
                    <a:pt x="11533" y="395"/>
                  </a:cubicBezTo>
                  <a:cubicBezTo>
                    <a:pt x="11533" y="395"/>
                    <a:pt x="11432" y="493"/>
                    <a:pt x="11432" y="493"/>
                  </a:cubicBezTo>
                  <a:cubicBezTo>
                    <a:pt x="11382" y="592"/>
                    <a:pt x="11331" y="395"/>
                    <a:pt x="11281" y="592"/>
                  </a:cubicBezTo>
                  <a:cubicBezTo>
                    <a:pt x="11230" y="592"/>
                    <a:pt x="11179" y="888"/>
                    <a:pt x="11179" y="986"/>
                  </a:cubicBezTo>
                  <a:cubicBezTo>
                    <a:pt x="11230" y="986"/>
                    <a:pt x="11331" y="986"/>
                    <a:pt x="11382" y="1085"/>
                  </a:cubicBezTo>
                  <a:cubicBezTo>
                    <a:pt x="11331" y="986"/>
                    <a:pt x="11230" y="1381"/>
                    <a:pt x="11230" y="1479"/>
                  </a:cubicBezTo>
                  <a:cubicBezTo>
                    <a:pt x="11230" y="1578"/>
                    <a:pt x="11331" y="1775"/>
                    <a:pt x="11382" y="1874"/>
                  </a:cubicBezTo>
                  <a:cubicBezTo>
                    <a:pt x="11432" y="1874"/>
                    <a:pt x="11533" y="2071"/>
                    <a:pt x="11584" y="2071"/>
                  </a:cubicBezTo>
                  <a:cubicBezTo>
                    <a:pt x="11685" y="1973"/>
                    <a:pt x="11685" y="1973"/>
                    <a:pt x="11736" y="2071"/>
                  </a:cubicBezTo>
                  <a:cubicBezTo>
                    <a:pt x="11786" y="2071"/>
                    <a:pt x="11888" y="2268"/>
                    <a:pt x="11888" y="2268"/>
                  </a:cubicBezTo>
                  <a:cubicBezTo>
                    <a:pt x="11837" y="2367"/>
                    <a:pt x="11786" y="2170"/>
                    <a:pt x="11786" y="2367"/>
                  </a:cubicBezTo>
                  <a:cubicBezTo>
                    <a:pt x="11786" y="2564"/>
                    <a:pt x="11736" y="2564"/>
                    <a:pt x="11736" y="2663"/>
                  </a:cubicBezTo>
                  <a:cubicBezTo>
                    <a:pt x="11685" y="2860"/>
                    <a:pt x="11786" y="2860"/>
                    <a:pt x="11837" y="2762"/>
                  </a:cubicBezTo>
                  <a:cubicBezTo>
                    <a:pt x="11837" y="2762"/>
                    <a:pt x="11938" y="2466"/>
                    <a:pt x="11938" y="2564"/>
                  </a:cubicBezTo>
                  <a:cubicBezTo>
                    <a:pt x="11989" y="2663"/>
                    <a:pt x="11938" y="2860"/>
                    <a:pt x="11938" y="2959"/>
                  </a:cubicBezTo>
                  <a:cubicBezTo>
                    <a:pt x="11888" y="3058"/>
                    <a:pt x="11837" y="3058"/>
                    <a:pt x="11786" y="3058"/>
                  </a:cubicBezTo>
                  <a:cubicBezTo>
                    <a:pt x="11786" y="3156"/>
                    <a:pt x="11786" y="3255"/>
                    <a:pt x="11736" y="3353"/>
                  </a:cubicBezTo>
                  <a:cubicBezTo>
                    <a:pt x="11685" y="3353"/>
                    <a:pt x="11584" y="3353"/>
                    <a:pt x="11533" y="3452"/>
                  </a:cubicBezTo>
                  <a:cubicBezTo>
                    <a:pt x="11483" y="3452"/>
                    <a:pt x="11432" y="3649"/>
                    <a:pt x="11432" y="3649"/>
                  </a:cubicBezTo>
                  <a:cubicBezTo>
                    <a:pt x="11483" y="3748"/>
                    <a:pt x="11533" y="3847"/>
                    <a:pt x="11533" y="4044"/>
                  </a:cubicBezTo>
                  <a:cubicBezTo>
                    <a:pt x="11533" y="4142"/>
                    <a:pt x="11483" y="4044"/>
                    <a:pt x="11432" y="3945"/>
                  </a:cubicBezTo>
                  <a:cubicBezTo>
                    <a:pt x="11432" y="3945"/>
                    <a:pt x="11382" y="3945"/>
                    <a:pt x="11382" y="4044"/>
                  </a:cubicBezTo>
                  <a:cubicBezTo>
                    <a:pt x="11331" y="4044"/>
                    <a:pt x="11230" y="3945"/>
                    <a:pt x="11230" y="3847"/>
                  </a:cubicBezTo>
                  <a:cubicBezTo>
                    <a:pt x="11230" y="3748"/>
                    <a:pt x="11331" y="3452"/>
                    <a:pt x="11331" y="3353"/>
                  </a:cubicBezTo>
                  <a:cubicBezTo>
                    <a:pt x="11382" y="3156"/>
                    <a:pt x="11230" y="3353"/>
                    <a:pt x="11230" y="3353"/>
                  </a:cubicBezTo>
                  <a:cubicBezTo>
                    <a:pt x="11179" y="3353"/>
                    <a:pt x="11028" y="3156"/>
                    <a:pt x="10977" y="3058"/>
                  </a:cubicBezTo>
                  <a:cubicBezTo>
                    <a:pt x="10876" y="2959"/>
                    <a:pt x="10926" y="3156"/>
                    <a:pt x="10825" y="3156"/>
                  </a:cubicBezTo>
                  <a:cubicBezTo>
                    <a:pt x="10775" y="3156"/>
                    <a:pt x="10623" y="3058"/>
                    <a:pt x="10724" y="3255"/>
                  </a:cubicBezTo>
                  <a:cubicBezTo>
                    <a:pt x="10775" y="3353"/>
                    <a:pt x="10775" y="3452"/>
                    <a:pt x="10876" y="3452"/>
                  </a:cubicBezTo>
                  <a:cubicBezTo>
                    <a:pt x="10926" y="3452"/>
                    <a:pt x="11028" y="3452"/>
                    <a:pt x="11028" y="3649"/>
                  </a:cubicBezTo>
                  <a:cubicBezTo>
                    <a:pt x="11129" y="4044"/>
                    <a:pt x="10825" y="3551"/>
                    <a:pt x="10775" y="3452"/>
                  </a:cubicBezTo>
                  <a:cubicBezTo>
                    <a:pt x="10674" y="3452"/>
                    <a:pt x="10674" y="3649"/>
                    <a:pt x="10572" y="3649"/>
                  </a:cubicBezTo>
                  <a:cubicBezTo>
                    <a:pt x="10471" y="3649"/>
                    <a:pt x="10421" y="3551"/>
                    <a:pt x="10319" y="3551"/>
                  </a:cubicBezTo>
                  <a:cubicBezTo>
                    <a:pt x="10117" y="3649"/>
                    <a:pt x="9965" y="3649"/>
                    <a:pt x="9763" y="3649"/>
                  </a:cubicBezTo>
                  <a:cubicBezTo>
                    <a:pt x="9611" y="3551"/>
                    <a:pt x="9409" y="3353"/>
                    <a:pt x="9207" y="3255"/>
                  </a:cubicBezTo>
                  <a:cubicBezTo>
                    <a:pt x="9156" y="3255"/>
                    <a:pt x="9055" y="3255"/>
                    <a:pt x="9004" y="3156"/>
                  </a:cubicBezTo>
                  <a:cubicBezTo>
                    <a:pt x="8954" y="2959"/>
                    <a:pt x="8954" y="2762"/>
                    <a:pt x="8903" y="2762"/>
                  </a:cubicBezTo>
                  <a:cubicBezTo>
                    <a:pt x="8802" y="2663"/>
                    <a:pt x="8701" y="2762"/>
                    <a:pt x="8650" y="2762"/>
                  </a:cubicBezTo>
                  <a:cubicBezTo>
                    <a:pt x="8498" y="2860"/>
                    <a:pt x="8397" y="2860"/>
                    <a:pt x="8296" y="2860"/>
                  </a:cubicBezTo>
                  <a:cubicBezTo>
                    <a:pt x="8245" y="2959"/>
                    <a:pt x="8144" y="3058"/>
                    <a:pt x="8144" y="3156"/>
                  </a:cubicBezTo>
                  <a:cubicBezTo>
                    <a:pt x="8144" y="3156"/>
                    <a:pt x="8347" y="3353"/>
                    <a:pt x="8397" y="3353"/>
                  </a:cubicBezTo>
                  <a:cubicBezTo>
                    <a:pt x="8397" y="3353"/>
                    <a:pt x="8347" y="3058"/>
                    <a:pt x="8448" y="3156"/>
                  </a:cubicBezTo>
                  <a:cubicBezTo>
                    <a:pt x="8498" y="3156"/>
                    <a:pt x="8498" y="3255"/>
                    <a:pt x="8549" y="3156"/>
                  </a:cubicBezTo>
                  <a:cubicBezTo>
                    <a:pt x="8600" y="3156"/>
                    <a:pt x="8903" y="2762"/>
                    <a:pt x="8903" y="2959"/>
                  </a:cubicBezTo>
                  <a:cubicBezTo>
                    <a:pt x="8903" y="3058"/>
                    <a:pt x="8751" y="3156"/>
                    <a:pt x="8701" y="3255"/>
                  </a:cubicBezTo>
                  <a:cubicBezTo>
                    <a:pt x="8650" y="3353"/>
                    <a:pt x="8549" y="3353"/>
                    <a:pt x="8448" y="3353"/>
                  </a:cubicBezTo>
                  <a:cubicBezTo>
                    <a:pt x="8397" y="3452"/>
                    <a:pt x="8245" y="3649"/>
                    <a:pt x="8347" y="3748"/>
                  </a:cubicBezTo>
                  <a:cubicBezTo>
                    <a:pt x="8448" y="3748"/>
                    <a:pt x="8448" y="3847"/>
                    <a:pt x="8397" y="4044"/>
                  </a:cubicBezTo>
                  <a:cubicBezTo>
                    <a:pt x="8397" y="4142"/>
                    <a:pt x="8498" y="4142"/>
                    <a:pt x="8498" y="4241"/>
                  </a:cubicBezTo>
                  <a:cubicBezTo>
                    <a:pt x="8549" y="4340"/>
                    <a:pt x="8549" y="4537"/>
                    <a:pt x="8448" y="4340"/>
                  </a:cubicBezTo>
                  <a:cubicBezTo>
                    <a:pt x="8347" y="4142"/>
                    <a:pt x="8448" y="4537"/>
                    <a:pt x="8397" y="4438"/>
                  </a:cubicBezTo>
                  <a:cubicBezTo>
                    <a:pt x="8347" y="4438"/>
                    <a:pt x="8245" y="4142"/>
                    <a:pt x="8195" y="4241"/>
                  </a:cubicBezTo>
                  <a:cubicBezTo>
                    <a:pt x="8296" y="4142"/>
                    <a:pt x="8448" y="4241"/>
                    <a:pt x="8296" y="4044"/>
                  </a:cubicBezTo>
                  <a:cubicBezTo>
                    <a:pt x="8347" y="4044"/>
                    <a:pt x="8397" y="3945"/>
                    <a:pt x="8296" y="3847"/>
                  </a:cubicBezTo>
                  <a:cubicBezTo>
                    <a:pt x="8397" y="3945"/>
                    <a:pt x="8144" y="3945"/>
                    <a:pt x="8195" y="3945"/>
                  </a:cubicBezTo>
                  <a:cubicBezTo>
                    <a:pt x="8195" y="3847"/>
                    <a:pt x="8195" y="3847"/>
                    <a:pt x="8245" y="3847"/>
                  </a:cubicBezTo>
                  <a:cubicBezTo>
                    <a:pt x="8245" y="3748"/>
                    <a:pt x="8094" y="3945"/>
                    <a:pt x="8094" y="3945"/>
                  </a:cubicBezTo>
                  <a:cubicBezTo>
                    <a:pt x="8043" y="3945"/>
                    <a:pt x="8094" y="3748"/>
                    <a:pt x="8043" y="3649"/>
                  </a:cubicBezTo>
                  <a:cubicBezTo>
                    <a:pt x="8043" y="3649"/>
                    <a:pt x="7942" y="3649"/>
                    <a:pt x="7942" y="3649"/>
                  </a:cubicBezTo>
                  <a:cubicBezTo>
                    <a:pt x="7841" y="3649"/>
                    <a:pt x="7841" y="3353"/>
                    <a:pt x="7740" y="3452"/>
                  </a:cubicBezTo>
                  <a:cubicBezTo>
                    <a:pt x="7638" y="3649"/>
                    <a:pt x="7588" y="3649"/>
                    <a:pt x="7436" y="3649"/>
                  </a:cubicBezTo>
                  <a:cubicBezTo>
                    <a:pt x="7234" y="3649"/>
                    <a:pt x="7082" y="3649"/>
                    <a:pt x="6880" y="3649"/>
                  </a:cubicBezTo>
                  <a:cubicBezTo>
                    <a:pt x="6829" y="3649"/>
                    <a:pt x="6475" y="3649"/>
                    <a:pt x="6475" y="3551"/>
                  </a:cubicBezTo>
                  <a:cubicBezTo>
                    <a:pt x="6424" y="3551"/>
                    <a:pt x="6576" y="3353"/>
                    <a:pt x="6627" y="3255"/>
                  </a:cubicBezTo>
                  <a:cubicBezTo>
                    <a:pt x="6677" y="3156"/>
                    <a:pt x="6728" y="3255"/>
                    <a:pt x="6829" y="3255"/>
                  </a:cubicBezTo>
                  <a:cubicBezTo>
                    <a:pt x="6880" y="3156"/>
                    <a:pt x="6728" y="2959"/>
                    <a:pt x="6728" y="2959"/>
                  </a:cubicBezTo>
                  <a:cubicBezTo>
                    <a:pt x="6627" y="2762"/>
                    <a:pt x="6576" y="2762"/>
                    <a:pt x="6475" y="2663"/>
                  </a:cubicBezTo>
                  <a:cubicBezTo>
                    <a:pt x="6424" y="2663"/>
                    <a:pt x="6374" y="2564"/>
                    <a:pt x="6323" y="2663"/>
                  </a:cubicBezTo>
                  <a:cubicBezTo>
                    <a:pt x="6273" y="2762"/>
                    <a:pt x="6222" y="2860"/>
                    <a:pt x="6171" y="2762"/>
                  </a:cubicBezTo>
                  <a:cubicBezTo>
                    <a:pt x="6020" y="2564"/>
                    <a:pt x="5868" y="2564"/>
                    <a:pt x="5716" y="2466"/>
                  </a:cubicBezTo>
                  <a:cubicBezTo>
                    <a:pt x="5514" y="2367"/>
                    <a:pt x="5362" y="2367"/>
                    <a:pt x="5160" y="2170"/>
                  </a:cubicBezTo>
                  <a:cubicBezTo>
                    <a:pt x="5008" y="1973"/>
                    <a:pt x="4907" y="1874"/>
                    <a:pt x="4704" y="1874"/>
                  </a:cubicBezTo>
                  <a:cubicBezTo>
                    <a:pt x="4654" y="1874"/>
                    <a:pt x="4603" y="1874"/>
                    <a:pt x="4553" y="1973"/>
                  </a:cubicBezTo>
                  <a:cubicBezTo>
                    <a:pt x="4502" y="2071"/>
                    <a:pt x="4452" y="2268"/>
                    <a:pt x="4401" y="2268"/>
                  </a:cubicBezTo>
                  <a:cubicBezTo>
                    <a:pt x="4350" y="2268"/>
                    <a:pt x="4199" y="2367"/>
                    <a:pt x="4199" y="2268"/>
                  </a:cubicBezTo>
                  <a:cubicBezTo>
                    <a:pt x="4199" y="2170"/>
                    <a:pt x="4300" y="2071"/>
                    <a:pt x="4300" y="1973"/>
                  </a:cubicBezTo>
                  <a:cubicBezTo>
                    <a:pt x="4300" y="1973"/>
                    <a:pt x="4148" y="2071"/>
                    <a:pt x="4148" y="1973"/>
                  </a:cubicBezTo>
                  <a:cubicBezTo>
                    <a:pt x="4199" y="1874"/>
                    <a:pt x="4199" y="1775"/>
                    <a:pt x="4148" y="1677"/>
                  </a:cubicBezTo>
                  <a:cubicBezTo>
                    <a:pt x="4148" y="1479"/>
                    <a:pt x="3946" y="1677"/>
                    <a:pt x="3946" y="1775"/>
                  </a:cubicBezTo>
                  <a:cubicBezTo>
                    <a:pt x="3946" y="1775"/>
                    <a:pt x="4047" y="1677"/>
                    <a:pt x="4047" y="1775"/>
                  </a:cubicBezTo>
                  <a:cubicBezTo>
                    <a:pt x="4097" y="1775"/>
                    <a:pt x="3895" y="1973"/>
                    <a:pt x="4047" y="1973"/>
                  </a:cubicBezTo>
                  <a:cubicBezTo>
                    <a:pt x="3996" y="1973"/>
                    <a:pt x="3946" y="1973"/>
                    <a:pt x="3946" y="2170"/>
                  </a:cubicBezTo>
                  <a:cubicBezTo>
                    <a:pt x="3946" y="2268"/>
                    <a:pt x="3895" y="2367"/>
                    <a:pt x="3844" y="2268"/>
                  </a:cubicBezTo>
                  <a:cubicBezTo>
                    <a:pt x="3693" y="2170"/>
                    <a:pt x="3642" y="2071"/>
                    <a:pt x="3592" y="1775"/>
                  </a:cubicBezTo>
                  <a:cubicBezTo>
                    <a:pt x="3541" y="1578"/>
                    <a:pt x="3440" y="1479"/>
                    <a:pt x="3339" y="1282"/>
                  </a:cubicBezTo>
                  <a:cubicBezTo>
                    <a:pt x="3288" y="1282"/>
                    <a:pt x="3237" y="1085"/>
                    <a:pt x="3187" y="1184"/>
                  </a:cubicBezTo>
                  <a:cubicBezTo>
                    <a:pt x="3187" y="1381"/>
                    <a:pt x="3339" y="1479"/>
                    <a:pt x="3389" y="1578"/>
                  </a:cubicBezTo>
                  <a:cubicBezTo>
                    <a:pt x="3389" y="1479"/>
                    <a:pt x="3187" y="1578"/>
                    <a:pt x="3187" y="1677"/>
                  </a:cubicBezTo>
                  <a:cubicBezTo>
                    <a:pt x="3136" y="1775"/>
                    <a:pt x="3187" y="1775"/>
                    <a:pt x="3136" y="1874"/>
                  </a:cubicBezTo>
                  <a:cubicBezTo>
                    <a:pt x="3086" y="1874"/>
                    <a:pt x="3035" y="2071"/>
                    <a:pt x="2985" y="1973"/>
                  </a:cubicBezTo>
                  <a:cubicBezTo>
                    <a:pt x="2985" y="1973"/>
                    <a:pt x="2985" y="1874"/>
                    <a:pt x="2985" y="1874"/>
                  </a:cubicBezTo>
                  <a:cubicBezTo>
                    <a:pt x="2985" y="1775"/>
                    <a:pt x="2732" y="1973"/>
                    <a:pt x="2732" y="2071"/>
                  </a:cubicBezTo>
                  <a:cubicBezTo>
                    <a:pt x="2681" y="2170"/>
                    <a:pt x="2630" y="2268"/>
                    <a:pt x="2529" y="2367"/>
                  </a:cubicBezTo>
                  <a:cubicBezTo>
                    <a:pt x="2479" y="2466"/>
                    <a:pt x="2529" y="2170"/>
                    <a:pt x="2479" y="2170"/>
                  </a:cubicBezTo>
                  <a:cubicBezTo>
                    <a:pt x="2428" y="2170"/>
                    <a:pt x="2378" y="2268"/>
                    <a:pt x="2327" y="2268"/>
                  </a:cubicBezTo>
                  <a:cubicBezTo>
                    <a:pt x="2276" y="2268"/>
                    <a:pt x="2276" y="2466"/>
                    <a:pt x="2226" y="2466"/>
                  </a:cubicBezTo>
                  <a:cubicBezTo>
                    <a:pt x="2175" y="2466"/>
                    <a:pt x="2023" y="2663"/>
                    <a:pt x="2074" y="2663"/>
                  </a:cubicBezTo>
                  <a:cubicBezTo>
                    <a:pt x="2074" y="2762"/>
                    <a:pt x="2175" y="2762"/>
                    <a:pt x="2023" y="2860"/>
                  </a:cubicBezTo>
                  <a:cubicBezTo>
                    <a:pt x="2023" y="2860"/>
                    <a:pt x="1872" y="2860"/>
                    <a:pt x="1872" y="2762"/>
                  </a:cubicBezTo>
                  <a:cubicBezTo>
                    <a:pt x="1872" y="2663"/>
                    <a:pt x="2023" y="2564"/>
                    <a:pt x="2023" y="2564"/>
                  </a:cubicBezTo>
                  <a:cubicBezTo>
                    <a:pt x="2074" y="2367"/>
                    <a:pt x="2175" y="2268"/>
                    <a:pt x="2226" y="2170"/>
                  </a:cubicBezTo>
                  <a:cubicBezTo>
                    <a:pt x="2327" y="2071"/>
                    <a:pt x="2378" y="2071"/>
                    <a:pt x="2479" y="2170"/>
                  </a:cubicBezTo>
                  <a:cubicBezTo>
                    <a:pt x="2428" y="2170"/>
                    <a:pt x="2833" y="1775"/>
                    <a:pt x="2833" y="1775"/>
                  </a:cubicBezTo>
                  <a:cubicBezTo>
                    <a:pt x="2934" y="1677"/>
                    <a:pt x="2883" y="1578"/>
                    <a:pt x="2833" y="1578"/>
                  </a:cubicBezTo>
                  <a:cubicBezTo>
                    <a:pt x="2732" y="1578"/>
                    <a:pt x="2630" y="1578"/>
                    <a:pt x="2529" y="1677"/>
                  </a:cubicBezTo>
                  <a:cubicBezTo>
                    <a:pt x="2479" y="1677"/>
                    <a:pt x="2479" y="1874"/>
                    <a:pt x="2378" y="1874"/>
                  </a:cubicBezTo>
                  <a:cubicBezTo>
                    <a:pt x="2327" y="1874"/>
                    <a:pt x="2226" y="1973"/>
                    <a:pt x="2175" y="1973"/>
                  </a:cubicBezTo>
                  <a:cubicBezTo>
                    <a:pt x="2074" y="1973"/>
                    <a:pt x="1821" y="2466"/>
                    <a:pt x="1770" y="2367"/>
                  </a:cubicBezTo>
                  <a:cubicBezTo>
                    <a:pt x="1720" y="2367"/>
                    <a:pt x="1821" y="2268"/>
                    <a:pt x="1821" y="2170"/>
                  </a:cubicBezTo>
                  <a:cubicBezTo>
                    <a:pt x="1821" y="2170"/>
                    <a:pt x="1669" y="2071"/>
                    <a:pt x="1669" y="2071"/>
                  </a:cubicBezTo>
                  <a:cubicBezTo>
                    <a:pt x="1669" y="2071"/>
                    <a:pt x="1518" y="2268"/>
                    <a:pt x="1467" y="2268"/>
                  </a:cubicBezTo>
                  <a:cubicBezTo>
                    <a:pt x="1416" y="2268"/>
                    <a:pt x="1315" y="2367"/>
                    <a:pt x="1265" y="2466"/>
                  </a:cubicBezTo>
                  <a:cubicBezTo>
                    <a:pt x="1214" y="2466"/>
                    <a:pt x="1315" y="2564"/>
                    <a:pt x="1315" y="2564"/>
                  </a:cubicBezTo>
                  <a:cubicBezTo>
                    <a:pt x="1366" y="2564"/>
                    <a:pt x="1315" y="2663"/>
                    <a:pt x="1315" y="2663"/>
                  </a:cubicBezTo>
                  <a:cubicBezTo>
                    <a:pt x="1315" y="2762"/>
                    <a:pt x="1518" y="2663"/>
                    <a:pt x="1518" y="2663"/>
                  </a:cubicBezTo>
                  <a:cubicBezTo>
                    <a:pt x="1568" y="2564"/>
                    <a:pt x="1669" y="2466"/>
                    <a:pt x="1720" y="2367"/>
                  </a:cubicBezTo>
                  <a:cubicBezTo>
                    <a:pt x="1467" y="2564"/>
                    <a:pt x="1720" y="2663"/>
                    <a:pt x="1669" y="2860"/>
                  </a:cubicBezTo>
                  <a:cubicBezTo>
                    <a:pt x="1669" y="2860"/>
                    <a:pt x="1619" y="2762"/>
                    <a:pt x="1619" y="2762"/>
                  </a:cubicBezTo>
                  <a:cubicBezTo>
                    <a:pt x="1518" y="2663"/>
                    <a:pt x="1467" y="2762"/>
                    <a:pt x="1416" y="2860"/>
                  </a:cubicBezTo>
                  <a:cubicBezTo>
                    <a:pt x="1366" y="2860"/>
                    <a:pt x="1163" y="2762"/>
                    <a:pt x="1062" y="2762"/>
                  </a:cubicBezTo>
                  <a:cubicBezTo>
                    <a:pt x="961" y="2762"/>
                    <a:pt x="809" y="2564"/>
                    <a:pt x="708" y="2466"/>
                  </a:cubicBezTo>
                  <a:cubicBezTo>
                    <a:pt x="658" y="2466"/>
                    <a:pt x="607" y="2367"/>
                    <a:pt x="556" y="2367"/>
                  </a:cubicBezTo>
                  <a:cubicBezTo>
                    <a:pt x="506" y="2268"/>
                    <a:pt x="455" y="2071"/>
                    <a:pt x="506" y="2071"/>
                  </a:cubicBezTo>
                  <a:cubicBezTo>
                    <a:pt x="455" y="2071"/>
                    <a:pt x="354" y="2071"/>
                    <a:pt x="304" y="2170"/>
                  </a:cubicBezTo>
                  <a:cubicBezTo>
                    <a:pt x="202" y="2170"/>
                    <a:pt x="101" y="2170"/>
                    <a:pt x="0" y="2071"/>
                  </a:cubicBezTo>
                  <a:cubicBezTo>
                    <a:pt x="0" y="4044"/>
                    <a:pt x="0" y="6016"/>
                    <a:pt x="0" y="7890"/>
                  </a:cubicBezTo>
                  <a:cubicBezTo>
                    <a:pt x="0" y="8384"/>
                    <a:pt x="0" y="8778"/>
                    <a:pt x="0" y="9271"/>
                  </a:cubicBezTo>
                  <a:cubicBezTo>
                    <a:pt x="0" y="9370"/>
                    <a:pt x="0" y="9468"/>
                    <a:pt x="0" y="9567"/>
                  </a:cubicBezTo>
                  <a:cubicBezTo>
                    <a:pt x="0" y="9764"/>
                    <a:pt x="101" y="9567"/>
                    <a:pt x="152" y="9567"/>
                  </a:cubicBezTo>
                  <a:cubicBezTo>
                    <a:pt x="253" y="9666"/>
                    <a:pt x="253" y="9567"/>
                    <a:pt x="354" y="9567"/>
                  </a:cubicBezTo>
                  <a:cubicBezTo>
                    <a:pt x="455" y="9567"/>
                    <a:pt x="455" y="9666"/>
                    <a:pt x="506" y="9764"/>
                  </a:cubicBezTo>
                  <a:cubicBezTo>
                    <a:pt x="556" y="9962"/>
                    <a:pt x="809" y="10553"/>
                    <a:pt x="911" y="10553"/>
                  </a:cubicBezTo>
                  <a:cubicBezTo>
                    <a:pt x="961" y="10553"/>
                    <a:pt x="1062" y="10455"/>
                    <a:pt x="1113" y="10356"/>
                  </a:cubicBezTo>
                  <a:cubicBezTo>
                    <a:pt x="1163" y="10258"/>
                    <a:pt x="1113" y="10159"/>
                    <a:pt x="1163" y="10060"/>
                  </a:cubicBezTo>
                  <a:cubicBezTo>
                    <a:pt x="1214" y="10060"/>
                    <a:pt x="1416" y="9962"/>
                    <a:pt x="1416" y="10060"/>
                  </a:cubicBezTo>
                  <a:cubicBezTo>
                    <a:pt x="1518" y="10258"/>
                    <a:pt x="1619" y="10356"/>
                    <a:pt x="1669" y="10553"/>
                  </a:cubicBezTo>
                  <a:cubicBezTo>
                    <a:pt x="1770" y="10751"/>
                    <a:pt x="1872" y="10849"/>
                    <a:pt x="1922" y="11047"/>
                  </a:cubicBezTo>
                  <a:cubicBezTo>
                    <a:pt x="1973" y="11145"/>
                    <a:pt x="1973" y="11244"/>
                    <a:pt x="2023" y="11441"/>
                  </a:cubicBezTo>
                  <a:cubicBezTo>
                    <a:pt x="2125" y="11638"/>
                    <a:pt x="2175" y="12033"/>
                    <a:pt x="2327" y="12230"/>
                  </a:cubicBezTo>
                  <a:cubicBezTo>
                    <a:pt x="2428" y="12427"/>
                    <a:pt x="2630" y="12526"/>
                    <a:pt x="2732" y="12625"/>
                  </a:cubicBezTo>
                  <a:cubicBezTo>
                    <a:pt x="2833" y="12723"/>
                    <a:pt x="2681" y="12822"/>
                    <a:pt x="2732" y="13019"/>
                  </a:cubicBezTo>
                  <a:cubicBezTo>
                    <a:pt x="2782" y="13019"/>
                    <a:pt x="2833" y="13019"/>
                    <a:pt x="2833" y="13118"/>
                  </a:cubicBezTo>
                  <a:cubicBezTo>
                    <a:pt x="2833" y="13118"/>
                    <a:pt x="2782" y="13414"/>
                    <a:pt x="2833" y="13315"/>
                  </a:cubicBezTo>
                  <a:cubicBezTo>
                    <a:pt x="2782" y="13414"/>
                    <a:pt x="2681" y="13414"/>
                    <a:pt x="2681" y="13611"/>
                  </a:cubicBezTo>
                  <a:cubicBezTo>
                    <a:pt x="2630" y="13710"/>
                    <a:pt x="2782" y="13907"/>
                    <a:pt x="2833" y="13907"/>
                  </a:cubicBezTo>
                  <a:cubicBezTo>
                    <a:pt x="2833" y="13907"/>
                    <a:pt x="2732" y="14104"/>
                    <a:pt x="2732" y="14104"/>
                  </a:cubicBezTo>
                  <a:cubicBezTo>
                    <a:pt x="2732" y="14104"/>
                    <a:pt x="2681" y="14005"/>
                    <a:pt x="2681" y="13907"/>
                  </a:cubicBezTo>
                  <a:cubicBezTo>
                    <a:pt x="2630" y="13907"/>
                    <a:pt x="2681" y="14104"/>
                    <a:pt x="2681" y="14104"/>
                  </a:cubicBezTo>
                  <a:cubicBezTo>
                    <a:pt x="2732" y="14203"/>
                    <a:pt x="2681" y="14301"/>
                    <a:pt x="2732" y="14400"/>
                  </a:cubicBezTo>
                  <a:cubicBezTo>
                    <a:pt x="2782" y="14597"/>
                    <a:pt x="2782" y="14597"/>
                    <a:pt x="2883" y="14499"/>
                  </a:cubicBezTo>
                  <a:cubicBezTo>
                    <a:pt x="2883" y="14499"/>
                    <a:pt x="2934" y="14499"/>
                    <a:pt x="2934" y="14499"/>
                  </a:cubicBezTo>
                  <a:cubicBezTo>
                    <a:pt x="2985" y="14499"/>
                    <a:pt x="2985" y="14301"/>
                    <a:pt x="2985" y="14301"/>
                  </a:cubicBezTo>
                  <a:cubicBezTo>
                    <a:pt x="2985" y="14301"/>
                    <a:pt x="3035" y="14499"/>
                    <a:pt x="3086" y="14499"/>
                  </a:cubicBezTo>
                  <a:cubicBezTo>
                    <a:pt x="3086" y="14499"/>
                    <a:pt x="3035" y="14696"/>
                    <a:pt x="3035" y="14795"/>
                  </a:cubicBezTo>
                  <a:cubicBezTo>
                    <a:pt x="2985" y="14893"/>
                    <a:pt x="2985" y="14992"/>
                    <a:pt x="3086" y="14893"/>
                  </a:cubicBezTo>
                  <a:cubicBezTo>
                    <a:pt x="3086" y="14795"/>
                    <a:pt x="3136" y="14795"/>
                    <a:pt x="3136" y="14795"/>
                  </a:cubicBezTo>
                  <a:cubicBezTo>
                    <a:pt x="3187" y="14795"/>
                    <a:pt x="3187" y="14696"/>
                    <a:pt x="3187" y="14696"/>
                  </a:cubicBezTo>
                  <a:cubicBezTo>
                    <a:pt x="3288" y="14597"/>
                    <a:pt x="3237" y="14893"/>
                    <a:pt x="3237" y="14992"/>
                  </a:cubicBezTo>
                  <a:cubicBezTo>
                    <a:pt x="3237" y="15090"/>
                    <a:pt x="3288" y="15189"/>
                    <a:pt x="3339" y="15189"/>
                  </a:cubicBezTo>
                  <a:cubicBezTo>
                    <a:pt x="3389" y="15189"/>
                    <a:pt x="3440" y="14992"/>
                    <a:pt x="3490" y="14992"/>
                  </a:cubicBezTo>
                  <a:cubicBezTo>
                    <a:pt x="3490" y="14992"/>
                    <a:pt x="3440" y="15090"/>
                    <a:pt x="3440" y="15090"/>
                  </a:cubicBezTo>
                  <a:cubicBezTo>
                    <a:pt x="3440" y="15090"/>
                    <a:pt x="3541" y="15189"/>
                    <a:pt x="3541" y="15189"/>
                  </a:cubicBezTo>
                  <a:cubicBezTo>
                    <a:pt x="3541" y="15189"/>
                    <a:pt x="3187" y="15386"/>
                    <a:pt x="3339" y="15584"/>
                  </a:cubicBezTo>
                  <a:cubicBezTo>
                    <a:pt x="3339" y="15584"/>
                    <a:pt x="3642" y="15485"/>
                    <a:pt x="3592" y="15584"/>
                  </a:cubicBezTo>
                  <a:cubicBezTo>
                    <a:pt x="3592" y="15584"/>
                    <a:pt x="3339" y="15584"/>
                    <a:pt x="3389" y="15781"/>
                  </a:cubicBezTo>
                  <a:cubicBezTo>
                    <a:pt x="3389" y="15781"/>
                    <a:pt x="3490" y="15781"/>
                    <a:pt x="3490" y="15781"/>
                  </a:cubicBezTo>
                  <a:cubicBezTo>
                    <a:pt x="3440" y="15879"/>
                    <a:pt x="3339" y="15879"/>
                    <a:pt x="3389" y="15978"/>
                  </a:cubicBezTo>
                  <a:cubicBezTo>
                    <a:pt x="3490" y="16077"/>
                    <a:pt x="3592" y="16077"/>
                    <a:pt x="3642" y="16077"/>
                  </a:cubicBezTo>
                  <a:cubicBezTo>
                    <a:pt x="3743" y="16077"/>
                    <a:pt x="3693" y="16175"/>
                    <a:pt x="3743" y="16175"/>
                  </a:cubicBezTo>
                  <a:cubicBezTo>
                    <a:pt x="3844" y="16274"/>
                    <a:pt x="3844" y="15978"/>
                    <a:pt x="3895" y="15978"/>
                  </a:cubicBezTo>
                  <a:cubicBezTo>
                    <a:pt x="3946" y="15978"/>
                    <a:pt x="3895" y="16175"/>
                    <a:pt x="3895" y="16175"/>
                  </a:cubicBezTo>
                  <a:cubicBezTo>
                    <a:pt x="3844" y="16274"/>
                    <a:pt x="3844" y="16274"/>
                    <a:pt x="3895" y="16373"/>
                  </a:cubicBezTo>
                  <a:cubicBezTo>
                    <a:pt x="4047" y="16570"/>
                    <a:pt x="4097" y="16077"/>
                    <a:pt x="4097" y="16077"/>
                  </a:cubicBezTo>
                  <a:cubicBezTo>
                    <a:pt x="4097" y="16077"/>
                    <a:pt x="4097" y="16373"/>
                    <a:pt x="4047" y="16373"/>
                  </a:cubicBezTo>
                  <a:cubicBezTo>
                    <a:pt x="4047" y="16471"/>
                    <a:pt x="4148" y="16373"/>
                    <a:pt x="4199" y="16373"/>
                  </a:cubicBezTo>
                  <a:cubicBezTo>
                    <a:pt x="4148" y="16570"/>
                    <a:pt x="4097" y="16668"/>
                    <a:pt x="4199" y="16767"/>
                  </a:cubicBezTo>
                  <a:cubicBezTo>
                    <a:pt x="4300" y="16866"/>
                    <a:pt x="4350" y="16570"/>
                    <a:pt x="4350" y="16570"/>
                  </a:cubicBezTo>
                  <a:cubicBezTo>
                    <a:pt x="4350" y="16570"/>
                    <a:pt x="4350" y="16668"/>
                    <a:pt x="4350" y="16767"/>
                  </a:cubicBezTo>
                  <a:cubicBezTo>
                    <a:pt x="4401" y="16964"/>
                    <a:pt x="4350" y="16866"/>
                    <a:pt x="4300" y="16866"/>
                  </a:cubicBezTo>
                  <a:cubicBezTo>
                    <a:pt x="4249" y="16964"/>
                    <a:pt x="4553" y="17063"/>
                    <a:pt x="4502" y="16866"/>
                  </a:cubicBezTo>
                  <a:cubicBezTo>
                    <a:pt x="4603" y="17162"/>
                    <a:pt x="4553" y="17359"/>
                    <a:pt x="4755" y="17359"/>
                  </a:cubicBezTo>
                  <a:cubicBezTo>
                    <a:pt x="4907" y="17359"/>
                    <a:pt x="5008" y="17359"/>
                    <a:pt x="5160" y="17359"/>
                  </a:cubicBezTo>
                  <a:cubicBezTo>
                    <a:pt x="5716" y="17359"/>
                    <a:pt x="6222" y="17359"/>
                    <a:pt x="6728" y="17359"/>
                  </a:cubicBezTo>
                  <a:cubicBezTo>
                    <a:pt x="7993" y="17359"/>
                    <a:pt x="9257" y="17359"/>
                    <a:pt x="10522" y="17359"/>
                  </a:cubicBezTo>
                  <a:cubicBezTo>
                    <a:pt x="10775" y="17359"/>
                    <a:pt x="11028" y="17359"/>
                    <a:pt x="11281" y="17359"/>
                  </a:cubicBezTo>
                  <a:cubicBezTo>
                    <a:pt x="11331" y="17359"/>
                    <a:pt x="11584" y="17458"/>
                    <a:pt x="11584" y="17162"/>
                  </a:cubicBezTo>
                  <a:close/>
                  <a:moveTo>
                    <a:pt x="5666" y="5326"/>
                  </a:moveTo>
                  <a:cubicBezTo>
                    <a:pt x="5564" y="5326"/>
                    <a:pt x="5463" y="5227"/>
                    <a:pt x="5362" y="5326"/>
                  </a:cubicBezTo>
                  <a:cubicBezTo>
                    <a:pt x="5261" y="5622"/>
                    <a:pt x="5463" y="5523"/>
                    <a:pt x="5463" y="5622"/>
                  </a:cubicBezTo>
                  <a:cubicBezTo>
                    <a:pt x="5463" y="5523"/>
                    <a:pt x="5059" y="5918"/>
                    <a:pt x="5059" y="5918"/>
                  </a:cubicBezTo>
                  <a:cubicBezTo>
                    <a:pt x="4957" y="5819"/>
                    <a:pt x="5413" y="5227"/>
                    <a:pt x="5008" y="5523"/>
                  </a:cubicBezTo>
                  <a:cubicBezTo>
                    <a:pt x="4957" y="5523"/>
                    <a:pt x="4907" y="5622"/>
                    <a:pt x="4907" y="5622"/>
                  </a:cubicBezTo>
                  <a:cubicBezTo>
                    <a:pt x="4856" y="5721"/>
                    <a:pt x="4907" y="5819"/>
                    <a:pt x="4856" y="5918"/>
                  </a:cubicBezTo>
                  <a:cubicBezTo>
                    <a:pt x="4806" y="5918"/>
                    <a:pt x="4452" y="5819"/>
                    <a:pt x="4452" y="5819"/>
                  </a:cubicBezTo>
                  <a:cubicBezTo>
                    <a:pt x="4452" y="5721"/>
                    <a:pt x="4603" y="5819"/>
                    <a:pt x="4603" y="5721"/>
                  </a:cubicBezTo>
                  <a:cubicBezTo>
                    <a:pt x="4654" y="5622"/>
                    <a:pt x="4603" y="5622"/>
                    <a:pt x="4654" y="5523"/>
                  </a:cubicBezTo>
                  <a:cubicBezTo>
                    <a:pt x="4654" y="5425"/>
                    <a:pt x="4755" y="5326"/>
                    <a:pt x="4755" y="5326"/>
                  </a:cubicBezTo>
                  <a:cubicBezTo>
                    <a:pt x="4755" y="5227"/>
                    <a:pt x="4603" y="5129"/>
                    <a:pt x="4755" y="5129"/>
                  </a:cubicBezTo>
                  <a:cubicBezTo>
                    <a:pt x="4755" y="5129"/>
                    <a:pt x="4957" y="5227"/>
                    <a:pt x="4957" y="5129"/>
                  </a:cubicBezTo>
                  <a:cubicBezTo>
                    <a:pt x="4957" y="5030"/>
                    <a:pt x="4704" y="4932"/>
                    <a:pt x="4654" y="4932"/>
                  </a:cubicBezTo>
                  <a:cubicBezTo>
                    <a:pt x="4603" y="4932"/>
                    <a:pt x="4502" y="5030"/>
                    <a:pt x="4401" y="5030"/>
                  </a:cubicBezTo>
                  <a:cubicBezTo>
                    <a:pt x="4350" y="5030"/>
                    <a:pt x="4249" y="4932"/>
                    <a:pt x="4148" y="5030"/>
                  </a:cubicBezTo>
                  <a:cubicBezTo>
                    <a:pt x="4097" y="5030"/>
                    <a:pt x="3996" y="5227"/>
                    <a:pt x="4047" y="5030"/>
                  </a:cubicBezTo>
                  <a:cubicBezTo>
                    <a:pt x="4097" y="4833"/>
                    <a:pt x="4199" y="4932"/>
                    <a:pt x="4249" y="4833"/>
                  </a:cubicBezTo>
                  <a:cubicBezTo>
                    <a:pt x="4350" y="4833"/>
                    <a:pt x="4502" y="4734"/>
                    <a:pt x="4603" y="4636"/>
                  </a:cubicBezTo>
                  <a:cubicBezTo>
                    <a:pt x="4806" y="4537"/>
                    <a:pt x="5008" y="4537"/>
                    <a:pt x="5160" y="4340"/>
                  </a:cubicBezTo>
                  <a:cubicBezTo>
                    <a:pt x="5261" y="4340"/>
                    <a:pt x="5413" y="4241"/>
                    <a:pt x="5463" y="4438"/>
                  </a:cubicBezTo>
                  <a:cubicBezTo>
                    <a:pt x="5514" y="4537"/>
                    <a:pt x="5311" y="4636"/>
                    <a:pt x="5261" y="4734"/>
                  </a:cubicBezTo>
                  <a:cubicBezTo>
                    <a:pt x="5160" y="4833"/>
                    <a:pt x="5564" y="4833"/>
                    <a:pt x="5615" y="4833"/>
                  </a:cubicBezTo>
                  <a:cubicBezTo>
                    <a:pt x="5615" y="4833"/>
                    <a:pt x="5716" y="4833"/>
                    <a:pt x="5716" y="4833"/>
                  </a:cubicBezTo>
                  <a:cubicBezTo>
                    <a:pt x="5767" y="4734"/>
                    <a:pt x="5868" y="4537"/>
                    <a:pt x="5919" y="4636"/>
                  </a:cubicBezTo>
                  <a:cubicBezTo>
                    <a:pt x="5969" y="4734"/>
                    <a:pt x="5716" y="5326"/>
                    <a:pt x="5666" y="5326"/>
                  </a:cubicBezTo>
                  <a:cubicBezTo>
                    <a:pt x="5564" y="5326"/>
                    <a:pt x="5767" y="5326"/>
                    <a:pt x="5666" y="5326"/>
                  </a:cubicBezTo>
                  <a:close/>
                  <a:moveTo>
                    <a:pt x="7942" y="7693"/>
                  </a:moveTo>
                  <a:cubicBezTo>
                    <a:pt x="7942" y="7693"/>
                    <a:pt x="7689" y="7693"/>
                    <a:pt x="7740" y="7693"/>
                  </a:cubicBezTo>
                  <a:cubicBezTo>
                    <a:pt x="7740" y="7792"/>
                    <a:pt x="7841" y="7693"/>
                    <a:pt x="7841" y="7792"/>
                  </a:cubicBezTo>
                  <a:cubicBezTo>
                    <a:pt x="7841" y="7890"/>
                    <a:pt x="7638" y="7989"/>
                    <a:pt x="7588" y="7989"/>
                  </a:cubicBezTo>
                  <a:cubicBezTo>
                    <a:pt x="7487" y="7989"/>
                    <a:pt x="7436" y="8186"/>
                    <a:pt x="7335" y="8285"/>
                  </a:cubicBezTo>
                  <a:cubicBezTo>
                    <a:pt x="7335" y="8285"/>
                    <a:pt x="7133" y="8285"/>
                    <a:pt x="7183" y="8384"/>
                  </a:cubicBezTo>
                  <a:cubicBezTo>
                    <a:pt x="7183" y="8482"/>
                    <a:pt x="7335" y="8482"/>
                    <a:pt x="7183" y="8679"/>
                  </a:cubicBezTo>
                  <a:cubicBezTo>
                    <a:pt x="7133" y="8679"/>
                    <a:pt x="6930" y="8679"/>
                    <a:pt x="6930" y="8778"/>
                  </a:cubicBezTo>
                  <a:cubicBezTo>
                    <a:pt x="6880" y="8778"/>
                    <a:pt x="6930" y="8877"/>
                    <a:pt x="6930" y="8877"/>
                  </a:cubicBezTo>
                  <a:cubicBezTo>
                    <a:pt x="6930" y="9074"/>
                    <a:pt x="6829" y="9074"/>
                    <a:pt x="6778" y="9074"/>
                  </a:cubicBezTo>
                  <a:cubicBezTo>
                    <a:pt x="6627" y="9173"/>
                    <a:pt x="6475" y="9173"/>
                    <a:pt x="6323" y="9173"/>
                  </a:cubicBezTo>
                  <a:cubicBezTo>
                    <a:pt x="6323" y="9173"/>
                    <a:pt x="6070" y="8877"/>
                    <a:pt x="6070" y="8877"/>
                  </a:cubicBezTo>
                  <a:cubicBezTo>
                    <a:pt x="6171" y="8778"/>
                    <a:pt x="6323" y="8877"/>
                    <a:pt x="6374" y="8778"/>
                  </a:cubicBezTo>
                  <a:cubicBezTo>
                    <a:pt x="6424" y="8778"/>
                    <a:pt x="6374" y="8581"/>
                    <a:pt x="6424" y="8581"/>
                  </a:cubicBezTo>
                  <a:cubicBezTo>
                    <a:pt x="6475" y="8384"/>
                    <a:pt x="6576" y="8482"/>
                    <a:pt x="6627" y="8384"/>
                  </a:cubicBezTo>
                  <a:cubicBezTo>
                    <a:pt x="6677" y="8384"/>
                    <a:pt x="6576" y="8186"/>
                    <a:pt x="6576" y="8186"/>
                  </a:cubicBezTo>
                  <a:cubicBezTo>
                    <a:pt x="6475" y="8088"/>
                    <a:pt x="6475" y="8088"/>
                    <a:pt x="6475" y="7989"/>
                  </a:cubicBezTo>
                  <a:cubicBezTo>
                    <a:pt x="6475" y="7792"/>
                    <a:pt x="6374" y="7890"/>
                    <a:pt x="6374" y="7792"/>
                  </a:cubicBezTo>
                  <a:cubicBezTo>
                    <a:pt x="6323" y="7693"/>
                    <a:pt x="6475" y="7792"/>
                    <a:pt x="6475" y="7792"/>
                  </a:cubicBezTo>
                  <a:cubicBezTo>
                    <a:pt x="6627" y="7890"/>
                    <a:pt x="6778" y="7989"/>
                    <a:pt x="6880" y="8088"/>
                  </a:cubicBezTo>
                  <a:cubicBezTo>
                    <a:pt x="6981" y="8285"/>
                    <a:pt x="7183" y="8186"/>
                    <a:pt x="7284" y="8088"/>
                  </a:cubicBezTo>
                  <a:cubicBezTo>
                    <a:pt x="7436" y="7989"/>
                    <a:pt x="7487" y="7693"/>
                    <a:pt x="7689" y="7595"/>
                  </a:cubicBezTo>
                  <a:cubicBezTo>
                    <a:pt x="7740" y="7496"/>
                    <a:pt x="7841" y="7496"/>
                    <a:pt x="7942" y="7595"/>
                  </a:cubicBezTo>
                  <a:cubicBezTo>
                    <a:pt x="7942" y="7595"/>
                    <a:pt x="8094" y="7693"/>
                    <a:pt x="8094" y="7693"/>
                  </a:cubicBezTo>
                  <a:cubicBezTo>
                    <a:pt x="8094" y="7693"/>
                    <a:pt x="7993" y="7693"/>
                    <a:pt x="7942" y="7693"/>
                  </a:cubicBezTo>
                  <a:close/>
                  <a:moveTo>
                    <a:pt x="11230" y="16274"/>
                  </a:moveTo>
                  <a:cubicBezTo>
                    <a:pt x="11179" y="16471"/>
                    <a:pt x="11078" y="16077"/>
                    <a:pt x="11078" y="15978"/>
                  </a:cubicBezTo>
                  <a:cubicBezTo>
                    <a:pt x="11078" y="15781"/>
                    <a:pt x="11179" y="15682"/>
                    <a:pt x="11179" y="15485"/>
                  </a:cubicBezTo>
                  <a:cubicBezTo>
                    <a:pt x="11129" y="15386"/>
                    <a:pt x="11078" y="15682"/>
                    <a:pt x="11028" y="15584"/>
                  </a:cubicBezTo>
                  <a:cubicBezTo>
                    <a:pt x="11028" y="15485"/>
                    <a:pt x="11028" y="15189"/>
                    <a:pt x="10926" y="15189"/>
                  </a:cubicBezTo>
                  <a:cubicBezTo>
                    <a:pt x="10926" y="15189"/>
                    <a:pt x="10926" y="15386"/>
                    <a:pt x="10876" y="15386"/>
                  </a:cubicBezTo>
                  <a:cubicBezTo>
                    <a:pt x="10825" y="15288"/>
                    <a:pt x="10825" y="15189"/>
                    <a:pt x="10775" y="15090"/>
                  </a:cubicBezTo>
                  <a:cubicBezTo>
                    <a:pt x="10724" y="14992"/>
                    <a:pt x="10674" y="14893"/>
                    <a:pt x="10623" y="14795"/>
                  </a:cubicBezTo>
                  <a:cubicBezTo>
                    <a:pt x="10572" y="14696"/>
                    <a:pt x="10724" y="14696"/>
                    <a:pt x="10724" y="14597"/>
                  </a:cubicBezTo>
                  <a:cubicBezTo>
                    <a:pt x="10674" y="14499"/>
                    <a:pt x="10572" y="14597"/>
                    <a:pt x="10572" y="14499"/>
                  </a:cubicBezTo>
                  <a:cubicBezTo>
                    <a:pt x="10572" y="14400"/>
                    <a:pt x="10623" y="14104"/>
                    <a:pt x="10623" y="14005"/>
                  </a:cubicBezTo>
                  <a:cubicBezTo>
                    <a:pt x="10724" y="13808"/>
                    <a:pt x="10977" y="14499"/>
                    <a:pt x="10977" y="14597"/>
                  </a:cubicBezTo>
                  <a:cubicBezTo>
                    <a:pt x="11028" y="14795"/>
                    <a:pt x="11078" y="14893"/>
                    <a:pt x="11078" y="15090"/>
                  </a:cubicBezTo>
                  <a:cubicBezTo>
                    <a:pt x="11129" y="15288"/>
                    <a:pt x="11129" y="15189"/>
                    <a:pt x="11179" y="15386"/>
                  </a:cubicBezTo>
                  <a:cubicBezTo>
                    <a:pt x="11179" y="15485"/>
                    <a:pt x="11230" y="15584"/>
                    <a:pt x="11230" y="15682"/>
                  </a:cubicBezTo>
                  <a:cubicBezTo>
                    <a:pt x="11281" y="15879"/>
                    <a:pt x="11230" y="16077"/>
                    <a:pt x="11230" y="16274"/>
                  </a:cubicBezTo>
                  <a:cubicBezTo>
                    <a:pt x="11179" y="16373"/>
                    <a:pt x="11230" y="16175"/>
                    <a:pt x="11230" y="16274"/>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5" name="Shape 2064">
              <a:extLst>
                <a:ext uri="{FF2B5EF4-FFF2-40B4-BE49-F238E27FC236}">
                  <a16:creationId xmlns:a16="http://schemas.microsoft.com/office/drawing/2014/main" id="{D3700CE1-3D90-18CC-835C-65027A7655EB}"/>
                </a:ext>
              </a:extLst>
            </p:cNvPr>
            <p:cNvSpPr/>
            <p:nvPr/>
          </p:nvSpPr>
          <p:spPr>
            <a:xfrm>
              <a:off x="9512925" y="4055380"/>
              <a:ext cx="56336" cy="48113"/>
            </a:xfrm>
            <a:custGeom>
              <a:avLst/>
              <a:gdLst/>
              <a:ahLst/>
              <a:cxnLst>
                <a:cxn ang="0">
                  <a:pos x="wd2" y="hd2"/>
                </a:cxn>
                <a:cxn ang="5400000">
                  <a:pos x="wd2" y="hd2"/>
                </a:cxn>
                <a:cxn ang="10800000">
                  <a:pos x="wd2" y="hd2"/>
                </a:cxn>
                <a:cxn ang="16200000">
                  <a:pos x="wd2" y="hd2"/>
                </a:cxn>
              </a:cxnLst>
              <a:rect l="0" t="0" r="r" b="b"/>
              <a:pathLst>
                <a:path w="18048" h="17780" extrusionOk="0">
                  <a:moveTo>
                    <a:pt x="15888" y="0"/>
                  </a:moveTo>
                  <a:cubicBezTo>
                    <a:pt x="11568" y="2400"/>
                    <a:pt x="-3552" y="9600"/>
                    <a:pt x="768" y="16800"/>
                  </a:cubicBezTo>
                  <a:cubicBezTo>
                    <a:pt x="5088" y="21600"/>
                    <a:pt x="15888" y="7200"/>
                    <a:pt x="18048" y="7200"/>
                  </a:cubicBezTo>
                  <a:cubicBezTo>
                    <a:pt x="18048" y="4800"/>
                    <a:pt x="15888" y="2400"/>
                    <a:pt x="15888"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6" name="Shape 2065">
              <a:extLst>
                <a:ext uri="{FF2B5EF4-FFF2-40B4-BE49-F238E27FC236}">
                  <a16:creationId xmlns:a16="http://schemas.microsoft.com/office/drawing/2014/main" id="{9AFE1B2E-E247-3425-43E4-5FABAF321620}"/>
                </a:ext>
              </a:extLst>
            </p:cNvPr>
            <p:cNvSpPr/>
            <p:nvPr/>
          </p:nvSpPr>
          <p:spPr>
            <a:xfrm>
              <a:off x="9561609" y="4041891"/>
              <a:ext cx="73737" cy="27658"/>
            </a:xfrm>
            <a:custGeom>
              <a:avLst/>
              <a:gdLst/>
              <a:ahLst/>
              <a:cxnLst>
                <a:cxn ang="0">
                  <a:pos x="wd2" y="hd2"/>
                </a:cxn>
                <a:cxn ang="5400000">
                  <a:pos x="wd2" y="hd2"/>
                </a:cxn>
                <a:cxn ang="10800000">
                  <a:pos x="wd2" y="hd2"/>
                </a:cxn>
                <a:cxn ang="16200000">
                  <a:pos x="wd2" y="hd2"/>
                </a:cxn>
              </a:cxnLst>
              <a:rect l="0" t="0" r="r" b="b"/>
              <a:pathLst>
                <a:path w="18650" h="18982" extrusionOk="0">
                  <a:moveTo>
                    <a:pt x="18463" y="0"/>
                  </a:moveTo>
                  <a:cubicBezTo>
                    <a:pt x="20125" y="0"/>
                    <a:pt x="10156" y="0"/>
                    <a:pt x="10156" y="0"/>
                  </a:cubicBezTo>
                  <a:cubicBezTo>
                    <a:pt x="8494" y="0"/>
                    <a:pt x="-1475" y="4320"/>
                    <a:pt x="187" y="8640"/>
                  </a:cubicBezTo>
                  <a:cubicBezTo>
                    <a:pt x="3510" y="21600"/>
                    <a:pt x="1848" y="21600"/>
                    <a:pt x="6833" y="12960"/>
                  </a:cubicBezTo>
                  <a:cubicBezTo>
                    <a:pt x="11817" y="8640"/>
                    <a:pt x="15140" y="8640"/>
                    <a:pt x="1846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7" name="Shape 2066">
              <a:extLst>
                <a:ext uri="{FF2B5EF4-FFF2-40B4-BE49-F238E27FC236}">
                  <a16:creationId xmlns:a16="http://schemas.microsoft.com/office/drawing/2014/main" id="{7FEE4E23-A302-E551-175B-764E9DD83706}"/>
                </a:ext>
              </a:extLst>
            </p:cNvPr>
            <p:cNvSpPr/>
            <p:nvPr/>
          </p:nvSpPr>
          <p:spPr>
            <a:xfrm>
              <a:off x="5923964" y="1901801"/>
              <a:ext cx="196787" cy="112402"/>
            </a:xfrm>
            <a:custGeom>
              <a:avLst/>
              <a:gdLst/>
              <a:ahLst/>
              <a:cxnLst>
                <a:cxn ang="0">
                  <a:pos x="wd2" y="hd2"/>
                </a:cxn>
                <a:cxn ang="5400000">
                  <a:pos x="wd2" y="hd2"/>
                </a:cxn>
                <a:cxn ang="10800000">
                  <a:pos x="wd2" y="hd2"/>
                </a:cxn>
                <a:cxn ang="16200000">
                  <a:pos x="wd2" y="hd2"/>
                </a:cxn>
              </a:cxnLst>
              <a:rect l="0" t="0" r="r" b="b"/>
              <a:pathLst>
                <a:path w="20784" h="21600" extrusionOk="0">
                  <a:moveTo>
                    <a:pt x="6968" y="21600"/>
                  </a:moveTo>
                  <a:cubicBezTo>
                    <a:pt x="8361" y="21600"/>
                    <a:pt x="7665" y="17788"/>
                    <a:pt x="9058" y="17788"/>
                  </a:cubicBezTo>
                  <a:cubicBezTo>
                    <a:pt x="10452" y="17788"/>
                    <a:pt x="11148" y="20329"/>
                    <a:pt x="12542" y="20329"/>
                  </a:cubicBezTo>
                  <a:cubicBezTo>
                    <a:pt x="13239" y="20329"/>
                    <a:pt x="13935" y="20329"/>
                    <a:pt x="14632" y="20329"/>
                  </a:cubicBezTo>
                  <a:cubicBezTo>
                    <a:pt x="15329" y="20329"/>
                    <a:pt x="16026" y="19059"/>
                    <a:pt x="16026" y="19059"/>
                  </a:cubicBezTo>
                  <a:cubicBezTo>
                    <a:pt x="18116" y="17788"/>
                    <a:pt x="18813" y="16518"/>
                    <a:pt x="20206" y="13976"/>
                  </a:cubicBezTo>
                  <a:cubicBezTo>
                    <a:pt x="21600" y="11435"/>
                    <a:pt x="20206" y="10165"/>
                    <a:pt x="18813" y="8894"/>
                  </a:cubicBezTo>
                  <a:cubicBezTo>
                    <a:pt x="17419" y="7624"/>
                    <a:pt x="15329" y="3812"/>
                    <a:pt x="14632" y="6353"/>
                  </a:cubicBezTo>
                  <a:cubicBezTo>
                    <a:pt x="13239" y="10165"/>
                    <a:pt x="12542" y="5082"/>
                    <a:pt x="11845" y="3812"/>
                  </a:cubicBezTo>
                  <a:cubicBezTo>
                    <a:pt x="11148" y="2541"/>
                    <a:pt x="9058" y="3812"/>
                    <a:pt x="9058" y="0"/>
                  </a:cubicBezTo>
                  <a:cubicBezTo>
                    <a:pt x="9058" y="1271"/>
                    <a:pt x="8361" y="3812"/>
                    <a:pt x="7665" y="2541"/>
                  </a:cubicBezTo>
                  <a:cubicBezTo>
                    <a:pt x="6271" y="0"/>
                    <a:pt x="6271" y="0"/>
                    <a:pt x="5574" y="2541"/>
                  </a:cubicBezTo>
                  <a:cubicBezTo>
                    <a:pt x="4877" y="3812"/>
                    <a:pt x="0" y="6353"/>
                    <a:pt x="0" y="7624"/>
                  </a:cubicBezTo>
                  <a:cubicBezTo>
                    <a:pt x="0" y="7624"/>
                    <a:pt x="697" y="11435"/>
                    <a:pt x="1394" y="12706"/>
                  </a:cubicBezTo>
                  <a:cubicBezTo>
                    <a:pt x="1394" y="13976"/>
                    <a:pt x="2090" y="15247"/>
                    <a:pt x="2787" y="16518"/>
                  </a:cubicBezTo>
                  <a:cubicBezTo>
                    <a:pt x="4181" y="17788"/>
                    <a:pt x="5574" y="21600"/>
                    <a:pt x="6968"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8" name="Shape 2067">
              <a:extLst>
                <a:ext uri="{FF2B5EF4-FFF2-40B4-BE49-F238E27FC236}">
                  <a16:creationId xmlns:a16="http://schemas.microsoft.com/office/drawing/2014/main" id="{D15AE666-821B-1D0D-C2F4-6BDFA0C587BB}"/>
                </a:ext>
              </a:extLst>
            </p:cNvPr>
            <p:cNvSpPr/>
            <p:nvPr/>
          </p:nvSpPr>
          <p:spPr>
            <a:xfrm>
              <a:off x="5831820" y="1993968"/>
              <a:ext cx="241288" cy="105657"/>
            </a:xfrm>
            <a:custGeom>
              <a:avLst/>
              <a:gdLst/>
              <a:ahLst/>
              <a:cxnLst>
                <a:cxn ang="0">
                  <a:pos x="wd2" y="hd2"/>
                </a:cxn>
                <a:cxn ang="5400000">
                  <a:pos x="wd2" y="hd2"/>
                </a:cxn>
                <a:cxn ang="10800000">
                  <a:pos x="wd2" y="hd2"/>
                </a:cxn>
                <a:cxn ang="16200000">
                  <a:pos x="wd2" y="hd2"/>
                </a:cxn>
              </a:cxnLst>
              <a:rect l="0" t="0" r="r" b="b"/>
              <a:pathLst>
                <a:path w="21276" h="21600" extrusionOk="0">
                  <a:moveTo>
                    <a:pt x="18681" y="2700"/>
                  </a:moveTo>
                  <a:cubicBezTo>
                    <a:pt x="17514" y="2700"/>
                    <a:pt x="16346" y="0"/>
                    <a:pt x="15762" y="0"/>
                  </a:cubicBezTo>
                  <a:cubicBezTo>
                    <a:pt x="14595" y="0"/>
                    <a:pt x="15178" y="4050"/>
                    <a:pt x="14011" y="4050"/>
                  </a:cubicBezTo>
                  <a:cubicBezTo>
                    <a:pt x="12843" y="4050"/>
                    <a:pt x="12843" y="2700"/>
                    <a:pt x="11676" y="4050"/>
                  </a:cubicBezTo>
                  <a:cubicBezTo>
                    <a:pt x="11676" y="4050"/>
                    <a:pt x="9341" y="8100"/>
                    <a:pt x="9924" y="9450"/>
                  </a:cubicBezTo>
                  <a:cubicBezTo>
                    <a:pt x="9924" y="10800"/>
                    <a:pt x="11092" y="13500"/>
                    <a:pt x="9341" y="12150"/>
                  </a:cubicBezTo>
                  <a:cubicBezTo>
                    <a:pt x="8757" y="12150"/>
                    <a:pt x="8173" y="10800"/>
                    <a:pt x="7589" y="12150"/>
                  </a:cubicBezTo>
                  <a:cubicBezTo>
                    <a:pt x="7005" y="12150"/>
                    <a:pt x="5838" y="13500"/>
                    <a:pt x="5254" y="13500"/>
                  </a:cubicBezTo>
                  <a:cubicBezTo>
                    <a:pt x="4086" y="13500"/>
                    <a:pt x="3503" y="10800"/>
                    <a:pt x="2919" y="14850"/>
                  </a:cubicBezTo>
                  <a:cubicBezTo>
                    <a:pt x="2919" y="14850"/>
                    <a:pt x="584" y="12150"/>
                    <a:pt x="0" y="12150"/>
                  </a:cubicBezTo>
                  <a:cubicBezTo>
                    <a:pt x="0" y="14850"/>
                    <a:pt x="584" y="16200"/>
                    <a:pt x="2335" y="17550"/>
                  </a:cubicBezTo>
                  <a:cubicBezTo>
                    <a:pt x="2919" y="17550"/>
                    <a:pt x="2919" y="17550"/>
                    <a:pt x="3503" y="17550"/>
                  </a:cubicBezTo>
                  <a:cubicBezTo>
                    <a:pt x="4086" y="17550"/>
                    <a:pt x="4086" y="20250"/>
                    <a:pt x="4670" y="18900"/>
                  </a:cubicBezTo>
                  <a:cubicBezTo>
                    <a:pt x="5838" y="17550"/>
                    <a:pt x="5838" y="17550"/>
                    <a:pt x="7005" y="17550"/>
                  </a:cubicBezTo>
                  <a:cubicBezTo>
                    <a:pt x="8173" y="17550"/>
                    <a:pt x="7589" y="18900"/>
                    <a:pt x="8757" y="20250"/>
                  </a:cubicBezTo>
                  <a:cubicBezTo>
                    <a:pt x="9924" y="21600"/>
                    <a:pt x="11676" y="21600"/>
                    <a:pt x="12843" y="21600"/>
                  </a:cubicBezTo>
                  <a:cubicBezTo>
                    <a:pt x="14595" y="21600"/>
                    <a:pt x="15178" y="18900"/>
                    <a:pt x="16930" y="18900"/>
                  </a:cubicBezTo>
                  <a:cubicBezTo>
                    <a:pt x="18097" y="18900"/>
                    <a:pt x="19265" y="17550"/>
                    <a:pt x="19265" y="16200"/>
                  </a:cubicBezTo>
                  <a:cubicBezTo>
                    <a:pt x="19849" y="14850"/>
                    <a:pt x="19849" y="13500"/>
                    <a:pt x="19849" y="12150"/>
                  </a:cubicBezTo>
                  <a:cubicBezTo>
                    <a:pt x="19849" y="9450"/>
                    <a:pt x="20432" y="12150"/>
                    <a:pt x="21016" y="10800"/>
                  </a:cubicBezTo>
                  <a:cubicBezTo>
                    <a:pt x="21600" y="8100"/>
                    <a:pt x="21016" y="4050"/>
                    <a:pt x="21016" y="2700"/>
                  </a:cubicBezTo>
                  <a:cubicBezTo>
                    <a:pt x="19849" y="2700"/>
                    <a:pt x="19265" y="2700"/>
                    <a:pt x="18681" y="27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9" name="Shape 2068">
              <a:extLst>
                <a:ext uri="{FF2B5EF4-FFF2-40B4-BE49-F238E27FC236}">
                  <a16:creationId xmlns:a16="http://schemas.microsoft.com/office/drawing/2014/main" id="{AB63B061-52A7-382A-0459-00B42CC47491}"/>
                </a:ext>
              </a:extLst>
            </p:cNvPr>
            <p:cNvSpPr/>
            <p:nvPr/>
          </p:nvSpPr>
          <p:spPr>
            <a:xfrm>
              <a:off x="5746419" y="2076326"/>
              <a:ext cx="366579" cy="360496"/>
            </a:xfrm>
            <a:custGeom>
              <a:avLst/>
              <a:gdLst/>
              <a:ahLst/>
              <a:cxnLst>
                <a:cxn ang="0">
                  <a:pos x="wd2" y="hd2"/>
                </a:cxn>
                <a:cxn ang="5400000">
                  <a:pos x="wd2" y="hd2"/>
                </a:cxn>
                <a:cxn ang="10800000">
                  <a:pos x="wd2" y="hd2"/>
                </a:cxn>
                <a:cxn ang="16200000">
                  <a:pos x="wd2" y="hd2"/>
                </a:cxn>
              </a:cxnLst>
              <a:rect l="0" t="0" r="r" b="b"/>
              <a:pathLst>
                <a:path w="21097" h="21382" extrusionOk="0">
                  <a:moveTo>
                    <a:pt x="14021" y="3709"/>
                  </a:moveTo>
                  <a:cubicBezTo>
                    <a:pt x="14400" y="3317"/>
                    <a:pt x="15158" y="3709"/>
                    <a:pt x="15537" y="3317"/>
                  </a:cubicBezTo>
                  <a:cubicBezTo>
                    <a:pt x="16295" y="2924"/>
                    <a:pt x="15916" y="2531"/>
                    <a:pt x="16295" y="2138"/>
                  </a:cubicBezTo>
                  <a:cubicBezTo>
                    <a:pt x="16295" y="1746"/>
                    <a:pt x="16674" y="1353"/>
                    <a:pt x="17053" y="1353"/>
                  </a:cubicBezTo>
                  <a:cubicBezTo>
                    <a:pt x="17432" y="960"/>
                    <a:pt x="17053" y="960"/>
                    <a:pt x="17053" y="175"/>
                  </a:cubicBezTo>
                  <a:cubicBezTo>
                    <a:pt x="16674" y="567"/>
                    <a:pt x="16295" y="567"/>
                    <a:pt x="15537" y="567"/>
                  </a:cubicBezTo>
                  <a:cubicBezTo>
                    <a:pt x="14779" y="567"/>
                    <a:pt x="14021" y="1746"/>
                    <a:pt x="13642" y="1353"/>
                  </a:cubicBezTo>
                  <a:cubicBezTo>
                    <a:pt x="12505" y="960"/>
                    <a:pt x="10611" y="1353"/>
                    <a:pt x="10232" y="175"/>
                  </a:cubicBezTo>
                  <a:cubicBezTo>
                    <a:pt x="9853" y="-218"/>
                    <a:pt x="8716" y="175"/>
                    <a:pt x="8337" y="175"/>
                  </a:cubicBezTo>
                  <a:cubicBezTo>
                    <a:pt x="7579" y="960"/>
                    <a:pt x="7579" y="175"/>
                    <a:pt x="7200" y="175"/>
                  </a:cubicBezTo>
                  <a:cubicBezTo>
                    <a:pt x="6821" y="175"/>
                    <a:pt x="6821" y="960"/>
                    <a:pt x="6821" y="960"/>
                  </a:cubicBezTo>
                  <a:cubicBezTo>
                    <a:pt x="6821" y="960"/>
                    <a:pt x="6442" y="1353"/>
                    <a:pt x="6442" y="1353"/>
                  </a:cubicBezTo>
                  <a:cubicBezTo>
                    <a:pt x="6442" y="1746"/>
                    <a:pt x="6063" y="1746"/>
                    <a:pt x="5684" y="1746"/>
                  </a:cubicBezTo>
                  <a:cubicBezTo>
                    <a:pt x="5684" y="1746"/>
                    <a:pt x="5305" y="1746"/>
                    <a:pt x="4926" y="1746"/>
                  </a:cubicBezTo>
                  <a:cubicBezTo>
                    <a:pt x="4926" y="1746"/>
                    <a:pt x="4926" y="1746"/>
                    <a:pt x="4547" y="1353"/>
                  </a:cubicBezTo>
                  <a:cubicBezTo>
                    <a:pt x="4547" y="1353"/>
                    <a:pt x="4168" y="2531"/>
                    <a:pt x="4168" y="2924"/>
                  </a:cubicBezTo>
                  <a:cubicBezTo>
                    <a:pt x="4168" y="3317"/>
                    <a:pt x="3411" y="2138"/>
                    <a:pt x="3411" y="1746"/>
                  </a:cubicBezTo>
                  <a:cubicBezTo>
                    <a:pt x="2653" y="1353"/>
                    <a:pt x="2274" y="2531"/>
                    <a:pt x="1895" y="2531"/>
                  </a:cubicBezTo>
                  <a:cubicBezTo>
                    <a:pt x="1137" y="2531"/>
                    <a:pt x="379" y="2531"/>
                    <a:pt x="0" y="2531"/>
                  </a:cubicBezTo>
                  <a:cubicBezTo>
                    <a:pt x="0" y="2924"/>
                    <a:pt x="379" y="3317"/>
                    <a:pt x="379" y="3709"/>
                  </a:cubicBezTo>
                  <a:cubicBezTo>
                    <a:pt x="379" y="4495"/>
                    <a:pt x="0" y="4495"/>
                    <a:pt x="0" y="5280"/>
                  </a:cubicBezTo>
                  <a:cubicBezTo>
                    <a:pt x="0" y="5673"/>
                    <a:pt x="0" y="6851"/>
                    <a:pt x="758" y="6851"/>
                  </a:cubicBezTo>
                  <a:cubicBezTo>
                    <a:pt x="1137" y="7244"/>
                    <a:pt x="1516" y="6851"/>
                    <a:pt x="1516" y="8029"/>
                  </a:cubicBezTo>
                  <a:cubicBezTo>
                    <a:pt x="2274" y="7637"/>
                    <a:pt x="3789" y="6066"/>
                    <a:pt x="4547" y="6458"/>
                  </a:cubicBezTo>
                  <a:cubicBezTo>
                    <a:pt x="4926" y="6851"/>
                    <a:pt x="5305" y="7244"/>
                    <a:pt x="5684" y="7244"/>
                  </a:cubicBezTo>
                  <a:cubicBezTo>
                    <a:pt x="6063" y="7244"/>
                    <a:pt x="6442" y="8029"/>
                    <a:pt x="6442" y="8422"/>
                  </a:cubicBezTo>
                  <a:cubicBezTo>
                    <a:pt x="6821" y="8815"/>
                    <a:pt x="6821" y="9207"/>
                    <a:pt x="6821" y="9600"/>
                  </a:cubicBezTo>
                  <a:cubicBezTo>
                    <a:pt x="7200" y="9993"/>
                    <a:pt x="7579" y="10386"/>
                    <a:pt x="7958" y="10778"/>
                  </a:cubicBezTo>
                  <a:cubicBezTo>
                    <a:pt x="8716" y="11171"/>
                    <a:pt x="9474" y="11957"/>
                    <a:pt x="10611" y="12742"/>
                  </a:cubicBezTo>
                  <a:cubicBezTo>
                    <a:pt x="11368" y="13527"/>
                    <a:pt x="11747" y="13527"/>
                    <a:pt x="12505" y="13920"/>
                  </a:cubicBezTo>
                  <a:cubicBezTo>
                    <a:pt x="13642" y="14706"/>
                    <a:pt x="14400" y="15884"/>
                    <a:pt x="15916" y="16277"/>
                  </a:cubicBezTo>
                  <a:cubicBezTo>
                    <a:pt x="16674" y="16669"/>
                    <a:pt x="16674" y="17847"/>
                    <a:pt x="17053" y="18633"/>
                  </a:cubicBezTo>
                  <a:cubicBezTo>
                    <a:pt x="17053" y="19418"/>
                    <a:pt x="15916" y="20204"/>
                    <a:pt x="16295" y="21382"/>
                  </a:cubicBezTo>
                  <a:cubicBezTo>
                    <a:pt x="16295" y="20989"/>
                    <a:pt x="18568" y="19026"/>
                    <a:pt x="18568" y="18633"/>
                  </a:cubicBezTo>
                  <a:cubicBezTo>
                    <a:pt x="18947" y="18240"/>
                    <a:pt x="17811" y="17455"/>
                    <a:pt x="17811" y="17455"/>
                  </a:cubicBezTo>
                  <a:cubicBezTo>
                    <a:pt x="17053" y="16669"/>
                    <a:pt x="18568" y="15098"/>
                    <a:pt x="18947" y="15491"/>
                  </a:cubicBezTo>
                  <a:cubicBezTo>
                    <a:pt x="19326" y="15884"/>
                    <a:pt x="19705" y="15884"/>
                    <a:pt x="20084" y="15884"/>
                  </a:cubicBezTo>
                  <a:cubicBezTo>
                    <a:pt x="20463" y="16277"/>
                    <a:pt x="20463" y="16669"/>
                    <a:pt x="20842" y="17062"/>
                  </a:cubicBezTo>
                  <a:cubicBezTo>
                    <a:pt x="21600" y="17062"/>
                    <a:pt x="20463" y="15491"/>
                    <a:pt x="20084" y="15098"/>
                  </a:cubicBezTo>
                  <a:cubicBezTo>
                    <a:pt x="19326" y="14313"/>
                    <a:pt x="17811" y="14313"/>
                    <a:pt x="16674" y="13527"/>
                  </a:cubicBezTo>
                  <a:cubicBezTo>
                    <a:pt x="16295" y="13135"/>
                    <a:pt x="17432" y="12349"/>
                    <a:pt x="16674" y="12349"/>
                  </a:cubicBezTo>
                  <a:cubicBezTo>
                    <a:pt x="16295" y="11957"/>
                    <a:pt x="15537" y="12349"/>
                    <a:pt x="14779" y="11957"/>
                  </a:cubicBezTo>
                  <a:cubicBezTo>
                    <a:pt x="14021" y="11564"/>
                    <a:pt x="13642" y="10778"/>
                    <a:pt x="13263" y="9993"/>
                  </a:cubicBezTo>
                  <a:cubicBezTo>
                    <a:pt x="12884" y="9207"/>
                    <a:pt x="12884" y="8422"/>
                    <a:pt x="12126" y="8029"/>
                  </a:cubicBezTo>
                  <a:cubicBezTo>
                    <a:pt x="11747" y="7637"/>
                    <a:pt x="10232" y="7244"/>
                    <a:pt x="10232" y="6458"/>
                  </a:cubicBezTo>
                  <a:cubicBezTo>
                    <a:pt x="10232" y="6066"/>
                    <a:pt x="10232" y="5673"/>
                    <a:pt x="10232" y="5673"/>
                  </a:cubicBezTo>
                  <a:cubicBezTo>
                    <a:pt x="10611" y="4887"/>
                    <a:pt x="10611" y="4887"/>
                    <a:pt x="10611" y="4495"/>
                  </a:cubicBezTo>
                  <a:cubicBezTo>
                    <a:pt x="10232" y="3317"/>
                    <a:pt x="11368" y="3709"/>
                    <a:pt x="11368" y="3317"/>
                  </a:cubicBezTo>
                  <a:cubicBezTo>
                    <a:pt x="11747" y="2924"/>
                    <a:pt x="12126" y="2924"/>
                    <a:pt x="12126" y="2924"/>
                  </a:cubicBezTo>
                  <a:cubicBezTo>
                    <a:pt x="12884" y="2924"/>
                    <a:pt x="12884" y="3317"/>
                    <a:pt x="12884" y="3709"/>
                  </a:cubicBezTo>
                  <a:cubicBezTo>
                    <a:pt x="13263" y="3709"/>
                    <a:pt x="13642" y="3709"/>
                    <a:pt x="14021" y="3709"/>
                  </a:cubicBezTo>
                  <a:cubicBezTo>
                    <a:pt x="14021" y="3317"/>
                    <a:pt x="13642" y="3709"/>
                    <a:pt x="14021" y="370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0" name="Shape 2069">
              <a:extLst>
                <a:ext uri="{FF2B5EF4-FFF2-40B4-BE49-F238E27FC236}">
                  <a16:creationId xmlns:a16="http://schemas.microsoft.com/office/drawing/2014/main" id="{99064072-7238-7FBF-6406-07090ECD6A00}"/>
                </a:ext>
              </a:extLst>
            </p:cNvPr>
            <p:cNvSpPr/>
            <p:nvPr/>
          </p:nvSpPr>
          <p:spPr>
            <a:xfrm>
              <a:off x="5968070" y="2092880"/>
              <a:ext cx="173893" cy="166352"/>
            </a:xfrm>
            <a:custGeom>
              <a:avLst/>
              <a:gdLst/>
              <a:ahLst/>
              <a:cxnLst>
                <a:cxn ang="0">
                  <a:pos x="wd2" y="hd2"/>
                </a:cxn>
                <a:cxn ang="5400000">
                  <a:pos x="wd2" y="hd2"/>
                </a:cxn>
                <a:cxn ang="10800000">
                  <a:pos x="wd2" y="hd2"/>
                </a:cxn>
                <a:cxn ang="16200000">
                  <a:pos x="wd2" y="hd2"/>
                </a:cxn>
              </a:cxnLst>
              <a:rect l="0" t="0" r="r" b="b"/>
              <a:pathLst>
                <a:path w="21156" h="21600" extrusionOk="0">
                  <a:moveTo>
                    <a:pt x="9156" y="8640"/>
                  </a:moveTo>
                  <a:cubicBezTo>
                    <a:pt x="11556" y="8640"/>
                    <a:pt x="13956" y="6912"/>
                    <a:pt x="16356" y="7776"/>
                  </a:cubicBezTo>
                  <a:cubicBezTo>
                    <a:pt x="17956" y="7776"/>
                    <a:pt x="19556" y="8640"/>
                    <a:pt x="21156" y="9504"/>
                  </a:cubicBezTo>
                  <a:cubicBezTo>
                    <a:pt x="20356" y="7776"/>
                    <a:pt x="20356" y="6048"/>
                    <a:pt x="19556" y="3456"/>
                  </a:cubicBezTo>
                  <a:cubicBezTo>
                    <a:pt x="17156" y="5184"/>
                    <a:pt x="14756" y="3456"/>
                    <a:pt x="13156" y="2592"/>
                  </a:cubicBezTo>
                  <a:cubicBezTo>
                    <a:pt x="11556" y="1728"/>
                    <a:pt x="10756" y="1728"/>
                    <a:pt x="9956" y="0"/>
                  </a:cubicBezTo>
                  <a:cubicBezTo>
                    <a:pt x="9956" y="0"/>
                    <a:pt x="8356" y="864"/>
                    <a:pt x="8356" y="1728"/>
                  </a:cubicBezTo>
                  <a:cubicBezTo>
                    <a:pt x="6756" y="2592"/>
                    <a:pt x="7556" y="6912"/>
                    <a:pt x="4356" y="6048"/>
                  </a:cubicBezTo>
                  <a:cubicBezTo>
                    <a:pt x="2756" y="5184"/>
                    <a:pt x="1156" y="6048"/>
                    <a:pt x="356" y="6048"/>
                  </a:cubicBezTo>
                  <a:cubicBezTo>
                    <a:pt x="-444" y="6912"/>
                    <a:pt x="356" y="9504"/>
                    <a:pt x="356" y="9504"/>
                  </a:cubicBezTo>
                  <a:cubicBezTo>
                    <a:pt x="356" y="9504"/>
                    <a:pt x="1956" y="8640"/>
                    <a:pt x="1956" y="8640"/>
                  </a:cubicBezTo>
                  <a:cubicBezTo>
                    <a:pt x="2756" y="8640"/>
                    <a:pt x="2756" y="10368"/>
                    <a:pt x="2756" y="11232"/>
                  </a:cubicBezTo>
                  <a:cubicBezTo>
                    <a:pt x="2756" y="9504"/>
                    <a:pt x="3556" y="6912"/>
                    <a:pt x="4356" y="8640"/>
                  </a:cubicBezTo>
                  <a:cubicBezTo>
                    <a:pt x="5156" y="11232"/>
                    <a:pt x="6756" y="12960"/>
                    <a:pt x="8356" y="14688"/>
                  </a:cubicBezTo>
                  <a:cubicBezTo>
                    <a:pt x="10756" y="17280"/>
                    <a:pt x="14756" y="19008"/>
                    <a:pt x="17956" y="21600"/>
                  </a:cubicBezTo>
                  <a:cubicBezTo>
                    <a:pt x="17956" y="19872"/>
                    <a:pt x="17956" y="19872"/>
                    <a:pt x="16356" y="19008"/>
                  </a:cubicBezTo>
                  <a:cubicBezTo>
                    <a:pt x="14756" y="18144"/>
                    <a:pt x="13156" y="17280"/>
                    <a:pt x="12356" y="16416"/>
                  </a:cubicBezTo>
                  <a:cubicBezTo>
                    <a:pt x="10756" y="14688"/>
                    <a:pt x="6756" y="8640"/>
                    <a:pt x="9156" y="86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1" name="Shape 2070">
              <a:extLst>
                <a:ext uri="{FF2B5EF4-FFF2-40B4-BE49-F238E27FC236}">
                  <a16:creationId xmlns:a16="http://schemas.microsoft.com/office/drawing/2014/main" id="{E9CF9A3E-7783-32D9-827E-9A5D18176CDA}"/>
                </a:ext>
              </a:extLst>
            </p:cNvPr>
            <p:cNvSpPr/>
            <p:nvPr/>
          </p:nvSpPr>
          <p:spPr>
            <a:xfrm>
              <a:off x="5364220" y="1903447"/>
              <a:ext cx="423655" cy="367183"/>
            </a:xfrm>
            <a:custGeom>
              <a:avLst/>
              <a:gdLst/>
              <a:ahLst/>
              <a:cxnLst>
                <a:cxn ang="0">
                  <a:pos x="wd2" y="hd2"/>
                </a:cxn>
                <a:cxn ang="5400000">
                  <a:pos x="wd2" y="hd2"/>
                </a:cxn>
                <a:cxn ang="10800000">
                  <a:pos x="wd2" y="hd2"/>
                </a:cxn>
                <a:cxn ang="16200000">
                  <a:pos x="wd2" y="hd2"/>
                </a:cxn>
              </a:cxnLst>
              <a:rect l="0" t="0" r="r" b="b"/>
              <a:pathLst>
                <a:path w="20988" h="21126" extrusionOk="0">
                  <a:moveTo>
                    <a:pt x="18982" y="11652"/>
                  </a:moveTo>
                  <a:cubicBezTo>
                    <a:pt x="18655" y="10894"/>
                    <a:pt x="17673" y="12410"/>
                    <a:pt x="18000" y="11273"/>
                  </a:cubicBezTo>
                  <a:cubicBezTo>
                    <a:pt x="18000" y="10894"/>
                    <a:pt x="18982" y="9000"/>
                    <a:pt x="19309" y="9000"/>
                  </a:cubicBezTo>
                  <a:cubicBezTo>
                    <a:pt x="19637" y="8621"/>
                    <a:pt x="19964" y="9379"/>
                    <a:pt x="20291" y="8621"/>
                  </a:cubicBezTo>
                  <a:cubicBezTo>
                    <a:pt x="20618" y="7484"/>
                    <a:pt x="20291" y="6726"/>
                    <a:pt x="20946" y="5589"/>
                  </a:cubicBezTo>
                  <a:cubicBezTo>
                    <a:pt x="21273" y="4831"/>
                    <a:pt x="19637" y="4831"/>
                    <a:pt x="19309" y="4831"/>
                  </a:cubicBezTo>
                  <a:cubicBezTo>
                    <a:pt x="18655" y="4831"/>
                    <a:pt x="18328" y="4452"/>
                    <a:pt x="18328" y="4073"/>
                  </a:cubicBezTo>
                  <a:cubicBezTo>
                    <a:pt x="18000" y="4073"/>
                    <a:pt x="17673" y="4073"/>
                    <a:pt x="17673" y="4073"/>
                  </a:cubicBezTo>
                  <a:cubicBezTo>
                    <a:pt x="17018" y="4073"/>
                    <a:pt x="15382" y="3316"/>
                    <a:pt x="15382" y="2558"/>
                  </a:cubicBezTo>
                  <a:cubicBezTo>
                    <a:pt x="15055" y="3694"/>
                    <a:pt x="14073" y="1800"/>
                    <a:pt x="13746" y="1800"/>
                  </a:cubicBezTo>
                  <a:cubicBezTo>
                    <a:pt x="13091" y="1421"/>
                    <a:pt x="12437" y="1042"/>
                    <a:pt x="12109" y="284"/>
                  </a:cubicBezTo>
                  <a:cubicBezTo>
                    <a:pt x="11782" y="-95"/>
                    <a:pt x="11128" y="-95"/>
                    <a:pt x="10800" y="284"/>
                  </a:cubicBezTo>
                  <a:cubicBezTo>
                    <a:pt x="10473" y="663"/>
                    <a:pt x="10146" y="1421"/>
                    <a:pt x="10473" y="1800"/>
                  </a:cubicBezTo>
                  <a:cubicBezTo>
                    <a:pt x="10473" y="2179"/>
                    <a:pt x="9818" y="2558"/>
                    <a:pt x="9491" y="2937"/>
                  </a:cubicBezTo>
                  <a:cubicBezTo>
                    <a:pt x="9164" y="2937"/>
                    <a:pt x="8509" y="2937"/>
                    <a:pt x="8182" y="3694"/>
                  </a:cubicBezTo>
                  <a:cubicBezTo>
                    <a:pt x="8182" y="4073"/>
                    <a:pt x="7855" y="4452"/>
                    <a:pt x="7528" y="4452"/>
                  </a:cubicBezTo>
                  <a:cubicBezTo>
                    <a:pt x="6873" y="4452"/>
                    <a:pt x="6546" y="4452"/>
                    <a:pt x="6218" y="4073"/>
                  </a:cubicBezTo>
                  <a:cubicBezTo>
                    <a:pt x="5564" y="4073"/>
                    <a:pt x="5564" y="3694"/>
                    <a:pt x="4909" y="3694"/>
                  </a:cubicBezTo>
                  <a:cubicBezTo>
                    <a:pt x="4255" y="3316"/>
                    <a:pt x="6218" y="5968"/>
                    <a:pt x="4909" y="5968"/>
                  </a:cubicBezTo>
                  <a:cubicBezTo>
                    <a:pt x="3928" y="5968"/>
                    <a:pt x="3273" y="6347"/>
                    <a:pt x="2618" y="5589"/>
                  </a:cubicBezTo>
                  <a:cubicBezTo>
                    <a:pt x="2291" y="5210"/>
                    <a:pt x="0" y="5968"/>
                    <a:pt x="0" y="6347"/>
                  </a:cubicBezTo>
                  <a:cubicBezTo>
                    <a:pt x="0" y="6726"/>
                    <a:pt x="982" y="6726"/>
                    <a:pt x="328" y="7105"/>
                  </a:cubicBezTo>
                  <a:cubicBezTo>
                    <a:pt x="-327" y="7484"/>
                    <a:pt x="655" y="7863"/>
                    <a:pt x="982" y="7863"/>
                  </a:cubicBezTo>
                  <a:cubicBezTo>
                    <a:pt x="1637" y="8242"/>
                    <a:pt x="4582" y="8621"/>
                    <a:pt x="4582" y="9379"/>
                  </a:cubicBezTo>
                  <a:cubicBezTo>
                    <a:pt x="4582" y="9758"/>
                    <a:pt x="3928" y="9758"/>
                    <a:pt x="4255" y="10516"/>
                  </a:cubicBezTo>
                  <a:cubicBezTo>
                    <a:pt x="4909" y="11273"/>
                    <a:pt x="5237" y="11273"/>
                    <a:pt x="5891" y="11652"/>
                  </a:cubicBezTo>
                  <a:cubicBezTo>
                    <a:pt x="6546" y="12031"/>
                    <a:pt x="5564" y="12789"/>
                    <a:pt x="6218" y="13168"/>
                  </a:cubicBezTo>
                  <a:cubicBezTo>
                    <a:pt x="6218" y="13168"/>
                    <a:pt x="6873" y="14305"/>
                    <a:pt x="6873" y="14305"/>
                  </a:cubicBezTo>
                  <a:cubicBezTo>
                    <a:pt x="6546" y="14684"/>
                    <a:pt x="6218" y="13547"/>
                    <a:pt x="5891" y="13547"/>
                  </a:cubicBezTo>
                  <a:cubicBezTo>
                    <a:pt x="5564" y="13547"/>
                    <a:pt x="5891" y="18094"/>
                    <a:pt x="4909" y="18473"/>
                  </a:cubicBezTo>
                  <a:cubicBezTo>
                    <a:pt x="5891" y="19231"/>
                    <a:pt x="7200" y="20368"/>
                    <a:pt x="8509" y="19989"/>
                  </a:cubicBezTo>
                  <a:cubicBezTo>
                    <a:pt x="8837" y="19989"/>
                    <a:pt x="9164" y="19610"/>
                    <a:pt x="9491" y="19989"/>
                  </a:cubicBezTo>
                  <a:cubicBezTo>
                    <a:pt x="9818" y="19989"/>
                    <a:pt x="10146" y="20368"/>
                    <a:pt x="10473" y="20747"/>
                  </a:cubicBezTo>
                  <a:cubicBezTo>
                    <a:pt x="11128" y="21126"/>
                    <a:pt x="13091" y="21505"/>
                    <a:pt x="12764" y="20368"/>
                  </a:cubicBezTo>
                  <a:cubicBezTo>
                    <a:pt x="12437" y="18473"/>
                    <a:pt x="14073" y="17716"/>
                    <a:pt x="15055" y="18094"/>
                  </a:cubicBezTo>
                  <a:cubicBezTo>
                    <a:pt x="16364" y="18473"/>
                    <a:pt x="17018" y="19610"/>
                    <a:pt x="18328" y="18852"/>
                  </a:cubicBezTo>
                  <a:cubicBezTo>
                    <a:pt x="18982" y="18473"/>
                    <a:pt x="19309" y="18094"/>
                    <a:pt x="19964" y="17716"/>
                  </a:cubicBezTo>
                  <a:cubicBezTo>
                    <a:pt x="19964" y="17716"/>
                    <a:pt x="20618" y="16958"/>
                    <a:pt x="19964" y="16958"/>
                  </a:cubicBezTo>
                  <a:cubicBezTo>
                    <a:pt x="19309" y="16579"/>
                    <a:pt x="18655" y="15063"/>
                    <a:pt x="18982" y="14305"/>
                  </a:cubicBezTo>
                  <a:cubicBezTo>
                    <a:pt x="19637" y="13547"/>
                    <a:pt x="19309" y="13547"/>
                    <a:pt x="18982" y="12789"/>
                  </a:cubicBezTo>
                  <a:cubicBezTo>
                    <a:pt x="18982" y="12410"/>
                    <a:pt x="18982" y="12031"/>
                    <a:pt x="18982" y="11652"/>
                  </a:cubicBezTo>
                  <a:cubicBezTo>
                    <a:pt x="18655" y="11273"/>
                    <a:pt x="18982" y="12031"/>
                    <a:pt x="18982" y="1165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2" name="Shape 2071">
              <a:extLst>
                <a:ext uri="{FF2B5EF4-FFF2-40B4-BE49-F238E27FC236}">
                  <a16:creationId xmlns:a16="http://schemas.microsoft.com/office/drawing/2014/main" id="{CF79836C-AF62-08F9-7D93-80C93607B7AD}"/>
                </a:ext>
              </a:extLst>
            </p:cNvPr>
            <p:cNvSpPr/>
            <p:nvPr/>
          </p:nvSpPr>
          <p:spPr>
            <a:xfrm>
              <a:off x="5724279" y="2051585"/>
              <a:ext cx="141252" cy="74151"/>
            </a:xfrm>
            <a:custGeom>
              <a:avLst/>
              <a:gdLst/>
              <a:ahLst/>
              <a:cxnLst>
                <a:cxn ang="0">
                  <a:pos x="wd2" y="hd2"/>
                </a:cxn>
                <a:cxn ang="5400000">
                  <a:pos x="wd2" y="hd2"/>
                </a:cxn>
                <a:cxn ang="10800000">
                  <a:pos x="wd2" y="hd2"/>
                </a:cxn>
                <a:cxn ang="16200000">
                  <a:pos x="wd2" y="hd2"/>
                </a:cxn>
              </a:cxnLst>
              <a:rect l="0" t="0" r="r" b="b"/>
              <a:pathLst>
                <a:path w="20886" h="16193" extrusionOk="0">
                  <a:moveTo>
                    <a:pt x="15977" y="640"/>
                  </a:moveTo>
                  <a:cubicBezTo>
                    <a:pt x="13031" y="-800"/>
                    <a:pt x="11068" y="640"/>
                    <a:pt x="8122" y="640"/>
                  </a:cubicBezTo>
                  <a:cubicBezTo>
                    <a:pt x="6159" y="640"/>
                    <a:pt x="8122" y="640"/>
                    <a:pt x="7141" y="2080"/>
                  </a:cubicBezTo>
                  <a:cubicBezTo>
                    <a:pt x="6159" y="2080"/>
                    <a:pt x="4195" y="2080"/>
                    <a:pt x="4195" y="2080"/>
                  </a:cubicBezTo>
                  <a:cubicBezTo>
                    <a:pt x="3213" y="2080"/>
                    <a:pt x="2231" y="6400"/>
                    <a:pt x="2231" y="6400"/>
                  </a:cubicBezTo>
                  <a:cubicBezTo>
                    <a:pt x="1250" y="7840"/>
                    <a:pt x="-714" y="13600"/>
                    <a:pt x="268" y="12160"/>
                  </a:cubicBezTo>
                  <a:cubicBezTo>
                    <a:pt x="2231" y="12160"/>
                    <a:pt x="2231" y="10720"/>
                    <a:pt x="3213" y="13600"/>
                  </a:cubicBezTo>
                  <a:cubicBezTo>
                    <a:pt x="3213" y="16480"/>
                    <a:pt x="4195" y="15040"/>
                    <a:pt x="6159" y="15040"/>
                  </a:cubicBezTo>
                  <a:cubicBezTo>
                    <a:pt x="7141" y="15040"/>
                    <a:pt x="9104" y="15040"/>
                    <a:pt x="10086" y="13600"/>
                  </a:cubicBezTo>
                  <a:cubicBezTo>
                    <a:pt x="11068" y="10720"/>
                    <a:pt x="12050" y="12160"/>
                    <a:pt x="12050" y="13600"/>
                  </a:cubicBezTo>
                  <a:cubicBezTo>
                    <a:pt x="14995" y="20800"/>
                    <a:pt x="14013" y="10720"/>
                    <a:pt x="14995" y="10720"/>
                  </a:cubicBezTo>
                  <a:cubicBezTo>
                    <a:pt x="15977" y="10720"/>
                    <a:pt x="15977" y="12160"/>
                    <a:pt x="16959" y="12160"/>
                  </a:cubicBezTo>
                  <a:cubicBezTo>
                    <a:pt x="17941" y="12160"/>
                    <a:pt x="18922" y="12160"/>
                    <a:pt x="19904" y="10720"/>
                  </a:cubicBezTo>
                  <a:cubicBezTo>
                    <a:pt x="20886" y="9280"/>
                    <a:pt x="20886" y="9280"/>
                    <a:pt x="20886" y="6400"/>
                  </a:cubicBezTo>
                  <a:cubicBezTo>
                    <a:pt x="20886" y="6400"/>
                    <a:pt x="17941" y="4960"/>
                    <a:pt x="16959" y="4960"/>
                  </a:cubicBezTo>
                  <a:cubicBezTo>
                    <a:pt x="15977" y="3520"/>
                    <a:pt x="15977" y="2080"/>
                    <a:pt x="15977" y="6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3" name="Shape 2072">
              <a:extLst>
                <a:ext uri="{FF2B5EF4-FFF2-40B4-BE49-F238E27FC236}">
                  <a16:creationId xmlns:a16="http://schemas.microsoft.com/office/drawing/2014/main" id="{E2A71D3A-B0C3-E5DF-CF9B-70C95283B815}"/>
                </a:ext>
              </a:extLst>
            </p:cNvPr>
            <p:cNvSpPr/>
            <p:nvPr/>
          </p:nvSpPr>
          <p:spPr>
            <a:xfrm>
              <a:off x="5607142" y="1888313"/>
              <a:ext cx="120617" cy="85424"/>
            </a:xfrm>
            <a:custGeom>
              <a:avLst/>
              <a:gdLst/>
              <a:ahLst/>
              <a:cxnLst>
                <a:cxn ang="0">
                  <a:pos x="wd2" y="hd2"/>
                </a:cxn>
                <a:cxn ang="5400000">
                  <a:pos x="wd2" y="hd2"/>
                </a:cxn>
                <a:cxn ang="10800000">
                  <a:pos x="wd2" y="hd2"/>
                </a:cxn>
                <a:cxn ang="16200000">
                  <a:pos x="wd2" y="hd2"/>
                </a:cxn>
              </a:cxnLst>
              <a:rect l="0" t="0" r="r" b="b"/>
              <a:pathLst>
                <a:path w="19004" h="21600" extrusionOk="0">
                  <a:moveTo>
                    <a:pt x="17763" y="14954"/>
                  </a:moveTo>
                  <a:cubicBezTo>
                    <a:pt x="16734" y="14954"/>
                    <a:pt x="19820" y="11631"/>
                    <a:pt x="18791" y="9969"/>
                  </a:cubicBezTo>
                  <a:cubicBezTo>
                    <a:pt x="18791" y="8308"/>
                    <a:pt x="17763" y="4985"/>
                    <a:pt x="16734" y="4985"/>
                  </a:cubicBezTo>
                  <a:cubicBezTo>
                    <a:pt x="15706" y="3323"/>
                    <a:pt x="13649" y="0"/>
                    <a:pt x="11591" y="0"/>
                  </a:cubicBezTo>
                  <a:cubicBezTo>
                    <a:pt x="9534" y="0"/>
                    <a:pt x="8506" y="1662"/>
                    <a:pt x="6449" y="1662"/>
                  </a:cubicBezTo>
                  <a:cubicBezTo>
                    <a:pt x="4391" y="1662"/>
                    <a:pt x="3363" y="0"/>
                    <a:pt x="1306" y="1662"/>
                  </a:cubicBezTo>
                  <a:cubicBezTo>
                    <a:pt x="-1780" y="4985"/>
                    <a:pt x="1306" y="8308"/>
                    <a:pt x="3363" y="9969"/>
                  </a:cubicBezTo>
                  <a:cubicBezTo>
                    <a:pt x="5420" y="11631"/>
                    <a:pt x="6449" y="11631"/>
                    <a:pt x="8506" y="14954"/>
                  </a:cubicBezTo>
                  <a:cubicBezTo>
                    <a:pt x="8506" y="16615"/>
                    <a:pt x="10563" y="16615"/>
                    <a:pt x="10563" y="14954"/>
                  </a:cubicBezTo>
                  <a:cubicBezTo>
                    <a:pt x="10563" y="16615"/>
                    <a:pt x="15706" y="21600"/>
                    <a:pt x="16734" y="21600"/>
                  </a:cubicBezTo>
                  <a:cubicBezTo>
                    <a:pt x="16734" y="18277"/>
                    <a:pt x="16734" y="16615"/>
                    <a:pt x="17763" y="14954"/>
                  </a:cubicBezTo>
                  <a:cubicBezTo>
                    <a:pt x="17763" y="14954"/>
                    <a:pt x="15706" y="16615"/>
                    <a:pt x="17763" y="149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4" name="Shape 2073">
              <a:extLst>
                <a:ext uri="{FF2B5EF4-FFF2-40B4-BE49-F238E27FC236}">
                  <a16:creationId xmlns:a16="http://schemas.microsoft.com/office/drawing/2014/main" id="{A88771B9-BF3F-24E6-2151-6262D5038884}"/>
                </a:ext>
              </a:extLst>
            </p:cNvPr>
            <p:cNvSpPr/>
            <p:nvPr/>
          </p:nvSpPr>
          <p:spPr>
            <a:xfrm>
              <a:off x="5714394" y="1949008"/>
              <a:ext cx="18543" cy="24730"/>
            </a:xfrm>
            <a:custGeom>
              <a:avLst/>
              <a:gdLst/>
              <a:ahLst/>
              <a:cxnLst>
                <a:cxn ang="0">
                  <a:pos x="wd2" y="hd2"/>
                </a:cxn>
                <a:cxn ang="5400000">
                  <a:pos x="wd2" y="hd2"/>
                </a:cxn>
                <a:cxn ang="10800000">
                  <a:pos x="wd2" y="hd2"/>
                </a:cxn>
                <a:cxn ang="16200000">
                  <a:pos x="wd2" y="hd2"/>
                </a:cxn>
              </a:cxnLst>
              <a:rect l="0" t="0" r="r" b="b"/>
              <a:pathLst>
                <a:path w="16200" h="21600" extrusionOk="0">
                  <a:moveTo>
                    <a:pt x="5400" y="0"/>
                  </a:moveTo>
                  <a:cubicBezTo>
                    <a:pt x="0" y="0"/>
                    <a:pt x="0" y="10800"/>
                    <a:pt x="0" y="16200"/>
                  </a:cubicBezTo>
                  <a:cubicBezTo>
                    <a:pt x="0" y="21600"/>
                    <a:pt x="10800" y="21600"/>
                    <a:pt x="16200" y="21600"/>
                  </a:cubicBezTo>
                  <a:cubicBezTo>
                    <a:pt x="16200" y="10800"/>
                    <a:pt x="16200" y="5400"/>
                    <a:pt x="5400" y="0"/>
                  </a:cubicBezTo>
                  <a:cubicBezTo>
                    <a:pt x="-5400" y="5400"/>
                    <a:pt x="10800" y="5400"/>
                    <a:pt x="54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5" name="Shape 2074">
              <a:extLst>
                <a:ext uri="{FF2B5EF4-FFF2-40B4-BE49-F238E27FC236}">
                  <a16:creationId xmlns:a16="http://schemas.microsoft.com/office/drawing/2014/main" id="{7C22F7EE-7A97-1200-302A-E00D2FE8D547}"/>
                </a:ext>
              </a:extLst>
            </p:cNvPr>
            <p:cNvSpPr/>
            <p:nvPr/>
          </p:nvSpPr>
          <p:spPr>
            <a:xfrm>
              <a:off x="5627306" y="1796145"/>
              <a:ext cx="132601" cy="119146"/>
            </a:xfrm>
            <a:custGeom>
              <a:avLst/>
              <a:gdLst/>
              <a:ahLst/>
              <a:cxnLst>
                <a:cxn ang="0">
                  <a:pos x="wd2" y="hd2"/>
                </a:cxn>
                <a:cxn ang="5400000">
                  <a:pos x="wd2" y="hd2"/>
                </a:cxn>
                <a:cxn ang="10800000">
                  <a:pos x="wd2" y="hd2"/>
                </a:cxn>
                <a:cxn ang="16200000">
                  <a:pos x="wd2" y="hd2"/>
                </a:cxn>
              </a:cxnLst>
              <a:rect l="0" t="0" r="r" b="b"/>
              <a:pathLst>
                <a:path w="21600" h="21600" extrusionOk="0">
                  <a:moveTo>
                    <a:pt x="5400" y="16800"/>
                  </a:moveTo>
                  <a:cubicBezTo>
                    <a:pt x="7560" y="14400"/>
                    <a:pt x="14040" y="19200"/>
                    <a:pt x="15120" y="21600"/>
                  </a:cubicBezTo>
                  <a:cubicBezTo>
                    <a:pt x="16200" y="19200"/>
                    <a:pt x="16200" y="16800"/>
                    <a:pt x="15120" y="15600"/>
                  </a:cubicBezTo>
                  <a:cubicBezTo>
                    <a:pt x="14040" y="10800"/>
                    <a:pt x="16200" y="13200"/>
                    <a:pt x="18360" y="13200"/>
                  </a:cubicBezTo>
                  <a:cubicBezTo>
                    <a:pt x="20520" y="12000"/>
                    <a:pt x="20520" y="9600"/>
                    <a:pt x="19440" y="7200"/>
                  </a:cubicBezTo>
                  <a:cubicBezTo>
                    <a:pt x="19440" y="7200"/>
                    <a:pt x="21600" y="6000"/>
                    <a:pt x="21600" y="6000"/>
                  </a:cubicBezTo>
                  <a:cubicBezTo>
                    <a:pt x="21600" y="3600"/>
                    <a:pt x="21600" y="2400"/>
                    <a:pt x="20520" y="0"/>
                  </a:cubicBezTo>
                  <a:cubicBezTo>
                    <a:pt x="20520" y="0"/>
                    <a:pt x="16200" y="1200"/>
                    <a:pt x="16200" y="1200"/>
                  </a:cubicBezTo>
                  <a:cubicBezTo>
                    <a:pt x="14040" y="1200"/>
                    <a:pt x="12960" y="1200"/>
                    <a:pt x="10800" y="3600"/>
                  </a:cubicBezTo>
                  <a:cubicBezTo>
                    <a:pt x="10800" y="3600"/>
                    <a:pt x="14040" y="6000"/>
                    <a:pt x="12960" y="7200"/>
                  </a:cubicBezTo>
                  <a:cubicBezTo>
                    <a:pt x="10800" y="9600"/>
                    <a:pt x="9720" y="4800"/>
                    <a:pt x="10800" y="4800"/>
                  </a:cubicBezTo>
                  <a:cubicBezTo>
                    <a:pt x="10800" y="4800"/>
                    <a:pt x="7560" y="6000"/>
                    <a:pt x="7560" y="7200"/>
                  </a:cubicBezTo>
                  <a:cubicBezTo>
                    <a:pt x="7560" y="8400"/>
                    <a:pt x="6480" y="8400"/>
                    <a:pt x="5400" y="9600"/>
                  </a:cubicBezTo>
                  <a:cubicBezTo>
                    <a:pt x="5400" y="10800"/>
                    <a:pt x="3240" y="14400"/>
                    <a:pt x="5400" y="14400"/>
                  </a:cubicBezTo>
                  <a:cubicBezTo>
                    <a:pt x="5400" y="14400"/>
                    <a:pt x="4320" y="14400"/>
                    <a:pt x="3240" y="14400"/>
                  </a:cubicBezTo>
                  <a:cubicBezTo>
                    <a:pt x="3240" y="14400"/>
                    <a:pt x="4320" y="14400"/>
                    <a:pt x="4320" y="14400"/>
                  </a:cubicBezTo>
                  <a:cubicBezTo>
                    <a:pt x="4320" y="14400"/>
                    <a:pt x="3240" y="14400"/>
                    <a:pt x="3240" y="14400"/>
                  </a:cubicBezTo>
                  <a:cubicBezTo>
                    <a:pt x="2160" y="15600"/>
                    <a:pt x="4320" y="16800"/>
                    <a:pt x="4320" y="16800"/>
                  </a:cubicBezTo>
                  <a:cubicBezTo>
                    <a:pt x="4320" y="15600"/>
                    <a:pt x="2160" y="15600"/>
                    <a:pt x="2160" y="15600"/>
                  </a:cubicBezTo>
                  <a:cubicBezTo>
                    <a:pt x="2160" y="15600"/>
                    <a:pt x="3240" y="16800"/>
                    <a:pt x="3240" y="16800"/>
                  </a:cubicBezTo>
                  <a:cubicBezTo>
                    <a:pt x="3240" y="16800"/>
                    <a:pt x="2160" y="15600"/>
                    <a:pt x="1080" y="16800"/>
                  </a:cubicBezTo>
                  <a:cubicBezTo>
                    <a:pt x="1080" y="16800"/>
                    <a:pt x="2160" y="18000"/>
                    <a:pt x="2160" y="18000"/>
                  </a:cubicBezTo>
                  <a:cubicBezTo>
                    <a:pt x="2160" y="16800"/>
                    <a:pt x="1080" y="16800"/>
                    <a:pt x="0" y="18000"/>
                  </a:cubicBezTo>
                  <a:cubicBezTo>
                    <a:pt x="1080" y="18000"/>
                    <a:pt x="4320" y="19200"/>
                    <a:pt x="5400" y="16800"/>
                  </a:cubicBezTo>
                  <a:cubicBezTo>
                    <a:pt x="5400" y="16800"/>
                    <a:pt x="5400" y="18000"/>
                    <a:pt x="5400" y="16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6" name="Shape 2075">
              <a:extLst>
                <a:ext uri="{FF2B5EF4-FFF2-40B4-BE49-F238E27FC236}">
                  <a16:creationId xmlns:a16="http://schemas.microsoft.com/office/drawing/2014/main" id="{A458D4DE-15A6-74B9-4A44-F92F43B5418A}"/>
                </a:ext>
              </a:extLst>
            </p:cNvPr>
            <p:cNvSpPr/>
            <p:nvPr/>
          </p:nvSpPr>
          <p:spPr>
            <a:xfrm>
              <a:off x="5786870" y="1602011"/>
              <a:ext cx="98887" cy="137449"/>
            </a:xfrm>
            <a:custGeom>
              <a:avLst/>
              <a:gdLst/>
              <a:ahLst/>
              <a:cxnLst>
                <a:cxn ang="0">
                  <a:pos x="wd2" y="hd2"/>
                </a:cxn>
                <a:cxn ang="5400000">
                  <a:pos x="wd2" y="hd2"/>
                </a:cxn>
                <a:cxn ang="10800000">
                  <a:pos x="wd2" y="hd2"/>
                </a:cxn>
                <a:cxn ang="16200000">
                  <a:pos x="wd2" y="hd2"/>
                </a:cxn>
              </a:cxnLst>
              <a:rect l="0" t="0" r="r" b="b"/>
              <a:pathLst>
                <a:path w="21600" h="20318" extrusionOk="0">
                  <a:moveTo>
                    <a:pt x="14400" y="20073"/>
                  </a:moveTo>
                  <a:cubicBezTo>
                    <a:pt x="14400" y="19091"/>
                    <a:pt x="8640" y="17128"/>
                    <a:pt x="11520" y="16146"/>
                  </a:cubicBezTo>
                  <a:cubicBezTo>
                    <a:pt x="12960" y="15164"/>
                    <a:pt x="12960" y="12219"/>
                    <a:pt x="15840" y="11237"/>
                  </a:cubicBezTo>
                  <a:cubicBezTo>
                    <a:pt x="15840" y="11237"/>
                    <a:pt x="15840" y="12219"/>
                    <a:pt x="15840" y="12219"/>
                  </a:cubicBezTo>
                  <a:cubicBezTo>
                    <a:pt x="17280" y="12219"/>
                    <a:pt x="21600" y="10255"/>
                    <a:pt x="21600" y="9273"/>
                  </a:cubicBezTo>
                  <a:cubicBezTo>
                    <a:pt x="21600" y="8291"/>
                    <a:pt x="15840" y="8291"/>
                    <a:pt x="15840" y="6328"/>
                  </a:cubicBezTo>
                  <a:cubicBezTo>
                    <a:pt x="15840" y="5346"/>
                    <a:pt x="14400" y="5346"/>
                    <a:pt x="14400" y="4364"/>
                  </a:cubicBezTo>
                  <a:cubicBezTo>
                    <a:pt x="14400" y="3382"/>
                    <a:pt x="17280" y="4364"/>
                    <a:pt x="17280" y="3382"/>
                  </a:cubicBezTo>
                  <a:cubicBezTo>
                    <a:pt x="17280" y="2400"/>
                    <a:pt x="17280" y="1419"/>
                    <a:pt x="17280" y="437"/>
                  </a:cubicBezTo>
                  <a:cubicBezTo>
                    <a:pt x="17280" y="-545"/>
                    <a:pt x="17280" y="437"/>
                    <a:pt x="15840" y="437"/>
                  </a:cubicBezTo>
                  <a:cubicBezTo>
                    <a:pt x="11520" y="437"/>
                    <a:pt x="12960" y="1419"/>
                    <a:pt x="10080" y="3382"/>
                  </a:cubicBezTo>
                  <a:cubicBezTo>
                    <a:pt x="8640" y="4364"/>
                    <a:pt x="4320" y="2400"/>
                    <a:pt x="2880" y="4364"/>
                  </a:cubicBezTo>
                  <a:cubicBezTo>
                    <a:pt x="0" y="6328"/>
                    <a:pt x="4320" y="6328"/>
                    <a:pt x="5760" y="5346"/>
                  </a:cubicBezTo>
                  <a:cubicBezTo>
                    <a:pt x="7200" y="4364"/>
                    <a:pt x="10080" y="5346"/>
                    <a:pt x="8640" y="7310"/>
                  </a:cubicBezTo>
                  <a:cubicBezTo>
                    <a:pt x="8640" y="6328"/>
                    <a:pt x="5760" y="5346"/>
                    <a:pt x="5760" y="7310"/>
                  </a:cubicBezTo>
                  <a:cubicBezTo>
                    <a:pt x="4320" y="7310"/>
                    <a:pt x="2880" y="8291"/>
                    <a:pt x="2880" y="7310"/>
                  </a:cubicBezTo>
                  <a:cubicBezTo>
                    <a:pt x="2880" y="8291"/>
                    <a:pt x="0" y="6328"/>
                    <a:pt x="0" y="8291"/>
                  </a:cubicBezTo>
                  <a:cubicBezTo>
                    <a:pt x="0" y="10255"/>
                    <a:pt x="0" y="11237"/>
                    <a:pt x="0" y="13200"/>
                  </a:cubicBezTo>
                  <a:cubicBezTo>
                    <a:pt x="1440" y="14182"/>
                    <a:pt x="2880" y="14182"/>
                    <a:pt x="2880" y="15164"/>
                  </a:cubicBezTo>
                  <a:cubicBezTo>
                    <a:pt x="4320" y="17128"/>
                    <a:pt x="1440" y="18110"/>
                    <a:pt x="2880" y="19091"/>
                  </a:cubicBezTo>
                  <a:cubicBezTo>
                    <a:pt x="5760" y="21055"/>
                    <a:pt x="11520" y="20073"/>
                    <a:pt x="14400" y="200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7" name="Shape 2076">
              <a:extLst>
                <a:ext uri="{FF2B5EF4-FFF2-40B4-BE49-F238E27FC236}">
                  <a16:creationId xmlns:a16="http://schemas.microsoft.com/office/drawing/2014/main" id="{343DCB29-5206-FE08-0D98-8FC93982032A}"/>
                </a:ext>
              </a:extLst>
            </p:cNvPr>
            <p:cNvSpPr/>
            <p:nvPr/>
          </p:nvSpPr>
          <p:spPr>
            <a:xfrm>
              <a:off x="5720143" y="1730955"/>
              <a:ext cx="287588" cy="336466"/>
            </a:xfrm>
            <a:custGeom>
              <a:avLst/>
              <a:gdLst/>
              <a:ahLst/>
              <a:cxnLst>
                <a:cxn ang="0">
                  <a:pos x="wd2" y="hd2"/>
                </a:cxn>
                <a:cxn ang="5400000">
                  <a:pos x="wd2" y="hd2"/>
                </a:cxn>
                <a:cxn ang="10800000">
                  <a:pos x="wd2" y="hd2"/>
                </a:cxn>
                <a:cxn ang="16200000">
                  <a:pos x="wd2" y="hd2"/>
                </a:cxn>
              </a:cxnLst>
              <a:rect l="0" t="0" r="r" b="b"/>
              <a:pathLst>
                <a:path w="21099" h="21269" extrusionOk="0">
                  <a:moveTo>
                    <a:pt x="20739" y="9969"/>
                  </a:moveTo>
                  <a:cubicBezTo>
                    <a:pt x="20259" y="9138"/>
                    <a:pt x="20259" y="8308"/>
                    <a:pt x="20259" y="7477"/>
                  </a:cubicBezTo>
                  <a:cubicBezTo>
                    <a:pt x="19779" y="6646"/>
                    <a:pt x="19299" y="6231"/>
                    <a:pt x="19779" y="4985"/>
                  </a:cubicBezTo>
                  <a:cubicBezTo>
                    <a:pt x="20259" y="4154"/>
                    <a:pt x="19779" y="3323"/>
                    <a:pt x="19299" y="2908"/>
                  </a:cubicBezTo>
                  <a:cubicBezTo>
                    <a:pt x="18819" y="2492"/>
                    <a:pt x="17859" y="2077"/>
                    <a:pt x="17859" y="1662"/>
                  </a:cubicBezTo>
                  <a:cubicBezTo>
                    <a:pt x="17859" y="1662"/>
                    <a:pt x="18339" y="1246"/>
                    <a:pt x="17859" y="831"/>
                  </a:cubicBezTo>
                  <a:cubicBezTo>
                    <a:pt x="17379" y="831"/>
                    <a:pt x="17379" y="2077"/>
                    <a:pt x="17379" y="2077"/>
                  </a:cubicBezTo>
                  <a:cubicBezTo>
                    <a:pt x="16419" y="2077"/>
                    <a:pt x="16419" y="1662"/>
                    <a:pt x="15459" y="1662"/>
                  </a:cubicBezTo>
                  <a:cubicBezTo>
                    <a:pt x="14499" y="2077"/>
                    <a:pt x="13059" y="2908"/>
                    <a:pt x="11619" y="2908"/>
                  </a:cubicBezTo>
                  <a:cubicBezTo>
                    <a:pt x="11139" y="2492"/>
                    <a:pt x="12099" y="2077"/>
                    <a:pt x="12099" y="1662"/>
                  </a:cubicBezTo>
                  <a:cubicBezTo>
                    <a:pt x="11139" y="1662"/>
                    <a:pt x="10659" y="2077"/>
                    <a:pt x="9699" y="1662"/>
                  </a:cubicBezTo>
                  <a:cubicBezTo>
                    <a:pt x="9219" y="1246"/>
                    <a:pt x="10659" y="415"/>
                    <a:pt x="9219" y="415"/>
                  </a:cubicBezTo>
                  <a:cubicBezTo>
                    <a:pt x="8259" y="415"/>
                    <a:pt x="7299" y="415"/>
                    <a:pt x="5859" y="0"/>
                  </a:cubicBezTo>
                  <a:cubicBezTo>
                    <a:pt x="6339" y="415"/>
                    <a:pt x="6819" y="415"/>
                    <a:pt x="6819" y="1246"/>
                  </a:cubicBezTo>
                  <a:cubicBezTo>
                    <a:pt x="6339" y="1662"/>
                    <a:pt x="6339" y="1662"/>
                    <a:pt x="6819" y="2492"/>
                  </a:cubicBezTo>
                  <a:cubicBezTo>
                    <a:pt x="6819" y="3323"/>
                    <a:pt x="6819" y="2908"/>
                    <a:pt x="7779" y="2908"/>
                  </a:cubicBezTo>
                  <a:cubicBezTo>
                    <a:pt x="8259" y="2908"/>
                    <a:pt x="8739" y="3323"/>
                    <a:pt x="9219" y="3738"/>
                  </a:cubicBezTo>
                  <a:cubicBezTo>
                    <a:pt x="8739" y="3323"/>
                    <a:pt x="7299" y="3323"/>
                    <a:pt x="6819" y="3323"/>
                  </a:cubicBezTo>
                  <a:cubicBezTo>
                    <a:pt x="6819" y="3323"/>
                    <a:pt x="6339" y="3323"/>
                    <a:pt x="6339" y="3323"/>
                  </a:cubicBezTo>
                  <a:cubicBezTo>
                    <a:pt x="5859" y="3738"/>
                    <a:pt x="6339" y="4154"/>
                    <a:pt x="5859" y="4154"/>
                  </a:cubicBezTo>
                  <a:cubicBezTo>
                    <a:pt x="4899" y="4569"/>
                    <a:pt x="2979" y="2492"/>
                    <a:pt x="2499" y="4154"/>
                  </a:cubicBezTo>
                  <a:cubicBezTo>
                    <a:pt x="2979" y="4985"/>
                    <a:pt x="3459" y="5815"/>
                    <a:pt x="2499" y="6231"/>
                  </a:cubicBezTo>
                  <a:cubicBezTo>
                    <a:pt x="2019" y="7062"/>
                    <a:pt x="2019" y="6231"/>
                    <a:pt x="2499" y="7062"/>
                  </a:cubicBezTo>
                  <a:cubicBezTo>
                    <a:pt x="2499" y="9138"/>
                    <a:pt x="-381" y="8308"/>
                    <a:pt x="99" y="9138"/>
                  </a:cubicBezTo>
                  <a:cubicBezTo>
                    <a:pt x="99" y="9554"/>
                    <a:pt x="579" y="9969"/>
                    <a:pt x="579" y="10800"/>
                  </a:cubicBezTo>
                  <a:cubicBezTo>
                    <a:pt x="579" y="11631"/>
                    <a:pt x="99" y="11631"/>
                    <a:pt x="579" y="12462"/>
                  </a:cubicBezTo>
                  <a:cubicBezTo>
                    <a:pt x="1059" y="12877"/>
                    <a:pt x="-381" y="13708"/>
                    <a:pt x="99" y="13708"/>
                  </a:cubicBezTo>
                  <a:cubicBezTo>
                    <a:pt x="1059" y="14123"/>
                    <a:pt x="579" y="14954"/>
                    <a:pt x="1059" y="15369"/>
                  </a:cubicBezTo>
                  <a:cubicBezTo>
                    <a:pt x="1539" y="16615"/>
                    <a:pt x="3459" y="16200"/>
                    <a:pt x="4899" y="16615"/>
                  </a:cubicBezTo>
                  <a:cubicBezTo>
                    <a:pt x="4899" y="16615"/>
                    <a:pt x="3939" y="19938"/>
                    <a:pt x="3939" y="20354"/>
                  </a:cubicBezTo>
                  <a:cubicBezTo>
                    <a:pt x="5859" y="20354"/>
                    <a:pt x="6819" y="19938"/>
                    <a:pt x="8739" y="20354"/>
                  </a:cubicBezTo>
                  <a:cubicBezTo>
                    <a:pt x="8739" y="20354"/>
                    <a:pt x="10659" y="21600"/>
                    <a:pt x="10659" y="21185"/>
                  </a:cubicBezTo>
                  <a:cubicBezTo>
                    <a:pt x="11139" y="20354"/>
                    <a:pt x="11619" y="20354"/>
                    <a:pt x="12099" y="20769"/>
                  </a:cubicBezTo>
                  <a:cubicBezTo>
                    <a:pt x="12579" y="21185"/>
                    <a:pt x="14979" y="19938"/>
                    <a:pt x="15459" y="20354"/>
                  </a:cubicBezTo>
                  <a:cubicBezTo>
                    <a:pt x="15459" y="20354"/>
                    <a:pt x="17379" y="20769"/>
                    <a:pt x="16899" y="20354"/>
                  </a:cubicBezTo>
                  <a:cubicBezTo>
                    <a:pt x="16419" y="19108"/>
                    <a:pt x="15939" y="19108"/>
                    <a:pt x="16899" y="18692"/>
                  </a:cubicBezTo>
                  <a:cubicBezTo>
                    <a:pt x="17859" y="17862"/>
                    <a:pt x="17859" y="17862"/>
                    <a:pt x="18819" y="17862"/>
                  </a:cubicBezTo>
                  <a:cubicBezTo>
                    <a:pt x="19299" y="17446"/>
                    <a:pt x="16899" y="15785"/>
                    <a:pt x="16419" y="15369"/>
                  </a:cubicBezTo>
                  <a:cubicBezTo>
                    <a:pt x="15939" y="15369"/>
                    <a:pt x="14499" y="13292"/>
                    <a:pt x="14979" y="12877"/>
                  </a:cubicBezTo>
                  <a:cubicBezTo>
                    <a:pt x="16899" y="12462"/>
                    <a:pt x="17859" y="12046"/>
                    <a:pt x="19299" y="10800"/>
                  </a:cubicBezTo>
                  <a:cubicBezTo>
                    <a:pt x="19779" y="10385"/>
                    <a:pt x="20259" y="12046"/>
                    <a:pt x="20739" y="11631"/>
                  </a:cubicBezTo>
                  <a:cubicBezTo>
                    <a:pt x="21219" y="11215"/>
                    <a:pt x="21219" y="10385"/>
                    <a:pt x="20739" y="9969"/>
                  </a:cubicBezTo>
                  <a:cubicBezTo>
                    <a:pt x="20739" y="9554"/>
                    <a:pt x="20739" y="9969"/>
                    <a:pt x="20739" y="9969"/>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8" name="Shape 2077">
              <a:extLst>
                <a:ext uri="{FF2B5EF4-FFF2-40B4-BE49-F238E27FC236}">
                  <a16:creationId xmlns:a16="http://schemas.microsoft.com/office/drawing/2014/main" id="{57AE9A84-639D-5241-3B5D-B1F309BBCF0B}"/>
                </a:ext>
              </a:extLst>
            </p:cNvPr>
            <p:cNvSpPr/>
            <p:nvPr/>
          </p:nvSpPr>
          <p:spPr>
            <a:xfrm>
              <a:off x="6234107" y="1842432"/>
              <a:ext cx="581329" cy="334916"/>
            </a:xfrm>
            <a:custGeom>
              <a:avLst/>
              <a:gdLst/>
              <a:ahLst/>
              <a:cxnLst>
                <a:cxn ang="0">
                  <a:pos x="wd2" y="hd2"/>
                </a:cxn>
                <a:cxn ang="5400000">
                  <a:pos x="wd2" y="hd2"/>
                </a:cxn>
                <a:cxn ang="10800000">
                  <a:pos x="wd2" y="hd2"/>
                </a:cxn>
                <a:cxn ang="16200000">
                  <a:pos x="wd2" y="hd2"/>
                </a:cxn>
              </a:cxnLst>
              <a:rect l="0" t="0" r="r" b="b"/>
              <a:pathLst>
                <a:path w="21407" h="20762" extrusionOk="0">
                  <a:moveTo>
                    <a:pt x="0" y="10643"/>
                  </a:moveTo>
                  <a:cubicBezTo>
                    <a:pt x="0" y="11865"/>
                    <a:pt x="1699" y="11865"/>
                    <a:pt x="2184" y="11865"/>
                  </a:cubicBezTo>
                  <a:cubicBezTo>
                    <a:pt x="2670" y="11865"/>
                    <a:pt x="3155" y="12681"/>
                    <a:pt x="3883" y="12273"/>
                  </a:cubicBezTo>
                  <a:cubicBezTo>
                    <a:pt x="4126" y="11458"/>
                    <a:pt x="4854" y="11050"/>
                    <a:pt x="5339" y="11050"/>
                  </a:cubicBezTo>
                  <a:cubicBezTo>
                    <a:pt x="6067" y="10235"/>
                    <a:pt x="7524" y="11050"/>
                    <a:pt x="8009" y="11865"/>
                  </a:cubicBezTo>
                  <a:cubicBezTo>
                    <a:pt x="8737" y="13496"/>
                    <a:pt x="8980" y="15126"/>
                    <a:pt x="9708" y="16348"/>
                  </a:cubicBezTo>
                  <a:cubicBezTo>
                    <a:pt x="10193" y="15941"/>
                    <a:pt x="10193" y="15533"/>
                    <a:pt x="10679" y="15126"/>
                  </a:cubicBezTo>
                  <a:cubicBezTo>
                    <a:pt x="11164" y="15126"/>
                    <a:pt x="11164" y="15941"/>
                    <a:pt x="11407" y="16348"/>
                  </a:cubicBezTo>
                  <a:cubicBezTo>
                    <a:pt x="11649" y="16756"/>
                    <a:pt x="13834" y="17164"/>
                    <a:pt x="13834" y="16756"/>
                  </a:cubicBezTo>
                  <a:cubicBezTo>
                    <a:pt x="13834" y="17164"/>
                    <a:pt x="12378" y="17979"/>
                    <a:pt x="12378" y="18386"/>
                  </a:cubicBezTo>
                  <a:cubicBezTo>
                    <a:pt x="12620" y="18794"/>
                    <a:pt x="13591" y="18386"/>
                    <a:pt x="13348" y="19609"/>
                  </a:cubicBezTo>
                  <a:cubicBezTo>
                    <a:pt x="13106" y="20424"/>
                    <a:pt x="13834" y="21239"/>
                    <a:pt x="14319" y="20424"/>
                  </a:cubicBezTo>
                  <a:cubicBezTo>
                    <a:pt x="14804" y="20016"/>
                    <a:pt x="15533" y="19201"/>
                    <a:pt x="16261" y="19201"/>
                  </a:cubicBezTo>
                  <a:cubicBezTo>
                    <a:pt x="16989" y="19201"/>
                    <a:pt x="17231" y="19201"/>
                    <a:pt x="17474" y="18386"/>
                  </a:cubicBezTo>
                  <a:cubicBezTo>
                    <a:pt x="17474" y="18386"/>
                    <a:pt x="16746" y="18386"/>
                    <a:pt x="16503" y="18386"/>
                  </a:cubicBezTo>
                  <a:cubicBezTo>
                    <a:pt x="16018" y="18386"/>
                    <a:pt x="15533" y="18794"/>
                    <a:pt x="15290" y="17571"/>
                  </a:cubicBezTo>
                  <a:cubicBezTo>
                    <a:pt x="14562" y="15941"/>
                    <a:pt x="16989" y="15126"/>
                    <a:pt x="17474" y="15126"/>
                  </a:cubicBezTo>
                  <a:cubicBezTo>
                    <a:pt x="17960" y="14718"/>
                    <a:pt x="18445" y="14311"/>
                    <a:pt x="18930" y="13903"/>
                  </a:cubicBezTo>
                  <a:cubicBezTo>
                    <a:pt x="19173" y="13088"/>
                    <a:pt x="19658" y="12273"/>
                    <a:pt x="20387" y="12273"/>
                  </a:cubicBezTo>
                  <a:cubicBezTo>
                    <a:pt x="20629" y="12273"/>
                    <a:pt x="21115" y="12273"/>
                    <a:pt x="21115" y="11050"/>
                  </a:cubicBezTo>
                  <a:cubicBezTo>
                    <a:pt x="21115" y="10643"/>
                    <a:pt x="20872" y="10643"/>
                    <a:pt x="20872" y="10235"/>
                  </a:cubicBezTo>
                  <a:cubicBezTo>
                    <a:pt x="20872" y="9828"/>
                    <a:pt x="21357" y="9828"/>
                    <a:pt x="21357" y="9828"/>
                  </a:cubicBezTo>
                  <a:cubicBezTo>
                    <a:pt x="21357" y="9828"/>
                    <a:pt x="20872" y="9420"/>
                    <a:pt x="20872" y="9420"/>
                  </a:cubicBezTo>
                  <a:cubicBezTo>
                    <a:pt x="20872" y="9013"/>
                    <a:pt x="21600" y="9013"/>
                    <a:pt x="21357" y="8197"/>
                  </a:cubicBezTo>
                  <a:cubicBezTo>
                    <a:pt x="21357" y="8197"/>
                    <a:pt x="20872" y="7790"/>
                    <a:pt x="20629" y="7382"/>
                  </a:cubicBezTo>
                  <a:cubicBezTo>
                    <a:pt x="20387" y="6975"/>
                    <a:pt x="20144" y="7790"/>
                    <a:pt x="19901" y="6975"/>
                  </a:cubicBezTo>
                  <a:cubicBezTo>
                    <a:pt x="19658" y="6567"/>
                    <a:pt x="19416" y="6567"/>
                    <a:pt x="18930" y="6975"/>
                  </a:cubicBezTo>
                  <a:cubicBezTo>
                    <a:pt x="18688" y="6975"/>
                    <a:pt x="18445" y="5752"/>
                    <a:pt x="18202" y="5752"/>
                  </a:cubicBezTo>
                  <a:cubicBezTo>
                    <a:pt x="17960" y="5345"/>
                    <a:pt x="17717" y="6160"/>
                    <a:pt x="17474" y="6567"/>
                  </a:cubicBezTo>
                  <a:cubicBezTo>
                    <a:pt x="17231" y="6567"/>
                    <a:pt x="16989" y="5345"/>
                    <a:pt x="16746" y="5345"/>
                  </a:cubicBezTo>
                  <a:cubicBezTo>
                    <a:pt x="16503" y="5345"/>
                    <a:pt x="15775" y="5752"/>
                    <a:pt x="15775" y="5345"/>
                  </a:cubicBezTo>
                  <a:cubicBezTo>
                    <a:pt x="15775" y="4937"/>
                    <a:pt x="15775" y="4122"/>
                    <a:pt x="15533" y="3714"/>
                  </a:cubicBezTo>
                  <a:cubicBezTo>
                    <a:pt x="15290" y="3307"/>
                    <a:pt x="14804" y="3714"/>
                    <a:pt x="14562" y="3307"/>
                  </a:cubicBezTo>
                  <a:cubicBezTo>
                    <a:pt x="14319" y="2899"/>
                    <a:pt x="14076" y="2084"/>
                    <a:pt x="14562" y="1677"/>
                  </a:cubicBezTo>
                  <a:cubicBezTo>
                    <a:pt x="14804" y="1677"/>
                    <a:pt x="14319" y="454"/>
                    <a:pt x="14076" y="454"/>
                  </a:cubicBezTo>
                  <a:cubicBezTo>
                    <a:pt x="13834" y="47"/>
                    <a:pt x="13106" y="454"/>
                    <a:pt x="12863" y="47"/>
                  </a:cubicBezTo>
                  <a:cubicBezTo>
                    <a:pt x="12135" y="-361"/>
                    <a:pt x="12135" y="2084"/>
                    <a:pt x="11407" y="454"/>
                  </a:cubicBezTo>
                  <a:cubicBezTo>
                    <a:pt x="11164" y="454"/>
                    <a:pt x="10679" y="862"/>
                    <a:pt x="10436" y="862"/>
                  </a:cubicBezTo>
                  <a:cubicBezTo>
                    <a:pt x="9951" y="1269"/>
                    <a:pt x="10193" y="3307"/>
                    <a:pt x="9951" y="3307"/>
                  </a:cubicBezTo>
                  <a:cubicBezTo>
                    <a:pt x="9708" y="3307"/>
                    <a:pt x="9465" y="2492"/>
                    <a:pt x="9222" y="2492"/>
                  </a:cubicBezTo>
                  <a:cubicBezTo>
                    <a:pt x="9222" y="2492"/>
                    <a:pt x="8980" y="2899"/>
                    <a:pt x="8737" y="2899"/>
                  </a:cubicBezTo>
                  <a:cubicBezTo>
                    <a:pt x="8494" y="2899"/>
                    <a:pt x="8252" y="2492"/>
                    <a:pt x="8252" y="2084"/>
                  </a:cubicBezTo>
                  <a:cubicBezTo>
                    <a:pt x="8252" y="1677"/>
                    <a:pt x="7766" y="2492"/>
                    <a:pt x="7524" y="2492"/>
                  </a:cubicBezTo>
                  <a:cubicBezTo>
                    <a:pt x="7281" y="2492"/>
                    <a:pt x="7281" y="2084"/>
                    <a:pt x="7038" y="2084"/>
                  </a:cubicBezTo>
                  <a:cubicBezTo>
                    <a:pt x="6796" y="2084"/>
                    <a:pt x="6796" y="2492"/>
                    <a:pt x="6796" y="2899"/>
                  </a:cubicBezTo>
                  <a:cubicBezTo>
                    <a:pt x="6796" y="2899"/>
                    <a:pt x="5097" y="1677"/>
                    <a:pt x="5097" y="1677"/>
                  </a:cubicBezTo>
                  <a:cubicBezTo>
                    <a:pt x="4369" y="1269"/>
                    <a:pt x="3640" y="1269"/>
                    <a:pt x="2912" y="1269"/>
                  </a:cubicBezTo>
                  <a:cubicBezTo>
                    <a:pt x="2427" y="1269"/>
                    <a:pt x="2184" y="2084"/>
                    <a:pt x="1456" y="2084"/>
                  </a:cubicBezTo>
                  <a:cubicBezTo>
                    <a:pt x="1456" y="3307"/>
                    <a:pt x="2184" y="3307"/>
                    <a:pt x="2184" y="4122"/>
                  </a:cubicBezTo>
                  <a:cubicBezTo>
                    <a:pt x="2184" y="4530"/>
                    <a:pt x="2427" y="4937"/>
                    <a:pt x="2427" y="5345"/>
                  </a:cubicBezTo>
                  <a:cubicBezTo>
                    <a:pt x="2184" y="5752"/>
                    <a:pt x="1456" y="5752"/>
                    <a:pt x="1213" y="6160"/>
                  </a:cubicBezTo>
                  <a:cubicBezTo>
                    <a:pt x="485" y="6975"/>
                    <a:pt x="728" y="7790"/>
                    <a:pt x="485" y="9013"/>
                  </a:cubicBezTo>
                  <a:cubicBezTo>
                    <a:pt x="485" y="9828"/>
                    <a:pt x="243" y="10235"/>
                    <a:pt x="0" y="1064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9" name="Shape 2078">
              <a:extLst>
                <a:ext uri="{FF2B5EF4-FFF2-40B4-BE49-F238E27FC236}">
                  <a16:creationId xmlns:a16="http://schemas.microsoft.com/office/drawing/2014/main" id="{556035CC-F5AD-52D0-3FB7-3CB223433D26}"/>
                </a:ext>
              </a:extLst>
            </p:cNvPr>
            <p:cNvSpPr/>
            <p:nvPr/>
          </p:nvSpPr>
          <p:spPr>
            <a:xfrm>
              <a:off x="6064157" y="1966991"/>
              <a:ext cx="183434" cy="76830"/>
            </a:xfrm>
            <a:custGeom>
              <a:avLst/>
              <a:gdLst/>
              <a:ahLst/>
              <a:cxnLst>
                <a:cxn ang="0">
                  <a:pos x="wd2" y="hd2"/>
                </a:cxn>
                <a:cxn ang="5400000">
                  <a:pos x="wd2" y="hd2"/>
                </a:cxn>
                <a:cxn ang="10800000">
                  <a:pos x="wd2" y="hd2"/>
                </a:cxn>
                <a:cxn ang="16200000">
                  <a:pos x="wd2" y="hd2"/>
                </a:cxn>
              </a:cxnLst>
              <a:rect l="0" t="0" r="r" b="b"/>
              <a:pathLst>
                <a:path w="20034" h="20506" extrusionOk="0">
                  <a:moveTo>
                    <a:pt x="20034" y="7200"/>
                  </a:moveTo>
                  <a:cubicBezTo>
                    <a:pt x="17874" y="3600"/>
                    <a:pt x="17154" y="0"/>
                    <a:pt x="14274" y="0"/>
                  </a:cubicBezTo>
                  <a:cubicBezTo>
                    <a:pt x="12834" y="0"/>
                    <a:pt x="12114" y="0"/>
                    <a:pt x="10674" y="0"/>
                  </a:cubicBezTo>
                  <a:cubicBezTo>
                    <a:pt x="9234" y="0"/>
                    <a:pt x="9234" y="1800"/>
                    <a:pt x="8514" y="1800"/>
                  </a:cubicBezTo>
                  <a:cubicBezTo>
                    <a:pt x="7794" y="1800"/>
                    <a:pt x="7074" y="0"/>
                    <a:pt x="6354" y="0"/>
                  </a:cubicBezTo>
                  <a:cubicBezTo>
                    <a:pt x="5634" y="1800"/>
                    <a:pt x="4914" y="3600"/>
                    <a:pt x="4194" y="5400"/>
                  </a:cubicBezTo>
                  <a:cubicBezTo>
                    <a:pt x="2754" y="9000"/>
                    <a:pt x="-1566" y="7200"/>
                    <a:pt x="594" y="16200"/>
                  </a:cubicBezTo>
                  <a:cubicBezTo>
                    <a:pt x="1314" y="19800"/>
                    <a:pt x="4194" y="21600"/>
                    <a:pt x="6354" y="19800"/>
                  </a:cubicBezTo>
                  <a:cubicBezTo>
                    <a:pt x="7074" y="19800"/>
                    <a:pt x="7074" y="16200"/>
                    <a:pt x="7794" y="16200"/>
                  </a:cubicBezTo>
                  <a:cubicBezTo>
                    <a:pt x="9234" y="16200"/>
                    <a:pt x="10674" y="16200"/>
                    <a:pt x="11394" y="16200"/>
                  </a:cubicBezTo>
                  <a:cubicBezTo>
                    <a:pt x="12114" y="16200"/>
                    <a:pt x="12114" y="12600"/>
                    <a:pt x="12114" y="10800"/>
                  </a:cubicBezTo>
                  <a:cubicBezTo>
                    <a:pt x="12834" y="9000"/>
                    <a:pt x="14994" y="12600"/>
                    <a:pt x="15714" y="12600"/>
                  </a:cubicBezTo>
                  <a:cubicBezTo>
                    <a:pt x="16434" y="12600"/>
                    <a:pt x="17874" y="12600"/>
                    <a:pt x="18594" y="12600"/>
                  </a:cubicBezTo>
                  <a:cubicBezTo>
                    <a:pt x="19314" y="12600"/>
                    <a:pt x="19314" y="9000"/>
                    <a:pt x="20034"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0" name="Shape 2079">
              <a:extLst>
                <a:ext uri="{FF2B5EF4-FFF2-40B4-BE49-F238E27FC236}">
                  <a16:creationId xmlns:a16="http://schemas.microsoft.com/office/drawing/2014/main" id="{CD6F759D-0D8E-8B25-C243-4B8EB150F9AF}"/>
                </a:ext>
              </a:extLst>
            </p:cNvPr>
            <p:cNvSpPr/>
            <p:nvPr/>
          </p:nvSpPr>
          <p:spPr>
            <a:xfrm>
              <a:off x="6270081" y="1670257"/>
              <a:ext cx="301875" cy="222075"/>
            </a:xfrm>
            <a:custGeom>
              <a:avLst/>
              <a:gdLst/>
              <a:ahLst/>
              <a:cxnLst>
                <a:cxn ang="0">
                  <a:pos x="wd2" y="hd2"/>
                </a:cxn>
                <a:cxn ang="5400000">
                  <a:pos x="wd2" y="hd2"/>
                </a:cxn>
                <a:cxn ang="10800000">
                  <a:pos x="wd2" y="hd2"/>
                </a:cxn>
                <a:cxn ang="16200000">
                  <a:pos x="wd2" y="hd2"/>
                </a:cxn>
              </a:cxnLst>
              <a:rect l="0" t="0" r="r" b="b"/>
              <a:pathLst>
                <a:path w="21024" h="20716" extrusionOk="0">
                  <a:moveTo>
                    <a:pt x="4897" y="17897"/>
                  </a:moveTo>
                  <a:cubicBezTo>
                    <a:pt x="6276" y="17897"/>
                    <a:pt x="7195" y="18514"/>
                    <a:pt x="8114" y="18514"/>
                  </a:cubicBezTo>
                  <a:cubicBezTo>
                    <a:pt x="8114" y="18514"/>
                    <a:pt x="10412" y="20366"/>
                    <a:pt x="10412" y="20366"/>
                  </a:cubicBezTo>
                  <a:cubicBezTo>
                    <a:pt x="10412" y="19749"/>
                    <a:pt x="10872" y="17897"/>
                    <a:pt x="11331" y="19131"/>
                  </a:cubicBezTo>
                  <a:cubicBezTo>
                    <a:pt x="12251" y="20983"/>
                    <a:pt x="12710" y="17897"/>
                    <a:pt x="13170" y="19749"/>
                  </a:cubicBezTo>
                  <a:cubicBezTo>
                    <a:pt x="13629" y="20983"/>
                    <a:pt x="14548" y="19749"/>
                    <a:pt x="15008" y="19749"/>
                  </a:cubicBezTo>
                  <a:cubicBezTo>
                    <a:pt x="15468" y="19131"/>
                    <a:pt x="16387" y="21600"/>
                    <a:pt x="16387" y="20366"/>
                  </a:cubicBezTo>
                  <a:cubicBezTo>
                    <a:pt x="16846" y="19131"/>
                    <a:pt x="16387" y="17897"/>
                    <a:pt x="17306" y="17280"/>
                  </a:cubicBezTo>
                  <a:cubicBezTo>
                    <a:pt x="17765" y="17280"/>
                    <a:pt x="18685" y="16663"/>
                    <a:pt x="19144" y="16663"/>
                  </a:cubicBezTo>
                  <a:cubicBezTo>
                    <a:pt x="18685" y="16046"/>
                    <a:pt x="18225" y="14811"/>
                    <a:pt x="18225" y="13577"/>
                  </a:cubicBezTo>
                  <a:cubicBezTo>
                    <a:pt x="18225" y="12343"/>
                    <a:pt x="19144" y="13577"/>
                    <a:pt x="20063" y="12960"/>
                  </a:cubicBezTo>
                  <a:cubicBezTo>
                    <a:pt x="20982" y="12960"/>
                    <a:pt x="21442" y="11726"/>
                    <a:pt x="20523" y="10491"/>
                  </a:cubicBezTo>
                  <a:cubicBezTo>
                    <a:pt x="20063" y="9874"/>
                    <a:pt x="19604" y="10491"/>
                    <a:pt x="19144" y="9257"/>
                  </a:cubicBezTo>
                  <a:cubicBezTo>
                    <a:pt x="18685" y="8640"/>
                    <a:pt x="18225" y="8023"/>
                    <a:pt x="17765" y="6789"/>
                  </a:cubicBezTo>
                  <a:cubicBezTo>
                    <a:pt x="17306" y="6171"/>
                    <a:pt x="17306" y="4937"/>
                    <a:pt x="17306" y="3703"/>
                  </a:cubicBezTo>
                  <a:cubicBezTo>
                    <a:pt x="17765" y="2469"/>
                    <a:pt x="16387" y="1234"/>
                    <a:pt x="15927" y="1234"/>
                  </a:cubicBezTo>
                  <a:cubicBezTo>
                    <a:pt x="15468" y="617"/>
                    <a:pt x="15468" y="1234"/>
                    <a:pt x="15008" y="1234"/>
                  </a:cubicBezTo>
                  <a:cubicBezTo>
                    <a:pt x="14089" y="1851"/>
                    <a:pt x="14089" y="1234"/>
                    <a:pt x="13629" y="617"/>
                  </a:cubicBezTo>
                  <a:cubicBezTo>
                    <a:pt x="13170" y="0"/>
                    <a:pt x="13170" y="1234"/>
                    <a:pt x="12710" y="1234"/>
                  </a:cubicBezTo>
                  <a:cubicBezTo>
                    <a:pt x="12251" y="1234"/>
                    <a:pt x="11331" y="0"/>
                    <a:pt x="11331" y="0"/>
                  </a:cubicBezTo>
                  <a:cubicBezTo>
                    <a:pt x="10412" y="0"/>
                    <a:pt x="10412" y="1234"/>
                    <a:pt x="9953" y="1234"/>
                  </a:cubicBezTo>
                  <a:cubicBezTo>
                    <a:pt x="9033" y="1851"/>
                    <a:pt x="8574" y="1851"/>
                    <a:pt x="7655" y="1851"/>
                  </a:cubicBezTo>
                  <a:cubicBezTo>
                    <a:pt x="7195" y="2469"/>
                    <a:pt x="7655" y="3703"/>
                    <a:pt x="7655" y="3703"/>
                  </a:cubicBezTo>
                  <a:cubicBezTo>
                    <a:pt x="7195" y="4937"/>
                    <a:pt x="5816" y="4320"/>
                    <a:pt x="5816" y="5554"/>
                  </a:cubicBezTo>
                  <a:cubicBezTo>
                    <a:pt x="5357" y="6171"/>
                    <a:pt x="5357" y="6789"/>
                    <a:pt x="5357" y="8023"/>
                  </a:cubicBezTo>
                  <a:cubicBezTo>
                    <a:pt x="5357" y="8640"/>
                    <a:pt x="3978" y="8640"/>
                    <a:pt x="3519" y="8640"/>
                  </a:cubicBezTo>
                  <a:cubicBezTo>
                    <a:pt x="2140" y="9257"/>
                    <a:pt x="1680" y="9874"/>
                    <a:pt x="302" y="9874"/>
                  </a:cubicBezTo>
                  <a:cubicBezTo>
                    <a:pt x="761" y="11726"/>
                    <a:pt x="2140" y="12960"/>
                    <a:pt x="761" y="14811"/>
                  </a:cubicBezTo>
                  <a:cubicBezTo>
                    <a:pt x="-158" y="15429"/>
                    <a:pt x="-158" y="16046"/>
                    <a:pt x="302" y="16663"/>
                  </a:cubicBezTo>
                  <a:cubicBezTo>
                    <a:pt x="1221" y="17280"/>
                    <a:pt x="302" y="18514"/>
                    <a:pt x="302" y="19131"/>
                  </a:cubicBezTo>
                  <a:cubicBezTo>
                    <a:pt x="1221" y="19131"/>
                    <a:pt x="1680" y="19131"/>
                    <a:pt x="2140" y="18514"/>
                  </a:cubicBezTo>
                  <a:cubicBezTo>
                    <a:pt x="3059" y="17897"/>
                    <a:pt x="4438" y="17897"/>
                    <a:pt x="4897" y="178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1" name="Shape 2080">
              <a:extLst>
                <a:ext uri="{FF2B5EF4-FFF2-40B4-BE49-F238E27FC236}">
                  <a16:creationId xmlns:a16="http://schemas.microsoft.com/office/drawing/2014/main" id="{AAEF02C3-AA98-61DD-0A0D-2700B12BC536}"/>
                </a:ext>
              </a:extLst>
            </p:cNvPr>
            <p:cNvSpPr/>
            <p:nvPr/>
          </p:nvSpPr>
          <p:spPr>
            <a:xfrm>
              <a:off x="6195900" y="1660450"/>
              <a:ext cx="185036" cy="117497"/>
            </a:xfrm>
            <a:custGeom>
              <a:avLst/>
              <a:gdLst/>
              <a:ahLst/>
              <a:cxnLst>
                <a:cxn ang="0">
                  <a:pos x="wd2" y="hd2"/>
                </a:cxn>
                <a:cxn ang="5400000">
                  <a:pos x="wd2" y="hd2"/>
                </a:cxn>
                <a:cxn ang="10800000">
                  <a:pos x="wd2" y="hd2"/>
                </a:cxn>
                <a:cxn ang="16200000">
                  <a:pos x="wd2" y="hd2"/>
                </a:cxn>
              </a:cxnLst>
              <a:rect l="0" t="0" r="r" b="b"/>
              <a:pathLst>
                <a:path w="20922" h="20160" extrusionOk="0">
                  <a:moveTo>
                    <a:pt x="11917" y="19831"/>
                  </a:moveTo>
                  <a:cubicBezTo>
                    <a:pt x="13407" y="17557"/>
                    <a:pt x="15641" y="17557"/>
                    <a:pt x="17131" y="16421"/>
                  </a:cubicBezTo>
                  <a:cubicBezTo>
                    <a:pt x="17131" y="15284"/>
                    <a:pt x="17131" y="14147"/>
                    <a:pt x="17131" y="13010"/>
                  </a:cubicBezTo>
                  <a:cubicBezTo>
                    <a:pt x="17876" y="10736"/>
                    <a:pt x="18621" y="10736"/>
                    <a:pt x="20110" y="9600"/>
                  </a:cubicBezTo>
                  <a:cubicBezTo>
                    <a:pt x="21600" y="8463"/>
                    <a:pt x="20855" y="5052"/>
                    <a:pt x="19366" y="3915"/>
                  </a:cubicBezTo>
                  <a:cubicBezTo>
                    <a:pt x="17876" y="2779"/>
                    <a:pt x="16386" y="1642"/>
                    <a:pt x="14152" y="505"/>
                  </a:cubicBezTo>
                  <a:cubicBezTo>
                    <a:pt x="12662" y="-632"/>
                    <a:pt x="9683" y="505"/>
                    <a:pt x="7448" y="505"/>
                  </a:cubicBezTo>
                  <a:cubicBezTo>
                    <a:pt x="5959" y="505"/>
                    <a:pt x="0" y="-632"/>
                    <a:pt x="0" y="3915"/>
                  </a:cubicBezTo>
                  <a:cubicBezTo>
                    <a:pt x="0" y="3915"/>
                    <a:pt x="745" y="5052"/>
                    <a:pt x="745" y="6189"/>
                  </a:cubicBezTo>
                  <a:cubicBezTo>
                    <a:pt x="1490" y="7326"/>
                    <a:pt x="745" y="8463"/>
                    <a:pt x="1490" y="9600"/>
                  </a:cubicBezTo>
                  <a:cubicBezTo>
                    <a:pt x="2234" y="9600"/>
                    <a:pt x="2979" y="11873"/>
                    <a:pt x="3724" y="10736"/>
                  </a:cubicBezTo>
                  <a:cubicBezTo>
                    <a:pt x="5214" y="10736"/>
                    <a:pt x="6703" y="9600"/>
                    <a:pt x="6703" y="11873"/>
                  </a:cubicBezTo>
                  <a:cubicBezTo>
                    <a:pt x="6703" y="13010"/>
                    <a:pt x="6703" y="15284"/>
                    <a:pt x="5959" y="16421"/>
                  </a:cubicBezTo>
                  <a:cubicBezTo>
                    <a:pt x="8193" y="16421"/>
                    <a:pt x="8193" y="16421"/>
                    <a:pt x="8938" y="19831"/>
                  </a:cubicBezTo>
                  <a:cubicBezTo>
                    <a:pt x="9683" y="19831"/>
                    <a:pt x="11917" y="19831"/>
                    <a:pt x="11917" y="19831"/>
                  </a:cubicBezTo>
                  <a:cubicBezTo>
                    <a:pt x="12662" y="18694"/>
                    <a:pt x="11172" y="20968"/>
                    <a:pt x="11917" y="198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2" name="Shape 2081">
              <a:extLst>
                <a:ext uri="{FF2B5EF4-FFF2-40B4-BE49-F238E27FC236}">
                  <a16:creationId xmlns:a16="http://schemas.microsoft.com/office/drawing/2014/main" id="{ABC688BD-8A23-E7C7-731F-4DF1582447AB}"/>
                </a:ext>
              </a:extLst>
            </p:cNvPr>
            <p:cNvSpPr/>
            <p:nvPr/>
          </p:nvSpPr>
          <p:spPr>
            <a:xfrm>
              <a:off x="6195900" y="1582112"/>
              <a:ext cx="235980" cy="110309"/>
            </a:xfrm>
            <a:custGeom>
              <a:avLst/>
              <a:gdLst/>
              <a:ahLst/>
              <a:cxnLst>
                <a:cxn ang="0">
                  <a:pos x="wd2" y="hd2"/>
                </a:cxn>
                <a:cxn ang="5400000">
                  <a:pos x="wd2" y="hd2"/>
                </a:cxn>
                <a:cxn ang="10800000">
                  <a:pos x="wd2" y="hd2"/>
                </a:cxn>
                <a:cxn ang="16200000">
                  <a:pos x="wd2" y="hd2"/>
                </a:cxn>
              </a:cxnLst>
              <a:rect l="0" t="0" r="r" b="b"/>
              <a:pathLst>
                <a:path w="21600" h="19998" extrusionOk="0">
                  <a:moveTo>
                    <a:pt x="6600" y="14871"/>
                  </a:moveTo>
                  <a:cubicBezTo>
                    <a:pt x="8400" y="14871"/>
                    <a:pt x="9600" y="13671"/>
                    <a:pt x="11400" y="13671"/>
                  </a:cubicBezTo>
                  <a:cubicBezTo>
                    <a:pt x="12000" y="13671"/>
                    <a:pt x="14400" y="16071"/>
                    <a:pt x="15000" y="17271"/>
                  </a:cubicBezTo>
                  <a:cubicBezTo>
                    <a:pt x="15600" y="18471"/>
                    <a:pt x="16200" y="20871"/>
                    <a:pt x="17400" y="19671"/>
                  </a:cubicBezTo>
                  <a:cubicBezTo>
                    <a:pt x="18000" y="19671"/>
                    <a:pt x="18600" y="18471"/>
                    <a:pt x="19800" y="18471"/>
                  </a:cubicBezTo>
                  <a:cubicBezTo>
                    <a:pt x="20400" y="18471"/>
                    <a:pt x="20400" y="16071"/>
                    <a:pt x="21600" y="16071"/>
                  </a:cubicBezTo>
                  <a:cubicBezTo>
                    <a:pt x="21000" y="13671"/>
                    <a:pt x="19800" y="10071"/>
                    <a:pt x="20400" y="8871"/>
                  </a:cubicBezTo>
                  <a:cubicBezTo>
                    <a:pt x="21000" y="6471"/>
                    <a:pt x="19200" y="4071"/>
                    <a:pt x="18600" y="4071"/>
                  </a:cubicBezTo>
                  <a:cubicBezTo>
                    <a:pt x="17400" y="2871"/>
                    <a:pt x="16200" y="5271"/>
                    <a:pt x="15000" y="2871"/>
                  </a:cubicBezTo>
                  <a:cubicBezTo>
                    <a:pt x="13200" y="471"/>
                    <a:pt x="12600" y="-729"/>
                    <a:pt x="10800" y="471"/>
                  </a:cubicBezTo>
                  <a:cubicBezTo>
                    <a:pt x="9600" y="1671"/>
                    <a:pt x="10200" y="2871"/>
                    <a:pt x="10200" y="5271"/>
                  </a:cubicBezTo>
                  <a:cubicBezTo>
                    <a:pt x="9600" y="6471"/>
                    <a:pt x="9600" y="7671"/>
                    <a:pt x="9000" y="7671"/>
                  </a:cubicBezTo>
                  <a:cubicBezTo>
                    <a:pt x="7200" y="10071"/>
                    <a:pt x="6000" y="5271"/>
                    <a:pt x="4800" y="4071"/>
                  </a:cubicBezTo>
                  <a:cubicBezTo>
                    <a:pt x="1800" y="-729"/>
                    <a:pt x="0" y="12471"/>
                    <a:pt x="0" y="17271"/>
                  </a:cubicBezTo>
                  <a:cubicBezTo>
                    <a:pt x="2400" y="14871"/>
                    <a:pt x="4200" y="14871"/>
                    <a:pt x="6600" y="148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3" name="Shape 2082">
              <a:extLst>
                <a:ext uri="{FF2B5EF4-FFF2-40B4-BE49-F238E27FC236}">
                  <a16:creationId xmlns:a16="http://schemas.microsoft.com/office/drawing/2014/main" id="{C883A07D-7E5E-2415-2828-0A0DA54E8752}"/>
                </a:ext>
              </a:extLst>
            </p:cNvPr>
            <p:cNvSpPr/>
            <p:nvPr/>
          </p:nvSpPr>
          <p:spPr>
            <a:xfrm>
              <a:off x="6267816" y="1506155"/>
              <a:ext cx="157321" cy="98912"/>
            </a:xfrm>
            <a:custGeom>
              <a:avLst/>
              <a:gdLst/>
              <a:ahLst/>
              <a:cxnLst>
                <a:cxn ang="0">
                  <a:pos x="wd2" y="hd2"/>
                </a:cxn>
                <a:cxn ang="5400000">
                  <a:pos x="wd2" y="hd2"/>
                </a:cxn>
                <a:cxn ang="10800000">
                  <a:pos x="wd2" y="hd2"/>
                </a:cxn>
                <a:cxn ang="16200000">
                  <a:pos x="wd2" y="hd2"/>
                </a:cxn>
              </a:cxnLst>
              <a:rect l="0" t="0" r="r" b="b"/>
              <a:pathLst>
                <a:path w="21600" h="21600" extrusionOk="0">
                  <a:moveTo>
                    <a:pt x="14400" y="21600"/>
                  </a:moveTo>
                  <a:cubicBezTo>
                    <a:pt x="15300" y="21600"/>
                    <a:pt x="17100" y="21600"/>
                    <a:pt x="18000" y="21600"/>
                  </a:cubicBezTo>
                  <a:cubicBezTo>
                    <a:pt x="18000" y="20160"/>
                    <a:pt x="19800" y="20160"/>
                    <a:pt x="19800" y="18720"/>
                  </a:cubicBezTo>
                  <a:cubicBezTo>
                    <a:pt x="19800" y="17280"/>
                    <a:pt x="19800" y="15840"/>
                    <a:pt x="19800" y="14400"/>
                  </a:cubicBezTo>
                  <a:cubicBezTo>
                    <a:pt x="18900" y="11520"/>
                    <a:pt x="18000" y="10080"/>
                    <a:pt x="18900" y="7200"/>
                  </a:cubicBezTo>
                  <a:cubicBezTo>
                    <a:pt x="20700" y="5760"/>
                    <a:pt x="21600" y="2880"/>
                    <a:pt x="21600" y="0"/>
                  </a:cubicBezTo>
                  <a:cubicBezTo>
                    <a:pt x="19800" y="4320"/>
                    <a:pt x="13500" y="0"/>
                    <a:pt x="10800" y="0"/>
                  </a:cubicBezTo>
                  <a:cubicBezTo>
                    <a:pt x="9000" y="0"/>
                    <a:pt x="7200" y="0"/>
                    <a:pt x="5400" y="1440"/>
                  </a:cubicBezTo>
                  <a:cubicBezTo>
                    <a:pt x="4500" y="1440"/>
                    <a:pt x="0" y="7200"/>
                    <a:pt x="0" y="7200"/>
                  </a:cubicBezTo>
                  <a:cubicBezTo>
                    <a:pt x="0" y="8640"/>
                    <a:pt x="2700" y="7200"/>
                    <a:pt x="1800" y="8640"/>
                  </a:cubicBezTo>
                  <a:cubicBezTo>
                    <a:pt x="1800" y="10080"/>
                    <a:pt x="1800" y="10080"/>
                    <a:pt x="1800" y="11520"/>
                  </a:cubicBezTo>
                  <a:cubicBezTo>
                    <a:pt x="2700" y="14400"/>
                    <a:pt x="6300" y="12960"/>
                    <a:pt x="6300" y="12960"/>
                  </a:cubicBezTo>
                  <a:cubicBezTo>
                    <a:pt x="6300" y="14400"/>
                    <a:pt x="5400" y="17280"/>
                    <a:pt x="5400" y="18720"/>
                  </a:cubicBezTo>
                  <a:cubicBezTo>
                    <a:pt x="6300" y="17280"/>
                    <a:pt x="8100" y="15840"/>
                    <a:pt x="9900" y="17280"/>
                  </a:cubicBezTo>
                  <a:cubicBezTo>
                    <a:pt x="11700" y="18720"/>
                    <a:pt x="12600" y="21600"/>
                    <a:pt x="144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4" name="Shape 2083">
              <a:extLst>
                <a:ext uri="{FF2B5EF4-FFF2-40B4-BE49-F238E27FC236}">
                  <a16:creationId xmlns:a16="http://schemas.microsoft.com/office/drawing/2014/main" id="{BB31BF42-FD41-6C91-86FF-C9006C8275A3}"/>
                </a:ext>
              </a:extLst>
            </p:cNvPr>
            <p:cNvSpPr/>
            <p:nvPr/>
          </p:nvSpPr>
          <p:spPr>
            <a:xfrm>
              <a:off x="6148706" y="1710722"/>
              <a:ext cx="105629" cy="45961"/>
            </a:xfrm>
            <a:custGeom>
              <a:avLst/>
              <a:gdLst/>
              <a:ahLst/>
              <a:cxnLst>
                <a:cxn ang="0">
                  <a:pos x="wd2" y="hd2"/>
                </a:cxn>
                <a:cxn ang="5400000">
                  <a:pos x="wd2" y="hd2"/>
                </a:cxn>
                <a:cxn ang="10800000">
                  <a:pos x="wd2" y="hd2"/>
                </a:cxn>
                <a:cxn ang="16200000">
                  <a:pos x="wd2" y="hd2"/>
                </a:cxn>
              </a:cxnLst>
              <a:rect l="0" t="0" r="r" b="b"/>
              <a:pathLst>
                <a:path w="21600" h="19200" extrusionOk="0">
                  <a:moveTo>
                    <a:pt x="21600" y="10800"/>
                  </a:moveTo>
                  <a:cubicBezTo>
                    <a:pt x="21600" y="2700"/>
                    <a:pt x="18900" y="5400"/>
                    <a:pt x="16200" y="5400"/>
                  </a:cubicBezTo>
                  <a:cubicBezTo>
                    <a:pt x="14850" y="8100"/>
                    <a:pt x="13500" y="2700"/>
                    <a:pt x="10800" y="0"/>
                  </a:cubicBezTo>
                  <a:cubicBezTo>
                    <a:pt x="10800" y="2700"/>
                    <a:pt x="10800" y="5400"/>
                    <a:pt x="9450" y="8100"/>
                  </a:cubicBezTo>
                  <a:cubicBezTo>
                    <a:pt x="8100" y="8100"/>
                    <a:pt x="9450" y="2700"/>
                    <a:pt x="6750" y="5400"/>
                  </a:cubicBezTo>
                  <a:cubicBezTo>
                    <a:pt x="5400" y="5400"/>
                    <a:pt x="2700" y="5400"/>
                    <a:pt x="2700" y="8100"/>
                  </a:cubicBezTo>
                  <a:cubicBezTo>
                    <a:pt x="1350" y="13500"/>
                    <a:pt x="2700" y="16200"/>
                    <a:pt x="0" y="13500"/>
                  </a:cubicBezTo>
                  <a:cubicBezTo>
                    <a:pt x="0" y="13500"/>
                    <a:pt x="0" y="13500"/>
                    <a:pt x="0" y="16200"/>
                  </a:cubicBezTo>
                  <a:cubicBezTo>
                    <a:pt x="0" y="16200"/>
                    <a:pt x="1350" y="16200"/>
                    <a:pt x="2700" y="16200"/>
                  </a:cubicBezTo>
                  <a:cubicBezTo>
                    <a:pt x="5400" y="18900"/>
                    <a:pt x="8100" y="18900"/>
                    <a:pt x="10800" y="18900"/>
                  </a:cubicBezTo>
                  <a:cubicBezTo>
                    <a:pt x="13500" y="18900"/>
                    <a:pt x="21600" y="21600"/>
                    <a:pt x="21600"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5" name="Shape 2084">
              <a:extLst>
                <a:ext uri="{FF2B5EF4-FFF2-40B4-BE49-F238E27FC236}">
                  <a16:creationId xmlns:a16="http://schemas.microsoft.com/office/drawing/2014/main" id="{4781F252-BAC9-C341-8A3C-AE3FA59A0548}"/>
                </a:ext>
              </a:extLst>
            </p:cNvPr>
            <p:cNvSpPr/>
            <p:nvPr/>
          </p:nvSpPr>
          <p:spPr>
            <a:xfrm>
              <a:off x="5984643" y="1731921"/>
              <a:ext cx="314638" cy="262946"/>
            </a:xfrm>
            <a:custGeom>
              <a:avLst/>
              <a:gdLst/>
              <a:ahLst/>
              <a:cxnLst>
                <a:cxn ang="0">
                  <a:pos x="wd2" y="hd2"/>
                </a:cxn>
                <a:cxn ang="5400000">
                  <a:pos x="wd2" y="hd2"/>
                </a:cxn>
                <a:cxn ang="10800000">
                  <a:pos x="wd2" y="hd2"/>
                </a:cxn>
                <a:cxn ang="16200000">
                  <a:pos x="wd2" y="hd2"/>
                </a:cxn>
              </a:cxnLst>
              <a:rect l="0" t="0" r="r" b="b"/>
              <a:pathLst>
                <a:path w="21600" h="20541" extrusionOk="0">
                  <a:moveTo>
                    <a:pt x="450" y="5568"/>
                  </a:moveTo>
                  <a:cubicBezTo>
                    <a:pt x="450" y="6083"/>
                    <a:pt x="0" y="7111"/>
                    <a:pt x="0" y="7626"/>
                  </a:cubicBezTo>
                  <a:cubicBezTo>
                    <a:pt x="450" y="8140"/>
                    <a:pt x="900" y="9168"/>
                    <a:pt x="900" y="9683"/>
                  </a:cubicBezTo>
                  <a:cubicBezTo>
                    <a:pt x="900" y="10711"/>
                    <a:pt x="1350" y="12254"/>
                    <a:pt x="1800" y="13283"/>
                  </a:cubicBezTo>
                  <a:cubicBezTo>
                    <a:pt x="2250" y="14826"/>
                    <a:pt x="3600" y="14311"/>
                    <a:pt x="4050" y="15340"/>
                  </a:cubicBezTo>
                  <a:cubicBezTo>
                    <a:pt x="4050" y="15340"/>
                    <a:pt x="4050" y="16368"/>
                    <a:pt x="4500" y="16368"/>
                  </a:cubicBezTo>
                  <a:cubicBezTo>
                    <a:pt x="4950" y="16883"/>
                    <a:pt x="5400" y="15854"/>
                    <a:pt x="5850" y="15854"/>
                  </a:cubicBezTo>
                  <a:cubicBezTo>
                    <a:pt x="6750" y="15340"/>
                    <a:pt x="8550" y="17397"/>
                    <a:pt x="9450" y="17911"/>
                  </a:cubicBezTo>
                  <a:cubicBezTo>
                    <a:pt x="9900" y="18426"/>
                    <a:pt x="10350" y="19454"/>
                    <a:pt x="11250" y="18426"/>
                  </a:cubicBezTo>
                  <a:cubicBezTo>
                    <a:pt x="11700" y="17911"/>
                    <a:pt x="13950" y="18426"/>
                    <a:pt x="14850" y="18426"/>
                  </a:cubicBezTo>
                  <a:cubicBezTo>
                    <a:pt x="16200" y="18426"/>
                    <a:pt x="16650" y="19454"/>
                    <a:pt x="17550" y="20483"/>
                  </a:cubicBezTo>
                  <a:cubicBezTo>
                    <a:pt x="18000" y="20997"/>
                    <a:pt x="18000" y="17911"/>
                    <a:pt x="18450" y="17397"/>
                  </a:cubicBezTo>
                  <a:cubicBezTo>
                    <a:pt x="18900" y="16883"/>
                    <a:pt x="19350" y="16368"/>
                    <a:pt x="19800" y="15854"/>
                  </a:cubicBezTo>
                  <a:cubicBezTo>
                    <a:pt x="20250" y="15854"/>
                    <a:pt x="21600" y="15854"/>
                    <a:pt x="21600" y="15340"/>
                  </a:cubicBezTo>
                  <a:cubicBezTo>
                    <a:pt x="21150" y="13797"/>
                    <a:pt x="21150" y="13283"/>
                    <a:pt x="20250" y="12768"/>
                  </a:cubicBezTo>
                  <a:cubicBezTo>
                    <a:pt x="19350" y="11740"/>
                    <a:pt x="20700" y="10197"/>
                    <a:pt x="19800" y="9168"/>
                  </a:cubicBezTo>
                  <a:cubicBezTo>
                    <a:pt x="18900" y="8654"/>
                    <a:pt x="21150" y="6597"/>
                    <a:pt x="20700" y="5568"/>
                  </a:cubicBezTo>
                  <a:cubicBezTo>
                    <a:pt x="20250" y="4540"/>
                    <a:pt x="19800" y="4026"/>
                    <a:pt x="19800" y="2997"/>
                  </a:cubicBezTo>
                  <a:cubicBezTo>
                    <a:pt x="19800" y="2483"/>
                    <a:pt x="19800" y="1968"/>
                    <a:pt x="18900" y="1968"/>
                  </a:cubicBezTo>
                  <a:cubicBezTo>
                    <a:pt x="16650" y="940"/>
                    <a:pt x="13500" y="2483"/>
                    <a:pt x="11250" y="1454"/>
                  </a:cubicBezTo>
                  <a:cubicBezTo>
                    <a:pt x="11250" y="2997"/>
                    <a:pt x="9450" y="426"/>
                    <a:pt x="9000" y="426"/>
                  </a:cubicBezTo>
                  <a:cubicBezTo>
                    <a:pt x="7650" y="-603"/>
                    <a:pt x="6750" y="426"/>
                    <a:pt x="5850" y="1454"/>
                  </a:cubicBezTo>
                  <a:cubicBezTo>
                    <a:pt x="4500" y="1968"/>
                    <a:pt x="3600" y="2483"/>
                    <a:pt x="2700" y="2483"/>
                  </a:cubicBezTo>
                  <a:cubicBezTo>
                    <a:pt x="2250" y="2997"/>
                    <a:pt x="1350" y="2997"/>
                    <a:pt x="900" y="2997"/>
                  </a:cubicBezTo>
                  <a:cubicBezTo>
                    <a:pt x="450" y="3511"/>
                    <a:pt x="1350" y="4026"/>
                    <a:pt x="450" y="4026"/>
                  </a:cubicBezTo>
                  <a:cubicBezTo>
                    <a:pt x="450" y="4540"/>
                    <a:pt x="450" y="5054"/>
                    <a:pt x="450" y="5568"/>
                  </a:cubicBezTo>
                  <a:cubicBezTo>
                    <a:pt x="450" y="6597"/>
                    <a:pt x="450" y="5568"/>
                    <a:pt x="450" y="556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6" name="Shape 2085">
              <a:extLst>
                <a:ext uri="{FF2B5EF4-FFF2-40B4-BE49-F238E27FC236}">
                  <a16:creationId xmlns:a16="http://schemas.microsoft.com/office/drawing/2014/main" id="{7FE485B2-0A5F-4551-A3E6-6A01516845C7}"/>
                </a:ext>
              </a:extLst>
            </p:cNvPr>
            <p:cNvSpPr/>
            <p:nvPr/>
          </p:nvSpPr>
          <p:spPr>
            <a:xfrm>
              <a:off x="6175671" y="2014201"/>
              <a:ext cx="303402" cy="197825"/>
            </a:xfrm>
            <a:custGeom>
              <a:avLst/>
              <a:gdLst/>
              <a:ahLst/>
              <a:cxnLst>
                <a:cxn ang="0">
                  <a:pos x="wd2" y="hd2"/>
                </a:cxn>
                <a:cxn ang="5400000">
                  <a:pos x="wd2" y="hd2"/>
                </a:cxn>
                <a:cxn ang="10800000">
                  <a:pos x="wd2" y="hd2"/>
                </a:cxn>
                <a:cxn ang="16200000">
                  <a:pos x="wd2" y="hd2"/>
                </a:cxn>
              </a:cxnLst>
              <a:rect l="0" t="0" r="r" b="b"/>
              <a:pathLst>
                <a:path w="21600" h="21600" extrusionOk="0">
                  <a:moveTo>
                    <a:pt x="17843" y="9360"/>
                  </a:moveTo>
                  <a:cubicBezTo>
                    <a:pt x="18313" y="7200"/>
                    <a:pt x="16904" y="5760"/>
                    <a:pt x="16435" y="4320"/>
                  </a:cubicBezTo>
                  <a:cubicBezTo>
                    <a:pt x="15496" y="3600"/>
                    <a:pt x="15026" y="1440"/>
                    <a:pt x="15026" y="0"/>
                  </a:cubicBezTo>
                  <a:cubicBezTo>
                    <a:pt x="13617" y="720"/>
                    <a:pt x="12209" y="2880"/>
                    <a:pt x="10330" y="2880"/>
                  </a:cubicBezTo>
                  <a:cubicBezTo>
                    <a:pt x="9861" y="2880"/>
                    <a:pt x="8922" y="2160"/>
                    <a:pt x="8452" y="2160"/>
                  </a:cubicBezTo>
                  <a:cubicBezTo>
                    <a:pt x="7513" y="2160"/>
                    <a:pt x="6574" y="2160"/>
                    <a:pt x="5635" y="2160"/>
                  </a:cubicBezTo>
                  <a:cubicBezTo>
                    <a:pt x="5635" y="2160"/>
                    <a:pt x="4226" y="4320"/>
                    <a:pt x="3757" y="4320"/>
                  </a:cubicBezTo>
                  <a:cubicBezTo>
                    <a:pt x="3287" y="6480"/>
                    <a:pt x="2348" y="7920"/>
                    <a:pt x="1878" y="10080"/>
                  </a:cubicBezTo>
                  <a:cubicBezTo>
                    <a:pt x="1409" y="10080"/>
                    <a:pt x="470" y="10080"/>
                    <a:pt x="0" y="10800"/>
                  </a:cubicBezTo>
                  <a:cubicBezTo>
                    <a:pt x="0" y="11520"/>
                    <a:pt x="1409" y="12240"/>
                    <a:pt x="1409" y="12960"/>
                  </a:cubicBezTo>
                  <a:cubicBezTo>
                    <a:pt x="1409" y="14400"/>
                    <a:pt x="1878" y="14400"/>
                    <a:pt x="2348" y="15840"/>
                  </a:cubicBezTo>
                  <a:cubicBezTo>
                    <a:pt x="2348" y="17280"/>
                    <a:pt x="2817" y="17280"/>
                    <a:pt x="3757" y="17280"/>
                  </a:cubicBezTo>
                  <a:cubicBezTo>
                    <a:pt x="4226" y="17280"/>
                    <a:pt x="5165" y="17280"/>
                    <a:pt x="5165" y="18000"/>
                  </a:cubicBezTo>
                  <a:cubicBezTo>
                    <a:pt x="5165" y="18720"/>
                    <a:pt x="5165" y="19440"/>
                    <a:pt x="5165" y="20160"/>
                  </a:cubicBezTo>
                  <a:cubicBezTo>
                    <a:pt x="6104" y="21600"/>
                    <a:pt x="8452" y="21600"/>
                    <a:pt x="9861" y="21600"/>
                  </a:cubicBezTo>
                  <a:cubicBezTo>
                    <a:pt x="11270" y="21600"/>
                    <a:pt x="12209" y="21600"/>
                    <a:pt x="13148" y="20160"/>
                  </a:cubicBezTo>
                  <a:cubicBezTo>
                    <a:pt x="15026" y="18720"/>
                    <a:pt x="16904" y="20160"/>
                    <a:pt x="18783" y="21600"/>
                  </a:cubicBezTo>
                  <a:cubicBezTo>
                    <a:pt x="18783" y="20160"/>
                    <a:pt x="18783" y="18000"/>
                    <a:pt x="19252" y="16560"/>
                  </a:cubicBezTo>
                  <a:cubicBezTo>
                    <a:pt x="19722" y="15840"/>
                    <a:pt x="21130" y="17280"/>
                    <a:pt x="21600" y="14400"/>
                  </a:cubicBezTo>
                  <a:cubicBezTo>
                    <a:pt x="20191" y="12960"/>
                    <a:pt x="19722" y="14400"/>
                    <a:pt x="18313" y="14400"/>
                  </a:cubicBezTo>
                  <a:cubicBezTo>
                    <a:pt x="17374" y="13680"/>
                    <a:pt x="17374" y="10080"/>
                    <a:pt x="17843" y="9360"/>
                  </a:cubicBezTo>
                  <a:cubicBezTo>
                    <a:pt x="18313" y="7920"/>
                    <a:pt x="17374" y="10800"/>
                    <a:pt x="17843" y="93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7" name="Shape 2086">
              <a:extLst>
                <a:ext uri="{FF2B5EF4-FFF2-40B4-BE49-F238E27FC236}">
                  <a16:creationId xmlns:a16="http://schemas.microsoft.com/office/drawing/2014/main" id="{BF8FA399-960E-1D2A-6E7A-92B85135A5D9}"/>
                </a:ext>
              </a:extLst>
            </p:cNvPr>
            <p:cNvSpPr/>
            <p:nvPr/>
          </p:nvSpPr>
          <p:spPr>
            <a:xfrm>
              <a:off x="6386928" y="2012735"/>
              <a:ext cx="99328" cy="127357"/>
            </a:xfrm>
            <a:custGeom>
              <a:avLst/>
              <a:gdLst/>
              <a:ahLst/>
              <a:cxnLst>
                <a:cxn ang="0">
                  <a:pos x="wd2" y="hd2"/>
                </a:cxn>
                <a:cxn ang="5400000">
                  <a:pos x="wd2" y="hd2"/>
                </a:cxn>
                <a:cxn ang="10800000">
                  <a:pos x="wd2" y="hd2"/>
                </a:cxn>
                <a:cxn ang="16200000">
                  <a:pos x="wd2" y="hd2"/>
                </a:cxn>
              </a:cxnLst>
              <a:rect l="0" t="0" r="r" b="b"/>
              <a:pathLst>
                <a:path w="19482" h="20740" extrusionOk="0">
                  <a:moveTo>
                    <a:pt x="17788" y="9940"/>
                  </a:moveTo>
                  <a:cubicBezTo>
                    <a:pt x="15247" y="7780"/>
                    <a:pt x="13976" y="3460"/>
                    <a:pt x="11435" y="2380"/>
                  </a:cubicBezTo>
                  <a:cubicBezTo>
                    <a:pt x="10165" y="2380"/>
                    <a:pt x="0" y="-860"/>
                    <a:pt x="0" y="220"/>
                  </a:cubicBezTo>
                  <a:cubicBezTo>
                    <a:pt x="1271" y="4540"/>
                    <a:pt x="3812" y="6700"/>
                    <a:pt x="6353" y="9940"/>
                  </a:cubicBezTo>
                  <a:cubicBezTo>
                    <a:pt x="8894" y="13180"/>
                    <a:pt x="5082" y="17500"/>
                    <a:pt x="8894" y="20740"/>
                  </a:cubicBezTo>
                  <a:cubicBezTo>
                    <a:pt x="10165" y="19660"/>
                    <a:pt x="11435" y="16420"/>
                    <a:pt x="12706" y="14260"/>
                  </a:cubicBezTo>
                  <a:cubicBezTo>
                    <a:pt x="15247" y="13180"/>
                    <a:pt x="16518" y="14260"/>
                    <a:pt x="17788" y="14260"/>
                  </a:cubicBezTo>
                  <a:cubicBezTo>
                    <a:pt x="21600" y="14260"/>
                    <a:pt x="17788" y="9940"/>
                    <a:pt x="17788" y="9940"/>
                  </a:cubicBezTo>
                  <a:cubicBezTo>
                    <a:pt x="16518" y="8860"/>
                    <a:pt x="17788" y="9940"/>
                    <a:pt x="17788" y="99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8" name="Shape 2087">
              <a:extLst>
                <a:ext uri="{FF2B5EF4-FFF2-40B4-BE49-F238E27FC236}">
                  <a16:creationId xmlns:a16="http://schemas.microsoft.com/office/drawing/2014/main" id="{EB43E9A0-10DC-5C9B-49A2-5A9829514DC9}"/>
                </a:ext>
              </a:extLst>
            </p:cNvPr>
            <p:cNvSpPr/>
            <p:nvPr/>
          </p:nvSpPr>
          <p:spPr>
            <a:xfrm>
              <a:off x="6431876" y="2086135"/>
              <a:ext cx="65175" cy="60697"/>
            </a:xfrm>
            <a:custGeom>
              <a:avLst/>
              <a:gdLst/>
              <a:ahLst/>
              <a:cxnLst>
                <a:cxn ang="0">
                  <a:pos x="wd2" y="hd2"/>
                </a:cxn>
                <a:cxn ang="5400000">
                  <a:pos x="wd2" y="hd2"/>
                </a:cxn>
                <a:cxn ang="10800000">
                  <a:pos x="wd2" y="hd2"/>
                </a:cxn>
                <a:cxn ang="16200000">
                  <a:pos x="wd2" y="hd2"/>
                </a:cxn>
              </a:cxnLst>
              <a:rect l="0" t="0" r="r" b="b"/>
              <a:pathLst>
                <a:path w="21600" h="19440" extrusionOk="0">
                  <a:moveTo>
                    <a:pt x="15120" y="17280"/>
                  </a:moveTo>
                  <a:cubicBezTo>
                    <a:pt x="12960" y="15120"/>
                    <a:pt x="12960" y="15120"/>
                    <a:pt x="15120" y="12960"/>
                  </a:cubicBezTo>
                  <a:cubicBezTo>
                    <a:pt x="17280" y="10800"/>
                    <a:pt x="19440" y="8640"/>
                    <a:pt x="21600" y="6480"/>
                  </a:cubicBezTo>
                  <a:cubicBezTo>
                    <a:pt x="21600" y="6480"/>
                    <a:pt x="17280" y="2160"/>
                    <a:pt x="17280" y="0"/>
                  </a:cubicBezTo>
                  <a:cubicBezTo>
                    <a:pt x="17280" y="8640"/>
                    <a:pt x="6480" y="-2160"/>
                    <a:pt x="6480" y="6480"/>
                  </a:cubicBezTo>
                  <a:cubicBezTo>
                    <a:pt x="6480" y="10800"/>
                    <a:pt x="2160" y="15120"/>
                    <a:pt x="0" y="17280"/>
                  </a:cubicBezTo>
                  <a:cubicBezTo>
                    <a:pt x="0" y="19440"/>
                    <a:pt x="4320" y="17280"/>
                    <a:pt x="6480" y="17280"/>
                  </a:cubicBezTo>
                  <a:cubicBezTo>
                    <a:pt x="10800" y="17280"/>
                    <a:pt x="12960" y="17280"/>
                    <a:pt x="15120" y="19440"/>
                  </a:cubicBezTo>
                  <a:cubicBezTo>
                    <a:pt x="15120" y="19440"/>
                    <a:pt x="15120" y="17280"/>
                    <a:pt x="15120" y="17280"/>
                  </a:cubicBezTo>
                  <a:cubicBezTo>
                    <a:pt x="12960" y="15120"/>
                    <a:pt x="15120" y="17280"/>
                    <a:pt x="15120"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9" name="Shape 2088">
              <a:extLst>
                <a:ext uri="{FF2B5EF4-FFF2-40B4-BE49-F238E27FC236}">
                  <a16:creationId xmlns:a16="http://schemas.microsoft.com/office/drawing/2014/main" id="{FFC65329-6BED-7C91-7A95-81693DEB654A}"/>
                </a:ext>
              </a:extLst>
            </p:cNvPr>
            <p:cNvSpPr/>
            <p:nvPr/>
          </p:nvSpPr>
          <p:spPr>
            <a:xfrm>
              <a:off x="6239688" y="2185048"/>
              <a:ext cx="194448" cy="121119"/>
            </a:xfrm>
            <a:custGeom>
              <a:avLst/>
              <a:gdLst/>
              <a:ahLst/>
              <a:cxnLst>
                <a:cxn ang="0">
                  <a:pos x="wd2" y="hd2"/>
                </a:cxn>
                <a:cxn ang="5400000">
                  <a:pos x="wd2" y="hd2"/>
                </a:cxn>
                <a:cxn ang="10800000">
                  <a:pos x="wd2" y="hd2"/>
                </a:cxn>
                <a:cxn ang="16200000">
                  <a:pos x="wd2" y="hd2"/>
                </a:cxn>
              </a:cxnLst>
              <a:rect l="0" t="0" r="r" b="b"/>
              <a:pathLst>
                <a:path w="19881" h="20781" extrusionOk="0">
                  <a:moveTo>
                    <a:pt x="10904" y="4547"/>
                  </a:moveTo>
                  <a:cubicBezTo>
                    <a:pt x="8204" y="4547"/>
                    <a:pt x="1454" y="6821"/>
                    <a:pt x="779" y="0"/>
                  </a:cubicBezTo>
                  <a:cubicBezTo>
                    <a:pt x="104" y="2274"/>
                    <a:pt x="-571" y="4547"/>
                    <a:pt x="779" y="5684"/>
                  </a:cubicBezTo>
                  <a:cubicBezTo>
                    <a:pt x="1454" y="6821"/>
                    <a:pt x="2129" y="7958"/>
                    <a:pt x="1454" y="9095"/>
                  </a:cubicBezTo>
                  <a:cubicBezTo>
                    <a:pt x="779" y="10232"/>
                    <a:pt x="104" y="10232"/>
                    <a:pt x="104" y="12505"/>
                  </a:cubicBezTo>
                  <a:cubicBezTo>
                    <a:pt x="779" y="14779"/>
                    <a:pt x="1454" y="15916"/>
                    <a:pt x="1454" y="19326"/>
                  </a:cubicBezTo>
                  <a:cubicBezTo>
                    <a:pt x="2804" y="19326"/>
                    <a:pt x="4154" y="19326"/>
                    <a:pt x="5504" y="19326"/>
                  </a:cubicBezTo>
                  <a:cubicBezTo>
                    <a:pt x="6854" y="19326"/>
                    <a:pt x="8879" y="21600"/>
                    <a:pt x="10229" y="20463"/>
                  </a:cubicBezTo>
                  <a:cubicBezTo>
                    <a:pt x="11579" y="20463"/>
                    <a:pt x="12929" y="18189"/>
                    <a:pt x="13604" y="17053"/>
                  </a:cubicBezTo>
                  <a:cubicBezTo>
                    <a:pt x="14954" y="14779"/>
                    <a:pt x="16304" y="15916"/>
                    <a:pt x="18329" y="15916"/>
                  </a:cubicBezTo>
                  <a:cubicBezTo>
                    <a:pt x="17654" y="13642"/>
                    <a:pt x="17654" y="12505"/>
                    <a:pt x="18329" y="9095"/>
                  </a:cubicBezTo>
                  <a:cubicBezTo>
                    <a:pt x="19004" y="6821"/>
                    <a:pt x="21029" y="4547"/>
                    <a:pt x="19004" y="3411"/>
                  </a:cubicBezTo>
                  <a:cubicBezTo>
                    <a:pt x="17654" y="2274"/>
                    <a:pt x="15629" y="1137"/>
                    <a:pt x="13604" y="2274"/>
                  </a:cubicBezTo>
                  <a:cubicBezTo>
                    <a:pt x="12254" y="2274"/>
                    <a:pt x="11579" y="4547"/>
                    <a:pt x="10904" y="454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0" name="Shape 2089">
              <a:extLst>
                <a:ext uri="{FF2B5EF4-FFF2-40B4-BE49-F238E27FC236}">
                  <a16:creationId xmlns:a16="http://schemas.microsoft.com/office/drawing/2014/main" id="{BF07B05C-1133-D31D-7FDF-886E97A24610}"/>
                </a:ext>
              </a:extLst>
            </p:cNvPr>
            <p:cNvSpPr/>
            <p:nvPr/>
          </p:nvSpPr>
          <p:spPr>
            <a:xfrm>
              <a:off x="6035638" y="2153576"/>
              <a:ext cx="109045" cy="98912"/>
            </a:xfrm>
            <a:custGeom>
              <a:avLst/>
              <a:gdLst/>
              <a:ahLst/>
              <a:cxnLst>
                <a:cxn ang="0">
                  <a:pos x="wd2" y="hd2"/>
                </a:cxn>
                <a:cxn ang="5400000">
                  <a:pos x="wd2" y="hd2"/>
                </a:cxn>
                <a:cxn ang="10800000">
                  <a:pos x="wd2" y="hd2"/>
                </a:cxn>
                <a:cxn ang="16200000">
                  <a:pos x="wd2" y="hd2"/>
                </a:cxn>
              </a:cxnLst>
              <a:rect l="0" t="0" r="r" b="b"/>
              <a:pathLst>
                <a:path w="19774" h="21600" extrusionOk="0">
                  <a:moveTo>
                    <a:pt x="10903" y="0"/>
                  </a:moveTo>
                  <a:cubicBezTo>
                    <a:pt x="8503" y="0"/>
                    <a:pt x="-1097" y="0"/>
                    <a:pt x="103" y="2880"/>
                  </a:cubicBezTo>
                  <a:cubicBezTo>
                    <a:pt x="103" y="4320"/>
                    <a:pt x="2503" y="10080"/>
                    <a:pt x="3703" y="11520"/>
                  </a:cubicBezTo>
                  <a:cubicBezTo>
                    <a:pt x="6103" y="15840"/>
                    <a:pt x="10903" y="18720"/>
                    <a:pt x="14503" y="21600"/>
                  </a:cubicBezTo>
                  <a:cubicBezTo>
                    <a:pt x="14503" y="18720"/>
                    <a:pt x="14503" y="15840"/>
                    <a:pt x="16903" y="14400"/>
                  </a:cubicBezTo>
                  <a:cubicBezTo>
                    <a:pt x="19303" y="12960"/>
                    <a:pt x="20503" y="11520"/>
                    <a:pt x="19303" y="8640"/>
                  </a:cubicBezTo>
                  <a:cubicBezTo>
                    <a:pt x="19303" y="5760"/>
                    <a:pt x="19303" y="4320"/>
                    <a:pt x="18103" y="2880"/>
                  </a:cubicBezTo>
                  <a:cubicBezTo>
                    <a:pt x="15703" y="1440"/>
                    <a:pt x="13303" y="0"/>
                    <a:pt x="1090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1" name="Shape 2090">
              <a:extLst>
                <a:ext uri="{FF2B5EF4-FFF2-40B4-BE49-F238E27FC236}">
                  <a16:creationId xmlns:a16="http://schemas.microsoft.com/office/drawing/2014/main" id="{46508516-E78D-A9CF-B53B-6D8099D6FFDE}"/>
                </a:ext>
              </a:extLst>
            </p:cNvPr>
            <p:cNvSpPr/>
            <p:nvPr/>
          </p:nvSpPr>
          <p:spPr>
            <a:xfrm>
              <a:off x="6114991" y="2111234"/>
              <a:ext cx="142193" cy="172725"/>
            </a:xfrm>
            <a:custGeom>
              <a:avLst/>
              <a:gdLst/>
              <a:ahLst/>
              <a:cxnLst>
                <a:cxn ang="0">
                  <a:pos x="wd2" y="hd2"/>
                </a:cxn>
                <a:cxn ang="5400000">
                  <a:pos x="wd2" y="hd2"/>
                </a:cxn>
                <a:cxn ang="10800000">
                  <a:pos x="wd2" y="hd2"/>
                </a:cxn>
                <a:cxn ang="16200000">
                  <a:pos x="wd2" y="hd2"/>
                </a:cxn>
              </a:cxnLst>
              <a:rect l="0" t="0" r="r" b="b"/>
              <a:pathLst>
                <a:path w="21025" h="21008" extrusionOk="0">
                  <a:moveTo>
                    <a:pt x="20618" y="14608"/>
                  </a:moveTo>
                  <a:cubicBezTo>
                    <a:pt x="21600" y="13808"/>
                    <a:pt x="20618" y="13808"/>
                    <a:pt x="19636" y="13008"/>
                  </a:cubicBezTo>
                  <a:cubicBezTo>
                    <a:pt x="18655" y="12208"/>
                    <a:pt x="18655" y="11408"/>
                    <a:pt x="18655" y="9808"/>
                  </a:cubicBezTo>
                  <a:cubicBezTo>
                    <a:pt x="20618" y="7408"/>
                    <a:pt x="17673" y="7408"/>
                    <a:pt x="14727" y="7408"/>
                  </a:cubicBezTo>
                  <a:cubicBezTo>
                    <a:pt x="13745" y="7408"/>
                    <a:pt x="13745" y="6608"/>
                    <a:pt x="13745" y="5808"/>
                  </a:cubicBezTo>
                  <a:cubicBezTo>
                    <a:pt x="12764" y="4208"/>
                    <a:pt x="11782" y="5008"/>
                    <a:pt x="11782" y="3408"/>
                  </a:cubicBezTo>
                  <a:cubicBezTo>
                    <a:pt x="10800" y="1008"/>
                    <a:pt x="8836" y="-592"/>
                    <a:pt x="4909" y="208"/>
                  </a:cubicBezTo>
                  <a:cubicBezTo>
                    <a:pt x="1964" y="1008"/>
                    <a:pt x="1964" y="1008"/>
                    <a:pt x="1964" y="2608"/>
                  </a:cubicBezTo>
                  <a:cubicBezTo>
                    <a:pt x="2945" y="5008"/>
                    <a:pt x="3927" y="7408"/>
                    <a:pt x="3927" y="10608"/>
                  </a:cubicBezTo>
                  <a:cubicBezTo>
                    <a:pt x="4909" y="13008"/>
                    <a:pt x="1964" y="12208"/>
                    <a:pt x="982" y="14608"/>
                  </a:cubicBezTo>
                  <a:cubicBezTo>
                    <a:pt x="0" y="15408"/>
                    <a:pt x="0" y="17008"/>
                    <a:pt x="0" y="17808"/>
                  </a:cubicBezTo>
                  <a:cubicBezTo>
                    <a:pt x="0" y="19408"/>
                    <a:pt x="2945" y="20208"/>
                    <a:pt x="3927" y="21008"/>
                  </a:cubicBezTo>
                  <a:cubicBezTo>
                    <a:pt x="3927" y="20208"/>
                    <a:pt x="3927" y="17808"/>
                    <a:pt x="5891" y="17808"/>
                  </a:cubicBezTo>
                  <a:cubicBezTo>
                    <a:pt x="7855" y="17808"/>
                    <a:pt x="8836" y="18608"/>
                    <a:pt x="9818" y="20208"/>
                  </a:cubicBezTo>
                  <a:cubicBezTo>
                    <a:pt x="10800" y="20208"/>
                    <a:pt x="17673" y="18608"/>
                    <a:pt x="19636" y="18608"/>
                  </a:cubicBezTo>
                  <a:cubicBezTo>
                    <a:pt x="17673" y="17008"/>
                    <a:pt x="19636" y="16208"/>
                    <a:pt x="20618" y="14608"/>
                  </a:cubicBezTo>
                  <a:cubicBezTo>
                    <a:pt x="21600" y="13808"/>
                    <a:pt x="19636" y="15408"/>
                    <a:pt x="20618" y="146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2" name="Shape 2091">
              <a:extLst>
                <a:ext uri="{FF2B5EF4-FFF2-40B4-BE49-F238E27FC236}">
                  <a16:creationId xmlns:a16="http://schemas.microsoft.com/office/drawing/2014/main" id="{40B581AA-C77F-EC91-0290-6BE824282E5E}"/>
                </a:ext>
              </a:extLst>
            </p:cNvPr>
            <p:cNvSpPr/>
            <p:nvPr/>
          </p:nvSpPr>
          <p:spPr>
            <a:xfrm>
              <a:off x="6047358" y="2006276"/>
              <a:ext cx="210359" cy="120328"/>
            </a:xfrm>
            <a:custGeom>
              <a:avLst/>
              <a:gdLst/>
              <a:ahLst/>
              <a:cxnLst>
                <a:cxn ang="0">
                  <a:pos x="wd2" y="hd2"/>
                </a:cxn>
                <a:cxn ang="5400000">
                  <a:pos x="wd2" y="hd2"/>
                </a:cxn>
                <a:cxn ang="10800000">
                  <a:pos x="wd2" y="hd2"/>
                </a:cxn>
                <a:cxn ang="16200000">
                  <a:pos x="wd2" y="hd2"/>
                </a:cxn>
              </a:cxnLst>
              <a:rect l="0" t="0" r="r" b="b"/>
              <a:pathLst>
                <a:path w="19629" h="20646" extrusionOk="0">
                  <a:moveTo>
                    <a:pt x="17485" y="2457"/>
                  </a:moveTo>
                  <a:cubicBezTo>
                    <a:pt x="17485" y="1320"/>
                    <a:pt x="14400" y="1320"/>
                    <a:pt x="13782" y="183"/>
                  </a:cubicBezTo>
                  <a:cubicBezTo>
                    <a:pt x="11314" y="-954"/>
                    <a:pt x="12548" y="3593"/>
                    <a:pt x="10697" y="3593"/>
                  </a:cubicBezTo>
                  <a:cubicBezTo>
                    <a:pt x="10080" y="2457"/>
                    <a:pt x="9462" y="3593"/>
                    <a:pt x="8228" y="3593"/>
                  </a:cubicBezTo>
                  <a:cubicBezTo>
                    <a:pt x="7611" y="3593"/>
                    <a:pt x="7611" y="5867"/>
                    <a:pt x="6994" y="5867"/>
                  </a:cubicBezTo>
                  <a:cubicBezTo>
                    <a:pt x="4525" y="8141"/>
                    <a:pt x="3291" y="5867"/>
                    <a:pt x="2057" y="3593"/>
                  </a:cubicBezTo>
                  <a:cubicBezTo>
                    <a:pt x="2057" y="4730"/>
                    <a:pt x="2057" y="5867"/>
                    <a:pt x="2057" y="7004"/>
                  </a:cubicBezTo>
                  <a:cubicBezTo>
                    <a:pt x="1440" y="8141"/>
                    <a:pt x="822" y="5867"/>
                    <a:pt x="822" y="8141"/>
                  </a:cubicBezTo>
                  <a:cubicBezTo>
                    <a:pt x="822" y="11551"/>
                    <a:pt x="-1029" y="13825"/>
                    <a:pt x="822" y="16099"/>
                  </a:cubicBezTo>
                  <a:cubicBezTo>
                    <a:pt x="2057" y="18372"/>
                    <a:pt x="3908" y="20646"/>
                    <a:pt x="5760" y="20646"/>
                  </a:cubicBezTo>
                  <a:cubicBezTo>
                    <a:pt x="8228" y="20646"/>
                    <a:pt x="9462" y="17235"/>
                    <a:pt x="11931" y="18372"/>
                  </a:cubicBezTo>
                  <a:cubicBezTo>
                    <a:pt x="11931" y="17235"/>
                    <a:pt x="13782" y="17235"/>
                    <a:pt x="14400" y="16099"/>
                  </a:cubicBezTo>
                  <a:cubicBezTo>
                    <a:pt x="15017" y="13825"/>
                    <a:pt x="15634" y="11551"/>
                    <a:pt x="16868" y="9278"/>
                  </a:cubicBezTo>
                  <a:cubicBezTo>
                    <a:pt x="17485" y="7004"/>
                    <a:pt x="18102" y="7004"/>
                    <a:pt x="19337" y="5867"/>
                  </a:cubicBezTo>
                  <a:cubicBezTo>
                    <a:pt x="20571" y="3593"/>
                    <a:pt x="17485" y="3593"/>
                    <a:pt x="17485" y="2457"/>
                  </a:cubicBezTo>
                  <a:cubicBezTo>
                    <a:pt x="17485" y="2457"/>
                    <a:pt x="17485" y="3593"/>
                    <a:pt x="17485" y="24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3" name="Shape 2092">
              <a:extLst>
                <a:ext uri="{FF2B5EF4-FFF2-40B4-BE49-F238E27FC236}">
                  <a16:creationId xmlns:a16="http://schemas.microsoft.com/office/drawing/2014/main" id="{59F88195-5418-D8B1-D458-9A3B45366912}"/>
                </a:ext>
              </a:extLst>
            </p:cNvPr>
            <p:cNvSpPr/>
            <p:nvPr/>
          </p:nvSpPr>
          <p:spPr>
            <a:xfrm>
              <a:off x="6172228" y="2283960"/>
              <a:ext cx="201218" cy="205357"/>
            </a:xfrm>
            <a:custGeom>
              <a:avLst/>
              <a:gdLst/>
              <a:ahLst/>
              <a:cxnLst>
                <a:cxn ang="0">
                  <a:pos x="wd2" y="hd2"/>
                </a:cxn>
                <a:cxn ang="5400000">
                  <a:pos x="wd2" y="hd2"/>
                </a:cxn>
                <a:cxn ang="10800000">
                  <a:pos x="wd2" y="hd2"/>
                </a:cxn>
                <a:cxn ang="16200000">
                  <a:pos x="wd2" y="hd2"/>
                </a:cxn>
              </a:cxnLst>
              <a:rect l="0" t="0" r="r" b="b"/>
              <a:pathLst>
                <a:path w="21252" h="20991" extrusionOk="0">
                  <a:moveTo>
                    <a:pt x="21252" y="0"/>
                  </a:moveTo>
                  <a:cubicBezTo>
                    <a:pt x="19162" y="1350"/>
                    <a:pt x="18465" y="2700"/>
                    <a:pt x="15678" y="2025"/>
                  </a:cubicBezTo>
                  <a:cubicBezTo>
                    <a:pt x="14284" y="1350"/>
                    <a:pt x="10104" y="675"/>
                    <a:pt x="8710" y="1350"/>
                  </a:cubicBezTo>
                  <a:cubicBezTo>
                    <a:pt x="8710" y="3375"/>
                    <a:pt x="6620" y="2025"/>
                    <a:pt x="5923" y="2700"/>
                  </a:cubicBezTo>
                  <a:cubicBezTo>
                    <a:pt x="5226" y="3375"/>
                    <a:pt x="4529" y="3375"/>
                    <a:pt x="3833" y="3375"/>
                  </a:cubicBezTo>
                  <a:cubicBezTo>
                    <a:pt x="2439" y="4050"/>
                    <a:pt x="2439" y="4725"/>
                    <a:pt x="2439" y="5400"/>
                  </a:cubicBezTo>
                  <a:cubicBezTo>
                    <a:pt x="1742" y="6075"/>
                    <a:pt x="1742" y="6750"/>
                    <a:pt x="1046" y="7425"/>
                  </a:cubicBezTo>
                  <a:cubicBezTo>
                    <a:pt x="-348" y="8775"/>
                    <a:pt x="-348" y="8775"/>
                    <a:pt x="1046" y="10125"/>
                  </a:cubicBezTo>
                  <a:cubicBezTo>
                    <a:pt x="1742" y="10800"/>
                    <a:pt x="2439" y="10800"/>
                    <a:pt x="2439" y="11475"/>
                  </a:cubicBezTo>
                  <a:cubicBezTo>
                    <a:pt x="2439" y="12825"/>
                    <a:pt x="2439" y="13500"/>
                    <a:pt x="3136" y="14850"/>
                  </a:cubicBezTo>
                  <a:cubicBezTo>
                    <a:pt x="3136" y="15525"/>
                    <a:pt x="3136" y="16200"/>
                    <a:pt x="3833" y="16875"/>
                  </a:cubicBezTo>
                  <a:cubicBezTo>
                    <a:pt x="5226" y="17550"/>
                    <a:pt x="3833" y="18225"/>
                    <a:pt x="4529" y="18900"/>
                  </a:cubicBezTo>
                  <a:cubicBezTo>
                    <a:pt x="4529" y="20250"/>
                    <a:pt x="5226" y="19575"/>
                    <a:pt x="5226" y="19575"/>
                  </a:cubicBezTo>
                  <a:cubicBezTo>
                    <a:pt x="6620" y="19575"/>
                    <a:pt x="6620" y="20250"/>
                    <a:pt x="6620" y="20925"/>
                  </a:cubicBezTo>
                  <a:cubicBezTo>
                    <a:pt x="7317" y="20925"/>
                    <a:pt x="8013" y="20250"/>
                    <a:pt x="8013" y="20250"/>
                  </a:cubicBezTo>
                  <a:cubicBezTo>
                    <a:pt x="8710" y="19575"/>
                    <a:pt x="8710" y="20925"/>
                    <a:pt x="8710" y="20925"/>
                  </a:cubicBezTo>
                  <a:cubicBezTo>
                    <a:pt x="9407" y="21600"/>
                    <a:pt x="8710" y="16875"/>
                    <a:pt x="8710" y="17550"/>
                  </a:cubicBezTo>
                  <a:cubicBezTo>
                    <a:pt x="8710" y="16875"/>
                    <a:pt x="10800" y="17550"/>
                    <a:pt x="11497" y="17550"/>
                  </a:cubicBezTo>
                  <a:cubicBezTo>
                    <a:pt x="11497" y="16875"/>
                    <a:pt x="9407" y="16200"/>
                    <a:pt x="9407" y="15525"/>
                  </a:cubicBezTo>
                  <a:cubicBezTo>
                    <a:pt x="10104" y="14175"/>
                    <a:pt x="11497" y="15525"/>
                    <a:pt x="11497" y="16200"/>
                  </a:cubicBezTo>
                  <a:cubicBezTo>
                    <a:pt x="12891" y="16875"/>
                    <a:pt x="12194" y="15525"/>
                    <a:pt x="12194" y="14850"/>
                  </a:cubicBezTo>
                  <a:cubicBezTo>
                    <a:pt x="12194" y="14175"/>
                    <a:pt x="14284" y="15525"/>
                    <a:pt x="14284" y="15525"/>
                  </a:cubicBezTo>
                  <a:cubicBezTo>
                    <a:pt x="14284" y="14850"/>
                    <a:pt x="12891" y="12825"/>
                    <a:pt x="12891" y="12825"/>
                  </a:cubicBezTo>
                  <a:cubicBezTo>
                    <a:pt x="12194" y="12150"/>
                    <a:pt x="10800" y="12150"/>
                    <a:pt x="10104" y="11475"/>
                  </a:cubicBezTo>
                  <a:cubicBezTo>
                    <a:pt x="10104" y="11475"/>
                    <a:pt x="10104" y="10125"/>
                    <a:pt x="10104" y="10800"/>
                  </a:cubicBezTo>
                  <a:cubicBezTo>
                    <a:pt x="9407" y="9450"/>
                    <a:pt x="7317" y="8100"/>
                    <a:pt x="7317" y="6750"/>
                  </a:cubicBezTo>
                  <a:cubicBezTo>
                    <a:pt x="8013" y="4050"/>
                    <a:pt x="10104" y="6750"/>
                    <a:pt x="10800" y="7425"/>
                  </a:cubicBezTo>
                  <a:cubicBezTo>
                    <a:pt x="10800" y="7425"/>
                    <a:pt x="10800" y="6750"/>
                    <a:pt x="10800" y="6750"/>
                  </a:cubicBezTo>
                  <a:cubicBezTo>
                    <a:pt x="11497" y="6075"/>
                    <a:pt x="12194" y="6750"/>
                    <a:pt x="12194" y="7425"/>
                  </a:cubicBezTo>
                  <a:cubicBezTo>
                    <a:pt x="12194" y="7425"/>
                    <a:pt x="11497" y="6075"/>
                    <a:pt x="11497" y="6075"/>
                  </a:cubicBezTo>
                  <a:cubicBezTo>
                    <a:pt x="12194" y="6075"/>
                    <a:pt x="13587" y="6750"/>
                    <a:pt x="14284" y="6750"/>
                  </a:cubicBezTo>
                  <a:cubicBezTo>
                    <a:pt x="14284" y="6075"/>
                    <a:pt x="11497" y="6075"/>
                    <a:pt x="11497" y="4725"/>
                  </a:cubicBezTo>
                  <a:cubicBezTo>
                    <a:pt x="11497" y="4725"/>
                    <a:pt x="14284" y="3375"/>
                    <a:pt x="14981" y="3375"/>
                  </a:cubicBezTo>
                  <a:cubicBezTo>
                    <a:pt x="14981" y="3375"/>
                    <a:pt x="14284" y="4725"/>
                    <a:pt x="14284" y="4725"/>
                  </a:cubicBezTo>
                  <a:cubicBezTo>
                    <a:pt x="14284" y="4725"/>
                    <a:pt x="16375" y="3375"/>
                    <a:pt x="17071" y="3375"/>
                  </a:cubicBezTo>
                  <a:cubicBezTo>
                    <a:pt x="17768" y="3375"/>
                    <a:pt x="18465" y="4050"/>
                    <a:pt x="19858" y="4725"/>
                  </a:cubicBezTo>
                  <a:cubicBezTo>
                    <a:pt x="20555" y="3375"/>
                    <a:pt x="21252" y="1350"/>
                    <a:pt x="21252" y="0"/>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4" name="Shape 2093">
              <a:extLst>
                <a:ext uri="{FF2B5EF4-FFF2-40B4-BE49-F238E27FC236}">
                  <a16:creationId xmlns:a16="http://schemas.microsoft.com/office/drawing/2014/main" id="{966A9200-A6B6-899B-F39D-73B53CBEF070}"/>
                </a:ext>
              </a:extLst>
            </p:cNvPr>
            <p:cNvSpPr/>
            <p:nvPr/>
          </p:nvSpPr>
          <p:spPr>
            <a:xfrm>
              <a:off x="6357966" y="2275831"/>
              <a:ext cx="94140" cy="60450"/>
            </a:xfrm>
            <a:custGeom>
              <a:avLst/>
              <a:gdLst/>
              <a:ahLst/>
              <a:cxnLst>
                <a:cxn ang="0">
                  <a:pos x="wd2" y="hd2"/>
                </a:cxn>
                <a:cxn ang="5400000">
                  <a:pos x="wd2" y="hd2"/>
                </a:cxn>
                <a:cxn ang="10800000">
                  <a:pos x="wd2" y="hd2"/>
                </a:cxn>
                <a:cxn ang="16200000">
                  <a:pos x="wd2" y="hd2"/>
                </a:cxn>
              </a:cxnLst>
              <a:rect l="0" t="0" r="r" b="b"/>
              <a:pathLst>
                <a:path w="20563" h="20029" extrusionOk="0">
                  <a:moveTo>
                    <a:pt x="20563" y="11929"/>
                  </a:moveTo>
                  <a:cubicBezTo>
                    <a:pt x="17683" y="7609"/>
                    <a:pt x="13363" y="7609"/>
                    <a:pt x="13363" y="1129"/>
                  </a:cubicBezTo>
                  <a:cubicBezTo>
                    <a:pt x="6163" y="-1031"/>
                    <a:pt x="4723" y="-1031"/>
                    <a:pt x="1843" y="9769"/>
                  </a:cubicBezTo>
                  <a:cubicBezTo>
                    <a:pt x="1843" y="11929"/>
                    <a:pt x="-1037" y="18409"/>
                    <a:pt x="403" y="18409"/>
                  </a:cubicBezTo>
                  <a:cubicBezTo>
                    <a:pt x="3283" y="20569"/>
                    <a:pt x="6163" y="20569"/>
                    <a:pt x="7603" y="18409"/>
                  </a:cubicBezTo>
                  <a:cubicBezTo>
                    <a:pt x="10483" y="16249"/>
                    <a:pt x="11923" y="14089"/>
                    <a:pt x="14803" y="14089"/>
                  </a:cubicBezTo>
                  <a:cubicBezTo>
                    <a:pt x="14803" y="14089"/>
                    <a:pt x="20563" y="14089"/>
                    <a:pt x="20563" y="11929"/>
                  </a:cubicBezTo>
                  <a:cubicBezTo>
                    <a:pt x="19123" y="11929"/>
                    <a:pt x="20563" y="14089"/>
                    <a:pt x="20563" y="119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5" name="Shape 2094">
              <a:extLst>
                <a:ext uri="{FF2B5EF4-FFF2-40B4-BE49-F238E27FC236}">
                  <a16:creationId xmlns:a16="http://schemas.microsoft.com/office/drawing/2014/main" id="{801A5C59-C57E-BBC4-5B44-41DE81BAD025}"/>
                </a:ext>
              </a:extLst>
            </p:cNvPr>
            <p:cNvSpPr/>
            <p:nvPr/>
          </p:nvSpPr>
          <p:spPr>
            <a:xfrm>
              <a:off x="6141962" y="2258464"/>
              <a:ext cx="51005" cy="113171"/>
            </a:xfrm>
            <a:custGeom>
              <a:avLst/>
              <a:gdLst/>
              <a:ahLst/>
              <a:cxnLst>
                <a:cxn ang="0">
                  <a:pos x="wd2" y="hd2"/>
                </a:cxn>
                <a:cxn ang="5400000">
                  <a:pos x="wd2" y="hd2"/>
                </a:cxn>
                <a:cxn ang="10800000">
                  <a:pos x="wd2" y="hd2"/>
                </a:cxn>
                <a:cxn ang="16200000">
                  <a:pos x="wd2" y="hd2"/>
                </a:cxn>
              </a:cxnLst>
              <a:rect l="0" t="0" r="r" b="b"/>
              <a:pathLst>
                <a:path w="18854" h="20517" extrusionOk="0">
                  <a:moveTo>
                    <a:pt x="14400" y="18117"/>
                  </a:moveTo>
                  <a:cubicBezTo>
                    <a:pt x="16800" y="15717"/>
                    <a:pt x="21600" y="13317"/>
                    <a:pt x="16800" y="12117"/>
                  </a:cubicBezTo>
                  <a:cubicBezTo>
                    <a:pt x="14400" y="10917"/>
                    <a:pt x="12000" y="8517"/>
                    <a:pt x="14400" y="6117"/>
                  </a:cubicBezTo>
                  <a:cubicBezTo>
                    <a:pt x="14400" y="6117"/>
                    <a:pt x="16800" y="3717"/>
                    <a:pt x="16800" y="3717"/>
                  </a:cubicBezTo>
                  <a:cubicBezTo>
                    <a:pt x="14400" y="2517"/>
                    <a:pt x="9600" y="117"/>
                    <a:pt x="7200" y="117"/>
                  </a:cubicBezTo>
                  <a:cubicBezTo>
                    <a:pt x="0" y="-1083"/>
                    <a:pt x="0" y="7317"/>
                    <a:pt x="0" y="9717"/>
                  </a:cubicBezTo>
                  <a:cubicBezTo>
                    <a:pt x="0" y="14517"/>
                    <a:pt x="4800" y="16917"/>
                    <a:pt x="9600" y="20517"/>
                  </a:cubicBezTo>
                  <a:cubicBezTo>
                    <a:pt x="12000" y="19317"/>
                    <a:pt x="14400" y="18117"/>
                    <a:pt x="14400" y="18117"/>
                  </a:cubicBezTo>
                  <a:cubicBezTo>
                    <a:pt x="16800" y="15717"/>
                    <a:pt x="14400" y="18117"/>
                    <a:pt x="14400" y="181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6" name="Shape 2095">
              <a:extLst>
                <a:ext uri="{FF2B5EF4-FFF2-40B4-BE49-F238E27FC236}">
                  <a16:creationId xmlns:a16="http://schemas.microsoft.com/office/drawing/2014/main" id="{98B2385E-3E97-6748-4777-78482B331FAF}"/>
                </a:ext>
              </a:extLst>
            </p:cNvPr>
            <p:cNvSpPr/>
            <p:nvPr/>
          </p:nvSpPr>
          <p:spPr>
            <a:xfrm>
              <a:off x="6179653" y="2265977"/>
              <a:ext cx="72571" cy="58450"/>
            </a:xfrm>
            <a:custGeom>
              <a:avLst/>
              <a:gdLst/>
              <a:ahLst/>
              <a:cxnLst>
                <a:cxn ang="0">
                  <a:pos x="wd2" y="hd2"/>
                </a:cxn>
                <a:cxn ang="5400000">
                  <a:pos x="wd2" y="hd2"/>
                </a:cxn>
                <a:cxn ang="10800000">
                  <a:pos x="wd2" y="hd2"/>
                </a:cxn>
                <a:cxn ang="16200000">
                  <a:pos x="wd2" y="hd2"/>
                </a:cxn>
              </a:cxnLst>
              <a:rect l="0" t="0" r="r" b="b"/>
              <a:pathLst>
                <a:path w="18355" h="21600" extrusionOk="0">
                  <a:moveTo>
                    <a:pt x="17270" y="0"/>
                  </a:moveTo>
                  <a:cubicBezTo>
                    <a:pt x="13947" y="0"/>
                    <a:pt x="2316" y="0"/>
                    <a:pt x="2316" y="4800"/>
                  </a:cubicBezTo>
                  <a:cubicBezTo>
                    <a:pt x="-1007" y="9600"/>
                    <a:pt x="-1007" y="19200"/>
                    <a:pt x="3978" y="21600"/>
                  </a:cubicBezTo>
                  <a:cubicBezTo>
                    <a:pt x="5639" y="19200"/>
                    <a:pt x="8962" y="21600"/>
                    <a:pt x="10624" y="19200"/>
                  </a:cubicBezTo>
                  <a:cubicBezTo>
                    <a:pt x="12285" y="19200"/>
                    <a:pt x="13947" y="14400"/>
                    <a:pt x="15608" y="16800"/>
                  </a:cubicBezTo>
                  <a:cubicBezTo>
                    <a:pt x="20593" y="21600"/>
                    <a:pt x="17270" y="2400"/>
                    <a:pt x="1727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7" name="Shape 2096">
              <a:extLst>
                <a:ext uri="{FF2B5EF4-FFF2-40B4-BE49-F238E27FC236}">
                  <a16:creationId xmlns:a16="http://schemas.microsoft.com/office/drawing/2014/main" id="{D533474B-2CDF-2244-E52B-C14D2EDC588F}"/>
                </a:ext>
              </a:extLst>
            </p:cNvPr>
            <p:cNvSpPr/>
            <p:nvPr/>
          </p:nvSpPr>
          <p:spPr>
            <a:xfrm>
              <a:off x="6925714" y="2304190"/>
              <a:ext cx="99482" cy="98101"/>
            </a:xfrm>
            <a:custGeom>
              <a:avLst/>
              <a:gdLst/>
              <a:ahLst/>
              <a:cxnLst>
                <a:cxn ang="0">
                  <a:pos x="wd2" y="hd2"/>
                </a:cxn>
                <a:cxn ang="5400000">
                  <a:pos x="wd2" y="hd2"/>
                </a:cxn>
                <a:cxn ang="10800000">
                  <a:pos x="wd2" y="hd2"/>
                </a:cxn>
                <a:cxn ang="16200000">
                  <a:pos x="wd2" y="hd2"/>
                </a:cxn>
              </a:cxnLst>
              <a:rect l="0" t="0" r="r" b="b"/>
              <a:pathLst>
                <a:path w="17073" h="20055" extrusionOk="0">
                  <a:moveTo>
                    <a:pt x="17073" y="18900"/>
                  </a:moveTo>
                  <a:cubicBezTo>
                    <a:pt x="17073" y="16200"/>
                    <a:pt x="17073" y="14850"/>
                    <a:pt x="14799" y="13500"/>
                  </a:cubicBezTo>
                  <a:cubicBezTo>
                    <a:pt x="12526" y="12150"/>
                    <a:pt x="14799" y="10800"/>
                    <a:pt x="13662" y="9450"/>
                  </a:cubicBezTo>
                  <a:cubicBezTo>
                    <a:pt x="12526" y="6750"/>
                    <a:pt x="11389" y="8100"/>
                    <a:pt x="11389" y="4050"/>
                  </a:cubicBezTo>
                  <a:cubicBezTo>
                    <a:pt x="11389" y="4050"/>
                    <a:pt x="7978" y="1350"/>
                    <a:pt x="9115" y="0"/>
                  </a:cubicBezTo>
                  <a:cubicBezTo>
                    <a:pt x="5705" y="0"/>
                    <a:pt x="-4527" y="1350"/>
                    <a:pt x="2294" y="8100"/>
                  </a:cubicBezTo>
                  <a:cubicBezTo>
                    <a:pt x="3431" y="9450"/>
                    <a:pt x="4568" y="10800"/>
                    <a:pt x="5705" y="12150"/>
                  </a:cubicBezTo>
                  <a:cubicBezTo>
                    <a:pt x="6841" y="13500"/>
                    <a:pt x="7978" y="13500"/>
                    <a:pt x="9115" y="14850"/>
                  </a:cubicBezTo>
                  <a:cubicBezTo>
                    <a:pt x="11389" y="14850"/>
                    <a:pt x="13662" y="14850"/>
                    <a:pt x="13662" y="17550"/>
                  </a:cubicBezTo>
                  <a:cubicBezTo>
                    <a:pt x="14799" y="18900"/>
                    <a:pt x="15936" y="21600"/>
                    <a:pt x="17073" y="18900"/>
                  </a:cubicBezTo>
                  <a:cubicBezTo>
                    <a:pt x="17073" y="17550"/>
                    <a:pt x="15936" y="20250"/>
                    <a:pt x="17073" y="189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8" name="Shape 2097">
              <a:extLst>
                <a:ext uri="{FF2B5EF4-FFF2-40B4-BE49-F238E27FC236}">
                  <a16:creationId xmlns:a16="http://schemas.microsoft.com/office/drawing/2014/main" id="{769BFB85-7432-32CE-1C30-73B02CD54223}"/>
                </a:ext>
              </a:extLst>
            </p:cNvPr>
            <p:cNvSpPr/>
            <p:nvPr/>
          </p:nvSpPr>
          <p:spPr>
            <a:xfrm>
              <a:off x="6946534" y="2370716"/>
              <a:ext cx="635344" cy="540433"/>
            </a:xfrm>
            <a:custGeom>
              <a:avLst/>
              <a:gdLst/>
              <a:ahLst/>
              <a:cxnLst>
                <a:cxn ang="0">
                  <a:pos x="wd2" y="hd2"/>
                </a:cxn>
                <a:cxn ang="5400000">
                  <a:pos x="wd2" y="hd2"/>
                </a:cxn>
                <a:cxn ang="10800000">
                  <a:pos x="wd2" y="hd2"/>
                </a:cxn>
                <a:cxn ang="16200000">
                  <a:pos x="wd2" y="hd2"/>
                </a:cxn>
              </a:cxnLst>
              <a:rect l="0" t="0" r="r" b="b"/>
              <a:pathLst>
                <a:path w="21056" h="21109" extrusionOk="0">
                  <a:moveTo>
                    <a:pt x="20727" y="18280"/>
                  </a:moveTo>
                  <a:cubicBezTo>
                    <a:pt x="20291" y="18023"/>
                    <a:pt x="20509" y="17509"/>
                    <a:pt x="20291" y="16995"/>
                  </a:cubicBezTo>
                  <a:cubicBezTo>
                    <a:pt x="20291" y="16738"/>
                    <a:pt x="19855" y="16480"/>
                    <a:pt x="19636" y="16223"/>
                  </a:cubicBezTo>
                  <a:cubicBezTo>
                    <a:pt x="19200" y="15966"/>
                    <a:pt x="18982" y="15452"/>
                    <a:pt x="18764" y="14938"/>
                  </a:cubicBezTo>
                  <a:cubicBezTo>
                    <a:pt x="18327" y="14423"/>
                    <a:pt x="18545" y="14423"/>
                    <a:pt x="18982" y="13652"/>
                  </a:cubicBezTo>
                  <a:cubicBezTo>
                    <a:pt x="19200" y="13395"/>
                    <a:pt x="19636" y="12880"/>
                    <a:pt x="19418" y="12366"/>
                  </a:cubicBezTo>
                  <a:cubicBezTo>
                    <a:pt x="19200" y="12109"/>
                    <a:pt x="18545" y="12109"/>
                    <a:pt x="18327" y="12109"/>
                  </a:cubicBezTo>
                  <a:cubicBezTo>
                    <a:pt x="18109" y="11852"/>
                    <a:pt x="18327" y="11338"/>
                    <a:pt x="18327" y="11338"/>
                  </a:cubicBezTo>
                  <a:cubicBezTo>
                    <a:pt x="18109" y="10823"/>
                    <a:pt x="18109" y="10052"/>
                    <a:pt x="18327" y="9795"/>
                  </a:cubicBezTo>
                  <a:cubicBezTo>
                    <a:pt x="18764" y="9280"/>
                    <a:pt x="18109" y="9023"/>
                    <a:pt x="17891" y="8766"/>
                  </a:cubicBezTo>
                  <a:cubicBezTo>
                    <a:pt x="17891" y="8509"/>
                    <a:pt x="18327" y="7738"/>
                    <a:pt x="18545" y="7480"/>
                  </a:cubicBezTo>
                  <a:cubicBezTo>
                    <a:pt x="18545" y="7223"/>
                    <a:pt x="18982" y="4652"/>
                    <a:pt x="18764" y="4652"/>
                  </a:cubicBezTo>
                  <a:cubicBezTo>
                    <a:pt x="18109" y="4652"/>
                    <a:pt x="17891" y="4652"/>
                    <a:pt x="17236" y="4138"/>
                  </a:cubicBezTo>
                  <a:cubicBezTo>
                    <a:pt x="17018" y="3880"/>
                    <a:pt x="16800" y="3623"/>
                    <a:pt x="16582" y="3366"/>
                  </a:cubicBezTo>
                  <a:cubicBezTo>
                    <a:pt x="16364" y="3109"/>
                    <a:pt x="15709" y="3109"/>
                    <a:pt x="15491" y="2852"/>
                  </a:cubicBezTo>
                  <a:cubicBezTo>
                    <a:pt x="15055" y="2852"/>
                    <a:pt x="14836" y="2852"/>
                    <a:pt x="14400" y="2595"/>
                  </a:cubicBezTo>
                  <a:cubicBezTo>
                    <a:pt x="14182" y="2080"/>
                    <a:pt x="13745" y="2338"/>
                    <a:pt x="13309" y="2338"/>
                  </a:cubicBezTo>
                  <a:cubicBezTo>
                    <a:pt x="13091" y="2595"/>
                    <a:pt x="12655" y="2338"/>
                    <a:pt x="12436" y="2595"/>
                  </a:cubicBezTo>
                  <a:cubicBezTo>
                    <a:pt x="12000" y="2595"/>
                    <a:pt x="11782" y="3109"/>
                    <a:pt x="11564" y="3366"/>
                  </a:cubicBezTo>
                  <a:cubicBezTo>
                    <a:pt x="11345" y="3623"/>
                    <a:pt x="10691" y="3366"/>
                    <a:pt x="10691" y="3880"/>
                  </a:cubicBezTo>
                  <a:cubicBezTo>
                    <a:pt x="10691" y="4395"/>
                    <a:pt x="10473" y="4395"/>
                    <a:pt x="10036" y="4652"/>
                  </a:cubicBezTo>
                  <a:cubicBezTo>
                    <a:pt x="8945" y="4909"/>
                    <a:pt x="8073" y="4909"/>
                    <a:pt x="7200" y="4138"/>
                  </a:cubicBezTo>
                  <a:cubicBezTo>
                    <a:pt x="6982" y="3880"/>
                    <a:pt x="6764" y="3623"/>
                    <a:pt x="6545" y="3623"/>
                  </a:cubicBezTo>
                  <a:cubicBezTo>
                    <a:pt x="6109" y="3109"/>
                    <a:pt x="5891" y="3366"/>
                    <a:pt x="5455" y="3366"/>
                  </a:cubicBezTo>
                  <a:cubicBezTo>
                    <a:pt x="5236" y="3109"/>
                    <a:pt x="5236" y="2338"/>
                    <a:pt x="5236" y="2080"/>
                  </a:cubicBezTo>
                  <a:cubicBezTo>
                    <a:pt x="4582" y="1823"/>
                    <a:pt x="4364" y="1566"/>
                    <a:pt x="4364" y="795"/>
                  </a:cubicBezTo>
                  <a:cubicBezTo>
                    <a:pt x="4364" y="-491"/>
                    <a:pt x="3491" y="280"/>
                    <a:pt x="3055" y="795"/>
                  </a:cubicBezTo>
                  <a:cubicBezTo>
                    <a:pt x="2836" y="1052"/>
                    <a:pt x="2618" y="1309"/>
                    <a:pt x="2400" y="1309"/>
                  </a:cubicBezTo>
                  <a:cubicBezTo>
                    <a:pt x="1964" y="1052"/>
                    <a:pt x="1309" y="1052"/>
                    <a:pt x="1091" y="538"/>
                  </a:cubicBezTo>
                  <a:cubicBezTo>
                    <a:pt x="655" y="23"/>
                    <a:pt x="655" y="-234"/>
                    <a:pt x="218" y="280"/>
                  </a:cubicBezTo>
                  <a:cubicBezTo>
                    <a:pt x="218" y="538"/>
                    <a:pt x="0" y="538"/>
                    <a:pt x="0" y="795"/>
                  </a:cubicBezTo>
                  <a:cubicBezTo>
                    <a:pt x="0" y="1052"/>
                    <a:pt x="0" y="1309"/>
                    <a:pt x="218" y="1566"/>
                  </a:cubicBezTo>
                  <a:cubicBezTo>
                    <a:pt x="218" y="1566"/>
                    <a:pt x="436" y="2080"/>
                    <a:pt x="218" y="2080"/>
                  </a:cubicBezTo>
                  <a:cubicBezTo>
                    <a:pt x="218" y="2338"/>
                    <a:pt x="0" y="2338"/>
                    <a:pt x="218" y="2595"/>
                  </a:cubicBezTo>
                  <a:cubicBezTo>
                    <a:pt x="218" y="2852"/>
                    <a:pt x="655" y="2852"/>
                    <a:pt x="655" y="3109"/>
                  </a:cubicBezTo>
                  <a:cubicBezTo>
                    <a:pt x="655" y="3366"/>
                    <a:pt x="436" y="3623"/>
                    <a:pt x="655" y="3623"/>
                  </a:cubicBezTo>
                  <a:cubicBezTo>
                    <a:pt x="873" y="4138"/>
                    <a:pt x="873" y="4395"/>
                    <a:pt x="1091" y="4909"/>
                  </a:cubicBezTo>
                  <a:cubicBezTo>
                    <a:pt x="1309" y="5166"/>
                    <a:pt x="1309" y="5423"/>
                    <a:pt x="1745" y="5680"/>
                  </a:cubicBezTo>
                  <a:cubicBezTo>
                    <a:pt x="1745" y="5680"/>
                    <a:pt x="2182" y="5938"/>
                    <a:pt x="2182" y="5938"/>
                  </a:cubicBezTo>
                  <a:cubicBezTo>
                    <a:pt x="2400" y="6966"/>
                    <a:pt x="436" y="7995"/>
                    <a:pt x="1745" y="9023"/>
                  </a:cubicBezTo>
                  <a:cubicBezTo>
                    <a:pt x="2182" y="9280"/>
                    <a:pt x="2182" y="9795"/>
                    <a:pt x="2618" y="10052"/>
                  </a:cubicBezTo>
                  <a:cubicBezTo>
                    <a:pt x="3055" y="10566"/>
                    <a:pt x="3491" y="10823"/>
                    <a:pt x="3927" y="11595"/>
                  </a:cubicBezTo>
                  <a:cubicBezTo>
                    <a:pt x="3927" y="11852"/>
                    <a:pt x="3709" y="12109"/>
                    <a:pt x="3709" y="12366"/>
                  </a:cubicBezTo>
                  <a:cubicBezTo>
                    <a:pt x="3927" y="12623"/>
                    <a:pt x="4364" y="12623"/>
                    <a:pt x="4145" y="12880"/>
                  </a:cubicBezTo>
                  <a:cubicBezTo>
                    <a:pt x="4145" y="13652"/>
                    <a:pt x="4582" y="13909"/>
                    <a:pt x="4800" y="14423"/>
                  </a:cubicBezTo>
                  <a:cubicBezTo>
                    <a:pt x="5236" y="14166"/>
                    <a:pt x="5018" y="13909"/>
                    <a:pt x="5236" y="13652"/>
                  </a:cubicBezTo>
                  <a:cubicBezTo>
                    <a:pt x="5236" y="13652"/>
                    <a:pt x="5455" y="13909"/>
                    <a:pt x="5455" y="13909"/>
                  </a:cubicBezTo>
                  <a:cubicBezTo>
                    <a:pt x="5891" y="13909"/>
                    <a:pt x="5455" y="13909"/>
                    <a:pt x="5673" y="14166"/>
                  </a:cubicBezTo>
                  <a:cubicBezTo>
                    <a:pt x="5891" y="14423"/>
                    <a:pt x="6109" y="13652"/>
                    <a:pt x="6545" y="14166"/>
                  </a:cubicBezTo>
                  <a:cubicBezTo>
                    <a:pt x="6982" y="14938"/>
                    <a:pt x="7200" y="15709"/>
                    <a:pt x="7636" y="16480"/>
                  </a:cubicBezTo>
                  <a:cubicBezTo>
                    <a:pt x="8073" y="17252"/>
                    <a:pt x="9164" y="18023"/>
                    <a:pt x="10036" y="18538"/>
                  </a:cubicBezTo>
                  <a:cubicBezTo>
                    <a:pt x="10473" y="18795"/>
                    <a:pt x="10909" y="18795"/>
                    <a:pt x="11345" y="19052"/>
                  </a:cubicBezTo>
                  <a:cubicBezTo>
                    <a:pt x="11564" y="19052"/>
                    <a:pt x="12218" y="18795"/>
                    <a:pt x="12218" y="18795"/>
                  </a:cubicBezTo>
                  <a:cubicBezTo>
                    <a:pt x="12218" y="18795"/>
                    <a:pt x="12218" y="19052"/>
                    <a:pt x="12218" y="19052"/>
                  </a:cubicBezTo>
                  <a:cubicBezTo>
                    <a:pt x="12436" y="19052"/>
                    <a:pt x="13091" y="18538"/>
                    <a:pt x="13309" y="18280"/>
                  </a:cubicBezTo>
                  <a:cubicBezTo>
                    <a:pt x="13309" y="18280"/>
                    <a:pt x="13091" y="18280"/>
                    <a:pt x="13091" y="18280"/>
                  </a:cubicBezTo>
                  <a:cubicBezTo>
                    <a:pt x="13091" y="18023"/>
                    <a:pt x="13527" y="18280"/>
                    <a:pt x="13527" y="18280"/>
                  </a:cubicBezTo>
                  <a:cubicBezTo>
                    <a:pt x="13964" y="18538"/>
                    <a:pt x="13964" y="18795"/>
                    <a:pt x="14182" y="19309"/>
                  </a:cubicBezTo>
                  <a:cubicBezTo>
                    <a:pt x="14400" y="20080"/>
                    <a:pt x="14618" y="20080"/>
                    <a:pt x="15055" y="20338"/>
                  </a:cubicBezTo>
                  <a:cubicBezTo>
                    <a:pt x="16364" y="20595"/>
                    <a:pt x="17891" y="20852"/>
                    <a:pt x="19200" y="21109"/>
                  </a:cubicBezTo>
                  <a:cubicBezTo>
                    <a:pt x="19200" y="20080"/>
                    <a:pt x="19418" y="19823"/>
                    <a:pt x="20073" y="19309"/>
                  </a:cubicBezTo>
                  <a:cubicBezTo>
                    <a:pt x="20509" y="19052"/>
                    <a:pt x="21600" y="18795"/>
                    <a:pt x="20727" y="18280"/>
                  </a:cubicBezTo>
                  <a:cubicBezTo>
                    <a:pt x="20509" y="18023"/>
                    <a:pt x="21164" y="18538"/>
                    <a:pt x="20727" y="18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9" name="Shape 2098">
              <a:extLst>
                <a:ext uri="{FF2B5EF4-FFF2-40B4-BE49-F238E27FC236}">
                  <a16:creationId xmlns:a16="http://schemas.microsoft.com/office/drawing/2014/main" id="{2A2A23E8-60E7-230D-FA92-2CA8D0C4B986}"/>
                </a:ext>
              </a:extLst>
            </p:cNvPr>
            <p:cNvSpPr/>
            <p:nvPr/>
          </p:nvSpPr>
          <p:spPr>
            <a:xfrm>
              <a:off x="6960019" y="2364888"/>
              <a:ext cx="51692" cy="38218"/>
            </a:xfrm>
            <a:custGeom>
              <a:avLst/>
              <a:gdLst/>
              <a:ahLst/>
              <a:cxnLst>
                <a:cxn ang="0">
                  <a:pos x="wd2" y="hd2"/>
                </a:cxn>
                <a:cxn ang="5400000">
                  <a:pos x="wd2" y="hd2"/>
                </a:cxn>
                <a:cxn ang="10800000">
                  <a:pos x="wd2" y="hd2"/>
                </a:cxn>
                <a:cxn ang="16200000">
                  <a:pos x="wd2" y="hd2"/>
                </a:cxn>
              </a:cxnLst>
              <a:rect l="0" t="0" r="r" b="b"/>
              <a:pathLst>
                <a:path w="21600" h="21600" extrusionOk="0">
                  <a:moveTo>
                    <a:pt x="2700" y="3600"/>
                  </a:moveTo>
                  <a:cubicBezTo>
                    <a:pt x="5400" y="3600"/>
                    <a:pt x="5400" y="10800"/>
                    <a:pt x="8100" y="14400"/>
                  </a:cubicBezTo>
                  <a:cubicBezTo>
                    <a:pt x="13500" y="14400"/>
                    <a:pt x="16200" y="18000"/>
                    <a:pt x="21600" y="21600"/>
                  </a:cubicBezTo>
                  <a:cubicBezTo>
                    <a:pt x="18900" y="7200"/>
                    <a:pt x="8100" y="3600"/>
                    <a:pt x="0" y="0"/>
                  </a:cubicBezTo>
                  <a:cubicBezTo>
                    <a:pt x="0" y="3600"/>
                    <a:pt x="0" y="3600"/>
                    <a:pt x="2700" y="3600"/>
                  </a:cubicBezTo>
                  <a:cubicBezTo>
                    <a:pt x="5400" y="3600"/>
                    <a:pt x="0" y="3600"/>
                    <a:pt x="2700" y="3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0" name="Shape 2099">
              <a:extLst>
                <a:ext uri="{FF2B5EF4-FFF2-40B4-BE49-F238E27FC236}">
                  <a16:creationId xmlns:a16="http://schemas.microsoft.com/office/drawing/2014/main" id="{4CEB2616-0BF2-5374-7439-21528968CE0A}"/>
                </a:ext>
              </a:extLst>
            </p:cNvPr>
            <p:cNvSpPr/>
            <p:nvPr/>
          </p:nvSpPr>
          <p:spPr>
            <a:xfrm>
              <a:off x="6807194" y="2214064"/>
              <a:ext cx="225763" cy="110362"/>
            </a:xfrm>
            <a:custGeom>
              <a:avLst/>
              <a:gdLst/>
              <a:ahLst/>
              <a:cxnLst>
                <a:cxn ang="0">
                  <a:pos x="wd2" y="hd2"/>
                </a:cxn>
                <a:cxn ang="5400000">
                  <a:pos x="wd2" y="hd2"/>
                </a:cxn>
                <a:cxn ang="10800000">
                  <a:pos x="wd2" y="hd2"/>
                </a:cxn>
                <a:cxn ang="16200000">
                  <a:pos x="wd2" y="hd2"/>
                </a:cxn>
              </a:cxnLst>
              <a:rect l="0" t="0" r="r" b="b"/>
              <a:pathLst>
                <a:path w="21066" h="20007" extrusionOk="0">
                  <a:moveTo>
                    <a:pt x="16046" y="16407"/>
                  </a:moveTo>
                  <a:cubicBezTo>
                    <a:pt x="16663" y="15207"/>
                    <a:pt x="17897" y="17607"/>
                    <a:pt x="18514" y="18807"/>
                  </a:cubicBezTo>
                  <a:cubicBezTo>
                    <a:pt x="18514" y="18807"/>
                    <a:pt x="20983" y="18807"/>
                    <a:pt x="20983" y="18807"/>
                  </a:cubicBezTo>
                  <a:cubicBezTo>
                    <a:pt x="21600" y="17607"/>
                    <a:pt x="18514" y="12807"/>
                    <a:pt x="20366" y="12807"/>
                  </a:cubicBezTo>
                  <a:cubicBezTo>
                    <a:pt x="19749" y="11607"/>
                    <a:pt x="18514" y="11607"/>
                    <a:pt x="18514" y="10407"/>
                  </a:cubicBezTo>
                  <a:cubicBezTo>
                    <a:pt x="18514" y="8007"/>
                    <a:pt x="17897" y="6807"/>
                    <a:pt x="16663" y="6807"/>
                  </a:cubicBezTo>
                  <a:cubicBezTo>
                    <a:pt x="14811" y="6807"/>
                    <a:pt x="13577" y="8007"/>
                    <a:pt x="11726" y="5607"/>
                  </a:cubicBezTo>
                  <a:cubicBezTo>
                    <a:pt x="9874" y="4407"/>
                    <a:pt x="8023" y="4407"/>
                    <a:pt x="5554" y="3207"/>
                  </a:cubicBezTo>
                  <a:cubicBezTo>
                    <a:pt x="3703" y="2007"/>
                    <a:pt x="2469" y="-1593"/>
                    <a:pt x="0" y="807"/>
                  </a:cubicBezTo>
                  <a:cubicBezTo>
                    <a:pt x="1851" y="5607"/>
                    <a:pt x="6789" y="6807"/>
                    <a:pt x="4937" y="15207"/>
                  </a:cubicBezTo>
                  <a:cubicBezTo>
                    <a:pt x="6789" y="15207"/>
                    <a:pt x="11109" y="15207"/>
                    <a:pt x="11109" y="20007"/>
                  </a:cubicBezTo>
                  <a:cubicBezTo>
                    <a:pt x="11109" y="16407"/>
                    <a:pt x="14811" y="16407"/>
                    <a:pt x="16046" y="16407"/>
                  </a:cubicBezTo>
                  <a:cubicBezTo>
                    <a:pt x="16663" y="15207"/>
                    <a:pt x="11726" y="16407"/>
                    <a:pt x="16046" y="1640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1" name="Shape 2100">
              <a:extLst>
                <a:ext uri="{FF2B5EF4-FFF2-40B4-BE49-F238E27FC236}">
                  <a16:creationId xmlns:a16="http://schemas.microsoft.com/office/drawing/2014/main" id="{588EFBB9-F81B-196B-E440-5C18A9722138}"/>
                </a:ext>
              </a:extLst>
            </p:cNvPr>
            <p:cNvSpPr/>
            <p:nvPr/>
          </p:nvSpPr>
          <p:spPr>
            <a:xfrm>
              <a:off x="6981376" y="2283960"/>
              <a:ext cx="152428" cy="139379"/>
            </a:xfrm>
            <a:custGeom>
              <a:avLst/>
              <a:gdLst/>
              <a:ahLst/>
              <a:cxnLst>
                <a:cxn ang="0">
                  <a:pos x="wd2" y="hd2"/>
                </a:cxn>
                <a:cxn ang="5400000">
                  <a:pos x="wd2" y="hd2"/>
                </a:cxn>
                <a:cxn ang="10800000">
                  <a:pos x="wd2" y="hd2"/>
                </a:cxn>
                <a:cxn ang="16200000">
                  <a:pos x="wd2" y="hd2"/>
                </a:cxn>
              </a:cxnLst>
              <a:rect l="0" t="0" r="r" b="b"/>
              <a:pathLst>
                <a:path w="18544" h="21600" extrusionOk="0">
                  <a:moveTo>
                    <a:pt x="4622" y="2057"/>
                  </a:moveTo>
                  <a:cubicBezTo>
                    <a:pt x="4622" y="2057"/>
                    <a:pt x="7022" y="4114"/>
                    <a:pt x="6222" y="5143"/>
                  </a:cubicBezTo>
                  <a:cubicBezTo>
                    <a:pt x="6222" y="5143"/>
                    <a:pt x="3822" y="5143"/>
                    <a:pt x="3822" y="5143"/>
                  </a:cubicBezTo>
                  <a:cubicBezTo>
                    <a:pt x="2222" y="5143"/>
                    <a:pt x="2222" y="3086"/>
                    <a:pt x="1422" y="3086"/>
                  </a:cubicBezTo>
                  <a:cubicBezTo>
                    <a:pt x="-1778" y="2057"/>
                    <a:pt x="1422" y="6171"/>
                    <a:pt x="1422" y="7200"/>
                  </a:cubicBezTo>
                  <a:cubicBezTo>
                    <a:pt x="1422" y="10286"/>
                    <a:pt x="3822" y="8229"/>
                    <a:pt x="3022" y="11314"/>
                  </a:cubicBezTo>
                  <a:cubicBezTo>
                    <a:pt x="2222" y="13371"/>
                    <a:pt x="3822" y="13371"/>
                    <a:pt x="4622" y="14400"/>
                  </a:cubicBezTo>
                  <a:cubicBezTo>
                    <a:pt x="5422" y="14400"/>
                    <a:pt x="5422" y="16457"/>
                    <a:pt x="5422" y="17486"/>
                  </a:cubicBezTo>
                  <a:cubicBezTo>
                    <a:pt x="6222" y="16457"/>
                    <a:pt x="9422" y="14400"/>
                    <a:pt x="11022" y="13371"/>
                  </a:cubicBezTo>
                  <a:cubicBezTo>
                    <a:pt x="11822" y="13371"/>
                    <a:pt x="11822" y="15429"/>
                    <a:pt x="11822" y="16457"/>
                  </a:cubicBezTo>
                  <a:cubicBezTo>
                    <a:pt x="11822" y="19543"/>
                    <a:pt x="12622" y="20571"/>
                    <a:pt x="15022" y="21600"/>
                  </a:cubicBezTo>
                  <a:cubicBezTo>
                    <a:pt x="15022" y="20571"/>
                    <a:pt x="15022" y="18514"/>
                    <a:pt x="15022" y="18514"/>
                  </a:cubicBezTo>
                  <a:cubicBezTo>
                    <a:pt x="15822" y="17486"/>
                    <a:pt x="16622" y="17486"/>
                    <a:pt x="16622" y="16457"/>
                  </a:cubicBezTo>
                  <a:cubicBezTo>
                    <a:pt x="17422" y="14400"/>
                    <a:pt x="17422" y="12343"/>
                    <a:pt x="18222" y="11314"/>
                  </a:cubicBezTo>
                  <a:cubicBezTo>
                    <a:pt x="19822" y="8229"/>
                    <a:pt x="15022" y="2057"/>
                    <a:pt x="13422" y="1029"/>
                  </a:cubicBezTo>
                  <a:cubicBezTo>
                    <a:pt x="11822" y="4114"/>
                    <a:pt x="10222" y="4114"/>
                    <a:pt x="7822" y="2057"/>
                  </a:cubicBezTo>
                  <a:cubicBezTo>
                    <a:pt x="7822" y="1029"/>
                    <a:pt x="6222" y="0"/>
                    <a:pt x="5422" y="0"/>
                  </a:cubicBezTo>
                  <a:cubicBezTo>
                    <a:pt x="4622" y="0"/>
                    <a:pt x="4622" y="1029"/>
                    <a:pt x="4622" y="2057"/>
                  </a:cubicBezTo>
                  <a:cubicBezTo>
                    <a:pt x="5422" y="3086"/>
                    <a:pt x="3822" y="0"/>
                    <a:pt x="4622" y="20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2" name="Shape 2101">
              <a:extLst>
                <a:ext uri="{FF2B5EF4-FFF2-40B4-BE49-F238E27FC236}">
                  <a16:creationId xmlns:a16="http://schemas.microsoft.com/office/drawing/2014/main" id="{5819CA99-5EBD-D87E-3504-B1AE0CA3BA0D}"/>
                </a:ext>
              </a:extLst>
            </p:cNvPr>
            <p:cNvSpPr/>
            <p:nvPr/>
          </p:nvSpPr>
          <p:spPr>
            <a:xfrm>
              <a:off x="7025195" y="2727788"/>
              <a:ext cx="58434" cy="59724"/>
            </a:xfrm>
            <a:custGeom>
              <a:avLst/>
              <a:gdLst/>
              <a:ahLst/>
              <a:cxnLst>
                <a:cxn ang="0">
                  <a:pos x="wd2" y="hd2"/>
                </a:cxn>
                <a:cxn ang="5400000">
                  <a:pos x="wd2" y="hd2"/>
                </a:cxn>
                <a:cxn ang="10800000">
                  <a:pos x="wd2" y="hd2"/>
                </a:cxn>
                <a:cxn ang="16200000">
                  <a:pos x="wd2" y="hd2"/>
                </a:cxn>
              </a:cxnLst>
              <a:rect l="0" t="0" r="r" b="b"/>
              <a:pathLst>
                <a:path w="21600" h="19128" extrusionOk="0">
                  <a:moveTo>
                    <a:pt x="7200" y="1848"/>
                  </a:moveTo>
                  <a:cubicBezTo>
                    <a:pt x="2400" y="4008"/>
                    <a:pt x="0" y="8328"/>
                    <a:pt x="0" y="12648"/>
                  </a:cubicBezTo>
                  <a:cubicBezTo>
                    <a:pt x="2400" y="12648"/>
                    <a:pt x="9600" y="12648"/>
                    <a:pt x="9600" y="14808"/>
                  </a:cubicBezTo>
                  <a:cubicBezTo>
                    <a:pt x="14400" y="19128"/>
                    <a:pt x="16800" y="19128"/>
                    <a:pt x="21600" y="19128"/>
                  </a:cubicBezTo>
                  <a:cubicBezTo>
                    <a:pt x="21600" y="19128"/>
                    <a:pt x="16800" y="8328"/>
                    <a:pt x="16800" y="8328"/>
                  </a:cubicBezTo>
                  <a:cubicBezTo>
                    <a:pt x="19200" y="8328"/>
                    <a:pt x="21600" y="8328"/>
                    <a:pt x="19200" y="4008"/>
                  </a:cubicBezTo>
                  <a:cubicBezTo>
                    <a:pt x="14400" y="1848"/>
                    <a:pt x="12000" y="-2472"/>
                    <a:pt x="7200" y="1848"/>
                  </a:cubicBezTo>
                  <a:cubicBezTo>
                    <a:pt x="2400" y="6168"/>
                    <a:pt x="9600" y="-312"/>
                    <a:pt x="7200" y="184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3" name="Shape 2102">
              <a:extLst>
                <a:ext uri="{FF2B5EF4-FFF2-40B4-BE49-F238E27FC236}">
                  <a16:creationId xmlns:a16="http://schemas.microsoft.com/office/drawing/2014/main" id="{1083F599-7B81-026C-B9D1-118E1728E102}"/>
                </a:ext>
              </a:extLst>
            </p:cNvPr>
            <p:cNvSpPr/>
            <p:nvPr/>
          </p:nvSpPr>
          <p:spPr>
            <a:xfrm>
              <a:off x="6666683" y="2470542"/>
              <a:ext cx="219173" cy="177592"/>
            </a:xfrm>
            <a:custGeom>
              <a:avLst/>
              <a:gdLst/>
              <a:ahLst/>
              <a:cxnLst>
                <a:cxn ang="0">
                  <a:pos x="wd2" y="hd2"/>
                </a:cxn>
                <a:cxn ang="5400000">
                  <a:pos x="wd2" y="hd2"/>
                </a:cxn>
                <a:cxn ang="10800000">
                  <a:pos x="wd2" y="hd2"/>
                </a:cxn>
                <a:cxn ang="16200000">
                  <a:pos x="wd2" y="hd2"/>
                </a:cxn>
              </a:cxnLst>
              <a:rect l="0" t="0" r="r" b="b"/>
              <a:pathLst>
                <a:path w="20652" h="21600" extrusionOk="0">
                  <a:moveTo>
                    <a:pt x="16949" y="8000"/>
                  </a:moveTo>
                  <a:cubicBezTo>
                    <a:pt x="17566" y="7200"/>
                    <a:pt x="18183" y="6400"/>
                    <a:pt x="17566" y="5600"/>
                  </a:cubicBezTo>
                  <a:cubicBezTo>
                    <a:pt x="16949" y="4800"/>
                    <a:pt x="16332" y="4800"/>
                    <a:pt x="16949" y="4000"/>
                  </a:cubicBezTo>
                  <a:cubicBezTo>
                    <a:pt x="18183" y="2400"/>
                    <a:pt x="20652" y="2400"/>
                    <a:pt x="20652" y="0"/>
                  </a:cubicBezTo>
                  <a:cubicBezTo>
                    <a:pt x="18801" y="0"/>
                    <a:pt x="16332" y="0"/>
                    <a:pt x="14481" y="800"/>
                  </a:cubicBezTo>
                  <a:cubicBezTo>
                    <a:pt x="13246" y="800"/>
                    <a:pt x="12012" y="1600"/>
                    <a:pt x="10778" y="1600"/>
                  </a:cubicBezTo>
                  <a:cubicBezTo>
                    <a:pt x="8926" y="1600"/>
                    <a:pt x="8309" y="800"/>
                    <a:pt x="7075" y="1600"/>
                  </a:cubicBezTo>
                  <a:cubicBezTo>
                    <a:pt x="5841" y="2400"/>
                    <a:pt x="5223" y="2400"/>
                    <a:pt x="3989" y="1600"/>
                  </a:cubicBezTo>
                  <a:cubicBezTo>
                    <a:pt x="2755" y="0"/>
                    <a:pt x="3372" y="3200"/>
                    <a:pt x="3372" y="3200"/>
                  </a:cubicBezTo>
                  <a:cubicBezTo>
                    <a:pt x="2755" y="4000"/>
                    <a:pt x="2755" y="4800"/>
                    <a:pt x="2755" y="4800"/>
                  </a:cubicBezTo>
                  <a:cubicBezTo>
                    <a:pt x="2138" y="6400"/>
                    <a:pt x="1521" y="4800"/>
                    <a:pt x="903" y="4800"/>
                  </a:cubicBezTo>
                  <a:cubicBezTo>
                    <a:pt x="286" y="5600"/>
                    <a:pt x="903" y="7200"/>
                    <a:pt x="903" y="8000"/>
                  </a:cubicBezTo>
                  <a:cubicBezTo>
                    <a:pt x="903" y="8800"/>
                    <a:pt x="286" y="10400"/>
                    <a:pt x="1521" y="11200"/>
                  </a:cubicBezTo>
                  <a:cubicBezTo>
                    <a:pt x="4606" y="13600"/>
                    <a:pt x="2138" y="15200"/>
                    <a:pt x="286" y="17600"/>
                  </a:cubicBezTo>
                  <a:cubicBezTo>
                    <a:pt x="-948" y="19200"/>
                    <a:pt x="2138" y="21600"/>
                    <a:pt x="3372" y="21600"/>
                  </a:cubicBezTo>
                  <a:cubicBezTo>
                    <a:pt x="4606" y="21600"/>
                    <a:pt x="5841" y="20000"/>
                    <a:pt x="7075" y="19200"/>
                  </a:cubicBezTo>
                  <a:cubicBezTo>
                    <a:pt x="8926" y="17600"/>
                    <a:pt x="10778" y="16800"/>
                    <a:pt x="12629" y="15200"/>
                  </a:cubicBezTo>
                  <a:cubicBezTo>
                    <a:pt x="13863" y="14400"/>
                    <a:pt x="15098" y="13600"/>
                    <a:pt x="16332" y="12000"/>
                  </a:cubicBezTo>
                  <a:cubicBezTo>
                    <a:pt x="16949" y="10400"/>
                    <a:pt x="16332" y="8800"/>
                    <a:pt x="16949" y="8000"/>
                  </a:cubicBezTo>
                  <a:cubicBezTo>
                    <a:pt x="17566" y="6400"/>
                    <a:pt x="16949" y="8800"/>
                    <a:pt x="16949" y="8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4" name="Shape 2103">
              <a:extLst>
                <a:ext uri="{FF2B5EF4-FFF2-40B4-BE49-F238E27FC236}">
                  <a16:creationId xmlns:a16="http://schemas.microsoft.com/office/drawing/2014/main" id="{95907EC6-C9DD-325D-0007-E9ED3FBED0ED}"/>
                </a:ext>
              </a:extLst>
            </p:cNvPr>
            <p:cNvSpPr/>
            <p:nvPr/>
          </p:nvSpPr>
          <p:spPr>
            <a:xfrm>
              <a:off x="6768170" y="2462005"/>
              <a:ext cx="322198" cy="305273"/>
            </a:xfrm>
            <a:custGeom>
              <a:avLst/>
              <a:gdLst/>
              <a:ahLst/>
              <a:cxnLst>
                <a:cxn ang="0">
                  <a:pos x="wd2" y="hd2"/>
                </a:cxn>
                <a:cxn ang="5400000">
                  <a:pos x="wd2" y="hd2"/>
                </a:cxn>
                <a:cxn ang="10800000">
                  <a:pos x="wd2" y="hd2"/>
                </a:cxn>
                <a:cxn ang="16200000">
                  <a:pos x="wd2" y="hd2"/>
                </a:cxn>
              </a:cxnLst>
              <a:rect l="0" t="0" r="r" b="b"/>
              <a:pathLst>
                <a:path w="21210" h="21255" extrusionOk="0">
                  <a:moveTo>
                    <a:pt x="19914" y="16200"/>
                  </a:moveTo>
                  <a:cubicBezTo>
                    <a:pt x="19914" y="16200"/>
                    <a:pt x="19050" y="15740"/>
                    <a:pt x="19050" y="15281"/>
                  </a:cubicBezTo>
                  <a:cubicBezTo>
                    <a:pt x="19050" y="14821"/>
                    <a:pt x="19482" y="14821"/>
                    <a:pt x="19482" y="14361"/>
                  </a:cubicBezTo>
                  <a:cubicBezTo>
                    <a:pt x="19050" y="13442"/>
                    <a:pt x="18186" y="12983"/>
                    <a:pt x="17322" y="12064"/>
                  </a:cubicBezTo>
                  <a:cubicBezTo>
                    <a:pt x="16890" y="12064"/>
                    <a:pt x="16026" y="11604"/>
                    <a:pt x="16026" y="11144"/>
                  </a:cubicBezTo>
                  <a:cubicBezTo>
                    <a:pt x="15594" y="10225"/>
                    <a:pt x="14730" y="9306"/>
                    <a:pt x="14730" y="7927"/>
                  </a:cubicBezTo>
                  <a:cubicBezTo>
                    <a:pt x="14298" y="7008"/>
                    <a:pt x="16890" y="5170"/>
                    <a:pt x="16026" y="4251"/>
                  </a:cubicBezTo>
                  <a:cubicBezTo>
                    <a:pt x="15162" y="3791"/>
                    <a:pt x="14730" y="3332"/>
                    <a:pt x="14298" y="2412"/>
                  </a:cubicBezTo>
                  <a:cubicBezTo>
                    <a:pt x="13866" y="1953"/>
                    <a:pt x="13866" y="1034"/>
                    <a:pt x="13434" y="574"/>
                  </a:cubicBezTo>
                  <a:cubicBezTo>
                    <a:pt x="13002" y="574"/>
                    <a:pt x="13002" y="1034"/>
                    <a:pt x="12570" y="1034"/>
                  </a:cubicBezTo>
                  <a:cubicBezTo>
                    <a:pt x="11706" y="1034"/>
                    <a:pt x="12138" y="115"/>
                    <a:pt x="11706" y="115"/>
                  </a:cubicBezTo>
                  <a:cubicBezTo>
                    <a:pt x="11274" y="115"/>
                    <a:pt x="10410" y="574"/>
                    <a:pt x="10410" y="574"/>
                  </a:cubicBezTo>
                  <a:cubicBezTo>
                    <a:pt x="9546" y="-345"/>
                    <a:pt x="9114" y="115"/>
                    <a:pt x="8250" y="115"/>
                  </a:cubicBezTo>
                  <a:cubicBezTo>
                    <a:pt x="7386" y="574"/>
                    <a:pt x="7818" y="1034"/>
                    <a:pt x="7386" y="1493"/>
                  </a:cubicBezTo>
                  <a:cubicBezTo>
                    <a:pt x="6522" y="1953"/>
                    <a:pt x="5658" y="1953"/>
                    <a:pt x="5226" y="2872"/>
                  </a:cubicBezTo>
                  <a:cubicBezTo>
                    <a:pt x="4794" y="3791"/>
                    <a:pt x="5658" y="3332"/>
                    <a:pt x="5658" y="4251"/>
                  </a:cubicBezTo>
                  <a:cubicBezTo>
                    <a:pt x="5658" y="4710"/>
                    <a:pt x="5226" y="4710"/>
                    <a:pt x="5226" y="5629"/>
                  </a:cubicBezTo>
                  <a:cubicBezTo>
                    <a:pt x="5226" y="7008"/>
                    <a:pt x="4794" y="7468"/>
                    <a:pt x="3498" y="8387"/>
                  </a:cubicBezTo>
                  <a:cubicBezTo>
                    <a:pt x="2634" y="8846"/>
                    <a:pt x="-390" y="10225"/>
                    <a:pt x="42" y="11144"/>
                  </a:cubicBezTo>
                  <a:cubicBezTo>
                    <a:pt x="474" y="11604"/>
                    <a:pt x="474" y="12983"/>
                    <a:pt x="906" y="13442"/>
                  </a:cubicBezTo>
                  <a:cubicBezTo>
                    <a:pt x="1338" y="13902"/>
                    <a:pt x="3066" y="13902"/>
                    <a:pt x="3498" y="13902"/>
                  </a:cubicBezTo>
                  <a:cubicBezTo>
                    <a:pt x="4794" y="14361"/>
                    <a:pt x="6090" y="15281"/>
                    <a:pt x="7386" y="16200"/>
                  </a:cubicBezTo>
                  <a:cubicBezTo>
                    <a:pt x="9114" y="17578"/>
                    <a:pt x="10410" y="18957"/>
                    <a:pt x="12138" y="20336"/>
                  </a:cubicBezTo>
                  <a:cubicBezTo>
                    <a:pt x="13434" y="21255"/>
                    <a:pt x="14730" y="21255"/>
                    <a:pt x="16026" y="21255"/>
                  </a:cubicBezTo>
                  <a:cubicBezTo>
                    <a:pt x="17322" y="21255"/>
                    <a:pt x="17322" y="19876"/>
                    <a:pt x="18186" y="18957"/>
                  </a:cubicBezTo>
                  <a:cubicBezTo>
                    <a:pt x="19050" y="18038"/>
                    <a:pt x="20778" y="19876"/>
                    <a:pt x="21210" y="19417"/>
                  </a:cubicBezTo>
                  <a:cubicBezTo>
                    <a:pt x="20778" y="18957"/>
                    <a:pt x="20346" y="18498"/>
                    <a:pt x="19914" y="17578"/>
                  </a:cubicBezTo>
                  <a:cubicBezTo>
                    <a:pt x="19914" y="17119"/>
                    <a:pt x="20346" y="16659"/>
                    <a:pt x="19914" y="16200"/>
                  </a:cubicBezTo>
                  <a:cubicBezTo>
                    <a:pt x="19482" y="15740"/>
                    <a:pt x="20346" y="16659"/>
                    <a:pt x="19914"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5" name="Shape 2104">
              <a:extLst>
                <a:ext uri="{FF2B5EF4-FFF2-40B4-BE49-F238E27FC236}">
                  <a16:creationId xmlns:a16="http://schemas.microsoft.com/office/drawing/2014/main" id="{850F82CA-E87D-5CA9-45A7-37778D4A382F}"/>
                </a:ext>
              </a:extLst>
            </p:cNvPr>
            <p:cNvSpPr/>
            <p:nvPr/>
          </p:nvSpPr>
          <p:spPr>
            <a:xfrm>
              <a:off x="6355786" y="2277217"/>
              <a:ext cx="610686" cy="238288"/>
            </a:xfrm>
            <a:custGeom>
              <a:avLst/>
              <a:gdLst/>
              <a:ahLst/>
              <a:cxnLst>
                <a:cxn ang="0">
                  <a:pos x="wd2" y="hd2"/>
                </a:cxn>
                <a:cxn ang="5400000">
                  <a:pos x="wd2" y="hd2"/>
                </a:cxn>
                <a:cxn ang="10800000">
                  <a:pos x="wd2" y="hd2"/>
                </a:cxn>
                <a:cxn ang="16200000">
                  <a:pos x="wd2" y="hd2"/>
                </a:cxn>
              </a:cxnLst>
              <a:rect l="0" t="0" r="r" b="b"/>
              <a:pathLst>
                <a:path w="21113" h="21600" extrusionOk="0">
                  <a:moveTo>
                    <a:pt x="11501" y="21600"/>
                  </a:moveTo>
                  <a:cubicBezTo>
                    <a:pt x="11729" y="21000"/>
                    <a:pt x="11956" y="19800"/>
                    <a:pt x="11956" y="19800"/>
                  </a:cubicBezTo>
                  <a:cubicBezTo>
                    <a:pt x="11729" y="18600"/>
                    <a:pt x="11956" y="18000"/>
                    <a:pt x="12183" y="18600"/>
                  </a:cubicBezTo>
                  <a:cubicBezTo>
                    <a:pt x="12638" y="19200"/>
                    <a:pt x="12865" y="18600"/>
                    <a:pt x="13320" y="18600"/>
                  </a:cubicBezTo>
                  <a:cubicBezTo>
                    <a:pt x="13775" y="18000"/>
                    <a:pt x="13775" y="18000"/>
                    <a:pt x="14230" y="18600"/>
                  </a:cubicBezTo>
                  <a:cubicBezTo>
                    <a:pt x="15139" y="18600"/>
                    <a:pt x="15821" y="17400"/>
                    <a:pt x="16731" y="17400"/>
                  </a:cubicBezTo>
                  <a:cubicBezTo>
                    <a:pt x="17413" y="17400"/>
                    <a:pt x="18322" y="17400"/>
                    <a:pt x="19004" y="16800"/>
                  </a:cubicBezTo>
                  <a:cubicBezTo>
                    <a:pt x="19459" y="16200"/>
                    <a:pt x="19459" y="17400"/>
                    <a:pt x="20141" y="16800"/>
                  </a:cubicBezTo>
                  <a:cubicBezTo>
                    <a:pt x="20596" y="16200"/>
                    <a:pt x="20369" y="17400"/>
                    <a:pt x="20596" y="18000"/>
                  </a:cubicBezTo>
                  <a:cubicBezTo>
                    <a:pt x="20823" y="18600"/>
                    <a:pt x="21278" y="17400"/>
                    <a:pt x="21051" y="16800"/>
                  </a:cubicBezTo>
                  <a:cubicBezTo>
                    <a:pt x="20823" y="16200"/>
                    <a:pt x="21278" y="15000"/>
                    <a:pt x="20596" y="14400"/>
                  </a:cubicBezTo>
                  <a:cubicBezTo>
                    <a:pt x="20369" y="13800"/>
                    <a:pt x="20823" y="13800"/>
                    <a:pt x="20596" y="13200"/>
                  </a:cubicBezTo>
                  <a:cubicBezTo>
                    <a:pt x="20596" y="12000"/>
                    <a:pt x="20369" y="11400"/>
                    <a:pt x="20369" y="10200"/>
                  </a:cubicBezTo>
                  <a:cubicBezTo>
                    <a:pt x="20369" y="9600"/>
                    <a:pt x="20823" y="8400"/>
                    <a:pt x="20823" y="8400"/>
                  </a:cubicBezTo>
                  <a:cubicBezTo>
                    <a:pt x="20596" y="7200"/>
                    <a:pt x="20141" y="6600"/>
                    <a:pt x="19914" y="4800"/>
                  </a:cubicBezTo>
                  <a:cubicBezTo>
                    <a:pt x="19459" y="3000"/>
                    <a:pt x="19459" y="2400"/>
                    <a:pt x="18550" y="1800"/>
                  </a:cubicBezTo>
                  <a:cubicBezTo>
                    <a:pt x="18322" y="1800"/>
                    <a:pt x="18095" y="1800"/>
                    <a:pt x="17867" y="1800"/>
                  </a:cubicBezTo>
                  <a:cubicBezTo>
                    <a:pt x="17413" y="1200"/>
                    <a:pt x="17640" y="1800"/>
                    <a:pt x="17413" y="1800"/>
                  </a:cubicBezTo>
                  <a:cubicBezTo>
                    <a:pt x="16958" y="3000"/>
                    <a:pt x="16503" y="3000"/>
                    <a:pt x="16276" y="3600"/>
                  </a:cubicBezTo>
                  <a:cubicBezTo>
                    <a:pt x="15594" y="4200"/>
                    <a:pt x="14684" y="3600"/>
                    <a:pt x="14002" y="3600"/>
                  </a:cubicBezTo>
                  <a:cubicBezTo>
                    <a:pt x="13547" y="3600"/>
                    <a:pt x="13093" y="3600"/>
                    <a:pt x="12865" y="3600"/>
                  </a:cubicBezTo>
                  <a:cubicBezTo>
                    <a:pt x="12411" y="3000"/>
                    <a:pt x="12411" y="2400"/>
                    <a:pt x="11956" y="2400"/>
                  </a:cubicBezTo>
                  <a:cubicBezTo>
                    <a:pt x="11501" y="2400"/>
                    <a:pt x="11274" y="1800"/>
                    <a:pt x="11046" y="1200"/>
                  </a:cubicBezTo>
                  <a:cubicBezTo>
                    <a:pt x="10819" y="1200"/>
                    <a:pt x="9910" y="0"/>
                    <a:pt x="10137" y="0"/>
                  </a:cubicBezTo>
                  <a:cubicBezTo>
                    <a:pt x="9682" y="600"/>
                    <a:pt x="8545" y="0"/>
                    <a:pt x="8091" y="0"/>
                  </a:cubicBezTo>
                  <a:cubicBezTo>
                    <a:pt x="7409" y="0"/>
                    <a:pt x="6726" y="1800"/>
                    <a:pt x="6272" y="2400"/>
                  </a:cubicBezTo>
                  <a:cubicBezTo>
                    <a:pt x="5590" y="3600"/>
                    <a:pt x="4453" y="2400"/>
                    <a:pt x="3771" y="3000"/>
                  </a:cubicBezTo>
                  <a:cubicBezTo>
                    <a:pt x="3543" y="3000"/>
                    <a:pt x="3316" y="3000"/>
                    <a:pt x="3316" y="3600"/>
                  </a:cubicBezTo>
                  <a:cubicBezTo>
                    <a:pt x="3316" y="3600"/>
                    <a:pt x="3771" y="3600"/>
                    <a:pt x="3771" y="4200"/>
                  </a:cubicBezTo>
                  <a:cubicBezTo>
                    <a:pt x="3771" y="4200"/>
                    <a:pt x="3089" y="4200"/>
                    <a:pt x="3089" y="4800"/>
                  </a:cubicBezTo>
                  <a:cubicBezTo>
                    <a:pt x="3089" y="5400"/>
                    <a:pt x="3089" y="5400"/>
                    <a:pt x="2634" y="5400"/>
                  </a:cubicBezTo>
                  <a:cubicBezTo>
                    <a:pt x="1952" y="5400"/>
                    <a:pt x="1270" y="5400"/>
                    <a:pt x="587" y="5400"/>
                  </a:cubicBezTo>
                  <a:cubicBezTo>
                    <a:pt x="133" y="5400"/>
                    <a:pt x="360" y="6000"/>
                    <a:pt x="360" y="6600"/>
                  </a:cubicBezTo>
                  <a:cubicBezTo>
                    <a:pt x="133" y="7800"/>
                    <a:pt x="-322" y="8400"/>
                    <a:pt x="360" y="9000"/>
                  </a:cubicBezTo>
                  <a:cubicBezTo>
                    <a:pt x="360" y="9000"/>
                    <a:pt x="815" y="8400"/>
                    <a:pt x="815" y="8400"/>
                  </a:cubicBezTo>
                  <a:cubicBezTo>
                    <a:pt x="815" y="9000"/>
                    <a:pt x="360" y="10200"/>
                    <a:pt x="360" y="10200"/>
                  </a:cubicBezTo>
                  <a:cubicBezTo>
                    <a:pt x="587" y="10800"/>
                    <a:pt x="587" y="10200"/>
                    <a:pt x="815" y="10200"/>
                  </a:cubicBezTo>
                  <a:cubicBezTo>
                    <a:pt x="815" y="10200"/>
                    <a:pt x="815" y="11400"/>
                    <a:pt x="815" y="11400"/>
                  </a:cubicBezTo>
                  <a:cubicBezTo>
                    <a:pt x="1270" y="13200"/>
                    <a:pt x="587" y="12000"/>
                    <a:pt x="360" y="12000"/>
                  </a:cubicBezTo>
                  <a:cubicBezTo>
                    <a:pt x="360" y="12000"/>
                    <a:pt x="133" y="13800"/>
                    <a:pt x="587" y="13200"/>
                  </a:cubicBezTo>
                  <a:cubicBezTo>
                    <a:pt x="1042" y="13200"/>
                    <a:pt x="587" y="14400"/>
                    <a:pt x="587" y="15000"/>
                  </a:cubicBezTo>
                  <a:cubicBezTo>
                    <a:pt x="587" y="15600"/>
                    <a:pt x="1270" y="15600"/>
                    <a:pt x="1497" y="16200"/>
                  </a:cubicBezTo>
                  <a:cubicBezTo>
                    <a:pt x="1724" y="16800"/>
                    <a:pt x="1270" y="18000"/>
                    <a:pt x="1270" y="18000"/>
                  </a:cubicBezTo>
                  <a:cubicBezTo>
                    <a:pt x="1497" y="18000"/>
                    <a:pt x="1724" y="16800"/>
                    <a:pt x="1952" y="18000"/>
                  </a:cubicBezTo>
                  <a:cubicBezTo>
                    <a:pt x="1952" y="18600"/>
                    <a:pt x="1497" y="18600"/>
                    <a:pt x="1497" y="18600"/>
                  </a:cubicBezTo>
                  <a:cubicBezTo>
                    <a:pt x="1497" y="18600"/>
                    <a:pt x="1952" y="18600"/>
                    <a:pt x="1952" y="18600"/>
                  </a:cubicBezTo>
                  <a:cubicBezTo>
                    <a:pt x="2179" y="19200"/>
                    <a:pt x="1952" y="19800"/>
                    <a:pt x="1724" y="20400"/>
                  </a:cubicBezTo>
                  <a:cubicBezTo>
                    <a:pt x="1724" y="21000"/>
                    <a:pt x="2179" y="21600"/>
                    <a:pt x="2179" y="21000"/>
                  </a:cubicBezTo>
                  <a:cubicBezTo>
                    <a:pt x="2406" y="20400"/>
                    <a:pt x="2179" y="19200"/>
                    <a:pt x="2406" y="18600"/>
                  </a:cubicBezTo>
                  <a:cubicBezTo>
                    <a:pt x="2634" y="18000"/>
                    <a:pt x="3089" y="19200"/>
                    <a:pt x="3316" y="19200"/>
                  </a:cubicBezTo>
                  <a:cubicBezTo>
                    <a:pt x="3771" y="19800"/>
                    <a:pt x="4225" y="21000"/>
                    <a:pt x="4680" y="19800"/>
                  </a:cubicBezTo>
                  <a:cubicBezTo>
                    <a:pt x="5362" y="19200"/>
                    <a:pt x="4907" y="17400"/>
                    <a:pt x="5817" y="18600"/>
                  </a:cubicBezTo>
                  <a:cubicBezTo>
                    <a:pt x="6272" y="19800"/>
                    <a:pt x="6954" y="21000"/>
                    <a:pt x="7636" y="21000"/>
                  </a:cubicBezTo>
                  <a:cubicBezTo>
                    <a:pt x="8091" y="20400"/>
                    <a:pt x="8773" y="19800"/>
                    <a:pt x="9227" y="19200"/>
                  </a:cubicBezTo>
                  <a:cubicBezTo>
                    <a:pt x="9455" y="18600"/>
                    <a:pt x="9455" y="18000"/>
                    <a:pt x="9682" y="18000"/>
                  </a:cubicBezTo>
                  <a:cubicBezTo>
                    <a:pt x="10137" y="18600"/>
                    <a:pt x="10364" y="19200"/>
                    <a:pt x="10592" y="18600"/>
                  </a:cubicBezTo>
                  <a:cubicBezTo>
                    <a:pt x="11274" y="18000"/>
                    <a:pt x="11274" y="18600"/>
                    <a:pt x="11046" y="19800"/>
                  </a:cubicBezTo>
                  <a:cubicBezTo>
                    <a:pt x="11046" y="20400"/>
                    <a:pt x="11501" y="20400"/>
                    <a:pt x="11046" y="21000"/>
                  </a:cubicBezTo>
                  <a:cubicBezTo>
                    <a:pt x="11274" y="21600"/>
                    <a:pt x="11274" y="21600"/>
                    <a:pt x="11501" y="21600"/>
                  </a:cubicBezTo>
                  <a:cubicBezTo>
                    <a:pt x="11729" y="21000"/>
                    <a:pt x="11274" y="21600"/>
                    <a:pt x="11501"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6" name="Shape 2105">
              <a:extLst>
                <a:ext uri="{FF2B5EF4-FFF2-40B4-BE49-F238E27FC236}">
                  <a16:creationId xmlns:a16="http://schemas.microsoft.com/office/drawing/2014/main" id="{B3B45BBB-FCE8-93D6-37BB-EB12A691E112}"/>
                </a:ext>
              </a:extLst>
            </p:cNvPr>
            <p:cNvSpPr/>
            <p:nvPr/>
          </p:nvSpPr>
          <p:spPr>
            <a:xfrm>
              <a:off x="6633654" y="2656533"/>
              <a:ext cx="688196" cy="553603"/>
            </a:xfrm>
            <a:custGeom>
              <a:avLst/>
              <a:gdLst/>
              <a:ahLst/>
              <a:cxnLst>
                <a:cxn ang="0">
                  <a:pos x="wd2" y="hd2"/>
                </a:cxn>
                <a:cxn ang="5400000">
                  <a:pos x="wd2" y="hd2"/>
                </a:cxn>
                <a:cxn ang="10800000">
                  <a:pos x="wd2" y="hd2"/>
                </a:cxn>
                <a:cxn ang="16200000">
                  <a:pos x="wd2" y="hd2"/>
                </a:cxn>
              </a:cxnLst>
              <a:rect l="0" t="0" r="r" b="b"/>
              <a:pathLst>
                <a:path w="21475" h="21536" extrusionOk="0">
                  <a:moveTo>
                    <a:pt x="13246" y="5079"/>
                  </a:moveTo>
                  <a:cubicBezTo>
                    <a:pt x="13041" y="4307"/>
                    <a:pt x="13041" y="4307"/>
                    <a:pt x="12424" y="4307"/>
                  </a:cubicBezTo>
                  <a:cubicBezTo>
                    <a:pt x="11806" y="4307"/>
                    <a:pt x="11189" y="4307"/>
                    <a:pt x="10572" y="4307"/>
                  </a:cubicBezTo>
                  <a:cubicBezTo>
                    <a:pt x="10161" y="4307"/>
                    <a:pt x="9955" y="3793"/>
                    <a:pt x="9749" y="3793"/>
                  </a:cubicBezTo>
                  <a:cubicBezTo>
                    <a:pt x="9132" y="3022"/>
                    <a:pt x="8515" y="2507"/>
                    <a:pt x="8104" y="1993"/>
                  </a:cubicBezTo>
                  <a:cubicBezTo>
                    <a:pt x="7281" y="1222"/>
                    <a:pt x="6458" y="450"/>
                    <a:pt x="5429" y="193"/>
                  </a:cubicBezTo>
                  <a:cubicBezTo>
                    <a:pt x="5018" y="-64"/>
                    <a:pt x="4812" y="-64"/>
                    <a:pt x="4195" y="193"/>
                  </a:cubicBezTo>
                  <a:cubicBezTo>
                    <a:pt x="3784" y="193"/>
                    <a:pt x="3166" y="450"/>
                    <a:pt x="2549" y="707"/>
                  </a:cubicBezTo>
                  <a:cubicBezTo>
                    <a:pt x="2755" y="1222"/>
                    <a:pt x="3372" y="1736"/>
                    <a:pt x="3372" y="2250"/>
                  </a:cubicBezTo>
                  <a:cubicBezTo>
                    <a:pt x="3372" y="2765"/>
                    <a:pt x="2755" y="3022"/>
                    <a:pt x="2549" y="3022"/>
                  </a:cubicBezTo>
                  <a:cubicBezTo>
                    <a:pt x="2344" y="3279"/>
                    <a:pt x="2138" y="3022"/>
                    <a:pt x="1932" y="3022"/>
                  </a:cubicBezTo>
                  <a:cubicBezTo>
                    <a:pt x="1726" y="3279"/>
                    <a:pt x="1726" y="3536"/>
                    <a:pt x="1726" y="3536"/>
                  </a:cubicBezTo>
                  <a:cubicBezTo>
                    <a:pt x="1315" y="4307"/>
                    <a:pt x="492" y="3793"/>
                    <a:pt x="286" y="3536"/>
                  </a:cubicBezTo>
                  <a:cubicBezTo>
                    <a:pt x="81" y="4050"/>
                    <a:pt x="81" y="4307"/>
                    <a:pt x="81" y="4822"/>
                  </a:cubicBezTo>
                  <a:cubicBezTo>
                    <a:pt x="-125" y="5593"/>
                    <a:pt x="81" y="5336"/>
                    <a:pt x="492" y="5593"/>
                  </a:cubicBezTo>
                  <a:cubicBezTo>
                    <a:pt x="904" y="6107"/>
                    <a:pt x="1315" y="7136"/>
                    <a:pt x="1521" y="7907"/>
                  </a:cubicBezTo>
                  <a:cubicBezTo>
                    <a:pt x="1932" y="8422"/>
                    <a:pt x="2138" y="8936"/>
                    <a:pt x="2344" y="9707"/>
                  </a:cubicBezTo>
                  <a:cubicBezTo>
                    <a:pt x="2549" y="10222"/>
                    <a:pt x="2755" y="10479"/>
                    <a:pt x="2961" y="10736"/>
                  </a:cubicBezTo>
                  <a:cubicBezTo>
                    <a:pt x="3372" y="11250"/>
                    <a:pt x="3784" y="11250"/>
                    <a:pt x="3989" y="11765"/>
                  </a:cubicBezTo>
                  <a:cubicBezTo>
                    <a:pt x="4195" y="12279"/>
                    <a:pt x="4401" y="12793"/>
                    <a:pt x="4401" y="13565"/>
                  </a:cubicBezTo>
                  <a:cubicBezTo>
                    <a:pt x="4606" y="14079"/>
                    <a:pt x="4401" y="14593"/>
                    <a:pt x="4606" y="15107"/>
                  </a:cubicBezTo>
                  <a:cubicBezTo>
                    <a:pt x="5018" y="16136"/>
                    <a:pt x="5841" y="16393"/>
                    <a:pt x="6252" y="17165"/>
                  </a:cubicBezTo>
                  <a:cubicBezTo>
                    <a:pt x="6664" y="17936"/>
                    <a:pt x="6869" y="18965"/>
                    <a:pt x="7281" y="19479"/>
                  </a:cubicBezTo>
                  <a:cubicBezTo>
                    <a:pt x="7486" y="19993"/>
                    <a:pt x="7898" y="20507"/>
                    <a:pt x="8104" y="20765"/>
                  </a:cubicBezTo>
                  <a:cubicBezTo>
                    <a:pt x="8104" y="21022"/>
                    <a:pt x="8104" y="21536"/>
                    <a:pt x="8309" y="21536"/>
                  </a:cubicBezTo>
                  <a:cubicBezTo>
                    <a:pt x="8721" y="21536"/>
                    <a:pt x="8515" y="21022"/>
                    <a:pt x="8721" y="20765"/>
                  </a:cubicBezTo>
                  <a:cubicBezTo>
                    <a:pt x="8721" y="19993"/>
                    <a:pt x="9749" y="20250"/>
                    <a:pt x="10161" y="20250"/>
                  </a:cubicBezTo>
                  <a:cubicBezTo>
                    <a:pt x="10778" y="20250"/>
                    <a:pt x="11806" y="19993"/>
                    <a:pt x="12218" y="20507"/>
                  </a:cubicBezTo>
                  <a:cubicBezTo>
                    <a:pt x="12835" y="20765"/>
                    <a:pt x="13041" y="20250"/>
                    <a:pt x="13452" y="19736"/>
                  </a:cubicBezTo>
                  <a:cubicBezTo>
                    <a:pt x="14069" y="18707"/>
                    <a:pt x="14686" y="18707"/>
                    <a:pt x="15509" y="18450"/>
                  </a:cubicBezTo>
                  <a:cubicBezTo>
                    <a:pt x="16744" y="18450"/>
                    <a:pt x="17978" y="17936"/>
                    <a:pt x="19212" y="17422"/>
                  </a:cubicBezTo>
                  <a:cubicBezTo>
                    <a:pt x="19624" y="17165"/>
                    <a:pt x="20241" y="16907"/>
                    <a:pt x="20858" y="16907"/>
                  </a:cubicBezTo>
                  <a:cubicBezTo>
                    <a:pt x="21064" y="16650"/>
                    <a:pt x="21064" y="16136"/>
                    <a:pt x="21269" y="15622"/>
                  </a:cubicBezTo>
                  <a:cubicBezTo>
                    <a:pt x="21269" y="15365"/>
                    <a:pt x="21475" y="14850"/>
                    <a:pt x="21475" y="14336"/>
                  </a:cubicBezTo>
                  <a:cubicBezTo>
                    <a:pt x="21475" y="14079"/>
                    <a:pt x="21269" y="13307"/>
                    <a:pt x="21064" y="13050"/>
                  </a:cubicBezTo>
                  <a:cubicBezTo>
                    <a:pt x="20446" y="13050"/>
                    <a:pt x="19624" y="13050"/>
                    <a:pt x="19006" y="12793"/>
                  </a:cubicBezTo>
                  <a:cubicBezTo>
                    <a:pt x="18389" y="12793"/>
                    <a:pt x="18389" y="12536"/>
                    <a:pt x="17978" y="12022"/>
                  </a:cubicBezTo>
                  <a:cubicBezTo>
                    <a:pt x="17566" y="10993"/>
                    <a:pt x="16949" y="10736"/>
                    <a:pt x="16538" y="9965"/>
                  </a:cubicBezTo>
                  <a:cubicBezTo>
                    <a:pt x="16332" y="9965"/>
                    <a:pt x="15921" y="8936"/>
                    <a:pt x="15715" y="8679"/>
                  </a:cubicBezTo>
                  <a:cubicBezTo>
                    <a:pt x="15509" y="8165"/>
                    <a:pt x="16538" y="7907"/>
                    <a:pt x="15715" y="7393"/>
                  </a:cubicBezTo>
                  <a:cubicBezTo>
                    <a:pt x="15509" y="7393"/>
                    <a:pt x="15304" y="6879"/>
                    <a:pt x="15098" y="6879"/>
                  </a:cubicBezTo>
                  <a:cubicBezTo>
                    <a:pt x="14686" y="6879"/>
                    <a:pt x="14481" y="6107"/>
                    <a:pt x="14275" y="5593"/>
                  </a:cubicBezTo>
                  <a:cubicBezTo>
                    <a:pt x="14069" y="4822"/>
                    <a:pt x="14069" y="5079"/>
                    <a:pt x="13246" y="507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7" name="Shape 2106">
              <a:extLst>
                <a:ext uri="{FF2B5EF4-FFF2-40B4-BE49-F238E27FC236}">
                  <a16:creationId xmlns:a16="http://schemas.microsoft.com/office/drawing/2014/main" id="{8B72F987-7E42-EC3E-86AC-2A0EB9F229FC}"/>
                </a:ext>
              </a:extLst>
            </p:cNvPr>
            <p:cNvSpPr/>
            <p:nvPr/>
          </p:nvSpPr>
          <p:spPr>
            <a:xfrm>
              <a:off x="6643134" y="2614414"/>
              <a:ext cx="137093" cy="146120"/>
            </a:xfrm>
            <a:custGeom>
              <a:avLst/>
              <a:gdLst/>
              <a:ahLst/>
              <a:cxnLst>
                <a:cxn ang="0">
                  <a:pos x="wd2" y="hd2"/>
                </a:cxn>
                <a:cxn ang="5400000">
                  <a:pos x="wd2" y="hd2"/>
                </a:cxn>
                <a:cxn ang="10800000">
                  <a:pos x="wd2" y="hd2"/>
                </a:cxn>
                <a:cxn ang="16200000">
                  <a:pos x="wd2" y="hd2"/>
                </a:cxn>
              </a:cxnLst>
              <a:rect l="0" t="0" r="r" b="b"/>
              <a:pathLst>
                <a:path w="21600" h="21600" extrusionOk="0">
                  <a:moveTo>
                    <a:pt x="5143" y="21600"/>
                  </a:moveTo>
                  <a:cubicBezTo>
                    <a:pt x="7200" y="21600"/>
                    <a:pt x="7200" y="18655"/>
                    <a:pt x="8229" y="18655"/>
                  </a:cubicBezTo>
                  <a:cubicBezTo>
                    <a:pt x="9257" y="16691"/>
                    <a:pt x="11314" y="17673"/>
                    <a:pt x="12343" y="17673"/>
                  </a:cubicBezTo>
                  <a:cubicBezTo>
                    <a:pt x="13371" y="16691"/>
                    <a:pt x="16457" y="15709"/>
                    <a:pt x="15429" y="14727"/>
                  </a:cubicBezTo>
                  <a:cubicBezTo>
                    <a:pt x="14400" y="12764"/>
                    <a:pt x="13371" y="10800"/>
                    <a:pt x="11314" y="8836"/>
                  </a:cubicBezTo>
                  <a:cubicBezTo>
                    <a:pt x="15429" y="7855"/>
                    <a:pt x="18514" y="6873"/>
                    <a:pt x="21600" y="5891"/>
                  </a:cubicBezTo>
                  <a:cubicBezTo>
                    <a:pt x="21600" y="3927"/>
                    <a:pt x="20571" y="1964"/>
                    <a:pt x="19543" y="0"/>
                  </a:cubicBezTo>
                  <a:cubicBezTo>
                    <a:pt x="16457" y="982"/>
                    <a:pt x="12343" y="4909"/>
                    <a:pt x="9257" y="4909"/>
                  </a:cubicBezTo>
                  <a:cubicBezTo>
                    <a:pt x="7200" y="4909"/>
                    <a:pt x="4114" y="2945"/>
                    <a:pt x="4114" y="982"/>
                  </a:cubicBezTo>
                  <a:cubicBezTo>
                    <a:pt x="3086" y="4909"/>
                    <a:pt x="3086" y="7855"/>
                    <a:pt x="3086" y="10800"/>
                  </a:cubicBezTo>
                  <a:cubicBezTo>
                    <a:pt x="2057" y="12764"/>
                    <a:pt x="0" y="15709"/>
                    <a:pt x="0" y="17673"/>
                  </a:cubicBezTo>
                  <a:cubicBezTo>
                    <a:pt x="0" y="19636"/>
                    <a:pt x="0" y="19636"/>
                    <a:pt x="1029" y="20618"/>
                  </a:cubicBezTo>
                  <a:cubicBezTo>
                    <a:pt x="3086" y="20618"/>
                    <a:pt x="4114" y="21600"/>
                    <a:pt x="5143"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8" name="Shape 2107">
              <a:extLst>
                <a:ext uri="{FF2B5EF4-FFF2-40B4-BE49-F238E27FC236}">
                  <a16:creationId xmlns:a16="http://schemas.microsoft.com/office/drawing/2014/main" id="{54A06884-C813-E996-F3C8-327F0E53413C}"/>
                </a:ext>
              </a:extLst>
            </p:cNvPr>
            <p:cNvSpPr/>
            <p:nvPr/>
          </p:nvSpPr>
          <p:spPr>
            <a:xfrm>
              <a:off x="6649875" y="2562713"/>
              <a:ext cx="46531" cy="54843"/>
            </a:xfrm>
            <a:custGeom>
              <a:avLst/>
              <a:gdLst/>
              <a:ahLst/>
              <a:cxnLst>
                <a:cxn ang="0">
                  <a:pos x="wd2" y="hd2"/>
                </a:cxn>
                <a:cxn ang="5400000">
                  <a:pos x="wd2" y="hd2"/>
                </a:cxn>
                <a:cxn ang="10800000">
                  <a:pos x="wd2" y="hd2"/>
                </a:cxn>
                <a:cxn ang="16200000">
                  <a:pos x="wd2" y="hd2"/>
                </a:cxn>
              </a:cxnLst>
              <a:rect l="0" t="0" r="r" b="b"/>
              <a:pathLst>
                <a:path w="19443" h="20267" extrusionOk="0">
                  <a:moveTo>
                    <a:pt x="18900" y="4800"/>
                  </a:moveTo>
                  <a:cubicBezTo>
                    <a:pt x="18900" y="2400"/>
                    <a:pt x="13500" y="0"/>
                    <a:pt x="10800" y="0"/>
                  </a:cubicBezTo>
                  <a:cubicBezTo>
                    <a:pt x="8100" y="2400"/>
                    <a:pt x="8100" y="2400"/>
                    <a:pt x="5400" y="4800"/>
                  </a:cubicBezTo>
                  <a:cubicBezTo>
                    <a:pt x="5400" y="9600"/>
                    <a:pt x="2700" y="14400"/>
                    <a:pt x="0" y="19200"/>
                  </a:cubicBezTo>
                  <a:cubicBezTo>
                    <a:pt x="5400" y="19200"/>
                    <a:pt x="5400" y="21600"/>
                    <a:pt x="10800" y="19200"/>
                  </a:cubicBezTo>
                  <a:cubicBezTo>
                    <a:pt x="13500" y="16800"/>
                    <a:pt x="21600" y="9600"/>
                    <a:pt x="18900" y="4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9" name="Shape 2108">
              <a:extLst>
                <a:ext uri="{FF2B5EF4-FFF2-40B4-BE49-F238E27FC236}">
                  <a16:creationId xmlns:a16="http://schemas.microsoft.com/office/drawing/2014/main" id="{E83CF881-B35C-ABEF-DB4C-E10A0F61AF3E}"/>
                </a:ext>
              </a:extLst>
            </p:cNvPr>
            <p:cNvSpPr/>
            <p:nvPr/>
          </p:nvSpPr>
          <p:spPr>
            <a:xfrm>
              <a:off x="6643134" y="2641393"/>
              <a:ext cx="20229" cy="47208"/>
            </a:xfrm>
            <a:custGeom>
              <a:avLst/>
              <a:gdLst/>
              <a:ahLst/>
              <a:cxnLst>
                <a:cxn ang="0">
                  <a:pos x="wd2" y="hd2"/>
                </a:cxn>
                <a:cxn ang="5400000">
                  <a:pos x="wd2" y="hd2"/>
                </a:cxn>
                <a:cxn ang="10800000">
                  <a:pos x="wd2" y="hd2"/>
                </a:cxn>
                <a:cxn ang="16200000">
                  <a:pos x="wd2" y="hd2"/>
                </a:cxn>
              </a:cxnLst>
              <a:rect l="0" t="0" r="r" b="b"/>
              <a:pathLst>
                <a:path w="21600" h="21600" extrusionOk="0">
                  <a:moveTo>
                    <a:pt x="0" y="9257"/>
                  </a:moveTo>
                  <a:cubicBezTo>
                    <a:pt x="0" y="15429"/>
                    <a:pt x="7200" y="18514"/>
                    <a:pt x="21600" y="21600"/>
                  </a:cubicBezTo>
                  <a:cubicBezTo>
                    <a:pt x="21600" y="15429"/>
                    <a:pt x="21600" y="9257"/>
                    <a:pt x="21600" y="3086"/>
                  </a:cubicBezTo>
                  <a:cubicBezTo>
                    <a:pt x="21600" y="0"/>
                    <a:pt x="21600" y="0"/>
                    <a:pt x="14400" y="0"/>
                  </a:cubicBezTo>
                  <a:cubicBezTo>
                    <a:pt x="0" y="0"/>
                    <a:pt x="0" y="6171"/>
                    <a:pt x="0" y="92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0" name="Shape 2109">
              <a:extLst>
                <a:ext uri="{FF2B5EF4-FFF2-40B4-BE49-F238E27FC236}">
                  <a16:creationId xmlns:a16="http://schemas.microsoft.com/office/drawing/2014/main" id="{881FCADA-C997-7613-A120-3596AF0CAE5C}"/>
                </a:ext>
              </a:extLst>
            </p:cNvPr>
            <p:cNvSpPr/>
            <p:nvPr/>
          </p:nvSpPr>
          <p:spPr>
            <a:xfrm>
              <a:off x="6616167" y="2614414"/>
              <a:ext cx="51624" cy="173097"/>
            </a:xfrm>
            <a:custGeom>
              <a:avLst/>
              <a:gdLst/>
              <a:ahLst/>
              <a:cxnLst>
                <a:cxn ang="0">
                  <a:pos x="wd2" y="hd2"/>
                </a:cxn>
                <a:cxn ang="5400000">
                  <a:pos x="wd2" y="hd2"/>
                </a:cxn>
                <a:cxn ang="10800000">
                  <a:pos x="wd2" y="hd2"/>
                </a:cxn>
                <a:cxn ang="16200000">
                  <a:pos x="wd2" y="hd2"/>
                </a:cxn>
              </a:cxnLst>
              <a:rect l="0" t="0" r="r" b="b"/>
              <a:pathLst>
                <a:path w="20674" h="21600" extrusionOk="0">
                  <a:moveTo>
                    <a:pt x="10800" y="14123"/>
                  </a:moveTo>
                  <a:cubicBezTo>
                    <a:pt x="10800" y="13292"/>
                    <a:pt x="13500" y="12462"/>
                    <a:pt x="16200" y="10800"/>
                  </a:cubicBezTo>
                  <a:cubicBezTo>
                    <a:pt x="18900" y="9138"/>
                    <a:pt x="16200" y="9969"/>
                    <a:pt x="13500" y="8308"/>
                  </a:cubicBezTo>
                  <a:cubicBezTo>
                    <a:pt x="8100" y="6646"/>
                    <a:pt x="10800" y="2492"/>
                    <a:pt x="18900" y="3323"/>
                  </a:cubicBezTo>
                  <a:cubicBezTo>
                    <a:pt x="21600" y="831"/>
                    <a:pt x="21600" y="831"/>
                    <a:pt x="16200" y="0"/>
                  </a:cubicBezTo>
                  <a:cubicBezTo>
                    <a:pt x="10800" y="0"/>
                    <a:pt x="8100" y="4154"/>
                    <a:pt x="5400" y="5815"/>
                  </a:cubicBezTo>
                  <a:cubicBezTo>
                    <a:pt x="2700" y="6646"/>
                    <a:pt x="0" y="7477"/>
                    <a:pt x="0" y="9138"/>
                  </a:cubicBezTo>
                  <a:cubicBezTo>
                    <a:pt x="0" y="9969"/>
                    <a:pt x="2700" y="11631"/>
                    <a:pt x="2700" y="13292"/>
                  </a:cubicBezTo>
                  <a:cubicBezTo>
                    <a:pt x="2700" y="15785"/>
                    <a:pt x="5400" y="18277"/>
                    <a:pt x="5400" y="21600"/>
                  </a:cubicBezTo>
                  <a:cubicBezTo>
                    <a:pt x="5400" y="20769"/>
                    <a:pt x="5400" y="20769"/>
                    <a:pt x="5400" y="20769"/>
                  </a:cubicBezTo>
                  <a:cubicBezTo>
                    <a:pt x="8100" y="19108"/>
                    <a:pt x="8100" y="16615"/>
                    <a:pt x="10800" y="14123"/>
                  </a:cubicBezTo>
                  <a:cubicBezTo>
                    <a:pt x="10800" y="13292"/>
                    <a:pt x="10800" y="14954"/>
                    <a:pt x="10800" y="1412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1" name="Shape 2110">
              <a:extLst>
                <a:ext uri="{FF2B5EF4-FFF2-40B4-BE49-F238E27FC236}">
                  <a16:creationId xmlns:a16="http://schemas.microsoft.com/office/drawing/2014/main" id="{1C1CEB3E-7CC4-A4A7-E206-237D7008FCFC}"/>
                </a:ext>
              </a:extLst>
            </p:cNvPr>
            <p:cNvSpPr/>
            <p:nvPr/>
          </p:nvSpPr>
          <p:spPr>
            <a:xfrm>
              <a:off x="7162286" y="2872933"/>
              <a:ext cx="24630" cy="51706"/>
            </a:xfrm>
            <a:custGeom>
              <a:avLst/>
              <a:gdLst/>
              <a:ahLst/>
              <a:cxnLst>
                <a:cxn ang="0">
                  <a:pos x="wd2" y="hd2"/>
                </a:cxn>
                <a:cxn ang="5400000">
                  <a:pos x="wd2" y="hd2"/>
                </a:cxn>
                <a:cxn ang="10800000">
                  <a:pos x="wd2" y="hd2"/>
                </a:cxn>
                <a:cxn ang="16200000">
                  <a:pos x="wd2" y="hd2"/>
                </a:cxn>
              </a:cxnLst>
              <a:rect l="0" t="0" r="r" b="b"/>
              <a:pathLst>
                <a:path w="15781" h="21600" extrusionOk="0">
                  <a:moveTo>
                    <a:pt x="12960" y="21600"/>
                  </a:moveTo>
                  <a:cubicBezTo>
                    <a:pt x="12960" y="18900"/>
                    <a:pt x="21600" y="0"/>
                    <a:pt x="8640" y="0"/>
                  </a:cubicBezTo>
                  <a:cubicBezTo>
                    <a:pt x="4320" y="2700"/>
                    <a:pt x="0" y="8100"/>
                    <a:pt x="0" y="10800"/>
                  </a:cubicBezTo>
                  <a:cubicBezTo>
                    <a:pt x="0" y="16200"/>
                    <a:pt x="4320" y="18900"/>
                    <a:pt x="12960" y="21600"/>
                  </a:cubicBezTo>
                  <a:cubicBezTo>
                    <a:pt x="12960" y="21600"/>
                    <a:pt x="8640" y="21600"/>
                    <a:pt x="1296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2" name="Shape 2111">
              <a:extLst>
                <a:ext uri="{FF2B5EF4-FFF2-40B4-BE49-F238E27FC236}">
                  <a16:creationId xmlns:a16="http://schemas.microsoft.com/office/drawing/2014/main" id="{AB386084-8769-03E5-4091-56AF6103C37A}"/>
                </a:ext>
              </a:extLst>
            </p:cNvPr>
            <p:cNvSpPr/>
            <p:nvPr/>
          </p:nvSpPr>
          <p:spPr>
            <a:xfrm>
              <a:off x="6894251" y="3117967"/>
              <a:ext cx="343197" cy="217021"/>
            </a:xfrm>
            <a:custGeom>
              <a:avLst/>
              <a:gdLst/>
              <a:ahLst/>
              <a:cxnLst>
                <a:cxn ang="0">
                  <a:pos x="wd2" y="hd2"/>
                </a:cxn>
                <a:cxn ang="5400000">
                  <a:pos x="wd2" y="hd2"/>
                </a:cxn>
                <a:cxn ang="10800000">
                  <a:pos x="wd2" y="hd2"/>
                </a:cxn>
                <a:cxn ang="16200000">
                  <a:pos x="wd2" y="hd2"/>
                </a:cxn>
              </a:cxnLst>
              <a:rect l="0" t="0" r="r" b="b"/>
              <a:pathLst>
                <a:path w="21144" h="21063" extrusionOk="0">
                  <a:moveTo>
                    <a:pt x="19053" y="0"/>
                  </a:moveTo>
                  <a:cubicBezTo>
                    <a:pt x="17830" y="635"/>
                    <a:pt x="16607" y="1271"/>
                    <a:pt x="15385" y="1271"/>
                  </a:cubicBezTo>
                  <a:cubicBezTo>
                    <a:pt x="14162" y="1906"/>
                    <a:pt x="12532" y="1271"/>
                    <a:pt x="11309" y="2541"/>
                  </a:cubicBezTo>
                  <a:cubicBezTo>
                    <a:pt x="10494" y="3812"/>
                    <a:pt x="10087" y="5082"/>
                    <a:pt x="9272" y="6353"/>
                  </a:cubicBezTo>
                  <a:cubicBezTo>
                    <a:pt x="8864" y="6988"/>
                    <a:pt x="7641" y="5718"/>
                    <a:pt x="6826" y="5718"/>
                  </a:cubicBezTo>
                  <a:cubicBezTo>
                    <a:pt x="5604" y="5718"/>
                    <a:pt x="4789" y="5718"/>
                    <a:pt x="3566" y="5718"/>
                  </a:cubicBezTo>
                  <a:cubicBezTo>
                    <a:pt x="2343" y="5718"/>
                    <a:pt x="1121" y="5082"/>
                    <a:pt x="1121" y="7624"/>
                  </a:cubicBezTo>
                  <a:cubicBezTo>
                    <a:pt x="713" y="8894"/>
                    <a:pt x="306" y="8259"/>
                    <a:pt x="306" y="9529"/>
                  </a:cubicBezTo>
                  <a:cubicBezTo>
                    <a:pt x="-102" y="10800"/>
                    <a:pt x="-102" y="12071"/>
                    <a:pt x="306" y="13341"/>
                  </a:cubicBezTo>
                  <a:cubicBezTo>
                    <a:pt x="306" y="14612"/>
                    <a:pt x="713" y="16518"/>
                    <a:pt x="1121" y="17788"/>
                  </a:cubicBezTo>
                  <a:cubicBezTo>
                    <a:pt x="1121" y="18424"/>
                    <a:pt x="1121" y="19694"/>
                    <a:pt x="1528" y="20329"/>
                  </a:cubicBezTo>
                  <a:cubicBezTo>
                    <a:pt x="1936" y="21600"/>
                    <a:pt x="3973" y="20965"/>
                    <a:pt x="4789" y="20329"/>
                  </a:cubicBezTo>
                  <a:cubicBezTo>
                    <a:pt x="5196" y="19694"/>
                    <a:pt x="5604" y="19059"/>
                    <a:pt x="6419" y="18424"/>
                  </a:cubicBezTo>
                  <a:cubicBezTo>
                    <a:pt x="6826" y="18424"/>
                    <a:pt x="7641" y="18424"/>
                    <a:pt x="8456" y="18424"/>
                  </a:cubicBezTo>
                  <a:cubicBezTo>
                    <a:pt x="8864" y="17788"/>
                    <a:pt x="9272" y="17153"/>
                    <a:pt x="9679" y="16518"/>
                  </a:cubicBezTo>
                  <a:cubicBezTo>
                    <a:pt x="10902" y="15882"/>
                    <a:pt x="11717" y="15882"/>
                    <a:pt x="12940" y="15247"/>
                  </a:cubicBezTo>
                  <a:cubicBezTo>
                    <a:pt x="14162" y="14612"/>
                    <a:pt x="15385" y="13976"/>
                    <a:pt x="16607" y="13341"/>
                  </a:cubicBezTo>
                  <a:cubicBezTo>
                    <a:pt x="17423" y="12706"/>
                    <a:pt x="19053" y="12071"/>
                    <a:pt x="19053" y="10800"/>
                  </a:cubicBezTo>
                  <a:cubicBezTo>
                    <a:pt x="19460" y="8894"/>
                    <a:pt x="21498" y="8894"/>
                    <a:pt x="21090" y="7624"/>
                  </a:cubicBezTo>
                  <a:cubicBezTo>
                    <a:pt x="20275" y="5082"/>
                    <a:pt x="19868" y="2541"/>
                    <a:pt x="1905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3" name="Shape 2112">
              <a:extLst>
                <a:ext uri="{FF2B5EF4-FFF2-40B4-BE49-F238E27FC236}">
                  <a16:creationId xmlns:a16="http://schemas.microsoft.com/office/drawing/2014/main" id="{8C10099E-1135-59AC-F43E-D226351D87FB}"/>
                </a:ext>
              </a:extLst>
            </p:cNvPr>
            <p:cNvSpPr/>
            <p:nvPr/>
          </p:nvSpPr>
          <p:spPr>
            <a:xfrm>
              <a:off x="7202737" y="2872933"/>
              <a:ext cx="260959" cy="323713"/>
            </a:xfrm>
            <a:custGeom>
              <a:avLst/>
              <a:gdLst/>
              <a:ahLst/>
              <a:cxnLst>
                <a:cxn ang="0">
                  <a:pos x="wd2" y="hd2"/>
                </a:cxn>
                <a:cxn ang="5400000">
                  <a:pos x="wd2" y="hd2"/>
                </a:cxn>
                <a:cxn ang="10800000">
                  <a:pos x="wd2" y="hd2"/>
                </a:cxn>
                <a:cxn ang="16200000">
                  <a:pos x="wd2" y="hd2"/>
                </a:cxn>
              </a:cxnLst>
              <a:rect l="0" t="0" r="r" b="b"/>
              <a:pathLst>
                <a:path w="20901" h="21600" extrusionOk="0">
                  <a:moveTo>
                    <a:pt x="20546" y="8376"/>
                  </a:moveTo>
                  <a:cubicBezTo>
                    <a:pt x="18966" y="8376"/>
                    <a:pt x="18439" y="7053"/>
                    <a:pt x="17912" y="6171"/>
                  </a:cubicBezTo>
                  <a:cubicBezTo>
                    <a:pt x="17385" y="5731"/>
                    <a:pt x="15278" y="5731"/>
                    <a:pt x="14751" y="5290"/>
                  </a:cubicBezTo>
                  <a:cubicBezTo>
                    <a:pt x="13171" y="4849"/>
                    <a:pt x="12644" y="3967"/>
                    <a:pt x="11590" y="2645"/>
                  </a:cubicBezTo>
                  <a:cubicBezTo>
                    <a:pt x="11590" y="2204"/>
                    <a:pt x="11063" y="1763"/>
                    <a:pt x="11063" y="1322"/>
                  </a:cubicBezTo>
                  <a:cubicBezTo>
                    <a:pt x="11063" y="1322"/>
                    <a:pt x="11590" y="0"/>
                    <a:pt x="11590" y="0"/>
                  </a:cubicBezTo>
                  <a:cubicBezTo>
                    <a:pt x="11063" y="0"/>
                    <a:pt x="9483" y="1763"/>
                    <a:pt x="8956" y="2204"/>
                  </a:cubicBezTo>
                  <a:cubicBezTo>
                    <a:pt x="7902" y="3086"/>
                    <a:pt x="6849" y="4408"/>
                    <a:pt x="5268" y="4408"/>
                  </a:cubicBezTo>
                  <a:cubicBezTo>
                    <a:pt x="4215" y="4849"/>
                    <a:pt x="3688" y="4408"/>
                    <a:pt x="2634" y="4408"/>
                  </a:cubicBezTo>
                  <a:cubicBezTo>
                    <a:pt x="1580" y="4849"/>
                    <a:pt x="527" y="5731"/>
                    <a:pt x="0" y="4849"/>
                  </a:cubicBezTo>
                  <a:cubicBezTo>
                    <a:pt x="527" y="6171"/>
                    <a:pt x="1054" y="7494"/>
                    <a:pt x="2634" y="7494"/>
                  </a:cubicBezTo>
                  <a:cubicBezTo>
                    <a:pt x="3688" y="7494"/>
                    <a:pt x="7902" y="7494"/>
                    <a:pt x="8429" y="8376"/>
                  </a:cubicBezTo>
                  <a:cubicBezTo>
                    <a:pt x="10010" y="10139"/>
                    <a:pt x="8956" y="11902"/>
                    <a:pt x="8429" y="14106"/>
                  </a:cubicBezTo>
                  <a:cubicBezTo>
                    <a:pt x="7902" y="14547"/>
                    <a:pt x="5795" y="14988"/>
                    <a:pt x="5795" y="14988"/>
                  </a:cubicBezTo>
                  <a:cubicBezTo>
                    <a:pt x="3688" y="15429"/>
                    <a:pt x="1580" y="15869"/>
                    <a:pt x="0" y="16310"/>
                  </a:cubicBezTo>
                  <a:cubicBezTo>
                    <a:pt x="1054" y="18073"/>
                    <a:pt x="2107" y="19837"/>
                    <a:pt x="2634" y="21600"/>
                  </a:cubicBezTo>
                  <a:cubicBezTo>
                    <a:pt x="4215" y="21159"/>
                    <a:pt x="5795" y="21159"/>
                    <a:pt x="7376" y="21159"/>
                  </a:cubicBezTo>
                  <a:cubicBezTo>
                    <a:pt x="9483" y="20718"/>
                    <a:pt x="7902" y="20278"/>
                    <a:pt x="8956" y="19396"/>
                  </a:cubicBezTo>
                  <a:cubicBezTo>
                    <a:pt x="10010" y="18955"/>
                    <a:pt x="11590" y="19396"/>
                    <a:pt x="12117" y="18514"/>
                  </a:cubicBezTo>
                  <a:cubicBezTo>
                    <a:pt x="13171" y="17633"/>
                    <a:pt x="13171" y="17192"/>
                    <a:pt x="14751" y="16751"/>
                  </a:cubicBezTo>
                  <a:cubicBezTo>
                    <a:pt x="15805" y="16310"/>
                    <a:pt x="15278" y="14988"/>
                    <a:pt x="15278" y="14106"/>
                  </a:cubicBezTo>
                  <a:cubicBezTo>
                    <a:pt x="14751" y="13224"/>
                    <a:pt x="15805" y="13224"/>
                    <a:pt x="16859" y="13224"/>
                  </a:cubicBezTo>
                  <a:cubicBezTo>
                    <a:pt x="18439" y="12784"/>
                    <a:pt x="18439" y="11461"/>
                    <a:pt x="19493" y="10580"/>
                  </a:cubicBezTo>
                  <a:cubicBezTo>
                    <a:pt x="20020" y="10139"/>
                    <a:pt x="21600" y="8816"/>
                    <a:pt x="20546" y="8376"/>
                  </a:cubicBezTo>
                  <a:cubicBezTo>
                    <a:pt x="20020" y="8376"/>
                    <a:pt x="21073" y="8816"/>
                    <a:pt x="20546" y="837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4" name="Shape 2113">
              <a:extLst>
                <a:ext uri="{FF2B5EF4-FFF2-40B4-BE49-F238E27FC236}">
                  <a16:creationId xmlns:a16="http://schemas.microsoft.com/office/drawing/2014/main" id="{D6117834-91AC-E3F4-9881-D011EF9AFD78}"/>
                </a:ext>
              </a:extLst>
            </p:cNvPr>
            <p:cNvSpPr/>
            <p:nvPr/>
          </p:nvSpPr>
          <p:spPr>
            <a:xfrm>
              <a:off x="7781942" y="2239000"/>
              <a:ext cx="355718" cy="153719"/>
            </a:xfrm>
            <a:custGeom>
              <a:avLst/>
              <a:gdLst/>
              <a:ahLst/>
              <a:cxnLst>
                <a:cxn ang="0">
                  <a:pos x="wd2" y="hd2"/>
                </a:cxn>
                <a:cxn ang="5400000">
                  <a:pos x="wd2" y="hd2"/>
                </a:cxn>
                <a:cxn ang="10800000">
                  <a:pos x="wd2" y="hd2"/>
                </a:cxn>
                <a:cxn ang="16200000">
                  <a:pos x="wd2" y="hd2"/>
                </a:cxn>
              </a:cxnLst>
              <a:rect l="0" t="0" r="r" b="b"/>
              <a:pathLst>
                <a:path w="21235" h="21100" extrusionOk="0">
                  <a:moveTo>
                    <a:pt x="21235" y="4500"/>
                  </a:moveTo>
                  <a:cubicBezTo>
                    <a:pt x="20057" y="4500"/>
                    <a:pt x="19271" y="2700"/>
                    <a:pt x="18093" y="2700"/>
                  </a:cubicBezTo>
                  <a:cubicBezTo>
                    <a:pt x="16915" y="1800"/>
                    <a:pt x="15344" y="1800"/>
                    <a:pt x="13773" y="1800"/>
                  </a:cubicBezTo>
                  <a:cubicBezTo>
                    <a:pt x="12595" y="1800"/>
                    <a:pt x="11417" y="1800"/>
                    <a:pt x="10239" y="0"/>
                  </a:cubicBezTo>
                  <a:cubicBezTo>
                    <a:pt x="9453" y="0"/>
                    <a:pt x="8668" y="0"/>
                    <a:pt x="8275" y="1800"/>
                  </a:cubicBezTo>
                  <a:cubicBezTo>
                    <a:pt x="8275" y="3600"/>
                    <a:pt x="7882" y="4500"/>
                    <a:pt x="7097" y="3600"/>
                  </a:cubicBezTo>
                  <a:cubicBezTo>
                    <a:pt x="6311" y="2700"/>
                    <a:pt x="4348" y="900"/>
                    <a:pt x="3955" y="4500"/>
                  </a:cubicBezTo>
                  <a:cubicBezTo>
                    <a:pt x="3562" y="5400"/>
                    <a:pt x="3955" y="5400"/>
                    <a:pt x="3170" y="6300"/>
                  </a:cubicBezTo>
                  <a:cubicBezTo>
                    <a:pt x="2777" y="7200"/>
                    <a:pt x="1991" y="9000"/>
                    <a:pt x="2777" y="9900"/>
                  </a:cubicBezTo>
                  <a:cubicBezTo>
                    <a:pt x="3170" y="10800"/>
                    <a:pt x="4348" y="11700"/>
                    <a:pt x="4348" y="10800"/>
                  </a:cubicBezTo>
                  <a:cubicBezTo>
                    <a:pt x="4740" y="9000"/>
                    <a:pt x="5133" y="9900"/>
                    <a:pt x="5526" y="10800"/>
                  </a:cubicBezTo>
                  <a:cubicBezTo>
                    <a:pt x="5919" y="11700"/>
                    <a:pt x="7490" y="12600"/>
                    <a:pt x="7097" y="13500"/>
                  </a:cubicBezTo>
                  <a:cubicBezTo>
                    <a:pt x="7097" y="14400"/>
                    <a:pt x="5919" y="14400"/>
                    <a:pt x="5526" y="15300"/>
                  </a:cubicBezTo>
                  <a:cubicBezTo>
                    <a:pt x="5133" y="16200"/>
                    <a:pt x="4740" y="17100"/>
                    <a:pt x="3955" y="15300"/>
                  </a:cubicBezTo>
                  <a:cubicBezTo>
                    <a:pt x="3562" y="14400"/>
                    <a:pt x="3562" y="17100"/>
                    <a:pt x="3562" y="18000"/>
                  </a:cubicBezTo>
                  <a:cubicBezTo>
                    <a:pt x="1991" y="19800"/>
                    <a:pt x="1206" y="13500"/>
                    <a:pt x="28" y="18000"/>
                  </a:cubicBezTo>
                  <a:cubicBezTo>
                    <a:pt x="-365" y="18900"/>
                    <a:pt x="3562" y="20700"/>
                    <a:pt x="3955" y="19800"/>
                  </a:cubicBezTo>
                  <a:cubicBezTo>
                    <a:pt x="4348" y="18900"/>
                    <a:pt x="5133" y="19800"/>
                    <a:pt x="5526" y="20700"/>
                  </a:cubicBezTo>
                  <a:cubicBezTo>
                    <a:pt x="5919" y="20700"/>
                    <a:pt x="7097" y="21600"/>
                    <a:pt x="7882" y="20700"/>
                  </a:cubicBezTo>
                  <a:cubicBezTo>
                    <a:pt x="8275" y="19800"/>
                    <a:pt x="9060" y="20700"/>
                    <a:pt x="9453" y="18000"/>
                  </a:cubicBezTo>
                  <a:cubicBezTo>
                    <a:pt x="9453" y="17100"/>
                    <a:pt x="10239" y="16200"/>
                    <a:pt x="10631" y="15300"/>
                  </a:cubicBezTo>
                  <a:cubicBezTo>
                    <a:pt x="11024" y="14400"/>
                    <a:pt x="12595" y="14400"/>
                    <a:pt x="12595" y="14400"/>
                  </a:cubicBezTo>
                  <a:cubicBezTo>
                    <a:pt x="12988" y="16200"/>
                    <a:pt x="13380" y="14400"/>
                    <a:pt x="14166" y="14400"/>
                  </a:cubicBezTo>
                  <a:cubicBezTo>
                    <a:pt x="14559" y="14400"/>
                    <a:pt x="14951" y="11700"/>
                    <a:pt x="15344" y="11700"/>
                  </a:cubicBezTo>
                  <a:cubicBezTo>
                    <a:pt x="15737" y="10800"/>
                    <a:pt x="16522" y="11700"/>
                    <a:pt x="16915" y="10800"/>
                  </a:cubicBezTo>
                  <a:cubicBezTo>
                    <a:pt x="18486" y="9900"/>
                    <a:pt x="19271" y="8100"/>
                    <a:pt x="20842" y="6300"/>
                  </a:cubicBezTo>
                  <a:cubicBezTo>
                    <a:pt x="21235" y="6300"/>
                    <a:pt x="21235" y="6300"/>
                    <a:pt x="21235" y="45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5" name="Shape 2114">
              <a:extLst>
                <a:ext uri="{FF2B5EF4-FFF2-40B4-BE49-F238E27FC236}">
                  <a16:creationId xmlns:a16="http://schemas.microsoft.com/office/drawing/2014/main" id="{B35C7867-9E67-19AC-CA02-9AD199514136}"/>
                </a:ext>
              </a:extLst>
            </p:cNvPr>
            <p:cNvSpPr/>
            <p:nvPr/>
          </p:nvSpPr>
          <p:spPr>
            <a:xfrm>
              <a:off x="7338999" y="2140089"/>
              <a:ext cx="562760" cy="343943"/>
            </a:xfrm>
            <a:custGeom>
              <a:avLst/>
              <a:gdLst/>
              <a:ahLst/>
              <a:cxnLst>
                <a:cxn ang="0">
                  <a:pos x="wd2" y="hd2"/>
                </a:cxn>
                <a:cxn ang="5400000">
                  <a:pos x="wd2" y="hd2"/>
                </a:cxn>
                <a:cxn ang="10800000">
                  <a:pos x="wd2" y="hd2"/>
                </a:cxn>
                <a:cxn ang="16200000">
                  <a:pos x="wd2" y="hd2"/>
                </a:cxn>
              </a:cxnLst>
              <a:rect l="0" t="0" r="r" b="b"/>
              <a:pathLst>
                <a:path w="20723" h="21600" extrusionOk="0">
                  <a:moveTo>
                    <a:pt x="18795" y="13292"/>
                  </a:moveTo>
                  <a:cubicBezTo>
                    <a:pt x="19038" y="13708"/>
                    <a:pt x="19038" y="14123"/>
                    <a:pt x="19523" y="13708"/>
                  </a:cubicBezTo>
                  <a:cubicBezTo>
                    <a:pt x="19766" y="13708"/>
                    <a:pt x="20009" y="12877"/>
                    <a:pt x="20252" y="12877"/>
                  </a:cubicBezTo>
                  <a:cubicBezTo>
                    <a:pt x="21465" y="12462"/>
                    <a:pt x="20009" y="11631"/>
                    <a:pt x="19523" y="10800"/>
                  </a:cubicBezTo>
                  <a:cubicBezTo>
                    <a:pt x="19281" y="10385"/>
                    <a:pt x="19281" y="10800"/>
                    <a:pt x="19038" y="11215"/>
                  </a:cubicBezTo>
                  <a:cubicBezTo>
                    <a:pt x="19038" y="11631"/>
                    <a:pt x="18310" y="11215"/>
                    <a:pt x="18067" y="11215"/>
                  </a:cubicBezTo>
                  <a:cubicBezTo>
                    <a:pt x="17096" y="10385"/>
                    <a:pt x="18553" y="9138"/>
                    <a:pt x="18795" y="8723"/>
                  </a:cubicBezTo>
                  <a:cubicBezTo>
                    <a:pt x="18795" y="8723"/>
                    <a:pt x="17825" y="9138"/>
                    <a:pt x="17825" y="9138"/>
                  </a:cubicBezTo>
                  <a:cubicBezTo>
                    <a:pt x="17339" y="9554"/>
                    <a:pt x="16854" y="9554"/>
                    <a:pt x="16368" y="10385"/>
                  </a:cubicBezTo>
                  <a:cubicBezTo>
                    <a:pt x="16126" y="10800"/>
                    <a:pt x="15883" y="11631"/>
                    <a:pt x="15640" y="12046"/>
                  </a:cubicBezTo>
                  <a:cubicBezTo>
                    <a:pt x="15398" y="13292"/>
                    <a:pt x="15155" y="12462"/>
                    <a:pt x="14912" y="11631"/>
                  </a:cubicBezTo>
                  <a:cubicBezTo>
                    <a:pt x="14669" y="10800"/>
                    <a:pt x="14184" y="11215"/>
                    <a:pt x="13699" y="11215"/>
                  </a:cubicBezTo>
                  <a:cubicBezTo>
                    <a:pt x="13213" y="11215"/>
                    <a:pt x="12971" y="9969"/>
                    <a:pt x="12728" y="9554"/>
                  </a:cubicBezTo>
                  <a:cubicBezTo>
                    <a:pt x="12243" y="8723"/>
                    <a:pt x="12971" y="7892"/>
                    <a:pt x="12485" y="7062"/>
                  </a:cubicBezTo>
                  <a:cubicBezTo>
                    <a:pt x="12243" y="6646"/>
                    <a:pt x="12000" y="5815"/>
                    <a:pt x="11757" y="5400"/>
                  </a:cubicBezTo>
                  <a:cubicBezTo>
                    <a:pt x="11514" y="4985"/>
                    <a:pt x="11029" y="4569"/>
                    <a:pt x="10786" y="4985"/>
                  </a:cubicBezTo>
                  <a:cubicBezTo>
                    <a:pt x="10301" y="5400"/>
                    <a:pt x="9816" y="4985"/>
                    <a:pt x="9087" y="4985"/>
                  </a:cubicBezTo>
                  <a:cubicBezTo>
                    <a:pt x="8602" y="4985"/>
                    <a:pt x="7874" y="5400"/>
                    <a:pt x="7389" y="4985"/>
                  </a:cubicBezTo>
                  <a:cubicBezTo>
                    <a:pt x="7146" y="4569"/>
                    <a:pt x="6661" y="3738"/>
                    <a:pt x="6418" y="3323"/>
                  </a:cubicBezTo>
                  <a:cubicBezTo>
                    <a:pt x="5932" y="2492"/>
                    <a:pt x="5690" y="2492"/>
                    <a:pt x="5447" y="3323"/>
                  </a:cubicBezTo>
                  <a:cubicBezTo>
                    <a:pt x="5204" y="3738"/>
                    <a:pt x="4962" y="4154"/>
                    <a:pt x="4476" y="4154"/>
                  </a:cubicBezTo>
                  <a:cubicBezTo>
                    <a:pt x="3748" y="4154"/>
                    <a:pt x="3748" y="3323"/>
                    <a:pt x="3991" y="2492"/>
                  </a:cubicBezTo>
                  <a:cubicBezTo>
                    <a:pt x="4234" y="1246"/>
                    <a:pt x="4234" y="1246"/>
                    <a:pt x="3505" y="415"/>
                  </a:cubicBezTo>
                  <a:cubicBezTo>
                    <a:pt x="3505" y="831"/>
                    <a:pt x="3505" y="1662"/>
                    <a:pt x="3505" y="2077"/>
                  </a:cubicBezTo>
                  <a:cubicBezTo>
                    <a:pt x="3505" y="2908"/>
                    <a:pt x="3748" y="3323"/>
                    <a:pt x="3263" y="3323"/>
                  </a:cubicBezTo>
                  <a:cubicBezTo>
                    <a:pt x="2777" y="2908"/>
                    <a:pt x="2777" y="1662"/>
                    <a:pt x="3020" y="1246"/>
                  </a:cubicBezTo>
                  <a:cubicBezTo>
                    <a:pt x="3020" y="1246"/>
                    <a:pt x="3505" y="0"/>
                    <a:pt x="3263" y="0"/>
                  </a:cubicBezTo>
                  <a:cubicBezTo>
                    <a:pt x="2049" y="415"/>
                    <a:pt x="1078" y="831"/>
                    <a:pt x="108" y="1662"/>
                  </a:cubicBezTo>
                  <a:cubicBezTo>
                    <a:pt x="-135" y="1662"/>
                    <a:pt x="108" y="5815"/>
                    <a:pt x="108" y="6231"/>
                  </a:cubicBezTo>
                  <a:cubicBezTo>
                    <a:pt x="108" y="7477"/>
                    <a:pt x="108" y="8723"/>
                    <a:pt x="108" y="9554"/>
                  </a:cubicBezTo>
                  <a:cubicBezTo>
                    <a:pt x="108" y="10385"/>
                    <a:pt x="-135" y="10800"/>
                    <a:pt x="350" y="10800"/>
                  </a:cubicBezTo>
                  <a:cubicBezTo>
                    <a:pt x="593" y="10800"/>
                    <a:pt x="836" y="10800"/>
                    <a:pt x="1321" y="10800"/>
                  </a:cubicBezTo>
                  <a:cubicBezTo>
                    <a:pt x="1807" y="10800"/>
                    <a:pt x="1078" y="9969"/>
                    <a:pt x="1321" y="9554"/>
                  </a:cubicBezTo>
                  <a:cubicBezTo>
                    <a:pt x="1564" y="8723"/>
                    <a:pt x="2049" y="9138"/>
                    <a:pt x="2292" y="8308"/>
                  </a:cubicBezTo>
                  <a:cubicBezTo>
                    <a:pt x="2777" y="7892"/>
                    <a:pt x="2777" y="7892"/>
                    <a:pt x="3020" y="7477"/>
                  </a:cubicBezTo>
                  <a:cubicBezTo>
                    <a:pt x="3505" y="7062"/>
                    <a:pt x="3748" y="7477"/>
                    <a:pt x="3991" y="7892"/>
                  </a:cubicBezTo>
                  <a:cubicBezTo>
                    <a:pt x="4234" y="8308"/>
                    <a:pt x="4962" y="8308"/>
                    <a:pt x="4962" y="8308"/>
                  </a:cubicBezTo>
                  <a:cubicBezTo>
                    <a:pt x="5204" y="9138"/>
                    <a:pt x="4962" y="9554"/>
                    <a:pt x="4962" y="9969"/>
                  </a:cubicBezTo>
                  <a:cubicBezTo>
                    <a:pt x="5204" y="11215"/>
                    <a:pt x="5932" y="11215"/>
                    <a:pt x="6175" y="11215"/>
                  </a:cubicBezTo>
                  <a:cubicBezTo>
                    <a:pt x="7389" y="11215"/>
                    <a:pt x="7389" y="12462"/>
                    <a:pt x="7874" y="14123"/>
                  </a:cubicBezTo>
                  <a:cubicBezTo>
                    <a:pt x="8117" y="14538"/>
                    <a:pt x="8602" y="14954"/>
                    <a:pt x="9087" y="15369"/>
                  </a:cubicBezTo>
                  <a:cubicBezTo>
                    <a:pt x="9330" y="15369"/>
                    <a:pt x="9573" y="15785"/>
                    <a:pt x="9816" y="16200"/>
                  </a:cubicBezTo>
                  <a:cubicBezTo>
                    <a:pt x="10544" y="17031"/>
                    <a:pt x="11272" y="18277"/>
                    <a:pt x="12000" y="18692"/>
                  </a:cubicBezTo>
                  <a:cubicBezTo>
                    <a:pt x="12971" y="19108"/>
                    <a:pt x="12971" y="19108"/>
                    <a:pt x="12971" y="20354"/>
                  </a:cubicBezTo>
                  <a:cubicBezTo>
                    <a:pt x="13456" y="20354"/>
                    <a:pt x="14184" y="21185"/>
                    <a:pt x="14669" y="21600"/>
                  </a:cubicBezTo>
                  <a:cubicBezTo>
                    <a:pt x="14669" y="20354"/>
                    <a:pt x="14427" y="20354"/>
                    <a:pt x="15155" y="19523"/>
                  </a:cubicBezTo>
                  <a:cubicBezTo>
                    <a:pt x="15398" y="18692"/>
                    <a:pt x="14912" y="18277"/>
                    <a:pt x="14912" y="17446"/>
                  </a:cubicBezTo>
                  <a:cubicBezTo>
                    <a:pt x="15155" y="16200"/>
                    <a:pt x="14427" y="16615"/>
                    <a:pt x="14184" y="15785"/>
                  </a:cubicBezTo>
                  <a:cubicBezTo>
                    <a:pt x="13941" y="14954"/>
                    <a:pt x="15155" y="15369"/>
                    <a:pt x="15398" y="14954"/>
                  </a:cubicBezTo>
                  <a:cubicBezTo>
                    <a:pt x="16126" y="14538"/>
                    <a:pt x="15398" y="13292"/>
                    <a:pt x="15883" y="13708"/>
                  </a:cubicBezTo>
                  <a:cubicBezTo>
                    <a:pt x="16854" y="13708"/>
                    <a:pt x="15883" y="12462"/>
                    <a:pt x="16368" y="12462"/>
                  </a:cubicBezTo>
                  <a:cubicBezTo>
                    <a:pt x="16611" y="12046"/>
                    <a:pt x="16854" y="12877"/>
                    <a:pt x="17096" y="12462"/>
                  </a:cubicBezTo>
                  <a:cubicBezTo>
                    <a:pt x="17339" y="12462"/>
                    <a:pt x="17582" y="12046"/>
                    <a:pt x="17825" y="12046"/>
                  </a:cubicBezTo>
                  <a:cubicBezTo>
                    <a:pt x="18310" y="12046"/>
                    <a:pt x="17825" y="13708"/>
                    <a:pt x="17825" y="14123"/>
                  </a:cubicBezTo>
                  <a:cubicBezTo>
                    <a:pt x="18067" y="14123"/>
                    <a:pt x="18553" y="12877"/>
                    <a:pt x="18553" y="14123"/>
                  </a:cubicBezTo>
                  <a:cubicBezTo>
                    <a:pt x="18553" y="14123"/>
                    <a:pt x="18553" y="13292"/>
                    <a:pt x="18795" y="13292"/>
                  </a:cubicBezTo>
                  <a:cubicBezTo>
                    <a:pt x="19038" y="13292"/>
                    <a:pt x="18553" y="13292"/>
                    <a:pt x="18795" y="1329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6" name="Shape 2115">
              <a:extLst>
                <a:ext uri="{FF2B5EF4-FFF2-40B4-BE49-F238E27FC236}">
                  <a16:creationId xmlns:a16="http://schemas.microsoft.com/office/drawing/2014/main" id="{178FB4B5-4184-1EFB-003A-BD0DF57D1C2D}"/>
                </a:ext>
              </a:extLst>
            </p:cNvPr>
            <p:cNvSpPr/>
            <p:nvPr/>
          </p:nvSpPr>
          <p:spPr>
            <a:xfrm>
              <a:off x="7511457" y="2522247"/>
              <a:ext cx="1140" cy="6746"/>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7" name="Shape 2116">
              <a:extLst>
                <a:ext uri="{FF2B5EF4-FFF2-40B4-BE49-F238E27FC236}">
                  <a16:creationId xmlns:a16="http://schemas.microsoft.com/office/drawing/2014/main" id="{77A7540A-300C-D72B-7D2F-23EC8B324482}"/>
                </a:ext>
              </a:extLst>
            </p:cNvPr>
            <p:cNvSpPr/>
            <p:nvPr/>
          </p:nvSpPr>
          <p:spPr>
            <a:xfrm>
              <a:off x="7222659" y="2259232"/>
              <a:ext cx="467768" cy="283247"/>
            </a:xfrm>
            <a:custGeom>
              <a:avLst/>
              <a:gdLst/>
              <a:ahLst/>
              <a:cxnLst>
                <a:cxn ang="0">
                  <a:pos x="wd2" y="hd2"/>
                </a:cxn>
                <a:cxn ang="5400000">
                  <a:pos x="wd2" y="hd2"/>
                </a:cxn>
                <a:cxn ang="10800000">
                  <a:pos x="wd2" y="hd2"/>
                </a:cxn>
                <a:cxn ang="16200000">
                  <a:pos x="wd2" y="hd2"/>
                </a:cxn>
              </a:cxnLst>
              <a:rect l="0" t="0" r="r" b="b"/>
              <a:pathLst>
                <a:path w="21008" h="21600" extrusionOk="0">
                  <a:moveTo>
                    <a:pt x="21008" y="14065"/>
                  </a:moveTo>
                  <a:cubicBezTo>
                    <a:pt x="20712" y="13563"/>
                    <a:pt x="20416" y="13563"/>
                    <a:pt x="19824" y="13563"/>
                  </a:cubicBezTo>
                  <a:cubicBezTo>
                    <a:pt x="19529" y="13060"/>
                    <a:pt x="18937" y="12558"/>
                    <a:pt x="18641" y="12056"/>
                  </a:cubicBezTo>
                  <a:cubicBezTo>
                    <a:pt x="18049" y="11553"/>
                    <a:pt x="17161" y="11051"/>
                    <a:pt x="16570" y="10047"/>
                  </a:cubicBezTo>
                  <a:cubicBezTo>
                    <a:pt x="16274" y="9042"/>
                    <a:pt x="15386" y="9042"/>
                    <a:pt x="14794" y="8037"/>
                  </a:cubicBezTo>
                  <a:cubicBezTo>
                    <a:pt x="14498" y="6530"/>
                    <a:pt x="14203" y="4521"/>
                    <a:pt x="13315" y="4521"/>
                  </a:cubicBezTo>
                  <a:cubicBezTo>
                    <a:pt x="12427" y="4521"/>
                    <a:pt x="11244" y="4521"/>
                    <a:pt x="11244" y="2512"/>
                  </a:cubicBezTo>
                  <a:cubicBezTo>
                    <a:pt x="11244" y="2009"/>
                    <a:pt x="11540" y="1005"/>
                    <a:pt x="11244" y="1005"/>
                  </a:cubicBezTo>
                  <a:cubicBezTo>
                    <a:pt x="10948" y="502"/>
                    <a:pt x="10652" y="1005"/>
                    <a:pt x="10060" y="502"/>
                  </a:cubicBezTo>
                  <a:cubicBezTo>
                    <a:pt x="10060" y="502"/>
                    <a:pt x="9764" y="0"/>
                    <a:pt x="9468" y="0"/>
                  </a:cubicBezTo>
                  <a:cubicBezTo>
                    <a:pt x="9172" y="0"/>
                    <a:pt x="8876" y="502"/>
                    <a:pt x="8581" y="502"/>
                  </a:cubicBezTo>
                  <a:cubicBezTo>
                    <a:pt x="8285" y="0"/>
                    <a:pt x="7989" y="1507"/>
                    <a:pt x="7693" y="1507"/>
                  </a:cubicBezTo>
                  <a:cubicBezTo>
                    <a:pt x="7397" y="1507"/>
                    <a:pt x="6509" y="2009"/>
                    <a:pt x="6805" y="3014"/>
                  </a:cubicBezTo>
                  <a:cubicBezTo>
                    <a:pt x="7101" y="4521"/>
                    <a:pt x="6805" y="4019"/>
                    <a:pt x="5918" y="4019"/>
                  </a:cubicBezTo>
                  <a:cubicBezTo>
                    <a:pt x="5622" y="4019"/>
                    <a:pt x="4734" y="4019"/>
                    <a:pt x="4438" y="4019"/>
                  </a:cubicBezTo>
                  <a:cubicBezTo>
                    <a:pt x="3846" y="3014"/>
                    <a:pt x="3550" y="2009"/>
                    <a:pt x="2959" y="1005"/>
                  </a:cubicBezTo>
                  <a:cubicBezTo>
                    <a:pt x="2071" y="0"/>
                    <a:pt x="887" y="1507"/>
                    <a:pt x="0" y="2512"/>
                  </a:cubicBezTo>
                  <a:cubicBezTo>
                    <a:pt x="296" y="3014"/>
                    <a:pt x="1183" y="5023"/>
                    <a:pt x="887" y="6028"/>
                  </a:cubicBezTo>
                  <a:cubicBezTo>
                    <a:pt x="-592" y="7535"/>
                    <a:pt x="1183" y="7535"/>
                    <a:pt x="1775" y="8540"/>
                  </a:cubicBezTo>
                  <a:cubicBezTo>
                    <a:pt x="1775" y="8540"/>
                    <a:pt x="1775" y="9544"/>
                    <a:pt x="1775" y="9544"/>
                  </a:cubicBezTo>
                  <a:cubicBezTo>
                    <a:pt x="1479" y="10047"/>
                    <a:pt x="2071" y="11051"/>
                    <a:pt x="2367" y="11051"/>
                  </a:cubicBezTo>
                  <a:cubicBezTo>
                    <a:pt x="2367" y="11553"/>
                    <a:pt x="2071" y="12056"/>
                    <a:pt x="2071" y="13060"/>
                  </a:cubicBezTo>
                  <a:cubicBezTo>
                    <a:pt x="2071" y="13563"/>
                    <a:pt x="2071" y="14567"/>
                    <a:pt x="2071" y="15572"/>
                  </a:cubicBezTo>
                  <a:cubicBezTo>
                    <a:pt x="2663" y="15572"/>
                    <a:pt x="2959" y="15572"/>
                    <a:pt x="3550" y="14567"/>
                  </a:cubicBezTo>
                  <a:cubicBezTo>
                    <a:pt x="3846" y="14065"/>
                    <a:pt x="4142" y="13563"/>
                    <a:pt x="4438" y="13060"/>
                  </a:cubicBezTo>
                  <a:cubicBezTo>
                    <a:pt x="5622" y="13060"/>
                    <a:pt x="6509" y="12558"/>
                    <a:pt x="7397" y="13563"/>
                  </a:cubicBezTo>
                  <a:cubicBezTo>
                    <a:pt x="7989" y="15070"/>
                    <a:pt x="9764" y="14065"/>
                    <a:pt x="10356" y="15572"/>
                  </a:cubicBezTo>
                  <a:cubicBezTo>
                    <a:pt x="10948" y="17079"/>
                    <a:pt x="11540" y="17581"/>
                    <a:pt x="12723" y="17581"/>
                  </a:cubicBezTo>
                  <a:cubicBezTo>
                    <a:pt x="13019" y="17581"/>
                    <a:pt x="13019" y="17581"/>
                    <a:pt x="13019" y="18586"/>
                  </a:cubicBezTo>
                  <a:cubicBezTo>
                    <a:pt x="13019" y="20093"/>
                    <a:pt x="13019" y="20093"/>
                    <a:pt x="13611" y="21098"/>
                  </a:cubicBezTo>
                  <a:cubicBezTo>
                    <a:pt x="14203" y="21098"/>
                    <a:pt x="14498" y="21600"/>
                    <a:pt x="15090" y="21600"/>
                  </a:cubicBezTo>
                  <a:cubicBezTo>
                    <a:pt x="15978" y="21600"/>
                    <a:pt x="15978" y="21098"/>
                    <a:pt x="16274" y="20093"/>
                  </a:cubicBezTo>
                  <a:cubicBezTo>
                    <a:pt x="16570" y="19088"/>
                    <a:pt x="17161" y="19591"/>
                    <a:pt x="17753" y="19088"/>
                  </a:cubicBezTo>
                  <a:cubicBezTo>
                    <a:pt x="18345" y="18586"/>
                    <a:pt x="18345" y="17581"/>
                    <a:pt x="18641" y="16577"/>
                  </a:cubicBezTo>
                  <a:cubicBezTo>
                    <a:pt x="18641" y="15572"/>
                    <a:pt x="19529" y="16577"/>
                    <a:pt x="19824" y="15572"/>
                  </a:cubicBezTo>
                  <a:cubicBezTo>
                    <a:pt x="19824" y="14567"/>
                    <a:pt x="20712" y="15572"/>
                    <a:pt x="21008" y="15572"/>
                  </a:cubicBezTo>
                  <a:cubicBezTo>
                    <a:pt x="21008" y="15070"/>
                    <a:pt x="21008" y="14567"/>
                    <a:pt x="21008" y="1406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8" name="Shape 2117">
              <a:extLst>
                <a:ext uri="{FF2B5EF4-FFF2-40B4-BE49-F238E27FC236}">
                  <a16:creationId xmlns:a16="http://schemas.microsoft.com/office/drawing/2014/main" id="{1A77961F-5599-C1BB-748A-A1519B00CCB8}"/>
                </a:ext>
              </a:extLst>
            </p:cNvPr>
            <p:cNvSpPr/>
            <p:nvPr/>
          </p:nvSpPr>
          <p:spPr>
            <a:xfrm>
              <a:off x="7723104" y="2329158"/>
              <a:ext cx="252504" cy="161668"/>
            </a:xfrm>
            <a:custGeom>
              <a:avLst/>
              <a:gdLst/>
              <a:ahLst/>
              <a:cxnLst>
                <a:cxn ang="0">
                  <a:pos x="wd2" y="hd2"/>
                </a:cxn>
                <a:cxn ang="5400000">
                  <a:pos x="wd2" y="hd2"/>
                </a:cxn>
                <a:cxn ang="10800000">
                  <a:pos x="wd2" y="hd2"/>
                </a:cxn>
                <a:cxn ang="16200000">
                  <a:pos x="wd2" y="hd2"/>
                </a:cxn>
              </a:cxnLst>
              <a:rect l="0" t="0" r="r" b="b"/>
              <a:pathLst>
                <a:path w="20742" h="19663" extrusionOk="0">
                  <a:moveTo>
                    <a:pt x="15731" y="7424"/>
                  </a:moveTo>
                  <a:cubicBezTo>
                    <a:pt x="14651" y="8224"/>
                    <a:pt x="14111" y="7424"/>
                    <a:pt x="13031" y="7424"/>
                  </a:cubicBezTo>
                  <a:cubicBezTo>
                    <a:pt x="11951" y="7424"/>
                    <a:pt x="11411" y="5824"/>
                    <a:pt x="10871" y="5824"/>
                  </a:cubicBezTo>
                  <a:cubicBezTo>
                    <a:pt x="10331" y="5824"/>
                    <a:pt x="10331" y="6624"/>
                    <a:pt x="9791" y="6624"/>
                  </a:cubicBezTo>
                  <a:cubicBezTo>
                    <a:pt x="9791" y="7424"/>
                    <a:pt x="9251" y="6624"/>
                    <a:pt x="8711" y="6624"/>
                  </a:cubicBezTo>
                  <a:cubicBezTo>
                    <a:pt x="7631" y="6624"/>
                    <a:pt x="6011" y="6624"/>
                    <a:pt x="4931" y="5824"/>
                  </a:cubicBezTo>
                  <a:cubicBezTo>
                    <a:pt x="4391" y="5024"/>
                    <a:pt x="6011" y="3424"/>
                    <a:pt x="6011" y="3424"/>
                  </a:cubicBezTo>
                  <a:cubicBezTo>
                    <a:pt x="7091" y="2624"/>
                    <a:pt x="7631" y="5024"/>
                    <a:pt x="8171" y="5024"/>
                  </a:cubicBezTo>
                  <a:cubicBezTo>
                    <a:pt x="9251" y="5024"/>
                    <a:pt x="9791" y="4224"/>
                    <a:pt x="9791" y="3424"/>
                  </a:cubicBezTo>
                  <a:cubicBezTo>
                    <a:pt x="9251" y="2624"/>
                    <a:pt x="8711" y="4224"/>
                    <a:pt x="8171" y="4224"/>
                  </a:cubicBezTo>
                  <a:cubicBezTo>
                    <a:pt x="7631" y="3424"/>
                    <a:pt x="8711" y="1024"/>
                    <a:pt x="8171" y="224"/>
                  </a:cubicBezTo>
                  <a:cubicBezTo>
                    <a:pt x="8171" y="-576"/>
                    <a:pt x="7091" y="1024"/>
                    <a:pt x="7091" y="1024"/>
                  </a:cubicBezTo>
                  <a:cubicBezTo>
                    <a:pt x="6011" y="1824"/>
                    <a:pt x="5471" y="224"/>
                    <a:pt x="4931" y="1024"/>
                  </a:cubicBezTo>
                  <a:cubicBezTo>
                    <a:pt x="3851" y="1024"/>
                    <a:pt x="6011" y="3424"/>
                    <a:pt x="3851" y="3424"/>
                  </a:cubicBezTo>
                  <a:cubicBezTo>
                    <a:pt x="2771" y="2624"/>
                    <a:pt x="4391" y="5824"/>
                    <a:pt x="2771" y="5824"/>
                  </a:cubicBezTo>
                  <a:cubicBezTo>
                    <a:pt x="2231" y="6624"/>
                    <a:pt x="-469" y="5824"/>
                    <a:pt x="71" y="7424"/>
                  </a:cubicBezTo>
                  <a:cubicBezTo>
                    <a:pt x="611" y="9824"/>
                    <a:pt x="2231" y="8224"/>
                    <a:pt x="1691" y="10624"/>
                  </a:cubicBezTo>
                  <a:cubicBezTo>
                    <a:pt x="1691" y="13024"/>
                    <a:pt x="3311" y="13024"/>
                    <a:pt x="1691" y="14624"/>
                  </a:cubicBezTo>
                  <a:cubicBezTo>
                    <a:pt x="1151" y="15424"/>
                    <a:pt x="71" y="18624"/>
                    <a:pt x="1691" y="18624"/>
                  </a:cubicBezTo>
                  <a:cubicBezTo>
                    <a:pt x="2771" y="18624"/>
                    <a:pt x="3851" y="16224"/>
                    <a:pt x="4391" y="17024"/>
                  </a:cubicBezTo>
                  <a:cubicBezTo>
                    <a:pt x="6011" y="19424"/>
                    <a:pt x="4391" y="15424"/>
                    <a:pt x="6011" y="15424"/>
                  </a:cubicBezTo>
                  <a:cubicBezTo>
                    <a:pt x="7091" y="15424"/>
                    <a:pt x="7631" y="14624"/>
                    <a:pt x="8711" y="13024"/>
                  </a:cubicBezTo>
                  <a:cubicBezTo>
                    <a:pt x="9251" y="10624"/>
                    <a:pt x="9791" y="11424"/>
                    <a:pt x="10331" y="13024"/>
                  </a:cubicBezTo>
                  <a:cubicBezTo>
                    <a:pt x="10871" y="13824"/>
                    <a:pt x="11411" y="14624"/>
                    <a:pt x="11411" y="16224"/>
                  </a:cubicBezTo>
                  <a:cubicBezTo>
                    <a:pt x="11411" y="17024"/>
                    <a:pt x="10871" y="17824"/>
                    <a:pt x="10871" y="18624"/>
                  </a:cubicBezTo>
                  <a:cubicBezTo>
                    <a:pt x="11411" y="21024"/>
                    <a:pt x="13571" y="18624"/>
                    <a:pt x="14111" y="17824"/>
                  </a:cubicBezTo>
                  <a:cubicBezTo>
                    <a:pt x="14651" y="17024"/>
                    <a:pt x="16271" y="15424"/>
                    <a:pt x="16811" y="16224"/>
                  </a:cubicBezTo>
                  <a:cubicBezTo>
                    <a:pt x="17891" y="17824"/>
                    <a:pt x="18971" y="15424"/>
                    <a:pt x="20591" y="16224"/>
                  </a:cubicBezTo>
                  <a:cubicBezTo>
                    <a:pt x="21131" y="15424"/>
                    <a:pt x="20051" y="13824"/>
                    <a:pt x="20051" y="13824"/>
                  </a:cubicBezTo>
                  <a:cubicBezTo>
                    <a:pt x="19511" y="12224"/>
                    <a:pt x="20051" y="10624"/>
                    <a:pt x="18971" y="10624"/>
                  </a:cubicBezTo>
                  <a:cubicBezTo>
                    <a:pt x="17351" y="11424"/>
                    <a:pt x="16271" y="9024"/>
                    <a:pt x="16811" y="6624"/>
                  </a:cubicBezTo>
                  <a:cubicBezTo>
                    <a:pt x="16811" y="6624"/>
                    <a:pt x="16271" y="6624"/>
                    <a:pt x="15731" y="7424"/>
                  </a:cubicBezTo>
                  <a:cubicBezTo>
                    <a:pt x="15191" y="7424"/>
                    <a:pt x="16271" y="6624"/>
                    <a:pt x="15731" y="742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9" name="Shape 2118">
              <a:extLst>
                <a:ext uri="{FF2B5EF4-FFF2-40B4-BE49-F238E27FC236}">
                  <a16:creationId xmlns:a16="http://schemas.microsoft.com/office/drawing/2014/main" id="{9DDD0D79-6ED9-6EC8-583F-D425DD7BFBCD}"/>
                </a:ext>
              </a:extLst>
            </p:cNvPr>
            <p:cNvSpPr/>
            <p:nvPr/>
          </p:nvSpPr>
          <p:spPr>
            <a:xfrm>
              <a:off x="7506141" y="2477287"/>
              <a:ext cx="546123" cy="483021"/>
            </a:xfrm>
            <a:custGeom>
              <a:avLst/>
              <a:gdLst/>
              <a:ahLst/>
              <a:cxnLst>
                <a:cxn ang="0">
                  <a:pos x="wd2" y="hd2"/>
                </a:cxn>
                <a:cxn ang="5400000">
                  <a:pos x="wd2" y="hd2"/>
                </a:cxn>
                <a:cxn ang="10800000">
                  <a:pos x="wd2" y="hd2"/>
                </a:cxn>
                <a:cxn ang="16200000">
                  <a:pos x="wd2" y="hd2"/>
                </a:cxn>
              </a:cxnLst>
              <a:rect l="0" t="0" r="r" b="b"/>
              <a:pathLst>
                <a:path w="21600" h="21388" extrusionOk="0">
                  <a:moveTo>
                    <a:pt x="2082" y="14886"/>
                  </a:moveTo>
                  <a:cubicBezTo>
                    <a:pt x="2082" y="15178"/>
                    <a:pt x="2082" y="15470"/>
                    <a:pt x="2342" y="15762"/>
                  </a:cubicBezTo>
                  <a:cubicBezTo>
                    <a:pt x="2602" y="16054"/>
                    <a:pt x="2863" y="16346"/>
                    <a:pt x="2863" y="16638"/>
                  </a:cubicBezTo>
                  <a:cubicBezTo>
                    <a:pt x="2863" y="16930"/>
                    <a:pt x="1561" y="17514"/>
                    <a:pt x="1301" y="17805"/>
                  </a:cubicBezTo>
                  <a:cubicBezTo>
                    <a:pt x="1041" y="17805"/>
                    <a:pt x="781" y="18097"/>
                    <a:pt x="781" y="18681"/>
                  </a:cubicBezTo>
                  <a:cubicBezTo>
                    <a:pt x="781" y="19265"/>
                    <a:pt x="781" y="19265"/>
                    <a:pt x="1561" y="19265"/>
                  </a:cubicBezTo>
                  <a:cubicBezTo>
                    <a:pt x="2082" y="18973"/>
                    <a:pt x="2863" y="18973"/>
                    <a:pt x="3383" y="18681"/>
                  </a:cubicBezTo>
                  <a:cubicBezTo>
                    <a:pt x="3904" y="18681"/>
                    <a:pt x="4424" y="18681"/>
                    <a:pt x="4945" y="18973"/>
                  </a:cubicBezTo>
                  <a:cubicBezTo>
                    <a:pt x="5205" y="18973"/>
                    <a:pt x="5725" y="18973"/>
                    <a:pt x="5986" y="18973"/>
                  </a:cubicBezTo>
                  <a:cubicBezTo>
                    <a:pt x="6506" y="18973"/>
                    <a:pt x="6766" y="18681"/>
                    <a:pt x="7287" y="18681"/>
                  </a:cubicBezTo>
                  <a:cubicBezTo>
                    <a:pt x="7547" y="18681"/>
                    <a:pt x="7547" y="19265"/>
                    <a:pt x="7547" y="19557"/>
                  </a:cubicBezTo>
                  <a:cubicBezTo>
                    <a:pt x="7807" y="19849"/>
                    <a:pt x="8067" y="19849"/>
                    <a:pt x="8328" y="20141"/>
                  </a:cubicBezTo>
                  <a:cubicBezTo>
                    <a:pt x="8328" y="20432"/>
                    <a:pt x="8588" y="21016"/>
                    <a:pt x="8588" y="21308"/>
                  </a:cubicBezTo>
                  <a:cubicBezTo>
                    <a:pt x="9108" y="21600"/>
                    <a:pt x="8848" y="21016"/>
                    <a:pt x="8848" y="20724"/>
                  </a:cubicBezTo>
                  <a:cubicBezTo>
                    <a:pt x="9108" y="20724"/>
                    <a:pt x="9369" y="21308"/>
                    <a:pt x="9369" y="21308"/>
                  </a:cubicBezTo>
                  <a:cubicBezTo>
                    <a:pt x="9889" y="21016"/>
                    <a:pt x="10410" y="20432"/>
                    <a:pt x="11190" y="20724"/>
                  </a:cubicBezTo>
                  <a:cubicBezTo>
                    <a:pt x="11451" y="20724"/>
                    <a:pt x="11711" y="20724"/>
                    <a:pt x="11971" y="20432"/>
                  </a:cubicBezTo>
                  <a:cubicBezTo>
                    <a:pt x="12231" y="20432"/>
                    <a:pt x="12752" y="20432"/>
                    <a:pt x="13012" y="20432"/>
                  </a:cubicBezTo>
                  <a:cubicBezTo>
                    <a:pt x="13272" y="20141"/>
                    <a:pt x="12752" y="18681"/>
                    <a:pt x="12492" y="18681"/>
                  </a:cubicBezTo>
                  <a:cubicBezTo>
                    <a:pt x="12231" y="18389"/>
                    <a:pt x="11971" y="18389"/>
                    <a:pt x="11971" y="17805"/>
                  </a:cubicBezTo>
                  <a:cubicBezTo>
                    <a:pt x="11971" y="17222"/>
                    <a:pt x="11711" y="16930"/>
                    <a:pt x="11451" y="16638"/>
                  </a:cubicBezTo>
                  <a:cubicBezTo>
                    <a:pt x="10670" y="16346"/>
                    <a:pt x="11711" y="15762"/>
                    <a:pt x="11971" y="15178"/>
                  </a:cubicBezTo>
                  <a:cubicBezTo>
                    <a:pt x="12231" y="15178"/>
                    <a:pt x="12231" y="14886"/>
                    <a:pt x="12752" y="15178"/>
                  </a:cubicBezTo>
                  <a:cubicBezTo>
                    <a:pt x="13272" y="15762"/>
                    <a:pt x="13012" y="15178"/>
                    <a:pt x="13533" y="15178"/>
                  </a:cubicBezTo>
                  <a:cubicBezTo>
                    <a:pt x="14573" y="14886"/>
                    <a:pt x="14313" y="14011"/>
                    <a:pt x="14834" y="13427"/>
                  </a:cubicBezTo>
                  <a:cubicBezTo>
                    <a:pt x="15094" y="13135"/>
                    <a:pt x="15614" y="13135"/>
                    <a:pt x="15614" y="12843"/>
                  </a:cubicBezTo>
                  <a:cubicBezTo>
                    <a:pt x="15875" y="12551"/>
                    <a:pt x="16135" y="12259"/>
                    <a:pt x="16135" y="11968"/>
                  </a:cubicBezTo>
                  <a:cubicBezTo>
                    <a:pt x="16135" y="11676"/>
                    <a:pt x="16655" y="11384"/>
                    <a:pt x="16916" y="11384"/>
                  </a:cubicBezTo>
                  <a:cubicBezTo>
                    <a:pt x="17176" y="11384"/>
                    <a:pt x="17176" y="10800"/>
                    <a:pt x="17176" y="10800"/>
                  </a:cubicBezTo>
                  <a:cubicBezTo>
                    <a:pt x="17176" y="9924"/>
                    <a:pt x="18217" y="10508"/>
                    <a:pt x="17957" y="9632"/>
                  </a:cubicBezTo>
                  <a:cubicBezTo>
                    <a:pt x="17957" y="8757"/>
                    <a:pt x="17696" y="8465"/>
                    <a:pt x="18477" y="7881"/>
                  </a:cubicBezTo>
                  <a:cubicBezTo>
                    <a:pt x="18737" y="7881"/>
                    <a:pt x="17436" y="7005"/>
                    <a:pt x="17176" y="6714"/>
                  </a:cubicBezTo>
                  <a:cubicBezTo>
                    <a:pt x="16916" y="6130"/>
                    <a:pt x="17176" y="5254"/>
                    <a:pt x="16916" y="4670"/>
                  </a:cubicBezTo>
                  <a:cubicBezTo>
                    <a:pt x="16916" y="3795"/>
                    <a:pt x="17696" y="3795"/>
                    <a:pt x="18217" y="4086"/>
                  </a:cubicBezTo>
                  <a:cubicBezTo>
                    <a:pt x="18477" y="4086"/>
                    <a:pt x="18998" y="4378"/>
                    <a:pt x="19258" y="4378"/>
                  </a:cubicBezTo>
                  <a:cubicBezTo>
                    <a:pt x="19778" y="4378"/>
                    <a:pt x="19778" y="4086"/>
                    <a:pt x="20039" y="3795"/>
                  </a:cubicBezTo>
                  <a:cubicBezTo>
                    <a:pt x="20819" y="3795"/>
                    <a:pt x="21080" y="3795"/>
                    <a:pt x="21600" y="2919"/>
                  </a:cubicBezTo>
                  <a:cubicBezTo>
                    <a:pt x="20819" y="2627"/>
                    <a:pt x="20039" y="2335"/>
                    <a:pt x="19778" y="1751"/>
                  </a:cubicBezTo>
                  <a:cubicBezTo>
                    <a:pt x="19518" y="1459"/>
                    <a:pt x="19518" y="876"/>
                    <a:pt x="19258" y="584"/>
                  </a:cubicBezTo>
                  <a:cubicBezTo>
                    <a:pt x="18998" y="292"/>
                    <a:pt x="18737" y="292"/>
                    <a:pt x="18477" y="0"/>
                  </a:cubicBezTo>
                  <a:cubicBezTo>
                    <a:pt x="17957" y="0"/>
                    <a:pt x="17176" y="292"/>
                    <a:pt x="16916" y="292"/>
                  </a:cubicBezTo>
                  <a:cubicBezTo>
                    <a:pt x="15875" y="0"/>
                    <a:pt x="15354" y="584"/>
                    <a:pt x="14573" y="1168"/>
                  </a:cubicBezTo>
                  <a:cubicBezTo>
                    <a:pt x="13793" y="1459"/>
                    <a:pt x="13272" y="1459"/>
                    <a:pt x="13793" y="2335"/>
                  </a:cubicBezTo>
                  <a:cubicBezTo>
                    <a:pt x="14313" y="2919"/>
                    <a:pt x="13793" y="3503"/>
                    <a:pt x="13272" y="3795"/>
                  </a:cubicBezTo>
                  <a:cubicBezTo>
                    <a:pt x="12752" y="4378"/>
                    <a:pt x="13533" y="5546"/>
                    <a:pt x="12492" y="5254"/>
                  </a:cubicBezTo>
                  <a:cubicBezTo>
                    <a:pt x="11190" y="5254"/>
                    <a:pt x="12231" y="5546"/>
                    <a:pt x="12231" y="6130"/>
                  </a:cubicBezTo>
                  <a:cubicBezTo>
                    <a:pt x="12492" y="6422"/>
                    <a:pt x="11451" y="6714"/>
                    <a:pt x="11190" y="7005"/>
                  </a:cubicBezTo>
                  <a:cubicBezTo>
                    <a:pt x="10930" y="7589"/>
                    <a:pt x="10930" y="8757"/>
                    <a:pt x="10670" y="8757"/>
                  </a:cubicBezTo>
                  <a:cubicBezTo>
                    <a:pt x="10410" y="9049"/>
                    <a:pt x="10149" y="8757"/>
                    <a:pt x="9889" y="8757"/>
                  </a:cubicBezTo>
                  <a:cubicBezTo>
                    <a:pt x="9369" y="8757"/>
                    <a:pt x="9108" y="9049"/>
                    <a:pt x="8848" y="9341"/>
                  </a:cubicBezTo>
                  <a:cubicBezTo>
                    <a:pt x="8328" y="9632"/>
                    <a:pt x="8067" y="9341"/>
                    <a:pt x="7807" y="9632"/>
                  </a:cubicBezTo>
                  <a:cubicBezTo>
                    <a:pt x="7287" y="9924"/>
                    <a:pt x="7287" y="10216"/>
                    <a:pt x="7027" y="10800"/>
                  </a:cubicBezTo>
                  <a:cubicBezTo>
                    <a:pt x="7027" y="11676"/>
                    <a:pt x="6506" y="11968"/>
                    <a:pt x="5725" y="12259"/>
                  </a:cubicBezTo>
                  <a:cubicBezTo>
                    <a:pt x="4945" y="12551"/>
                    <a:pt x="4164" y="12551"/>
                    <a:pt x="3383" y="12551"/>
                  </a:cubicBezTo>
                  <a:cubicBezTo>
                    <a:pt x="2082" y="12551"/>
                    <a:pt x="1041" y="12259"/>
                    <a:pt x="0" y="11676"/>
                  </a:cubicBezTo>
                  <a:cubicBezTo>
                    <a:pt x="260" y="12259"/>
                    <a:pt x="520" y="12843"/>
                    <a:pt x="781" y="13427"/>
                  </a:cubicBezTo>
                  <a:cubicBezTo>
                    <a:pt x="1041" y="13719"/>
                    <a:pt x="2082" y="14011"/>
                    <a:pt x="2082" y="1488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0" name="Shape 2119">
              <a:extLst>
                <a:ext uri="{FF2B5EF4-FFF2-40B4-BE49-F238E27FC236}">
                  <a16:creationId xmlns:a16="http://schemas.microsoft.com/office/drawing/2014/main" id="{6B35AFF5-113A-E4FF-B1A8-635FF78F953F}"/>
                </a:ext>
              </a:extLst>
            </p:cNvPr>
            <p:cNvSpPr/>
            <p:nvPr/>
          </p:nvSpPr>
          <p:spPr>
            <a:xfrm>
              <a:off x="7488863" y="2422147"/>
              <a:ext cx="484738" cy="336861"/>
            </a:xfrm>
            <a:custGeom>
              <a:avLst/>
              <a:gdLst/>
              <a:ahLst/>
              <a:cxnLst>
                <a:cxn ang="0">
                  <a:pos x="wd2" y="hd2"/>
                </a:cxn>
                <a:cxn ang="5400000">
                  <a:pos x="wd2" y="hd2"/>
                </a:cxn>
                <a:cxn ang="10800000">
                  <a:pos x="wd2" y="hd2"/>
                </a:cxn>
                <a:cxn ang="16200000">
                  <a:pos x="wd2" y="hd2"/>
                </a:cxn>
              </a:cxnLst>
              <a:rect l="0" t="0" r="r" b="b"/>
              <a:pathLst>
                <a:path w="21177" h="20748" extrusionOk="0">
                  <a:moveTo>
                    <a:pt x="20313" y="2511"/>
                  </a:moveTo>
                  <a:cubicBezTo>
                    <a:pt x="20025" y="2511"/>
                    <a:pt x="19737" y="3326"/>
                    <a:pt x="19449" y="2918"/>
                  </a:cubicBezTo>
                  <a:cubicBezTo>
                    <a:pt x="19161" y="2918"/>
                    <a:pt x="19161" y="2103"/>
                    <a:pt x="18873" y="2511"/>
                  </a:cubicBezTo>
                  <a:cubicBezTo>
                    <a:pt x="18297" y="2511"/>
                    <a:pt x="17721" y="3326"/>
                    <a:pt x="17433" y="3733"/>
                  </a:cubicBezTo>
                  <a:cubicBezTo>
                    <a:pt x="17145" y="3733"/>
                    <a:pt x="16569" y="4549"/>
                    <a:pt x="15993" y="4141"/>
                  </a:cubicBezTo>
                  <a:cubicBezTo>
                    <a:pt x="15705" y="3733"/>
                    <a:pt x="16569" y="2103"/>
                    <a:pt x="15993" y="1288"/>
                  </a:cubicBezTo>
                  <a:cubicBezTo>
                    <a:pt x="15993" y="1288"/>
                    <a:pt x="15417" y="-342"/>
                    <a:pt x="15129" y="66"/>
                  </a:cubicBezTo>
                  <a:cubicBezTo>
                    <a:pt x="14841" y="881"/>
                    <a:pt x="14553" y="1696"/>
                    <a:pt x="13977" y="2103"/>
                  </a:cubicBezTo>
                  <a:cubicBezTo>
                    <a:pt x="13401" y="2511"/>
                    <a:pt x="13113" y="2103"/>
                    <a:pt x="13113" y="2918"/>
                  </a:cubicBezTo>
                  <a:cubicBezTo>
                    <a:pt x="12825" y="4141"/>
                    <a:pt x="12537" y="2511"/>
                    <a:pt x="12249" y="2918"/>
                  </a:cubicBezTo>
                  <a:cubicBezTo>
                    <a:pt x="11673" y="3326"/>
                    <a:pt x="11385" y="3733"/>
                    <a:pt x="10809" y="3733"/>
                  </a:cubicBezTo>
                  <a:cubicBezTo>
                    <a:pt x="10233" y="3326"/>
                    <a:pt x="9657" y="2918"/>
                    <a:pt x="9369" y="2511"/>
                  </a:cubicBezTo>
                  <a:cubicBezTo>
                    <a:pt x="9081" y="2511"/>
                    <a:pt x="7641" y="2103"/>
                    <a:pt x="7641" y="2103"/>
                  </a:cubicBezTo>
                  <a:cubicBezTo>
                    <a:pt x="7353" y="2511"/>
                    <a:pt x="7641" y="2918"/>
                    <a:pt x="7353" y="2918"/>
                  </a:cubicBezTo>
                  <a:cubicBezTo>
                    <a:pt x="7065" y="2918"/>
                    <a:pt x="6489" y="2918"/>
                    <a:pt x="6489" y="3326"/>
                  </a:cubicBezTo>
                  <a:cubicBezTo>
                    <a:pt x="6201" y="4141"/>
                    <a:pt x="6201" y="4956"/>
                    <a:pt x="5625" y="5364"/>
                  </a:cubicBezTo>
                  <a:cubicBezTo>
                    <a:pt x="4761" y="6179"/>
                    <a:pt x="4473" y="5771"/>
                    <a:pt x="3897" y="6586"/>
                  </a:cubicBezTo>
                  <a:cubicBezTo>
                    <a:pt x="3609" y="7401"/>
                    <a:pt x="3033" y="7401"/>
                    <a:pt x="2745" y="7401"/>
                  </a:cubicBezTo>
                  <a:cubicBezTo>
                    <a:pt x="2457" y="6994"/>
                    <a:pt x="1017" y="6586"/>
                    <a:pt x="1017" y="6179"/>
                  </a:cubicBezTo>
                  <a:cubicBezTo>
                    <a:pt x="1017" y="7401"/>
                    <a:pt x="1017" y="8216"/>
                    <a:pt x="729" y="9032"/>
                  </a:cubicBezTo>
                  <a:cubicBezTo>
                    <a:pt x="153" y="9847"/>
                    <a:pt x="-423" y="10662"/>
                    <a:pt x="441" y="11477"/>
                  </a:cubicBezTo>
                  <a:cubicBezTo>
                    <a:pt x="729" y="11884"/>
                    <a:pt x="153" y="12292"/>
                    <a:pt x="153" y="13107"/>
                  </a:cubicBezTo>
                  <a:cubicBezTo>
                    <a:pt x="153" y="13515"/>
                    <a:pt x="153" y="14330"/>
                    <a:pt x="441" y="14737"/>
                  </a:cubicBezTo>
                  <a:cubicBezTo>
                    <a:pt x="441" y="15552"/>
                    <a:pt x="153" y="15960"/>
                    <a:pt x="729" y="15960"/>
                  </a:cubicBezTo>
                  <a:cubicBezTo>
                    <a:pt x="1593" y="16367"/>
                    <a:pt x="1881" y="15960"/>
                    <a:pt x="1881" y="17183"/>
                  </a:cubicBezTo>
                  <a:cubicBezTo>
                    <a:pt x="1881" y="17998"/>
                    <a:pt x="1017" y="19220"/>
                    <a:pt x="729" y="19628"/>
                  </a:cubicBezTo>
                  <a:cubicBezTo>
                    <a:pt x="3033" y="21258"/>
                    <a:pt x="5625" y="20850"/>
                    <a:pt x="7929" y="20035"/>
                  </a:cubicBezTo>
                  <a:cubicBezTo>
                    <a:pt x="8793" y="19628"/>
                    <a:pt x="8505" y="17998"/>
                    <a:pt x="8793" y="17183"/>
                  </a:cubicBezTo>
                  <a:cubicBezTo>
                    <a:pt x="9081" y="16367"/>
                    <a:pt x="10233" y="16775"/>
                    <a:pt x="10809" y="15960"/>
                  </a:cubicBezTo>
                  <a:cubicBezTo>
                    <a:pt x="11097" y="15960"/>
                    <a:pt x="11385" y="15552"/>
                    <a:pt x="11961" y="15552"/>
                  </a:cubicBezTo>
                  <a:cubicBezTo>
                    <a:pt x="11961" y="15552"/>
                    <a:pt x="12537" y="15960"/>
                    <a:pt x="12537" y="15552"/>
                  </a:cubicBezTo>
                  <a:cubicBezTo>
                    <a:pt x="12825" y="14737"/>
                    <a:pt x="12825" y="13922"/>
                    <a:pt x="13113" y="13107"/>
                  </a:cubicBezTo>
                  <a:cubicBezTo>
                    <a:pt x="13401" y="12700"/>
                    <a:pt x="14553" y="12292"/>
                    <a:pt x="14265" y="11884"/>
                  </a:cubicBezTo>
                  <a:cubicBezTo>
                    <a:pt x="14265" y="11477"/>
                    <a:pt x="13113" y="10662"/>
                    <a:pt x="14265" y="10662"/>
                  </a:cubicBezTo>
                  <a:cubicBezTo>
                    <a:pt x="14553" y="10662"/>
                    <a:pt x="15129" y="11069"/>
                    <a:pt x="15417" y="10254"/>
                  </a:cubicBezTo>
                  <a:cubicBezTo>
                    <a:pt x="15417" y="9847"/>
                    <a:pt x="15129" y="9439"/>
                    <a:pt x="15417" y="9032"/>
                  </a:cubicBezTo>
                  <a:cubicBezTo>
                    <a:pt x="15417" y="8216"/>
                    <a:pt x="16281" y="8216"/>
                    <a:pt x="16281" y="7401"/>
                  </a:cubicBezTo>
                  <a:cubicBezTo>
                    <a:pt x="16281" y="6586"/>
                    <a:pt x="15417" y="6179"/>
                    <a:pt x="15705" y="5364"/>
                  </a:cubicBezTo>
                  <a:cubicBezTo>
                    <a:pt x="16281" y="4956"/>
                    <a:pt x="17145" y="4549"/>
                    <a:pt x="17721" y="4141"/>
                  </a:cubicBezTo>
                  <a:cubicBezTo>
                    <a:pt x="18297" y="3326"/>
                    <a:pt x="19161" y="3733"/>
                    <a:pt x="19737" y="3733"/>
                  </a:cubicBezTo>
                  <a:cubicBezTo>
                    <a:pt x="20025" y="3733"/>
                    <a:pt x="20601" y="3733"/>
                    <a:pt x="20889" y="3326"/>
                  </a:cubicBezTo>
                  <a:cubicBezTo>
                    <a:pt x="20889" y="3326"/>
                    <a:pt x="21177" y="2918"/>
                    <a:pt x="21177" y="2511"/>
                  </a:cubicBezTo>
                  <a:cubicBezTo>
                    <a:pt x="20889" y="2511"/>
                    <a:pt x="20601" y="2511"/>
                    <a:pt x="20313" y="2511"/>
                  </a:cubicBezTo>
                  <a:cubicBezTo>
                    <a:pt x="20025" y="2918"/>
                    <a:pt x="20601" y="2511"/>
                    <a:pt x="20313" y="25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1" name="Shape 2120">
              <a:extLst>
                <a:ext uri="{FF2B5EF4-FFF2-40B4-BE49-F238E27FC236}">
                  <a16:creationId xmlns:a16="http://schemas.microsoft.com/office/drawing/2014/main" id="{CA472E98-3EF6-A277-73BD-2D7E7D7F7DF1}"/>
                </a:ext>
              </a:extLst>
            </p:cNvPr>
            <p:cNvSpPr/>
            <p:nvPr/>
          </p:nvSpPr>
          <p:spPr>
            <a:xfrm>
              <a:off x="7438582" y="2138199"/>
              <a:ext cx="13620" cy="22122"/>
            </a:xfrm>
            <a:custGeom>
              <a:avLst/>
              <a:gdLst/>
              <a:ahLst/>
              <a:cxnLst>
                <a:cxn ang="0">
                  <a:pos x="wd2" y="hd2"/>
                </a:cxn>
                <a:cxn ang="5400000">
                  <a:pos x="wd2" y="hd2"/>
                </a:cxn>
                <a:cxn ang="10800000">
                  <a:pos x="wd2" y="hd2"/>
                </a:cxn>
                <a:cxn ang="16200000">
                  <a:pos x="wd2" y="hd2"/>
                </a:cxn>
              </a:cxnLst>
              <a:rect l="0" t="0" r="r" b="b"/>
              <a:pathLst>
                <a:path w="16362" h="17712" extrusionOk="0">
                  <a:moveTo>
                    <a:pt x="16362" y="6912"/>
                  </a:moveTo>
                  <a:cubicBezTo>
                    <a:pt x="9162" y="6912"/>
                    <a:pt x="1962" y="-3888"/>
                    <a:pt x="1962" y="1512"/>
                  </a:cubicBezTo>
                  <a:cubicBezTo>
                    <a:pt x="-5238" y="6912"/>
                    <a:pt x="9162" y="12312"/>
                    <a:pt x="16362" y="17712"/>
                  </a:cubicBezTo>
                  <a:cubicBezTo>
                    <a:pt x="16362" y="12312"/>
                    <a:pt x="16362" y="6912"/>
                    <a:pt x="16362" y="6912"/>
                  </a:cubicBezTo>
                  <a:cubicBezTo>
                    <a:pt x="9162" y="1512"/>
                    <a:pt x="16362" y="6912"/>
                    <a:pt x="16362" y="691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2" name="Shape 2121">
              <a:extLst>
                <a:ext uri="{FF2B5EF4-FFF2-40B4-BE49-F238E27FC236}">
                  <a16:creationId xmlns:a16="http://schemas.microsoft.com/office/drawing/2014/main" id="{D05F29E1-7C85-96FF-E684-B6B71A40F7BA}"/>
                </a:ext>
              </a:extLst>
            </p:cNvPr>
            <p:cNvSpPr/>
            <p:nvPr/>
          </p:nvSpPr>
          <p:spPr>
            <a:xfrm>
              <a:off x="7027195" y="1717467"/>
              <a:ext cx="1328466" cy="624220"/>
            </a:xfrm>
            <a:custGeom>
              <a:avLst/>
              <a:gdLst/>
              <a:ahLst/>
              <a:cxnLst>
                <a:cxn ang="0">
                  <a:pos x="wd2" y="hd2"/>
                </a:cxn>
                <a:cxn ang="5400000">
                  <a:pos x="wd2" y="hd2"/>
                </a:cxn>
                <a:cxn ang="10800000">
                  <a:pos x="wd2" y="hd2"/>
                </a:cxn>
                <a:cxn ang="16200000">
                  <a:pos x="wd2" y="hd2"/>
                </a:cxn>
              </a:cxnLst>
              <a:rect l="0" t="0" r="r" b="b"/>
              <a:pathLst>
                <a:path w="21459" h="21045" extrusionOk="0">
                  <a:moveTo>
                    <a:pt x="21246" y="8685"/>
                  </a:moveTo>
                  <a:cubicBezTo>
                    <a:pt x="21246" y="8462"/>
                    <a:pt x="20821" y="8685"/>
                    <a:pt x="20821" y="8685"/>
                  </a:cubicBezTo>
                  <a:cubicBezTo>
                    <a:pt x="20608" y="8685"/>
                    <a:pt x="20501" y="8462"/>
                    <a:pt x="20501" y="8239"/>
                  </a:cubicBezTo>
                  <a:cubicBezTo>
                    <a:pt x="20395" y="7794"/>
                    <a:pt x="20182" y="7794"/>
                    <a:pt x="20182" y="7571"/>
                  </a:cubicBezTo>
                  <a:cubicBezTo>
                    <a:pt x="20076" y="7348"/>
                    <a:pt x="19969" y="6680"/>
                    <a:pt x="19650" y="6680"/>
                  </a:cubicBezTo>
                  <a:cubicBezTo>
                    <a:pt x="19331" y="6680"/>
                    <a:pt x="19012" y="7348"/>
                    <a:pt x="18692" y="6903"/>
                  </a:cubicBezTo>
                  <a:cubicBezTo>
                    <a:pt x="18586" y="6680"/>
                    <a:pt x="18480" y="6458"/>
                    <a:pt x="18373" y="6235"/>
                  </a:cubicBezTo>
                  <a:cubicBezTo>
                    <a:pt x="18267" y="6235"/>
                    <a:pt x="18054" y="6903"/>
                    <a:pt x="17948" y="6903"/>
                  </a:cubicBezTo>
                  <a:cubicBezTo>
                    <a:pt x="17841" y="7126"/>
                    <a:pt x="17203" y="4676"/>
                    <a:pt x="17203" y="4231"/>
                  </a:cubicBezTo>
                  <a:cubicBezTo>
                    <a:pt x="16990" y="3786"/>
                    <a:pt x="16884" y="3118"/>
                    <a:pt x="16564" y="2895"/>
                  </a:cubicBezTo>
                  <a:cubicBezTo>
                    <a:pt x="16458" y="2672"/>
                    <a:pt x="16352" y="2449"/>
                    <a:pt x="16245" y="2449"/>
                  </a:cubicBezTo>
                  <a:cubicBezTo>
                    <a:pt x="16032" y="2227"/>
                    <a:pt x="16245" y="1781"/>
                    <a:pt x="16245" y="1559"/>
                  </a:cubicBezTo>
                  <a:cubicBezTo>
                    <a:pt x="16245" y="1336"/>
                    <a:pt x="15500" y="2227"/>
                    <a:pt x="15394" y="2449"/>
                  </a:cubicBezTo>
                  <a:cubicBezTo>
                    <a:pt x="15288" y="2449"/>
                    <a:pt x="14436" y="3118"/>
                    <a:pt x="14436" y="2895"/>
                  </a:cubicBezTo>
                  <a:cubicBezTo>
                    <a:pt x="14436" y="2449"/>
                    <a:pt x="14649" y="2227"/>
                    <a:pt x="14436" y="2227"/>
                  </a:cubicBezTo>
                  <a:cubicBezTo>
                    <a:pt x="14330" y="2004"/>
                    <a:pt x="14224" y="1781"/>
                    <a:pt x="14117" y="2004"/>
                  </a:cubicBezTo>
                  <a:cubicBezTo>
                    <a:pt x="14117" y="2004"/>
                    <a:pt x="14117" y="2227"/>
                    <a:pt x="14011" y="2004"/>
                  </a:cubicBezTo>
                  <a:cubicBezTo>
                    <a:pt x="13798" y="1781"/>
                    <a:pt x="13904" y="1559"/>
                    <a:pt x="13585" y="1781"/>
                  </a:cubicBezTo>
                  <a:cubicBezTo>
                    <a:pt x="13266" y="2227"/>
                    <a:pt x="13266" y="1559"/>
                    <a:pt x="13266" y="1113"/>
                  </a:cubicBezTo>
                  <a:cubicBezTo>
                    <a:pt x="13372" y="223"/>
                    <a:pt x="12734" y="0"/>
                    <a:pt x="12415" y="0"/>
                  </a:cubicBezTo>
                  <a:cubicBezTo>
                    <a:pt x="12202" y="0"/>
                    <a:pt x="11989" y="223"/>
                    <a:pt x="11776" y="445"/>
                  </a:cubicBezTo>
                  <a:cubicBezTo>
                    <a:pt x="11563" y="668"/>
                    <a:pt x="11351" y="891"/>
                    <a:pt x="11031" y="891"/>
                  </a:cubicBezTo>
                  <a:cubicBezTo>
                    <a:pt x="10180" y="1336"/>
                    <a:pt x="9329" y="2004"/>
                    <a:pt x="8478" y="2004"/>
                  </a:cubicBezTo>
                  <a:cubicBezTo>
                    <a:pt x="8265" y="2004"/>
                    <a:pt x="8052" y="2004"/>
                    <a:pt x="7946" y="2227"/>
                  </a:cubicBezTo>
                  <a:cubicBezTo>
                    <a:pt x="7839" y="2449"/>
                    <a:pt x="8052" y="3118"/>
                    <a:pt x="8265" y="3118"/>
                  </a:cubicBezTo>
                  <a:cubicBezTo>
                    <a:pt x="8691" y="3786"/>
                    <a:pt x="7946" y="3563"/>
                    <a:pt x="7733" y="3786"/>
                  </a:cubicBezTo>
                  <a:cubicBezTo>
                    <a:pt x="7520" y="4008"/>
                    <a:pt x="7839" y="4231"/>
                    <a:pt x="7839" y="4454"/>
                  </a:cubicBezTo>
                  <a:cubicBezTo>
                    <a:pt x="7839" y="4899"/>
                    <a:pt x="7414" y="4899"/>
                    <a:pt x="7414" y="5122"/>
                  </a:cubicBezTo>
                  <a:cubicBezTo>
                    <a:pt x="7414" y="5790"/>
                    <a:pt x="8265" y="5567"/>
                    <a:pt x="8159" y="6458"/>
                  </a:cubicBezTo>
                  <a:cubicBezTo>
                    <a:pt x="8052" y="6680"/>
                    <a:pt x="7946" y="6903"/>
                    <a:pt x="7733" y="6903"/>
                  </a:cubicBezTo>
                  <a:cubicBezTo>
                    <a:pt x="7626" y="6903"/>
                    <a:pt x="7307" y="6903"/>
                    <a:pt x="7201" y="6903"/>
                  </a:cubicBezTo>
                  <a:cubicBezTo>
                    <a:pt x="6988" y="7126"/>
                    <a:pt x="7094" y="7348"/>
                    <a:pt x="6882" y="7126"/>
                  </a:cubicBezTo>
                  <a:cubicBezTo>
                    <a:pt x="6669" y="6903"/>
                    <a:pt x="6456" y="6458"/>
                    <a:pt x="6243" y="6458"/>
                  </a:cubicBezTo>
                  <a:cubicBezTo>
                    <a:pt x="6137" y="6235"/>
                    <a:pt x="5924" y="6680"/>
                    <a:pt x="5818" y="6680"/>
                  </a:cubicBezTo>
                  <a:cubicBezTo>
                    <a:pt x="5605" y="6458"/>
                    <a:pt x="5498" y="6458"/>
                    <a:pt x="5286" y="6680"/>
                  </a:cubicBezTo>
                  <a:cubicBezTo>
                    <a:pt x="5179" y="6903"/>
                    <a:pt x="5073" y="7348"/>
                    <a:pt x="4966" y="7126"/>
                  </a:cubicBezTo>
                  <a:cubicBezTo>
                    <a:pt x="4860" y="7126"/>
                    <a:pt x="4541" y="6458"/>
                    <a:pt x="4434" y="6680"/>
                  </a:cubicBezTo>
                  <a:cubicBezTo>
                    <a:pt x="4328" y="6680"/>
                    <a:pt x="4328" y="7348"/>
                    <a:pt x="4222" y="6903"/>
                  </a:cubicBezTo>
                  <a:cubicBezTo>
                    <a:pt x="4115" y="6458"/>
                    <a:pt x="4009" y="6235"/>
                    <a:pt x="3796" y="6012"/>
                  </a:cubicBezTo>
                  <a:cubicBezTo>
                    <a:pt x="3583" y="5790"/>
                    <a:pt x="3370" y="5790"/>
                    <a:pt x="3264" y="5567"/>
                  </a:cubicBezTo>
                  <a:cubicBezTo>
                    <a:pt x="2945" y="5344"/>
                    <a:pt x="2945" y="5790"/>
                    <a:pt x="2732" y="5790"/>
                  </a:cubicBezTo>
                  <a:cubicBezTo>
                    <a:pt x="2519" y="6012"/>
                    <a:pt x="2413" y="5344"/>
                    <a:pt x="2200" y="5567"/>
                  </a:cubicBezTo>
                  <a:cubicBezTo>
                    <a:pt x="2093" y="5790"/>
                    <a:pt x="2093" y="6012"/>
                    <a:pt x="1987" y="6012"/>
                  </a:cubicBezTo>
                  <a:cubicBezTo>
                    <a:pt x="1881" y="6235"/>
                    <a:pt x="1668" y="6235"/>
                    <a:pt x="1561" y="6235"/>
                  </a:cubicBezTo>
                  <a:cubicBezTo>
                    <a:pt x="1455" y="6458"/>
                    <a:pt x="1242" y="6903"/>
                    <a:pt x="1242" y="7126"/>
                  </a:cubicBezTo>
                  <a:cubicBezTo>
                    <a:pt x="1136" y="7348"/>
                    <a:pt x="1349" y="8016"/>
                    <a:pt x="1136" y="8016"/>
                  </a:cubicBezTo>
                  <a:cubicBezTo>
                    <a:pt x="923" y="8239"/>
                    <a:pt x="604" y="6903"/>
                    <a:pt x="497" y="7571"/>
                  </a:cubicBezTo>
                  <a:cubicBezTo>
                    <a:pt x="391" y="8016"/>
                    <a:pt x="285" y="8016"/>
                    <a:pt x="178" y="8462"/>
                  </a:cubicBezTo>
                  <a:cubicBezTo>
                    <a:pt x="72" y="8907"/>
                    <a:pt x="497" y="8907"/>
                    <a:pt x="285" y="9353"/>
                  </a:cubicBezTo>
                  <a:cubicBezTo>
                    <a:pt x="178" y="9575"/>
                    <a:pt x="-141" y="10021"/>
                    <a:pt x="72" y="10243"/>
                  </a:cubicBezTo>
                  <a:cubicBezTo>
                    <a:pt x="178" y="10243"/>
                    <a:pt x="285" y="10466"/>
                    <a:pt x="285" y="10466"/>
                  </a:cubicBezTo>
                  <a:cubicBezTo>
                    <a:pt x="391" y="10689"/>
                    <a:pt x="285" y="10911"/>
                    <a:pt x="391" y="11134"/>
                  </a:cubicBezTo>
                  <a:cubicBezTo>
                    <a:pt x="604" y="11357"/>
                    <a:pt x="817" y="10911"/>
                    <a:pt x="1029" y="11357"/>
                  </a:cubicBezTo>
                  <a:cubicBezTo>
                    <a:pt x="1136" y="11579"/>
                    <a:pt x="1349" y="12247"/>
                    <a:pt x="1349" y="12693"/>
                  </a:cubicBezTo>
                  <a:cubicBezTo>
                    <a:pt x="1242" y="12693"/>
                    <a:pt x="923" y="12470"/>
                    <a:pt x="1242" y="12915"/>
                  </a:cubicBezTo>
                  <a:cubicBezTo>
                    <a:pt x="1349" y="13138"/>
                    <a:pt x="1349" y="13361"/>
                    <a:pt x="1561" y="12915"/>
                  </a:cubicBezTo>
                  <a:cubicBezTo>
                    <a:pt x="1561" y="12693"/>
                    <a:pt x="1561" y="12693"/>
                    <a:pt x="1668" y="12693"/>
                  </a:cubicBezTo>
                  <a:cubicBezTo>
                    <a:pt x="2200" y="12693"/>
                    <a:pt x="2413" y="12025"/>
                    <a:pt x="2945" y="12470"/>
                  </a:cubicBezTo>
                  <a:cubicBezTo>
                    <a:pt x="3158" y="12693"/>
                    <a:pt x="3370" y="12025"/>
                    <a:pt x="3477" y="12470"/>
                  </a:cubicBezTo>
                  <a:cubicBezTo>
                    <a:pt x="3583" y="12693"/>
                    <a:pt x="3796" y="13584"/>
                    <a:pt x="3690" y="14029"/>
                  </a:cubicBezTo>
                  <a:cubicBezTo>
                    <a:pt x="3583" y="14029"/>
                    <a:pt x="3370" y="14252"/>
                    <a:pt x="3583" y="14252"/>
                  </a:cubicBezTo>
                  <a:cubicBezTo>
                    <a:pt x="3583" y="14474"/>
                    <a:pt x="3583" y="14474"/>
                    <a:pt x="3583" y="14474"/>
                  </a:cubicBezTo>
                  <a:cubicBezTo>
                    <a:pt x="3477" y="14697"/>
                    <a:pt x="3370" y="14697"/>
                    <a:pt x="3370" y="14697"/>
                  </a:cubicBezTo>
                  <a:cubicBezTo>
                    <a:pt x="3051" y="14697"/>
                    <a:pt x="2200" y="14252"/>
                    <a:pt x="2413" y="15365"/>
                  </a:cubicBezTo>
                  <a:cubicBezTo>
                    <a:pt x="2519" y="15810"/>
                    <a:pt x="2413" y="15810"/>
                    <a:pt x="2200" y="15588"/>
                  </a:cubicBezTo>
                  <a:cubicBezTo>
                    <a:pt x="1987" y="15365"/>
                    <a:pt x="2093" y="15810"/>
                    <a:pt x="2200" y="16033"/>
                  </a:cubicBezTo>
                  <a:cubicBezTo>
                    <a:pt x="2413" y="16033"/>
                    <a:pt x="2413" y="16701"/>
                    <a:pt x="2519" y="16924"/>
                  </a:cubicBezTo>
                  <a:cubicBezTo>
                    <a:pt x="2732" y="17146"/>
                    <a:pt x="2413" y="17592"/>
                    <a:pt x="2732" y="17592"/>
                  </a:cubicBezTo>
                  <a:cubicBezTo>
                    <a:pt x="2838" y="17592"/>
                    <a:pt x="3051" y="18037"/>
                    <a:pt x="3158" y="18260"/>
                  </a:cubicBezTo>
                  <a:cubicBezTo>
                    <a:pt x="3477" y="18260"/>
                    <a:pt x="3158" y="18928"/>
                    <a:pt x="3158" y="19373"/>
                  </a:cubicBezTo>
                  <a:cubicBezTo>
                    <a:pt x="3477" y="18928"/>
                    <a:pt x="3902" y="18260"/>
                    <a:pt x="4328" y="18928"/>
                  </a:cubicBezTo>
                  <a:cubicBezTo>
                    <a:pt x="4541" y="19373"/>
                    <a:pt x="4647" y="20041"/>
                    <a:pt x="4966" y="20041"/>
                  </a:cubicBezTo>
                  <a:cubicBezTo>
                    <a:pt x="5179" y="20041"/>
                    <a:pt x="5073" y="19596"/>
                    <a:pt x="5073" y="19373"/>
                  </a:cubicBezTo>
                  <a:cubicBezTo>
                    <a:pt x="5073" y="18705"/>
                    <a:pt x="5073" y="18037"/>
                    <a:pt x="5073" y="17369"/>
                  </a:cubicBezTo>
                  <a:cubicBezTo>
                    <a:pt x="5073" y="16924"/>
                    <a:pt x="4966" y="15142"/>
                    <a:pt x="5179" y="15142"/>
                  </a:cubicBezTo>
                  <a:cubicBezTo>
                    <a:pt x="5392" y="14920"/>
                    <a:pt x="5711" y="14697"/>
                    <a:pt x="5924" y="14474"/>
                  </a:cubicBezTo>
                  <a:cubicBezTo>
                    <a:pt x="6137" y="14474"/>
                    <a:pt x="6350" y="14252"/>
                    <a:pt x="6456" y="14252"/>
                  </a:cubicBezTo>
                  <a:cubicBezTo>
                    <a:pt x="6562" y="14029"/>
                    <a:pt x="6456" y="13584"/>
                    <a:pt x="6669" y="13806"/>
                  </a:cubicBezTo>
                  <a:cubicBezTo>
                    <a:pt x="6775" y="13806"/>
                    <a:pt x="7094" y="14252"/>
                    <a:pt x="7094" y="13806"/>
                  </a:cubicBezTo>
                  <a:cubicBezTo>
                    <a:pt x="7094" y="13584"/>
                    <a:pt x="7307" y="13361"/>
                    <a:pt x="7414" y="13806"/>
                  </a:cubicBezTo>
                  <a:cubicBezTo>
                    <a:pt x="7520" y="14029"/>
                    <a:pt x="7414" y="14252"/>
                    <a:pt x="7520" y="14697"/>
                  </a:cubicBezTo>
                  <a:cubicBezTo>
                    <a:pt x="7520" y="14920"/>
                    <a:pt x="7626" y="15365"/>
                    <a:pt x="7520" y="15588"/>
                  </a:cubicBezTo>
                  <a:cubicBezTo>
                    <a:pt x="7626" y="15810"/>
                    <a:pt x="7733" y="15810"/>
                    <a:pt x="7839" y="16033"/>
                  </a:cubicBezTo>
                  <a:cubicBezTo>
                    <a:pt x="8159" y="16701"/>
                    <a:pt x="8371" y="17146"/>
                    <a:pt x="8797" y="16924"/>
                  </a:cubicBezTo>
                  <a:cubicBezTo>
                    <a:pt x="9010" y="16924"/>
                    <a:pt x="9223" y="17146"/>
                    <a:pt x="9435" y="17146"/>
                  </a:cubicBezTo>
                  <a:cubicBezTo>
                    <a:pt x="9648" y="17146"/>
                    <a:pt x="9755" y="16701"/>
                    <a:pt x="9967" y="16701"/>
                  </a:cubicBezTo>
                  <a:cubicBezTo>
                    <a:pt x="10180" y="16924"/>
                    <a:pt x="10393" y="17592"/>
                    <a:pt x="10499" y="18037"/>
                  </a:cubicBezTo>
                  <a:cubicBezTo>
                    <a:pt x="10606" y="18260"/>
                    <a:pt x="10499" y="18482"/>
                    <a:pt x="10499" y="18928"/>
                  </a:cubicBezTo>
                  <a:cubicBezTo>
                    <a:pt x="10499" y="19373"/>
                    <a:pt x="10819" y="19596"/>
                    <a:pt x="10819" y="20041"/>
                  </a:cubicBezTo>
                  <a:cubicBezTo>
                    <a:pt x="10819" y="20264"/>
                    <a:pt x="11138" y="20264"/>
                    <a:pt x="11244" y="20264"/>
                  </a:cubicBezTo>
                  <a:cubicBezTo>
                    <a:pt x="11457" y="20264"/>
                    <a:pt x="11457" y="20264"/>
                    <a:pt x="11563" y="20709"/>
                  </a:cubicBezTo>
                  <a:cubicBezTo>
                    <a:pt x="11776" y="21600"/>
                    <a:pt x="11989" y="20487"/>
                    <a:pt x="12202" y="20041"/>
                  </a:cubicBezTo>
                  <a:cubicBezTo>
                    <a:pt x="12308" y="19373"/>
                    <a:pt x="12734" y="19373"/>
                    <a:pt x="12947" y="18928"/>
                  </a:cubicBezTo>
                  <a:cubicBezTo>
                    <a:pt x="13159" y="18928"/>
                    <a:pt x="13159" y="18928"/>
                    <a:pt x="13266" y="18705"/>
                  </a:cubicBezTo>
                  <a:cubicBezTo>
                    <a:pt x="13372" y="18037"/>
                    <a:pt x="13479" y="18260"/>
                    <a:pt x="13692" y="18260"/>
                  </a:cubicBezTo>
                  <a:cubicBezTo>
                    <a:pt x="13904" y="18260"/>
                    <a:pt x="14330" y="18928"/>
                    <a:pt x="14436" y="18482"/>
                  </a:cubicBezTo>
                  <a:cubicBezTo>
                    <a:pt x="14436" y="18037"/>
                    <a:pt x="14436" y="17814"/>
                    <a:pt x="14649" y="17592"/>
                  </a:cubicBezTo>
                  <a:cubicBezTo>
                    <a:pt x="14862" y="17369"/>
                    <a:pt x="15075" y="17814"/>
                    <a:pt x="15288" y="17814"/>
                  </a:cubicBezTo>
                  <a:cubicBezTo>
                    <a:pt x="15500" y="18037"/>
                    <a:pt x="15926" y="18037"/>
                    <a:pt x="16139" y="18037"/>
                  </a:cubicBezTo>
                  <a:cubicBezTo>
                    <a:pt x="16777" y="18037"/>
                    <a:pt x="17309" y="18482"/>
                    <a:pt x="17948" y="18705"/>
                  </a:cubicBezTo>
                  <a:cubicBezTo>
                    <a:pt x="17841" y="18260"/>
                    <a:pt x="18054" y="18037"/>
                    <a:pt x="18267" y="17592"/>
                  </a:cubicBezTo>
                  <a:cubicBezTo>
                    <a:pt x="18373" y="17369"/>
                    <a:pt x="18267" y="17369"/>
                    <a:pt x="18160" y="16924"/>
                  </a:cubicBezTo>
                  <a:cubicBezTo>
                    <a:pt x="18054" y="16701"/>
                    <a:pt x="18054" y="16256"/>
                    <a:pt x="18054" y="15810"/>
                  </a:cubicBezTo>
                  <a:cubicBezTo>
                    <a:pt x="17948" y="15810"/>
                    <a:pt x="17948" y="14920"/>
                    <a:pt x="17841" y="15142"/>
                  </a:cubicBezTo>
                  <a:cubicBezTo>
                    <a:pt x="17948" y="14920"/>
                    <a:pt x="18267" y="14920"/>
                    <a:pt x="18480" y="14697"/>
                  </a:cubicBezTo>
                  <a:cubicBezTo>
                    <a:pt x="18799" y="14697"/>
                    <a:pt x="19012" y="15142"/>
                    <a:pt x="19225" y="14697"/>
                  </a:cubicBezTo>
                  <a:cubicBezTo>
                    <a:pt x="19331" y="14697"/>
                    <a:pt x="19118" y="14474"/>
                    <a:pt x="19118" y="14252"/>
                  </a:cubicBezTo>
                  <a:cubicBezTo>
                    <a:pt x="19012" y="14029"/>
                    <a:pt x="19118" y="13584"/>
                    <a:pt x="19225" y="13361"/>
                  </a:cubicBezTo>
                  <a:cubicBezTo>
                    <a:pt x="19331" y="13138"/>
                    <a:pt x="19437" y="11802"/>
                    <a:pt x="19544" y="12025"/>
                  </a:cubicBezTo>
                  <a:cubicBezTo>
                    <a:pt x="19757" y="12247"/>
                    <a:pt x="19863" y="12470"/>
                    <a:pt x="20076" y="12470"/>
                  </a:cubicBezTo>
                  <a:cubicBezTo>
                    <a:pt x="20182" y="12247"/>
                    <a:pt x="20289" y="12693"/>
                    <a:pt x="20395" y="12470"/>
                  </a:cubicBezTo>
                  <a:cubicBezTo>
                    <a:pt x="20501" y="12470"/>
                    <a:pt x="20714" y="12247"/>
                    <a:pt x="20821" y="12025"/>
                  </a:cubicBezTo>
                  <a:cubicBezTo>
                    <a:pt x="20927" y="11802"/>
                    <a:pt x="20714" y="11357"/>
                    <a:pt x="20714" y="10911"/>
                  </a:cubicBezTo>
                  <a:cubicBezTo>
                    <a:pt x="20821" y="10243"/>
                    <a:pt x="21140" y="10466"/>
                    <a:pt x="21353" y="9798"/>
                  </a:cubicBezTo>
                  <a:cubicBezTo>
                    <a:pt x="21353" y="9575"/>
                    <a:pt x="21353" y="9575"/>
                    <a:pt x="21459" y="9353"/>
                  </a:cubicBezTo>
                  <a:cubicBezTo>
                    <a:pt x="21459" y="9130"/>
                    <a:pt x="21353" y="8907"/>
                    <a:pt x="21246" y="8685"/>
                  </a:cubicBezTo>
                  <a:cubicBezTo>
                    <a:pt x="21246" y="8462"/>
                    <a:pt x="21353" y="8685"/>
                    <a:pt x="21246" y="8685"/>
                  </a:cubicBezTo>
                  <a:close/>
                  <a:moveTo>
                    <a:pt x="15607" y="12915"/>
                  </a:moveTo>
                  <a:cubicBezTo>
                    <a:pt x="15394" y="12915"/>
                    <a:pt x="15075" y="13584"/>
                    <a:pt x="14968" y="13806"/>
                  </a:cubicBezTo>
                  <a:cubicBezTo>
                    <a:pt x="14862" y="13806"/>
                    <a:pt x="14756" y="14252"/>
                    <a:pt x="14756" y="14474"/>
                  </a:cubicBezTo>
                  <a:cubicBezTo>
                    <a:pt x="14756" y="14697"/>
                    <a:pt x="14862" y="14920"/>
                    <a:pt x="14862" y="14920"/>
                  </a:cubicBezTo>
                  <a:cubicBezTo>
                    <a:pt x="14756" y="15142"/>
                    <a:pt x="14543" y="14252"/>
                    <a:pt x="14543" y="14029"/>
                  </a:cubicBezTo>
                  <a:cubicBezTo>
                    <a:pt x="14543" y="13584"/>
                    <a:pt x="14649" y="13361"/>
                    <a:pt x="14862" y="13138"/>
                  </a:cubicBezTo>
                  <a:cubicBezTo>
                    <a:pt x="15075" y="12915"/>
                    <a:pt x="15288" y="12693"/>
                    <a:pt x="15500" y="12693"/>
                  </a:cubicBezTo>
                  <a:cubicBezTo>
                    <a:pt x="15500" y="12693"/>
                    <a:pt x="16032" y="12915"/>
                    <a:pt x="16032" y="12915"/>
                  </a:cubicBezTo>
                  <a:cubicBezTo>
                    <a:pt x="15926" y="13138"/>
                    <a:pt x="15607" y="12915"/>
                    <a:pt x="15607" y="12915"/>
                  </a:cubicBezTo>
                  <a:cubicBezTo>
                    <a:pt x="15394" y="12915"/>
                    <a:pt x="15713" y="12915"/>
                    <a:pt x="15607" y="12915"/>
                  </a:cubicBezTo>
                  <a:close/>
                  <a:moveTo>
                    <a:pt x="17416" y="13138"/>
                  </a:moveTo>
                  <a:cubicBezTo>
                    <a:pt x="17309" y="13584"/>
                    <a:pt x="16564" y="13361"/>
                    <a:pt x="16458" y="12915"/>
                  </a:cubicBezTo>
                  <a:cubicBezTo>
                    <a:pt x="16458" y="12915"/>
                    <a:pt x="16884" y="12915"/>
                    <a:pt x="16884" y="12915"/>
                  </a:cubicBezTo>
                  <a:cubicBezTo>
                    <a:pt x="17096" y="12915"/>
                    <a:pt x="17203" y="12915"/>
                    <a:pt x="17416" y="12693"/>
                  </a:cubicBezTo>
                  <a:cubicBezTo>
                    <a:pt x="17416" y="12693"/>
                    <a:pt x="17416" y="13138"/>
                    <a:pt x="17416" y="13138"/>
                  </a:cubicBezTo>
                  <a:cubicBezTo>
                    <a:pt x="17309" y="13361"/>
                    <a:pt x="17416" y="12915"/>
                    <a:pt x="17416" y="1313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3" name="Shape 2122">
              <a:extLst>
                <a:ext uri="{FF2B5EF4-FFF2-40B4-BE49-F238E27FC236}">
                  <a16:creationId xmlns:a16="http://schemas.microsoft.com/office/drawing/2014/main" id="{35BA1984-5677-7B85-5CE8-41FA942E8853}"/>
                </a:ext>
              </a:extLst>
            </p:cNvPr>
            <p:cNvSpPr/>
            <p:nvPr/>
          </p:nvSpPr>
          <p:spPr>
            <a:xfrm>
              <a:off x="7742117" y="2521842"/>
              <a:ext cx="915025" cy="966668"/>
            </a:xfrm>
            <a:custGeom>
              <a:avLst/>
              <a:gdLst/>
              <a:ahLst/>
              <a:cxnLst>
                <a:cxn ang="0">
                  <a:pos x="wd2" y="hd2"/>
                </a:cxn>
                <a:cxn ang="5400000">
                  <a:pos x="wd2" y="hd2"/>
                </a:cxn>
                <a:cxn ang="10800000">
                  <a:pos x="wd2" y="hd2"/>
                </a:cxn>
                <a:cxn ang="16200000">
                  <a:pos x="wd2" y="hd2"/>
                </a:cxn>
              </a:cxnLst>
              <a:rect l="0" t="0" r="r" b="b"/>
              <a:pathLst>
                <a:path w="21398" h="21206" extrusionOk="0">
                  <a:moveTo>
                    <a:pt x="18051" y="10878"/>
                  </a:moveTo>
                  <a:cubicBezTo>
                    <a:pt x="18669" y="11023"/>
                    <a:pt x="18360" y="10444"/>
                    <a:pt x="18514" y="10154"/>
                  </a:cubicBezTo>
                  <a:cubicBezTo>
                    <a:pt x="18514" y="9864"/>
                    <a:pt x="18669" y="9574"/>
                    <a:pt x="18669" y="9429"/>
                  </a:cubicBezTo>
                  <a:cubicBezTo>
                    <a:pt x="18823" y="9284"/>
                    <a:pt x="19131" y="9574"/>
                    <a:pt x="19286" y="9284"/>
                  </a:cubicBezTo>
                  <a:cubicBezTo>
                    <a:pt x="19440" y="8994"/>
                    <a:pt x="19440" y="8704"/>
                    <a:pt x="19440" y="8414"/>
                  </a:cubicBezTo>
                  <a:cubicBezTo>
                    <a:pt x="19594" y="8124"/>
                    <a:pt x="19903" y="7979"/>
                    <a:pt x="19903" y="7689"/>
                  </a:cubicBezTo>
                  <a:cubicBezTo>
                    <a:pt x="19903" y="7399"/>
                    <a:pt x="20366" y="7109"/>
                    <a:pt x="20520" y="6964"/>
                  </a:cubicBezTo>
                  <a:cubicBezTo>
                    <a:pt x="20983" y="6529"/>
                    <a:pt x="20829" y="6964"/>
                    <a:pt x="21137" y="7109"/>
                  </a:cubicBezTo>
                  <a:cubicBezTo>
                    <a:pt x="21137" y="7109"/>
                    <a:pt x="21137" y="6529"/>
                    <a:pt x="21137" y="6529"/>
                  </a:cubicBezTo>
                  <a:cubicBezTo>
                    <a:pt x="21137" y="6384"/>
                    <a:pt x="21600" y="6384"/>
                    <a:pt x="21291" y="6095"/>
                  </a:cubicBezTo>
                  <a:cubicBezTo>
                    <a:pt x="21137" y="6095"/>
                    <a:pt x="20829" y="6095"/>
                    <a:pt x="20674" y="6095"/>
                  </a:cubicBezTo>
                  <a:cubicBezTo>
                    <a:pt x="20674" y="5950"/>
                    <a:pt x="20829" y="5805"/>
                    <a:pt x="20829" y="5805"/>
                  </a:cubicBezTo>
                  <a:cubicBezTo>
                    <a:pt x="20983" y="5660"/>
                    <a:pt x="20829" y="5515"/>
                    <a:pt x="20674" y="5370"/>
                  </a:cubicBezTo>
                  <a:cubicBezTo>
                    <a:pt x="20520" y="5225"/>
                    <a:pt x="20520" y="5225"/>
                    <a:pt x="20366" y="5370"/>
                  </a:cubicBezTo>
                  <a:cubicBezTo>
                    <a:pt x="20057" y="5515"/>
                    <a:pt x="19903" y="5370"/>
                    <a:pt x="19594" y="5225"/>
                  </a:cubicBezTo>
                  <a:cubicBezTo>
                    <a:pt x="19440" y="5225"/>
                    <a:pt x="19131" y="5515"/>
                    <a:pt x="19131" y="5660"/>
                  </a:cubicBezTo>
                  <a:cubicBezTo>
                    <a:pt x="18977" y="5805"/>
                    <a:pt x="18823" y="5660"/>
                    <a:pt x="18669" y="5805"/>
                  </a:cubicBezTo>
                  <a:cubicBezTo>
                    <a:pt x="18514" y="5805"/>
                    <a:pt x="18360" y="5950"/>
                    <a:pt x="18360" y="6095"/>
                  </a:cubicBezTo>
                  <a:cubicBezTo>
                    <a:pt x="18051" y="6384"/>
                    <a:pt x="17897" y="6529"/>
                    <a:pt x="17589" y="6384"/>
                  </a:cubicBezTo>
                  <a:cubicBezTo>
                    <a:pt x="17434" y="6529"/>
                    <a:pt x="17589" y="6819"/>
                    <a:pt x="17743" y="6964"/>
                  </a:cubicBezTo>
                  <a:cubicBezTo>
                    <a:pt x="18051" y="7544"/>
                    <a:pt x="16663" y="7109"/>
                    <a:pt x="16354" y="7254"/>
                  </a:cubicBezTo>
                  <a:cubicBezTo>
                    <a:pt x="16200" y="7399"/>
                    <a:pt x="15737" y="7254"/>
                    <a:pt x="15583" y="7109"/>
                  </a:cubicBezTo>
                  <a:cubicBezTo>
                    <a:pt x="15429" y="6964"/>
                    <a:pt x="15583" y="6674"/>
                    <a:pt x="15583" y="6674"/>
                  </a:cubicBezTo>
                  <a:cubicBezTo>
                    <a:pt x="15583" y="6674"/>
                    <a:pt x="15583" y="6240"/>
                    <a:pt x="15429" y="6384"/>
                  </a:cubicBezTo>
                  <a:cubicBezTo>
                    <a:pt x="15120" y="6384"/>
                    <a:pt x="14811" y="6384"/>
                    <a:pt x="14811" y="6819"/>
                  </a:cubicBezTo>
                  <a:cubicBezTo>
                    <a:pt x="14966" y="6964"/>
                    <a:pt x="15120" y="7399"/>
                    <a:pt x="14966" y="7399"/>
                  </a:cubicBezTo>
                  <a:cubicBezTo>
                    <a:pt x="14657" y="7399"/>
                    <a:pt x="14503" y="7689"/>
                    <a:pt x="14194" y="7399"/>
                  </a:cubicBezTo>
                  <a:cubicBezTo>
                    <a:pt x="14040" y="7109"/>
                    <a:pt x="13886" y="7544"/>
                    <a:pt x="13731" y="7399"/>
                  </a:cubicBezTo>
                  <a:cubicBezTo>
                    <a:pt x="13269" y="7254"/>
                    <a:pt x="13114" y="7254"/>
                    <a:pt x="12651" y="7109"/>
                  </a:cubicBezTo>
                  <a:cubicBezTo>
                    <a:pt x="12343" y="6964"/>
                    <a:pt x="12189" y="6674"/>
                    <a:pt x="11880" y="6674"/>
                  </a:cubicBezTo>
                  <a:cubicBezTo>
                    <a:pt x="11417" y="6819"/>
                    <a:pt x="11417" y="6674"/>
                    <a:pt x="11109" y="6529"/>
                  </a:cubicBezTo>
                  <a:cubicBezTo>
                    <a:pt x="10800" y="6384"/>
                    <a:pt x="10491" y="6529"/>
                    <a:pt x="10337" y="6384"/>
                  </a:cubicBezTo>
                  <a:cubicBezTo>
                    <a:pt x="10029" y="6095"/>
                    <a:pt x="9720" y="5950"/>
                    <a:pt x="9566" y="5805"/>
                  </a:cubicBezTo>
                  <a:cubicBezTo>
                    <a:pt x="9257" y="5660"/>
                    <a:pt x="9103" y="5660"/>
                    <a:pt x="9257" y="5370"/>
                  </a:cubicBezTo>
                  <a:cubicBezTo>
                    <a:pt x="9411" y="5225"/>
                    <a:pt x="9257" y="4935"/>
                    <a:pt x="9566" y="4790"/>
                  </a:cubicBezTo>
                  <a:cubicBezTo>
                    <a:pt x="9874" y="4645"/>
                    <a:pt x="10029" y="4790"/>
                    <a:pt x="9720" y="4500"/>
                  </a:cubicBezTo>
                  <a:cubicBezTo>
                    <a:pt x="9411" y="4355"/>
                    <a:pt x="9103" y="4065"/>
                    <a:pt x="8794" y="3920"/>
                  </a:cubicBezTo>
                  <a:cubicBezTo>
                    <a:pt x="8640" y="3920"/>
                    <a:pt x="8486" y="3630"/>
                    <a:pt x="8177" y="3630"/>
                  </a:cubicBezTo>
                  <a:cubicBezTo>
                    <a:pt x="8177" y="3630"/>
                    <a:pt x="8177" y="3195"/>
                    <a:pt x="8023" y="3050"/>
                  </a:cubicBezTo>
                  <a:cubicBezTo>
                    <a:pt x="7251" y="2325"/>
                    <a:pt x="8794" y="3195"/>
                    <a:pt x="8794" y="2615"/>
                  </a:cubicBezTo>
                  <a:cubicBezTo>
                    <a:pt x="8794" y="2325"/>
                    <a:pt x="8640" y="2325"/>
                    <a:pt x="8331" y="2035"/>
                  </a:cubicBezTo>
                  <a:cubicBezTo>
                    <a:pt x="8177" y="1891"/>
                    <a:pt x="8177" y="1746"/>
                    <a:pt x="8486" y="1601"/>
                  </a:cubicBezTo>
                  <a:cubicBezTo>
                    <a:pt x="8794" y="1601"/>
                    <a:pt x="8640" y="1166"/>
                    <a:pt x="8949" y="1021"/>
                  </a:cubicBezTo>
                  <a:cubicBezTo>
                    <a:pt x="9103" y="876"/>
                    <a:pt x="9411" y="731"/>
                    <a:pt x="9257" y="441"/>
                  </a:cubicBezTo>
                  <a:cubicBezTo>
                    <a:pt x="8949" y="6"/>
                    <a:pt x="8177" y="-139"/>
                    <a:pt x="7714" y="151"/>
                  </a:cubicBezTo>
                  <a:cubicBezTo>
                    <a:pt x="7560" y="296"/>
                    <a:pt x="7560" y="296"/>
                    <a:pt x="7251" y="441"/>
                  </a:cubicBezTo>
                  <a:cubicBezTo>
                    <a:pt x="7097" y="441"/>
                    <a:pt x="7097" y="731"/>
                    <a:pt x="6943" y="876"/>
                  </a:cubicBezTo>
                  <a:cubicBezTo>
                    <a:pt x="6634" y="1021"/>
                    <a:pt x="6326" y="876"/>
                    <a:pt x="6171" y="1021"/>
                  </a:cubicBezTo>
                  <a:cubicBezTo>
                    <a:pt x="6017" y="1166"/>
                    <a:pt x="5709" y="1166"/>
                    <a:pt x="5400" y="1021"/>
                  </a:cubicBezTo>
                  <a:cubicBezTo>
                    <a:pt x="5091" y="1021"/>
                    <a:pt x="4937" y="876"/>
                    <a:pt x="4629" y="1021"/>
                  </a:cubicBezTo>
                  <a:cubicBezTo>
                    <a:pt x="4320" y="1021"/>
                    <a:pt x="4474" y="1456"/>
                    <a:pt x="4629" y="1601"/>
                  </a:cubicBezTo>
                  <a:cubicBezTo>
                    <a:pt x="4629" y="1891"/>
                    <a:pt x="4629" y="2180"/>
                    <a:pt x="4629" y="2325"/>
                  </a:cubicBezTo>
                  <a:cubicBezTo>
                    <a:pt x="4783" y="2615"/>
                    <a:pt x="5091" y="2615"/>
                    <a:pt x="5400" y="2760"/>
                  </a:cubicBezTo>
                  <a:cubicBezTo>
                    <a:pt x="5554" y="3050"/>
                    <a:pt x="5246" y="3050"/>
                    <a:pt x="5091" y="3050"/>
                  </a:cubicBezTo>
                  <a:cubicBezTo>
                    <a:pt x="4937" y="3340"/>
                    <a:pt x="5091" y="3630"/>
                    <a:pt x="5091" y="3920"/>
                  </a:cubicBezTo>
                  <a:cubicBezTo>
                    <a:pt x="5091" y="4065"/>
                    <a:pt x="4783" y="4065"/>
                    <a:pt x="4783" y="4065"/>
                  </a:cubicBezTo>
                  <a:cubicBezTo>
                    <a:pt x="4474" y="4210"/>
                    <a:pt x="4783" y="4645"/>
                    <a:pt x="4474" y="4645"/>
                  </a:cubicBezTo>
                  <a:cubicBezTo>
                    <a:pt x="4166" y="4790"/>
                    <a:pt x="4011" y="4935"/>
                    <a:pt x="4011" y="5080"/>
                  </a:cubicBezTo>
                  <a:cubicBezTo>
                    <a:pt x="3857" y="5370"/>
                    <a:pt x="3703" y="5370"/>
                    <a:pt x="3394" y="5515"/>
                  </a:cubicBezTo>
                  <a:cubicBezTo>
                    <a:pt x="3086" y="5660"/>
                    <a:pt x="3086" y="6095"/>
                    <a:pt x="2931" y="6240"/>
                  </a:cubicBezTo>
                  <a:cubicBezTo>
                    <a:pt x="2777" y="6529"/>
                    <a:pt x="2469" y="6384"/>
                    <a:pt x="2314" y="6674"/>
                  </a:cubicBezTo>
                  <a:cubicBezTo>
                    <a:pt x="2006" y="6819"/>
                    <a:pt x="1851" y="6240"/>
                    <a:pt x="1697" y="6529"/>
                  </a:cubicBezTo>
                  <a:cubicBezTo>
                    <a:pt x="1543" y="6674"/>
                    <a:pt x="926" y="6964"/>
                    <a:pt x="1080" y="7109"/>
                  </a:cubicBezTo>
                  <a:cubicBezTo>
                    <a:pt x="1080" y="7399"/>
                    <a:pt x="1543" y="7399"/>
                    <a:pt x="1543" y="7689"/>
                  </a:cubicBezTo>
                  <a:cubicBezTo>
                    <a:pt x="1389" y="8124"/>
                    <a:pt x="1697" y="8124"/>
                    <a:pt x="2006" y="8269"/>
                  </a:cubicBezTo>
                  <a:cubicBezTo>
                    <a:pt x="2006" y="8559"/>
                    <a:pt x="2160" y="8849"/>
                    <a:pt x="2160" y="9139"/>
                  </a:cubicBezTo>
                  <a:cubicBezTo>
                    <a:pt x="2160" y="9139"/>
                    <a:pt x="1697" y="9139"/>
                    <a:pt x="1543" y="9139"/>
                  </a:cubicBezTo>
                  <a:cubicBezTo>
                    <a:pt x="1389" y="9139"/>
                    <a:pt x="1234" y="9284"/>
                    <a:pt x="1080" y="9284"/>
                  </a:cubicBezTo>
                  <a:cubicBezTo>
                    <a:pt x="1080" y="9284"/>
                    <a:pt x="926" y="9139"/>
                    <a:pt x="771" y="9139"/>
                  </a:cubicBezTo>
                  <a:cubicBezTo>
                    <a:pt x="617" y="9139"/>
                    <a:pt x="0" y="9429"/>
                    <a:pt x="0" y="9574"/>
                  </a:cubicBezTo>
                  <a:cubicBezTo>
                    <a:pt x="309" y="9864"/>
                    <a:pt x="463" y="10009"/>
                    <a:pt x="771" y="10299"/>
                  </a:cubicBezTo>
                  <a:cubicBezTo>
                    <a:pt x="771" y="10299"/>
                    <a:pt x="1697" y="10299"/>
                    <a:pt x="1697" y="10299"/>
                  </a:cubicBezTo>
                  <a:cubicBezTo>
                    <a:pt x="1697" y="10444"/>
                    <a:pt x="1389" y="10589"/>
                    <a:pt x="1234" y="10589"/>
                  </a:cubicBezTo>
                  <a:cubicBezTo>
                    <a:pt x="1080" y="10733"/>
                    <a:pt x="617" y="10444"/>
                    <a:pt x="617" y="10733"/>
                  </a:cubicBezTo>
                  <a:cubicBezTo>
                    <a:pt x="617" y="11023"/>
                    <a:pt x="1389" y="11458"/>
                    <a:pt x="1697" y="11748"/>
                  </a:cubicBezTo>
                  <a:cubicBezTo>
                    <a:pt x="1851" y="11893"/>
                    <a:pt x="2006" y="11893"/>
                    <a:pt x="2314" y="11893"/>
                  </a:cubicBezTo>
                  <a:cubicBezTo>
                    <a:pt x="2623" y="11748"/>
                    <a:pt x="3086" y="11603"/>
                    <a:pt x="3240" y="11313"/>
                  </a:cubicBezTo>
                  <a:cubicBezTo>
                    <a:pt x="3240" y="11313"/>
                    <a:pt x="3086" y="11168"/>
                    <a:pt x="2931" y="11168"/>
                  </a:cubicBezTo>
                  <a:cubicBezTo>
                    <a:pt x="2931" y="11023"/>
                    <a:pt x="3086" y="11023"/>
                    <a:pt x="3086" y="11023"/>
                  </a:cubicBezTo>
                  <a:cubicBezTo>
                    <a:pt x="3240" y="10878"/>
                    <a:pt x="3086" y="10733"/>
                    <a:pt x="3240" y="10733"/>
                  </a:cubicBezTo>
                  <a:cubicBezTo>
                    <a:pt x="3240" y="10733"/>
                    <a:pt x="3549" y="10733"/>
                    <a:pt x="3549" y="10733"/>
                  </a:cubicBezTo>
                  <a:cubicBezTo>
                    <a:pt x="3549" y="10878"/>
                    <a:pt x="3240" y="10878"/>
                    <a:pt x="3394" y="11023"/>
                  </a:cubicBezTo>
                  <a:cubicBezTo>
                    <a:pt x="3394" y="11023"/>
                    <a:pt x="3549" y="11023"/>
                    <a:pt x="3549" y="11023"/>
                  </a:cubicBezTo>
                  <a:cubicBezTo>
                    <a:pt x="3549" y="11168"/>
                    <a:pt x="3394" y="11168"/>
                    <a:pt x="3394" y="11168"/>
                  </a:cubicBezTo>
                  <a:cubicBezTo>
                    <a:pt x="3240" y="11168"/>
                    <a:pt x="3549" y="11168"/>
                    <a:pt x="3549" y="11168"/>
                  </a:cubicBezTo>
                  <a:cubicBezTo>
                    <a:pt x="3549" y="11313"/>
                    <a:pt x="3394" y="11313"/>
                    <a:pt x="3394" y="11458"/>
                  </a:cubicBezTo>
                  <a:cubicBezTo>
                    <a:pt x="3240" y="11458"/>
                    <a:pt x="3549" y="11603"/>
                    <a:pt x="3703" y="11748"/>
                  </a:cubicBezTo>
                  <a:cubicBezTo>
                    <a:pt x="3857" y="11893"/>
                    <a:pt x="3549" y="12183"/>
                    <a:pt x="3394" y="12473"/>
                  </a:cubicBezTo>
                  <a:cubicBezTo>
                    <a:pt x="3394" y="12618"/>
                    <a:pt x="3549" y="12763"/>
                    <a:pt x="3703" y="12908"/>
                  </a:cubicBezTo>
                  <a:cubicBezTo>
                    <a:pt x="3703" y="13198"/>
                    <a:pt x="3703" y="13343"/>
                    <a:pt x="3703" y="13633"/>
                  </a:cubicBezTo>
                  <a:cubicBezTo>
                    <a:pt x="3703" y="13923"/>
                    <a:pt x="3549" y="14358"/>
                    <a:pt x="3549" y="14503"/>
                  </a:cubicBezTo>
                  <a:cubicBezTo>
                    <a:pt x="3549" y="14503"/>
                    <a:pt x="3703" y="14213"/>
                    <a:pt x="3703" y="14213"/>
                  </a:cubicBezTo>
                  <a:cubicBezTo>
                    <a:pt x="3857" y="14358"/>
                    <a:pt x="4011" y="15227"/>
                    <a:pt x="4011" y="15372"/>
                  </a:cubicBezTo>
                  <a:cubicBezTo>
                    <a:pt x="4166" y="15662"/>
                    <a:pt x="4474" y="16097"/>
                    <a:pt x="4629" y="16532"/>
                  </a:cubicBezTo>
                  <a:cubicBezTo>
                    <a:pt x="4783" y="16967"/>
                    <a:pt x="4783" y="17402"/>
                    <a:pt x="4937" y="17837"/>
                  </a:cubicBezTo>
                  <a:cubicBezTo>
                    <a:pt x="5246" y="18417"/>
                    <a:pt x="5709" y="18852"/>
                    <a:pt x="6017" y="19287"/>
                  </a:cubicBezTo>
                  <a:cubicBezTo>
                    <a:pt x="6171" y="19721"/>
                    <a:pt x="6171" y="20156"/>
                    <a:pt x="6326" y="20591"/>
                  </a:cubicBezTo>
                  <a:cubicBezTo>
                    <a:pt x="6634" y="21026"/>
                    <a:pt x="6943" y="21461"/>
                    <a:pt x="7406" y="21026"/>
                  </a:cubicBezTo>
                  <a:cubicBezTo>
                    <a:pt x="7714" y="20881"/>
                    <a:pt x="7714" y="20736"/>
                    <a:pt x="7714" y="20591"/>
                  </a:cubicBezTo>
                  <a:cubicBezTo>
                    <a:pt x="7714" y="20301"/>
                    <a:pt x="8023" y="20156"/>
                    <a:pt x="8177" y="20011"/>
                  </a:cubicBezTo>
                  <a:cubicBezTo>
                    <a:pt x="8331" y="19866"/>
                    <a:pt x="8640" y="19866"/>
                    <a:pt x="8794" y="19721"/>
                  </a:cubicBezTo>
                  <a:cubicBezTo>
                    <a:pt x="8949" y="19576"/>
                    <a:pt x="8794" y="19142"/>
                    <a:pt x="8794" y="18997"/>
                  </a:cubicBezTo>
                  <a:cubicBezTo>
                    <a:pt x="8640" y="18417"/>
                    <a:pt x="9411" y="17982"/>
                    <a:pt x="9257" y="17547"/>
                  </a:cubicBezTo>
                  <a:cubicBezTo>
                    <a:pt x="9103" y="17112"/>
                    <a:pt x="8949" y="16677"/>
                    <a:pt x="8949" y="16242"/>
                  </a:cubicBezTo>
                  <a:cubicBezTo>
                    <a:pt x="8949" y="15662"/>
                    <a:pt x="9566" y="15517"/>
                    <a:pt x="10029" y="15372"/>
                  </a:cubicBezTo>
                  <a:cubicBezTo>
                    <a:pt x="10183" y="15227"/>
                    <a:pt x="10646" y="15227"/>
                    <a:pt x="10646" y="15082"/>
                  </a:cubicBezTo>
                  <a:cubicBezTo>
                    <a:pt x="10800" y="14793"/>
                    <a:pt x="10954" y="14648"/>
                    <a:pt x="11109" y="14503"/>
                  </a:cubicBezTo>
                  <a:cubicBezTo>
                    <a:pt x="11571" y="14068"/>
                    <a:pt x="12034" y="13633"/>
                    <a:pt x="12497" y="13343"/>
                  </a:cubicBezTo>
                  <a:cubicBezTo>
                    <a:pt x="12651" y="13198"/>
                    <a:pt x="12806" y="12908"/>
                    <a:pt x="12960" y="12763"/>
                  </a:cubicBezTo>
                  <a:cubicBezTo>
                    <a:pt x="13114" y="12618"/>
                    <a:pt x="13423" y="12618"/>
                    <a:pt x="13577" y="12473"/>
                  </a:cubicBezTo>
                  <a:cubicBezTo>
                    <a:pt x="13731" y="12328"/>
                    <a:pt x="13886" y="12183"/>
                    <a:pt x="14040" y="12038"/>
                  </a:cubicBezTo>
                  <a:cubicBezTo>
                    <a:pt x="14194" y="11893"/>
                    <a:pt x="13886" y="11748"/>
                    <a:pt x="13886" y="11603"/>
                  </a:cubicBezTo>
                  <a:cubicBezTo>
                    <a:pt x="14040" y="11313"/>
                    <a:pt x="14503" y="11313"/>
                    <a:pt x="14657" y="11168"/>
                  </a:cubicBezTo>
                  <a:cubicBezTo>
                    <a:pt x="14811" y="11168"/>
                    <a:pt x="15120" y="10733"/>
                    <a:pt x="15120" y="10589"/>
                  </a:cubicBezTo>
                  <a:cubicBezTo>
                    <a:pt x="15120" y="10878"/>
                    <a:pt x="14811" y="10878"/>
                    <a:pt x="14966" y="11168"/>
                  </a:cubicBezTo>
                  <a:cubicBezTo>
                    <a:pt x="15274" y="11313"/>
                    <a:pt x="15429" y="10878"/>
                    <a:pt x="15429" y="10878"/>
                  </a:cubicBezTo>
                  <a:cubicBezTo>
                    <a:pt x="15583" y="11023"/>
                    <a:pt x="15429" y="11168"/>
                    <a:pt x="15583" y="11168"/>
                  </a:cubicBezTo>
                  <a:cubicBezTo>
                    <a:pt x="15737" y="10733"/>
                    <a:pt x="15583" y="10299"/>
                    <a:pt x="15274" y="9864"/>
                  </a:cubicBezTo>
                  <a:cubicBezTo>
                    <a:pt x="15120" y="9574"/>
                    <a:pt x="14811" y="9284"/>
                    <a:pt x="14966" y="8849"/>
                  </a:cubicBezTo>
                  <a:cubicBezTo>
                    <a:pt x="15120" y="8414"/>
                    <a:pt x="15891" y="8704"/>
                    <a:pt x="15429" y="8269"/>
                  </a:cubicBezTo>
                  <a:cubicBezTo>
                    <a:pt x="15274" y="8124"/>
                    <a:pt x="14966" y="7979"/>
                    <a:pt x="15120" y="7689"/>
                  </a:cubicBezTo>
                  <a:cubicBezTo>
                    <a:pt x="15274" y="7544"/>
                    <a:pt x="15429" y="7689"/>
                    <a:pt x="15737" y="7834"/>
                  </a:cubicBezTo>
                  <a:cubicBezTo>
                    <a:pt x="15891" y="7979"/>
                    <a:pt x="16046" y="7834"/>
                    <a:pt x="16046" y="8124"/>
                  </a:cubicBezTo>
                  <a:cubicBezTo>
                    <a:pt x="16046" y="8269"/>
                    <a:pt x="16046" y="8414"/>
                    <a:pt x="16354" y="8559"/>
                  </a:cubicBezTo>
                  <a:cubicBezTo>
                    <a:pt x="16509" y="8559"/>
                    <a:pt x="16817" y="8559"/>
                    <a:pt x="16971" y="8559"/>
                  </a:cubicBezTo>
                  <a:cubicBezTo>
                    <a:pt x="17126" y="8559"/>
                    <a:pt x="17434" y="8704"/>
                    <a:pt x="17589" y="8559"/>
                  </a:cubicBezTo>
                  <a:cubicBezTo>
                    <a:pt x="18360" y="8414"/>
                    <a:pt x="17743" y="9284"/>
                    <a:pt x="17434" y="9429"/>
                  </a:cubicBezTo>
                  <a:cubicBezTo>
                    <a:pt x="16971" y="9429"/>
                    <a:pt x="17280" y="10009"/>
                    <a:pt x="17280" y="10154"/>
                  </a:cubicBezTo>
                  <a:cubicBezTo>
                    <a:pt x="17434" y="10154"/>
                    <a:pt x="17743" y="9574"/>
                    <a:pt x="17743" y="9719"/>
                  </a:cubicBezTo>
                  <a:cubicBezTo>
                    <a:pt x="17743" y="10154"/>
                    <a:pt x="18051" y="10589"/>
                    <a:pt x="18051" y="10878"/>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4" name="Shape 2123">
              <a:extLst>
                <a:ext uri="{FF2B5EF4-FFF2-40B4-BE49-F238E27FC236}">
                  <a16:creationId xmlns:a16="http://schemas.microsoft.com/office/drawing/2014/main" id="{DD7F1D39-3837-95C8-5AFD-D557B3A67BC0}"/>
                </a:ext>
              </a:extLst>
            </p:cNvPr>
            <p:cNvSpPr/>
            <p:nvPr/>
          </p:nvSpPr>
          <p:spPr>
            <a:xfrm>
              <a:off x="8501742" y="2796071"/>
              <a:ext cx="269689" cy="638863"/>
            </a:xfrm>
            <a:custGeom>
              <a:avLst/>
              <a:gdLst/>
              <a:ahLst/>
              <a:cxnLst>
                <a:cxn ang="0">
                  <a:pos x="wd2" y="hd2"/>
                </a:cxn>
                <a:cxn ang="5400000">
                  <a:pos x="wd2" y="hd2"/>
                </a:cxn>
                <a:cxn ang="10800000">
                  <a:pos x="wd2" y="hd2"/>
                </a:cxn>
                <a:cxn ang="16200000">
                  <a:pos x="wd2" y="hd2"/>
                </a:cxn>
              </a:cxnLst>
              <a:rect l="0" t="0" r="r" b="b"/>
              <a:pathLst>
                <a:path w="21600" h="21314" extrusionOk="0">
                  <a:moveTo>
                    <a:pt x="20546" y="8090"/>
                  </a:moveTo>
                  <a:cubicBezTo>
                    <a:pt x="20020" y="8090"/>
                    <a:pt x="19493" y="8310"/>
                    <a:pt x="19493" y="7869"/>
                  </a:cubicBezTo>
                  <a:cubicBezTo>
                    <a:pt x="19493" y="7869"/>
                    <a:pt x="19493" y="7649"/>
                    <a:pt x="19493" y="7649"/>
                  </a:cubicBezTo>
                  <a:cubicBezTo>
                    <a:pt x="19493" y="7428"/>
                    <a:pt x="17912" y="7428"/>
                    <a:pt x="17912" y="7428"/>
                  </a:cubicBezTo>
                  <a:cubicBezTo>
                    <a:pt x="17385" y="7208"/>
                    <a:pt x="17912" y="6767"/>
                    <a:pt x="17912" y="6547"/>
                  </a:cubicBezTo>
                  <a:cubicBezTo>
                    <a:pt x="18439" y="6106"/>
                    <a:pt x="16859" y="6326"/>
                    <a:pt x="16332" y="6106"/>
                  </a:cubicBezTo>
                  <a:cubicBezTo>
                    <a:pt x="16332" y="5885"/>
                    <a:pt x="15805" y="5885"/>
                    <a:pt x="15805" y="5665"/>
                  </a:cubicBezTo>
                  <a:cubicBezTo>
                    <a:pt x="15805" y="5445"/>
                    <a:pt x="16859" y="5224"/>
                    <a:pt x="16859" y="5224"/>
                  </a:cubicBezTo>
                  <a:cubicBezTo>
                    <a:pt x="16332" y="4783"/>
                    <a:pt x="13171" y="5445"/>
                    <a:pt x="12644" y="5224"/>
                  </a:cubicBezTo>
                  <a:cubicBezTo>
                    <a:pt x="12644" y="5224"/>
                    <a:pt x="13171" y="4783"/>
                    <a:pt x="13171" y="4563"/>
                  </a:cubicBezTo>
                  <a:cubicBezTo>
                    <a:pt x="12644" y="4343"/>
                    <a:pt x="14224" y="3902"/>
                    <a:pt x="14224" y="3681"/>
                  </a:cubicBezTo>
                  <a:cubicBezTo>
                    <a:pt x="15278" y="3020"/>
                    <a:pt x="16332" y="2579"/>
                    <a:pt x="15805" y="1918"/>
                  </a:cubicBezTo>
                  <a:cubicBezTo>
                    <a:pt x="15805" y="1698"/>
                    <a:pt x="16332" y="1477"/>
                    <a:pt x="16332" y="1257"/>
                  </a:cubicBezTo>
                  <a:cubicBezTo>
                    <a:pt x="16332" y="816"/>
                    <a:pt x="15278" y="1257"/>
                    <a:pt x="14751" y="1036"/>
                  </a:cubicBezTo>
                  <a:cubicBezTo>
                    <a:pt x="14751" y="596"/>
                    <a:pt x="14224" y="375"/>
                    <a:pt x="14224" y="155"/>
                  </a:cubicBezTo>
                  <a:cubicBezTo>
                    <a:pt x="13171" y="-286"/>
                    <a:pt x="13171" y="375"/>
                    <a:pt x="12117" y="155"/>
                  </a:cubicBezTo>
                  <a:cubicBezTo>
                    <a:pt x="12644" y="596"/>
                    <a:pt x="11590" y="596"/>
                    <a:pt x="11590" y="816"/>
                  </a:cubicBezTo>
                  <a:cubicBezTo>
                    <a:pt x="11590" y="816"/>
                    <a:pt x="11590" y="1698"/>
                    <a:pt x="11590" y="1698"/>
                  </a:cubicBezTo>
                  <a:cubicBezTo>
                    <a:pt x="11063" y="1698"/>
                    <a:pt x="11063" y="1257"/>
                    <a:pt x="11063" y="1257"/>
                  </a:cubicBezTo>
                  <a:cubicBezTo>
                    <a:pt x="10010" y="1257"/>
                    <a:pt x="9483" y="1477"/>
                    <a:pt x="9483" y="1698"/>
                  </a:cubicBezTo>
                  <a:cubicBezTo>
                    <a:pt x="8956" y="1918"/>
                    <a:pt x="7902" y="1918"/>
                    <a:pt x="7376" y="2138"/>
                  </a:cubicBezTo>
                  <a:cubicBezTo>
                    <a:pt x="6849" y="2359"/>
                    <a:pt x="7376" y="2800"/>
                    <a:pt x="6849" y="3020"/>
                  </a:cubicBezTo>
                  <a:cubicBezTo>
                    <a:pt x="6849" y="3241"/>
                    <a:pt x="6322" y="3461"/>
                    <a:pt x="5795" y="3681"/>
                  </a:cubicBezTo>
                  <a:cubicBezTo>
                    <a:pt x="5795" y="3902"/>
                    <a:pt x="5795" y="4122"/>
                    <a:pt x="5795" y="4343"/>
                  </a:cubicBezTo>
                  <a:cubicBezTo>
                    <a:pt x="5795" y="4783"/>
                    <a:pt x="5268" y="5224"/>
                    <a:pt x="4741" y="5224"/>
                  </a:cubicBezTo>
                  <a:cubicBezTo>
                    <a:pt x="4215" y="5224"/>
                    <a:pt x="3688" y="5224"/>
                    <a:pt x="3161" y="5224"/>
                  </a:cubicBezTo>
                  <a:cubicBezTo>
                    <a:pt x="2634" y="5665"/>
                    <a:pt x="3161" y="7428"/>
                    <a:pt x="2107" y="7428"/>
                  </a:cubicBezTo>
                  <a:cubicBezTo>
                    <a:pt x="2107" y="7428"/>
                    <a:pt x="1054" y="7428"/>
                    <a:pt x="1054" y="7428"/>
                  </a:cubicBezTo>
                  <a:cubicBezTo>
                    <a:pt x="1054" y="7649"/>
                    <a:pt x="1054" y="7869"/>
                    <a:pt x="1054" y="7869"/>
                  </a:cubicBezTo>
                  <a:cubicBezTo>
                    <a:pt x="1054" y="8090"/>
                    <a:pt x="527" y="8310"/>
                    <a:pt x="0" y="8530"/>
                  </a:cubicBezTo>
                  <a:cubicBezTo>
                    <a:pt x="0" y="8751"/>
                    <a:pt x="2107" y="9853"/>
                    <a:pt x="2634" y="10073"/>
                  </a:cubicBezTo>
                  <a:cubicBezTo>
                    <a:pt x="2634" y="10073"/>
                    <a:pt x="2107" y="9412"/>
                    <a:pt x="2107" y="9412"/>
                  </a:cubicBezTo>
                  <a:cubicBezTo>
                    <a:pt x="2107" y="9412"/>
                    <a:pt x="3688" y="10294"/>
                    <a:pt x="3688" y="10294"/>
                  </a:cubicBezTo>
                  <a:cubicBezTo>
                    <a:pt x="4215" y="10734"/>
                    <a:pt x="3161" y="10734"/>
                    <a:pt x="3688" y="11175"/>
                  </a:cubicBezTo>
                  <a:cubicBezTo>
                    <a:pt x="3161" y="10955"/>
                    <a:pt x="4215" y="10955"/>
                    <a:pt x="4741" y="11175"/>
                  </a:cubicBezTo>
                  <a:cubicBezTo>
                    <a:pt x="5268" y="11616"/>
                    <a:pt x="5795" y="12057"/>
                    <a:pt x="5795" y="12498"/>
                  </a:cubicBezTo>
                  <a:cubicBezTo>
                    <a:pt x="5795" y="12498"/>
                    <a:pt x="5268" y="14481"/>
                    <a:pt x="5268" y="14481"/>
                  </a:cubicBezTo>
                  <a:cubicBezTo>
                    <a:pt x="5795" y="14481"/>
                    <a:pt x="5795" y="13820"/>
                    <a:pt x="5795" y="13820"/>
                  </a:cubicBezTo>
                  <a:cubicBezTo>
                    <a:pt x="5795" y="13820"/>
                    <a:pt x="5795" y="14481"/>
                    <a:pt x="5795" y="14481"/>
                  </a:cubicBezTo>
                  <a:cubicBezTo>
                    <a:pt x="5795" y="14481"/>
                    <a:pt x="6322" y="14261"/>
                    <a:pt x="6322" y="14261"/>
                  </a:cubicBezTo>
                  <a:cubicBezTo>
                    <a:pt x="6322" y="14261"/>
                    <a:pt x="6322" y="14702"/>
                    <a:pt x="6322" y="14702"/>
                  </a:cubicBezTo>
                  <a:cubicBezTo>
                    <a:pt x="6849" y="14702"/>
                    <a:pt x="6849" y="14261"/>
                    <a:pt x="7376" y="14261"/>
                  </a:cubicBezTo>
                  <a:cubicBezTo>
                    <a:pt x="7376" y="14261"/>
                    <a:pt x="7376" y="14481"/>
                    <a:pt x="7376" y="14481"/>
                  </a:cubicBezTo>
                  <a:cubicBezTo>
                    <a:pt x="7376" y="14481"/>
                    <a:pt x="8956" y="14261"/>
                    <a:pt x="8956" y="14041"/>
                  </a:cubicBezTo>
                  <a:cubicBezTo>
                    <a:pt x="9483" y="14041"/>
                    <a:pt x="12117" y="13379"/>
                    <a:pt x="11063" y="13159"/>
                  </a:cubicBezTo>
                  <a:cubicBezTo>
                    <a:pt x="11590" y="13159"/>
                    <a:pt x="11063" y="13600"/>
                    <a:pt x="11590" y="13820"/>
                  </a:cubicBezTo>
                  <a:cubicBezTo>
                    <a:pt x="12117" y="13820"/>
                    <a:pt x="12644" y="13820"/>
                    <a:pt x="12644" y="14041"/>
                  </a:cubicBezTo>
                  <a:cubicBezTo>
                    <a:pt x="13171" y="14481"/>
                    <a:pt x="13171" y="15143"/>
                    <a:pt x="13171" y="15583"/>
                  </a:cubicBezTo>
                  <a:cubicBezTo>
                    <a:pt x="13698" y="16245"/>
                    <a:pt x="13698" y="16685"/>
                    <a:pt x="14751" y="17126"/>
                  </a:cubicBezTo>
                  <a:cubicBezTo>
                    <a:pt x="14751" y="17126"/>
                    <a:pt x="15278" y="17347"/>
                    <a:pt x="15278" y="17347"/>
                  </a:cubicBezTo>
                  <a:cubicBezTo>
                    <a:pt x="15278" y="17787"/>
                    <a:pt x="15805" y="17787"/>
                    <a:pt x="15805" y="17787"/>
                  </a:cubicBezTo>
                  <a:cubicBezTo>
                    <a:pt x="16332" y="18008"/>
                    <a:pt x="15278" y="18449"/>
                    <a:pt x="15805" y="18449"/>
                  </a:cubicBezTo>
                  <a:cubicBezTo>
                    <a:pt x="15805" y="18449"/>
                    <a:pt x="15805" y="18449"/>
                    <a:pt x="16332" y="18449"/>
                  </a:cubicBezTo>
                  <a:cubicBezTo>
                    <a:pt x="16332" y="18669"/>
                    <a:pt x="15278" y="18890"/>
                    <a:pt x="15278" y="19110"/>
                  </a:cubicBezTo>
                  <a:cubicBezTo>
                    <a:pt x="15278" y="19551"/>
                    <a:pt x="15805" y="19110"/>
                    <a:pt x="16332" y="19330"/>
                  </a:cubicBezTo>
                  <a:cubicBezTo>
                    <a:pt x="16332" y="19330"/>
                    <a:pt x="15278" y="21094"/>
                    <a:pt x="15278" y="21314"/>
                  </a:cubicBezTo>
                  <a:cubicBezTo>
                    <a:pt x="16332" y="20873"/>
                    <a:pt x="16859" y="19992"/>
                    <a:pt x="17385" y="19551"/>
                  </a:cubicBezTo>
                  <a:cubicBezTo>
                    <a:pt x="17912" y="19110"/>
                    <a:pt x="18439" y="18890"/>
                    <a:pt x="17912" y="18449"/>
                  </a:cubicBezTo>
                  <a:cubicBezTo>
                    <a:pt x="17385" y="18008"/>
                    <a:pt x="17385" y="17787"/>
                    <a:pt x="17385" y="17347"/>
                  </a:cubicBezTo>
                  <a:cubicBezTo>
                    <a:pt x="16859" y="16906"/>
                    <a:pt x="14224" y="16024"/>
                    <a:pt x="14751" y="15363"/>
                  </a:cubicBezTo>
                  <a:cubicBezTo>
                    <a:pt x="14751" y="15363"/>
                    <a:pt x="15805" y="15143"/>
                    <a:pt x="15805" y="14922"/>
                  </a:cubicBezTo>
                  <a:cubicBezTo>
                    <a:pt x="15278" y="14481"/>
                    <a:pt x="15805" y="14481"/>
                    <a:pt x="15805" y="14041"/>
                  </a:cubicBezTo>
                  <a:cubicBezTo>
                    <a:pt x="16332" y="13379"/>
                    <a:pt x="14224" y="12938"/>
                    <a:pt x="13698" y="12498"/>
                  </a:cubicBezTo>
                  <a:cubicBezTo>
                    <a:pt x="12117" y="12057"/>
                    <a:pt x="13171" y="11175"/>
                    <a:pt x="13698" y="10514"/>
                  </a:cubicBezTo>
                  <a:cubicBezTo>
                    <a:pt x="13698" y="10073"/>
                    <a:pt x="14224" y="10073"/>
                    <a:pt x="15278" y="10073"/>
                  </a:cubicBezTo>
                  <a:cubicBezTo>
                    <a:pt x="16332" y="10073"/>
                    <a:pt x="17385" y="9632"/>
                    <a:pt x="17912" y="9412"/>
                  </a:cubicBezTo>
                  <a:cubicBezTo>
                    <a:pt x="18966" y="9192"/>
                    <a:pt x="19493" y="9412"/>
                    <a:pt x="20546" y="8971"/>
                  </a:cubicBezTo>
                  <a:cubicBezTo>
                    <a:pt x="21073" y="8530"/>
                    <a:pt x="21600" y="8310"/>
                    <a:pt x="21600" y="8090"/>
                  </a:cubicBezTo>
                  <a:cubicBezTo>
                    <a:pt x="21600" y="8090"/>
                    <a:pt x="21073" y="8090"/>
                    <a:pt x="20546" y="809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5" name="Shape 2124">
              <a:extLst>
                <a:ext uri="{FF2B5EF4-FFF2-40B4-BE49-F238E27FC236}">
                  <a16:creationId xmlns:a16="http://schemas.microsoft.com/office/drawing/2014/main" id="{67B91AE6-A8B1-8470-74D0-8378B42564ED}"/>
                </a:ext>
              </a:extLst>
            </p:cNvPr>
            <p:cNvSpPr/>
            <p:nvPr/>
          </p:nvSpPr>
          <p:spPr>
            <a:xfrm>
              <a:off x="8380648" y="2870045"/>
              <a:ext cx="134613" cy="180480"/>
            </a:xfrm>
            <a:custGeom>
              <a:avLst/>
              <a:gdLst/>
              <a:ahLst/>
              <a:cxnLst>
                <a:cxn ang="0">
                  <a:pos x="wd2" y="hd2"/>
                </a:cxn>
                <a:cxn ang="5400000">
                  <a:pos x="wd2" y="hd2"/>
                </a:cxn>
                <a:cxn ang="10800000">
                  <a:pos x="wd2" y="hd2"/>
                </a:cxn>
                <a:cxn ang="16200000">
                  <a:pos x="wd2" y="hd2"/>
                </a:cxn>
              </a:cxnLst>
              <a:rect l="0" t="0" r="r" b="b"/>
              <a:pathLst>
                <a:path w="19310" h="21148" extrusionOk="0">
                  <a:moveTo>
                    <a:pt x="19039" y="19605"/>
                  </a:moveTo>
                  <a:cubicBezTo>
                    <a:pt x="19978" y="18062"/>
                    <a:pt x="18100" y="14205"/>
                    <a:pt x="18100" y="12662"/>
                  </a:cubicBezTo>
                  <a:cubicBezTo>
                    <a:pt x="18100" y="12662"/>
                    <a:pt x="17160" y="9577"/>
                    <a:pt x="16221" y="11891"/>
                  </a:cubicBezTo>
                  <a:cubicBezTo>
                    <a:pt x="16221" y="11891"/>
                    <a:pt x="15282" y="12662"/>
                    <a:pt x="14343" y="13434"/>
                  </a:cubicBezTo>
                  <a:cubicBezTo>
                    <a:pt x="14343" y="12662"/>
                    <a:pt x="12465" y="9577"/>
                    <a:pt x="15282" y="9577"/>
                  </a:cubicBezTo>
                  <a:cubicBezTo>
                    <a:pt x="17160" y="8805"/>
                    <a:pt x="20917" y="4177"/>
                    <a:pt x="16221" y="4948"/>
                  </a:cubicBezTo>
                  <a:cubicBezTo>
                    <a:pt x="15282" y="5719"/>
                    <a:pt x="13404" y="4948"/>
                    <a:pt x="12465" y="4948"/>
                  </a:cubicBezTo>
                  <a:cubicBezTo>
                    <a:pt x="11526" y="4948"/>
                    <a:pt x="9647" y="4948"/>
                    <a:pt x="8708" y="4948"/>
                  </a:cubicBezTo>
                  <a:cubicBezTo>
                    <a:pt x="6830" y="4177"/>
                    <a:pt x="6830" y="3405"/>
                    <a:pt x="6830" y="2634"/>
                  </a:cubicBezTo>
                  <a:cubicBezTo>
                    <a:pt x="6830" y="1091"/>
                    <a:pt x="5891" y="1862"/>
                    <a:pt x="4952" y="1091"/>
                  </a:cubicBezTo>
                  <a:cubicBezTo>
                    <a:pt x="3074" y="319"/>
                    <a:pt x="2134" y="-452"/>
                    <a:pt x="1195" y="319"/>
                  </a:cubicBezTo>
                  <a:cubicBezTo>
                    <a:pt x="256" y="1862"/>
                    <a:pt x="2134" y="2634"/>
                    <a:pt x="3074" y="3405"/>
                  </a:cubicBezTo>
                  <a:cubicBezTo>
                    <a:pt x="5891" y="5719"/>
                    <a:pt x="1195" y="4177"/>
                    <a:pt x="256" y="6491"/>
                  </a:cubicBezTo>
                  <a:cubicBezTo>
                    <a:pt x="-683" y="8805"/>
                    <a:pt x="1195" y="10348"/>
                    <a:pt x="2134" y="11891"/>
                  </a:cubicBezTo>
                  <a:cubicBezTo>
                    <a:pt x="4013" y="14205"/>
                    <a:pt x="4952" y="16519"/>
                    <a:pt x="4013" y="18834"/>
                  </a:cubicBezTo>
                  <a:cubicBezTo>
                    <a:pt x="4952" y="19605"/>
                    <a:pt x="4952" y="17291"/>
                    <a:pt x="4952" y="16519"/>
                  </a:cubicBezTo>
                  <a:cubicBezTo>
                    <a:pt x="4952" y="17291"/>
                    <a:pt x="4952" y="18062"/>
                    <a:pt x="5891" y="18062"/>
                  </a:cubicBezTo>
                  <a:cubicBezTo>
                    <a:pt x="5891" y="18062"/>
                    <a:pt x="5891" y="17291"/>
                    <a:pt x="5891" y="17291"/>
                  </a:cubicBezTo>
                  <a:cubicBezTo>
                    <a:pt x="6830" y="19605"/>
                    <a:pt x="6830" y="17291"/>
                    <a:pt x="6830" y="15748"/>
                  </a:cubicBezTo>
                  <a:cubicBezTo>
                    <a:pt x="6830" y="16519"/>
                    <a:pt x="10587" y="18834"/>
                    <a:pt x="11526" y="16519"/>
                  </a:cubicBezTo>
                  <a:cubicBezTo>
                    <a:pt x="11526" y="15748"/>
                    <a:pt x="10587" y="11891"/>
                    <a:pt x="9647" y="11891"/>
                  </a:cubicBezTo>
                  <a:cubicBezTo>
                    <a:pt x="10587" y="11891"/>
                    <a:pt x="11526" y="13434"/>
                    <a:pt x="11526" y="14205"/>
                  </a:cubicBezTo>
                  <a:cubicBezTo>
                    <a:pt x="12465" y="14977"/>
                    <a:pt x="15282" y="13434"/>
                    <a:pt x="15282" y="14977"/>
                  </a:cubicBezTo>
                  <a:cubicBezTo>
                    <a:pt x="15282" y="15748"/>
                    <a:pt x="16221" y="14977"/>
                    <a:pt x="16221" y="16519"/>
                  </a:cubicBezTo>
                  <a:cubicBezTo>
                    <a:pt x="16221" y="18062"/>
                    <a:pt x="16221" y="19605"/>
                    <a:pt x="17160" y="21148"/>
                  </a:cubicBezTo>
                  <a:cubicBezTo>
                    <a:pt x="18100" y="20377"/>
                    <a:pt x="18100" y="20377"/>
                    <a:pt x="19039" y="19605"/>
                  </a:cubicBezTo>
                  <a:cubicBezTo>
                    <a:pt x="19978" y="18834"/>
                    <a:pt x="18100" y="20377"/>
                    <a:pt x="19039" y="1960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6" name="Shape 2125">
              <a:extLst>
                <a:ext uri="{FF2B5EF4-FFF2-40B4-BE49-F238E27FC236}">
                  <a16:creationId xmlns:a16="http://schemas.microsoft.com/office/drawing/2014/main" id="{1D4EC71C-1145-D88E-7F37-154186E2B1AE}"/>
                </a:ext>
              </a:extLst>
            </p:cNvPr>
            <p:cNvSpPr/>
            <p:nvPr/>
          </p:nvSpPr>
          <p:spPr>
            <a:xfrm>
              <a:off x="8659058" y="3073689"/>
              <a:ext cx="271645" cy="501450"/>
            </a:xfrm>
            <a:custGeom>
              <a:avLst/>
              <a:gdLst/>
              <a:ahLst/>
              <a:cxnLst>
                <a:cxn ang="0">
                  <a:pos x="wd2" y="hd2"/>
                </a:cxn>
                <a:cxn ang="5400000">
                  <a:pos x="wd2" y="hd2"/>
                </a:cxn>
                <a:cxn ang="10800000">
                  <a:pos x="wd2" y="hd2"/>
                </a:cxn>
                <a:cxn ang="16200000">
                  <a:pos x="wd2" y="hd2"/>
                </a:cxn>
              </a:cxnLst>
              <a:rect l="0" t="0" r="r" b="b"/>
              <a:pathLst>
                <a:path w="21226" h="21319" extrusionOk="0">
                  <a:moveTo>
                    <a:pt x="20571" y="8291"/>
                  </a:moveTo>
                  <a:cubicBezTo>
                    <a:pt x="21086" y="8291"/>
                    <a:pt x="20571" y="7730"/>
                    <a:pt x="21086" y="7449"/>
                  </a:cubicBezTo>
                  <a:cubicBezTo>
                    <a:pt x="21600" y="7169"/>
                    <a:pt x="20571" y="6607"/>
                    <a:pt x="20057" y="6607"/>
                  </a:cubicBezTo>
                  <a:cubicBezTo>
                    <a:pt x="19543" y="6327"/>
                    <a:pt x="18514" y="6046"/>
                    <a:pt x="18514" y="5485"/>
                  </a:cubicBezTo>
                  <a:cubicBezTo>
                    <a:pt x="18514" y="4924"/>
                    <a:pt x="19029" y="4644"/>
                    <a:pt x="18000" y="4083"/>
                  </a:cubicBezTo>
                  <a:cubicBezTo>
                    <a:pt x="17486" y="3802"/>
                    <a:pt x="16457" y="3241"/>
                    <a:pt x="15429" y="3241"/>
                  </a:cubicBezTo>
                  <a:cubicBezTo>
                    <a:pt x="14400" y="3241"/>
                    <a:pt x="13886" y="3802"/>
                    <a:pt x="12857" y="3802"/>
                  </a:cubicBezTo>
                  <a:cubicBezTo>
                    <a:pt x="11829" y="3522"/>
                    <a:pt x="11829" y="3522"/>
                    <a:pt x="10800" y="3802"/>
                  </a:cubicBezTo>
                  <a:cubicBezTo>
                    <a:pt x="10800" y="3802"/>
                    <a:pt x="9257" y="4644"/>
                    <a:pt x="8743" y="4363"/>
                  </a:cubicBezTo>
                  <a:cubicBezTo>
                    <a:pt x="8743" y="4083"/>
                    <a:pt x="10286" y="3522"/>
                    <a:pt x="9771" y="3241"/>
                  </a:cubicBezTo>
                  <a:cubicBezTo>
                    <a:pt x="8743" y="2961"/>
                    <a:pt x="9771" y="2680"/>
                    <a:pt x="9771" y="2400"/>
                  </a:cubicBezTo>
                  <a:cubicBezTo>
                    <a:pt x="9771" y="2119"/>
                    <a:pt x="9771" y="1278"/>
                    <a:pt x="9257" y="1278"/>
                  </a:cubicBezTo>
                  <a:cubicBezTo>
                    <a:pt x="8229" y="1558"/>
                    <a:pt x="7200" y="1558"/>
                    <a:pt x="7714" y="997"/>
                  </a:cubicBezTo>
                  <a:cubicBezTo>
                    <a:pt x="8229" y="-125"/>
                    <a:pt x="5657" y="-125"/>
                    <a:pt x="4629" y="156"/>
                  </a:cubicBezTo>
                  <a:cubicBezTo>
                    <a:pt x="4114" y="717"/>
                    <a:pt x="3086" y="997"/>
                    <a:pt x="2057" y="997"/>
                  </a:cubicBezTo>
                  <a:cubicBezTo>
                    <a:pt x="1029" y="997"/>
                    <a:pt x="514" y="1839"/>
                    <a:pt x="514" y="2119"/>
                  </a:cubicBezTo>
                  <a:cubicBezTo>
                    <a:pt x="514" y="2680"/>
                    <a:pt x="0" y="2961"/>
                    <a:pt x="0" y="3522"/>
                  </a:cubicBezTo>
                  <a:cubicBezTo>
                    <a:pt x="0" y="4083"/>
                    <a:pt x="514" y="4083"/>
                    <a:pt x="1543" y="4363"/>
                  </a:cubicBezTo>
                  <a:cubicBezTo>
                    <a:pt x="2057" y="4924"/>
                    <a:pt x="2571" y="5205"/>
                    <a:pt x="3086" y="5485"/>
                  </a:cubicBezTo>
                  <a:cubicBezTo>
                    <a:pt x="3600" y="6046"/>
                    <a:pt x="2571" y="6327"/>
                    <a:pt x="2571" y="6607"/>
                  </a:cubicBezTo>
                  <a:cubicBezTo>
                    <a:pt x="2571" y="6888"/>
                    <a:pt x="3086" y="7169"/>
                    <a:pt x="2571" y="7449"/>
                  </a:cubicBezTo>
                  <a:cubicBezTo>
                    <a:pt x="2571" y="7449"/>
                    <a:pt x="2057" y="7449"/>
                    <a:pt x="2057" y="7730"/>
                  </a:cubicBezTo>
                  <a:cubicBezTo>
                    <a:pt x="1543" y="8010"/>
                    <a:pt x="2571" y="8852"/>
                    <a:pt x="3086" y="9132"/>
                  </a:cubicBezTo>
                  <a:cubicBezTo>
                    <a:pt x="3600" y="9413"/>
                    <a:pt x="4114" y="9693"/>
                    <a:pt x="4629" y="10254"/>
                  </a:cubicBezTo>
                  <a:cubicBezTo>
                    <a:pt x="4629" y="10815"/>
                    <a:pt x="4629" y="11096"/>
                    <a:pt x="5143" y="11657"/>
                  </a:cubicBezTo>
                  <a:cubicBezTo>
                    <a:pt x="5657" y="12779"/>
                    <a:pt x="4114" y="13620"/>
                    <a:pt x="3086" y="14462"/>
                  </a:cubicBezTo>
                  <a:cubicBezTo>
                    <a:pt x="3086" y="14743"/>
                    <a:pt x="2571" y="15023"/>
                    <a:pt x="2571" y="15304"/>
                  </a:cubicBezTo>
                  <a:cubicBezTo>
                    <a:pt x="2057" y="15584"/>
                    <a:pt x="2057" y="15865"/>
                    <a:pt x="2057" y="16145"/>
                  </a:cubicBezTo>
                  <a:cubicBezTo>
                    <a:pt x="2057" y="16426"/>
                    <a:pt x="1543" y="17267"/>
                    <a:pt x="2571" y="17267"/>
                  </a:cubicBezTo>
                  <a:cubicBezTo>
                    <a:pt x="4114" y="17828"/>
                    <a:pt x="4629" y="18670"/>
                    <a:pt x="5657" y="19231"/>
                  </a:cubicBezTo>
                  <a:cubicBezTo>
                    <a:pt x="6171" y="19511"/>
                    <a:pt x="6171" y="19792"/>
                    <a:pt x="6686" y="20072"/>
                  </a:cubicBezTo>
                  <a:cubicBezTo>
                    <a:pt x="7200" y="20072"/>
                    <a:pt x="7714" y="20072"/>
                    <a:pt x="8229" y="20072"/>
                  </a:cubicBezTo>
                  <a:cubicBezTo>
                    <a:pt x="8743" y="20353"/>
                    <a:pt x="9257" y="20353"/>
                    <a:pt x="9257" y="20633"/>
                  </a:cubicBezTo>
                  <a:cubicBezTo>
                    <a:pt x="9257" y="20914"/>
                    <a:pt x="9257" y="21194"/>
                    <a:pt x="9771" y="21194"/>
                  </a:cubicBezTo>
                  <a:cubicBezTo>
                    <a:pt x="9771" y="21475"/>
                    <a:pt x="10286" y="21194"/>
                    <a:pt x="10800" y="21194"/>
                  </a:cubicBezTo>
                  <a:cubicBezTo>
                    <a:pt x="11314" y="21194"/>
                    <a:pt x="11829" y="20633"/>
                    <a:pt x="11829" y="20633"/>
                  </a:cubicBezTo>
                  <a:cubicBezTo>
                    <a:pt x="10800" y="19792"/>
                    <a:pt x="10286" y="19511"/>
                    <a:pt x="8229" y="19231"/>
                  </a:cubicBezTo>
                  <a:cubicBezTo>
                    <a:pt x="7714" y="19231"/>
                    <a:pt x="7200" y="18950"/>
                    <a:pt x="6686" y="18670"/>
                  </a:cubicBezTo>
                  <a:cubicBezTo>
                    <a:pt x="6686" y="18109"/>
                    <a:pt x="7200" y="18670"/>
                    <a:pt x="7714" y="18670"/>
                  </a:cubicBezTo>
                  <a:cubicBezTo>
                    <a:pt x="7200" y="18670"/>
                    <a:pt x="6171" y="16987"/>
                    <a:pt x="6171" y="16706"/>
                  </a:cubicBezTo>
                  <a:cubicBezTo>
                    <a:pt x="6171" y="16426"/>
                    <a:pt x="6171" y="16426"/>
                    <a:pt x="5657" y="16145"/>
                  </a:cubicBezTo>
                  <a:cubicBezTo>
                    <a:pt x="5143" y="16145"/>
                    <a:pt x="4629" y="15865"/>
                    <a:pt x="4629" y="15584"/>
                  </a:cubicBezTo>
                  <a:cubicBezTo>
                    <a:pt x="4114" y="14743"/>
                    <a:pt x="5143" y="13901"/>
                    <a:pt x="5657" y="13340"/>
                  </a:cubicBezTo>
                  <a:cubicBezTo>
                    <a:pt x="5657" y="12779"/>
                    <a:pt x="6686" y="12218"/>
                    <a:pt x="6686" y="11937"/>
                  </a:cubicBezTo>
                  <a:cubicBezTo>
                    <a:pt x="6686" y="11376"/>
                    <a:pt x="6171" y="10254"/>
                    <a:pt x="7200" y="9974"/>
                  </a:cubicBezTo>
                  <a:cubicBezTo>
                    <a:pt x="8743" y="9974"/>
                    <a:pt x="8743" y="10254"/>
                    <a:pt x="8743" y="11096"/>
                  </a:cubicBezTo>
                  <a:cubicBezTo>
                    <a:pt x="8229" y="11657"/>
                    <a:pt x="10286" y="11376"/>
                    <a:pt x="11314" y="11376"/>
                  </a:cubicBezTo>
                  <a:cubicBezTo>
                    <a:pt x="11829" y="11376"/>
                    <a:pt x="13371" y="11937"/>
                    <a:pt x="13886" y="12218"/>
                  </a:cubicBezTo>
                  <a:cubicBezTo>
                    <a:pt x="13886" y="11657"/>
                    <a:pt x="12857" y="11376"/>
                    <a:pt x="12343" y="10535"/>
                  </a:cubicBezTo>
                  <a:cubicBezTo>
                    <a:pt x="12343" y="9974"/>
                    <a:pt x="13371" y="9693"/>
                    <a:pt x="14400" y="9132"/>
                  </a:cubicBezTo>
                  <a:cubicBezTo>
                    <a:pt x="14914" y="8852"/>
                    <a:pt x="16457" y="8852"/>
                    <a:pt x="17486" y="8852"/>
                  </a:cubicBezTo>
                  <a:cubicBezTo>
                    <a:pt x="18514" y="8852"/>
                    <a:pt x="19029" y="8852"/>
                    <a:pt x="19543" y="9132"/>
                  </a:cubicBezTo>
                  <a:cubicBezTo>
                    <a:pt x="20571" y="9132"/>
                    <a:pt x="20057" y="8852"/>
                    <a:pt x="20571" y="8291"/>
                  </a:cubicBezTo>
                  <a:cubicBezTo>
                    <a:pt x="21086" y="8291"/>
                    <a:pt x="20571" y="8571"/>
                    <a:pt x="20571" y="82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7" name="Shape 2126">
              <a:extLst>
                <a:ext uri="{FF2B5EF4-FFF2-40B4-BE49-F238E27FC236}">
                  <a16:creationId xmlns:a16="http://schemas.microsoft.com/office/drawing/2014/main" id="{B29B1A61-0998-51E9-AEE6-A084DBBC6595}"/>
                </a:ext>
              </a:extLst>
            </p:cNvPr>
            <p:cNvSpPr/>
            <p:nvPr/>
          </p:nvSpPr>
          <p:spPr>
            <a:xfrm>
              <a:off x="8809636" y="2974444"/>
              <a:ext cx="246999" cy="499909"/>
            </a:xfrm>
            <a:custGeom>
              <a:avLst/>
              <a:gdLst/>
              <a:ahLst/>
              <a:cxnLst>
                <a:cxn ang="0">
                  <a:pos x="wd2" y="hd2"/>
                </a:cxn>
                <a:cxn ang="5400000">
                  <a:pos x="wd2" y="hd2"/>
                </a:cxn>
                <a:cxn ang="10800000">
                  <a:pos x="wd2" y="hd2"/>
                </a:cxn>
                <a:cxn ang="16200000">
                  <a:pos x="wd2" y="hd2"/>
                </a:cxn>
              </a:cxnLst>
              <a:rect l="0" t="0" r="r" b="b"/>
              <a:pathLst>
                <a:path w="21196" h="20976" extrusionOk="0">
                  <a:moveTo>
                    <a:pt x="21032" y="14839"/>
                  </a:moveTo>
                  <a:cubicBezTo>
                    <a:pt x="20463" y="14562"/>
                    <a:pt x="20463" y="14008"/>
                    <a:pt x="20463" y="13177"/>
                  </a:cubicBezTo>
                  <a:cubicBezTo>
                    <a:pt x="19895" y="12346"/>
                    <a:pt x="19326" y="11793"/>
                    <a:pt x="18189" y="10962"/>
                  </a:cubicBezTo>
                  <a:cubicBezTo>
                    <a:pt x="17621" y="10408"/>
                    <a:pt x="17053" y="10131"/>
                    <a:pt x="15916" y="9854"/>
                  </a:cubicBezTo>
                  <a:cubicBezTo>
                    <a:pt x="14779" y="9300"/>
                    <a:pt x="13074" y="9023"/>
                    <a:pt x="12505" y="8193"/>
                  </a:cubicBezTo>
                  <a:cubicBezTo>
                    <a:pt x="12505" y="7639"/>
                    <a:pt x="11368" y="7362"/>
                    <a:pt x="10232" y="6808"/>
                  </a:cubicBezTo>
                  <a:cubicBezTo>
                    <a:pt x="9663" y="6531"/>
                    <a:pt x="10232" y="5423"/>
                    <a:pt x="10800" y="5146"/>
                  </a:cubicBezTo>
                  <a:cubicBezTo>
                    <a:pt x="11937" y="4870"/>
                    <a:pt x="13074" y="4316"/>
                    <a:pt x="13074" y="3762"/>
                  </a:cubicBezTo>
                  <a:cubicBezTo>
                    <a:pt x="13642" y="3485"/>
                    <a:pt x="15916" y="2931"/>
                    <a:pt x="16484" y="2654"/>
                  </a:cubicBezTo>
                  <a:cubicBezTo>
                    <a:pt x="15347" y="2377"/>
                    <a:pt x="14211" y="2100"/>
                    <a:pt x="13074" y="1546"/>
                  </a:cubicBezTo>
                  <a:cubicBezTo>
                    <a:pt x="11937" y="1270"/>
                    <a:pt x="13642" y="1270"/>
                    <a:pt x="13642" y="716"/>
                  </a:cubicBezTo>
                  <a:cubicBezTo>
                    <a:pt x="13642" y="716"/>
                    <a:pt x="10800" y="439"/>
                    <a:pt x="10800" y="439"/>
                  </a:cubicBezTo>
                  <a:cubicBezTo>
                    <a:pt x="9663" y="162"/>
                    <a:pt x="8526" y="-392"/>
                    <a:pt x="7958" y="439"/>
                  </a:cubicBezTo>
                  <a:cubicBezTo>
                    <a:pt x="7389" y="716"/>
                    <a:pt x="6821" y="716"/>
                    <a:pt x="6253" y="993"/>
                  </a:cubicBezTo>
                  <a:cubicBezTo>
                    <a:pt x="5116" y="1823"/>
                    <a:pt x="5116" y="716"/>
                    <a:pt x="4547" y="993"/>
                  </a:cubicBezTo>
                  <a:cubicBezTo>
                    <a:pt x="3411" y="1270"/>
                    <a:pt x="3411" y="993"/>
                    <a:pt x="2842" y="993"/>
                  </a:cubicBezTo>
                  <a:cubicBezTo>
                    <a:pt x="2274" y="1270"/>
                    <a:pt x="1705" y="1270"/>
                    <a:pt x="1705" y="993"/>
                  </a:cubicBezTo>
                  <a:cubicBezTo>
                    <a:pt x="1705" y="716"/>
                    <a:pt x="568" y="1270"/>
                    <a:pt x="0" y="1270"/>
                  </a:cubicBezTo>
                  <a:cubicBezTo>
                    <a:pt x="0" y="1546"/>
                    <a:pt x="1705" y="2100"/>
                    <a:pt x="2274" y="2100"/>
                  </a:cubicBezTo>
                  <a:cubicBezTo>
                    <a:pt x="2842" y="2654"/>
                    <a:pt x="2274" y="2931"/>
                    <a:pt x="2842" y="3208"/>
                  </a:cubicBezTo>
                  <a:cubicBezTo>
                    <a:pt x="2842" y="3762"/>
                    <a:pt x="4547" y="3762"/>
                    <a:pt x="5116" y="3485"/>
                  </a:cubicBezTo>
                  <a:cubicBezTo>
                    <a:pt x="6253" y="3208"/>
                    <a:pt x="6821" y="4039"/>
                    <a:pt x="6821" y="4316"/>
                  </a:cubicBezTo>
                  <a:cubicBezTo>
                    <a:pt x="7389" y="4870"/>
                    <a:pt x="8526" y="4870"/>
                    <a:pt x="7389" y="5423"/>
                  </a:cubicBezTo>
                  <a:cubicBezTo>
                    <a:pt x="6253" y="5700"/>
                    <a:pt x="5684" y="4870"/>
                    <a:pt x="5684" y="5700"/>
                  </a:cubicBezTo>
                  <a:cubicBezTo>
                    <a:pt x="5684" y="6254"/>
                    <a:pt x="7389" y="6254"/>
                    <a:pt x="7958" y="6531"/>
                  </a:cubicBezTo>
                  <a:cubicBezTo>
                    <a:pt x="9095" y="7085"/>
                    <a:pt x="9663" y="7639"/>
                    <a:pt x="10800" y="8193"/>
                  </a:cubicBezTo>
                  <a:cubicBezTo>
                    <a:pt x="11368" y="8746"/>
                    <a:pt x="12505" y="8746"/>
                    <a:pt x="13074" y="9300"/>
                  </a:cubicBezTo>
                  <a:cubicBezTo>
                    <a:pt x="13642" y="9854"/>
                    <a:pt x="13642" y="10131"/>
                    <a:pt x="14779" y="10408"/>
                  </a:cubicBezTo>
                  <a:cubicBezTo>
                    <a:pt x="15347" y="10685"/>
                    <a:pt x="14779" y="11239"/>
                    <a:pt x="15916" y="11516"/>
                  </a:cubicBezTo>
                  <a:cubicBezTo>
                    <a:pt x="16484" y="11793"/>
                    <a:pt x="15916" y="12623"/>
                    <a:pt x="15347" y="12900"/>
                  </a:cubicBezTo>
                  <a:cubicBezTo>
                    <a:pt x="14779" y="13177"/>
                    <a:pt x="15347" y="13731"/>
                    <a:pt x="15916" y="14008"/>
                  </a:cubicBezTo>
                  <a:cubicBezTo>
                    <a:pt x="15916" y="14562"/>
                    <a:pt x="15916" y="14839"/>
                    <a:pt x="15916" y="15393"/>
                  </a:cubicBezTo>
                  <a:cubicBezTo>
                    <a:pt x="14779" y="15946"/>
                    <a:pt x="14779" y="15946"/>
                    <a:pt x="13074" y="16223"/>
                  </a:cubicBezTo>
                  <a:cubicBezTo>
                    <a:pt x="11937" y="16223"/>
                    <a:pt x="13642" y="17054"/>
                    <a:pt x="11368" y="16777"/>
                  </a:cubicBezTo>
                  <a:cubicBezTo>
                    <a:pt x="10232" y="16777"/>
                    <a:pt x="11368" y="17331"/>
                    <a:pt x="11368" y="17608"/>
                  </a:cubicBezTo>
                  <a:cubicBezTo>
                    <a:pt x="11937" y="18162"/>
                    <a:pt x="10800" y="17885"/>
                    <a:pt x="10232" y="17885"/>
                  </a:cubicBezTo>
                  <a:cubicBezTo>
                    <a:pt x="9095" y="17885"/>
                    <a:pt x="8526" y="17885"/>
                    <a:pt x="7958" y="18162"/>
                  </a:cubicBezTo>
                  <a:cubicBezTo>
                    <a:pt x="6253" y="18716"/>
                    <a:pt x="7389" y="18716"/>
                    <a:pt x="8526" y="18993"/>
                  </a:cubicBezTo>
                  <a:cubicBezTo>
                    <a:pt x="9095" y="18993"/>
                    <a:pt x="7958" y="19823"/>
                    <a:pt x="7958" y="20100"/>
                  </a:cubicBezTo>
                  <a:cubicBezTo>
                    <a:pt x="7389" y="20100"/>
                    <a:pt x="7389" y="21208"/>
                    <a:pt x="7958" y="20931"/>
                  </a:cubicBezTo>
                  <a:cubicBezTo>
                    <a:pt x="9095" y="20654"/>
                    <a:pt x="9663" y="20377"/>
                    <a:pt x="10232" y="20377"/>
                  </a:cubicBezTo>
                  <a:cubicBezTo>
                    <a:pt x="12505" y="20100"/>
                    <a:pt x="11368" y="19823"/>
                    <a:pt x="10800" y="19270"/>
                  </a:cubicBezTo>
                  <a:cubicBezTo>
                    <a:pt x="11368" y="19270"/>
                    <a:pt x="11937" y="19823"/>
                    <a:pt x="12505" y="19546"/>
                  </a:cubicBezTo>
                  <a:cubicBezTo>
                    <a:pt x="13074" y="19270"/>
                    <a:pt x="11937" y="18993"/>
                    <a:pt x="11937" y="18993"/>
                  </a:cubicBezTo>
                  <a:cubicBezTo>
                    <a:pt x="11937" y="18716"/>
                    <a:pt x="13074" y="19270"/>
                    <a:pt x="13074" y="19270"/>
                  </a:cubicBezTo>
                  <a:cubicBezTo>
                    <a:pt x="12505" y="19270"/>
                    <a:pt x="13074" y="18162"/>
                    <a:pt x="13642" y="18162"/>
                  </a:cubicBezTo>
                  <a:cubicBezTo>
                    <a:pt x="13642" y="17885"/>
                    <a:pt x="14779" y="18439"/>
                    <a:pt x="14779" y="18439"/>
                  </a:cubicBezTo>
                  <a:cubicBezTo>
                    <a:pt x="15916" y="18439"/>
                    <a:pt x="16484" y="18162"/>
                    <a:pt x="17053" y="17885"/>
                  </a:cubicBezTo>
                  <a:cubicBezTo>
                    <a:pt x="17621" y="17608"/>
                    <a:pt x="20463" y="17054"/>
                    <a:pt x="20463" y="16500"/>
                  </a:cubicBezTo>
                  <a:cubicBezTo>
                    <a:pt x="20463" y="16223"/>
                    <a:pt x="19895" y="15946"/>
                    <a:pt x="20463" y="15393"/>
                  </a:cubicBezTo>
                  <a:cubicBezTo>
                    <a:pt x="20463" y="15116"/>
                    <a:pt x="21600" y="15393"/>
                    <a:pt x="21032" y="14839"/>
                  </a:cubicBezTo>
                  <a:cubicBezTo>
                    <a:pt x="20463" y="14562"/>
                    <a:pt x="21600" y="15116"/>
                    <a:pt x="21032" y="148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8" name="Shape 2127">
              <a:extLst>
                <a:ext uri="{FF2B5EF4-FFF2-40B4-BE49-F238E27FC236}">
                  <a16:creationId xmlns:a16="http://schemas.microsoft.com/office/drawing/2014/main" id="{A5E47F02-5762-8874-40F9-EB9EAD5A2B0C}"/>
                </a:ext>
              </a:extLst>
            </p:cNvPr>
            <p:cNvSpPr/>
            <p:nvPr/>
          </p:nvSpPr>
          <p:spPr>
            <a:xfrm>
              <a:off x="8751204" y="3005566"/>
              <a:ext cx="242722" cy="289410"/>
            </a:xfrm>
            <a:custGeom>
              <a:avLst/>
              <a:gdLst/>
              <a:ahLst/>
              <a:cxnLst>
                <a:cxn ang="0">
                  <a:pos x="wd2" y="hd2"/>
                </a:cxn>
                <a:cxn ang="5400000">
                  <a:pos x="wd2" y="hd2"/>
                </a:cxn>
                <a:cxn ang="10800000">
                  <a:pos x="wd2" y="hd2"/>
                </a:cxn>
                <a:cxn ang="16200000">
                  <a:pos x="wd2" y="hd2"/>
                </a:cxn>
              </a:cxnLst>
              <a:rect l="0" t="0" r="r" b="b"/>
              <a:pathLst>
                <a:path w="21600" h="21067" extrusionOk="0">
                  <a:moveTo>
                    <a:pt x="21600" y="18240"/>
                  </a:moveTo>
                  <a:cubicBezTo>
                    <a:pt x="21600" y="17760"/>
                    <a:pt x="21016" y="17760"/>
                    <a:pt x="20432" y="16800"/>
                  </a:cubicBezTo>
                  <a:cubicBezTo>
                    <a:pt x="20432" y="15840"/>
                    <a:pt x="19849" y="16320"/>
                    <a:pt x="19265" y="15360"/>
                  </a:cubicBezTo>
                  <a:cubicBezTo>
                    <a:pt x="18681" y="14400"/>
                    <a:pt x="18681" y="13920"/>
                    <a:pt x="17514" y="13440"/>
                  </a:cubicBezTo>
                  <a:cubicBezTo>
                    <a:pt x="16346" y="12480"/>
                    <a:pt x="15762" y="11520"/>
                    <a:pt x="15178" y="10560"/>
                  </a:cubicBezTo>
                  <a:cubicBezTo>
                    <a:pt x="14595" y="10080"/>
                    <a:pt x="13427" y="9120"/>
                    <a:pt x="12843" y="8640"/>
                  </a:cubicBezTo>
                  <a:cubicBezTo>
                    <a:pt x="11676" y="8160"/>
                    <a:pt x="11092" y="8640"/>
                    <a:pt x="11092" y="7200"/>
                  </a:cubicBezTo>
                  <a:cubicBezTo>
                    <a:pt x="11092" y="6720"/>
                    <a:pt x="12259" y="7680"/>
                    <a:pt x="12843" y="6720"/>
                  </a:cubicBezTo>
                  <a:cubicBezTo>
                    <a:pt x="14011" y="6240"/>
                    <a:pt x="12843" y="5760"/>
                    <a:pt x="12259" y="4800"/>
                  </a:cubicBezTo>
                  <a:cubicBezTo>
                    <a:pt x="11092" y="2400"/>
                    <a:pt x="9341" y="5280"/>
                    <a:pt x="8173" y="3840"/>
                  </a:cubicBezTo>
                  <a:cubicBezTo>
                    <a:pt x="7589" y="3360"/>
                    <a:pt x="8173" y="2400"/>
                    <a:pt x="7589" y="1920"/>
                  </a:cubicBezTo>
                  <a:cubicBezTo>
                    <a:pt x="7005" y="1440"/>
                    <a:pt x="5838" y="960"/>
                    <a:pt x="5254" y="0"/>
                  </a:cubicBezTo>
                  <a:cubicBezTo>
                    <a:pt x="5254" y="0"/>
                    <a:pt x="4086" y="0"/>
                    <a:pt x="4086" y="0"/>
                  </a:cubicBezTo>
                  <a:cubicBezTo>
                    <a:pt x="3503" y="480"/>
                    <a:pt x="4670" y="1440"/>
                    <a:pt x="4670" y="1920"/>
                  </a:cubicBezTo>
                  <a:cubicBezTo>
                    <a:pt x="4670" y="2400"/>
                    <a:pt x="5254" y="3360"/>
                    <a:pt x="4670" y="3360"/>
                  </a:cubicBezTo>
                  <a:cubicBezTo>
                    <a:pt x="3503" y="3360"/>
                    <a:pt x="3503" y="2400"/>
                    <a:pt x="2335" y="2400"/>
                  </a:cubicBezTo>
                  <a:cubicBezTo>
                    <a:pt x="1751" y="1920"/>
                    <a:pt x="0" y="4800"/>
                    <a:pt x="0" y="4800"/>
                  </a:cubicBezTo>
                  <a:cubicBezTo>
                    <a:pt x="584" y="6240"/>
                    <a:pt x="0" y="8160"/>
                    <a:pt x="2335" y="7200"/>
                  </a:cubicBezTo>
                  <a:cubicBezTo>
                    <a:pt x="3503" y="6720"/>
                    <a:pt x="2335" y="10560"/>
                    <a:pt x="2335" y="10560"/>
                  </a:cubicBezTo>
                  <a:cubicBezTo>
                    <a:pt x="3503" y="11040"/>
                    <a:pt x="2335" y="11520"/>
                    <a:pt x="1751" y="12480"/>
                  </a:cubicBezTo>
                  <a:cubicBezTo>
                    <a:pt x="1751" y="12960"/>
                    <a:pt x="3503" y="12000"/>
                    <a:pt x="4086" y="12000"/>
                  </a:cubicBezTo>
                  <a:cubicBezTo>
                    <a:pt x="4086" y="11520"/>
                    <a:pt x="5254" y="11040"/>
                    <a:pt x="5838" y="11040"/>
                  </a:cubicBezTo>
                  <a:cubicBezTo>
                    <a:pt x="7005" y="11520"/>
                    <a:pt x="7589" y="11520"/>
                    <a:pt x="8757" y="10560"/>
                  </a:cubicBezTo>
                  <a:cubicBezTo>
                    <a:pt x="9924" y="10080"/>
                    <a:pt x="14011" y="12000"/>
                    <a:pt x="13427" y="13440"/>
                  </a:cubicBezTo>
                  <a:cubicBezTo>
                    <a:pt x="12259" y="15360"/>
                    <a:pt x="14595" y="15840"/>
                    <a:pt x="15762" y="17280"/>
                  </a:cubicBezTo>
                  <a:cubicBezTo>
                    <a:pt x="15762" y="17760"/>
                    <a:pt x="15762" y="18240"/>
                    <a:pt x="15762" y="18720"/>
                  </a:cubicBezTo>
                  <a:cubicBezTo>
                    <a:pt x="15762" y="19200"/>
                    <a:pt x="15178" y="20160"/>
                    <a:pt x="14595" y="20640"/>
                  </a:cubicBezTo>
                  <a:cubicBezTo>
                    <a:pt x="15178" y="20640"/>
                    <a:pt x="16930" y="21600"/>
                    <a:pt x="16930" y="20640"/>
                  </a:cubicBezTo>
                  <a:cubicBezTo>
                    <a:pt x="16930" y="20160"/>
                    <a:pt x="18097" y="19680"/>
                    <a:pt x="18681" y="20160"/>
                  </a:cubicBezTo>
                  <a:cubicBezTo>
                    <a:pt x="19265" y="20640"/>
                    <a:pt x="19849" y="20640"/>
                    <a:pt x="20432" y="20160"/>
                  </a:cubicBezTo>
                  <a:cubicBezTo>
                    <a:pt x="21600" y="20160"/>
                    <a:pt x="21600" y="19200"/>
                    <a:pt x="21600" y="182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9" name="Shape 2128">
              <a:extLst>
                <a:ext uri="{FF2B5EF4-FFF2-40B4-BE49-F238E27FC236}">
                  <a16:creationId xmlns:a16="http://schemas.microsoft.com/office/drawing/2014/main" id="{33DCEC7B-965C-01D2-2566-6C5BD4F5A855}"/>
                </a:ext>
              </a:extLst>
            </p:cNvPr>
            <p:cNvSpPr/>
            <p:nvPr/>
          </p:nvSpPr>
          <p:spPr>
            <a:xfrm>
              <a:off x="9791751" y="3810346"/>
              <a:ext cx="296659" cy="251776"/>
            </a:xfrm>
            <a:custGeom>
              <a:avLst/>
              <a:gdLst/>
              <a:ahLst/>
              <a:cxnLst>
                <a:cxn ang="0">
                  <a:pos x="wd2" y="hd2"/>
                </a:cxn>
                <a:cxn ang="5400000">
                  <a:pos x="wd2" y="hd2"/>
                </a:cxn>
                <a:cxn ang="10800000">
                  <a:pos x="wd2" y="hd2"/>
                </a:cxn>
                <a:cxn ang="16200000">
                  <a:pos x="wd2" y="hd2"/>
                </a:cxn>
              </a:cxnLst>
              <a:rect l="0" t="0" r="r" b="b"/>
              <a:pathLst>
                <a:path w="21600" h="21600" extrusionOk="0">
                  <a:moveTo>
                    <a:pt x="21600" y="16484"/>
                  </a:moveTo>
                  <a:cubicBezTo>
                    <a:pt x="21600" y="15916"/>
                    <a:pt x="21120" y="15347"/>
                    <a:pt x="21600" y="14779"/>
                  </a:cubicBezTo>
                  <a:cubicBezTo>
                    <a:pt x="21600" y="14211"/>
                    <a:pt x="21600" y="14211"/>
                    <a:pt x="21600" y="13642"/>
                  </a:cubicBezTo>
                  <a:cubicBezTo>
                    <a:pt x="21600" y="11937"/>
                    <a:pt x="21600" y="10232"/>
                    <a:pt x="21600" y="8526"/>
                  </a:cubicBezTo>
                  <a:cubicBezTo>
                    <a:pt x="21600" y="6821"/>
                    <a:pt x="21600" y="5116"/>
                    <a:pt x="21600" y="3411"/>
                  </a:cubicBezTo>
                  <a:cubicBezTo>
                    <a:pt x="21600" y="3411"/>
                    <a:pt x="17280" y="1705"/>
                    <a:pt x="16800" y="1705"/>
                  </a:cubicBezTo>
                  <a:cubicBezTo>
                    <a:pt x="15840" y="1137"/>
                    <a:pt x="15360" y="568"/>
                    <a:pt x="14400" y="0"/>
                  </a:cubicBezTo>
                  <a:cubicBezTo>
                    <a:pt x="12960" y="0"/>
                    <a:pt x="12960" y="1137"/>
                    <a:pt x="12480" y="1705"/>
                  </a:cubicBezTo>
                  <a:cubicBezTo>
                    <a:pt x="12480" y="2274"/>
                    <a:pt x="11040" y="2274"/>
                    <a:pt x="10560" y="2842"/>
                  </a:cubicBezTo>
                  <a:cubicBezTo>
                    <a:pt x="10080" y="3979"/>
                    <a:pt x="9600" y="5116"/>
                    <a:pt x="8640" y="5684"/>
                  </a:cubicBezTo>
                  <a:cubicBezTo>
                    <a:pt x="7680" y="6253"/>
                    <a:pt x="6720" y="5684"/>
                    <a:pt x="6720" y="4547"/>
                  </a:cubicBezTo>
                  <a:cubicBezTo>
                    <a:pt x="6240" y="3411"/>
                    <a:pt x="5760" y="3411"/>
                    <a:pt x="5280" y="2842"/>
                  </a:cubicBezTo>
                  <a:cubicBezTo>
                    <a:pt x="5280" y="1705"/>
                    <a:pt x="4800" y="2842"/>
                    <a:pt x="4320" y="3411"/>
                  </a:cubicBezTo>
                  <a:cubicBezTo>
                    <a:pt x="3840" y="3411"/>
                    <a:pt x="3360" y="2842"/>
                    <a:pt x="3360" y="2842"/>
                  </a:cubicBezTo>
                  <a:cubicBezTo>
                    <a:pt x="2880" y="2842"/>
                    <a:pt x="2400" y="3411"/>
                    <a:pt x="1920" y="3411"/>
                  </a:cubicBezTo>
                  <a:cubicBezTo>
                    <a:pt x="1920" y="3979"/>
                    <a:pt x="0" y="3411"/>
                    <a:pt x="0" y="3979"/>
                  </a:cubicBezTo>
                  <a:cubicBezTo>
                    <a:pt x="0" y="4547"/>
                    <a:pt x="960" y="4547"/>
                    <a:pt x="1440" y="4547"/>
                  </a:cubicBezTo>
                  <a:cubicBezTo>
                    <a:pt x="1920" y="5116"/>
                    <a:pt x="1920" y="5684"/>
                    <a:pt x="1920" y="6253"/>
                  </a:cubicBezTo>
                  <a:cubicBezTo>
                    <a:pt x="1920" y="7389"/>
                    <a:pt x="3360" y="7389"/>
                    <a:pt x="3360" y="7958"/>
                  </a:cubicBezTo>
                  <a:cubicBezTo>
                    <a:pt x="3360" y="6821"/>
                    <a:pt x="3360" y="5116"/>
                    <a:pt x="4320" y="4547"/>
                  </a:cubicBezTo>
                  <a:cubicBezTo>
                    <a:pt x="3360" y="5116"/>
                    <a:pt x="3840" y="6253"/>
                    <a:pt x="4800" y="6821"/>
                  </a:cubicBezTo>
                  <a:cubicBezTo>
                    <a:pt x="5760" y="7389"/>
                    <a:pt x="6240" y="7389"/>
                    <a:pt x="7200" y="6821"/>
                  </a:cubicBezTo>
                  <a:cubicBezTo>
                    <a:pt x="5760" y="7389"/>
                    <a:pt x="8160" y="8526"/>
                    <a:pt x="8640" y="8526"/>
                  </a:cubicBezTo>
                  <a:cubicBezTo>
                    <a:pt x="10080" y="9095"/>
                    <a:pt x="11520" y="10232"/>
                    <a:pt x="12960" y="10800"/>
                  </a:cubicBezTo>
                  <a:cubicBezTo>
                    <a:pt x="13920" y="11368"/>
                    <a:pt x="14880" y="11937"/>
                    <a:pt x="15360" y="12505"/>
                  </a:cubicBezTo>
                  <a:cubicBezTo>
                    <a:pt x="15360" y="13642"/>
                    <a:pt x="15840" y="14211"/>
                    <a:pt x="16320" y="14779"/>
                  </a:cubicBezTo>
                  <a:cubicBezTo>
                    <a:pt x="16320" y="14779"/>
                    <a:pt x="17280" y="15347"/>
                    <a:pt x="17280" y="15347"/>
                  </a:cubicBezTo>
                  <a:cubicBezTo>
                    <a:pt x="17280" y="15347"/>
                    <a:pt x="16320" y="15916"/>
                    <a:pt x="16320" y="15916"/>
                  </a:cubicBezTo>
                  <a:cubicBezTo>
                    <a:pt x="16320" y="15916"/>
                    <a:pt x="17280" y="15916"/>
                    <a:pt x="17280" y="16484"/>
                  </a:cubicBezTo>
                  <a:cubicBezTo>
                    <a:pt x="17280" y="15916"/>
                    <a:pt x="16800" y="16484"/>
                    <a:pt x="16800" y="17053"/>
                  </a:cubicBezTo>
                  <a:cubicBezTo>
                    <a:pt x="16320" y="17621"/>
                    <a:pt x="15840" y="17053"/>
                    <a:pt x="15360" y="17621"/>
                  </a:cubicBezTo>
                  <a:cubicBezTo>
                    <a:pt x="14880" y="17621"/>
                    <a:pt x="13440" y="19326"/>
                    <a:pt x="13920" y="19326"/>
                  </a:cubicBezTo>
                  <a:cubicBezTo>
                    <a:pt x="14400" y="19895"/>
                    <a:pt x="15360" y="19895"/>
                    <a:pt x="16320" y="19895"/>
                  </a:cubicBezTo>
                  <a:cubicBezTo>
                    <a:pt x="16320" y="19326"/>
                    <a:pt x="16800" y="17053"/>
                    <a:pt x="17280" y="17621"/>
                  </a:cubicBezTo>
                  <a:cubicBezTo>
                    <a:pt x="17280" y="18189"/>
                    <a:pt x="15840" y="18758"/>
                    <a:pt x="17280" y="18758"/>
                  </a:cubicBezTo>
                  <a:cubicBezTo>
                    <a:pt x="18240" y="19326"/>
                    <a:pt x="18720" y="19326"/>
                    <a:pt x="19200" y="18189"/>
                  </a:cubicBezTo>
                  <a:cubicBezTo>
                    <a:pt x="18720" y="19326"/>
                    <a:pt x="21120" y="21032"/>
                    <a:pt x="21600" y="21600"/>
                  </a:cubicBezTo>
                  <a:cubicBezTo>
                    <a:pt x="21600" y="19895"/>
                    <a:pt x="21600" y="18189"/>
                    <a:pt x="21600" y="164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0" name="Shape 2129">
              <a:extLst>
                <a:ext uri="{FF2B5EF4-FFF2-40B4-BE49-F238E27FC236}">
                  <a16:creationId xmlns:a16="http://schemas.microsoft.com/office/drawing/2014/main" id="{9699CA89-882C-BE28-7C05-DB246D546322}"/>
                </a:ext>
              </a:extLst>
            </p:cNvPr>
            <p:cNvSpPr/>
            <p:nvPr/>
          </p:nvSpPr>
          <p:spPr>
            <a:xfrm>
              <a:off x="10085340" y="3850813"/>
              <a:ext cx="328738" cy="266104"/>
            </a:xfrm>
            <a:custGeom>
              <a:avLst/>
              <a:gdLst/>
              <a:ahLst/>
              <a:cxnLst>
                <a:cxn ang="0">
                  <a:pos x="wd2" y="hd2"/>
                </a:cxn>
                <a:cxn ang="5400000">
                  <a:pos x="wd2" y="hd2"/>
                </a:cxn>
                <a:cxn ang="10800000">
                  <a:pos x="wd2" y="hd2"/>
                </a:cxn>
                <a:cxn ang="16200000">
                  <a:pos x="wd2" y="hd2"/>
                </a:cxn>
              </a:cxnLst>
              <a:rect l="0" t="0" r="r" b="b"/>
              <a:pathLst>
                <a:path w="21063" h="21307" extrusionOk="0">
                  <a:moveTo>
                    <a:pt x="20941" y="20546"/>
                  </a:moveTo>
                  <a:cubicBezTo>
                    <a:pt x="20094" y="20020"/>
                    <a:pt x="19247" y="20020"/>
                    <a:pt x="18824" y="19493"/>
                  </a:cubicBezTo>
                  <a:cubicBezTo>
                    <a:pt x="18400" y="18966"/>
                    <a:pt x="19247" y="18439"/>
                    <a:pt x="19671" y="18966"/>
                  </a:cubicBezTo>
                  <a:cubicBezTo>
                    <a:pt x="18824" y="18439"/>
                    <a:pt x="17553" y="18966"/>
                    <a:pt x="17553" y="17912"/>
                  </a:cubicBezTo>
                  <a:cubicBezTo>
                    <a:pt x="17553" y="16859"/>
                    <a:pt x="16283" y="16859"/>
                    <a:pt x="15859" y="15805"/>
                  </a:cubicBezTo>
                  <a:cubicBezTo>
                    <a:pt x="15436" y="15278"/>
                    <a:pt x="15859" y="15278"/>
                    <a:pt x="15436" y="14751"/>
                  </a:cubicBezTo>
                  <a:cubicBezTo>
                    <a:pt x="15012" y="14224"/>
                    <a:pt x="14589" y="14224"/>
                    <a:pt x="14165" y="13698"/>
                  </a:cubicBezTo>
                  <a:cubicBezTo>
                    <a:pt x="14165" y="13698"/>
                    <a:pt x="12471" y="11063"/>
                    <a:pt x="12047" y="11063"/>
                  </a:cubicBezTo>
                  <a:cubicBezTo>
                    <a:pt x="12471" y="10537"/>
                    <a:pt x="13741" y="11063"/>
                    <a:pt x="14165" y="11063"/>
                  </a:cubicBezTo>
                  <a:cubicBezTo>
                    <a:pt x="15012" y="11063"/>
                    <a:pt x="14589" y="10537"/>
                    <a:pt x="14165" y="9483"/>
                  </a:cubicBezTo>
                  <a:cubicBezTo>
                    <a:pt x="14165" y="8956"/>
                    <a:pt x="13318" y="8956"/>
                    <a:pt x="12894" y="8956"/>
                  </a:cubicBezTo>
                  <a:cubicBezTo>
                    <a:pt x="11624" y="7902"/>
                    <a:pt x="10777" y="7376"/>
                    <a:pt x="10353" y="6322"/>
                  </a:cubicBezTo>
                  <a:cubicBezTo>
                    <a:pt x="9930" y="5268"/>
                    <a:pt x="8659" y="4215"/>
                    <a:pt x="7812" y="3688"/>
                  </a:cubicBezTo>
                  <a:cubicBezTo>
                    <a:pt x="7389" y="3161"/>
                    <a:pt x="6965" y="3161"/>
                    <a:pt x="6541" y="3161"/>
                  </a:cubicBezTo>
                  <a:cubicBezTo>
                    <a:pt x="6118" y="3161"/>
                    <a:pt x="5694" y="2107"/>
                    <a:pt x="5271" y="2107"/>
                  </a:cubicBezTo>
                  <a:cubicBezTo>
                    <a:pt x="4847" y="1580"/>
                    <a:pt x="4000" y="1580"/>
                    <a:pt x="3153" y="1054"/>
                  </a:cubicBezTo>
                  <a:cubicBezTo>
                    <a:pt x="2306" y="1054"/>
                    <a:pt x="1459" y="0"/>
                    <a:pt x="189" y="0"/>
                  </a:cubicBezTo>
                  <a:cubicBezTo>
                    <a:pt x="189" y="1580"/>
                    <a:pt x="189" y="3688"/>
                    <a:pt x="189" y="5268"/>
                  </a:cubicBezTo>
                  <a:cubicBezTo>
                    <a:pt x="189" y="6849"/>
                    <a:pt x="612" y="8956"/>
                    <a:pt x="189" y="10537"/>
                  </a:cubicBezTo>
                  <a:cubicBezTo>
                    <a:pt x="-235" y="11063"/>
                    <a:pt x="189" y="12117"/>
                    <a:pt x="189" y="13171"/>
                  </a:cubicBezTo>
                  <a:cubicBezTo>
                    <a:pt x="189" y="14224"/>
                    <a:pt x="189" y="14751"/>
                    <a:pt x="189" y="15805"/>
                  </a:cubicBezTo>
                  <a:cubicBezTo>
                    <a:pt x="189" y="17385"/>
                    <a:pt x="612" y="17385"/>
                    <a:pt x="1459" y="17385"/>
                  </a:cubicBezTo>
                  <a:cubicBezTo>
                    <a:pt x="2730" y="17385"/>
                    <a:pt x="4000" y="17385"/>
                    <a:pt x="5271" y="16332"/>
                  </a:cubicBezTo>
                  <a:cubicBezTo>
                    <a:pt x="5694" y="16332"/>
                    <a:pt x="3577" y="14751"/>
                    <a:pt x="3577" y="14751"/>
                  </a:cubicBezTo>
                  <a:cubicBezTo>
                    <a:pt x="4000" y="14751"/>
                    <a:pt x="5694" y="16332"/>
                    <a:pt x="5694" y="15805"/>
                  </a:cubicBezTo>
                  <a:cubicBezTo>
                    <a:pt x="5694" y="15278"/>
                    <a:pt x="5271" y="14751"/>
                    <a:pt x="5271" y="13698"/>
                  </a:cubicBezTo>
                  <a:cubicBezTo>
                    <a:pt x="5271" y="13698"/>
                    <a:pt x="6541" y="14751"/>
                    <a:pt x="6118" y="14224"/>
                  </a:cubicBezTo>
                  <a:cubicBezTo>
                    <a:pt x="6118" y="13171"/>
                    <a:pt x="6965" y="13171"/>
                    <a:pt x="7389" y="13171"/>
                  </a:cubicBezTo>
                  <a:cubicBezTo>
                    <a:pt x="7812" y="13171"/>
                    <a:pt x="10777" y="14751"/>
                    <a:pt x="10777" y="14224"/>
                  </a:cubicBezTo>
                  <a:cubicBezTo>
                    <a:pt x="10777" y="15278"/>
                    <a:pt x="12471" y="16332"/>
                    <a:pt x="12894" y="17385"/>
                  </a:cubicBezTo>
                  <a:cubicBezTo>
                    <a:pt x="13318" y="18439"/>
                    <a:pt x="14165" y="20020"/>
                    <a:pt x="15012" y="20020"/>
                  </a:cubicBezTo>
                  <a:cubicBezTo>
                    <a:pt x="16283" y="20020"/>
                    <a:pt x="17553" y="20546"/>
                    <a:pt x="18824" y="21073"/>
                  </a:cubicBezTo>
                  <a:cubicBezTo>
                    <a:pt x="19247" y="21073"/>
                    <a:pt x="20094" y="21600"/>
                    <a:pt x="20094" y="21073"/>
                  </a:cubicBezTo>
                  <a:cubicBezTo>
                    <a:pt x="20094" y="20546"/>
                    <a:pt x="21365" y="20546"/>
                    <a:pt x="20941" y="20546"/>
                  </a:cubicBezTo>
                  <a:cubicBezTo>
                    <a:pt x="20518" y="20020"/>
                    <a:pt x="21365" y="20546"/>
                    <a:pt x="20941" y="2054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1" name="Shape 2130">
              <a:extLst>
                <a:ext uri="{FF2B5EF4-FFF2-40B4-BE49-F238E27FC236}">
                  <a16:creationId xmlns:a16="http://schemas.microsoft.com/office/drawing/2014/main" id="{1251B159-2396-8468-A25F-3BCC533DBAB5}"/>
                </a:ext>
              </a:extLst>
            </p:cNvPr>
            <p:cNvSpPr/>
            <p:nvPr/>
          </p:nvSpPr>
          <p:spPr>
            <a:xfrm>
              <a:off x="9034374" y="3617321"/>
              <a:ext cx="328340" cy="277316"/>
            </a:xfrm>
            <a:custGeom>
              <a:avLst/>
              <a:gdLst/>
              <a:ahLst/>
              <a:cxnLst>
                <a:cxn ang="0">
                  <a:pos x="wd2" y="hd2"/>
                </a:cxn>
                <a:cxn ang="5400000">
                  <a:pos x="wd2" y="hd2"/>
                </a:cxn>
                <a:cxn ang="10800000">
                  <a:pos x="wd2" y="hd2"/>
                </a:cxn>
                <a:cxn ang="16200000">
                  <a:pos x="wd2" y="hd2"/>
                </a:cxn>
              </a:cxnLst>
              <a:rect l="0" t="0" r="r" b="b"/>
              <a:pathLst>
                <a:path w="21038" h="20186" extrusionOk="0">
                  <a:moveTo>
                    <a:pt x="13976" y="1560"/>
                  </a:moveTo>
                  <a:cubicBezTo>
                    <a:pt x="13553" y="3000"/>
                    <a:pt x="13129" y="3960"/>
                    <a:pt x="12282" y="5400"/>
                  </a:cubicBezTo>
                  <a:cubicBezTo>
                    <a:pt x="11859" y="7320"/>
                    <a:pt x="9741" y="7320"/>
                    <a:pt x="8471" y="6840"/>
                  </a:cubicBezTo>
                  <a:cubicBezTo>
                    <a:pt x="7624" y="6360"/>
                    <a:pt x="6776" y="7320"/>
                    <a:pt x="6353" y="7800"/>
                  </a:cubicBezTo>
                  <a:cubicBezTo>
                    <a:pt x="5929" y="8280"/>
                    <a:pt x="4659" y="7800"/>
                    <a:pt x="4235" y="8280"/>
                  </a:cubicBezTo>
                  <a:cubicBezTo>
                    <a:pt x="3388" y="8760"/>
                    <a:pt x="3388" y="8760"/>
                    <a:pt x="2965" y="7800"/>
                  </a:cubicBezTo>
                  <a:cubicBezTo>
                    <a:pt x="2118" y="7320"/>
                    <a:pt x="1694" y="6840"/>
                    <a:pt x="1271" y="5880"/>
                  </a:cubicBezTo>
                  <a:cubicBezTo>
                    <a:pt x="847" y="5400"/>
                    <a:pt x="0" y="8280"/>
                    <a:pt x="0" y="8760"/>
                  </a:cubicBezTo>
                  <a:cubicBezTo>
                    <a:pt x="0" y="10200"/>
                    <a:pt x="1271" y="11640"/>
                    <a:pt x="1694" y="13080"/>
                  </a:cubicBezTo>
                  <a:cubicBezTo>
                    <a:pt x="2541" y="14520"/>
                    <a:pt x="2118" y="15960"/>
                    <a:pt x="3388" y="16920"/>
                  </a:cubicBezTo>
                  <a:cubicBezTo>
                    <a:pt x="4235" y="17400"/>
                    <a:pt x="5082" y="17880"/>
                    <a:pt x="5506" y="17880"/>
                  </a:cubicBezTo>
                  <a:cubicBezTo>
                    <a:pt x="6776" y="17400"/>
                    <a:pt x="5506" y="18360"/>
                    <a:pt x="5929" y="18840"/>
                  </a:cubicBezTo>
                  <a:cubicBezTo>
                    <a:pt x="6353" y="18840"/>
                    <a:pt x="7624" y="18840"/>
                    <a:pt x="8047" y="18840"/>
                  </a:cubicBezTo>
                  <a:cubicBezTo>
                    <a:pt x="8471" y="18360"/>
                    <a:pt x="8471" y="17400"/>
                    <a:pt x="8894" y="17880"/>
                  </a:cubicBezTo>
                  <a:cubicBezTo>
                    <a:pt x="9318" y="18360"/>
                    <a:pt x="10165" y="18840"/>
                    <a:pt x="10588" y="18360"/>
                  </a:cubicBezTo>
                  <a:cubicBezTo>
                    <a:pt x="11012" y="18360"/>
                    <a:pt x="11859" y="17880"/>
                    <a:pt x="11859" y="18360"/>
                  </a:cubicBezTo>
                  <a:cubicBezTo>
                    <a:pt x="12282" y="19800"/>
                    <a:pt x="11435" y="20760"/>
                    <a:pt x="13129" y="19800"/>
                  </a:cubicBezTo>
                  <a:cubicBezTo>
                    <a:pt x="13553" y="19800"/>
                    <a:pt x="13976" y="19320"/>
                    <a:pt x="14400" y="19320"/>
                  </a:cubicBezTo>
                  <a:cubicBezTo>
                    <a:pt x="14824" y="19320"/>
                    <a:pt x="15247" y="19800"/>
                    <a:pt x="15247" y="19800"/>
                  </a:cubicBezTo>
                  <a:cubicBezTo>
                    <a:pt x="15671" y="18840"/>
                    <a:pt x="14824" y="17880"/>
                    <a:pt x="15671" y="16920"/>
                  </a:cubicBezTo>
                  <a:cubicBezTo>
                    <a:pt x="16094" y="16440"/>
                    <a:pt x="15671" y="15960"/>
                    <a:pt x="15671" y="15000"/>
                  </a:cubicBezTo>
                  <a:cubicBezTo>
                    <a:pt x="15671" y="14520"/>
                    <a:pt x="16094" y="14040"/>
                    <a:pt x="16518" y="13560"/>
                  </a:cubicBezTo>
                  <a:cubicBezTo>
                    <a:pt x="17365" y="12600"/>
                    <a:pt x="18212" y="12120"/>
                    <a:pt x="17788" y="10680"/>
                  </a:cubicBezTo>
                  <a:cubicBezTo>
                    <a:pt x="17788" y="9720"/>
                    <a:pt x="19059" y="7800"/>
                    <a:pt x="19906" y="8280"/>
                  </a:cubicBezTo>
                  <a:cubicBezTo>
                    <a:pt x="20329" y="8760"/>
                    <a:pt x="21600" y="8280"/>
                    <a:pt x="20753" y="7800"/>
                  </a:cubicBezTo>
                  <a:cubicBezTo>
                    <a:pt x="20329" y="6840"/>
                    <a:pt x="19059" y="6360"/>
                    <a:pt x="19059" y="5400"/>
                  </a:cubicBezTo>
                  <a:cubicBezTo>
                    <a:pt x="19059" y="4440"/>
                    <a:pt x="18212" y="3480"/>
                    <a:pt x="17788" y="2520"/>
                  </a:cubicBezTo>
                  <a:cubicBezTo>
                    <a:pt x="17365" y="1080"/>
                    <a:pt x="18635" y="2520"/>
                    <a:pt x="18635" y="2040"/>
                  </a:cubicBezTo>
                  <a:cubicBezTo>
                    <a:pt x="19059" y="1560"/>
                    <a:pt x="17365" y="1080"/>
                    <a:pt x="18635" y="600"/>
                  </a:cubicBezTo>
                  <a:cubicBezTo>
                    <a:pt x="16941" y="120"/>
                    <a:pt x="14400" y="-840"/>
                    <a:pt x="13976" y="1560"/>
                  </a:cubicBezTo>
                  <a:cubicBezTo>
                    <a:pt x="13553" y="2520"/>
                    <a:pt x="14400" y="600"/>
                    <a:pt x="13976" y="15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2" name="Shape 2131">
              <a:extLst>
                <a:ext uri="{FF2B5EF4-FFF2-40B4-BE49-F238E27FC236}">
                  <a16:creationId xmlns:a16="http://schemas.microsoft.com/office/drawing/2014/main" id="{F3ABB77F-332B-9E25-2C75-639B1B852823}"/>
                </a:ext>
              </a:extLst>
            </p:cNvPr>
            <p:cNvSpPr/>
            <p:nvPr/>
          </p:nvSpPr>
          <p:spPr>
            <a:xfrm>
              <a:off x="9054603" y="3532681"/>
              <a:ext cx="317291" cy="205731"/>
            </a:xfrm>
            <a:custGeom>
              <a:avLst/>
              <a:gdLst/>
              <a:ahLst/>
              <a:cxnLst>
                <a:cxn ang="0">
                  <a:pos x="wd2" y="hd2"/>
                </a:cxn>
                <a:cxn ang="5400000">
                  <a:pos x="wd2" y="hd2"/>
                </a:cxn>
                <a:cxn ang="10800000">
                  <a:pos x="wd2" y="hd2"/>
                </a:cxn>
                <a:cxn ang="16200000">
                  <a:pos x="wd2" y="hd2"/>
                </a:cxn>
              </a:cxnLst>
              <a:rect l="0" t="0" r="r" b="b"/>
              <a:pathLst>
                <a:path w="21177" h="21029" extrusionOk="0">
                  <a:moveTo>
                    <a:pt x="19837" y="6179"/>
                  </a:moveTo>
                  <a:cubicBezTo>
                    <a:pt x="21159" y="6179"/>
                    <a:pt x="21600" y="5504"/>
                    <a:pt x="20718" y="4829"/>
                  </a:cubicBezTo>
                  <a:cubicBezTo>
                    <a:pt x="19837" y="4154"/>
                    <a:pt x="19837" y="3479"/>
                    <a:pt x="18955" y="4154"/>
                  </a:cubicBezTo>
                  <a:cubicBezTo>
                    <a:pt x="18514" y="4829"/>
                    <a:pt x="18955" y="4154"/>
                    <a:pt x="18514" y="3479"/>
                  </a:cubicBezTo>
                  <a:cubicBezTo>
                    <a:pt x="18514" y="3479"/>
                    <a:pt x="18073" y="3479"/>
                    <a:pt x="18073" y="3479"/>
                  </a:cubicBezTo>
                  <a:cubicBezTo>
                    <a:pt x="18073" y="3479"/>
                    <a:pt x="18073" y="2129"/>
                    <a:pt x="18073" y="2129"/>
                  </a:cubicBezTo>
                  <a:cubicBezTo>
                    <a:pt x="17633" y="1454"/>
                    <a:pt x="17192" y="779"/>
                    <a:pt x="17192" y="779"/>
                  </a:cubicBezTo>
                  <a:cubicBezTo>
                    <a:pt x="16310" y="-571"/>
                    <a:pt x="16751" y="104"/>
                    <a:pt x="16310" y="779"/>
                  </a:cubicBezTo>
                  <a:cubicBezTo>
                    <a:pt x="15869" y="1454"/>
                    <a:pt x="15869" y="104"/>
                    <a:pt x="15869" y="104"/>
                  </a:cubicBezTo>
                  <a:cubicBezTo>
                    <a:pt x="15429" y="104"/>
                    <a:pt x="14106" y="2804"/>
                    <a:pt x="14106" y="3479"/>
                  </a:cubicBezTo>
                  <a:cubicBezTo>
                    <a:pt x="13665" y="3479"/>
                    <a:pt x="13224" y="4154"/>
                    <a:pt x="13224" y="4829"/>
                  </a:cubicBezTo>
                  <a:cubicBezTo>
                    <a:pt x="12784" y="4829"/>
                    <a:pt x="12784" y="5504"/>
                    <a:pt x="12784" y="5504"/>
                  </a:cubicBezTo>
                  <a:cubicBezTo>
                    <a:pt x="12784" y="6179"/>
                    <a:pt x="12784" y="6179"/>
                    <a:pt x="12784" y="6179"/>
                  </a:cubicBezTo>
                  <a:cubicBezTo>
                    <a:pt x="12784" y="6854"/>
                    <a:pt x="11461" y="6854"/>
                    <a:pt x="11020" y="7529"/>
                  </a:cubicBezTo>
                  <a:cubicBezTo>
                    <a:pt x="9698" y="7529"/>
                    <a:pt x="10139" y="8879"/>
                    <a:pt x="11020" y="9554"/>
                  </a:cubicBezTo>
                  <a:cubicBezTo>
                    <a:pt x="11902" y="10904"/>
                    <a:pt x="11461" y="9554"/>
                    <a:pt x="11902" y="8879"/>
                  </a:cubicBezTo>
                  <a:cubicBezTo>
                    <a:pt x="11902" y="8204"/>
                    <a:pt x="12784" y="8204"/>
                    <a:pt x="12784" y="8204"/>
                  </a:cubicBezTo>
                  <a:cubicBezTo>
                    <a:pt x="12784" y="8204"/>
                    <a:pt x="12343" y="7529"/>
                    <a:pt x="12343" y="6854"/>
                  </a:cubicBezTo>
                  <a:cubicBezTo>
                    <a:pt x="12343" y="7529"/>
                    <a:pt x="12784" y="8204"/>
                    <a:pt x="12784" y="8204"/>
                  </a:cubicBezTo>
                  <a:cubicBezTo>
                    <a:pt x="12784" y="8204"/>
                    <a:pt x="11902" y="8204"/>
                    <a:pt x="11461" y="8879"/>
                  </a:cubicBezTo>
                  <a:cubicBezTo>
                    <a:pt x="11461" y="10904"/>
                    <a:pt x="10580" y="8879"/>
                    <a:pt x="10139" y="8204"/>
                  </a:cubicBezTo>
                  <a:cubicBezTo>
                    <a:pt x="8816" y="10229"/>
                    <a:pt x="7935" y="12254"/>
                    <a:pt x="6171" y="12929"/>
                  </a:cubicBezTo>
                  <a:cubicBezTo>
                    <a:pt x="5290" y="13604"/>
                    <a:pt x="4408" y="13604"/>
                    <a:pt x="3967" y="14954"/>
                  </a:cubicBezTo>
                  <a:cubicBezTo>
                    <a:pt x="3527" y="15629"/>
                    <a:pt x="3527" y="16304"/>
                    <a:pt x="3086" y="16979"/>
                  </a:cubicBezTo>
                  <a:cubicBezTo>
                    <a:pt x="3086" y="17654"/>
                    <a:pt x="3967" y="18329"/>
                    <a:pt x="3967" y="18329"/>
                  </a:cubicBezTo>
                  <a:cubicBezTo>
                    <a:pt x="3527" y="19004"/>
                    <a:pt x="441" y="16979"/>
                    <a:pt x="0" y="16979"/>
                  </a:cubicBezTo>
                  <a:cubicBezTo>
                    <a:pt x="441" y="18329"/>
                    <a:pt x="1322" y="20354"/>
                    <a:pt x="2204" y="21029"/>
                  </a:cubicBezTo>
                  <a:cubicBezTo>
                    <a:pt x="2645" y="21029"/>
                    <a:pt x="3086" y="20354"/>
                    <a:pt x="3086" y="20354"/>
                  </a:cubicBezTo>
                  <a:cubicBezTo>
                    <a:pt x="3967" y="19679"/>
                    <a:pt x="5290" y="20354"/>
                    <a:pt x="5290" y="19679"/>
                  </a:cubicBezTo>
                  <a:cubicBezTo>
                    <a:pt x="6612" y="17654"/>
                    <a:pt x="7494" y="18329"/>
                    <a:pt x="8816" y="19004"/>
                  </a:cubicBezTo>
                  <a:cubicBezTo>
                    <a:pt x="10139" y="19004"/>
                    <a:pt x="11461" y="17654"/>
                    <a:pt x="11902" y="15629"/>
                  </a:cubicBezTo>
                  <a:cubicBezTo>
                    <a:pt x="12343" y="14279"/>
                    <a:pt x="12784" y="12929"/>
                    <a:pt x="13224" y="11579"/>
                  </a:cubicBezTo>
                  <a:cubicBezTo>
                    <a:pt x="13224" y="9554"/>
                    <a:pt x="13665" y="8879"/>
                    <a:pt x="14988" y="8879"/>
                  </a:cubicBezTo>
                  <a:cubicBezTo>
                    <a:pt x="16310" y="8879"/>
                    <a:pt x="17633" y="9554"/>
                    <a:pt x="18955" y="8879"/>
                  </a:cubicBezTo>
                  <a:cubicBezTo>
                    <a:pt x="20718" y="8204"/>
                    <a:pt x="17633" y="6179"/>
                    <a:pt x="19837" y="617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3" name="Shape 2132">
              <a:extLst>
                <a:ext uri="{FF2B5EF4-FFF2-40B4-BE49-F238E27FC236}">
                  <a16:creationId xmlns:a16="http://schemas.microsoft.com/office/drawing/2014/main" id="{65ACDDC9-63A4-BDA1-5D81-935CD4287528}"/>
                </a:ext>
              </a:extLst>
            </p:cNvPr>
            <p:cNvSpPr/>
            <p:nvPr/>
          </p:nvSpPr>
          <p:spPr>
            <a:xfrm>
              <a:off x="8405729" y="2798997"/>
              <a:ext cx="97196" cy="56631"/>
            </a:xfrm>
            <a:custGeom>
              <a:avLst/>
              <a:gdLst/>
              <a:ahLst/>
              <a:cxnLst>
                <a:cxn ang="0">
                  <a:pos x="wd2" y="hd2"/>
                </a:cxn>
                <a:cxn ang="5400000">
                  <a:pos x="wd2" y="hd2"/>
                </a:cxn>
                <a:cxn ang="10800000">
                  <a:pos x="wd2" y="hd2"/>
                </a:cxn>
                <a:cxn ang="16200000">
                  <a:pos x="wd2" y="hd2"/>
                </a:cxn>
              </a:cxnLst>
              <a:rect l="0" t="0" r="r" b="b"/>
              <a:pathLst>
                <a:path w="18683" h="18763" extrusionOk="0">
                  <a:moveTo>
                    <a:pt x="692" y="15709"/>
                  </a:moveTo>
                  <a:cubicBezTo>
                    <a:pt x="1963" y="17869"/>
                    <a:pt x="5775" y="20029"/>
                    <a:pt x="7045" y="17869"/>
                  </a:cubicBezTo>
                  <a:cubicBezTo>
                    <a:pt x="9586" y="15709"/>
                    <a:pt x="10857" y="20029"/>
                    <a:pt x="13398" y="17869"/>
                  </a:cubicBezTo>
                  <a:cubicBezTo>
                    <a:pt x="14669" y="17869"/>
                    <a:pt x="19751" y="17869"/>
                    <a:pt x="18480" y="15709"/>
                  </a:cubicBezTo>
                  <a:cubicBezTo>
                    <a:pt x="17210" y="11389"/>
                    <a:pt x="15939" y="9229"/>
                    <a:pt x="17210" y="4909"/>
                  </a:cubicBezTo>
                  <a:cubicBezTo>
                    <a:pt x="14669" y="2749"/>
                    <a:pt x="12127" y="7069"/>
                    <a:pt x="10857" y="4909"/>
                  </a:cubicBezTo>
                  <a:cubicBezTo>
                    <a:pt x="9586" y="2749"/>
                    <a:pt x="7045" y="-1571"/>
                    <a:pt x="5775" y="589"/>
                  </a:cubicBezTo>
                  <a:cubicBezTo>
                    <a:pt x="3233" y="4909"/>
                    <a:pt x="-1849" y="11389"/>
                    <a:pt x="692" y="15709"/>
                  </a:cubicBezTo>
                  <a:cubicBezTo>
                    <a:pt x="1963" y="17869"/>
                    <a:pt x="-578" y="13549"/>
                    <a:pt x="692" y="1570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4" name="Shape 2133">
              <a:extLst>
                <a:ext uri="{FF2B5EF4-FFF2-40B4-BE49-F238E27FC236}">
                  <a16:creationId xmlns:a16="http://schemas.microsoft.com/office/drawing/2014/main" id="{6C0A02D2-FE18-4F39-A80A-3268B061E7B4}"/>
                </a:ext>
              </a:extLst>
            </p:cNvPr>
            <p:cNvSpPr/>
            <p:nvPr/>
          </p:nvSpPr>
          <p:spPr>
            <a:xfrm>
              <a:off x="8137660" y="2720071"/>
              <a:ext cx="244967" cy="148029"/>
            </a:xfrm>
            <a:custGeom>
              <a:avLst/>
              <a:gdLst/>
              <a:ahLst/>
              <a:cxnLst>
                <a:cxn ang="0">
                  <a:pos x="wd2" y="hd2"/>
                </a:cxn>
                <a:cxn ang="5400000">
                  <a:pos x="wd2" y="hd2"/>
                </a:cxn>
                <a:cxn ang="10800000">
                  <a:pos x="wd2" y="hd2"/>
                </a:cxn>
                <a:cxn ang="16200000">
                  <a:pos x="wd2" y="hd2"/>
                </a:cxn>
              </a:cxnLst>
              <a:rect l="0" t="0" r="r" b="b"/>
              <a:pathLst>
                <a:path w="21600" h="20917" extrusionOk="0">
                  <a:moveTo>
                    <a:pt x="584" y="2817"/>
                  </a:moveTo>
                  <a:cubicBezTo>
                    <a:pt x="0" y="3757"/>
                    <a:pt x="0" y="7513"/>
                    <a:pt x="0" y="8452"/>
                  </a:cubicBezTo>
                  <a:cubicBezTo>
                    <a:pt x="584" y="9391"/>
                    <a:pt x="2335" y="10330"/>
                    <a:pt x="2919" y="12209"/>
                  </a:cubicBezTo>
                  <a:cubicBezTo>
                    <a:pt x="3503" y="12209"/>
                    <a:pt x="4086" y="13148"/>
                    <a:pt x="4086" y="13148"/>
                  </a:cubicBezTo>
                  <a:cubicBezTo>
                    <a:pt x="5254" y="14087"/>
                    <a:pt x="5838" y="13148"/>
                    <a:pt x="7005" y="14087"/>
                  </a:cubicBezTo>
                  <a:cubicBezTo>
                    <a:pt x="7589" y="14087"/>
                    <a:pt x="8173" y="15026"/>
                    <a:pt x="8757" y="15026"/>
                  </a:cubicBezTo>
                  <a:cubicBezTo>
                    <a:pt x="9341" y="15026"/>
                    <a:pt x="10508" y="15026"/>
                    <a:pt x="11092" y="15026"/>
                  </a:cubicBezTo>
                  <a:cubicBezTo>
                    <a:pt x="11676" y="15965"/>
                    <a:pt x="12259" y="16904"/>
                    <a:pt x="12843" y="17843"/>
                  </a:cubicBezTo>
                  <a:cubicBezTo>
                    <a:pt x="13427" y="17843"/>
                    <a:pt x="14595" y="17843"/>
                    <a:pt x="15178" y="18783"/>
                  </a:cubicBezTo>
                  <a:cubicBezTo>
                    <a:pt x="15762" y="18783"/>
                    <a:pt x="16346" y="20661"/>
                    <a:pt x="16930" y="20661"/>
                  </a:cubicBezTo>
                  <a:cubicBezTo>
                    <a:pt x="17514" y="20661"/>
                    <a:pt x="18097" y="18783"/>
                    <a:pt x="18681" y="18783"/>
                  </a:cubicBezTo>
                  <a:cubicBezTo>
                    <a:pt x="19265" y="19722"/>
                    <a:pt x="19265" y="21600"/>
                    <a:pt x="20432" y="20661"/>
                  </a:cubicBezTo>
                  <a:cubicBezTo>
                    <a:pt x="20432" y="20661"/>
                    <a:pt x="21600" y="19722"/>
                    <a:pt x="21600" y="19722"/>
                  </a:cubicBezTo>
                  <a:cubicBezTo>
                    <a:pt x="21600" y="18783"/>
                    <a:pt x="21600" y="17843"/>
                    <a:pt x="21600" y="16904"/>
                  </a:cubicBezTo>
                  <a:cubicBezTo>
                    <a:pt x="21016" y="15965"/>
                    <a:pt x="21600" y="15026"/>
                    <a:pt x="21600" y="13148"/>
                  </a:cubicBezTo>
                  <a:cubicBezTo>
                    <a:pt x="20432" y="13148"/>
                    <a:pt x="19849" y="14087"/>
                    <a:pt x="18681" y="13148"/>
                  </a:cubicBezTo>
                  <a:cubicBezTo>
                    <a:pt x="18681" y="13148"/>
                    <a:pt x="18097" y="12209"/>
                    <a:pt x="18097" y="12209"/>
                  </a:cubicBezTo>
                  <a:cubicBezTo>
                    <a:pt x="17514" y="12209"/>
                    <a:pt x="16930" y="13148"/>
                    <a:pt x="16346" y="12209"/>
                  </a:cubicBezTo>
                  <a:cubicBezTo>
                    <a:pt x="16346" y="12209"/>
                    <a:pt x="15762" y="11270"/>
                    <a:pt x="15178" y="11270"/>
                  </a:cubicBezTo>
                  <a:cubicBezTo>
                    <a:pt x="14595" y="11270"/>
                    <a:pt x="14011" y="13148"/>
                    <a:pt x="14011" y="11270"/>
                  </a:cubicBezTo>
                  <a:cubicBezTo>
                    <a:pt x="12843" y="9391"/>
                    <a:pt x="12259" y="10330"/>
                    <a:pt x="11676" y="9391"/>
                  </a:cubicBezTo>
                  <a:cubicBezTo>
                    <a:pt x="11092" y="8452"/>
                    <a:pt x="11092" y="7513"/>
                    <a:pt x="10508" y="7513"/>
                  </a:cubicBezTo>
                  <a:cubicBezTo>
                    <a:pt x="9924" y="6574"/>
                    <a:pt x="9341" y="6574"/>
                    <a:pt x="9341" y="6574"/>
                  </a:cubicBezTo>
                  <a:cubicBezTo>
                    <a:pt x="8173" y="5635"/>
                    <a:pt x="6422" y="3757"/>
                    <a:pt x="5838" y="1878"/>
                  </a:cubicBezTo>
                  <a:cubicBezTo>
                    <a:pt x="5838" y="939"/>
                    <a:pt x="5254" y="0"/>
                    <a:pt x="4670" y="0"/>
                  </a:cubicBezTo>
                  <a:cubicBezTo>
                    <a:pt x="3503" y="0"/>
                    <a:pt x="3503" y="939"/>
                    <a:pt x="2919" y="1878"/>
                  </a:cubicBezTo>
                  <a:cubicBezTo>
                    <a:pt x="2919" y="2817"/>
                    <a:pt x="2335" y="1878"/>
                    <a:pt x="2335" y="1878"/>
                  </a:cubicBezTo>
                  <a:cubicBezTo>
                    <a:pt x="1751" y="2817"/>
                    <a:pt x="1168" y="2817"/>
                    <a:pt x="584" y="2817"/>
                  </a:cubicBezTo>
                  <a:cubicBezTo>
                    <a:pt x="0" y="3757"/>
                    <a:pt x="1168" y="2817"/>
                    <a:pt x="584" y="28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5" name="Shape 2134">
              <a:extLst>
                <a:ext uri="{FF2B5EF4-FFF2-40B4-BE49-F238E27FC236}">
                  <a16:creationId xmlns:a16="http://schemas.microsoft.com/office/drawing/2014/main" id="{9C8FD5E2-4A54-CFBF-7B9B-4208AE537C53}"/>
                </a:ext>
              </a:extLst>
            </p:cNvPr>
            <p:cNvSpPr/>
            <p:nvPr/>
          </p:nvSpPr>
          <p:spPr>
            <a:xfrm>
              <a:off x="8816377" y="3280110"/>
              <a:ext cx="179068" cy="148078"/>
            </a:xfrm>
            <a:custGeom>
              <a:avLst/>
              <a:gdLst/>
              <a:ahLst/>
              <a:cxnLst>
                <a:cxn ang="0">
                  <a:pos x="wd2" y="hd2"/>
                </a:cxn>
                <a:cxn ang="5400000">
                  <a:pos x="wd2" y="hd2"/>
                </a:cxn>
                <a:cxn ang="10800000">
                  <a:pos x="wd2" y="hd2"/>
                </a:cxn>
                <a:cxn ang="16200000">
                  <a:pos x="wd2" y="hd2"/>
                </a:cxn>
              </a:cxnLst>
              <a:rect l="0" t="0" r="r" b="b"/>
              <a:pathLst>
                <a:path w="20988" h="20924" extrusionOk="0">
                  <a:moveTo>
                    <a:pt x="10800" y="17167"/>
                  </a:moveTo>
                  <a:cubicBezTo>
                    <a:pt x="10800" y="16228"/>
                    <a:pt x="15429" y="18107"/>
                    <a:pt x="14657" y="16228"/>
                  </a:cubicBezTo>
                  <a:cubicBezTo>
                    <a:pt x="14657" y="16228"/>
                    <a:pt x="13886" y="13411"/>
                    <a:pt x="14657" y="13411"/>
                  </a:cubicBezTo>
                  <a:cubicBezTo>
                    <a:pt x="15429" y="13411"/>
                    <a:pt x="16200" y="14350"/>
                    <a:pt x="16200" y="12472"/>
                  </a:cubicBezTo>
                  <a:cubicBezTo>
                    <a:pt x="16200" y="10594"/>
                    <a:pt x="17743" y="11533"/>
                    <a:pt x="18514" y="10594"/>
                  </a:cubicBezTo>
                  <a:cubicBezTo>
                    <a:pt x="20057" y="10594"/>
                    <a:pt x="20057" y="8715"/>
                    <a:pt x="20829" y="7776"/>
                  </a:cubicBezTo>
                  <a:cubicBezTo>
                    <a:pt x="21600" y="5898"/>
                    <a:pt x="19286" y="1202"/>
                    <a:pt x="20057" y="263"/>
                  </a:cubicBezTo>
                  <a:cubicBezTo>
                    <a:pt x="18514" y="1202"/>
                    <a:pt x="18514" y="1202"/>
                    <a:pt x="16971" y="263"/>
                  </a:cubicBezTo>
                  <a:cubicBezTo>
                    <a:pt x="16200" y="-676"/>
                    <a:pt x="14657" y="1202"/>
                    <a:pt x="14657" y="1202"/>
                  </a:cubicBezTo>
                  <a:cubicBezTo>
                    <a:pt x="14657" y="3081"/>
                    <a:pt x="13114" y="1202"/>
                    <a:pt x="13114" y="1202"/>
                  </a:cubicBezTo>
                  <a:cubicBezTo>
                    <a:pt x="10029" y="263"/>
                    <a:pt x="4629" y="-676"/>
                    <a:pt x="2314" y="2141"/>
                  </a:cubicBezTo>
                  <a:cubicBezTo>
                    <a:pt x="1543" y="3081"/>
                    <a:pt x="0" y="4020"/>
                    <a:pt x="0" y="5898"/>
                  </a:cubicBezTo>
                  <a:cubicBezTo>
                    <a:pt x="0" y="6837"/>
                    <a:pt x="771" y="7776"/>
                    <a:pt x="771" y="8715"/>
                  </a:cubicBezTo>
                  <a:cubicBezTo>
                    <a:pt x="2314" y="9654"/>
                    <a:pt x="2314" y="11533"/>
                    <a:pt x="2314" y="12472"/>
                  </a:cubicBezTo>
                  <a:cubicBezTo>
                    <a:pt x="3086" y="14350"/>
                    <a:pt x="3086" y="15289"/>
                    <a:pt x="3857" y="16228"/>
                  </a:cubicBezTo>
                  <a:cubicBezTo>
                    <a:pt x="3857" y="17167"/>
                    <a:pt x="4629" y="16228"/>
                    <a:pt x="4629" y="17167"/>
                  </a:cubicBezTo>
                  <a:cubicBezTo>
                    <a:pt x="5400" y="17167"/>
                    <a:pt x="4629" y="18107"/>
                    <a:pt x="5400" y="19046"/>
                  </a:cubicBezTo>
                  <a:cubicBezTo>
                    <a:pt x="6943" y="19046"/>
                    <a:pt x="6171" y="19985"/>
                    <a:pt x="6171" y="20924"/>
                  </a:cubicBezTo>
                  <a:cubicBezTo>
                    <a:pt x="6171" y="19985"/>
                    <a:pt x="10800" y="18107"/>
                    <a:pt x="10800" y="17167"/>
                  </a:cubicBezTo>
                  <a:cubicBezTo>
                    <a:pt x="10800" y="17167"/>
                    <a:pt x="10800" y="18107"/>
                    <a:pt x="10800" y="171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6" name="Shape 2135">
              <a:extLst>
                <a:ext uri="{FF2B5EF4-FFF2-40B4-BE49-F238E27FC236}">
                  <a16:creationId xmlns:a16="http://schemas.microsoft.com/office/drawing/2014/main" id="{EB59D241-6868-4429-C026-D103F2C847E3}"/>
                </a:ext>
              </a:extLst>
            </p:cNvPr>
            <p:cNvSpPr/>
            <p:nvPr/>
          </p:nvSpPr>
          <p:spPr>
            <a:xfrm>
              <a:off x="8744459" y="3545083"/>
              <a:ext cx="139442" cy="173098"/>
            </a:xfrm>
            <a:custGeom>
              <a:avLst/>
              <a:gdLst/>
              <a:ahLst/>
              <a:cxnLst>
                <a:cxn ang="0">
                  <a:pos x="wd2" y="hd2"/>
                </a:cxn>
                <a:cxn ang="5400000">
                  <a:pos x="wd2" y="hd2"/>
                </a:cxn>
                <a:cxn ang="10800000">
                  <a:pos x="wd2" y="hd2"/>
                </a:cxn>
                <a:cxn ang="16200000">
                  <a:pos x="wd2" y="hd2"/>
                </a:cxn>
              </a:cxnLst>
              <a:rect l="0" t="0" r="r" b="b"/>
              <a:pathLst>
                <a:path w="20618" h="21600" extrusionOk="0">
                  <a:moveTo>
                    <a:pt x="9818" y="2492"/>
                  </a:moveTo>
                  <a:cubicBezTo>
                    <a:pt x="8836" y="2492"/>
                    <a:pt x="7855" y="3323"/>
                    <a:pt x="6873" y="3323"/>
                  </a:cubicBezTo>
                  <a:cubicBezTo>
                    <a:pt x="6873" y="2492"/>
                    <a:pt x="5891" y="3323"/>
                    <a:pt x="5891" y="3323"/>
                  </a:cubicBezTo>
                  <a:cubicBezTo>
                    <a:pt x="4909" y="3323"/>
                    <a:pt x="4909" y="1662"/>
                    <a:pt x="4909" y="831"/>
                  </a:cubicBezTo>
                  <a:cubicBezTo>
                    <a:pt x="3927" y="0"/>
                    <a:pt x="1964" y="0"/>
                    <a:pt x="0" y="0"/>
                  </a:cubicBezTo>
                  <a:cubicBezTo>
                    <a:pt x="982" y="831"/>
                    <a:pt x="982" y="3323"/>
                    <a:pt x="982" y="4985"/>
                  </a:cubicBezTo>
                  <a:cubicBezTo>
                    <a:pt x="1964" y="6646"/>
                    <a:pt x="2945" y="9138"/>
                    <a:pt x="3927" y="11631"/>
                  </a:cubicBezTo>
                  <a:cubicBezTo>
                    <a:pt x="5891" y="13292"/>
                    <a:pt x="6873" y="15785"/>
                    <a:pt x="8836" y="17446"/>
                  </a:cubicBezTo>
                  <a:cubicBezTo>
                    <a:pt x="11782" y="18277"/>
                    <a:pt x="14727" y="21600"/>
                    <a:pt x="18655" y="21600"/>
                  </a:cubicBezTo>
                  <a:cubicBezTo>
                    <a:pt x="21600" y="21600"/>
                    <a:pt x="20618" y="20769"/>
                    <a:pt x="19636" y="19108"/>
                  </a:cubicBezTo>
                  <a:cubicBezTo>
                    <a:pt x="17673" y="16615"/>
                    <a:pt x="15709" y="14954"/>
                    <a:pt x="15709" y="11631"/>
                  </a:cubicBezTo>
                  <a:cubicBezTo>
                    <a:pt x="15709" y="9138"/>
                    <a:pt x="17673" y="7477"/>
                    <a:pt x="15709" y="4985"/>
                  </a:cubicBezTo>
                  <a:cubicBezTo>
                    <a:pt x="14727" y="4154"/>
                    <a:pt x="10800" y="0"/>
                    <a:pt x="9818" y="2492"/>
                  </a:cubicBezTo>
                  <a:cubicBezTo>
                    <a:pt x="8836" y="3323"/>
                    <a:pt x="9818" y="1662"/>
                    <a:pt x="9818" y="249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7" name="Shape 2136">
              <a:extLst>
                <a:ext uri="{FF2B5EF4-FFF2-40B4-BE49-F238E27FC236}">
                  <a16:creationId xmlns:a16="http://schemas.microsoft.com/office/drawing/2014/main" id="{3F20EBE4-E530-289B-51FA-8B99772D3D55}"/>
                </a:ext>
              </a:extLst>
            </p:cNvPr>
            <p:cNvSpPr/>
            <p:nvPr/>
          </p:nvSpPr>
          <p:spPr>
            <a:xfrm>
              <a:off x="7927169" y="1800159"/>
              <a:ext cx="1962897" cy="1284087"/>
            </a:xfrm>
            <a:custGeom>
              <a:avLst/>
              <a:gdLst/>
              <a:ahLst/>
              <a:cxnLst>
                <a:cxn ang="0">
                  <a:pos x="wd2" y="hd2"/>
                </a:cxn>
                <a:cxn ang="5400000">
                  <a:pos x="wd2" y="hd2"/>
                </a:cxn>
                <a:cxn ang="10800000">
                  <a:pos x="wd2" y="hd2"/>
                </a:cxn>
                <a:cxn ang="16200000">
                  <a:pos x="wd2" y="hd2"/>
                </a:cxn>
              </a:cxnLst>
              <a:rect l="0" t="0" r="r" b="b"/>
              <a:pathLst>
                <a:path w="21462" h="21533" extrusionOk="0">
                  <a:moveTo>
                    <a:pt x="21398" y="4031"/>
                  </a:moveTo>
                  <a:cubicBezTo>
                    <a:pt x="21398" y="3810"/>
                    <a:pt x="21110" y="3921"/>
                    <a:pt x="21038" y="4031"/>
                  </a:cubicBezTo>
                  <a:cubicBezTo>
                    <a:pt x="20894" y="4031"/>
                    <a:pt x="20822" y="4142"/>
                    <a:pt x="20678" y="4253"/>
                  </a:cubicBezTo>
                  <a:cubicBezTo>
                    <a:pt x="20534" y="4364"/>
                    <a:pt x="20030" y="4364"/>
                    <a:pt x="20030" y="4031"/>
                  </a:cubicBezTo>
                  <a:cubicBezTo>
                    <a:pt x="19886" y="3588"/>
                    <a:pt x="19814" y="3367"/>
                    <a:pt x="19526" y="3145"/>
                  </a:cubicBezTo>
                  <a:cubicBezTo>
                    <a:pt x="19310" y="3035"/>
                    <a:pt x="18878" y="3035"/>
                    <a:pt x="18806" y="2591"/>
                  </a:cubicBezTo>
                  <a:cubicBezTo>
                    <a:pt x="18734" y="1927"/>
                    <a:pt x="18590" y="1151"/>
                    <a:pt x="18302" y="598"/>
                  </a:cubicBezTo>
                  <a:cubicBezTo>
                    <a:pt x="18086" y="265"/>
                    <a:pt x="17798" y="265"/>
                    <a:pt x="17510" y="44"/>
                  </a:cubicBezTo>
                  <a:cubicBezTo>
                    <a:pt x="17222" y="-67"/>
                    <a:pt x="16718" y="44"/>
                    <a:pt x="16430" y="265"/>
                  </a:cubicBezTo>
                  <a:cubicBezTo>
                    <a:pt x="16358" y="376"/>
                    <a:pt x="16214" y="487"/>
                    <a:pt x="16142" y="598"/>
                  </a:cubicBezTo>
                  <a:cubicBezTo>
                    <a:pt x="16142" y="708"/>
                    <a:pt x="16358" y="708"/>
                    <a:pt x="16358" y="819"/>
                  </a:cubicBezTo>
                  <a:cubicBezTo>
                    <a:pt x="16430" y="1262"/>
                    <a:pt x="16070" y="1595"/>
                    <a:pt x="15998" y="1927"/>
                  </a:cubicBezTo>
                  <a:cubicBezTo>
                    <a:pt x="15926" y="2038"/>
                    <a:pt x="15926" y="2148"/>
                    <a:pt x="15926" y="2259"/>
                  </a:cubicBezTo>
                  <a:cubicBezTo>
                    <a:pt x="15926" y="2370"/>
                    <a:pt x="15926" y="2370"/>
                    <a:pt x="15926" y="2481"/>
                  </a:cubicBezTo>
                  <a:cubicBezTo>
                    <a:pt x="15926" y="2702"/>
                    <a:pt x="15710" y="2702"/>
                    <a:pt x="15566" y="2813"/>
                  </a:cubicBezTo>
                  <a:cubicBezTo>
                    <a:pt x="15494" y="2813"/>
                    <a:pt x="15422" y="2924"/>
                    <a:pt x="15350" y="2924"/>
                  </a:cubicBezTo>
                  <a:cubicBezTo>
                    <a:pt x="15278" y="2924"/>
                    <a:pt x="14918" y="2702"/>
                    <a:pt x="14918" y="2702"/>
                  </a:cubicBezTo>
                  <a:cubicBezTo>
                    <a:pt x="14846" y="2924"/>
                    <a:pt x="14774" y="3256"/>
                    <a:pt x="14702" y="3478"/>
                  </a:cubicBezTo>
                  <a:cubicBezTo>
                    <a:pt x="14702" y="3588"/>
                    <a:pt x="14630" y="3699"/>
                    <a:pt x="14630" y="3810"/>
                  </a:cubicBezTo>
                  <a:cubicBezTo>
                    <a:pt x="14630" y="3810"/>
                    <a:pt x="14486" y="4475"/>
                    <a:pt x="14702" y="4253"/>
                  </a:cubicBezTo>
                  <a:cubicBezTo>
                    <a:pt x="14774" y="4142"/>
                    <a:pt x="14774" y="4142"/>
                    <a:pt x="14918" y="4142"/>
                  </a:cubicBezTo>
                  <a:cubicBezTo>
                    <a:pt x="14990" y="4142"/>
                    <a:pt x="15134" y="4364"/>
                    <a:pt x="15206" y="4253"/>
                  </a:cubicBezTo>
                  <a:cubicBezTo>
                    <a:pt x="15494" y="3921"/>
                    <a:pt x="15710" y="4142"/>
                    <a:pt x="15926" y="4585"/>
                  </a:cubicBezTo>
                  <a:cubicBezTo>
                    <a:pt x="15998" y="4696"/>
                    <a:pt x="16142" y="4918"/>
                    <a:pt x="16070" y="5028"/>
                  </a:cubicBezTo>
                  <a:cubicBezTo>
                    <a:pt x="16070" y="5028"/>
                    <a:pt x="15782" y="4918"/>
                    <a:pt x="15710" y="4918"/>
                  </a:cubicBezTo>
                  <a:cubicBezTo>
                    <a:pt x="15494" y="5028"/>
                    <a:pt x="15206" y="5028"/>
                    <a:pt x="14990" y="5139"/>
                  </a:cubicBezTo>
                  <a:cubicBezTo>
                    <a:pt x="14774" y="5250"/>
                    <a:pt x="14774" y="5915"/>
                    <a:pt x="14486" y="5915"/>
                  </a:cubicBezTo>
                  <a:cubicBezTo>
                    <a:pt x="14342" y="5915"/>
                    <a:pt x="14198" y="5804"/>
                    <a:pt x="14126" y="6025"/>
                  </a:cubicBezTo>
                  <a:cubicBezTo>
                    <a:pt x="14054" y="6136"/>
                    <a:pt x="13910" y="6358"/>
                    <a:pt x="13766" y="6358"/>
                  </a:cubicBezTo>
                  <a:cubicBezTo>
                    <a:pt x="13550" y="6247"/>
                    <a:pt x="13118" y="5804"/>
                    <a:pt x="13046" y="6468"/>
                  </a:cubicBezTo>
                  <a:cubicBezTo>
                    <a:pt x="13046" y="6690"/>
                    <a:pt x="13190" y="6801"/>
                    <a:pt x="13190" y="6911"/>
                  </a:cubicBezTo>
                  <a:cubicBezTo>
                    <a:pt x="13190" y="7133"/>
                    <a:pt x="12974" y="7133"/>
                    <a:pt x="12902" y="7244"/>
                  </a:cubicBezTo>
                  <a:cubicBezTo>
                    <a:pt x="12686" y="7576"/>
                    <a:pt x="12614" y="7908"/>
                    <a:pt x="12326" y="7908"/>
                  </a:cubicBezTo>
                  <a:cubicBezTo>
                    <a:pt x="11966" y="7908"/>
                    <a:pt x="11606" y="7908"/>
                    <a:pt x="11246" y="8019"/>
                  </a:cubicBezTo>
                  <a:cubicBezTo>
                    <a:pt x="11102" y="8130"/>
                    <a:pt x="10814" y="8573"/>
                    <a:pt x="10742" y="8462"/>
                  </a:cubicBezTo>
                  <a:cubicBezTo>
                    <a:pt x="10598" y="8462"/>
                    <a:pt x="10526" y="8241"/>
                    <a:pt x="10454" y="8241"/>
                  </a:cubicBezTo>
                  <a:cubicBezTo>
                    <a:pt x="10310" y="8241"/>
                    <a:pt x="10238" y="8241"/>
                    <a:pt x="10094" y="8241"/>
                  </a:cubicBezTo>
                  <a:cubicBezTo>
                    <a:pt x="9950" y="8130"/>
                    <a:pt x="9806" y="8130"/>
                    <a:pt x="9662" y="7908"/>
                  </a:cubicBezTo>
                  <a:cubicBezTo>
                    <a:pt x="9518" y="7798"/>
                    <a:pt x="9446" y="7798"/>
                    <a:pt x="9374" y="7687"/>
                  </a:cubicBezTo>
                  <a:cubicBezTo>
                    <a:pt x="9086" y="7687"/>
                    <a:pt x="8942" y="7687"/>
                    <a:pt x="8654" y="7687"/>
                  </a:cubicBezTo>
                  <a:cubicBezTo>
                    <a:pt x="8438" y="7687"/>
                    <a:pt x="8078" y="7798"/>
                    <a:pt x="7790" y="7687"/>
                  </a:cubicBezTo>
                  <a:cubicBezTo>
                    <a:pt x="7718" y="7687"/>
                    <a:pt x="7646" y="7465"/>
                    <a:pt x="7646" y="7355"/>
                  </a:cubicBezTo>
                  <a:cubicBezTo>
                    <a:pt x="7502" y="7133"/>
                    <a:pt x="7430" y="6911"/>
                    <a:pt x="7286" y="6690"/>
                  </a:cubicBezTo>
                  <a:cubicBezTo>
                    <a:pt x="7070" y="6468"/>
                    <a:pt x="6926" y="6136"/>
                    <a:pt x="6710" y="6136"/>
                  </a:cubicBezTo>
                  <a:cubicBezTo>
                    <a:pt x="6566" y="6136"/>
                    <a:pt x="5774" y="6136"/>
                    <a:pt x="5918" y="5693"/>
                  </a:cubicBezTo>
                  <a:cubicBezTo>
                    <a:pt x="6062" y="5250"/>
                    <a:pt x="5990" y="4475"/>
                    <a:pt x="5630" y="4142"/>
                  </a:cubicBezTo>
                  <a:cubicBezTo>
                    <a:pt x="5342" y="3810"/>
                    <a:pt x="4982" y="3810"/>
                    <a:pt x="4910" y="3145"/>
                  </a:cubicBezTo>
                  <a:cubicBezTo>
                    <a:pt x="4838" y="3256"/>
                    <a:pt x="4766" y="3145"/>
                    <a:pt x="4694" y="3256"/>
                  </a:cubicBezTo>
                  <a:cubicBezTo>
                    <a:pt x="4622" y="3367"/>
                    <a:pt x="4622" y="3367"/>
                    <a:pt x="4622" y="3478"/>
                  </a:cubicBezTo>
                  <a:cubicBezTo>
                    <a:pt x="4478" y="3810"/>
                    <a:pt x="4262" y="3699"/>
                    <a:pt x="4190" y="4031"/>
                  </a:cubicBezTo>
                  <a:cubicBezTo>
                    <a:pt x="4190" y="4253"/>
                    <a:pt x="4334" y="4475"/>
                    <a:pt x="4262" y="4585"/>
                  </a:cubicBezTo>
                  <a:cubicBezTo>
                    <a:pt x="4190" y="4696"/>
                    <a:pt x="4046" y="4807"/>
                    <a:pt x="3974" y="4807"/>
                  </a:cubicBezTo>
                  <a:cubicBezTo>
                    <a:pt x="3902" y="4918"/>
                    <a:pt x="3830" y="4696"/>
                    <a:pt x="3758" y="4807"/>
                  </a:cubicBezTo>
                  <a:cubicBezTo>
                    <a:pt x="3614" y="4807"/>
                    <a:pt x="3542" y="4696"/>
                    <a:pt x="3398" y="4585"/>
                  </a:cubicBezTo>
                  <a:cubicBezTo>
                    <a:pt x="3326" y="4475"/>
                    <a:pt x="3254" y="5028"/>
                    <a:pt x="3182" y="5139"/>
                  </a:cubicBezTo>
                  <a:cubicBezTo>
                    <a:pt x="3182" y="5250"/>
                    <a:pt x="3110" y="5471"/>
                    <a:pt x="3110" y="5582"/>
                  </a:cubicBezTo>
                  <a:cubicBezTo>
                    <a:pt x="3110" y="5804"/>
                    <a:pt x="3182" y="5804"/>
                    <a:pt x="3182" y="5915"/>
                  </a:cubicBezTo>
                  <a:cubicBezTo>
                    <a:pt x="3182" y="6136"/>
                    <a:pt x="2750" y="5915"/>
                    <a:pt x="2750" y="5915"/>
                  </a:cubicBezTo>
                  <a:cubicBezTo>
                    <a:pt x="2606" y="6025"/>
                    <a:pt x="2318" y="6025"/>
                    <a:pt x="2246" y="6136"/>
                  </a:cubicBezTo>
                  <a:cubicBezTo>
                    <a:pt x="2318" y="6025"/>
                    <a:pt x="2390" y="6801"/>
                    <a:pt x="2390" y="6911"/>
                  </a:cubicBezTo>
                  <a:cubicBezTo>
                    <a:pt x="2462" y="7022"/>
                    <a:pt x="2534" y="7133"/>
                    <a:pt x="2606" y="7244"/>
                  </a:cubicBezTo>
                  <a:cubicBezTo>
                    <a:pt x="2606" y="7355"/>
                    <a:pt x="2390" y="7576"/>
                    <a:pt x="2318" y="7687"/>
                  </a:cubicBezTo>
                  <a:cubicBezTo>
                    <a:pt x="2246" y="7798"/>
                    <a:pt x="2318" y="8130"/>
                    <a:pt x="2246" y="8130"/>
                  </a:cubicBezTo>
                  <a:cubicBezTo>
                    <a:pt x="2174" y="8241"/>
                    <a:pt x="2030" y="8241"/>
                    <a:pt x="1958" y="8351"/>
                  </a:cubicBezTo>
                  <a:cubicBezTo>
                    <a:pt x="1814" y="8462"/>
                    <a:pt x="1742" y="8573"/>
                    <a:pt x="1670" y="8684"/>
                  </a:cubicBezTo>
                  <a:cubicBezTo>
                    <a:pt x="1526" y="8684"/>
                    <a:pt x="1454" y="8684"/>
                    <a:pt x="1310" y="8795"/>
                  </a:cubicBezTo>
                  <a:cubicBezTo>
                    <a:pt x="1166" y="8795"/>
                    <a:pt x="1094" y="8905"/>
                    <a:pt x="1022" y="9127"/>
                  </a:cubicBezTo>
                  <a:cubicBezTo>
                    <a:pt x="1022" y="9127"/>
                    <a:pt x="734" y="9238"/>
                    <a:pt x="734" y="9238"/>
                  </a:cubicBezTo>
                  <a:cubicBezTo>
                    <a:pt x="734" y="9238"/>
                    <a:pt x="734" y="9127"/>
                    <a:pt x="734" y="9127"/>
                  </a:cubicBezTo>
                  <a:cubicBezTo>
                    <a:pt x="662" y="9127"/>
                    <a:pt x="590" y="9127"/>
                    <a:pt x="446" y="9127"/>
                  </a:cubicBezTo>
                  <a:cubicBezTo>
                    <a:pt x="374" y="9127"/>
                    <a:pt x="158" y="9348"/>
                    <a:pt x="158" y="9459"/>
                  </a:cubicBezTo>
                  <a:cubicBezTo>
                    <a:pt x="86" y="9681"/>
                    <a:pt x="14" y="9902"/>
                    <a:pt x="14" y="10013"/>
                  </a:cubicBezTo>
                  <a:cubicBezTo>
                    <a:pt x="-58" y="10235"/>
                    <a:pt x="158" y="10456"/>
                    <a:pt x="230" y="10456"/>
                  </a:cubicBezTo>
                  <a:cubicBezTo>
                    <a:pt x="446" y="10456"/>
                    <a:pt x="374" y="10456"/>
                    <a:pt x="446" y="10788"/>
                  </a:cubicBezTo>
                  <a:cubicBezTo>
                    <a:pt x="446" y="10899"/>
                    <a:pt x="518" y="10899"/>
                    <a:pt x="518" y="11121"/>
                  </a:cubicBezTo>
                  <a:cubicBezTo>
                    <a:pt x="518" y="11121"/>
                    <a:pt x="446" y="11342"/>
                    <a:pt x="446" y="11342"/>
                  </a:cubicBezTo>
                  <a:cubicBezTo>
                    <a:pt x="590" y="11453"/>
                    <a:pt x="662" y="11453"/>
                    <a:pt x="734" y="11564"/>
                  </a:cubicBezTo>
                  <a:cubicBezTo>
                    <a:pt x="878" y="11785"/>
                    <a:pt x="806" y="12007"/>
                    <a:pt x="950" y="12118"/>
                  </a:cubicBezTo>
                  <a:cubicBezTo>
                    <a:pt x="1094" y="12228"/>
                    <a:pt x="1238" y="12339"/>
                    <a:pt x="1382" y="12450"/>
                  </a:cubicBezTo>
                  <a:cubicBezTo>
                    <a:pt x="1454" y="12450"/>
                    <a:pt x="1526" y="12339"/>
                    <a:pt x="1598" y="12228"/>
                  </a:cubicBezTo>
                  <a:cubicBezTo>
                    <a:pt x="1814" y="12007"/>
                    <a:pt x="2174" y="12118"/>
                    <a:pt x="2318" y="12450"/>
                  </a:cubicBezTo>
                  <a:cubicBezTo>
                    <a:pt x="2390" y="12671"/>
                    <a:pt x="2246" y="12782"/>
                    <a:pt x="2174" y="12893"/>
                  </a:cubicBezTo>
                  <a:cubicBezTo>
                    <a:pt x="2102" y="13004"/>
                    <a:pt x="2102" y="13004"/>
                    <a:pt x="2102" y="13115"/>
                  </a:cubicBezTo>
                  <a:cubicBezTo>
                    <a:pt x="2030" y="13336"/>
                    <a:pt x="1958" y="13336"/>
                    <a:pt x="1886" y="13336"/>
                  </a:cubicBezTo>
                  <a:cubicBezTo>
                    <a:pt x="1670" y="13558"/>
                    <a:pt x="2246" y="13890"/>
                    <a:pt x="2030" y="14111"/>
                  </a:cubicBezTo>
                  <a:cubicBezTo>
                    <a:pt x="1958" y="14333"/>
                    <a:pt x="1886" y="14222"/>
                    <a:pt x="1742" y="14222"/>
                  </a:cubicBezTo>
                  <a:cubicBezTo>
                    <a:pt x="1454" y="14111"/>
                    <a:pt x="1814" y="14555"/>
                    <a:pt x="1814" y="14555"/>
                  </a:cubicBezTo>
                  <a:cubicBezTo>
                    <a:pt x="1814" y="14776"/>
                    <a:pt x="1742" y="14887"/>
                    <a:pt x="1886" y="14887"/>
                  </a:cubicBezTo>
                  <a:cubicBezTo>
                    <a:pt x="2030" y="14998"/>
                    <a:pt x="2030" y="15108"/>
                    <a:pt x="2174" y="15219"/>
                  </a:cubicBezTo>
                  <a:cubicBezTo>
                    <a:pt x="2318" y="15219"/>
                    <a:pt x="2390" y="15441"/>
                    <a:pt x="2534" y="15551"/>
                  </a:cubicBezTo>
                  <a:cubicBezTo>
                    <a:pt x="2534" y="15551"/>
                    <a:pt x="2606" y="15662"/>
                    <a:pt x="2678" y="15662"/>
                  </a:cubicBezTo>
                  <a:cubicBezTo>
                    <a:pt x="2750" y="15662"/>
                    <a:pt x="2678" y="15441"/>
                    <a:pt x="2822" y="15441"/>
                  </a:cubicBezTo>
                  <a:cubicBezTo>
                    <a:pt x="3110" y="15441"/>
                    <a:pt x="3254" y="16216"/>
                    <a:pt x="3542" y="16216"/>
                  </a:cubicBezTo>
                  <a:cubicBezTo>
                    <a:pt x="3686" y="16216"/>
                    <a:pt x="3686" y="16548"/>
                    <a:pt x="3830" y="16548"/>
                  </a:cubicBezTo>
                  <a:cubicBezTo>
                    <a:pt x="3974" y="16659"/>
                    <a:pt x="4046" y="16881"/>
                    <a:pt x="4118" y="16881"/>
                  </a:cubicBezTo>
                  <a:cubicBezTo>
                    <a:pt x="4262" y="16659"/>
                    <a:pt x="4262" y="16991"/>
                    <a:pt x="4406" y="16991"/>
                  </a:cubicBezTo>
                  <a:cubicBezTo>
                    <a:pt x="4478" y="16991"/>
                    <a:pt x="4478" y="16881"/>
                    <a:pt x="4550" y="16881"/>
                  </a:cubicBezTo>
                  <a:cubicBezTo>
                    <a:pt x="4622" y="16881"/>
                    <a:pt x="4622" y="16991"/>
                    <a:pt x="4694" y="17102"/>
                  </a:cubicBezTo>
                  <a:cubicBezTo>
                    <a:pt x="4838" y="17102"/>
                    <a:pt x="4982" y="17102"/>
                    <a:pt x="5126" y="16991"/>
                  </a:cubicBezTo>
                  <a:cubicBezTo>
                    <a:pt x="5342" y="16881"/>
                    <a:pt x="5198" y="17102"/>
                    <a:pt x="5270" y="17213"/>
                  </a:cubicBezTo>
                  <a:cubicBezTo>
                    <a:pt x="5270" y="17213"/>
                    <a:pt x="5414" y="16881"/>
                    <a:pt x="5486" y="16881"/>
                  </a:cubicBezTo>
                  <a:cubicBezTo>
                    <a:pt x="5558" y="16770"/>
                    <a:pt x="5702" y="16770"/>
                    <a:pt x="5774" y="16881"/>
                  </a:cubicBezTo>
                  <a:cubicBezTo>
                    <a:pt x="5918" y="17102"/>
                    <a:pt x="6062" y="16881"/>
                    <a:pt x="6206" y="16991"/>
                  </a:cubicBezTo>
                  <a:cubicBezTo>
                    <a:pt x="6350" y="17102"/>
                    <a:pt x="6494" y="16881"/>
                    <a:pt x="6566" y="16659"/>
                  </a:cubicBezTo>
                  <a:cubicBezTo>
                    <a:pt x="6638" y="16659"/>
                    <a:pt x="6638" y="16548"/>
                    <a:pt x="6710" y="16548"/>
                  </a:cubicBezTo>
                  <a:cubicBezTo>
                    <a:pt x="6782" y="16438"/>
                    <a:pt x="6854" y="16548"/>
                    <a:pt x="6926" y="16438"/>
                  </a:cubicBezTo>
                  <a:cubicBezTo>
                    <a:pt x="6998" y="16327"/>
                    <a:pt x="7070" y="16105"/>
                    <a:pt x="7214" y="16216"/>
                  </a:cubicBezTo>
                  <a:cubicBezTo>
                    <a:pt x="7358" y="16327"/>
                    <a:pt x="7358" y="16327"/>
                    <a:pt x="7574" y="16105"/>
                  </a:cubicBezTo>
                  <a:cubicBezTo>
                    <a:pt x="7646" y="15995"/>
                    <a:pt x="7790" y="16327"/>
                    <a:pt x="7790" y="16438"/>
                  </a:cubicBezTo>
                  <a:cubicBezTo>
                    <a:pt x="7718" y="16659"/>
                    <a:pt x="7574" y="16770"/>
                    <a:pt x="7718" y="16770"/>
                  </a:cubicBezTo>
                  <a:cubicBezTo>
                    <a:pt x="7934" y="16770"/>
                    <a:pt x="7934" y="16770"/>
                    <a:pt x="8150" y="16659"/>
                  </a:cubicBezTo>
                  <a:cubicBezTo>
                    <a:pt x="8222" y="16659"/>
                    <a:pt x="8294" y="16991"/>
                    <a:pt x="8294" y="17102"/>
                  </a:cubicBezTo>
                  <a:cubicBezTo>
                    <a:pt x="8294" y="17102"/>
                    <a:pt x="8294" y="17324"/>
                    <a:pt x="8366" y="17213"/>
                  </a:cubicBezTo>
                  <a:cubicBezTo>
                    <a:pt x="8366" y="17213"/>
                    <a:pt x="8510" y="17213"/>
                    <a:pt x="8510" y="17324"/>
                  </a:cubicBezTo>
                  <a:cubicBezTo>
                    <a:pt x="8510" y="17435"/>
                    <a:pt x="8366" y="17545"/>
                    <a:pt x="8438" y="17656"/>
                  </a:cubicBezTo>
                  <a:cubicBezTo>
                    <a:pt x="8510" y="17878"/>
                    <a:pt x="8438" y="18210"/>
                    <a:pt x="8366" y="18321"/>
                  </a:cubicBezTo>
                  <a:cubicBezTo>
                    <a:pt x="8294" y="18542"/>
                    <a:pt x="8150" y="18653"/>
                    <a:pt x="8078" y="18764"/>
                  </a:cubicBezTo>
                  <a:cubicBezTo>
                    <a:pt x="8078" y="18875"/>
                    <a:pt x="8078" y="19428"/>
                    <a:pt x="8006" y="19318"/>
                  </a:cubicBezTo>
                  <a:cubicBezTo>
                    <a:pt x="8078" y="19428"/>
                    <a:pt x="8510" y="19096"/>
                    <a:pt x="8582" y="19318"/>
                  </a:cubicBezTo>
                  <a:cubicBezTo>
                    <a:pt x="8582" y="19318"/>
                    <a:pt x="8438" y="19428"/>
                    <a:pt x="8510" y="19650"/>
                  </a:cubicBezTo>
                  <a:cubicBezTo>
                    <a:pt x="8582" y="19871"/>
                    <a:pt x="8798" y="19871"/>
                    <a:pt x="8726" y="19982"/>
                  </a:cubicBezTo>
                  <a:cubicBezTo>
                    <a:pt x="8726" y="20093"/>
                    <a:pt x="8654" y="20315"/>
                    <a:pt x="8654" y="20425"/>
                  </a:cubicBezTo>
                  <a:cubicBezTo>
                    <a:pt x="8726" y="20536"/>
                    <a:pt x="8942" y="20425"/>
                    <a:pt x="8942" y="20536"/>
                  </a:cubicBezTo>
                  <a:cubicBezTo>
                    <a:pt x="8942" y="20536"/>
                    <a:pt x="8942" y="20647"/>
                    <a:pt x="8942" y="20647"/>
                  </a:cubicBezTo>
                  <a:cubicBezTo>
                    <a:pt x="8942" y="20868"/>
                    <a:pt x="9014" y="20758"/>
                    <a:pt x="9086" y="20758"/>
                  </a:cubicBezTo>
                  <a:cubicBezTo>
                    <a:pt x="9158" y="20758"/>
                    <a:pt x="9230" y="20647"/>
                    <a:pt x="9302" y="20758"/>
                  </a:cubicBezTo>
                  <a:cubicBezTo>
                    <a:pt x="9374" y="20758"/>
                    <a:pt x="9446" y="20868"/>
                    <a:pt x="9518" y="20979"/>
                  </a:cubicBezTo>
                  <a:cubicBezTo>
                    <a:pt x="9662" y="21090"/>
                    <a:pt x="9590" y="20647"/>
                    <a:pt x="9590" y="20536"/>
                  </a:cubicBezTo>
                  <a:cubicBezTo>
                    <a:pt x="9446" y="20093"/>
                    <a:pt x="9590" y="20315"/>
                    <a:pt x="9734" y="20093"/>
                  </a:cubicBezTo>
                  <a:cubicBezTo>
                    <a:pt x="9878" y="19982"/>
                    <a:pt x="9806" y="20093"/>
                    <a:pt x="9950" y="20204"/>
                  </a:cubicBezTo>
                  <a:cubicBezTo>
                    <a:pt x="9950" y="20204"/>
                    <a:pt x="10094" y="20093"/>
                    <a:pt x="10094" y="20093"/>
                  </a:cubicBezTo>
                  <a:cubicBezTo>
                    <a:pt x="10094" y="20204"/>
                    <a:pt x="10238" y="19982"/>
                    <a:pt x="10238" y="20093"/>
                  </a:cubicBezTo>
                  <a:cubicBezTo>
                    <a:pt x="10310" y="20204"/>
                    <a:pt x="10310" y="20315"/>
                    <a:pt x="10454" y="20093"/>
                  </a:cubicBezTo>
                  <a:cubicBezTo>
                    <a:pt x="10526" y="19982"/>
                    <a:pt x="10526" y="20093"/>
                    <a:pt x="10598" y="19982"/>
                  </a:cubicBezTo>
                  <a:cubicBezTo>
                    <a:pt x="10670" y="19871"/>
                    <a:pt x="10670" y="19650"/>
                    <a:pt x="10814" y="19650"/>
                  </a:cubicBezTo>
                  <a:cubicBezTo>
                    <a:pt x="10886" y="19650"/>
                    <a:pt x="10958" y="19871"/>
                    <a:pt x="11102" y="19871"/>
                  </a:cubicBezTo>
                  <a:cubicBezTo>
                    <a:pt x="11102" y="19871"/>
                    <a:pt x="11390" y="19982"/>
                    <a:pt x="11390" y="19982"/>
                  </a:cubicBezTo>
                  <a:cubicBezTo>
                    <a:pt x="11390" y="20093"/>
                    <a:pt x="11246" y="20204"/>
                    <a:pt x="11246" y="20315"/>
                  </a:cubicBezTo>
                  <a:cubicBezTo>
                    <a:pt x="11318" y="20425"/>
                    <a:pt x="11462" y="20536"/>
                    <a:pt x="11534" y="20647"/>
                  </a:cubicBezTo>
                  <a:cubicBezTo>
                    <a:pt x="11678" y="20758"/>
                    <a:pt x="11966" y="20868"/>
                    <a:pt x="12038" y="20536"/>
                  </a:cubicBezTo>
                  <a:cubicBezTo>
                    <a:pt x="12038" y="20536"/>
                    <a:pt x="12182" y="20758"/>
                    <a:pt x="12182" y="20758"/>
                  </a:cubicBezTo>
                  <a:cubicBezTo>
                    <a:pt x="12254" y="20868"/>
                    <a:pt x="12326" y="20647"/>
                    <a:pt x="12470" y="20758"/>
                  </a:cubicBezTo>
                  <a:cubicBezTo>
                    <a:pt x="12542" y="20868"/>
                    <a:pt x="12398" y="20979"/>
                    <a:pt x="12398" y="21090"/>
                  </a:cubicBezTo>
                  <a:cubicBezTo>
                    <a:pt x="12398" y="21201"/>
                    <a:pt x="12542" y="21422"/>
                    <a:pt x="12542" y="21533"/>
                  </a:cubicBezTo>
                  <a:cubicBezTo>
                    <a:pt x="12614" y="21533"/>
                    <a:pt x="12686" y="21422"/>
                    <a:pt x="12758" y="21422"/>
                  </a:cubicBezTo>
                  <a:cubicBezTo>
                    <a:pt x="12758" y="21311"/>
                    <a:pt x="12542" y="21201"/>
                    <a:pt x="12614" y="21090"/>
                  </a:cubicBezTo>
                  <a:cubicBezTo>
                    <a:pt x="12758" y="20758"/>
                    <a:pt x="12902" y="20758"/>
                    <a:pt x="13118" y="20647"/>
                  </a:cubicBezTo>
                  <a:cubicBezTo>
                    <a:pt x="13262" y="20536"/>
                    <a:pt x="13406" y="20536"/>
                    <a:pt x="13550" y="20536"/>
                  </a:cubicBezTo>
                  <a:cubicBezTo>
                    <a:pt x="13622" y="20536"/>
                    <a:pt x="13622" y="20315"/>
                    <a:pt x="13694" y="20315"/>
                  </a:cubicBezTo>
                  <a:cubicBezTo>
                    <a:pt x="13838" y="20315"/>
                    <a:pt x="13766" y="20204"/>
                    <a:pt x="13766" y="20093"/>
                  </a:cubicBezTo>
                  <a:cubicBezTo>
                    <a:pt x="13766" y="20204"/>
                    <a:pt x="14054" y="20093"/>
                    <a:pt x="14054" y="20093"/>
                  </a:cubicBezTo>
                  <a:cubicBezTo>
                    <a:pt x="14198" y="19982"/>
                    <a:pt x="14342" y="20093"/>
                    <a:pt x="14486" y="20093"/>
                  </a:cubicBezTo>
                  <a:cubicBezTo>
                    <a:pt x="14630" y="20093"/>
                    <a:pt x="14702" y="19982"/>
                    <a:pt x="14846" y="19871"/>
                  </a:cubicBezTo>
                  <a:cubicBezTo>
                    <a:pt x="14918" y="19871"/>
                    <a:pt x="14918" y="19539"/>
                    <a:pt x="14990" y="19539"/>
                  </a:cubicBezTo>
                  <a:cubicBezTo>
                    <a:pt x="15134" y="19539"/>
                    <a:pt x="15206" y="19428"/>
                    <a:pt x="15278" y="19318"/>
                  </a:cubicBezTo>
                  <a:cubicBezTo>
                    <a:pt x="15350" y="19318"/>
                    <a:pt x="15422" y="19207"/>
                    <a:pt x="15422" y="19096"/>
                  </a:cubicBezTo>
                  <a:cubicBezTo>
                    <a:pt x="15350" y="19096"/>
                    <a:pt x="15638" y="18985"/>
                    <a:pt x="15638" y="18985"/>
                  </a:cubicBezTo>
                  <a:cubicBezTo>
                    <a:pt x="15710" y="18875"/>
                    <a:pt x="15782" y="18653"/>
                    <a:pt x="15854" y="18542"/>
                  </a:cubicBezTo>
                  <a:cubicBezTo>
                    <a:pt x="15926" y="18431"/>
                    <a:pt x="15926" y="18431"/>
                    <a:pt x="15926" y="18321"/>
                  </a:cubicBezTo>
                  <a:cubicBezTo>
                    <a:pt x="15998" y="18099"/>
                    <a:pt x="15854" y="18210"/>
                    <a:pt x="15854" y="18099"/>
                  </a:cubicBezTo>
                  <a:cubicBezTo>
                    <a:pt x="15854" y="18099"/>
                    <a:pt x="16214" y="18099"/>
                    <a:pt x="15998" y="17878"/>
                  </a:cubicBezTo>
                  <a:cubicBezTo>
                    <a:pt x="15926" y="17767"/>
                    <a:pt x="15998" y="17767"/>
                    <a:pt x="16070" y="17767"/>
                  </a:cubicBezTo>
                  <a:cubicBezTo>
                    <a:pt x="16142" y="17767"/>
                    <a:pt x="16142" y="17656"/>
                    <a:pt x="16214" y="17545"/>
                  </a:cubicBezTo>
                  <a:cubicBezTo>
                    <a:pt x="16286" y="17435"/>
                    <a:pt x="16286" y="17324"/>
                    <a:pt x="16358" y="17213"/>
                  </a:cubicBezTo>
                  <a:cubicBezTo>
                    <a:pt x="16358" y="17213"/>
                    <a:pt x="16358" y="16991"/>
                    <a:pt x="16358" y="16991"/>
                  </a:cubicBezTo>
                  <a:cubicBezTo>
                    <a:pt x="16430" y="16881"/>
                    <a:pt x="16502" y="16881"/>
                    <a:pt x="16574" y="16770"/>
                  </a:cubicBezTo>
                  <a:cubicBezTo>
                    <a:pt x="16646" y="16659"/>
                    <a:pt x="16574" y="16548"/>
                    <a:pt x="16574" y="16548"/>
                  </a:cubicBezTo>
                  <a:cubicBezTo>
                    <a:pt x="16574" y="16438"/>
                    <a:pt x="16646" y="16438"/>
                    <a:pt x="16646" y="16438"/>
                  </a:cubicBezTo>
                  <a:cubicBezTo>
                    <a:pt x="16718" y="16438"/>
                    <a:pt x="16646" y="16216"/>
                    <a:pt x="16646" y="16216"/>
                  </a:cubicBezTo>
                  <a:cubicBezTo>
                    <a:pt x="16646" y="16216"/>
                    <a:pt x="16790" y="16327"/>
                    <a:pt x="16790" y="16216"/>
                  </a:cubicBezTo>
                  <a:cubicBezTo>
                    <a:pt x="16934" y="16105"/>
                    <a:pt x="16790" y="16105"/>
                    <a:pt x="16718" y="15995"/>
                  </a:cubicBezTo>
                  <a:cubicBezTo>
                    <a:pt x="16718" y="15995"/>
                    <a:pt x="16934" y="15773"/>
                    <a:pt x="16934" y="15773"/>
                  </a:cubicBezTo>
                  <a:cubicBezTo>
                    <a:pt x="16862" y="15995"/>
                    <a:pt x="16646" y="15662"/>
                    <a:pt x="16574" y="15551"/>
                  </a:cubicBezTo>
                  <a:cubicBezTo>
                    <a:pt x="16574" y="15551"/>
                    <a:pt x="16502" y="15662"/>
                    <a:pt x="16430" y="15662"/>
                  </a:cubicBezTo>
                  <a:cubicBezTo>
                    <a:pt x="16358" y="15773"/>
                    <a:pt x="16286" y="15551"/>
                    <a:pt x="16214" y="15662"/>
                  </a:cubicBezTo>
                  <a:cubicBezTo>
                    <a:pt x="16358" y="15551"/>
                    <a:pt x="16502" y="15441"/>
                    <a:pt x="16574" y="15330"/>
                  </a:cubicBezTo>
                  <a:cubicBezTo>
                    <a:pt x="16646" y="15219"/>
                    <a:pt x="16862" y="15219"/>
                    <a:pt x="16718" y="14998"/>
                  </a:cubicBezTo>
                  <a:cubicBezTo>
                    <a:pt x="16574" y="14887"/>
                    <a:pt x="16502" y="14776"/>
                    <a:pt x="16358" y="14555"/>
                  </a:cubicBezTo>
                  <a:cubicBezTo>
                    <a:pt x="16358" y="14444"/>
                    <a:pt x="15998" y="14665"/>
                    <a:pt x="15998" y="14333"/>
                  </a:cubicBezTo>
                  <a:cubicBezTo>
                    <a:pt x="15998" y="14555"/>
                    <a:pt x="16358" y="14555"/>
                    <a:pt x="16430" y="14555"/>
                  </a:cubicBezTo>
                  <a:cubicBezTo>
                    <a:pt x="16502" y="14555"/>
                    <a:pt x="16718" y="14887"/>
                    <a:pt x="16790" y="14665"/>
                  </a:cubicBezTo>
                  <a:cubicBezTo>
                    <a:pt x="16862" y="14444"/>
                    <a:pt x="16430" y="14222"/>
                    <a:pt x="16430" y="14001"/>
                  </a:cubicBezTo>
                  <a:cubicBezTo>
                    <a:pt x="16358" y="13779"/>
                    <a:pt x="16358" y="13336"/>
                    <a:pt x="16214" y="13225"/>
                  </a:cubicBezTo>
                  <a:cubicBezTo>
                    <a:pt x="16142" y="13004"/>
                    <a:pt x="15710" y="13004"/>
                    <a:pt x="15854" y="12671"/>
                  </a:cubicBezTo>
                  <a:cubicBezTo>
                    <a:pt x="15926" y="12450"/>
                    <a:pt x="15998" y="12339"/>
                    <a:pt x="16070" y="12228"/>
                  </a:cubicBezTo>
                  <a:cubicBezTo>
                    <a:pt x="16214" y="12007"/>
                    <a:pt x="16070" y="12118"/>
                    <a:pt x="16142" y="12007"/>
                  </a:cubicBezTo>
                  <a:cubicBezTo>
                    <a:pt x="16142" y="11896"/>
                    <a:pt x="16358" y="12007"/>
                    <a:pt x="16358" y="12007"/>
                  </a:cubicBezTo>
                  <a:cubicBezTo>
                    <a:pt x="16430" y="11896"/>
                    <a:pt x="16286" y="11785"/>
                    <a:pt x="16430" y="11675"/>
                  </a:cubicBezTo>
                  <a:cubicBezTo>
                    <a:pt x="16574" y="11675"/>
                    <a:pt x="16646" y="11564"/>
                    <a:pt x="16718" y="11453"/>
                  </a:cubicBezTo>
                  <a:cubicBezTo>
                    <a:pt x="16790" y="11453"/>
                    <a:pt x="16862" y="11453"/>
                    <a:pt x="16862" y="11453"/>
                  </a:cubicBezTo>
                  <a:cubicBezTo>
                    <a:pt x="16934" y="11453"/>
                    <a:pt x="16862" y="11564"/>
                    <a:pt x="16934" y="11564"/>
                  </a:cubicBezTo>
                  <a:cubicBezTo>
                    <a:pt x="17006" y="11675"/>
                    <a:pt x="17078" y="11342"/>
                    <a:pt x="17078" y="11231"/>
                  </a:cubicBezTo>
                  <a:cubicBezTo>
                    <a:pt x="16934" y="11010"/>
                    <a:pt x="16790" y="11121"/>
                    <a:pt x="16718" y="11121"/>
                  </a:cubicBezTo>
                  <a:cubicBezTo>
                    <a:pt x="16574" y="11121"/>
                    <a:pt x="16502" y="10899"/>
                    <a:pt x="16358" y="11010"/>
                  </a:cubicBezTo>
                  <a:cubicBezTo>
                    <a:pt x="16286" y="11010"/>
                    <a:pt x="16214" y="11231"/>
                    <a:pt x="16070" y="11231"/>
                  </a:cubicBezTo>
                  <a:cubicBezTo>
                    <a:pt x="15998" y="11342"/>
                    <a:pt x="15854" y="11342"/>
                    <a:pt x="15782" y="11231"/>
                  </a:cubicBezTo>
                  <a:cubicBezTo>
                    <a:pt x="15710" y="11121"/>
                    <a:pt x="15854" y="10899"/>
                    <a:pt x="15782" y="10788"/>
                  </a:cubicBezTo>
                  <a:cubicBezTo>
                    <a:pt x="15638" y="10678"/>
                    <a:pt x="15062" y="10678"/>
                    <a:pt x="15278" y="10124"/>
                  </a:cubicBezTo>
                  <a:cubicBezTo>
                    <a:pt x="15350" y="10013"/>
                    <a:pt x="15422" y="10124"/>
                    <a:pt x="15566" y="10124"/>
                  </a:cubicBezTo>
                  <a:cubicBezTo>
                    <a:pt x="15638" y="10124"/>
                    <a:pt x="15782" y="10013"/>
                    <a:pt x="15854" y="9902"/>
                  </a:cubicBezTo>
                  <a:cubicBezTo>
                    <a:pt x="15998" y="9570"/>
                    <a:pt x="16214" y="9348"/>
                    <a:pt x="16430" y="9127"/>
                  </a:cubicBezTo>
                  <a:cubicBezTo>
                    <a:pt x="16502" y="8905"/>
                    <a:pt x="16574" y="8905"/>
                    <a:pt x="16718" y="8905"/>
                  </a:cubicBezTo>
                  <a:cubicBezTo>
                    <a:pt x="16718" y="9016"/>
                    <a:pt x="16934" y="9016"/>
                    <a:pt x="16934" y="9127"/>
                  </a:cubicBezTo>
                  <a:cubicBezTo>
                    <a:pt x="16862" y="9238"/>
                    <a:pt x="16862" y="9459"/>
                    <a:pt x="16790" y="9570"/>
                  </a:cubicBezTo>
                  <a:cubicBezTo>
                    <a:pt x="16718" y="9570"/>
                    <a:pt x="16574" y="9681"/>
                    <a:pt x="16574" y="9791"/>
                  </a:cubicBezTo>
                  <a:cubicBezTo>
                    <a:pt x="16574" y="9902"/>
                    <a:pt x="16790" y="9902"/>
                    <a:pt x="16790" y="9902"/>
                  </a:cubicBezTo>
                  <a:cubicBezTo>
                    <a:pt x="16790" y="9902"/>
                    <a:pt x="16502" y="10235"/>
                    <a:pt x="16574" y="10235"/>
                  </a:cubicBezTo>
                  <a:cubicBezTo>
                    <a:pt x="16646" y="10345"/>
                    <a:pt x="17006" y="9791"/>
                    <a:pt x="17078" y="9791"/>
                  </a:cubicBezTo>
                  <a:cubicBezTo>
                    <a:pt x="17222" y="9681"/>
                    <a:pt x="17366" y="9570"/>
                    <a:pt x="17510" y="9570"/>
                  </a:cubicBezTo>
                  <a:cubicBezTo>
                    <a:pt x="17654" y="9570"/>
                    <a:pt x="17654" y="9570"/>
                    <a:pt x="17726" y="9348"/>
                  </a:cubicBezTo>
                  <a:cubicBezTo>
                    <a:pt x="17870" y="9238"/>
                    <a:pt x="18086" y="9127"/>
                    <a:pt x="18230" y="8905"/>
                  </a:cubicBezTo>
                  <a:cubicBezTo>
                    <a:pt x="18302" y="8795"/>
                    <a:pt x="18446" y="8462"/>
                    <a:pt x="18590" y="8462"/>
                  </a:cubicBezTo>
                  <a:cubicBezTo>
                    <a:pt x="18662" y="8351"/>
                    <a:pt x="19094" y="8795"/>
                    <a:pt x="19094" y="8462"/>
                  </a:cubicBezTo>
                  <a:cubicBezTo>
                    <a:pt x="19094" y="8351"/>
                    <a:pt x="19022" y="8241"/>
                    <a:pt x="19094" y="8130"/>
                  </a:cubicBezTo>
                  <a:cubicBezTo>
                    <a:pt x="19166" y="8130"/>
                    <a:pt x="19238" y="8130"/>
                    <a:pt x="19310" y="8130"/>
                  </a:cubicBezTo>
                  <a:cubicBezTo>
                    <a:pt x="19454" y="8130"/>
                    <a:pt x="19382" y="8019"/>
                    <a:pt x="19454" y="7908"/>
                  </a:cubicBezTo>
                  <a:cubicBezTo>
                    <a:pt x="19598" y="7798"/>
                    <a:pt x="19670" y="7908"/>
                    <a:pt x="19670" y="7687"/>
                  </a:cubicBezTo>
                  <a:cubicBezTo>
                    <a:pt x="19670" y="7355"/>
                    <a:pt x="19886" y="7687"/>
                    <a:pt x="19958" y="7798"/>
                  </a:cubicBezTo>
                  <a:cubicBezTo>
                    <a:pt x="19958" y="7576"/>
                    <a:pt x="20174" y="7576"/>
                    <a:pt x="20174" y="7355"/>
                  </a:cubicBezTo>
                  <a:cubicBezTo>
                    <a:pt x="20174" y="7133"/>
                    <a:pt x="20246" y="6801"/>
                    <a:pt x="20174" y="6579"/>
                  </a:cubicBezTo>
                  <a:cubicBezTo>
                    <a:pt x="20030" y="6247"/>
                    <a:pt x="20102" y="6358"/>
                    <a:pt x="20246" y="6136"/>
                  </a:cubicBezTo>
                  <a:cubicBezTo>
                    <a:pt x="20390" y="6025"/>
                    <a:pt x="20462" y="5915"/>
                    <a:pt x="20606" y="6025"/>
                  </a:cubicBezTo>
                  <a:cubicBezTo>
                    <a:pt x="20822" y="6136"/>
                    <a:pt x="20822" y="6136"/>
                    <a:pt x="20894" y="5804"/>
                  </a:cubicBezTo>
                  <a:cubicBezTo>
                    <a:pt x="20966" y="5582"/>
                    <a:pt x="21110" y="5471"/>
                    <a:pt x="21182" y="5139"/>
                  </a:cubicBezTo>
                  <a:cubicBezTo>
                    <a:pt x="21182" y="4918"/>
                    <a:pt x="21254" y="4696"/>
                    <a:pt x="21398" y="4475"/>
                  </a:cubicBezTo>
                  <a:cubicBezTo>
                    <a:pt x="21542" y="4253"/>
                    <a:pt x="21398" y="4253"/>
                    <a:pt x="21398" y="4031"/>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A3C3EB"/>
                  </a:solidFill>
                  <a:latin typeface="Lato Light"/>
                  <a:ea typeface="Lato Light"/>
                  <a:cs typeface="Lato Light"/>
                  <a:sym typeface="Lato Light"/>
                </a:defRPr>
              </a:pPr>
              <a:endParaRPr sz="3600" b="0" i="0">
                <a:solidFill>
                  <a:srgbClr val="A3C3EB"/>
                </a:solidFill>
                <a:latin typeface="DM Sans" pitchFamily="2" charset="77"/>
                <a:ea typeface="Lato Light"/>
                <a:cs typeface="Lato Light"/>
                <a:sym typeface="Lato Light"/>
              </a:endParaRPr>
            </a:p>
          </p:txBody>
        </p:sp>
        <p:sp>
          <p:nvSpPr>
            <p:cNvPr id="318" name="Shape 2137">
              <a:extLst>
                <a:ext uri="{FF2B5EF4-FFF2-40B4-BE49-F238E27FC236}">
                  <a16:creationId xmlns:a16="http://schemas.microsoft.com/office/drawing/2014/main" id="{BF722803-FBBF-C30C-A607-C00FA79C185C}"/>
                </a:ext>
              </a:extLst>
            </p:cNvPr>
            <p:cNvSpPr/>
            <p:nvPr/>
          </p:nvSpPr>
          <p:spPr>
            <a:xfrm>
              <a:off x="8375886" y="1866601"/>
              <a:ext cx="1019533" cy="439093"/>
            </a:xfrm>
            <a:custGeom>
              <a:avLst/>
              <a:gdLst/>
              <a:ahLst/>
              <a:cxnLst>
                <a:cxn ang="0">
                  <a:pos x="wd2" y="hd2"/>
                </a:cxn>
                <a:cxn ang="5400000">
                  <a:pos x="wd2" y="hd2"/>
                </a:cxn>
                <a:cxn ang="10800000">
                  <a:pos x="wd2" y="hd2"/>
                </a:cxn>
                <a:cxn ang="16200000">
                  <a:pos x="wd2" y="hd2"/>
                </a:cxn>
              </a:cxnLst>
              <a:rect l="0" t="0" r="r" b="b"/>
              <a:pathLst>
                <a:path w="21302" h="21095" extrusionOk="0">
                  <a:moveTo>
                    <a:pt x="0" y="5782"/>
                  </a:moveTo>
                  <a:cubicBezTo>
                    <a:pt x="138" y="7053"/>
                    <a:pt x="413" y="7688"/>
                    <a:pt x="963" y="8006"/>
                  </a:cubicBezTo>
                  <a:cubicBezTo>
                    <a:pt x="1238" y="8323"/>
                    <a:pt x="1376" y="8641"/>
                    <a:pt x="1651" y="8959"/>
                  </a:cubicBezTo>
                  <a:cubicBezTo>
                    <a:pt x="1789" y="9594"/>
                    <a:pt x="1926" y="10547"/>
                    <a:pt x="2064" y="11182"/>
                  </a:cubicBezTo>
                  <a:cubicBezTo>
                    <a:pt x="2201" y="11500"/>
                    <a:pt x="2064" y="11500"/>
                    <a:pt x="2064" y="11818"/>
                  </a:cubicBezTo>
                  <a:cubicBezTo>
                    <a:pt x="1926" y="11818"/>
                    <a:pt x="2064" y="12135"/>
                    <a:pt x="2064" y="12453"/>
                  </a:cubicBezTo>
                  <a:cubicBezTo>
                    <a:pt x="1926" y="13406"/>
                    <a:pt x="1789" y="13406"/>
                    <a:pt x="2201" y="14041"/>
                  </a:cubicBezTo>
                  <a:cubicBezTo>
                    <a:pt x="2752" y="14359"/>
                    <a:pt x="3302" y="14041"/>
                    <a:pt x="3852" y="14676"/>
                  </a:cubicBezTo>
                  <a:cubicBezTo>
                    <a:pt x="4127" y="15312"/>
                    <a:pt x="4678" y="16265"/>
                    <a:pt x="4953" y="16900"/>
                  </a:cubicBezTo>
                  <a:cubicBezTo>
                    <a:pt x="5090" y="17218"/>
                    <a:pt x="5228" y="17853"/>
                    <a:pt x="5366" y="18488"/>
                  </a:cubicBezTo>
                  <a:cubicBezTo>
                    <a:pt x="5503" y="19123"/>
                    <a:pt x="5916" y="18806"/>
                    <a:pt x="6054" y="18806"/>
                  </a:cubicBezTo>
                  <a:cubicBezTo>
                    <a:pt x="6604" y="18806"/>
                    <a:pt x="7154" y="18806"/>
                    <a:pt x="7704" y="18806"/>
                  </a:cubicBezTo>
                  <a:cubicBezTo>
                    <a:pt x="7980" y="18806"/>
                    <a:pt x="8530" y="18806"/>
                    <a:pt x="8805" y="19123"/>
                  </a:cubicBezTo>
                  <a:cubicBezTo>
                    <a:pt x="9080" y="19441"/>
                    <a:pt x="9218" y="20076"/>
                    <a:pt x="9493" y="20076"/>
                  </a:cubicBezTo>
                  <a:cubicBezTo>
                    <a:pt x="9768" y="20394"/>
                    <a:pt x="10181" y="20712"/>
                    <a:pt x="10456" y="20712"/>
                  </a:cubicBezTo>
                  <a:cubicBezTo>
                    <a:pt x="10731" y="20394"/>
                    <a:pt x="11006" y="21347"/>
                    <a:pt x="11144" y="21029"/>
                  </a:cubicBezTo>
                  <a:cubicBezTo>
                    <a:pt x="11694" y="20394"/>
                    <a:pt x="12107" y="19759"/>
                    <a:pt x="12795" y="19441"/>
                  </a:cubicBezTo>
                  <a:cubicBezTo>
                    <a:pt x="13345" y="19441"/>
                    <a:pt x="14171" y="19759"/>
                    <a:pt x="14583" y="19123"/>
                  </a:cubicBezTo>
                  <a:cubicBezTo>
                    <a:pt x="14996" y="18488"/>
                    <a:pt x="15134" y="17535"/>
                    <a:pt x="15546" y="17218"/>
                  </a:cubicBezTo>
                  <a:cubicBezTo>
                    <a:pt x="15959" y="16900"/>
                    <a:pt x="15959" y="16582"/>
                    <a:pt x="15684" y="15947"/>
                  </a:cubicBezTo>
                  <a:cubicBezTo>
                    <a:pt x="15546" y="15629"/>
                    <a:pt x="15546" y="14994"/>
                    <a:pt x="15822" y="14676"/>
                  </a:cubicBezTo>
                  <a:cubicBezTo>
                    <a:pt x="16234" y="13723"/>
                    <a:pt x="16785" y="15629"/>
                    <a:pt x="17335" y="14359"/>
                  </a:cubicBezTo>
                  <a:cubicBezTo>
                    <a:pt x="17473" y="14041"/>
                    <a:pt x="17610" y="13723"/>
                    <a:pt x="17885" y="13723"/>
                  </a:cubicBezTo>
                  <a:cubicBezTo>
                    <a:pt x="18298" y="13406"/>
                    <a:pt x="18436" y="13723"/>
                    <a:pt x="18848" y="13088"/>
                  </a:cubicBezTo>
                  <a:cubicBezTo>
                    <a:pt x="18986" y="12771"/>
                    <a:pt x="18986" y="11818"/>
                    <a:pt x="19124" y="11818"/>
                  </a:cubicBezTo>
                  <a:cubicBezTo>
                    <a:pt x="19399" y="11500"/>
                    <a:pt x="19536" y="11500"/>
                    <a:pt x="19674" y="11500"/>
                  </a:cubicBezTo>
                  <a:cubicBezTo>
                    <a:pt x="20224" y="11182"/>
                    <a:pt x="20637" y="10865"/>
                    <a:pt x="21187" y="11182"/>
                  </a:cubicBezTo>
                  <a:cubicBezTo>
                    <a:pt x="21600" y="11182"/>
                    <a:pt x="20775" y="8959"/>
                    <a:pt x="20637" y="8959"/>
                  </a:cubicBezTo>
                  <a:cubicBezTo>
                    <a:pt x="20499" y="8641"/>
                    <a:pt x="20224" y="8323"/>
                    <a:pt x="19949" y="8641"/>
                  </a:cubicBezTo>
                  <a:cubicBezTo>
                    <a:pt x="19674" y="8641"/>
                    <a:pt x="19674" y="9276"/>
                    <a:pt x="19399" y="8959"/>
                  </a:cubicBezTo>
                  <a:cubicBezTo>
                    <a:pt x="19261" y="8641"/>
                    <a:pt x="18848" y="8323"/>
                    <a:pt x="18711" y="8641"/>
                  </a:cubicBezTo>
                  <a:cubicBezTo>
                    <a:pt x="18573" y="9276"/>
                    <a:pt x="18436" y="8959"/>
                    <a:pt x="18436" y="8323"/>
                  </a:cubicBezTo>
                  <a:cubicBezTo>
                    <a:pt x="18436" y="7688"/>
                    <a:pt x="18848" y="6418"/>
                    <a:pt x="18848" y="5782"/>
                  </a:cubicBezTo>
                  <a:cubicBezTo>
                    <a:pt x="18986" y="5147"/>
                    <a:pt x="19399" y="4194"/>
                    <a:pt x="18848" y="4194"/>
                  </a:cubicBezTo>
                  <a:cubicBezTo>
                    <a:pt x="18436" y="4194"/>
                    <a:pt x="18436" y="4512"/>
                    <a:pt x="18023" y="4194"/>
                  </a:cubicBezTo>
                  <a:cubicBezTo>
                    <a:pt x="17610" y="3876"/>
                    <a:pt x="17473" y="3876"/>
                    <a:pt x="17060" y="4512"/>
                  </a:cubicBezTo>
                  <a:cubicBezTo>
                    <a:pt x="16647" y="5147"/>
                    <a:pt x="16097" y="5465"/>
                    <a:pt x="15684" y="5782"/>
                  </a:cubicBezTo>
                  <a:cubicBezTo>
                    <a:pt x="14996" y="6100"/>
                    <a:pt x="14721" y="5782"/>
                    <a:pt x="14171" y="5782"/>
                  </a:cubicBezTo>
                  <a:cubicBezTo>
                    <a:pt x="13896" y="5465"/>
                    <a:pt x="13758" y="5465"/>
                    <a:pt x="13483" y="5147"/>
                  </a:cubicBezTo>
                  <a:cubicBezTo>
                    <a:pt x="13345" y="5147"/>
                    <a:pt x="13208" y="4512"/>
                    <a:pt x="12932" y="4512"/>
                  </a:cubicBezTo>
                  <a:cubicBezTo>
                    <a:pt x="12382" y="4194"/>
                    <a:pt x="12107" y="3559"/>
                    <a:pt x="11419" y="3241"/>
                  </a:cubicBezTo>
                  <a:cubicBezTo>
                    <a:pt x="11144" y="3241"/>
                    <a:pt x="10869" y="3559"/>
                    <a:pt x="10594" y="3876"/>
                  </a:cubicBezTo>
                  <a:cubicBezTo>
                    <a:pt x="10318" y="4194"/>
                    <a:pt x="10043" y="3876"/>
                    <a:pt x="9768" y="3559"/>
                  </a:cubicBezTo>
                  <a:cubicBezTo>
                    <a:pt x="9493" y="3241"/>
                    <a:pt x="9355" y="3241"/>
                    <a:pt x="9355" y="2288"/>
                  </a:cubicBezTo>
                  <a:cubicBezTo>
                    <a:pt x="9218" y="1653"/>
                    <a:pt x="9218" y="1653"/>
                    <a:pt x="8805" y="1335"/>
                  </a:cubicBezTo>
                  <a:cubicBezTo>
                    <a:pt x="8530" y="1018"/>
                    <a:pt x="8255" y="700"/>
                    <a:pt x="7980" y="700"/>
                  </a:cubicBezTo>
                  <a:cubicBezTo>
                    <a:pt x="7704" y="700"/>
                    <a:pt x="7292" y="-253"/>
                    <a:pt x="7154" y="65"/>
                  </a:cubicBezTo>
                  <a:cubicBezTo>
                    <a:pt x="6879" y="65"/>
                    <a:pt x="6329" y="1335"/>
                    <a:pt x="6191" y="1971"/>
                  </a:cubicBezTo>
                  <a:cubicBezTo>
                    <a:pt x="6191" y="2606"/>
                    <a:pt x="6604" y="3241"/>
                    <a:pt x="6466" y="3876"/>
                  </a:cubicBezTo>
                  <a:cubicBezTo>
                    <a:pt x="6329" y="4512"/>
                    <a:pt x="5916" y="5147"/>
                    <a:pt x="5641" y="4512"/>
                  </a:cubicBezTo>
                  <a:cubicBezTo>
                    <a:pt x="5366" y="4512"/>
                    <a:pt x="5228" y="4194"/>
                    <a:pt x="5090" y="4194"/>
                  </a:cubicBezTo>
                  <a:cubicBezTo>
                    <a:pt x="4953" y="4194"/>
                    <a:pt x="4815" y="4194"/>
                    <a:pt x="4678" y="4194"/>
                  </a:cubicBezTo>
                  <a:cubicBezTo>
                    <a:pt x="4265" y="3876"/>
                    <a:pt x="4265" y="3241"/>
                    <a:pt x="3852" y="2923"/>
                  </a:cubicBezTo>
                  <a:cubicBezTo>
                    <a:pt x="3577" y="2606"/>
                    <a:pt x="3164" y="2288"/>
                    <a:pt x="2889" y="2606"/>
                  </a:cubicBezTo>
                  <a:cubicBezTo>
                    <a:pt x="2476" y="2923"/>
                    <a:pt x="2201" y="3559"/>
                    <a:pt x="1789" y="3876"/>
                  </a:cubicBezTo>
                  <a:cubicBezTo>
                    <a:pt x="1513" y="4194"/>
                    <a:pt x="1238" y="4829"/>
                    <a:pt x="963" y="5147"/>
                  </a:cubicBezTo>
                  <a:cubicBezTo>
                    <a:pt x="550" y="5147"/>
                    <a:pt x="275" y="5782"/>
                    <a:pt x="0" y="57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9" name="Shape 2138">
              <a:extLst>
                <a:ext uri="{FF2B5EF4-FFF2-40B4-BE49-F238E27FC236}">
                  <a16:creationId xmlns:a16="http://schemas.microsoft.com/office/drawing/2014/main" id="{19A11AB5-DC87-BE5B-B7DF-B5F1E5B1E53F}"/>
                </a:ext>
              </a:extLst>
            </p:cNvPr>
            <p:cNvSpPr/>
            <p:nvPr/>
          </p:nvSpPr>
          <p:spPr>
            <a:xfrm>
              <a:off x="5885756" y="1003396"/>
              <a:ext cx="413523" cy="707329"/>
            </a:xfrm>
            <a:custGeom>
              <a:avLst/>
              <a:gdLst/>
              <a:ahLst/>
              <a:cxnLst>
                <a:cxn ang="0">
                  <a:pos x="wd2" y="hd2"/>
                </a:cxn>
                <a:cxn ang="5400000">
                  <a:pos x="wd2" y="hd2"/>
                </a:cxn>
                <a:cxn ang="10800000">
                  <a:pos x="wd2" y="hd2"/>
                </a:cxn>
                <a:cxn ang="16200000">
                  <a:pos x="wd2" y="hd2"/>
                </a:cxn>
              </a:cxnLst>
              <a:rect l="0" t="0" r="r" b="b"/>
              <a:pathLst>
                <a:path w="21600" h="21440" extrusionOk="0">
                  <a:moveTo>
                    <a:pt x="20914" y="4840"/>
                  </a:moveTo>
                  <a:cubicBezTo>
                    <a:pt x="20571" y="4640"/>
                    <a:pt x="21257" y="4240"/>
                    <a:pt x="20914" y="3840"/>
                  </a:cubicBezTo>
                  <a:cubicBezTo>
                    <a:pt x="20571" y="3440"/>
                    <a:pt x="20914" y="3440"/>
                    <a:pt x="20914" y="3040"/>
                  </a:cubicBezTo>
                  <a:cubicBezTo>
                    <a:pt x="20914" y="2840"/>
                    <a:pt x="20571" y="2640"/>
                    <a:pt x="20571" y="2440"/>
                  </a:cubicBezTo>
                  <a:cubicBezTo>
                    <a:pt x="20229" y="2240"/>
                    <a:pt x="20571" y="2240"/>
                    <a:pt x="20571" y="2040"/>
                  </a:cubicBezTo>
                  <a:cubicBezTo>
                    <a:pt x="20229" y="1640"/>
                    <a:pt x="20229" y="1440"/>
                    <a:pt x="19543" y="1240"/>
                  </a:cubicBezTo>
                  <a:cubicBezTo>
                    <a:pt x="18857" y="1040"/>
                    <a:pt x="18171" y="1040"/>
                    <a:pt x="17486" y="840"/>
                  </a:cubicBezTo>
                  <a:cubicBezTo>
                    <a:pt x="16800" y="440"/>
                    <a:pt x="16114" y="-160"/>
                    <a:pt x="15086" y="40"/>
                  </a:cubicBezTo>
                  <a:cubicBezTo>
                    <a:pt x="14743" y="40"/>
                    <a:pt x="15086" y="640"/>
                    <a:pt x="15086" y="840"/>
                  </a:cubicBezTo>
                  <a:cubicBezTo>
                    <a:pt x="14743" y="1440"/>
                    <a:pt x="12686" y="1040"/>
                    <a:pt x="11657" y="840"/>
                  </a:cubicBezTo>
                  <a:cubicBezTo>
                    <a:pt x="11657" y="1240"/>
                    <a:pt x="11657" y="1440"/>
                    <a:pt x="11657" y="1840"/>
                  </a:cubicBezTo>
                  <a:cubicBezTo>
                    <a:pt x="11314" y="1840"/>
                    <a:pt x="10629" y="1640"/>
                    <a:pt x="9943" y="1840"/>
                  </a:cubicBezTo>
                  <a:cubicBezTo>
                    <a:pt x="9600" y="1840"/>
                    <a:pt x="9600" y="2040"/>
                    <a:pt x="9257" y="2240"/>
                  </a:cubicBezTo>
                  <a:cubicBezTo>
                    <a:pt x="9257" y="2440"/>
                    <a:pt x="8571" y="2640"/>
                    <a:pt x="8571" y="2840"/>
                  </a:cubicBezTo>
                  <a:cubicBezTo>
                    <a:pt x="8229" y="3040"/>
                    <a:pt x="8914" y="3440"/>
                    <a:pt x="8571" y="3440"/>
                  </a:cubicBezTo>
                  <a:cubicBezTo>
                    <a:pt x="8571" y="3640"/>
                    <a:pt x="8229" y="3640"/>
                    <a:pt x="8229" y="3840"/>
                  </a:cubicBezTo>
                  <a:cubicBezTo>
                    <a:pt x="7543" y="4040"/>
                    <a:pt x="6857" y="4440"/>
                    <a:pt x="6857" y="4840"/>
                  </a:cubicBezTo>
                  <a:cubicBezTo>
                    <a:pt x="6857" y="5240"/>
                    <a:pt x="6171" y="4840"/>
                    <a:pt x="5829" y="5240"/>
                  </a:cubicBezTo>
                  <a:cubicBezTo>
                    <a:pt x="5829" y="5640"/>
                    <a:pt x="5829" y="6040"/>
                    <a:pt x="5486" y="6440"/>
                  </a:cubicBezTo>
                  <a:cubicBezTo>
                    <a:pt x="5486" y="6840"/>
                    <a:pt x="4457" y="7040"/>
                    <a:pt x="4457" y="7440"/>
                  </a:cubicBezTo>
                  <a:cubicBezTo>
                    <a:pt x="4457" y="7640"/>
                    <a:pt x="5486" y="8040"/>
                    <a:pt x="5143" y="8240"/>
                  </a:cubicBezTo>
                  <a:cubicBezTo>
                    <a:pt x="4457" y="8640"/>
                    <a:pt x="3771" y="8440"/>
                    <a:pt x="3086" y="8640"/>
                  </a:cubicBezTo>
                  <a:cubicBezTo>
                    <a:pt x="2057" y="8840"/>
                    <a:pt x="1714" y="9440"/>
                    <a:pt x="1714" y="10040"/>
                  </a:cubicBezTo>
                  <a:cubicBezTo>
                    <a:pt x="2057" y="10440"/>
                    <a:pt x="2057" y="10840"/>
                    <a:pt x="2057" y="11240"/>
                  </a:cubicBezTo>
                  <a:cubicBezTo>
                    <a:pt x="2057" y="11840"/>
                    <a:pt x="1371" y="12040"/>
                    <a:pt x="2743" y="12440"/>
                  </a:cubicBezTo>
                  <a:cubicBezTo>
                    <a:pt x="3429" y="12840"/>
                    <a:pt x="3086" y="13040"/>
                    <a:pt x="2400" y="13240"/>
                  </a:cubicBezTo>
                  <a:cubicBezTo>
                    <a:pt x="2057" y="13440"/>
                    <a:pt x="2743" y="14240"/>
                    <a:pt x="2400" y="14640"/>
                  </a:cubicBezTo>
                  <a:cubicBezTo>
                    <a:pt x="2400" y="15040"/>
                    <a:pt x="1371" y="15040"/>
                    <a:pt x="1371" y="15440"/>
                  </a:cubicBezTo>
                  <a:cubicBezTo>
                    <a:pt x="1371" y="15640"/>
                    <a:pt x="1371" y="16440"/>
                    <a:pt x="1029" y="16440"/>
                  </a:cubicBezTo>
                  <a:cubicBezTo>
                    <a:pt x="1029" y="16440"/>
                    <a:pt x="343" y="16240"/>
                    <a:pt x="0" y="16240"/>
                  </a:cubicBezTo>
                  <a:cubicBezTo>
                    <a:pt x="0" y="17040"/>
                    <a:pt x="1371" y="17240"/>
                    <a:pt x="1371" y="17840"/>
                  </a:cubicBezTo>
                  <a:cubicBezTo>
                    <a:pt x="1029" y="18040"/>
                    <a:pt x="2057" y="19040"/>
                    <a:pt x="2400" y="19240"/>
                  </a:cubicBezTo>
                  <a:cubicBezTo>
                    <a:pt x="3086" y="19640"/>
                    <a:pt x="2743" y="19840"/>
                    <a:pt x="2743" y="20240"/>
                  </a:cubicBezTo>
                  <a:cubicBezTo>
                    <a:pt x="2743" y="20440"/>
                    <a:pt x="3429" y="20840"/>
                    <a:pt x="3429" y="21240"/>
                  </a:cubicBezTo>
                  <a:cubicBezTo>
                    <a:pt x="3086" y="21440"/>
                    <a:pt x="4457" y="21240"/>
                    <a:pt x="4800" y="21440"/>
                  </a:cubicBezTo>
                  <a:cubicBezTo>
                    <a:pt x="5486" y="21440"/>
                    <a:pt x="5143" y="21240"/>
                    <a:pt x="5143" y="20840"/>
                  </a:cubicBezTo>
                  <a:cubicBezTo>
                    <a:pt x="5143" y="19840"/>
                    <a:pt x="7886" y="20640"/>
                    <a:pt x="8229" y="20040"/>
                  </a:cubicBezTo>
                  <a:cubicBezTo>
                    <a:pt x="8571" y="19440"/>
                    <a:pt x="8914" y="18840"/>
                    <a:pt x="9257" y="18240"/>
                  </a:cubicBezTo>
                  <a:cubicBezTo>
                    <a:pt x="9257" y="17840"/>
                    <a:pt x="9257" y="17440"/>
                    <a:pt x="8914" y="17240"/>
                  </a:cubicBezTo>
                  <a:cubicBezTo>
                    <a:pt x="8571" y="16840"/>
                    <a:pt x="8914" y="16840"/>
                    <a:pt x="9600" y="16640"/>
                  </a:cubicBezTo>
                  <a:cubicBezTo>
                    <a:pt x="9943" y="16640"/>
                    <a:pt x="10971" y="16440"/>
                    <a:pt x="10971" y="16240"/>
                  </a:cubicBezTo>
                  <a:cubicBezTo>
                    <a:pt x="10971" y="16240"/>
                    <a:pt x="10971" y="16040"/>
                    <a:pt x="10971" y="16040"/>
                  </a:cubicBezTo>
                  <a:cubicBezTo>
                    <a:pt x="11314" y="16040"/>
                    <a:pt x="12000" y="16040"/>
                    <a:pt x="12000" y="15840"/>
                  </a:cubicBezTo>
                  <a:cubicBezTo>
                    <a:pt x="12000" y="15640"/>
                    <a:pt x="11657" y="15640"/>
                    <a:pt x="11657" y="15440"/>
                  </a:cubicBezTo>
                  <a:cubicBezTo>
                    <a:pt x="12000" y="15440"/>
                    <a:pt x="12343" y="15240"/>
                    <a:pt x="12343" y="15240"/>
                  </a:cubicBezTo>
                  <a:cubicBezTo>
                    <a:pt x="13029" y="14840"/>
                    <a:pt x="12686" y="14640"/>
                    <a:pt x="12000" y="14440"/>
                  </a:cubicBezTo>
                  <a:cubicBezTo>
                    <a:pt x="11314" y="14040"/>
                    <a:pt x="9943" y="13840"/>
                    <a:pt x="9943" y="13040"/>
                  </a:cubicBezTo>
                  <a:cubicBezTo>
                    <a:pt x="9943" y="12640"/>
                    <a:pt x="9943" y="12240"/>
                    <a:pt x="10286" y="11840"/>
                  </a:cubicBezTo>
                  <a:cubicBezTo>
                    <a:pt x="10629" y="11440"/>
                    <a:pt x="10629" y="11440"/>
                    <a:pt x="10286" y="11040"/>
                  </a:cubicBezTo>
                  <a:cubicBezTo>
                    <a:pt x="9943" y="11040"/>
                    <a:pt x="11314" y="10440"/>
                    <a:pt x="11314" y="10440"/>
                  </a:cubicBezTo>
                  <a:cubicBezTo>
                    <a:pt x="12000" y="10040"/>
                    <a:pt x="12343" y="9640"/>
                    <a:pt x="13371" y="9440"/>
                  </a:cubicBezTo>
                  <a:cubicBezTo>
                    <a:pt x="14400" y="9240"/>
                    <a:pt x="16114" y="8640"/>
                    <a:pt x="16800" y="8040"/>
                  </a:cubicBezTo>
                  <a:cubicBezTo>
                    <a:pt x="17486" y="7440"/>
                    <a:pt x="15771" y="7040"/>
                    <a:pt x="17143" y="6840"/>
                  </a:cubicBezTo>
                  <a:cubicBezTo>
                    <a:pt x="17829" y="6640"/>
                    <a:pt x="17486" y="6640"/>
                    <a:pt x="17143" y="6240"/>
                  </a:cubicBezTo>
                  <a:cubicBezTo>
                    <a:pt x="17143" y="6040"/>
                    <a:pt x="18171" y="5840"/>
                    <a:pt x="18514" y="5840"/>
                  </a:cubicBezTo>
                  <a:cubicBezTo>
                    <a:pt x="19200" y="5440"/>
                    <a:pt x="19543" y="5240"/>
                    <a:pt x="19886" y="5640"/>
                  </a:cubicBezTo>
                  <a:cubicBezTo>
                    <a:pt x="20229" y="5640"/>
                    <a:pt x="20571" y="5440"/>
                    <a:pt x="20571" y="5440"/>
                  </a:cubicBezTo>
                  <a:cubicBezTo>
                    <a:pt x="20914" y="5440"/>
                    <a:pt x="21257" y="5440"/>
                    <a:pt x="21600" y="5440"/>
                  </a:cubicBezTo>
                  <a:cubicBezTo>
                    <a:pt x="21600" y="5240"/>
                    <a:pt x="21257" y="5240"/>
                    <a:pt x="20914" y="4840"/>
                  </a:cubicBezTo>
                  <a:cubicBezTo>
                    <a:pt x="20571" y="4640"/>
                    <a:pt x="20914" y="5040"/>
                    <a:pt x="20914" y="48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0" name="Shape 2139">
              <a:extLst>
                <a:ext uri="{FF2B5EF4-FFF2-40B4-BE49-F238E27FC236}">
                  <a16:creationId xmlns:a16="http://schemas.microsoft.com/office/drawing/2014/main" id="{DE3579FF-6CBD-6AB9-A4EB-E0ADDBE1C066}"/>
                </a:ext>
              </a:extLst>
            </p:cNvPr>
            <p:cNvSpPr/>
            <p:nvPr/>
          </p:nvSpPr>
          <p:spPr>
            <a:xfrm>
              <a:off x="6189156" y="944157"/>
              <a:ext cx="350414" cy="549976"/>
            </a:xfrm>
            <a:custGeom>
              <a:avLst/>
              <a:gdLst/>
              <a:ahLst/>
              <a:cxnLst>
                <a:cxn ang="0">
                  <a:pos x="wd2" y="hd2"/>
                </a:cxn>
                <a:cxn ang="5400000">
                  <a:pos x="wd2" y="hd2"/>
                </a:cxn>
                <a:cxn ang="10800000">
                  <a:pos x="wd2" y="hd2"/>
                </a:cxn>
                <a:cxn ang="16200000">
                  <a:pos x="wd2" y="hd2"/>
                </a:cxn>
              </a:cxnLst>
              <a:rect l="0" t="0" r="r" b="b"/>
              <a:pathLst>
                <a:path w="21315" h="21395" extrusionOk="0">
                  <a:moveTo>
                    <a:pt x="21200" y="15171"/>
                  </a:moveTo>
                  <a:cubicBezTo>
                    <a:pt x="20800" y="14657"/>
                    <a:pt x="19600" y="14400"/>
                    <a:pt x="18800" y="14143"/>
                  </a:cubicBezTo>
                  <a:cubicBezTo>
                    <a:pt x="17600" y="13629"/>
                    <a:pt x="19200" y="13629"/>
                    <a:pt x="19600" y="13114"/>
                  </a:cubicBezTo>
                  <a:cubicBezTo>
                    <a:pt x="19600" y="13114"/>
                    <a:pt x="18000" y="11571"/>
                    <a:pt x="17600" y="11314"/>
                  </a:cubicBezTo>
                  <a:cubicBezTo>
                    <a:pt x="17600" y="11314"/>
                    <a:pt x="18400" y="11057"/>
                    <a:pt x="18400" y="11057"/>
                  </a:cubicBezTo>
                  <a:cubicBezTo>
                    <a:pt x="18400" y="10800"/>
                    <a:pt x="17600" y="10029"/>
                    <a:pt x="17600" y="9771"/>
                  </a:cubicBezTo>
                  <a:cubicBezTo>
                    <a:pt x="17600" y="9514"/>
                    <a:pt x="18000" y="9514"/>
                    <a:pt x="18000" y="9257"/>
                  </a:cubicBezTo>
                  <a:cubicBezTo>
                    <a:pt x="18400" y="9000"/>
                    <a:pt x="17600" y="8486"/>
                    <a:pt x="17600" y="8229"/>
                  </a:cubicBezTo>
                  <a:cubicBezTo>
                    <a:pt x="16800" y="7714"/>
                    <a:pt x="16000" y="7200"/>
                    <a:pt x="16800" y="6686"/>
                  </a:cubicBezTo>
                  <a:cubicBezTo>
                    <a:pt x="17200" y="6429"/>
                    <a:pt x="18000" y="6171"/>
                    <a:pt x="18000" y="5914"/>
                  </a:cubicBezTo>
                  <a:cubicBezTo>
                    <a:pt x="18400" y="5400"/>
                    <a:pt x="17600" y="5143"/>
                    <a:pt x="17600" y="4886"/>
                  </a:cubicBezTo>
                  <a:cubicBezTo>
                    <a:pt x="17200" y="4629"/>
                    <a:pt x="14400" y="3857"/>
                    <a:pt x="15200" y="3343"/>
                  </a:cubicBezTo>
                  <a:cubicBezTo>
                    <a:pt x="15200" y="3343"/>
                    <a:pt x="16000" y="3086"/>
                    <a:pt x="16000" y="3086"/>
                  </a:cubicBezTo>
                  <a:cubicBezTo>
                    <a:pt x="16000" y="3086"/>
                    <a:pt x="14800" y="2571"/>
                    <a:pt x="15600" y="2571"/>
                  </a:cubicBezTo>
                  <a:cubicBezTo>
                    <a:pt x="16800" y="2571"/>
                    <a:pt x="17600" y="1286"/>
                    <a:pt x="16400" y="771"/>
                  </a:cubicBezTo>
                  <a:cubicBezTo>
                    <a:pt x="16000" y="514"/>
                    <a:pt x="15200" y="514"/>
                    <a:pt x="14800" y="257"/>
                  </a:cubicBezTo>
                  <a:cubicBezTo>
                    <a:pt x="14400" y="0"/>
                    <a:pt x="14000" y="0"/>
                    <a:pt x="13600" y="0"/>
                  </a:cubicBezTo>
                  <a:cubicBezTo>
                    <a:pt x="12800" y="257"/>
                    <a:pt x="12400" y="0"/>
                    <a:pt x="11600" y="257"/>
                  </a:cubicBezTo>
                  <a:cubicBezTo>
                    <a:pt x="11200" y="514"/>
                    <a:pt x="10400" y="1029"/>
                    <a:pt x="10000" y="1286"/>
                  </a:cubicBezTo>
                  <a:cubicBezTo>
                    <a:pt x="10000" y="1543"/>
                    <a:pt x="10000" y="2571"/>
                    <a:pt x="9600" y="2571"/>
                  </a:cubicBezTo>
                  <a:cubicBezTo>
                    <a:pt x="9200" y="2829"/>
                    <a:pt x="8800" y="3086"/>
                    <a:pt x="8400" y="3343"/>
                  </a:cubicBezTo>
                  <a:cubicBezTo>
                    <a:pt x="8000" y="3343"/>
                    <a:pt x="7200" y="2829"/>
                    <a:pt x="6800" y="2829"/>
                  </a:cubicBezTo>
                  <a:cubicBezTo>
                    <a:pt x="6400" y="2829"/>
                    <a:pt x="6000" y="3086"/>
                    <a:pt x="5600" y="3086"/>
                  </a:cubicBezTo>
                  <a:cubicBezTo>
                    <a:pt x="4400" y="3343"/>
                    <a:pt x="3600" y="3086"/>
                    <a:pt x="2800" y="2571"/>
                  </a:cubicBezTo>
                  <a:cubicBezTo>
                    <a:pt x="2800" y="2314"/>
                    <a:pt x="2000" y="1800"/>
                    <a:pt x="1600" y="1800"/>
                  </a:cubicBezTo>
                  <a:cubicBezTo>
                    <a:pt x="1200" y="1800"/>
                    <a:pt x="400" y="2314"/>
                    <a:pt x="0" y="2314"/>
                  </a:cubicBezTo>
                  <a:cubicBezTo>
                    <a:pt x="800" y="2829"/>
                    <a:pt x="2000" y="3343"/>
                    <a:pt x="3200" y="3600"/>
                  </a:cubicBezTo>
                  <a:cubicBezTo>
                    <a:pt x="3600" y="3600"/>
                    <a:pt x="4400" y="3857"/>
                    <a:pt x="4800" y="4114"/>
                  </a:cubicBezTo>
                  <a:cubicBezTo>
                    <a:pt x="5200" y="4371"/>
                    <a:pt x="5200" y="4629"/>
                    <a:pt x="5600" y="4886"/>
                  </a:cubicBezTo>
                  <a:cubicBezTo>
                    <a:pt x="5600" y="5143"/>
                    <a:pt x="5200" y="5143"/>
                    <a:pt x="5600" y="5400"/>
                  </a:cubicBezTo>
                  <a:cubicBezTo>
                    <a:pt x="5600" y="5657"/>
                    <a:pt x="6400" y="5914"/>
                    <a:pt x="6000" y="6171"/>
                  </a:cubicBezTo>
                  <a:cubicBezTo>
                    <a:pt x="6000" y="6429"/>
                    <a:pt x="5600" y="6686"/>
                    <a:pt x="6000" y="6943"/>
                  </a:cubicBezTo>
                  <a:cubicBezTo>
                    <a:pt x="6000" y="6943"/>
                    <a:pt x="6400" y="7457"/>
                    <a:pt x="6400" y="7457"/>
                  </a:cubicBezTo>
                  <a:cubicBezTo>
                    <a:pt x="6000" y="7714"/>
                    <a:pt x="6000" y="8229"/>
                    <a:pt x="6000" y="8486"/>
                  </a:cubicBezTo>
                  <a:cubicBezTo>
                    <a:pt x="6000" y="8486"/>
                    <a:pt x="6800" y="9257"/>
                    <a:pt x="6800" y="9257"/>
                  </a:cubicBezTo>
                  <a:cubicBezTo>
                    <a:pt x="7200" y="9514"/>
                    <a:pt x="8000" y="9771"/>
                    <a:pt x="8400" y="9771"/>
                  </a:cubicBezTo>
                  <a:cubicBezTo>
                    <a:pt x="8800" y="10029"/>
                    <a:pt x="8800" y="10286"/>
                    <a:pt x="8800" y="10543"/>
                  </a:cubicBezTo>
                  <a:cubicBezTo>
                    <a:pt x="8800" y="10800"/>
                    <a:pt x="9200" y="11057"/>
                    <a:pt x="9200" y="11314"/>
                  </a:cubicBezTo>
                  <a:cubicBezTo>
                    <a:pt x="9200" y="11571"/>
                    <a:pt x="8400" y="11314"/>
                    <a:pt x="8000" y="11314"/>
                  </a:cubicBezTo>
                  <a:cubicBezTo>
                    <a:pt x="7600" y="11314"/>
                    <a:pt x="6400" y="12343"/>
                    <a:pt x="6400" y="12600"/>
                  </a:cubicBezTo>
                  <a:cubicBezTo>
                    <a:pt x="6000" y="12857"/>
                    <a:pt x="5600" y="12857"/>
                    <a:pt x="5200" y="13114"/>
                  </a:cubicBezTo>
                  <a:cubicBezTo>
                    <a:pt x="4800" y="13371"/>
                    <a:pt x="4400" y="13629"/>
                    <a:pt x="4000" y="13886"/>
                  </a:cubicBezTo>
                  <a:cubicBezTo>
                    <a:pt x="3600" y="13886"/>
                    <a:pt x="1600" y="14914"/>
                    <a:pt x="1600" y="14657"/>
                  </a:cubicBezTo>
                  <a:cubicBezTo>
                    <a:pt x="1600" y="15171"/>
                    <a:pt x="800" y="15429"/>
                    <a:pt x="800" y="15943"/>
                  </a:cubicBezTo>
                  <a:cubicBezTo>
                    <a:pt x="1200" y="16457"/>
                    <a:pt x="800" y="17229"/>
                    <a:pt x="1600" y="17229"/>
                  </a:cubicBezTo>
                  <a:cubicBezTo>
                    <a:pt x="2000" y="17229"/>
                    <a:pt x="1600" y="18514"/>
                    <a:pt x="1600" y="18771"/>
                  </a:cubicBezTo>
                  <a:cubicBezTo>
                    <a:pt x="1600" y="19286"/>
                    <a:pt x="800" y="19800"/>
                    <a:pt x="1600" y="20057"/>
                  </a:cubicBezTo>
                  <a:cubicBezTo>
                    <a:pt x="1600" y="20057"/>
                    <a:pt x="3200" y="20314"/>
                    <a:pt x="2800" y="20571"/>
                  </a:cubicBezTo>
                  <a:cubicBezTo>
                    <a:pt x="2800" y="20571"/>
                    <a:pt x="2000" y="20829"/>
                    <a:pt x="2000" y="20829"/>
                  </a:cubicBezTo>
                  <a:cubicBezTo>
                    <a:pt x="2800" y="20829"/>
                    <a:pt x="2800" y="20314"/>
                    <a:pt x="3200" y="20314"/>
                  </a:cubicBezTo>
                  <a:cubicBezTo>
                    <a:pt x="4000" y="20057"/>
                    <a:pt x="3200" y="21343"/>
                    <a:pt x="3200" y="21343"/>
                  </a:cubicBezTo>
                  <a:cubicBezTo>
                    <a:pt x="3200" y="21343"/>
                    <a:pt x="4400" y="20571"/>
                    <a:pt x="4400" y="20571"/>
                  </a:cubicBezTo>
                  <a:cubicBezTo>
                    <a:pt x="4800" y="20314"/>
                    <a:pt x="4400" y="21343"/>
                    <a:pt x="4400" y="21343"/>
                  </a:cubicBezTo>
                  <a:cubicBezTo>
                    <a:pt x="5600" y="21600"/>
                    <a:pt x="8000" y="20829"/>
                    <a:pt x="9200" y="20571"/>
                  </a:cubicBezTo>
                  <a:cubicBezTo>
                    <a:pt x="10800" y="20314"/>
                    <a:pt x="12400" y="20314"/>
                    <a:pt x="14400" y="20057"/>
                  </a:cubicBezTo>
                  <a:cubicBezTo>
                    <a:pt x="15600" y="19029"/>
                    <a:pt x="17200" y="18257"/>
                    <a:pt x="18400" y="17486"/>
                  </a:cubicBezTo>
                  <a:cubicBezTo>
                    <a:pt x="19200" y="16971"/>
                    <a:pt x="21600" y="15943"/>
                    <a:pt x="21200" y="15171"/>
                  </a:cubicBezTo>
                  <a:cubicBezTo>
                    <a:pt x="20800" y="14657"/>
                    <a:pt x="21600" y="15943"/>
                    <a:pt x="21200" y="15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1" name="Shape 2140">
              <a:extLst>
                <a:ext uri="{FF2B5EF4-FFF2-40B4-BE49-F238E27FC236}">
                  <a16:creationId xmlns:a16="http://schemas.microsoft.com/office/drawing/2014/main" id="{A3FDE19C-751C-1E54-9381-D3CDDFC81B36}"/>
                </a:ext>
              </a:extLst>
            </p:cNvPr>
            <p:cNvSpPr/>
            <p:nvPr/>
          </p:nvSpPr>
          <p:spPr>
            <a:xfrm>
              <a:off x="5684901" y="882828"/>
              <a:ext cx="833863" cy="702008"/>
            </a:xfrm>
            <a:custGeom>
              <a:avLst/>
              <a:gdLst/>
              <a:ahLst/>
              <a:cxnLst>
                <a:cxn ang="0">
                  <a:pos x="wd2" y="hd2"/>
                </a:cxn>
                <a:cxn ang="5400000">
                  <a:pos x="wd2" y="hd2"/>
                </a:cxn>
                <a:cxn ang="10800000">
                  <a:pos x="wd2" y="hd2"/>
                </a:cxn>
                <a:cxn ang="16200000">
                  <a:pos x="wd2" y="hd2"/>
                </a:cxn>
              </a:cxnLst>
              <a:rect l="0" t="0" r="r" b="b"/>
              <a:pathLst>
                <a:path w="21371" h="21482" extrusionOk="0">
                  <a:moveTo>
                    <a:pt x="5643" y="20271"/>
                  </a:moveTo>
                  <a:cubicBezTo>
                    <a:pt x="5643" y="20271"/>
                    <a:pt x="5812" y="19665"/>
                    <a:pt x="5812" y="19463"/>
                  </a:cubicBezTo>
                  <a:cubicBezTo>
                    <a:pt x="5812" y="19060"/>
                    <a:pt x="5981" y="18858"/>
                    <a:pt x="6318" y="18656"/>
                  </a:cubicBezTo>
                  <a:cubicBezTo>
                    <a:pt x="6656" y="18252"/>
                    <a:pt x="6318" y="17646"/>
                    <a:pt x="6318" y="17445"/>
                  </a:cubicBezTo>
                  <a:cubicBezTo>
                    <a:pt x="6318" y="16839"/>
                    <a:pt x="6993" y="16839"/>
                    <a:pt x="6487" y="16435"/>
                  </a:cubicBezTo>
                  <a:cubicBezTo>
                    <a:pt x="6150" y="16032"/>
                    <a:pt x="5981" y="16032"/>
                    <a:pt x="6150" y="15426"/>
                  </a:cubicBezTo>
                  <a:cubicBezTo>
                    <a:pt x="6318" y="15022"/>
                    <a:pt x="6150" y="14618"/>
                    <a:pt x="6150" y="14215"/>
                  </a:cubicBezTo>
                  <a:cubicBezTo>
                    <a:pt x="5981" y="13609"/>
                    <a:pt x="5812" y="13003"/>
                    <a:pt x="6318" y="12600"/>
                  </a:cubicBezTo>
                  <a:cubicBezTo>
                    <a:pt x="6487" y="12398"/>
                    <a:pt x="6825" y="12398"/>
                    <a:pt x="6993" y="12196"/>
                  </a:cubicBezTo>
                  <a:cubicBezTo>
                    <a:pt x="7162" y="12196"/>
                    <a:pt x="7331" y="12398"/>
                    <a:pt x="7500" y="12196"/>
                  </a:cubicBezTo>
                  <a:cubicBezTo>
                    <a:pt x="7668" y="11792"/>
                    <a:pt x="7500" y="11590"/>
                    <a:pt x="7331" y="11389"/>
                  </a:cubicBezTo>
                  <a:cubicBezTo>
                    <a:pt x="7331" y="10985"/>
                    <a:pt x="7668" y="10783"/>
                    <a:pt x="7837" y="10379"/>
                  </a:cubicBezTo>
                  <a:cubicBezTo>
                    <a:pt x="7837" y="10177"/>
                    <a:pt x="8006" y="9572"/>
                    <a:pt x="8006" y="9168"/>
                  </a:cubicBezTo>
                  <a:cubicBezTo>
                    <a:pt x="8006" y="8764"/>
                    <a:pt x="8681" y="8764"/>
                    <a:pt x="8512" y="8562"/>
                  </a:cubicBezTo>
                  <a:cubicBezTo>
                    <a:pt x="8512" y="8159"/>
                    <a:pt x="8850" y="7957"/>
                    <a:pt x="9018" y="7553"/>
                  </a:cubicBezTo>
                  <a:cubicBezTo>
                    <a:pt x="9356" y="7149"/>
                    <a:pt x="9356" y="7351"/>
                    <a:pt x="9356" y="6746"/>
                  </a:cubicBezTo>
                  <a:cubicBezTo>
                    <a:pt x="9187" y="6544"/>
                    <a:pt x="9862" y="5534"/>
                    <a:pt x="10031" y="5534"/>
                  </a:cubicBezTo>
                  <a:cubicBezTo>
                    <a:pt x="10200" y="5332"/>
                    <a:pt x="10706" y="5534"/>
                    <a:pt x="10875" y="5534"/>
                  </a:cubicBezTo>
                  <a:cubicBezTo>
                    <a:pt x="10875" y="5131"/>
                    <a:pt x="10875" y="4929"/>
                    <a:pt x="10875" y="4525"/>
                  </a:cubicBezTo>
                  <a:cubicBezTo>
                    <a:pt x="11381" y="4727"/>
                    <a:pt x="11718" y="4727"/>
                    <a:pt x="12056" y="4929"/>
                  </a:cubicBezTo>
                  <a:cubicBezTo>
                    <a:pt x="12731" y="4929"/>
                    <a:pt x="12393" y="4121"/>
                    <a:pt x="12562" y="3718"/>
                  </a:cubicBezTo>
                  <a:cubicBezTo>
                    <a:pt x="12562" y="3718"/>
                    <a:pt x="12900" y="3718"/>
                    <a:pt x="13069" y="3718"/>
                  </a:cubicBezTo>
                  <a:cubicBezTo>
                    <a:pt x="13237" y="3516"/>
                    <a:pt x="13575" y="3112"/>
                    <a:pt x="13743" y="3516"/>
                  </a:cubicBezTo>
                  <a:cubicBezTo>
                    <a:pt x="14081" y="3718"/>
                    <a:pt x="14081" y="4121"/>
                    <a:pt x="14418" y="4323"/>
                  </a:cubicBezTo>
                  <a:cubicBezTo>
                    <a:pt x="14587" y="4323"/>
                    <a:pt x="14925" y="4323"/>
                    <a:pt x="15093" y="4323"/>
                  </a:cubicBezTo>
                  <a:cubicBezTo>
                    <a:pt x="15262" y="4323"/>
                    <a:pt x="15431" y="4121"/>
                    <a:pt x="15768" y="4121"/>
                  </a:cubicBezTo>
                  <a:cubicBezTo>
                    <a:pt x="15937" y="4121"/>
                    <a:pt x="16106" y="4525"/>
                    <a:pt x="16443" y="4525"/>
                  </a:cubicBezTo>
                  <a:cubicBezTo>
                    <a:pt x="16443" y="4323"/>
                    <a:pt x="17118" y="3919"/>
                    <a:pt x="17118" y="3919"/>
                  </a:cubicBezTo>
                  <a:cubicBezTo>
                    <a:pt x="17118" y="3314"/>
                    <a:pt x="17118" y="3112"/>
                    <a:pt x="17287" y="2708"/>
                  </a:cubicBezTo>
                  <a:cubicBezTo>
                    <a:pt x="17456" y="2506"/>
                    <a:pt x="17793" y="2103"/>
                    <a:pt x="17962" y="2103"/>
                  </a:cubicBezTo>
                  <a:cubicBezTo>
                    <a:pt x="18131" y="2103"/>
                    <a:pt x="18300" y="2103"/>
                    <a:pt x="18468" y="2103"/>
                  </a:cubicBezTo>
                  <a:cubicBezTo>
                    <a:pt x="18637" y="2103"/>
                    <a:pt x="18637" y="1901"/>
                    <a:pt x="18806" y="1901"/>
                  </a:cubicBezTo>
                  <a:cubicBezTo>
                    <a:pt x="18975" y="1901"/>
                    <a:pt x="19312" y="2304"/>
                    <a:pt x="19481" y="2304"/>
                  </a:cubicBezTo>
                  <a:cubicBezTo>
                    <a:pt x="19818" y="2506"/>
                    <a:pt x="19987" y="2708"/>
                    <a:pt x="19987" y="3314"/>
                  </a:cubicBezTo>
                  <a:cubicBezTo>
                    <a:pt x="20325" y="3314"/>
                    <a:pt x="21169" y="2708"/>
                    <a:pt x="20831" y="2304"/>
                  </a:cubicBezTo>
                  <a:cubicBezTo>
                    <a:pt x="21169" y="2506"/>
                    <a:pt x="20325" y="2506"/>
                    <a:pt x="20156" y="2506"/>
                  </a:cubicBezTo>
                  <a:cubicBezTo>
                    <a:pt x="21000" y="2304"/>
                    <a:pt x="19818" y="1699"/>
                    <a:pt x="19650" y="1901"/>
                  </a:cubicBezTo>
                  <a:cubicBezTo>
                    <a:pt x="19818" y="1699"/>
                    <a:pt x="19987" y="1901"/>
                    <a:pt x="19987" y="1901"/>
                  </a:cubicBezTo>
                  <a:cubicBezTo>
                    <a:pt x="20325" y="1901"/>
                    <a:pt x="20662" y="1901"/>
                    <a:pt x="20831" y="1699"/>
                  </a:cubicBezTo>
                  <a:cubicBezTo>
                    <a:pt x="21000" y="1699"/>
                    <a:pt x="21506" y="1295"/>
                    <a:pt x="21337" y="1093"/>
                  </a:cubicBezTo>
                  <a:cubicBezTo>
                    <a:pt x="21000" y="891"/>
                    <a:pt x="20494" y="689"/>
                    <a:pt x="19987" y="488"/>
                  </a:cubicBezTo>
                  <a:cubicBezTo>
                    <a:pt x="19818" y="286"/>
                    <a:pt x="19650" y="689"/>
                    <a:pt x="19481" y="891"/>
                  </a:cubicBezTo>
                  <a:cubicBezTo>
                    <a:pt x="19481" y="891"/>
                    <a:pt x="19143" y="1497"/>
                    <a:pt x="19143" y="1295"/>
                  </a:cubicBezTo>
                  <a:cubicBezTo>
                    <a:pt x="19143" y="1295"/>
                    <a:pt x="19143" y="1093"/>
                    <a:pt x="19143" y="891"/>
                  </a:cubicBezTo>
                  <a:cubicBezTo>
                    <a:pt x="19143" y="891"/>
                    <a:pt x="18806" y="891"/>
                    <a:pt x="18806" y="891"/>
                  </a:cubicBezTo>
                  <a:cubicBezTo>
                    <a:pt x="18975" y="689"/>
                    <a:pt x="19312" y="891"/>
                    <a:pt x="19312" y="689"/>
                  </a:cubicBezTo>
                  <a:cubicBezTo>
                    <a:pt x="19312" y="689"/>
                    <a:pt x="18806" y="689"/>
                    <a:pt x="18806" y="689"/>
                  </a:cubicBezTo>
                  <a:cubicBezTo>
                    <a:pt x="18806" y="488"/>
                    <a:pt x="19481" y="488"/>
                    <a:pt x="19481" y="286"/>
                  </a:cubicBezTo>
                  <a:cubicBezTo>
                    <a:pt x="19312" y="84"/>
                    <a:pt x="18300" y="-118"/>
                    <a:pt x="18468" y="286"/>
                  </a:cubicBezTo>
                  <a:cubicBezTo>
                    <a:pt x="18637" y="488"/>
                    <a:pt x="18637" y="488"/>
                    <a:pt x="18468" y="689"/>
                  </a:cubicBezTo>
                  <a:cubicBezTo>
                    <a:pt x="18300" y="891"/>
                    <a:pt x="17962" y="1295"/>
                    <a:pt x="17793" y="1295"/>
                  </a:cubicBezTo>
                  <a:cubicBezTo>
                    <a:pt x="17625" y="1295"/>
                    <a:pt x="17793" y="488"/>
                    <a:pt x="17793" y="488"/>
                  </a:cubicBezTo>
                  <a:cubicBezTo>
                    <a:pt x="17793" y="286"/>
                    <a:pt x="16950" y="1699"/>
                    <a:pt x="16781" y="1699"/>
                  </a:cubicBezTo>
                  <a:cubicBezTo>
                    <a:pt x="16275" y="1699"/>
                    <a:pt x="16781" y="891"/>
                    <a:pt x="16950" y="689"/>
                  </a:cubicBezTo>
                  <a:cubicBezTo>
                    <a:pt x="17118" y="689"/>
                    <a:pt x="17287" y="286"/>
                    <a:pt x="17287" y="286"/>
                  </a:cubicBezTo>
                  <a:cubicBezTo>
                    <a:pt x="17118" y="84"/>
                    <a:pt x="16781" y="-118"/>
                    <a:pt x="16781" y="84"/>
                  </a:cubicBezTo>
                  <a:cubicBezTo>
                    <a:pt x="16781" y="84"/>
                    <a:pt x="16950" y="286"/>
                    <a:pt x="16950" y="286"/>
                  </a:cubicBezTo>
                  <a:cubicBezTo>
                    <a:pt x="16950" y="286"/>
                    <a:pt x="16612" y="286"/>
                    <a:pt x="16443" y="286"/>
                  </a:cubicBezTo>
                  <a:cubicBezTo>
                    <a:pt x="16275" y="488"/>
                    <a:pt x="16443" y="286"/>
                    <a:pt x="16275" y="84"/>
                  </a:cubicBezTo>
                  <a:cubicBezTo>
                    <a:pt x="16275" y="84"/>
                    <a:pt x="15937" y="488"/>
                    <a:pt x="15937" y="488"/>
                  </a:cubicBezTo>
                  <a:cubicBezTo>
                    <a:pt x="15937" y="689"/>
                    <a:pt x="16275" y="891"/>
                    <a:pt x="16106" y="891"/>
                  </a:cubicBezTo>
                  <a:cubicBezTo>
                    <a:pt x="15937" y="891"/>
                    <a:pt x="15937" y="891"/>
                    <a:pt x="15937" y="891"/>
                  </a:cubicBezTo>
                  <a:cubicBezTo>
                    <a:pt x="15768" y="891"/>
                    <a:pt x="15768" y="1093"/>
                    <a:pt x="15768" y="1295"/>
                  </a:cubicBezTo>
                  <a:cubicBezTo>
                    <a:pt x="15937" y="891"/>
                    <a:pt x="15262" y="1093"/>
                    <a:pt x="15262" y="1093"/>
                  </a:cubicBezTo>
                  <a:cubicBezTo>
                    <a:pt x="15262" y="1093"/>
                    <a:pt x="15600" y="891"/>
                    <a:pt x="15600" y="689"/>
                  </a:cubicBezTo>
                  <a:cubicBezTo>
                    <a:pt x="15600" y="891"/>
                    <a:pt x="14925" y="1093"/>
                    <a:pt x="14756" y="1093"/>
                  </a:cubicBezTo>
                  <a:cubicBezTo>
                    <a:pt x="14587" y="1093"/>
                    <a:pt x="15262" y="1699"/>
                    <a:pt x="15262" y="1699"/>
                  </a:cubicBezTo>
                  <a:cubicBezTo>
                    <a:pt x="15262" y="1699"/>
                    <a:pt x="15093" y="2103"/>
                    <a:pt x="15093" y="2103"/>
                  </a:cubicBezTo>
                  <a:cubicBezTo>
                    <a:pt x="15093" y="2103"/>
                    <a:pt x="14587" y="1497"/>
                    <a:pt x="14587" y="1497"/>
                  </a:cubicBezTo>
                  <a:cubicBezTo>
                    <a:pt x="14587" y="1497"/>
                    <a:pt x="14250" y="2103"/>
                    <a:pt x="14250" y="1497"/>
                  </a:cubicBezTo>
                  <a:cubicBezTo>
                    <a:pt x="14081" y="1295"/>
                    <a:pt x="13575" y="1699"/>
                    <a:pt x="13406" y="1497"/>
                  </a:cubicBezTo>
                  <a:cubicBezTo>
                    <a:pt x="13575" y="1699"/>
                    <a:pt x="14081" y="1699"/>
                    <a:pt x="14081" y="1901"/>
                  </a:cubicBezTo>
                  <a:cubicBezTo>
                    <a:pt x="14081" y="1901"/>
                    <a:pt x="13912" y="1901"/>
                    <a:pt x="13912" y="2103"/>
                  </a:cubicBezTo>
                  <a:cubicBezTo>
                    <a:pt x="13912" y="2304"/>
                    <a:pt x="14081" y="2304"/>
                    <a:pt x="14081" y="2506"/>
                  </a:cubicBezTo>
                  <a:cubicBezTo>
                    <a:pt x="14081" y="2506"/>
                    <a:pt x="13575" y="2304"/>
                    <a:pt x="13575" y="2103"/>
                  </a:cubicBezTo>
                  <a:cubicBezTo>
                    <a:pt x="13406" y="2103"/>
                    <a:pt x="13406" y="2304"/>
                    <a:pt x="13406" y="2506"/>
                  </a:cubicBezTo>
                  <a:cubicBezTo>
                    <a:pt x="13237" y="2506"/>
                    <a:pt x="13237" y="2304"/>
                    <a:pt x="13237" y="2103"/>
                  </a:cubicBezTo>
                  <a:cubicBezTo>
                    <a:pt x="13237" y="2103"/>
                    <a:pt x="12900" y="2506"/>
                    <a:pt x="12900" y="2506"/>
                  </a:cubicBezTo>
                  <a:cubicBezTo>
                    <a:pt x="12731" y="2708"/>
                    <a:pt x="13069" y="2708"/>
                    <a:pt x="13069" y="2910"/>
                  </a:cubicBezTo>
                  <a:cubicBezTo>
                    <a:pt x="13069" y="2910"/>
                    <a:pt x="12731" y="2910"/>
                    <a:pt x="12731" y="2910"/>
                  </a:cubicBezTo>
                  <a:cubicBezTo>
                    <a:pt x="12562" y="2708"/>
                    <a:pt x="12731" y="2506"/>
                    <a:pt x="12731" y="2304"/>
                  </a:cubicBezTo>
                  <a:cubicBezTo>
                    <a:pt x="12731" y="2304"/>
                    <a:pt x="12225" y="2708"/>
                    <a:pt x="12225" y="2708"/>
                  </a:cubicBezTo>
                  <a:cubicBezTo>
                    <a:pt x="12225" y="2708"/>
                    <a:pt x="12225" y="2708"/>
                    <a:pt x="12393" y="2708"/>
                  </a:cubicBezTo>
                  <a:cubicBezTo>
                    <a:pt x="12225" y="2708"/>
                    <a:pt x="12056" y="3112"/>
                    <a:pt x="12056" y="3112"/>
                  </a:cubicBezTo>
                  <a:cubicBezTo>
                    <a:pt x="11887" y="2910"/>
                    <a:pt x="12225" y="2708"/>
                    <a:pt x="12056" y="2708"/>
                  </a:cubicBezTo>
                  <a:cubicBezTo>
                    <a:pt x="11887" y="2506"/>
                    <a:pt x="11718" y="2506"/>
                    <a:pt x="11718" y="2304"/>
                  </a:cubicBezTo>
                  <a:cubicBezTo>
                    <a:pt x="11718" y="2304"/>
                    <a:pt x="12056" y="2304"/>
                    <a:pt x="12056" y="2304"/>
                  </a:cubicBezTo>
                  <a:cubicBezTo>
                    <a:pt x="12056" y="2103"/>
                    <a:pt x="11550" y="1901"/>
                    <a:pt x="11381" y="1901"/>
                  </a:cubicBezTo>
                  <a:cubicBezTo>
                    <a:pt x="11381" y="2103"/>
                    <a:pt x="11550" y="2506"/>
                    <a:pt x="11550" y="2506"/>
                  </a:cubicBezTo>
                  <a:cubicBezTo>
                    <a:pt x="11550" y="2506"/>
                    <a:pt x="10875" y="2708"/>
                    <a:pt x="11044" y="2708"/>
                  </a:cubicBezTo>
                  <a:cubicBezTo>
                    <a:pt x="11044" y="2708"/>
                    <a:pt x="11381" y="2708"/>
                    <a:pt x="11381" y="2708"/>
                  </a:cubicBezTo>
                  <a:cubicBezTo>
                    <a:pt x="11381" y="2708"/>
                    <a:pt x="11212" y="2708"/>
                    <a:pt x="11212" y="2708"/>
                  </a:cubicBezTo>
                  <a:cubicBezTo>
                    <a:pt x="11381" y="3112"/>
                    <a:pt x="11718" y="2708"/>
                    <a:pt x="11550" y="2708"/>
                  </a:cubicBezTo>
                  <a:cubicBezTo>
                    <a:pt x="11718" y="2910"/>
                    <a:pt x="11550" y="3112"/>
                    <a:pt x="11550" y="3112"/>
                  </a:cubicBezTo>
                  <a:cubicBezTo>
                    <a:pt x="11550" y="3314"/>
                    <a:pt x="11212" y="2910"/>
                    <a:pt x="11212" y="2910"/>
                  </a:cubicBezTo>
                  <a:cubicBezTo>
                    <a:pt x="11044" y="2910"/>
                    <a:pt x="11044" y="2708"/>
                    <a:pt x="10875" y="2708"/>
                  </a:cubicBezTo>
                  <a:cubicBezTo>
                    <a:pt x="10875" y="2708"/>
                    <a:pt x="10706" y="3112"/>
                    <a:pt x="10537" y="2910"/>
                  </a:cubicBezTo>
                  <a:cubicBezTo>
                    <a:pt x="10537" y="2708"/>
                    <a:pt x="10031" y="3112"/>
                    <a:pt x="10031" y="3112"/>
                  </a:cubicBezTo>
                  <a:cubicBezTo>
                    <a:pt x="10031" y="3112"/>
                    <a:pt x="10031" y="3718"/>
                    <a:pt x="10031" y="3718"/>
                  </a:cubicBezTo>
                  <a:cubicBezTo>
                    <a:pt x="10031" y="3919"/>
                    <a:pt x="10200" y="3314"/>
                    <a:pt x="10368" y="3516"/>
                  </a:cubicBezTo>
                  <a:cubicBezTo>
                    <a:pt x="10368" y="3516"/>
                    <a:pt x="10706" y="3718"/>
                    <a:pt x="10706" y="3516"/>
                  </a:cubicBezTo>
                  <a:cubicBezTo>
                    <a:pt x="10706" y="3718"/>
                    <a:pt x="10537" y="3718"/>
                    <a:pt x="10537" y="3919"/>
                  </a:cubicBezTo>
                  <a:cubicBezTo>
                    <a:pt x="10368" y="3919"/>
                    <a:pt x="10537" y="4323"/>
                    <a:pt x="10368" y="4323"/>
                  </a:cubicBezTo>
                  <a:cubicBezTo>
                    <a:pt x="10368" y="4525"/>
                    <a:pt x="10200" y="4121"/>
                    <a:pt x="10200" y="4121"/>
                  </a:cubicBezTo>
                  <a:cubicBezTo>
                    <a:pt x="10031" y="4121"/>
                    <a:pt x="10031" y="4525"/>
                    <a:pt x="9862" y="4525"/>
                  </a:cubicBezTo>
                  <a:cubicBezTo>
                    <a:pt x="9862" y="4525"/>
                    <a:pt x="9862" y="4121"/>
                    <a:pt x="9862" y="4121"/>
                  </a:cubicBezTo>
                  <a:cubicBezTo>
                    <a:pt x="9693" y="4121"/>
                    <a:pt x="9693" y="4323"/>
                    <a:pt x="9525" y="4323"/>
                  </a:cubicBezTo>
                  <a:cubicBezTo>
                    <a:pt x="9525" y="4323"/>
                    <a:pt x="9525" y="3919"/>
                    <a:pt x="9525" y="3919"/>
                  </a:cubicBezTo>
                  <a:cubicBezTo>
                    <a:pt x="9525" y="3718"/>
                    <a:pt x="9356" y="4323"/>
                    <a:pt x="9187" y="4323"/>
                  </a:cubicBezTo>
                  <a:cubicBezTo>
                    <a:pt x="8850" y="4525"/>
                    <a:pt x="9356" y="3314"/>
                    <a:pt x="9356" y="3314"/>
                  </a:cubicBezTo>
                  <a:cubicBezTo>
                    <a:pt x="9187" y="3314"/>
                    <a:pt x="8850" y="3516"/>
                    <a:pt x="8850" y="3516"/>
                  </a:cubicBezTo>
                  <a:cubicBezTo>
                    <a:pt x="8681" y="3718"/>
                    <a:pt x="9018" y="3919"/>
                    <a:pt x="9018" y="3919"/>
                  </a:cubicBezTo>
                  <a:cubicBezTo>
                    <a:pt x="8850" y="3919"/>
                    <a:pt x="8850" y="3919"/>
                    <a:pt x="8681" y="3919"/>
                  </a:cubicBezTo>
                  <a:cubicBezTo>
                    <a:pt x="8681" y="3919"/>
                    <a:pt x="8681" y="4121"/>
                    <a:pt x="8512" y="4323"/>
                  </a:cubicBezTo>
                  <a:cubicBezTo>
                    <a:pt x="8681" y="4121"/>
                    <a:pt x="7837" y="4121"/>
                    <a:pt x="8175" y="4323"/>
                  </a:cubicBezTo>
                  <a:cubicBezTo>
                    <a:pt x="8175" y="4525"/>
                    <a:pt x="8512" y="4323"/>
                    <a:pt x="8512" y="4323"/>
                  </a:cubicBezTo>
                  <a:cubicBezTo>
                    <a:pt x="8512" y="4323"/>
                    <a:pt x="8343" y="4525"/>
                    <a:pt x="8512" y="4525"/>
                  </a:cubicBezTo>
                  <a:cubicBezTo>
                    <a:pt x="8512" y="4525"/>
                    <a:pt x="8681" y="4525"/>
                    <a:pt x="8681" y="4323"/>
                  </a:cubicBezTo>
                  <a:cubicBezTo>
                    <a:pt x="8681" y="4323"/>
                    <a:pt x="8681" y="4727"/>
                    <a:pt x="8512" y="4727"/>
                  </a:cubicBezTo>
                  <a:cubicBezTo>
                    <a:pt x="8343" y="4727"/>
                    <a:pt x="8343" y="4525"/>
                    <a:pt x="8175" y="4525"/>
                  </a:cubicBezTo>
                  <a:cubicBezTo>
                    <a:pt x="8006" y="4727"/>
                    <a:pt x="8006" y="5131"/>
                    <a:pt x="7837" y="5131"/>
                  </a:cubicBezTo>
                  <a:cubicBezTo>
                    <a:pt x="7837" y="5131"/>
                    <a:pt x="7331" y="5131"/>
                    <a:pt x="7331" y="5131"/>
                  </a:cubicBezTo>
                  <a:cubicBezTo>
                    <a:pt x="7331" y="5736"/>
                    <a:pt x="8512" y="4929"/>
                    <a:pt x="8512" y="4929"/>
                  </a:cubicBezTo>
                  <a:cubicBezTo>
                    <a:pt x="8681" y="4929"/>
                    <a:pt x="8850" y="4727"/>
                    <a:pt x="9018" y="4929"/>
                  </a:cubicBezTo>
                  <a:cubicBezTo>
                    <a:pt x="9356" y="4929"/>
                    <a:pt x="9187" y="4525"/>
                    <a:pt x="9018" y="4525"/>
                  </a:cubicBezTo>
                  <a:cubicBezTo>
                    <a:pt x="9187" y="4525"/>
                    <a:pt x="9187" y="4525"/>
                    <a:pt x="9187" y="4525"/>
                  </a:cubicBezTo>
                  <a:cubicBezTo>
                    <a:pt x="9356" y="4929"/>
                    <a:pt x="9525" y="4525"/>
                    <a:pt x="9693" y="4525"/>
                  </a:cubicBezTo>
                  <a:cubicBezTo>
                    <a:pt x="9525" y="4525"/>
                    <a:pt x="9525" y="4929"/>
                    <a:pt x="9356" y="4929"/>
                  </a:cubicBezTo>
                  <a:cubicBezTo>
                    <a:pt x="9525" y="4929"/>
                    <a:pt x="9693" y="4929"/>
                    <a:pt x="9693" y="4929"/>
                  </a:cubicBezTo>
                  <a:cubicBezTo>
                    <a:pt x="9693" y="4929"/>
                    <a:pt x="9356" y="5131"/>
                    <a:pt x="9356" y="5332"/>
                  </a:cubicBezTo>
                  <a:cubicBezTo>
                    <a:pt x="9356" y="5332"/>
                    <a:pt x="10200" y="4929"/>
                    <a:pt x="10200" y="5131"/>
                  </a:cubicBezTo>
                  <a:cubicBezTo>
                    <a:pt x="10031" y="5332"/>
                    <a:pt x="9525" y="5131"/>
                    <a:pt x="9525" y="5534"/>
                  </a:cubicBezTo>
                  <a:cubicBezTo>
                    <a:pt x="9356" y="6140"/>
                    <a:pt x="9018" y="5332"/>
                    <a:pt x="9018" y="5332"/>
                  </a:cubicBezTo>
                  <a:cubicBezTo>
                    <a:pt x="9018" y="5131"/>
                    <a:pt x="9018" y="5736"/>
                    <a:pt x="9018" y="5736"/>
                  </a:cubicBezTo>
                  <a:cubicBezTo>
                    <a:pt x="9018" y="5736"/>
                    <a:pt x="8850" y="5332"/>
                    <a:pt x="8681" y="5332"/>
                  </a:cubicBezTo>
                  <a:cubicBezTo>
                    <a:pt x="8512" y="5534"/>
                    <a:pt x="8175" y="5938"/>
                    <a:pt x="8175" y="6140"/>
                  </a:cubicBezTo>
                  <a:cubicBezTo>
                    <a:pt x="8175" y="6140"/>
                    <a:pt x="8512" y="5938"/>
                    <a:pt x="8512" y="5938"/>
                  </a:cubicBezTo>
                  <a:cubicBezTo>
                    <a:pt x="8512" y="6140"/>
                    <a:pt x="8850" y="5938"/>
                    <a:pt x="8850" y="6140"/>
                  </a:cubicBezTo>
                  <a:cubicBezTo>
                    <a:pt x="8850" y="5938"/>
                    <a:pt x="8343" y="6140"/>
                    <a:pt x="8343" y="6342"/>
                  </a:cubicBezTo>
                  <a:cubicBezTo>
                    <a:pt x="8512" y="6544"/>
                    <a:pt x="9018" y="6140"/>
                    <a:pt x="8850" y="6544"/>
                  </a:cubicBezTo>
                  <a:cubicBezTo>
                    <a:pt x="9018" y="6140"/>
                    <a:pt x="7837" y="6746"/>
                    <a:pt x="7837" y="6746"/>
                  </a:cubicBezTo>
                  <a:cubicBezTo>
                    <a:pt x="7837" y="6544"/>
                    <a:pt x="8850" y="6947"/>
                    <a:pt x="8681" y="6947"/>
                  </a:cubicBezTo>
                  <a:cubicBezTo>
                    <a:pt x="8512" y="7149"/>
                    <a:pt x="8343" y="6746"/>
                    <a:pt x="8175" y="6947"/>
                  </a:cubicBezTo>
                  <a:cubicBezTo>
                    <a:pt x="8175" y="6947"/>
                    <a:pt x="8175" y="6947"/>
                    <a:pt x="8175" y="6947"/>
                  </a:cubicBezTo>
                  <a:cubicBezTo>
                    <a:pt x="8175" y="7149"/>
                    <a:pt x="7668" y="6746"/>
                    <a:pt x="7500" y="7149"/>
                  </a:cubicBezTo>
                  <a:cubicBezTo>
                    <a:pt x="7500" y="7149"/>
                    <a:pt x="8006" y="7149"/>
                    <a:pt x="8006" y="7149"/>
                  </a:cubicBezTo>
                  <a:cubicBezTo>
                    <a:pt x="7668" y="7553"/>
                    <a:pt x="7331" y="7149"/>
                    <a:pt x="7500" y="7755"/>
                  </a:cubicBezTo>
                  <a:cubicBezTo>
                    <a:pt x="7500" y="7755"/>
                    <a:pt x="7162" y="7957"/>
                    <a:pt x="7162" y="7957"/>
                  </a:cubicBezTo>
                  <a:cubicBezTo>
                    <a:pt x="6993" y="8159"/>
                    <a:pt x="6993" y="8159"/>
                    <a:pt x="6993" y="8159"/>
                  </a:cubicBezTo>
                  <a:cubicBezTo>
                    <a:pt x="6993" y="8361"/>
                    <a:pt x="6825" y="8361"/>
                    <a:pt x="6825" y="8361"/>
                  </a:cubicBezTo>
                  <a:cubicBezTo>
                    <a:pt x="6825" y="8562"/>
                    <a:pt x="6993" y="8361"/>
                    <a:pt x="6993" y="8361"/>
                  </a:cubicBezTo>
                  <a:cubicBezTo>
                    <a:pt x="7162" y="8361"/>
                    <a:pt x="6993" y="8562"/>
                    <a:pt x="6993" y="8562"/>
                  </a:cubicBezTo>
                  <a:cubicBezTo>
                    <a:pt x="7162" y="8562"/>
                    <a:pt x="7500" y="8764"/>
                    <a:pt x="7668" y="8562"/>
                  </a:cubicBezTo>
                  <a:cubicBezTo>
                    <a:pt x="7331" y="8764"/>
                    <a:pt x="7331" y="8764"/>
                    <a:pt x="6993" y="8764"/>
                  </a:cubicBezTo>
                  <a:cubicBezTo>
                    <a:pt x="6825" y="8764"/>
                    <a:pt x="6318" y="8764"/>
                    <a:pt x="6318" y="8966"/>
                  </a:cubicBezTo>
                  <a:cubicBezTo>
                    <a:pt x="6318" y="8966"/>
                    <a:pt x="6487" y="8966"/>
                    <a:pt x="6487" y="8966"/>
                  </a:cubicBezTo>
                  <a:cubicBezTo>
                    <a:pt x="6487" y="8966"/>
                    <a:pt x="6318" y="9168"/>
                    <a:pt x="6318" y="9168"/>
                  </a:cubicBezTo>
                  <a:cubicBezTo>
                    <a:pt x="6318" y="9168"/>
                    <a:pt x="6656" y="8966"/>
                    <a:pt x="6656" y="9168"/>
                  </a:cubicBezTo>
                  <a:cubicBezTo>
                    <a:pt x="6656" y="9168"/>
                    <a:pt x="6318" y="9572"/>
                    <a:pt x="6318" y="9572"/>
                  </a:cubicBezTo>
                  <a:cubicBezTo>
                    <a:pt x="6318" y="9572"/>
                    <a:pt x="6487" y="9572"/>
                    <a:pt x="6487" y="9774"/>
                  </a:cubicBezTo>
                  <a:cubicBezTo>
                    <a:pt x="6487" y="9774"/>
                    <a:pt x="6150" y="9774"/>
                    <a:pt x="6150" y="9774"/>
                  </a:cubicBezTo>
                  <a:cubicBezTo>
                    <a:pt x="6150" y="9774"/>
                    <a:pt x="6487" y="9975"/>
                    <a:pt x="6487" y="9975"/>
                  </a:cubicBezTo>
                  <a:cubicBezTo>
                    <a:pt x="6318" y="9975"/>
                    <a:pt x="6150" y="9975"/>
                    <a:pt x="6150" y="9975"/>
                  </a:cubicBezTo>
                  <a:cubicBezTo>
                    <a:pt x="6150" y="10177"/>
                    <a:pt x="6318" y="10379"/>
                    <a:pt x="6487" y="10379"/>
                  </a:cubicBezTo>
                  <a:cubicBezTo>
                    <a:pt x="6150" y="10379"/>
                    <a:pt x="5812" y="10379"/>
                    <a:pt x="5643" y="10783"/>
                  </a:cubicBezTo>
                  <a:cubicBezTo>
                    <a:pt x="5643" y="10985"/>
                    <a:pt x="4969" y="10783"/>
                    <a:pt x="4969" y="10783"/>
                  </a:cubicBezTo>
                  <a:cubicBezTo>
                    <a:pt x="4969" y="11389"/>
                    <a:pt x="5981" y="10783"/>
                    <a:pt x="6150" y="10783"/>
                  </a:cubicBezTo>
                  <a:cubicBezTo>
                    <a:pt x="5981" y="10783"/>
                    <a:pt x="5812" y="11187"/>
                    <a:pt x="5812" y="11187"/>
                  </a:cubicBezTo>
                  <a:cubicBezTo>
                    <a:pt x="5306" y="11187"/>
                    <a:pt x="5643" y="11389"/>
                    <a:pt x="5475" y="11590"/>
                  </a:cubicBezTo>
                  <a:cubicBezTo>
                    <a:pt x="5306" y="11792"/>
                    <a:pt x="4969" y="11389"/>
                    <a:pt x="4800" y="11590"/>
                  </a:cubicBezTo>
                  <a:cubicBezTo>
                    <a:pt x="4800" y="11792"/>
                    <a:pt x="4293" y="12196"/>
                    <a:pt x="4293" y="12196"/>
                  </a:cubicBezTo>
                  <a:cubicBezTo>
                    <a:pt x="4293" y="12398"/>
                    <a:pt x="4462" y="12398"/>
                    <a:pt x="4462" y="12398"/>
                  </a:cubicBezTo>
                  <a:cubicBezTo>
                    <a:pt x="4462" y="12600"/>
                    <a:pt x="3956" y="12600"/>
                    <a:pt x="3956" y="12600"/>
                  </a:cubicBezTo>
                  <a:cubicBezTo>
                    <a:pt x="3956" y="12600"/>
                    <a:pt x="4125" y="12802"/>
                    <a:pt x="4125" y="13003"/>
                  </a:cubicBezTo>
                  <a:cubicBezTo>
                    <a:pt x="4125" y="13205"/>
                    <a:pt x="4462" y="13003"/>
                    <a:pt x="4631" y="13003"/>
                  </a:cubicBezTo>
                  <a:cubicBezTo>
                    <a:pt x="4800" y="12802"/>
                    <a:pt x="4969" y="13003"/>
                    <a:pt x="5137" y="12802"/>
                  </a:cubicBezTo>
                  <a:cubicBezTo>
                    <a:pt x="5137" y="12802"/>
                    <a:pt x="4969" y="12600"/>
                    <a:pt x="4969" y="12398"/>
                  </a:cubicBezTo>
                  <a:cubicBezTo>
                    <a:pt x="4969" y="12398"/>
                    <a:pt x="5306" y="12600"/>
                    <a:pt x="5475" y="12802"/>
                  </a:cubicBezTo>
                  <a:cubicBezTo>
                    <a:pt x="5475" y="12802"/>
                    <a:pt x="4969" y="13205"/>
                    <a:pt x="4969" y="13205"/>
                  </a:cubicBezTo>
                  <a:cubicBezTo>
                    <a:pt x="4800" y="13205"/>
                    <a:pt x="4631" y="13407"/>
                    <a:pt x="4631" y="13205"/>
                  </a:cubicBezTo>
                  <a:cubicBezTo>
                    <a:pt x="4462" y="13003"/>
                    <a:pt x="4293" y="13407"/>
                    <a:pt x="4125" y="13407"/>
                  </a:cubicBezTo>
                  <a:cubicBezTo>
                    <a:pt x="3956" y="13205"/>
                    <a:pt x="3956" y="12600"/>
                    <a:pt x="3787" y="13205"/>
                  </a:cubicBezTo>
                  <a:cubicBezTo>
                    <a:pt x="3450" y="14013"/>
                    <a:pt x="3281" y="13003"/>
                    <a:pt x="3450" y="13003"/>
                  </a:cubicBezTo>
                  <a:cubicBezTo>
                    <a:pt x="3112" y="13003"/>
                    <a:pt x="3450" y="13811"/>
                    <a:pt x="3112" y="13609"/>
                  </a:cubicBezTo>
                  <a:cubicBezTo>
                    <a:pt x="2437" y="13609"/>
                    <a:pt x="2943" y="14013"/>
                    <a:pt x="2775" y="14215"/>
                  </a:cubicBezTo>
                  <a:cubicBezTo>
                    <a:pt x="2606" y="14215"/>
                    <a:pt x="2606" y="13811"/>
                    <a:pt x="2606" y="13811"/>
                  </a:cubicBezTo>
                  <a:cubicBezTo>
                    <a:pt x="2268" y="13811"/>
                    <a:pt x="1931" y="14013"/>
                    <a:pt x="1762" y="14215"/>
                  </a:cubicBezTo>
                  <a:cubicBezTo>
                    <a:pt x="1762" y="14417"/>
                    <a:pt x="2437" y="14417"/>
                    <a:pt x="2606" y="14417"/>
                  </a:cubicBezTo>
                  <a:cubicBezTo>
                    <a:pt x="2606" y="14417"/>
                    <a:pt x="3112" y="14215"/>
                    <a:pt x="3112" y="14215"/>
                  </a:cubicBezTo>
                  <a:cubicBezTo>
                    <a:pt x="3281" y="14417"/>
                    <a:pt x="2437" y="14417"/>
                    <a:pt x="2437" y="14417"/>
                  </a:cubicBezTo>
                  <a:cubicBezTo>
                    <a:pt x="2268" y="14417"/>
                    <a:pt x="2268" y="14618"/>
                    <a:pt x="2100" y="14618"/>
                  </a:cubicBezTo>
                  <a:cubicBezTo>
                    <a:pt x="1931" y="14618"/>
                    <a:pt x="1762" y="14618"/>
                    <a:pt x="1593" y="14618"/>
                  </a:cubicBezTo>
                  <a:cubicBezTo>
                    <a:pt x="1256" y="14417"/>
                    <a:pt x="1087" y="14618"/>
                    <a:pt x="1425" y="14820"/>
                  </a:cubicBezTo>
                  <a:cubicBezTo>
                    <a:pt x="1593" y="14820"/>
                    <a:pt x="1931" y="14820"/>
                    <a:pt x="1931" y="15224"/>
                  </a:cubicBezTo>
                  <a:cubicBezTo>
                    <a:pt x="1931" y="15224"/>
                    <a:pt x="1762" y="15628"/>
                    <a:pt x="1762" y="15426"/>
                  </a:cubicBezTo>
                  <a:cubicBezTo>
                    <a:pt x="1593" y="15426"/>
                    <a:pt x="1931" y="15022"/>
                    <a:pt x="1593" y="14820"/>
                  </a:cubicBezTo>
                  <a:cubicBezTo>
                    <a:pt x="1087" y="14820"/>
                    <a:pt x="1425" y="15022"/>
                    <a:pt x="1256" y="15224"/>
                  </a:cubicBezTo>
                  <a:cubicBezTo>
                    <a:pt x="1256" y="15224"/>
                    <a:pt x="1256" y="14618"/>
                    <a:pt x="1087" y="14618"/>
                  </a:cubicBezTo>
                  <a:cubicBezTo>
                    <a:pt x="1087" y="14417"/>
                    <a:pt x="750" y="15628"/>
                    <a:pt x="918" y="15426"/>
                  </a:cubicBezTo>
                  <a:cubicBezTo>
                    <a:pt x="750" y="15426"/>
                    <a:pt x="750" y="15022"/>
                    <a:pt x="750" y="15022"/>
                  </a:cubicBezTo>
                  <a:cubicBezTo>
                    <a:pt x="581" y="15022"/>
                    <a:pt x="581" y="15426"/>
                    <a:pt x="581" y="15426"/>
                  </a:cubicBezTo>
                  <a:cubicBezTo>
                    <a:pt x="412" y="15628"/>
                    <a:pt x="75" y="15426"/>
                    <a:pt x="75" y="15628"/>
                  </a:cubicBezTo>
                  <a:cubicBezTo>
                    <a:pt x="75" y="15830"/>
                    <a:pt x="-94" y="16032"/>
                    <a:pt x="75" y="16032"/>
                  </a:cubicBezTo>
                  <a:cubicBezTo>
                    <a:pt x="243" y="16032"/>
                    <a:pt x="412" y="16032"/>
                    <a:pt x="581" y="16233"/>
                  </a:cubicBezTo>
                  <a:cubicBezTo>
                    <a:pt x="581" y="16233"/>
                    <a:pt x="-94" y="16435"/>
                    <a:pt x="75" y="16637"/>
                  </a:cubicBezTo>
                  <a:cubicBezTo>
                    <a:pt x="75" y="16839"/>
                    <a:pt x="412" y="16839"/>
                    <a:pt x="412" y="16839"/>
                  </a:cubicBezTo>
                  <a:cubicBezTo>
                    <a:pt x="412" y="16839"/>
                    <a:pt x="918" y="16637"/>
                    <a:pt x="918" y="16839"/>
                  </a:cubicBezTo>
                  <a:cubicBezTo>
                    <a:pt x="750" y="17041"/>
                    <a:pt x="243" y="16839"/>
                    <a:pt x="75" y="17243"/>
                  </a:cubicBezTo>
                  <a:cubicBezTo>
                    <a:pt x="-94" y="17445"/>
                    <a:pt x="918" y="17445"/>
                    <a:pt x="581" y="17848"/>
                  </a:cubicBezTo>
                  <a:cubicBezTo>
                    <a:pt x="581" y="17848"/>
                    <a:pt x="412" y="17445"/>
                    <a:pt x="243" y="17646"/>
                  </a:cubicBezTo>
                  <a:cubicBezTo>
                    <a:pt x="75" y="17848"/>
                    <a:pt x="75" y="18050"/>
                    <a:pt x="243" y="18252"/>
                  </a:cubicBezTo>
                  <a:cubicBezTo>
                    <a:pt x="412" y="18252"/>
                    <a:pt x="750" y="18454"/>
                    <a:pt x="918" y="18454"/>
                  </a:cubicBezTo>
                  <a:cubicBezTo>
                    <a:pt x="1087" y="18252"/>
                    <a:pt x="1256" y="17848"/>
                    <a:pt x="1425" y="18050"/>
                  </a:cubicBezTo>
                  <a:cubicBezTo>
                    <a:pt x="1256" y="18050"/>
                    <a:pt x="1087" y="18252"/>
                    <a:pt x="1087" y="18252"/>
                  </a:cubicBezTo>
                  <a:cubicBezTo>
                    <a:pt x="1087" y="18454"/>
                    <a:pt x="918" y="18454"/>
                    <a:pt x="750" y="18454"/>
                  </a:cubicBezTo>
                  <a:cubicBezTo>
                    <a:pt x="750" y="18454"/>
                    <a:pt x="1087" y="18656"/>
                    <a:pt x="1087" y="18858"/>
                  </a:cubicBezTo>
                  <a:cubicBezTo>
                    <a:pt x="1087" y="18858"/>
                    <a:pt x="581" y="18454"/>
                    <a:pt x="750" y="18858"/>
                  </a:cubicBezTo>
                  <a:cubicBezTo>
                    <a:pt x="750" y="19060"/>
                    <a:pt x="1256" y="19261"/>
                    <a:pt x="1256" y="19261"/>
                  </a:cubicBezTo>
                  <a:cubicBezTo>
                    <a:pt x="1256" y="19463"/>
                    <a:pt x="750" y="19060"/>
                    <a:pt x="581" y="19261"/>
                  </a:cubicBezTo>
                  <a:cubicBezTo>
                    <a:pt x="243" y="19261"/>
                    <a:pt x="581" y="18656"/>
                    <a:pt x="412" y="18656"/>
                  </a:cubicBezTo>
                  <a:cubicBezTo>
                    <a:pt x="412" y="18656"/>
                    <a:pt x="75" y="19060"/>
                    <a:pt x="243" y="19261"/>
                  </a:cubicBezTo>
                  <a:cubicBezTo>
                    <a:pt x="412" y="19261"/>
                    <a:pt x="243" y="19665"/>
                    <a:pt x="243" y="19665"/>
                  </a:cubicBezTo>
                  <a:cubicBezTo>
                    <a:pt x="412" y="19867"/>
                    <a:pt x="581" y="19463"/>
                    <a:pt x="750" y="19261"/>
                  </a:cubicBezTo>
                  <a:cubicBezTo>
                    <a:pt x="750" y="19261"/>
                    <a:pt x="750" y="19463"/>
                    <a:pt x="750" y="19463"/>
                  </a:cubicBezTo>
                  <a:cubicBezTo>
                    <a:pt x="918" y="19463"/>
                    <a:pt x="918" y="19261"/>
                    <a:pt x="1087" y="19261"/>
                  </a:cubicBezTo>
                  <a:cubicBezTo>
                    <a:pt x="1087" y="19261"/>
                    <a:pt x="1087" y="19665"/>
                    <a:pt x="918" y="19665"/>
                  </a:cubicBezTo>
                  <a:cubicBezTo>
                    <a:pt x="581" y="19867"/>
                    <a:pt x="1256" y="20271"/>
                    <a:pt x="1256" y="20069"/>
                  </a:cubicBezTo>
                  <a:cubicBezTo>
                    <a:pt x="1256" y="20473"/>
                    <a:pt x="75" y="20069"/>
                    <a:pt x="750" y="20675"/>
                  </a:cubicBezTo>
                  <a:cubicBezTo>
                    <a:pt x="1087" y="20876"/>
                    <a:pt x="1256" y="21078"/>
                    <a:pt x="1593" y="21078"/>
                  </a:cubicBezTo>
                  <a:cubicBezTo>
                    <a:pt x="1593" y="21078"/>
                    <a:pt x="2100" y="21482"/>
                    <a:pt x="2268" y="21482"/>
                  </a:cubicBezTo>
                  <a:cubicBezTo>
                    <a:pt x="2775" y="21482"/>
                    <a:pt x="3450" y="20876"/>
                    <a:pt x="3787" y="20473"/>
                  </a:cubicBezTo>
                  <a:cubicBezTo>
                    <a:pt x="3956" y="20069"/>
                    <a:pt x="4125" y="20069"/>
                    <a:pt x="4462" y="19867"/>
                  </a:cubicBezTo>
                  <a:cubicBezTo>
                    <a:pt x="4631" y="19665"/>
                    <a:pt x="4631" y="19060"/>
                    <a:pt x="4800" y="19060"/>
                  </a:cubicBezTo>
                  <a:cubicBezTo>
                    <a:pt x="4800" y="19060"/>
                    <a:pt x="4800" y="19665"/>
                    <a:pt x="4969" y="19665"/>
                  </a:cubicBezTo>
                  <a:cubicBezTo>
                    <a:pt x="5306" y="19867"/>
                    <a:pt x="5137" y="19867"/>
                    <a:pt x="5137" y="20069"/>
                  </a:cubicBezTo>
                  <a:cubicBezTo>
                    <a:pt x="5306" y="20069"/>
                    <a:pt x="5475" y="20069"/>
                    <a:pt x="5643" y="20271"/>
                  </a:cubicBezTo>
                  <a:cubicBezTo>
                    <a:pt x="5643" y="20473"/>
                    <a:pt x="5475" y="20069"/>
                    <a:pt x="5643" y="202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2" name="Shape 2141">
              <a:extLst>
                <a:ext uri="{FF2B5EF4-FFF2-40B4-BE49-F238E27FC236}">
                  <a16:creationId xmlns:a16="http://schemas.microsoft.com/office/drawing/2014/main" id="{8321B19D-D835-9248-AB8E-5FDF41C0797C}"/>
                </a:ext>
              </a:extLst>
            </p:cNvPr>
            <p:cNvSpPr/>
            <p:nvPr/>
          </p:nvSpPr>
          <p:spPr>
            <a:xfrm>
              <a:off x="6402025" y="460208"/>
              <a:ext cx="5327144" cy="1847360"/>
            </a:xfrm>
            <a:custGeom>
              <a:avLst/>
              <a:gdLst/>
              <a:ahLst/>
              <a:cxnLst>
                <a:cxn ang="0">
                  <a:pos x="wd2" y="hd2"/>
                </a:cxn>
                <a:cxn ang="5400000">
                  <a:pos x="wd2" y="hd2"/>
                </a:cxn>
                <a:cxn ang="10800000">
                  <a:pos x="wd2" y="hd2"/>
                </a:cxn>
                <a:cxn ang="16200000">
                  <a:pos x="wd2" y="hd2"/>
                </a:cxn>
              </a:cxnLst>
              <a:rect l="0" t="0" r="r" b="b"/>
              <a:pathLst>
                <a:path w="21558" h="21438" extrusionOk="0">
                  <a:moveTo>
                    <a:pt x="21531" y="8457"/>
                  </a:moveTo>
                  <a:cubicBezTo>
                    <a:pt x="21477" y="8304"/>
                    <a:pt x="21397" y="8227"/>
                    <a:pt x="21344" y="8074"/>
                  </a:cubicBezTo>
                  <a:cubicBezTo>
                    <a:pt x="21317" y="7998"/>
                    <a:pt x="21291" y="7921"/>
                    <a:pt x="21237" y="7844"/>
                  </a:cubicBezTo>
                  <a:cubicBezTo>
                    <a:pt x="21211" y="7844"/>
                    <a:pt x="21157" y="7844"/>
                    <a:pt x="21131" y="7768"/>
                  </a:cubicBezTo>
                  <a:cubicBezTo>
                    <a:pt x="21131" y="7844"/>
                    <a:pt x="21157" y="7844"/>
                    <a:pt x="21157" y="7844"/>
                  </a:cubicBezTo>
                  <a:cubicBezTo>
                    <a:pt x="21184" y="7844"/>
                    <a:pt x="21104" y="7921"/>
                    <a:pt x="21077" y="7844"/>
                  </a:cubicBezTo>
                  <a:cubicBezTo>
                    <a:pt x="21077" y="7844"/>
                    <a:pt x="21104" y="7844"/>
                    <a:pt x="21104" y="7768"/>
                  </a:cubicBezTo>
                  <a:cubicBezTo>
                    <a:pt x="21077" y="7691"/>
                    <a:pt x="20944" y="7844"/>
                    <a:pt x="20917" y="7768"/>
                  </a:cubicBezTo>
                  <a:cubicBezTo>
                    <a:pt x="20971" y="7844"/>
                    <a:pt x="20971" y="7844"/>
                    <a:pt x="20971" y="8074"/>
                  </a:cubicBezTo>
                  <a:cubicBezTo>
                    <a:pt x="20944" y="8151"/>
                    <a:pt x="20997" y="8304"/>
                    <a:pt x="20997" y="8304"/>
                  </a:cubicBezTo>
                  <a:cubicBezTo>
                    <a:pt x="20971" y="8304"/>
                    <a:pt x="20971" y="8227"/>
                    <a:pt x="20971" y="8227"/>
                  </a:cubicBezTo>
                  <a:cubicBezTo>
                    <a:pt x="20944" y="8151"/>
                    <a:pt x="20944" y="8304"/>
                    <a:pt x="20917" y="8304"/>
                  </a:cubicBezTo>
                  <a:cubicBezTo>
                    <a:pt x="20917" y="8304"/>
                    <a:pt x="20864" y="7998"/>
                    <a:pt x="20864" y="7998"/>
                  </a:cubicBezTo>
                  <a:cubicBezTo>
                    <a:pt x="20864" y="7921"/>
                    <a:pt x="20864" y="7921"/>
                    <a:pt x="20864" y="7921"/>
                  </a:cubicBezTo>
                  <a:cubicBezTo>
                    <a:pt x="20864" y="7844"/>
                    <a:pt x="20837" y="7768"/>
                    <a:pt x="20864" y="7691"/>
                  </a:cubicBezTo>
                  <a:cubicBezTo>
                    <a:pt x="20891" y="7538"/>
                    <a:pt x="20837" y="7615"/>
                    <a:pt x="20811" y="7538"/>
                  </a:cubicBezTo>
                  <a:cubicBezTo>
                    <a:pt x="20811" y="7461"/>
                    <a:pt x="20757" y="7385"/>
                    <a:pt x="20731" y="7385"/>
                  </a:cubicBezTo>
                  <a:cubicBezTo>
                    <a:pt x="20544" y="7078"/>
                    <a:pt x="20384" y="6772"/>
                    <a:pt x="20197" y="6619"/>
                  </a:cubicBezTo>
                  <a:cubicBezTo>
                    <a:pt x="20144" y="6542"/>
                    <a:pt x="20117" y="6466"/>
                    <a:pt x="20091" y="6389"/>
                  </a:cubicBezTo>
                  <a:cubicBezTo>
                    <a:pt x="20064" y="6312"/>
                    <a:pt x="20011" y="6236"/>
                    <a:pt x="19957" y="6236"/>
                  </a:cubicBezTo>
                  <a:cubicBezTo>
                    <a:pt x="19877" y="6159"/>
                    <a:pt x="19797" y="6083"/>
                    <a:pt x="19691" y="5929"/>
                  </a:cubicBezTo>
                  <a:cubicBezTo>
                    <a:pt x="19611" y="5929"/>
                    <a:pt x="19504" y="5929"/>
                    <a:pt x="19451" y="5929"/>
                  </a:cubicBezTo>
                  <a:cubicBezTo>
                    <a:pt x="19397" y="5929"/>
                    <a:pt x="19371" y="5929"/>
                    <a:pt x="19344" y="5929"/>
                  </a:cubicBezTo>
                  <a:cubicBezTo>
                    <a:pt x="19344" y="5929"/>
                    <a:pt x="19317" y="5853"/>
                    <a:pt x="19317" y="5853"/>
                  </a:cubicBezTo>
                  <a:cubicBezTo>
                    <a:pt x="19291" y="5929"/>
                    <a:pt x="19291" y="6006"/>
                    <a:pt x="19264" y="5929"/>
                  </a:cubicBezTo>
                  <a:cubicBezTo>
                    <a:pt x="19184" y="5929"/>
                    <a:pt x="19104" y="5853"/>
                    <a:pt x="19024" y="5776"/>
                  </a:cubicBezTo>
                  <a:cubicBezTo>
                    <a:pt x="18997" y="5776"/>
                    <a:pt x="18917" y="5700"/>
                    <a:pt x="18917" y="5853"/>
                  </a:cubicBezTo>
                  <a:cubicBezTo>
                    <a:pt x="18891" y="6006"/>
                    <a:pt x="18864" y="6006"/>
                    <a:pt x="18917" y="6083"/>
                  </a:cubicBezTo>
                  <a:cubicBezTo>
                    <a:pt x="18971" y="6236"/>
                    <a:pt x="19024" y="6542"/>
                    <a:pt x="18891" y="6619"/>
                  </a:cubicBezTo>
                  <a:cubicBezTo>
                    <a:pt x="18864" y="6695"/>
                    <a:pt x="18784" y="6695"/>
                    <a:pt x="18757" y="6542"/>
                  </a:cubicBezTo>
                  <a:cubicBezTo>
                    <a:pt x="18731" y="6466"/>
                    <a:pt x="18731" y="6389"/>
                    <a:pt x="18651" y="6389"/>
                  </a:cubicBezTo>
                  <a:cubicBezTo>
                    <a:pt x="18571" y="6312"/>
                    <a:pt x="18624" y="6236"/>
                    <a:pt x="18597" y="6159"/>
                  </a:cubicBezTo>
                  <a:cubicBezTo>
                    <a:pt x="18597" y="6083"/>
                    <a:pt x="18517" y="6006"/>
                    <a:pt x="18491" y="6083"/>
                  </a:cubicBezTo>
                  <a:cubicBezTo>
                    <a:pt x="18411" y="6312"/>
                    <a:pt x="18277" y="6083"/>
                    <a:pt x="18171" y="6083"/>
                  </a:cubicBezTo>
                  <a:cubicBezTo>
                    <a:pt x="18064" y="6083"/>
                    <a:pt x="17957" y="6006"/>
                    <a:pt x="17851" y="6006"/>
                  </a:cubicBezTo>
                  <a:cubicBezTo>
                    <a:pt x="17797" y="6006"/>
                    <a:pt x="17771" y="6006"/>
                    <a:pt x="17717" y="6083"/>
                  </a:cubicBezTo>
                  <a:cubicBezTo>
                    <a:pt x="17664" y="6159"/>
                    <a:pt x="17691" y="6389"/>
                    <a:pt x="17691" y="6542"/>
                  </a:cubicBezTo>
                  <a:cubicBezTo>
                    <a:pt x="17691" y="6542"/>
                    <a:pt x="17691" y="6542"/>
                    <a:pt x="17691" y="6542"/>
                  </a:cubicBezTo>
                  <a:cubicBezTo>
                    <a:pt x="17664" y="6542"/>
                    <a:pt x="17637" y="6159"/>
                    <a:pt x="17611" y="6083"/>
                  </a:cubicBezTo>
                  <a:cubicBezTo>
                    <a:pt x="17584" y="6083"/>
                    <a:pt x="17477" y="6083"/>
                    <a:pt x="17451" y="5929"/>
                  </a:cubicBezTo>
                  <a:cubicBezTo>
                    <a:pt x="17451" y="5700"/>
                    <a:pt x="17557" y="5623"/>
                    <a:pt x="17451" y="5393"/>
                  </a:cubicBezTo>
                  <a:cubicBezTo>
                    <a:pt x="17397" y="5317"/>
                    <a:pt x="17344" y="5240"/>
                    <a:pt x="17264" y="5164"/>
                  </a:cubicBezTo>
                  <a:cubicBezTo>
                    <a:pt x="17104" y="5010"/>
                    <a:pt x="16917" y="5164"/>
                    <a:pt x="16757" y="5240"/>
                  </a:cubicBezTo>
                  <a:cubicBezTo>
                    <a:pt x="16677" y="5240"/>
                    <a:pt x="16597" y="5240"/>
                    <a:pt x="16491" y="5240"/>
                  </a:cubicBezTo>
                  <a:cubicBezTo>
                    <a:pt x="16464" y="5240"/>
                    <a:pt x="16464" y="5240"/>
                    <a:pt x="16437" y="5240"/>
                  </a:cubicBezTo>
                  <a:cubicBezTo>
                    <a:pt x="16384" y="5164"/>
                    <a:pt x="16437" y="5164"/>
                    <a:pt x="16464" y="5087"/>
                  </a:cubicBezTo>
                  <a:cubicBezTo>
                    <a:pt x="16464" y="5010"/>
                    <a:pt x="16331" y="4934"/>
                    <a:pt x="16331" y="4934"/>
                  </a:cubicBezTo>
                  <a:cubicBezTo>
                    <a:pt x="16304" y="4857"/>
                    <a:pt x="16197" y="4934"/>
                    <a:pt x="16171" y="4934"/>
                  </a:cubicBezTo>
                  <a:cubicBezTo>
                    <a:pt x="16171" y="4934"/>
                    <a:pt x="16277" y="4857"/>
                    <a:pt x="16251" y="4781"/>
                  </a:cubicBezTo>
                  <a:cubicBezTo>
                    <a:pt x="16224" y="4781"/>
                    <a:pt x="16197" y="4857"/>
                    <a:pt x="16171" y="4857"/>
                  </a:cubicBezTo>
                  <a:cubicBezTo>
                    <a:pt x="16144" y="4781"/>
                    <a:pt x="16091" y="4704"/>
                    <a:pt x="16091" y="4704"/>
                  </a:cubicBezTo>
                  <a:cubicBezTo>
                    <a:pt x="16064" y="4704"/>
                    <a:pt x="15984" y="4551"/>
                    <a:pt x="16037" y="4551"/>
                  </a:cubicBezTo>
                  <a:cubicBezTo>
                    <a:pt x="16064" y="4551"/>
                    <a:pt x="16117" y="4551"/>
                    <a:pt x="16144" y="4551"/>
                  </a:cubicBezTo>
                  <a:cubicBezTo>
                    <a:pt x="16224" y="4551"/>
                    <a:pt x="16117" y="4321"/>
                    <a:pt x="16091" y="4321"/>
                  </a:cubicBezTo>
                  <a:cubicBezTo>
                    <a:pt x="16037" y="4168"/>
                    <a:pt x="15904" y="4244"/>
                    <a:pt x="15824" y="4168"/>
                  </a:cubicBezTo>
                  <a:cubicBezTo>
                    <a:pt x="15771" y="4168"/>
                    <a:pt x="15744" y="4321"/>
                    <a:pt x="15691" y="4474"/>
                  </a:cubicBezTo>
                  <a:cubicBezTo>
                    <a:pt x="15691" y="4474"/>
                    <a:pt x="15504" y="4781"/>
                    <a:pt x="15504" y="4551"/>
                  </a:cubicBezTo>
                  <a:cubicBezTo>
                    <a:pt x="15531" y="4398"/>
                    <a:pt x="15557" y="4551"/>
                    <a:pt x="15611" y="4474"/>
                  </a:cubicBezTo>
                  <a:cubicBezTo>
                    <a:pt x="15611" y="4474"/>
                    <a:pt x="15584" y="4244"/>
                    <a:pt x="15557" y="4244"/>
                  </a:cubicBezTo>
                  <a:cubicBezTo>
                    <a:pt x="15557" y="4244"/>
                    <a:pt x="15397" y="4244"/>
                    <a:pt x="15397" y="4244"/>
                  </a:cubicBezTo>
                  <a:cubicBezTo>
                    <a:pt x="15424" y="4168"/>
                    <a:pt x="15477" y="4091"/>
                    <a:pt x="15531" y="4091"/>
                  </a:cubicBezTo>
                  <a:cubicBezTo>
                    <a:pt x="15557" y="4168"/>
                    <a:pt x="15744" y="4168"/>
                    <a:pt x="15744" y="4168"/>
                  </a:cubicBezTo>
                  <a:cubicBezTo>
                    <a:pt x="15744" y="4091"/>
                    <a:pt x="15584" y="4091"/>
                    <a:pt x="15557" y="4015"/>
                  </a:cubicBezTo>
                  <a:cubicBezTo>
                    <a:pt x="15504" y="4015"/>
                    <a:pt x="15451" y="4015"/>
                    <a:pt x="15397" y="4015"/>
                  </a:cubicBezTo>
                  <a:cubicBezTo>
                    <a:pt x="15291" y="3938"/>
                    <a:pt x="15184" y="3938"/>
                    <a:pt x="15077" y="3861"/>
                  </a:cubicBezTo>
                  <a:cubicBezTo>
                    <a:pt x="15051" y="3861"/>
                    <a:pt x="14944" y="3785"/>
                    <a:pt x="14944" y="3785"/>
                  </a:cubicBezTo>
                  <a:cubicBezTo>
                    <a:pt x="14944" y="3861"/>
                    <a:pt x="14971" y="3938"/>
                    <a:pt x="14944" y="3938"/>
                  </a:cubicBezTo>
                  <a:cubicBezTo>
                    <a:pt x="14917" y="4015"/>
                    <a:pt x="14891" y="4015"/>
                    <a:pt x="14864" y="4015"/>
                  </a:cubicBezTo>
                  <a:cubicBezTo>
                    <a:pt x="14837" y="4015"/>
                    <a:pt x="14704" y="4091"/>
                    <a:pt x="14731" y="4244"/>
                  </a:cubicBezTo>
                  <a:cubicBezTo>
                    <a:pt x="14757" y="4398"/>
                    <a:pt x="14811" y="4168"/>
                    <a:pt x="14837" y="4244"/>
                  </a:cubicBezTo>
                  <a:cubicBezTo>
                    <a:pt x="14837" y="4244"/>
                    <a:pt x="14757" y="4321"/>
                    <a:pt x="14784" y="4474"/>
                  </a:cubicBezTo>
                  <a:cubicBezTo>
                    <a:pt x="14811" y="4474"/>
                    <a:pt x="14784" y="4551"/>
                    <a:pt x="14784" y="4627"/>
                  </a:cubicBezTo>
                  <a:cubicBezTo>
                    <a:pt x="14811" y="4627"/>
                    <a:pt x="14837" y="4704"/>
                    <a:pt x="14837" y="4781"/>
                  </a:cubicBezTo>
                  <a:cubicBezTo>
                    <a:pt x="14837" y="4781"/>
                    <a:pt x="14731" y="4781"/>
                    <a:pt x="14704" y="4781"/>
                  </a:cubicBezTo>
                  <a:cubicBezTo>
                    <a:pt x="14651" y="4781"/>
                    <a:pt x="14704" y="4704"/>
                    <a:pt x="14704" y="4704"/>
                  </a:cubicBezTo>
                  <a:cubicBezTo>
                    <a:pt x="14677" y="4627"/>
                    <a:pt x="14597" y="4704"/>
                    <a:pt x="14597" y="4704"/>
                  </a:cubicBezTo>
                  <a:cubicBezTo>
                    <a:pt x="14544" y="4781"/>
                    <a:pt x="14491" y="4704"/>
                    <a:pt x="14464" y="4704"/>
                  </a:cubicBezTo>
                  <a:cubicBezTo>
                    <a:pt x="14437" y="4704"/>
                    <a:pt x="14544" y="4781"/>
                    <a:pt x="14544" y="4781"/>
                  </a:cubicBezTo>
                  <a:cubicBezTo>
                    <a:pt x="14624" y="4857"/>
                    <a:pt x="14544" y="5010"/>
                    <a:pt x="14517" y="4934"/>
                  </a:cubicBezTo>
                  <a:cubicBezTo>
                    <a:pt x="14491" y="4934"/>
                    <a:pt x="14491" y="4857"/>
                    <a:pt x="14491" y="4781"/>
                  </a:cubicBezTo>
                  <a:cubicBezTo>
                    <a:pt x="14464" y="4781"/>
                    <a:pt x="14437" y="4781"/>
                    <a:pt x="14411" y="4781"/>
                  </a:cubicBezTo>
                  <a:cubicBezTo>
                    <a:pt x="14357" y="4704"/>
                    <a:pt x="14304" y="4627"/>
                    <a:pt x="14224" y="4704"/>
                  </a:cubicBezTo>
                  <a:cubicBezTo>
                    <a:pt x="14144" y="4704"/>
                    <a:pt x="14091" y="4934"/>
                    <a:pt x="14011" y="4781"/>
                  </a:cubicBezTo>
                  <a:cubicBezTo>
                    <a:pt x="13957" y="4704"/>
                    <a:pt x="13904" y="4627"/>
                    <a:pt x="13877" y="4474"/>
                  </a:cubicBezTo>
                  <a:cubicBezTo>
                    <a:pt x="13851" y="4398"/>
                    <a:pt x="13797" y="4704"/>
                    <a:pt x="13771" y="4704"/>
                  </a:cubicBezTo>
                  <a:cubicBezTo>
                    <a:pt x="13744" y="4857"/>
                    <a:pt x="13717" y="5317"/>
                    <a:pt x="13637" y="5240"/>
                  </a:cubicBezTo>
                  <a:cubicBezTo>
                    <a:pt x="13584" y="5164"/>
                    <a:pt x="13531" y="5164"/>
                    <a:pt x="13477" y="5010"/>
                  </a:cubicBezTo>
                  <a:cubicBezTo>
                    <a:pt x="13451" y="4934"/>
                    <a:pt x="13397" y="4781"/>
                    <a:pt x="13371" y="4704"/>
                  </a:cubicBezTo>
                  <a:cubicBezTo>
                    <a:pt x="13344" y="4551"/>
                    <a:pt x="13291" y="4474"/>
                    <a:pt x="13264" y="4398"/>
                  </a:cubicBezTo>
                  <a:cubicBezTo>
                    <a:pt x="13211" y="4244"/>
                    <a:pt x="13317" y="4321"/>
                    <a:pt x="13344" y="4321"/>
                  </a:cubicBezTo>
                  <a:cubicBezTo>
                    <a:pt x="13371" y="4321"/>
                    <a:pt x="13424" y="4244"/>
                    <a:pt x="13424" y="4168"/>
                  </a:cubicBezTo>
                  <a:cubicBezTo>
                    <a:pt x="13424" y="4168"/>
                    <a:pt x="13291" y="3938"/>
                    <a:pt x="13291" y="3938"/>
                  </a:cubicBezTo>
                  <a:cubicBezTo>
                    <a:pt x="13291" y="3938"/>
                    <a:pt x="13371" y="3938"/>
                    <a:pt x="13371" y="3861"/>
                  </a:cubicBezTo>
                  <a:cubicBezTo>
                    <a:pt x="13344" y="3785"/>
                    <a:pt x="13291" y="3785"/>
                    <a:pt x="13291" y="3785"/>
                  </a:cubicBezTo>
                  <a:cubicBezTo>
                    <a:pt x="13291" y="3632"/>
                    <a:pt x="13424" y="3555"/>
                    <a:pt x="13291" y="3478"/>
                  </a:cubicBezTo>
                  <a:cubicBezTo>
                    <a:pt x="13264" y="3478"/>
                    <a:pt x="13237" y="3325"/>
                    <a:pt x="13184" y="3325"/>
                  </a:cubicBezTo>
                  <a:cubicBezTo>
                    <a:pt x="13157" y="3325"/>
                    <a:pt x="13104" y="3249"/>
                    <a:pt x="13077" y="3325"/>
                  </a:cubicBezTo>
                  <a:cubicBezTo>
                    <a:pt x="13051" y="3325"/>
                    <a:pt x="13051" y="3402"/>
                    <a:pt x="13024" y="3402"/>
                  </a:cubicBezTo>
                  <a:cubicBezTo>
                    <a:pt x="12997" y="3325"/>
                    <a:pt x="12997" y="3325"/>
                    <a:pt x="12971" y="3325"/>
                  </a:cubicBezTo>
                  <a:cubicBezTo>
                    <a:pt x="12944" y="3325"/>
                    <a:pt x="12891" y="3325"/>
                    <a:pt x="12864" y="3249"/>
                  </a:cubicBezTo>
                  <a:cubicBezTo>
                    <a:pt x="12837" y="3249"/>
                    <a:pt x="12811" y="3249"/>
                    <a:pt x="12784" y="3095"/>
                  </a:cubicBezTo>
                  <a:cubicBezTo>
                    <a:pt x="12757" y="3095"/>
                    <a:pt x="12784" y="3019"/>
                    <a:pt x="12731" y="3095"/>
                  </a:cubicBezTo>
                  <a:cubicBezTo>
                    <a:pt x="12731" y="3095"/>
                    <a:pt x="12704" y="3172"/>
                    <a:pt x="12677" y="3172"/>
                  </a:cubicBezTo>
                  <a:cubicBezTo>
                    <a:pt x="12651" y="3172"/>
                    <a:pt x="12651" y="3095"/>
                    <a:pt x="12624" y="3172"/>
                  </a:cubicBezTo>
                  <a:cubicBezTo>
                    <a:pt x="12624" y="3249"/>
                    <a:pt x="12597" y="3325"/>
                    <a:pt x="12597" y="3402"/>
                  </a:cubicBezTo>
                  <a:cubicBezTo>
                    <a:pt x="12597" y="3478"/>
                    <a:pt x="12651" y="3478"/>
                    <a:pt x="12624" y="3555"/>
                  </a:cubicBezTo>
                  <a:cubicBezTo>
                    <a:pt x="12597" y="3632"/>
                    <a:pt x="12624" y="3632"/>
                    <a:pt x="12597" y="3632"/>
                  </a:cubicBezTo>
                  <a:cubicBezTo>
                    <a:pt x="12571" y="3632"/>
                    <a:pt x="12517" y="3632"/>
                    <a:pt x="12491" y="3708"/>
                  </a:cubicBezTo>
                  <a:cubicBezTo>
                    <a:pt x="12517" y="3632"/>
                    <a:pt x="12597" y="3785"/>
                    <a:pt x="12597" y="3785"/>
                  </a:cubicBezTo>
                  <a:cubicBezTo>
                    <a:pt x="12571" y="3861"/>
                    <a:pt x="12491" y="3708"/>
                    <a:pt x="12437" y="3708"/>
                  </a:cubicBezTo>
                  <a:cubicBezTo>
                    <a:pt x="12384" y="3708"/>
                    <a:pt x="12304" y="3708"/>
                    <a:pt x="12224" y="3708"/>
                  </a:cubicBezTo>
                  <a:cubicBezTo>
                    <a:pt x="12197" y="3708"/>
                    <a:pt x="12197" y="3632"/>
                    <a:pt x="12171" y="3632"/>
                  </a:cubicBezTo>
                  <a:cubicBezTo>
                    <a:pt x="12144" y="3555"/>
                    <a:pt x="12064" y="3632"/>
                    <a:pt x="12037" y="3632"/>
                  </a:cubicBezTo>
                  <a:cubicBezTo>
                    <a:pt x="12011" y="3555"/>
                    <a:pt x="11957" y="3555"/>
                    <a:pt x="11931" y="3478"/>
                  </a:cubicBezTo>
                  <a:cubicBezTo>
                    <a:pt x="11931" y="3402"/>
                    <a:pt x="11984" y="3402"/>
                    <a:pt x="11984" y="3325"/>
                  </a:cubicBezTo>
                  <a:cubicBezTo>
                    <a:pt x="12011" y="3249"/>
                    <a:pt x="11771" y="3249"/>
                    <a:pt x="11744" y="3249"/>
                  </a:cubicBezTo>
                  <a:cubicBezTo>
                    <a:pt x="11611" y="3172"/>
                    <a:pt x="11504" y="3249"/>
                    <a:pt x="11371" y="3249"/>
                  </a:cubicBezTo>
                  <a:cubicBezTo>
                    <a:pt x="11291" y="3249"/>
                    <a:pt x="11317" y="3249"/>
                    <a:pt x="11344" y="3402"/>
                  </a:cubicBezTo>
                  <a:cubicBezTo>
                    <a:pt x="11344" y="3478"/>
                    <a:pt x="11291" y="3402"/>
                    <a:pt x="11291" y="3402"/>
                  </a:cubicBezTo>
                  <a:cubicBezTo>
                    <a:pt x="11237" y="3402"/>
                    <a:pt x="11264" y="3325"/>
                    <a:pt x="11264" y="3249"/>
                  </a:cubicBezTo>
                  <a:cubicBezTo>
                    <a:pt x="11264" y="3095"/>
                    <a:pt x="11237" y="2866"/>
                    <a:pt x="11184" y="3019"/>
                  </a:cubicBezTo>
                  <a:cubicBezTo>
                    <a:pt x="11184" y="3172"/>
                    <a:pt x="11077" y="3172"/>
                    <a:pt x="11024" y="3095"/>
                  </a:cubicBezTo>
                  <a:cubicBezTo>
                    <a:pt x="10997" y="3019"/>
                    <a:pt x="11051" y="2866"/>
                    <a:pt x="10944" y="2942"/>
                  </a:cubicBezTo>
                  <a:cubicBezTo>
                    <a:pt x="10917" y="2942"/>
                    <a:pt x="10891" y="2942"/>
                    <a:pt x="10864" y="2942"/>
                  </a:cubicBezTo>
                  <a:cubicBezTo>
                    <a:pt x="10837" y="2866"/>
                    <a:pt x="10811" y="2942"/>
                    <a:pt x="10757" y="3019"/>
                  </a:cubicBezTo>
                  <a:cubicBezTo>
                    <a:pt x="10704" y="3172"/>
                    <a:pt x="10837" y="3095"/>
                    <a:pt x="10837" y="3172"/>
                  </a:cubicBezTo>
                  <a:cubicBezTo>
                    <a:pt x="10837" y="3325"/>
                    <a:pt x="10731" y="3249"/>
                    <a:pt x="10704" y="3325"/>
                  </a:cubicBezTo>
                  <a:cubicBezTo>
                    <a:pt x="10677" y="3402"/>
                    <a:pt x="10624" y="3402"/>
                    <a:pt x="10571" y="3478"/>
                  </a:cubicBezTo>
                  <a:cubicBezTo>
                    <a:pt x="10517" y="3555"/>
                    <a:pt x="10464" y="3555"/>
                    <a:pt x="10384" y="3555"/>
                  </a:cubicBezTo>
                  <a:cubicBezTo>
                    <a:pt x="10331" y="3555"/>
                    <a:pt x="10331" y="3555"/>
                    <a:pt x="10304" y="3708"/>
                  </a:cubicBezTo>
                  <a:cubicBezTo>
                    <a:pt x="10277" y="3785"/>
                    <a:pt x="10171" y="3861"/>
                    <a:pt x="10144" y="3861"/>
                  </a:cubicBezTo>
                  <a:cubicBezTo>
                    <a:pt x="10144" y="3785"/>
                    <a:pt x="10197" y="3785"/>
                    <a:pt x="10197" y="3785"/>
                  </a:cubicBezTo>
                  <a:cubicBezTo>
                    <a:pt x="10251" y="3708"/>
                    <a:pt x="10251" y="3555"/>
                    <a:pt x="10277" y="3478"/>
                  </a:cubicBezTo>
                  <a:cubicBezTo>
                    <a:pt x="10304" y="3325"/>
                    <a:pt x="10331" y="3478"/>
                    <a:pt x="10357" y="3402"/>
                  </a:cubicBezTo>
                  <a:cubicBezTo>
                    <a:pt x="10384" y="3402"/>
                    <a:pt x="10384" y="3325"/>
                    <a:pt x="10411" y="3325"/>
                  </a:cubicBezTo>
                  <a:cubicBezTo>
                    <a:pt x="10491" y="3172"/>
                    <a:pt x="10597" y="3095"/>
                    <a:pt x="10677" y="2942"/>
                  </a:cubicBezTo>
                  <a:cubicBezTo>
                    <a:pt x="10731" y="2866"/>
                    <a:pt x="10784" y="2789"/>
                    <a:pt x="10837" y="2712"/>
                  </a:cubicBezTo>
                  <a:cubicBezTo>
                    <a:pt x="10944" y="2483"/>
                    <a:pt x="11077" y="2329"/>
                    <a:pt x="11184" y="2176"/>
                  </a:cubicBezTo>
                  <a:cubicBezTo>
                    <a:pt x="11264" y="2100"/>
                    <a:pt x="11344" y="1946"/>
                    <a:pt x="11264" y="1717"/>
                  </a:cubicBezTo>
                  <a:cubicBezTo>
                    <a:pt x="11237" y="1640"/>
                    <a:pt x="11237" y="1793"/>
                    <a:pt x="11211" y="1717"/>
                  </a:cubicBezTo>
                  <a:cubicBezTo>
                    <a:pt x="11184" y="1640"/>
                    <a:pt x="11157" y="1640"/>
                    <a:pt x="11131" y="1564"/>
                  </a:cubicBezTo>
                  <a:cubicBezTo>
                    <a:pt x="11131" y="1487"/>
                    <a:pt x="11264" y="1640"/>
                    <a:pt x="11264" y="1640"/>
                  </a:cubicBezTo>
                  <a:cubicBezTo>
                    <a:pt x="11291" y="1640"/>
                    <a:pt x="11371" y="1640"/>
                    <a:pt x="11317" y="1487"/>
                  </a:cubicBezTo>
                  <a:cubicBezTo>
                    <a:pt x="11291" y="1410"/>
                    <a:pt x="11291" y="1334"/>
                    <a:pt x="11264" y="1257"/>
                  </a:cubicBezTo>
                  <a:cubicBezTo>
                    <a:pt x="11237" y="1104"/>
                    <a:pt x="11211" y="1410"/>
                    <a:pt x="11184" y="1410"/>
                  </a:cubicBezTo>
                  <a:cubicBezTo>
                    <a:pt x="11184" y="1334"/>
                    <a:pt x="11184" y="1257"/>
                    <a:pt x="11184" y="1257"/>
                  </a:cubicBezTo>
                  <a:cubicBezTo>
                    <a:pt x="11184" y="1181"/>
                    <a:pt x="11184" y="1181"/>
                    <a:pt x="11157" y="1104"/>
                  </a:cubicBezTo>
                  <a:cubicBezTo>
                    <a:pt x="11157" y="1027"/>
                    <a:pt x="11104" y="951"/>
                    <a:pt x="11077" y="951"/>
                  </a:cubicBezTo>
                  <a:cubicBezTo>
                    <a:pt x="11024" y="874"/>
                    <a:pt x="10997" y="874"/>
                    <a:pt x="10944" y="798"/>
                  </a:cubicBezTo>
                  <a:cubicBezTo>
                    <a:pt x="10891" y="798"/>
                    <a:pt x="10891" y="798"/>
                    <a:pt x="10811" y="874"/>
                  </a:cubicBezTo>
                  <a:cubicBezTo>
                    <a:pt x="10757" y="874"/>
                    <a:pt x="10571" y="644"/>
                    <a:pt x="10544" y="874"/>
                  </a:cubicBezTo>
                  <a:cubicBezTo>
                    <a:pt x="10517" y="951"/>
                    <a:pt x="10357" y="1027"/>
                    <a:pt x="10331" y="951"/>
                  </a:cubicBezTo>
                  <a:cubicBezTo>
                    <a:pt x="10331" y="951"/>
                    <a:pt x="10491" y="644"/>
                    <a:pt x="10437" y="568"/>
                  </a:cubicBezTo>
                  <a:cubicBezTo>
                    <a:pt x="10437" y="568"/>
                    <a:pt x="10251" y="644"/>
                    <a:pt x="10224" y="568"/>
                  </a:cubicBezTo>
                  <a:cubicBezTo>
                    <a:pt x="10224" y="491"/>
                    <a:pt x="10277" y="491"/>
                    <a:pt x="10277" y="491"/>
                  </a:cubicBezTo>
                  <a:cubicBezTo>
                    <a:pt x="10277" y="415"/>
                    <a:pt x="10064" y="491"/>
                    <a:pt x="10064" y="491"/>
                  </a:cubicBezTo>
                  <a:cubicBezTo>
                    <a:pt x="10091" y="338"/>
                    <a:pt x="10197" y="415"/>
                    <a:pt x="10224" y="338"/>
                  </a:cubicBezTo>
                  <a:cubicBezTo>
                    <a:pt x="10251" y="261"/>
                    <a:pt x="10304" y="338"/>
                    <a:pt x="10277" y="261"/>
                  </a:cubicBezTo>
                  <a:cubicBezTo>
                    <a:pt x="10277" y="185"/>
                    <a:pt x="10277" y="108"/>
                    <a:pt x="10251" y="108"/>
                  </a:cubicBezTo>
                  <a:cubicBezTo>
                    <a:pt x="10171" y="108"/>
                    <a:pt x="10144" y="32"/>
                    <a:pt x="10064" y="32"/>
                  </a:cubicBezTo>
                  <a:cubicBezTo>
                    <a:pt x="10011" y="-45"/>
                    <a:pt x="9957" y="32"/>
                    <a:pt x="9904" y="108"/>
                  </a:cubicBezTo>
                  <a:cubicBezTo>
                    <a:pt x="9797" y="185"/>
                    <a:pt x="9691" y="415"/>
                    <a:pt x="9637" y="568"/>
                  </a:cubicBezTo>
                  <a:cubicBezTo>
                    <a:pt x="9611" y="644"/>
                    <a:pt x="9611" y="644"/>
                    <a:pt x="9637" y="721"/>
                  </a:cubicBezTo>
                  <a:cubicBezTo>
                    <a:pt x="9664" y="721"/>
                    <a:pt x="9637" y="798"/>
                    <a:pt x="9637" y="874"/>
                  </a:cubicBezTo>
                  <a:cubicBezTo>
                    <a:pt x="9637" y="1027"/>
                    <a:pt x="9744" y="951"/>
                    <a:pt x="9744" y="1027"/>
                  </a:cubicBezTo>
                  <a:cubicBezTo>
                    <a:pt x="9744" y="951"/>
                    <a:pt x="9611" y="1027"/>
                    <a:pt x="9584" y="1027"/>
                  </a:cubicBezTo>
                  <a:cubicBezTo>
                    <a:pt x="9557" y="1027"/>
                    <a:pt x="9397" y="951"/>
                    <a:pt x="9371" y="1027"/>
                  </a:cubicBezTo>
                  <a:cubicBezTo>
                    <a:pt x="9371" y="951"/>
                    <a:pt x="9451" y="1257"/>
                    <a:pt x="9451" y="1257"/>
                  </a:cubicBezTo>
                  <a:cubicBezTo>
                    <a:pt x="9477" y="1334"/>
                    <a:pt x="9344" y="1181"/>
                    <a:pt x="9317" y="1181"/>
                  </a:cubicBezTo>
                  <a:cubicBezTo>
                    <a:pt x="9291" y="1181"/>
                    <a:pt x="9237" y="1257"/>
                    <a:pt x="9184" y="1334"/>
                  </a:cubicBezTo>
                  <a:cubicBezTo>
                    <a:pt x="9184" y="1334"/>
                    <a:pt x="9184" y="1334"/>
                    <a:pt x="9157" y="1334"/>
                  </a:cubicBezTo>
                  <a:cubicBezTo>
                    <a:pt x="9104" y="1334"/>
                    <a:pt x="9157" y="1334"/>
                    <a:pt x="9131" y="1257"/>
                  </a:cubicBezTo>
                  <a:cubicBezTo>
                    <a:pt x="9131" y="1334"/>
                    <a:pt x="8997" y="1487"/>
                    <a:pt x="8997" y="1487"/>
                  </a:cubicBezTo>
                  <a:cubicBezTo>
                    <a:pt x="8997" y="1410"/>
                    <a:pt x="9051" y="1334"/>
                    <a:pt x="9051" y="1334"/>
                  </a:cubicBezTo>
                  <a:cubicBezTo>
                    <a:pt x="9051" y="1257"/>
                    <a:pt x="8917" y="1334"/>
                    <a:pt x="8891" y="1257"/>
                  </a:cubicBezTo>
                  <a:cubicBezTo>
                    <a:pt x="8891" y="1257"/>
                    <a:pt x="8944" y="1181"/>
                    <a:pt x="8944" y="1181"/>
                  </a:cubicBezTo>
                  <a:cubicBezTo>
                    <a:pt x="8917" y="1257"/>
                    <a:pt x="8784" y="1334"/>
                    <a:pt x="8731" y="1334"/>
                  </a:cubicBezTo>
                  <a:cubicBezTo>
                    <a:pt x="8597" y="1410"/>
                    <a:pt x="8757" y="1410"/>
                    <a:pt x="8784" y="1487"/>
                  </a:cubicBezTo>
                  <a:cubicBezTo>
                    <a:pt x="8757" y="1410"/>
                    <a:pt x="8624" y="1564"/>
                    <a:pt x="8597" y="1564"/>
                  </a:cubicBezTo>
                  <a:cubicBezTo>
                    <a:pt x="8571" y="1564"/>
                    <a:pt x="8544" y="1564"/>
                    <a:pt x="8517" y="1640"/>
                  </a:cubicBezTo>
                  <a:cubicBezTo>
                    <a:pt x="8491" y="1717"/>
                    <a:pt x="8437" y="1640"/>
                    <a:pt x="8384" y="1640"/>
                  </a:cubicBezTo>
                  <a:cubicBezTo>
                    <a:pt x="8357" y="1640"/>
                    <a:pt x="8331" y="1793"/>
                    <a:pt x="8277" y="1793"/>
                  </a:cubicBezTo>
                  <a:cubicBezTo>
                    <a:pt x="8224" y="1870"/>
                    <a:pt x="8197" y="1793"/>
                    <a:pt x="8171" y="1870"/>
                  </a:cubicBezTo>
                  <a:cubicBezTo>
                    <a:pt x="8144" y="1946"/>
                    <a:pt x="8117" y="2023"/>
                    <a:pt x="8091" y="2023"/>
                  </a:cubicBezTo>
                  <a:cubicBezTo>
                    <a:pt x="8037" y="2023"/>
                    <a:pt x="7984" y="2023"/>
                    <a:pt x="7957" y="2023"/>
                  </a:cubicBezTo>
                  <a:cubicBezTo>
                    <a:pt x="7957" y="2023"/>
                    <a:pt x="8037" y="2176"/>
                    <a:pt x="8037" y="2176"/>
                  </a:cubicBezTo>
                  <a:cubicBezTo>
                    <a:pt x="8011" y="2253"/>
                    <a:pt x="7851" y="2253"/>
                    <a:pt x="7851" y="2253"/>
                  </a:cubicBezTo>
                  <a:cubicBezTo>
                    <a:pt x="7851" y="2253"/>
                    <a:pt x="7957" y="2253"/>
                    <a:pt x="7957" y="2253"/>
                  </a:cubicBezTo>
                  <a:cubicBezTo>
                    <a:pt x="7957" y="2253"/>
                    <a:pt x="7904" y="2253"/>
                    <a:pt x="7877" y="2253"/>
                  </a:cubicBezTo>
                  <a:cubicBezTo>
                    <a:pt x="7904" y="2253"/>
                    <a:pt x="7957" y="2329"/>
                    <a:pt x="7957" y="2329"/>
                  </a:cubicBezTo>
                  <a:cubicBezTo>
                    <a:pt x="7931" y="2329"/>
                    <a:pt x="7931" y="2329"/>
                    <a:pt x="7904" y="2329"/>
                  </a:cubicBezTo>
                  <a:cubicBezTo>
                    <a:pt x="7931" y="2329"/>
                    <a:pt x="7904" y="2406"/>
                    <a:pt x="7904" y="2406"/>
                  </a:cubicBezTo>
                  <a:cubicBezTo>
                    <a:pt x="7904" y="2483"/>
                    <a:pt x="7824" y="2406"/>
                    <a:pt x="7824" y="2406"/>
                  </a:cubicBezTo>
                  <a:cubicBezTo>
                    <a:pt x="7824" y="2483"/>
                    <a:pt x="7877" y="2483"/>
                    <a:pt x="7877" y="2559"/>
                  </a:cubicBezTo>
                  <a:cubicBezTo>
                    <a:pt x="7904" y="2559"/>
                    <a:pt x="7851" y="2559"/>
                    <a:pt x="7851" y="2559"/>
                  </a:cubicBezTo>
                  <a:cubicBezTo>
                    <a:pt x="7851" y="2712"/>
                    <a:pt x="7957" y="2559"/>
                    <a:pt x="7931" y="2712"/>
                  </a:cubicBezTo>
                  <a:cubicBezTo>
                    <a:pt x="7877" y="2866"/>
                    <a:pt x="8011" y="2942"/>
                    <a:pt x="7931" y="3019"/>
                  </a:cubicBezTo>
                  <a:cubicBezTo>
                    <a:pt x="7877" y="3019"/>
                    <a:pt x="7824" y="3019"/>
                    <a:pt x="7771" y="3019"/>
                  </a:cubicBezTo>
                  <a:cubicBezTo>
                    <a:pt x="7744" y="3095"/>
                    <a:pt x="7744" y="3172"/>
                    <a:pt x="7691" y="3095"/>
                  </a:cubicBezTo>
                  <a:cubicBezTo>
                    <a:pt x="7664" y="3095"/>
                    <a:pt x="7637" y="3095"/>
                    <a:pt x="7611" y="3095"/>
                  </a:cubicBezTo>
                  <a:cubicBezTo>
                    <a:pt x="7504" y="3172"/>
                    <a:pt x="7397" y="3172"/>
                    <a:pt x="7291" y="3172"/>
                  </a:cubicBezTo>
                  <a:cubicBezTo>
                    <a:pt x="7237" y="3172"/>
                    <a:pt x="7184" y="3172"/>
                    <a:pt x="7157" y="3249"/>
                  </a:cubicBezTo>
                  <a:cubicBezTo>
                    <a:pt x="7131" y="3325"/>
                    <a:pt x="7104" y="3402"/>
                    <a:pt x="7104" y="3478"/>
                  </a:cubicBezTo>
                  <a:cubicBezTo>
                    <a:pt x="7104" y="3555"/>
                    <a:pt x="7157" y="3632"/>
                    <a:pt x="7157" y="3708"/>
                  </a:cubicBezTo>
                  <a:cubicBezTo>
                    <a:pt x="7131" y="3861"/>
                    <a:pt x="7131" y="3938"/>
                    <a:pt x="7157" y="4015"/>
                  </a:cubicBezTo>
                  <a:cubicBezTo>
                    <a:pt x="7211" y="4168"/>
                    <a:pt x="7291" y="4091"/>
                    <a:pt x="7344" y="4244"/>
                  </a:cubicBezTo>
                  <a:cubicBezTo>
                    <a:pt x="7344" y="4244"/>
                    <a:pt x="7397" y="4551"/>
                    <a:pt x="7397" y="4551"/>
                  </a:cubicBezTo>
                  <a:cubicBezTo>
                    <a:pt x="7291" y="4551"/>
                    <a:pt x="7264" y="4551"/>
                    <a:pt x="7184" y="4398"/>
                  </a:cubicBezTo>
                  <a:cubicBezTo>
                    <a:pt x="7104" y="4244"/>
                    <a:pt x="6971" y="4091"/>
                    <a:pt x="6864" y="4091"/>
                  </a:cubicBezTo>
                  <a:cubicBezTo>
                    <a:pt x="6811" y="4091"/>
                    <a:pt x="6837" y="4015"/>
                    <a:pt x="6784" y="3938"/>
                  </a:cubicBezTo>
                  <a:cubicBezTo>
                    <a:pt x="6757" y="3938"/>
                    <a:pt x="6651" y="3938"/>
                    <a:pt x="6651" y="4091"/>
                  </a:cubicBezTo>
                  <a:cubicBezTo>
                    <a:pt x="6651" y="4168"/>
                    <a:pt x="6757" y="4168"/>
                    <a:pt x="6757" y="4168"/>
                  </a:cubicBezTo>
                  <a:cubicBezTo>
                    <a:pt x="6757" y="4168"/>
                    <a:pt x="6677" y="4244"/>
                    <a:pt x="6704" y="4244"/>
                  </a:cubicBezTo>
                  <a:cubicBezTo>
                    <a:pt x="6757" y="4321"/>
                    <a:pt x="6784" y="4244"/>
                    <a:pt x="6811" y="4398"/>
                  </a:cubicBezTo>
                  <a:cubicBezTo>
                    <a:pt x="6811" y="4551"/>
                    <a:pt x="6731" y="4474"/>
                    <a:pt x="6704" y="4474"/>
                  </a:cubicBezTo>
                  <a:cubicBezTo>
                    <a:pt x="6651" y="4398"/>
                    <a:pt x="6624" y="4321"/>
                    <a:pt x="6571" y="4398"/>
                  </a:cubicBezTo>
                  <a:cubicBezTo>
                    <a:pt x="6517" y="4398"/>
                    <a:pt x="6544" y="4627"/>
                    <a:pt x="6571" y="4704"/>
                  </a:cubicBezTo>
                  <a:cubicBezTo>
                    <a:pt x="6597" y="4781"/>
                    <a:pt x="6651" y="4781"/>
                    <a:pt x="6677" y="4781"/>
                  </a:cubicBezTo>
                  <a:cubicBezTo>
                    <a:pt x="6731" y="4857"/>
                    <a:pt x="6784" y="4857"/>
                    <a:pt x="6811" y="4934"/>
                  </a:cubicBezTo>
                  <a:cubicBezTo>
                    <a:pt x="6837" y="5010"/>
                    <a:pt x="6837" y="5087"/>
                    <a:pt x="6837" y="5087"/>
                  </a:cubicBezTo>
                  <a:cubicBezTo>
                    <a:pt x="6864" y="5087"/>
                    <a:pt x="6891" y="5087"/>
                    <a:pt x="6917" y="5087"/>
                  </a:cubicBezTo>
                  <a:cubicBezTo>
                    <a:pt x="6917" y="5087"/>
                    <a:pt x="6837" y="5164"/>
                    <a:pt x="6837" y="5164"/>
                  </a:cubicBezTo>
                  <a:cubicBezTo>
                    <a:pt x="6784" y="5164"/>
                    <a:pt x="6784" y="5087"/>
                    <a:pt x="6757" y="5010"/>
                  </a:cubicBezTo>
                  <a:cubicBezTo>
                    <a:pt x="6704" y="4934"/>
                    <a:pt x="6624" y="4934"/>
                    <a:pt x="6544" y="4934"/>
                  </a:cubicBezTo>
                  <a:cubicBezTo>
                    <a:pt x="6517" y="4934"/>
                    <a:pt x="6384" y="4857"/>
                    <a:pt x="6437" y="4704"/>
                  </a:cubicBezTo>
                  <a:cubicBezTo>
                    <a:pt x="6464" y="4704"/>
                    <a:pt x="6437" y="4627"/>
                    <a:pt x="6437" y="4551"/>
                  </a:cubicBezTo>
                  <a:cubicBezTo>
                    <a:pt x="6411" y="4474"/>
                    <a:pt x="6437" y="4398"/>
                    <a:pt x="6437" y="4321"/>
                  </a:cubicBezTo>
                  <a:cubicBezTo>
                    <a:pt x="6464" y="4168"/>
                    <a:pt x="6491" y="3861"/>
                    <a:pt x="6437" y="3785"/>
                  </a:cubicBezTo>
                  <a:cubicBezTo>
                    <a:pt x="6331" y="3708"/>
                    <a:pt x="6411" y="4091"/>
                    <a:pt x="6384" y="4244"/>
                  </a:cubicBezTo>
                  <a:cubicBezTo>
                    <a:pt x="6331" y="4398"/>
                    <a:pt x="6251" y="4474"/>
                    <a:pt x="6197" y="4627"/>
                  </a:cubicBezTo>
                  <a:cubicBezTo>
                    <a:pt x="6117" y="4857"/>
                    <a:pt x="6144" y="4781"/>
                    <a:pt x="6197" y="4934"/>
                  </a:cubicBezTo>
                  <a:cubicBezTo>
                    <a:pt x="6224" y="5010"/>
                    <a:pt x="6304" y="5240"/>
                    <a:pt x="6304" y="5393"/>
                  </a:cubicBezTo>
                  <a:cubicBezTo>
                    <a:pt x="6304" y="5393"/>
                    <a:pt x="6277" y="5546"/>
                    <a:pt x="6251" y="5546"/>
                  </a:cubicBezTo>
                  <a:cubicBezTo>
                    <a:pt x="6224" y="5700"/>
                    <a:pt x="6197" y="5853"/>
                    <a:pt x="6197" y="6006"/>
                  </a:cubicBezTo>
                  <a:cubicBezTo>
                    <a:pt x="6197" y="6006"/>
                    <a:pt x="6224" y="6389"/>
                    <a:pt x="6251" y="6389"/>
                  </a:cubicBezTo>
                  <a:cubicBezTo>
                    <a:pt x="6304" y="6389"/>
                    <a:pt x="6357" y="6389"/>
                    <a:pt x="6411" y="6312"/>
                  </a:cubicBezTo>
                  <a:cubicBezTo>
                    <a:pt x="6464" y="6236"/>
                    <a:pt x="6544" y="6312"/>
                    <a:pt x="6597" y="6389"/>
                  </a:cubicBezTo>
                  <a:cubicBezTo>
                    <a:pt x="6677" y="6389"/>
                    <a:pt x="6731" y="6542"/>
                    <a:pt x="6757" y="6772"/>
                  </a:cubicBezTo>
                  <a:cubicBezTo>
                    <a:pt x="6784" y="6925"/>
                    <a:pt x="6677" y="7155"/>
                    <a:pt x="6731" y="7232"/>
                  </a:cubicBezTo>
                  <a:cubicBezTo>
                    <a:pt x="6731" y="7232"/>
                    <a:pt x="6891" y="7385"/>
                    <a:pt x="6891" y="7385"/>
                  </a:cubicBezTo>
                  <a:cubicBezTo>
                    <a:pt x="6891" y="7461"/>
                    <a:pt x="6704" y="7308"/>
                    <a:pt x="6677" y="7308"/>
                  </a:cubicBezTo>
                  <a:cubicBezTo>
                    <a:pt x="6677" y="7308"/>
                    <a:pt x="6651" y="7078"/>
                    <a:pt x="6651" y="7078"/>
                  </a:cubicBezTo>
                  <a:cubicBezTo>
                    <a:pt x="6677" y="6925"/>
                    <a:pt x="6704" y="6849"/>
                    <a:pt x="6651" y="6772"/>
                  </a:cubicBezTo>
                  <a:cubicBezTo>
                    <a:pt x="6597" y="6695"/>
                    <a:pt x="6624" y="6542"/>
                    <a:pt x="6571" y="6466"/>
                  </a:cubicBezTo>
                  <a:cubicBezTo>
                    <a:pt x="6517" y="6466"/>
                    <a:pt x="6464" y="6542"/>
                    <a:pt x="6411" y="6542"/>
                  </a:cubicBezTo>
                  <a:cubicBezTo>
                    <a:pt x="6411" y="6542"/>
                    <a:pt x="6304" y="6619"/>
                    <a:pt x="6304" y="6695"/>
                  </a:cubicBezTo>
                  <a:cubicBezTo>
                    <a:pt x="6331" y="6695"/>
                    <a:pt x="6357" y="6695"/>
                    <a:pt x="6331" y="6695"/>
                  </a:cubicBezTo>
                  <a:cubicBezTo>
                    <a:pt x="6331" y="6772"/>
                    <a:pt x="6277" y="6849"/>
                    <a:pt x="6304" y="6925"/>
                  </a:cubicBezTo>
                  <a:cubicBezTo>
                    <a:pt x="6411" y="7078"/>
                    <a:pt x="6331" y="7308"/>
                    <a:pt x="6277" y="7461"/>
                  </a:cubicBezTo>
                  <a:cubicBezTo>
                    <a:pt x="6251" y="7538"/>
                    <a:pt x="6224" y="7691"/>
                    <a:pt x="6224" y="7768"/>
                  </a:cubicBezTo>
                  <a:cubicBezTo>
                    <a:pt x="6197" y="7844"/>
                    <a:pt x="6144" y="7921"/>
                    <a:pt x="6091" y="7921"/>
                  </a:cubicBezTo>
                  <a:cubicBezTo>
                    <a:pt x="6064" y="7998"/>
                    <a:pt x="6037" y="7998"/>
                    <a:pt x="6037" y="8151"/>
                  </a:cubicBezTo>
                  <a:cubicBezTo>
                    <a:pt x="6011" y="8304"/>
                    <a:pt x="5957" y="8227"/>
                    <a:pt x="5931" y="8227"/>
                  </a:cubicBezTo>
                  <a:cubicBezTo>
                    <a:pt x="5851" y="8151"/>
                    <a:pt x="5797" y="8227"/>
                    <a:pt x="5744" y="8151"/>
                  </a:cubicBezTo>
                  <a:cubicBezTo>
                    <a:pt x="5717" y="8151"/>
                    <a:pt x="5691" y="8074"/>
                    <a:pt x="5664" y="8074"/>
                  </a:cubicBezTo>
                  <a:cubicBezTo>
                    <a:pt x="5611" y="8074"/>
                    <a:pt x="5611" y="7998"/>
                    <a:pt x="5584" y="7921"/>
                  </a:cubicBezTo>
                  <a:cubicBezTo>
                    <a:pt x="5584" y="7921"/>
                    <a:pt x="5637" y="7844"/>
                    <a:pt x="5637" y="7921"/>
                  </a:cubicBezTo>
                  <a:cubicBezTo>
                    <a:pt x="5664" y="8074"/>
                    <a:pt x="5717" y="8074"/>
                    <a:pt x="5717" y="7998"/>
                  </a:cubicBezTo>
                  <a:cubicBezTo>
                    <a:pt x="5744" y="7921"/>
                    <a:pt x="5877" y="8151"/>
                    <a:pt x="5931" y="7998"/>
                  </a:cubicBezTo>
                  <a:cubicBezTo>
                    <a:pt x="5931" y="7921"/>
                    <a:pt x="5877" y="7844"/>
                    <a:pt x="5931" y="7844"/>
                  </a:cubicBezTo>
                  <a:cubicBezTo>
                    <a:pt x="5957" y="7768"/>
                    <a:pt x="6011" y="7691"/>
                    <a:pt x="6037" y="7615"/>
                  </a:cubicBezTo>
                  <a:cubicBezTo>
                    <a:pt x="6064" y="7461"/>
                    <a:pt x="6037" y="7461"/>
                    <a:pt x="6117" y="7385"/>
                  </a:cubicBezTo>
                  <a:cubicBezTo>
                    <a:pt x="6197" y="7232"/>
                    <a:pt x="6091" y="7078"/>
                    <a:pt x="6144" y="6925"/>
                  </a:cubicBezTo>
                  <a:cubicBezTo>
                    <a:pt x="6197" y="6849"/>
                    <a:pt x="6197" y="6772"/>
                    <a:pt x="6144" y="6695"/>
                  </a:cubicBezTo>
                  <a:cubicBezTo>
                    <a:pt x="6117" y="6695"/>
                    <a:pt x="6091" y="6619"/>
                    <a:pt x="6064" y="6542"/>
                  </a:cubicBezTo>
                  <a:cubicBezTo>
                    <a:pt x="6037" y="6389"/>
                    <a:pt x="6064" y="6159"/>
                    <a:pt x="6064" y="6006"/>
                  </a:cubicBezTo>
                  <a:cubicBezTo>
                    <a:pt x="6064" y="5853"/>
                    <a:pt x="6037" y="5700"/>
                    <a:pt x="6064" y="5546"/>
                  </a:cubicBezTo>
                  <a:cubicBezTo>
                    <a:pt x="6064" y="5393"/>
                    <a:pt x="6117" y="5393"/>
                    <a:pt x="6117" y="5240"/>
                  </a:cubicBezTo>
                  <a:cubicBezTo>
                    <a:pt x="6091" y="5087"/>
                    <a:pt x="6037" y="5010"/>
                    <a:pt x="6011" y="4934"/>
                  </a:cubicBezTo>
                  <a:cubicBezTo>
                    <a:pt x="5984" y="4857"/>
                    <a:pt x="5957" y="4781"/>
                    <a:pt x="5984" y="4704"/>
                  </a:cubicBezTo>
                  <a:cubicBezTo>
                    <a:pt x="6037" y="4627"/>
                    <a:pt x="6037" y="4474"/>
                    <a:pt x="6064" y="4321"/>
                  </a:cubicBezTo>
                  <a:cubicBezTo>
                    <a:pt x="6091" y="4244"/>
                    <a:pt x="6117" y="4015"/>
                    <a:pt x="6091" y="3938"/>
                  </a:cubicBezTo>
                  <a:cubicBezTo>
                    <a:pt x="6091" y="3861"/>
                    <a:pt x="5984" y="3785"/>
                    <a:pt x="5931" y="3708"/>
                  </a:cubicBezTo>
                  <a:cubicBezTo>
                    <a:pt x="5877" y="3708"/>
                    <a:pt x="5824" y="3708"/>
                    <a:pt x="5771" y="3708"/>
                  </a:cubicBezTo>
                  <a:cubicBezTo>
                    <a:pt x="5744" y="3708"/>
                    <a:pt x="5664" y="3632"/>
                    <a:pt x="5637" y="3708"/>
                  </a:cubicBezTo>
                  <a:cubicBezTo>
                    <a:pt x="5557" y="3861"/>
                    <a:pt x="5557" y="4398"/>
                    <a:pt x="5477" y="4551"/>
                  </a:cubicBezTo>
                  <a:cubicBezTo>
                    <a:pt x="5424" y="4781"/>
                    <a:pt x="5264" y="4857"/>
                    <a:pt x="5264" y="5164"/>
                  </a:cubicBezTo>
                  <a:cubicBezTo>
                    <a:pt x="5264" y="5240"/>
                    <a:pt x="5344" y="5164"/>
                    <a:pt x="5344" y="5164"/>
                  </a:cubicBezTo>
                  <a:cubicBezTo>
                    <a:pt x="5371" y="5240"/>
                    <a:pt x="5344" y="5546"/>
                    <a:pt x="5344" y="5546"/>
                  </a:cubicBezTo>
                  <a:cubicBezTo>
                    <a:pt x="5317" y="5700"/>
                    <a:pt x="5371" y="5776"/>
                    <a:pt x="5291" y="5776"/>
                  </a:cubicBezTo>
                  <a:cubicBezTo>
                    <a:pt x="5291" y="5853"/>
                    <a:pt x="5264" y="5853"/>
                    <a:pt x="5264" y="5929"/>
                  </a:cubicBezTo>
                  <a:cubicBezTo>
                    <a:pt x="5291" y="6006"/>
                    <a:pt x="5317" y="6006"/>
                    <a:pt x="5344" y="6006"/>
                  </a:cubicBezTo>
                  <a:cubicBezTo>
                    <a:pt x="5371" y="6006"/>
                    <a:pt x="5477" y="6006"/>
                    <a:pt x="5477" y="6083"/>
                  </a:cubicBezTo>
                  <a:cubicBezTo>
                    <a:pt x="5477" y="6236"/>
                    <a:pt x="5477" y="6389"/>
                    <a:pt x="5531" y="6466"/>
                  </a:cubicBezTo>
                  <a:cubicBezTo>
                    <a:pt x="5584" y="6542"/>
                    <a:pt x="5637" y="6466"/>
                    <a:pt x="5584" y="6619"/>
                  </a:cubicBezTo>
                  <a:cubicBezTo>
                    <a:pt x="5557" y="6695"/>
                    <a:pt x="5557" y="6849"/>
                    <a:pt x="5531" y="6925"/>
                  </a:cubicBezTo>
                  <a:cubicBezTo>
                    <a:pt x="5504" y="7078"/>
                    <a:pt x="5371" y="6695"/>
                    <a:pt x="5344" y="6619"/>
                  </a:cubicBezTo>
                  <a:cubicBezTo>
                    <a:pt x="5264" y="6466"/>
                    <a:pt x="5157" y="6389"/>
                    <a:pt x="5077" y="6312"/>
                  </a:cubicBezTo>
                  <a:cubicBezTo>
                    <a:pt x="5024" y="6236"/>
                    <a:pt x="4997" y="6159"/>
                    <a:pt x="4944" y="6083"/>
                  </a:cubicBezTo>
                  <a:cubicBezTo>
                    <a:pt x="4917" y="6083"/>
                    <a:pt x="4864" y="6006"/>
                    <a:pt x="4837" y="6006"/>
                  </a:cubicBezTo>
                  <a:cubicBezTo>
                    <a:pt x="4757" y="6006"/>
                    <a:pt x="4677" y="5929"/>
                    <a:pt x="4597" y="5929"/>
                  </a:cubicBezTo>
                  <a:cubicBezTo>
                    <a:pt x="4491" y="5929"/>
                    <a:pt x="4384" y="5929"/>
                    <a:pt x="4464" y="6312"/>
                  </a:cubicBezTo>
                  <a:cubicBezTo>
                    <a:pt x="4517" y="6389"/>
                    <a:pt x="4491" y="6542"/>
                    <a:pt x="4437" y="6619"/>
                  </a:cubicBezTo>
                  <a:cubicBezTo>
                    <a:pt x="4411" y="6695"/>
                    <a:pt x="4331" y="6542"/>
                    <a:pt x="4357" y="6772"/>
                  </a:cubicBezTo>
                  <a:cubicBezTo>
                    <a:pt x="4384" y="6849"/>
                    <a:pt x="4171" y="6849"/>
                    <a:pt x="4277" y="6619"/>
                  </a:cubicBezTo>
                  <a:cubicBezTo>
                    <a:pt x="4304" y="6542"/>
                    <a:pt x="4224" y="6389"/>
                    <a:pt x="4197" y="6466"/>
                  </a:cubicBezTo>
                  <a:cubicBezTo>
                    <a:pt x="4144" y="6466"/>
                    <a:pt x="4091" y="6542"/>
                    <a:pt x="4064" y="6619"/>
                  </a:cubicBezTo>
                  <a:cubicBezTo>
                    <a:pt x="3984" y="6772"/>
                    <a:pt x="3904" y="6619"/>
                    <a:pt x="3824" y="6695"/>
                  </a:cubicBezTo>
                  <a:cubicBezTo>
                    <a:pt x="3744" y="6772"/>
                    <a:pt x="3691" y="6925"/>
                    <a:pt x="3637" y="6925"/>
                  </a:cubicBezTo>
                  <a:cubicBezTo>
                    <a:pt x="3611" y="6925"/>
                    <a:pt x="3451" y="6925"/>
                    <a:pt x="3477" y="6849"/>
                  </a:cubicBezTo>
                  <a:cubicBezTo>
                    <a:pt x="3531" y="6849"/>
                    <a:pt x="3531" y="6849"/>
                    <a:pt x="3531" y="6772"/>
                  </a:cubicBezTo>
                  <a:cubicBezTo>
                    <a:pt x="3531" y="6542"/>
                    <a:pt x="3584" y="6619"/>
                    <a:pt x="3584" y="6466"/>
                  </a:cubicBezTo>
                  <a:cubicBezTo>
                    <a:pt x="3611" y="6389"/>
                    <a:pt x="3424" y="6542"/>
                    <a:pt x="3424" y="6542"/>
                  </a:cubicBezTo>
                  <a:cubicBezTo>
                    <a:pt x="3397" y="6542"/>
                    <a:pt x="3371" y="6542"/>
                    <a:pt x="3371" y="6619"/>
                  </a:cubicBezTo>
                  <a:cubicBezTo>
                    <a:pt x="3371" y="6695"/>
                    <a:pt x="3371" y="6772"/>
                    <a:pt x="3371" y="6849"/>
                  </a:cubicBezTo>
                  <a:cubicBezTo>
                    <a:pt x="3344" y="6849"/>
                    <a:pt x="3291" y="6772"/>
                    <a:pt x="3264" y="6772"/>
                  </a:cubicBezTo>
                  <a:cubicBezTo>
                    <a:pt x="3211" y="6772"/>
                    <a:pt x="3131" y="6849"/>
                    <a:pt x="3077" y="6925"/>
                  </a:cubicBezTo>
                  <a:cubicBezTo>
                    <a:pt x="2997" y="7002"/>
                    <a:pt x="2917" y="7155"/>
                    <a:pt x="2837" y="7232"/>
                  </a:cubicBezTo>
                  <a:cubicBezTo>
                    <a:pt x="2784" y="7232"/>
                    <a:pt x="2757" y="7308"/>
                    <a:pt x="2731" y="7461"/>
                  </a:cubicBezTo>
                  <a:cubicBezTo>
                    <a:pt x="2731" y="7538"/>
                    <a:pt x="2731" y="7768"/>
                    <a:pt x="2677" y="7768"/>
                  </a:cubicBezTo>
                  <a:cubicBezTo>
                    <a:pt x="2624" y="7768"/>
                    <a:pt x="2571" y="7844"/>
                    <a:pt x="2517" y="7844"/>
                  </a:cubicBezTo>
                  <a:cubicBezTo>
                    <a:pt x="2491" y="7844"/>
                    <a:pt x="2464" y="7691"/>
                    <a:pt x="2437" y="7615"/>
                  </a:cubicBezTo>
                  <a:cubicBezTo>
                    <a:pt x="2384" y="7461"/>
                    <a:pt x="2304" y="7538"/>
                    <a:pt x="2357" y="7308"/>
                  </a:cubicBezTo>
                  <a:cubicBezTo>
                    <a:pt x="2384" y="7155"/>
                    <a:pt x="2464" y="7232"/>
                    <a:pt x="2491" y="7155"/>
                  </a:cubicBezTo>
                  <a:cubicBezTo>
                    <a:pt x="2544" y="7155"/>
                    <a:pt x="2597" y="7232"/>
                    <a:pt x="2571" y="7078"/>
                  </a:cubicBezTo>
                  <a:cubicBezTo>
                    <a:pt x="2544" y="7002"/>
                    <a:pt x="2517" y="6849"/>
                    <a:pt x="2491" y="6772"/>
                  </a:cubicBezTo>
                  <a:cubicBezTo>
                    <a:pt x="2437" y="6619"/>
                    <a:pt x="2357" y="6695"/>
                    <a:pt x="2304" y="6695"/>
                  </a:cubicBezTo>
                  <a:cubicBezTo>
                    <a:pt x="2277" y="6695"/>
                    <a:pt x="2117" y="6619"/>
                    <a:pt x="2117" y="6619"/>
                  </a:cubicBezTo>
                  <a:cubicBezTo>
                    <a:pt x="2117" y="6619"/>
                    <a:pt x="2197" y="6695"/>
                    <a:pt x="2197" y="6695"/>
                  </a:cubicBezTo>
                  <a:cubicBezTo>
                    <a:pt x="2224" y="6772"/>
                    <a:pt x="2224" y="6849"/>
                    <a:pt x="2224" y="6925"/>
                  </a:cubicBezTo>
                  <a:cubicBezTo>
                    <a:pt x="2224" y="7002"/>
                    <a:pt x="2224" y="7155"/>
                    <a:pt x="2224" y="7232"/>
                  </a:cubicBezTo>
                  <a:cubicBezTo>
                    <a:pt x="2197" y="7308"/>
                    <a:pt x="2171" y="7385"/>
                    <a:pt x="2171" y="7461"/>
                  </a:cubicBezTo>
                  <a:cubicBezTo>
                    <a:pt x="2197" y="7615"/>
                    <a:pt x="2304" y="7615"/>
                    <a:pt x="2277" y="7844"/>
                  </a:cubicBezTo>
                  <a:cubicBezTo>
                    <a:pt x="2251" y="7921"/>
                    <a:pt x="2224" y="8074"/>
                    <a:pt x="2224" y="8151"/>
                  </a:cubicBezTo>
                  <a:cubicBezTo>
                    <a:pt x="2224" y="8151"/>
                    <a:pt x="2224" y="8457"/>
                    <a:pt x="2224" y="8457"/>
                  </a:cubicBezTo>
                  <a:cubicBezTo>
                    <a:pt x="2224" y="8457"/>
                    <a:pt x="2197" y="8227"/>
                    <a:pt x="2197" y="8227"/>
                  </a:cubicBezTo>
                  <a:cubicBezTo>
                    <a:pt x="2171" y="8227"/>
                    <a:pt x="2144" y="8381"/>
                    <a:pt x="2117" y="8304"/>
                  </a:cubicBezTo>
                  <a:cubicBezTo>
                    <a:pt x="2117" y="8304"/>
                    <a:pt x="2171" y="8227"/>
                    <a:pt x="2171" y="8151"/>
                  </a:cubicBezTo>
                  <a:cubicBezTo>
                    <a:pt x="2144" y="8074"/>
                    <a:pt x="2091" y="8074"/>
                    <a:pt x="2064" y="8074"/>
                  </a:cubicBezTo>
                  <a:cubicBezTo>
                    <a:pt x="2037" y="8074"/>
                    <a:pt x="2011" y="7998"/>
                    <a:pt x="1984" y="8074"/>
                  </a:cubicBezTo>
                  <a:cubicBezTo>
                    <a:pt x="1931" y="8074"/>
                    <a:pt x="1904" y="8227"/>
                    <a:pt x="1851" y="8227"/>
                  </a:cubicBezTo>
                  <a:cubicBezTo>
                    <a:pt x="1797" y="8381"/>
                    <a:pt x="1771" y="8381"/>
                    <a:pt x="1717" y="8534"/>
                  </a:cubicBezTo>
                  <a:cubicBezTo>
                    <a:pt x="1664" y="8687"/>
                    <a:pt x="1611" y="8687"/>
                    <a:pt x="1691" y="8840"/>
                  </a:cubicBezTo>
                  <a:cubicBezTo>
                    <a:pt x="1717" y="8917"/>
                    <a:pt x="1771" y="9146"/>
                    <a:pt x="1744" y="9223"/>
                  </a:cubicBezTo>
                  <a:cubicBezTo>
                    <a:pt x="1717" y="9300"/>
                    <a:pt x="1557" y="9146"/>
                    <a:pt x="1531" y="9146"/>
                  </a:cubicBezTo>
                  <a:cubicBezTo>
                    <a:pt x="1504" y="9070"/>
                    <a:pt x="1424" y="9146"/>
                    <a:pt x="1397" y="9146"/>
                  </a:cubicBezTo>
                  <a:cubicBezTo>
                    <a:pt x="1424" y="9070"/>
                    <a:pt x="1291" y="8764"/>
                    <a:pt x="1264" y="8917"/>
                  </a:cubicBezTo>
                  <a:cubicBezTo>
                    <a:pt x="1131" y="9223"/>
                    <a:pt x="1424" y="9300"/>
                    <a:pt x="1424" y="9453"/>
                  </a:cubicBezTo>
                  <a:cubicBezTo>
                    <a:pt x="1397" y="9759"/>
                    <a:pt x="1317" y="9606"/>
                    <a:pt x="1237" y="9606"/>
                  </a:cubicBezTo>
                  <a:cubicBezTo>
                    <a:pt x="1157" y="9529"/>
                    <a:pt x="1131" y="9376"/>
                    <a:pt x="1051" y="9300"/>
                  </a:cubicBezTo>
                  <a:cubicBezTo>
                    <a:pt x="997" y="9223"/>
                    <a:pt x="997" y="9146"/>
                    <a:pt x="971" y="8993"/>
                  </a:cubicBezTo>
                  <a:cubicBezTo>
                    <a:pt x="971" y="8840"/>
                    <a:pt x="944" y="8840"/>
                    <a:pt x="917" y="8764"/>
                  </a:cubicBezTo>
                  <a:cubicBezTo>
                    <a:pt x="917" y="8687"/>
                    <a:pt x="997" y="8534"/>
                    <a:pt x="997" y="8534"/>
                  </a:cubicBezTo>
                  <a:cubicBezTo>
                    <a:pt x="1024" y="8304"/>
                    <a:pt x="891" y="8151"/>
                    <a:pt x="837" y="8151"/>
                  </a:cubicBezTo>
                  <a:cubicBezTo>
                    <a:pt x="784" y="8074"/>
                    <a:pt x="784" y="7921"/>
                    <a:pt x="731" y="7921"/>
                  </a:cubicBezTo>
                  <a:cubicBezTo>
                    <a:pt x="757" y="7844"/>
                    <a:pt x="624" y="7538"/>
                    <a:pt x="624" y="7538"/>
                  </a:cubicBezTo>
                  <a:cubicBezTo>
                    <a:pt x="677" y="7461"/>
                    <a:pt x="731" y="7691"/>
                    <a:pt x="757" y="7768"/>
                  </a:cubicBezTo>
                  <a:cubicBezTo>
                    <a:pt x="784" y="7844"/>
                    <a:pt x="811" y="7844"/>
                    <a:pt x="811" y="7768"/>
                  </a:cubicBezTo>
                  <a:cubicBezTo>
                    <a:pt x="837" y="7768"/>
                    <a:pt x="864" y="7844"/>
                    <a:pt x="864" y="7844"/>
                  </a:cubicBezTo>
                  <a:cubicBezTo>
                    <a:pt x="944" y="7921"/>
                    <a:pt x="997" y="7998"/>
                    <a:pt x="1077" y="7998"/>
                  </a:cubicBezTo>
                  <a:cubicBezTo>
                    <a:pt x="1131" y="8074"/>
                    <a:pt x="1211" y="8074"/>
                    <a:pt x="1291" y="8151"/>
                  </a:cubicBezTo>
                  <a:cubicBezTo>
                    <a:pt x="1424" y="8304"/>
                    <a:pt x="1531" y="8304"/>
                    <a:pt x="1664" y="8074"/>
                  </a:cubicBezTo>
                  <a:cubicBezTo>
                    <a:pt x="1717" y="7998"/>
                    <a:pt x="1744" y="7921"/>
                    <a:pt x="1797" y="7844"/>
                  </a:cubicBezTo>
                  <a:cubicBezTo>
                    <a:pt x="1877" y="7691"/>
                    <a:pt x="1824" y="7615"/>
                    <a:pt x="1824" y="7385"/>
                  </a:cubicBezTo>
                  <a:cubicBezTo>
                    <a:pt x="1824" y="7155"/>
                    <a:pt x="1637" y="7078"/>
                    <a:pt x="1584" y="6925"/>
                  </a:cubicBezTo>
                  <a:cubicBezTo>
                    <a:pt x="1504" y="6772"/>
                    <a:pt x="1397" y="6619"/>
                    <a:pt x="1317" y="6542"/>
                  </a:cubicBezTo>
                  <a:cubicBezTo>
                    <a:pt x="1237" y="6389"/>
                    <a:pt x="1131" y="6236"/>
                    <a:pt x="1051" y="6236"/>
                  </a:cubicBezTo>
                  <a:cubicBezTo>
                    <a:pt x="1024" y="6159"/>
                    <a:pt x="1024" y="6236"/>
                    <a:pt x="997" y="6236"/>
                  </a:cubicBezTo>
                  <a:cubicBezTo>
                    <a:pt x="971" y="6236"/>
                    <a:pt x="944" y="6159"/>
                    <a:pt x="917" y="6159"/>
                  </a:cubicBezTo>
                  <a:cubicBezTo>
                    <a:pt x="864" y="6083"/>
                    <a:pt x="811" y="6389"/>
                    <a:pt x="757" y="6389"/>
                  </a:cubicBezTo>
                  <a:cubicBezTo>
                    <a:pt x="757" y="6312"/>
                    <a:pt x="864" y="6083"/>
                    <a:pt x="757" y="6083"/>
                  </a:cubicBezTo>
                  <a:cubicBezTo>
                    <a:pt x="731" y="6083"/>
                    <a:pt x="624" y="5929"/>
                    <a:pt x="624" y="5929"/>
                  </a:cubicBezTo>
                  <a:cubicBezTo>
                    <a:pt x="651" y="5853"/>
                    <a:pt x="757" y="6083"/>
                    <a:pt x="757" y="5929"/>
                  </a:cubicBezTo>
                  <a:cubicBezTo>
                    <a:pt x="757" y="5853"/>
                    <a:pt x="651" y="5700"/>
                    <a:pt x="624" y="5700"/>
                  </a:cubicBezTo>
                  <a:cubicBezTo>
                    <a:pt x="597" y="5776"/>
                    <a:pt x="517" y="5929"/>
                    <a:pt x="517" y="5929"/>
                  </a:cubicBezTo>
                  <a:cubicBezTo>
                    <a:pt x="517" y="5853"/>
                    <a:pt x="517" y="5853"/>
                    <a:pt x="491" y="5776"/>
                  </a:cubicBezTo>
                  <a:cubicBezTo>
                    <a:pt x="437" y="5776"/>
                    <a:pt x="437" y="5853"/>
                    <a:pt x="411" y="5929"/>
                  </a:cubicBezTo>
                  <a:cubicBezTo>
                    <a:pt x="411" y="5929"/>
                    <a:pt x="411" y="5929"/>
                    <a:pt x="411" y="5853"/>
                  </a:cubicBezTo>
                  <a:cubicBezTo>
                    <a:pt x="384" y="5929"/>
                    <a:pt x="357" y="6083"/>
                    <a:pt x="331" y="6083"/>
                  </a:cubicBezTo>
                  <a:cubicBezTo>
                    <a:pt x="304" y="6159"/>
                    <a:pt x="251" y="6159"/>
                    <a:pt x="251" y="6159"/>
                  </a:cubicBezTo>
                  <a:cubicBezTo>
                    <a:pt x="224" y="6312"/>
                    <a:pt x="117" y="6312"/>
                    <a:pt x="144" y="6466"/>
                  </a:cubicBezTo>
                  <a:cubicBezTo>
                    <a:pt x="224" y="6619"/>
                    <a:pt x="117" y="6466"/>
                    <a:pt x="117" y="6695"/>
                  </a:cubicBezTo>
                  <a:cubicBezTo>
                    <a:pt x="117" y="6849"/>
                    <a:pt x="224" y="6925"/>
                    <a:pt x="251" y="7002"/>
                  </a:cubicBezTo>
                  <a:cubicBezTo>
                    <a:pt x="304" y="7078"/>
                    <a:pt x="357" y="7232"/>
                    <a:pt x="331" y="7385"/>
                  </a:cubicBezTo>
                  <a:cubicBezTo>
                    <a:pt x="304" y="7538"/>
                    <a:pt x="224" y="7615"/>
                    <a:pt x="224" y="7768"/>
                  </a:cubicBezTo>
                  <a:cubicBezTo>
                    <a:pt x="251" y="7921"/>
                    <a:pt x="304" y="8074"/>
                    <a:pt x="331" y="8227"/>
                  </a:cubicBezTo>
                  <a:cubicBezTo>
                    <a:pt x="357" y="8381"/>
                    <a:pt x="304" y="8381"/>
                    <a:pt x="304" y="8534"/>
                  </a:cubicBezTo>
                  <a:cubicBezTo>
                    <a:pt x="304" y="8687"/>
                    <a:pt x="384" y="8840"/>
                    <a:pt x="331" y="8917"/>
                  </a:cubicBezTo>
                  <a:cubicBezTo>
                    <a:pt x="277" y="8993"/>
                    <a:pt x="357" y="9223"/>
                    <a:pt x="357" y="9300"/>
                  </a:cubicBezTo>
                  <a:cubicBezTo>
                    <a:pt x="411" y="9453"/>
                    <a:pt x="464" y="9453"/>
                    <a:pt x="384" y="9606"/>
                  </a:cubicBezTo>
                  <a:cubicBezTo>
                    <a:pt x="331" y="9759"/>
                    <a:pt x="357" y="9759"/>
                    <a:pt x="384" y="9836"/>
                  </a:cubicBezTo>
                  <a:cubicBezTo>
                    <a:pt x="517" y="10066"/>
                    <a:pt x="597" y="10219"/>
                    <a:pt x="464" y="10525"/>
                  </a:cubicBezTo>
                  <a:cubicBezTo>
                    <a:pt x="331" y="10908"/>
                    <a:pt x="197" y="11215"/>
                    <a:pt x="91" y="11598"/>
                  </a:cubicBezTo>
                  <a:cubicBezTo>
                    <a:pt x="144" y="11598"/>
                    <a:pt x="144" y="11521"/>
                    <a:pt x="171" y="11598"/>
                  </a:cubicBezTo>
                  <a:cubicBezTo>
                    <a:pt x="197" y="11751"/>
                    <a:pt x="251" y="11751"/>
                    <a:pt x="277" y="11827"/>
                  </a:cubicBezTo>
                  <a:cubicBezTo>
                    <a:pt x="437" y="11981"/>
                    <a:pt x="224" y="11981"/>
                    <a:pt x="171" y="11981"/>
                  </a:cubicBezTo>
                  <a:cubicBezTo>
                    <a:pt x="117" y="11981"/>
                    <a:pt x="91" y="12057"/>
                    <a:pt x="91" y="12210"/>
                  </a:cubicBezTo>
                  <a:cubicBezTo>
                    <a:pt x="91" y="12364"/>
                    <a:pt x="37" y="12440"/>
                    <a:pt x="11" y="12593"/>
                  </a:cubicBezTo>
                  <a:cubicBezTo>
                    <a:pt x="-16" y="12670"/>
                    <a:pt x="11" y="12823"/>
                    <a:pt x="37" y="12976"/>
                  </a:cubicBezTo>
                  <a:cubicBezTo>
                    <a:pt x="37" y="13129"/>
                    <a:pt x="-16" y="13283"/>
                    <a:pt x="11" y="13359"/>
                  </a:cubicBezTo>
                  <a:cubicBezTo>
                    <a:pt x="64" y="13436"/>
                    <a:pt x="64" y="13436"/>
                    <a:pt x="64" y="13589"/>
                  </a:cubicBezTo>
                  <a:cubicBezTo>
                    <a:pt x="37" y="13742"/>
                    <a:pt x="91" y="13819"/>
                    <a:pt x="91" y="13972"/>
                  </a:cubicBezTo>
                  <a:cubicBezTo>
                    <a:pt x="91" y="14049"/>
                    <a:pt x="171" y="14202"/>
                    <a:pt x="197" y="14202"/>
                  </a:cubicBezTo>
                  <a:cubicBezTo>
                    <a:pt x="197" y="14202"/>
                    <a:pt x="224" y="14125"/>
                    <a:pt x="251" y="14125"/>
                  </a:cubicBezTo>
                  <a:cubicBezTo>
                    <a:pt x="277" y="14125"/>
                    <a:pt x="277" y="14278"/>
                    <a:pt x="304" y="14278"/>
                  </a:cubicBezTo>
                  <a:cubicBezTo>
                    <a:pt x="357" y="14202"/>
                    <a:pt x="357" y="14125"/>
                    <a:pt x="411" y="14278"/>
                  </a:cubicBezTo>
                  <a:cubicBezTo>
                    <a:pt x="464" y="14355"/>
                    <a:pt x="464" y="14355"/>
                    <a:pt x="464" y="14508"/>
                  </a:cubicBezTo>
                  <a:cubicBezTo>
                    <a:pt x="437" y="14891"/>
                    <a:pt x="544" y="15198"/>
                    <a:pt x="624" y="15351"/>
                  </a:cubicBezTo>
                  <a:cubicBezTo>
                    <a:pt x="677" y="15427"/>
                    <a:pt x="704" y="15504"/>
                    <a:pt x="651" y="15581"/>
                  </a:cubicBezTo>
                  <a:cubicBezTo>
                    <a:pt x="624" y="15734"/>
                    <a:pt x="597" y="15657"/>
                    <a:pt x="544" y="15657"/>
                  </a:cubicBezTo>
                  <a:cubicBezTo>
                    <a:pt x="491" y="15657"/>
                    <a:pt x="571" y="16346"/>
                    <a:pt x="624" y="16270"/>
                  </a:cubicBezTo>
                  <a:cubicBezTo>
                    <a:pt x="651" y="16193"/>
                    <a:pt x="677" y="15964"/>
                    <a:pt x="704" y="16040"/>
                  </a:cubicBezTo>
                  <a:cubicBezTo>
                    <a:pt x="731" y="16040"/>
                    <a:pt x="757" y="16117"/>
                    <a:pt x="811" y="16117"/>
                  </a:cubicBezTo>
                  <a:cubicBezTo>
                    <a:pt x="864" y="16117"/>
                    <a:pt x="917" y="16193"/>
                    <a:pt x="917" y="16346"/>
                  </a:cubicBezTo>
                  <a:cubicBezTo>
                    <a:pt x="917" y="16423"/>
                    <a:pt x="891" y="16423"/>
                    <a:pt x="891" y="16423"/>
                  </a:cubicBezTo>
                  <a:cubicBezTo>
                    <a:pt x="864" y="16500"/>
                    <a:pt x="891" y="16653"/>
                    <a:pt x="917" y="16653"/>
                  </a:cubicBezTo>
                  <a:cubicBezTo>
                    <a:pt x="944" y="16729"/>
                    <a:pt x="997" y="16653"/>
                    <a:pt x="1024" y="16729"/>
                  </a:cubicBezTo>
                  <a:cubicBezTo>
                    <a:pt x="1051" y="16806"/>
                    <a:pt x="1051" y="16959"/>
                    <a:pt x="1051" y="17036"/>
                  </a:cubicBezTo>
                  <a:cubicBezTo>
                    <a:pt x="1051" y="17112"/>
                    <a:pt x="1131" y="17036"/>
                    <a:pt x="1157" y="17036"/>
                  </a:cubicBezTo>
                  <a:cubicBezTo>
                    <a:pt x="1184" y="17112"/>
                    <a:pt x="1237" y="17342"/>
                    <a:pt x="1264" y="17189"/>
                  </a:cubicBezTo>
                  <a:cubicBezTo>
                    <a:pt x="1291" y="17036"/>
                    <a:pt x="1317" y="17112"/>
                    <a:pt x="1344" y="17189"/>
                  </a:cubicBezTo>
                  <a:cubicBezTo>
                    <a:pt x="1397" y="17342"/>
                    <a:pt x="1397" y="17266"/>
                    <a:pt x="1451" y="17266"/>
                  </a:cubicBezTo>
                  <a:cubicBezTo>
                    <a:pt x="1477" y="17266"/>
                    <a:pt x="1504" y="17495"/>
                    <a:pt x="1531" y="17419"/>
                  </a:cubicBezTo>
                  <a:cubicBezTo>
                    <a:pt x="1584" y="17342"/>
                    <a:pt x="1637" y="17495"/>
                    <a:pt x="1664" y="17572"/>
                  </a:cubicBezTo>
                  <a:cubicBezTo>
                    <a:pt x="1717" y="17649"/>
                    <a:pt x="1637" y="17725"/>
                    <a:pt x="1637" y="17725"/>
                  </a:cubicBezTo>
                  <a:cubicBezTo>
                    <a:pt x="1584" y="17802"/>
                    <a:pt x="1664" y="17878"/>
                    <a:pt x="1664" y="17878"/>
                  </a:cubicBezTo>
                  <a:cubicBezTo>
                    <a:pt x="1664" y="17878"/>
                    <a:pt x="1584" y="17878"/>
                    <a:pt x="1611" y="18032"/>
                  </a:cubicBezTo>
                  <a:cubicBezTo>
                    <a:pt x="1664" y="18108"/>
                    <a:pt x="1637" y="18185"/>
                    <a:pt x="1611" y="18261"/>
                  </a:cubicBezTo>
                  <a:cubicBezTo>
                    <a:pt x="1611" y="18338"/>
                    <a:pt x="1531" y="18338"/>
                    <a:pt x="1504" y="18338"/>
                  </a:cubicBezTo>
                  <a:cubicBezTo>
                    <a:pt x="1451" y="18338"/>
                    <a:pt x="1424" y="18491"/>
                    <a:pt x="1397" y="18644"/>
                  </a:cubicBezTo>
                  <a:cubicBezTo>
                    <a:pt x="1424" y="18644"/>
                    <a:pt x="1531" y="18644"/>
                    <a:pt x="1531" y="18721"/>
                  </a:cubicBezTo>
                  <a:cubicBezTo>
                    <a:pt x="1531" y="18798"/>
                    <a:pt x="1397" y="18874"/>
                    <a:pt x="1397" y="18951"/>
                  </a:cubicBezTo>
                  <a:cubicBezTo>
                    <a:pt x="1397" y="19027"/>
                    <a:pt x="1451" y="19027"/>
                    <a:pt x="1451" y="19181"/>
                  </a:cubicBezTo>
                  <a:cubicBezTo>
                    <a:pt x="1451" y="19181"/>
                    <a:pt x="1371" y="19257"/>
                    <a:pt x="1371" y="19257"/>
                  </a:cubicBezTo>
                  <a:cubicBezTo>
                    <a:pt x="1344" y="19334"/>
                    <a:pt x="1344" y="19410"/>
                    <a:pt x="1317" y="19487"/>
                  </a:cubicBezTo>
                  <a:cubicBezTo>
                    <a:pt x="1317" y="19564"/>
                    <a:pt x="1264" y="19487"/>
                    <a:pt x="1264" y="19640"/>
                  </a:cubicBezTo>
                  <a:cubicBezTo>
                    <a:pt x="1237" y="19717"/>
                    <a:pt x="1291" y="19870"/>
                    <a:pt x="1344" y="19870"/>
                  </a:cubicBezTo>
                  <a:cubicBezTo>
                    <a:pt x="1397" y="19946"/>
                    <a:pt x="1451" y="20023"/>
                    <a:pt x="1531" y="20176"/>
                  </a:cubicBezTo>
                  <a:cubicBezTo>
                    <a:pt x="1557" y="20253"/>
                    <a:pt x="1584" y="20329"/>
                    <a:pt x="1611" y="20329"/>
                  </a:cubicBezTo>
                  <a:cubicBezTo>
                    <a:pt x="1637" y="20483"/>
                    <a:pt x="1637" y="20406"/>
                    <a:pt x="1691" y="20329"/>
                  </a:cubicBezTo>
                  <a:cubicBezTo>
                    <a:pt x="1771" y="20329"/>
                    <a:pt x="1851" y="20559"/>
                    <a:pt x="1931" y="20559"/>
                  </a:cubicBezTo>
                  <a:cubicBezTo>
                    <a:pt x="2011" y="20559"/>
                    <a:pt x="2091" y="20712"/>
                    <a:pt x="2171" y="20789"/>
                  </a:cubicBezTo>
                  <a:cubicBezTo>
                    <a:pt x="2251" y="20866"/>
                    <a:pt x="2304" y="20789"/>
                    <a:pt x="2384" y="20789"/>
                  </a:cubicBezTo>
                  <a:cubicBezTo>
                    <a:pt x="2411" y="20866"/>
                    <a:pt x="2437" y="20942"/>
                    <a:pt x="2437" y="21019"/>
                  </a:cubicBezTo>
                  <a:cubicBezTo>
                    <a:pt x="2437" y="21095"/>
                    <a:pt x="2464" y="21095"/>
                    <a:pt x="2491" y="21095"/>
                  </a:cubicBezTo>
                  <a:cubicBezTo>
                    <a:pt x="2571" y="21172"/>
                    <a:pt x="2624" y="21555"/>
                    <a:pt x="2731" y="21402"/>
                  </a:cubicBezTo>
                  <a:cubicBezTo>
                    <a:pt x="2757" y="21325"/>
                    <a:pt x="2811" y="21249"/>
                    <a:pt x="2784" y="21172"/>
                  </a:cubicBezTo>
                  <a:cubicBezTo>
                    <a:pt x="2757" y="21095"/>
                    <a:pt x="2731" y="21019"/>
                    <a:pt x="2704" y="20942"/>
                  </a:cubicBezTo>
                  <a:cubicBezTo>
                    <a:pt x="2651" y="20789"/>
                    <a:pt x="2624" y="20636"/>
                    <a:pt x="2651" y="20406"/>
                  </a:cubicBezTo>
                  <a:cubicBezTo>
                    <a:pt x="2651" y="20253"/>
                    <a:pt x="2624" y="20100"/>
                    <a:pt x="2571" y="20023"/>
                  </a:cubicBezTo>
                  <a:cubicBezTo>
                    <a:pt x="2517" y="19946"/>
                    <a:pt x="2597" y="19793"/>
                    <a:pt x="2624" y="19717"/>
                  </a:cubicBezTo>
                  <a:cubicBezTo>
                    <a:pt x="2651" y="19564"/>
                    <a:pt x="2651" y="19410"/>
                    <a:pt x="2731" y="19410"/>
                  </a:cubicBezTo>
                  <a:cubicBezTo>
                    <a:pt x="2757" y="19410"/>
                    <a:pt x="2784" y="19334"/>
                    <a:pt x="2811" y="19257"/>
                  </a:cubicBezTo>
                  <a:cubicBezTo>
                    <a:pt x="2837" y="19181"/>
                    <a:pt x="2864" y="19181"/>
                    <a:pt x="2891" y="19104"/>
                  </a:cubicBezTo>
                  <a:cubicBezTo>
                    <a:pt x="2864" y="19104"/>
                    <a:pt x="2811" y="19027"/>
                    <a:pt x="2811" y="18951"/>
                  </a:cubicBezTo>
                  <a:cubicBezTo>
                    <a:pt x="2811" y="18874"/>
                    <a:pt x="2864" y="18951"/>
                    <a:pt x="2864" y="18951"/>
                  </a:cubicBezTo>
                  <a:cubicBezTo>
                    <a:pt x="2864" y="18874"/>
                    <a:pt x="2811" y="18644"/>
                    <a:pt x="2784" y="18568"/>
                  </a:cubicBezTo>
                  <a:cubicBezTo>
                    <a:pt x="2757" y="18415"/>
                    <a:pt x="2731" y="18415"/>
                    <a:pt x="2677" y="18415"/>
                  </a:cubicBezTo>
                  <a:cubicBezTo>
                    <a:pt x="2597" y="18415"/>
                    <a:pt x="2651" y="18261"/>
                    <a:pt x="2597" y="18185"/>
                  </a:cubicBezTo>
                  <a:cubicBezTo>
                    <a:pt x="2571" y="18108"/>
                    <a:pt x="2491" y="18108"/>
                    <a:pt x="2544" y="17955"/>
                  </a:cubicBezTo>
                  <a:cubicBezTo>
                    <a:pt x="2571" y="17802"/>
                    <a:pt x="2624" y="17725"/>
                    <a:pt x="2571" y="17649"/>
                  </a:cubicBezTo>
                  <a:cubicBezTo>
                    <a:pt x="2544" y="17495"/>
                    <a:pt x="2597" y="17419"/>
                    <a:pt x="2624" y="17342"/>
                  </a:cubicBezTo>
                  <a:cubicBezTo>
                    <a:pt x="2624" y="17266"/>
                    <a:pt x="2677" y="17036"/>
                    <a:pt x="2677" y="17112"/>
                  </a:cubicBezTo>
                  <a:cubicBezTo>
                    <a:pt x="2704" y="17189"/>
                    <a:pt x="2731" y="17342"/>
                    <a:pt x="2757" y="17419"/>
                  </a:cubicBezTo>
                  <a:cubicBezTo>
                    <a:pt x="2811" y="17419"/>
                    <a:pt x="2837" y="17342"/>
                    <a:pt x="2837" y="17266"/>
                  </a:cubicBezTo>
                  <a:cubicBezTo>
                    <a:pt x="2811" y="17112"/>
                    <a:pt x="2811" y="17036"/>
                    <a:pt x="2864" y="16959"/>
                  </a:cubicBezTo>
                  <a:cubicBezTo>
                    <a:pt x="2917" y="16883"/>
                    <a:pt x="2917" y="16729"/>
                    <a:pt x="2971" y="16729"/>
                  </a:cubicBezTo>
                  <a:cubicBezTo>
                    <a:pt x="3024" y="16653"/>
                    <a:pt x="3077" y="16423"/>
                    <a:pt x="3131" y="16500"/>
                  </a:cubicBezTo>
                  <a:cubicBezTo>
                    <a:pt x="3184" y="16500"/>
                    <a:pt x="3184" y="16653"/>
                    <a:pt x="3237" y="16500"/>
                  </a:cubicBezTo>
                  <a:cubicBezTo>
                    <a:pt x="3291" y="16423"/>
                    <a:pt x="3291" y="16500"/>
                    <a:pt x="3344" y="16576"/>
                  </a:cubicBezTo>
                  <a:cubicBezTo>
                    <a:pt x="3397" y="16576"/>
                    <a:pt x="3451" y="16576"/>
                    <a:pt x="3504" y="16653"/>
                  </a:cubicBezTo>
                  <a:cubicBezTo>
                    <a:pt x="3557" y="16729"/>
                    <a:pt x="3557" y="16883"/>
                    <a:pt x="3611" y="17036"/>
                  </a:cubicBezTo>
                  <a:cubicBezTo>
                    <a:pt x="3611" y="17036"/>
                    <a:pt x="3611" y="16806"/>
                    <a:pt x="3664" y="16883"/>
                  </a:cubicBezTo>
                  <a:cubicBezTo>
                    <a:pt x="3691" y="16883"/>
                    <a:pt x="3717" y="17036"/>
                    <a:pt x="3771" y="17036"/>
                  </a:cubicBezTo>
                  <a:cubicBezTo>
                    <a:pt x="3797" y="17112"/>
                    <a:pt x="3824" y="16959"/>
                    <a:pt x="3851" y="16883"/>
                  </a:cubicBezTo>
                  <a:cubicBezTo>
                    <a:pt x="3904" y="16729"/>
                    <a:pt x="3931" y="16883"/>
                    <a:pt x="3984" y="16883"/>
                  </a:cubicBezTo>
                  <a:cubicBezTo>
                    <a:pt x="4037" y="16883"/>
                    <a:pt x="4064" y="16729"/>
                    <a:pt x="4117" y="16806"/>
                  </a:cubicBezTo>
                  <a:cubicBezTo>
                    <a:pt x="4171" y="16883"/>
                    <a:pt x="4197" y="16959"/>
                    <a:pt x="4251" y="17036"/>
                  </a:cubicBezTo>
                  <a:cubicBezTo>
                    <a:pt x="4304" y="17112"/>
                    <a:pt x="4277" y="17036"/>
                    <a:pt x="4331" y="16959"/>
                  </a:cubicBezTo>
                  <a:cubicBezTo>
                    <a:pt x="4357" y="16883"/>
                    <a:pt x="4464" y="16959"/>
                    <a:pt x="4491" y="16959"/>
                  </a:cubicBezTo>
                  <a:cubicBezTo>
                    <a:pt x="4517" y="16959"/>
                    <a:pt x="4571" y="16806"/>
                    <a:pt x="4571" y="16729"/>
                  </a:cubicBezTo>
                  <a:cubicBezTo>
                    <a:pt x="4571" y="16576"/>
                    <a:pt x="4491" y="16576"/>
                    <a:pt x="4464" y="16500"/>
                  </a:cubicBezTo>
                  <a:cubicBezTo>
                    <a:pt x="4277" y="16270"/>
                    <a:pt x="4544" y="16346"/>
                    <a:pt x="4491" y="16040"/>
                  </a:cubicBezTo>
                  <a:cubicBezTo>
                    <a:pt x="4464" y="15964"/>
                    <a:pt x="4411" y="15964"/>
                    <a:pt x="4491" y="15887"/>
                  </a:cubicBezTo>
                  <a:cubicBezTo>
                    <a:pt x="4517" y="15810"/>
                    <a:pt x="4571" y="15887"/>
                    <a:pt x="4597" y="15810"/>
                  </a:cubicBezTo>
                  <a:cubicBezTo>
                    <a:pt x="4704" y="15810"/>
                    <a:pt x="4411" y="15427"/>
                    <a:pt x="4544" y="15274"/>
                  </a:cubicBezTo>
                  <a:cubicBezTo>
                    <a:pt x="4571" y="15274"/>
                    <a:pt x="4624" y="15274"/>
                    <a:pt x="4651" y="15274"/>
                  </a:cubicBezTo>
                  <a:cubicBezTo>
                    <a:pt x="4731" y="15274"/>
                    <a:pt x="4784" y="15274"/>
                    <a:pt x="4864" y="15198"/>
                  </a:cubicBezTo>
                  <a:cubicBezTo>
                    <a:pt x="4917" y="15121"/>
                    <a:pt x="4971" y="15121"/>
                    <a:pt x="5024" y="15121"/>
                  </a:cubicBezTo>
                  <a:cubicBezTo>
                    <a:pt x="5077" y="15044"/>
                    <a:pt x="5131" y="14968"/>
                    <a:pt x="5211" y="14968"/>
                  </a:cubicBezTo>
                  <a:cubicBezTo>
                    <a:pt x="5317" y="14891"/>
                    <a:pt x="5424" y="14815"/>
                    <a:pt x="5531" y="14661"/>
                  </a:cubicBezTo>
                  <a:cubicBezTo>
                    <a:pt x="5611" y="14508"/>
                    <a:pt x="5771" y="14508"/>
                    <a:pt x="5824" y="14815"/>
                  </a:cubicBezTo>
                  <a:cubicBezTo>
                    <a:pt x="5851" y="14968"/>
                    <a:pt x="5824" y="14968"/>
                    <a:pt x="5851" y="15121"/>
                  </a:cubicBezTo>
                  <a:cubicBezTo>
                    <a:pt x="5851" y="15351"/>
                    <a:pt x="5957" y="15121"/>
                    <a:pt x="6011" y="15198"/>
                  </a:cubicBezTo>
                  <a:cubicBezTo>
                    <a:pt x="6037" y="15198"/>
                    <a:pt x="6011" y="15274"/>
                    <a:pt x="6037" y="15274"/>
                  </a:cubicBezTo>
                  <a:cubicBezTo>
                    <a:pt x="6064" y="15351"/>
                    <a:pt x="6064" y="15274"/>
                    <a:pt x="6064" y="15274"/>
                  </a:cubicBezTo>
                  <a:cubicBezTo>
                    <a:pt x="6091" y="15198"/>
                    <a:pt x="6117" y="15274"/>
                    <a:pt x="6144" y="15351"/>
                  </a:cubicBezTo>
                  <a:cubicBezTo>
                    <a:pt x="6171" y="15351"/>
                    <a:pt x="6171" y="15351"/>
                    <a:pt x="6144" y="15427"/>
                  </a:cubicBezTo>
                  <a:cubicBezTo>
                    <a:pt x="6117" y="15657"/>
                    <a:pt x="6304" y="15504"/>
                    <a:pt x="6357" y="15427"/>
                  </a:cubicBezTo>
                  <a:cubicBezTo>
                    <a:pt x="6357" y="15427"/>
                    <a:pt x="6597" y="15044"/>
                    <a:pt x="6597" y="15121"/>
                  </a:cubicBezTo>
                  <a:cubicBezTo>
                    <a:pt x="6597" y="15198"/>
                    <a:pt x="6544" y="15351"/>
                    <a:pt x="6597" y="15427"/>
                  </a:cubicBezTo>
                  <a:cubicBezTo>
                    <a:pt x="6651" y="15427"/>
                    <a:pt x="6677" y="15504"/>
                    <a:pt x="6704" y="15581"/>
                  </a:cubicBezTo>
                  <a:cubicBezTo>
                    <a:pt x="6784" y="15810"/>
                    <a:pt x="6811" y="16040"/>
                    <a:pt x="6864" y="16270"/>
                  </a:cubicBezTo>
                  <a:cubicBezTo>
                    <a:pt x="6917" y="16500"/>
                    <a:pt x="6944" y="16729"/>
                    <a:pt x="6997" y="16883"/>
                  </a:cubicBezTo>
                  <a:cubicBezTo>
                    <a:pt x="7077" y="17112"/>
                    <a:pt x="7077" y="16576"/>
                    <a:pt x="7157" y="16806"/>
                  </a:cubicBezTo>
                  <a:cubicBezTo>
                    <a:pt x="7264" y="17112"/>
                    <a:pt x="7317" y="16959"/>
                    <a:pt x="7451" y="16883"/>
                  </a:cubicBezTo>
                  <a:cubicBezTo>
                    <a:pt x="7504" y="16806"/>
                    <a:pt x="7531" y="17036"/>
                    <a:pt x="7557" y="17112"/>
                  </a:cubicBezTo>
                  <a:cubicBezTo>
                    <a:pt x="7584" y="17266"/>
                    <a:pt x="7637" y="17266"/>
                    <a:pt x="7664" y="17419"/>
                  </a:cubicBezTo>
                  <a:cubicBezTo>
                    <a:pt x="7691" y="17572"/>
                    <a:pt x="7744" y="17572"/>
                    <a:pt x="7797" y="17572"/>
                  </a:cubicBezTo>
                  <a:cubicBezTo>
                    <a:pt x="7877" y="17495"/>
                    <a:pt x="7851" y="17572"/>
                    <a:pt x="7877" y="17649"/>
                  </a:cubicBezTo>
                  <a:cubicBezTo>
                    <a:pt x="7931" y="17955"/>
                    <a:pt x="8091" y="17572"/>
                    <a:pt x="8171" y="17572"/>
                  </a:cubicBezTo>
                  <a:cubicBezTo>
                    <a:pt x="8251" y="17495"/>
                    <a:pt x="8331" y="17266"/>
                    <a:pt x="8411" y="17189"/>
                  </a:cubicBezTo>
                  <a:cubicBezTo>
                    <a:pt x="8517" y="16959"/>
                    <a:pt x="8571" y="16959"/>
                    <a:pt x="8704" y="17036"/>
                  </a:cubicBezTo>
                  <a:cubicBezTo>
                    <a:pt x="8757" y="17036"/>
                    <a:pt x="8757" y="17112"/>
                    <a:pt x="8811" y="17266"/>
                  </a:cubicBezTo>
                  <a:cubicBezTo>
                    <a:pt x="8837" y="17342"/>
                    <a:pt x="8891" y="17342"/>
                    <a:pt x="8944" y="17342"/>
                  </a:cubicBezTo>
                  <a:cubicBezTo>
                    <a:pt x="8997" y="17342"/>
                    <a:pt x="9024" y="17419"/>
                    <a:pt x="9077" y="17419"/>
                  </a:cubicBezTo>
                  <a:cubicBezTo>
                    <a:pt x="9131" y="17572"/>
                    <a:pt x="9157" y="17419"/>
                    <a:pt x="9211" y="17342"/>
                  </a:cubicBezTo>
                  <a:cubicBezTo>
                    <a:pt x="9291" y="17112"/>
                    <a:pt x="9157" y="16959"/>
                    <a:pt x="9211" y="16729"/>
                  </a:cubicBezTo>
                  <a:cubicBezTo>
                    <a:pt x="9237" y="16576"/>
                    <a:pt x="9344" y="16270"/>
                    <a:pt x="9397" y="16346"/>
                  </a:cubicBezTo>
                  <a:cubicBezTo>
                    <a:pt x="9504" y="16500"/>
                    <a:pt x="9637" y="16500"/>
                    <a:pt x="9744" y="16653"/>
                  </a:cubicBezTo>
                  <a:cubicBezTo>
                    <a:pt x="9797" y="16729"/>
                    <a:pt x="9771" y="16883"/>
                    <a:pt x="9797" y="16959"/>
                  </a:cubicBezTo>
                  <a:cubicBezTo>
                    <a:pt x="9824" y="17189"/>
                    <a:pt x="9877" y="17189"/>
                    <a:pt x="9957" y="17266"/>
                  </a:cubicBezTo>
                  <a:cubicBezTo>
                    <a:pt x="10064" y="17342"/>
                    <a:pt x="10171" y="17112"/>
                    <a:pt x="10277" y="17189"/>
                  </a:cubicBezTo>
                  <a:cubicBezTo>
                    <a:pt x="10304" y="17189"/>
                    <a:pt x="10357" y="17189"/>
                    <a:pt x="10384" y="17266"/>
                  </a:cubicBezTo>
                  <a:cubicBezTo>
                    <a:pt x="10437" y="17342"/>
                    <a:pt x="10491" y="17342"/>
                    <a:pt x="10544" y="17495"/>
                  </a:cubicBezTo>
                  <a:cubicBezTo>
                    <a:pt x="10677" y="17802"/>
                    <a:pt x="10891" y="17802"/>
                    <a:pt x="11051" y="17649"/>
                  </a:cubicBezTo>
                  <a:cubicBezTo>
                    <a:pt x="11157" y="17572"/>
                    <a:pt x="11237" y="17419"/>
                    <a:pt x="11344" y="17342"/>
                  </a:cubicBezTo>
                  <a:cubicBezTo>
                    <a:pt x="11397" y="17189"/>
                    <a:pt x="11477" y="17342"/>
                    <a:pt x="11531" y="17342"/>
                  </a:cubicBezTo>
                  <a:cubicBezTo>
                    <a:pt x="11584" y="17419"/>
                    <a:pt x="11611" y="17266"/>
                    <a:pt x="11664" y="17342"/>
                  </a:cubicBezTo>
                  <a:cubicBezTo>
                    <a:pt x="11691" y="17419"/>
                    <a:pt x="11797" y="17649"/>
                    <a:pt x="11851" y="17572"/>
                  </a:cubicBezTo>
                  <a:cubicBezTo>
                    <a:pt x="11877" y="17572"/>
                    <a:pt x="11931" y="17495"/>
                    <a:pt x="11957" y="17419"/>
                  </a:cubicBezTo>
                  <a:cubicBezTo>
                    <a:pt x="12037" y="17342"/>
                    <a:pt x="12064" y="17342"/>
                    <a:pt x="12064" y="17189"/>
                  </a:cubicBezTo>
                  <a:cubicBezTo>
                    <a:pt x="12064" y="16883"/>
                    <a:pt x="12144" y="16576"/>
                    <a:pt x="12197" y="16423"/>
                  </a:cubicBezTo>
                  <a:cubicBezTo>
                    <a:pt x="12224" y="16346"/>
                    <a:pt x="12251" y="16193"/>
                    <a:pt x="12224" y="16117"/>
                  </a:cubicBezTo>
                  <a:cubicBezTo>
                    <a:pt x="12197" y="16040"/>
                    <a:pt x="12117" y="16040"/>
                    <a:pt x="12171" y="15887"/>
                  </a:cubicBezTo>
                  <a:cubicBezTo>
                    <a:pt x="12251" y="15657"/>
                    <a:pt x="12384" y="15657"/>
                    <a:pt x="12517" y="15581"/>
                  </a:cubicBezTo>
                  <a:cubicBezTo>
                    <a:pt x="12571" y="15581"/>
                    <a:pt x="12624" y="15581"/>
                    <a:pt x="12677" y="15657"/>
                  </a:cubicBezTo>
                  <a:cubicBezTo>
                    <a:pt x="12731" y="15734"/>
                    <a:pt x="12811" y="15734"/>
                    <a:pt x="12864" y="15810"/>
                  </a:cubicBezTo>
                  <a:cubicBezTo>
                    <a:pt x="12944" y="15887"/>
                    <a:pt x="12971" y="16193"/>
                    <a:pt x="13024" y="16423"/>
                  </a:cubicBezTo>
                  <a:cubicBezTo>
                    <a:pt x="13051" y="16653"/>
                    <a:pt x="13104" y="16883"/>
                    <a:pt x="13131" y="17112"/>
                  </a:cubicBezTo>
                  <a:cubicBezTo>
                    <a:pt x="13131" y="17189"/>
                    <a:pt x="13131" y="17342"/>
                    <a:pt x="13157" y="17495"/>
                  </a:cubicBezTo>
                  <a:cubicBezTo>
                    <a:pt x="13157" y="17572"/>
                    <a:pt x="13237" y="17572"/>
                    <a:pt x="13264" y="17572"/>
                  </a:cubicBezTo>
                  <a:cubicBezTo>
                    <a:pt x="13371" y="17649"/>
                    <a:pt x="13504" y="17802"/>
                    <a:pt x="13531" y="18108"/>
                  </a:cubicBezTo>
                  <a:cubicBezTo>
                    <a:pt x="13557" y="18338"/>
                    <a:pt x="13584" y="18491"/>
                    <a:pt x="13691" y="18491"/>
                  </a:cubicBezTo>
                  <a:cubicBezTo>
                    <a:pt x="13717" y="18491"/>
                    <a:pt x="13771" y="18491"/>
                    <a:pt x="13797" y="18491"/>
                  </a:cubicBezTo>
                  <a:cubicBezTo>
                    <a:pt x="13851" y="18491"/>
                    <a:pt x="13851" y="18338"/>
                    <a:pt x="13904" y="18338"/>
                  </a:cubicBezTo>
                  <a:cubicBezTo>
                    <a:pt x="13984" y="18338"/>
                    <a:pt x="14064" y="18108"/>
                    <a:pt x="14117" y="18415"/>
                  </a:cubicBezTo>
                  <a:cubicBezTo>
                    <a:pt x="14117" y="18568"/>
                    <a:pt x="14117" y="18568"/>
                    <a:pt x="14091" y="18644"/>
                  </a:cubicBezTo>
                  <a:cubicBezTo>
                    <a:pt x="14037" y="18798"/>
                    <a:pt x="14037" y="18874"/>
                    <a:pt x="14011" y="19027"/>
                  </a:cubicBezTo>
                  <a:cubicBezTo>
                    <a:pt x="13984" y="19257"/>
                    <a:pt x="13931" y="19487"/>
                    <a:pt x="13877" y="19717"/>
                  </a:cubicBezTo>
                  <a:cubicBezTo>
                    <a:pt x="13851" y="19870"/>
                    <a:pt x="13824" y="19793"/>
                    <a:pt x="13797" y="19717"/>
                  </a:cubicBezTo>
                  <a:cubicBezTo>
                    <a:pt x="13744" y="19640"/>
                    <a:pt x="13744" y="19717"/>
                    <a:pt x="13691" y="19793"/>
                  </a:cubicBezTo>
                  <a:cubicBezTo>
                    <a:pt x="13664" y="19793"/>
                    <a:pt x="13611" y="19870"/>
                    <a:pt x="13611" y="19870"/>
                  </a:cubicBezTo>
                  <a:cubicBezTo>
                    <a:pt x="13584" y="19946"/>
                    <a:pt x="13664" y="20253"/>
                    <a:pt x="13664" y="20406"/>
                  </a:cubicBezTo>
                  <a:cubicBezTo>
                    <a:pt x="13637" y="20483"/>
                    <a:pt x="13637" y="20636"/>
                    <a:pt x="13637" y="20712"/>
                  </a:cubicBezTo>
                  <a:cubicBezTo>
                    <a:pt x="13611" y="20866"/>
                    <a:pt x="13557" y="20789"/>
                    <a:pt x="13557" y="20942"/>
                  </a:cubicBezTo>
                  <a:cubicBezTo>
                    <a:pt x="13611" y="20866"/>
                    <a:pt x="13637" y="20942"/>
                    <a:pt x="13691" y="20789"/>
                  </a:cubicBezTo>
                  <a:cubicBezTo>
                    <a:pt x="13717" y="20636"/>
                    <a:pt x="13771" y="20789"/>
                    <a:pt x="13824" y="20789"/>
                  </a:cubicBezTo>
                  <a:cubicBezTo>
                    <a:pt x="13931" y="20942"/>
                    <a:pt x="14037" y="20789"/>
                    <a:pt x="14144" y="20559"/>
                  </a:cubicBezTo>
                  <a:cubicBezTo>
                    <a:pt x="14224" y="20329"/>
                    <a:pt x="14304" y="20023"/>
                    <a:pt x="14384" y="19793"/>
                  </a:cubicBezTo>
                  <a:cubicBezTo>
                    <a:pt x="14464" y="19487"/>
                    <a:pt x="14544" y="19181"/>
                    <a:pt x="14624" y="18874"/>
                  </a:cubicBezTo>
                  <a:cubicBezTo>
                    <a:pt x="14757" y="18338"/>
                    <a:pt x="14891" y="17955"/>
                    <a:pt x="14864" y="17266"/>
                  </a:cubicBezTo>
                  <a:cubicBezTo>
                    <a:pt x="14864" y="16959"/>
                    <a:pt x="14891" y="16806"/>
                    <a:pt x="14944" y="16576"/>
                  </a:cubicBezTo>
                  <a:cubicBezTo>
                    <a:pt x="14971" y="16423"/>
                    <a:pt x="14971" y="16346"/>
                    <a:pt x="14997" y="16193"/>
                  </a:cubicBezTo>
                  <a:cubicBezTo>
                    <a:pt x="14997" y="16193"/>
                    <a:pt x="14997" y="16117"/>
                    <a:pt x="14997" y="16040"/>
                  </a:cubicBezTo>
                  <a:cubicBezTo>
                    <a:pt x="14997" y="15964"/>
                    <a:pt x="14944" y="15887"/>
                    <a:pt x="14944" y="15810"/>
                  </a:cubicBezTo>
                  <a:cubicBezTo>
                    <a:pt x="14944" y="15810"/>
                    <a:pt x="14997" y="15887"/>
                    <a:pt x="14997" y="15810"/>
                  </a:cubicBezTo>
                  <a:cubicBezTo>
                    <a:pt x="14971" y="15734"/>
                    <a:pt x="14971" y="15657"/>
                    <a:pt x="14944" y="15657"/>
                  </a:cubicBezTo>
                  <a:cubicBezTo>
                    <a:pt x="14917" y="15581"/>
                    <a:pt x="14864" y="15351"/>
                    <a:pt x="14837" y="15274"/>
                  </a:cubicBezTo>
                  <a:cubicBezTo>
                    <a:pt x="14811" y="15274"/>
                    <a:pt x="14677" y="15121"/>
                    <a:pt x="14651" y="15198"/>
                  </a:cubicBezTo>
                  <a:cubicBezTo>
                    <a:pt x="14651" y="15274"/>
                    <a:pt x="14677" y="15351"/>
                    <a:pt x="14651" y="15351"/>
                  </a:cubicBezTo>
                  <a:cubicBezTo>
                    <a:pt x="14597" y="15351"/>
                    <a:pt x="14597" y="15504"/>
                    <a:pt x="14571" y="15504"/>
                  </a:cubicBezTo>
                  <a:cubicBezTo>
                    <a:pt x="14517" y="15657"/>
                    <a:pt x="14491" y="15427"/>
                    <a:pt x="14491" y="15351"/>
                  </a:cubicBezTo>
                  <a:cubicBezTo>
                    <a:pt x="14491" y="15198"/>
                    <a:pt x="14544" y="15121"/>
                    <a:pt x="14464" y="15198"/>
                  </a:cubicBezTo>
                  <a:cubicBezTo>
                    <a:pt x="14384" y="15274"/>
                    <a:pt x="14491" y="15427"/>
                    <a:pt x="14384" y="15427"/>
                  </a:cubicBezTo>
                  <a:cubicBezTo>
                    <a:pt x="14357" y="15427"/>
                    <a:pt x="14411" y="15044"/>
                    <a:pt x="14384" y="14968"/>
                  </a:cubicBezTo>
                  <a:cubicBezTo>
                    <a:pt x="14384" y="15044"/>
                    <a:pt x="14091" y="15044"/>
                    <a:pt x="14224" y="14815"/>
                  </a:cubicBezTo>
                  <a:cubicBezTo>
                    <a:pt x="14331" y="14585"/>
                    <a:pt x="14437" y="14355"/>
                    <a:pt x="14544" y="14125"/>
                  </a:cubicBezTo>
                  <a:cubicBezTo>
                    <a:pt x="14571" y="14049"/>
                    <a:pt x="14597" y="13895"/>
                    <a:pt x="14624" y="13819"/>
                  </a:cubicBezTo>
                  <a:cubicBezTo>
                    <a:pt x="14704" y="13666"/>
                    <a:pt x="14784" y="13512"/>
                    <a:pt x="14837" y="13359"/>
                  </a:cubicBezTo>
                  <a:cubicBezTo>
                    <a:pt x="14864" y="13283"/>
                    <a:pt x="14891" y="13129"/>
                    <a:pt x="14944" y="13053"/>
                  </a:cubicBezTo>
                  <a:cubicBezTo>
                    <a:pt x="14997" y="12900"/>
                    <a:pt x="15051" y="12746"/>
                    <a:pt x="15104" y="12593"/>
                  </a:cubicBezTo>
                  <a:cubicBezTo>
                    <a:pt x="15211" y="12364"/>
                    <a:pt x="15371" y="12364"/>
                    <a:pt x="15504" y="12364"/>
                  </a:cubicBezTo>
                  <a:cubicBezTo>
                    <a:pt x="15531" y="12364"/>
                    <a:pt x="15557" y="12364"/>
                    <a:pt x="15584" y="12364"/>
                  </a:cubicBezTo>
                  <a:cubicBezTo>
                    <a:pt x="15611" y="12440"/>
                    <a:pt x="15611" y="12517"/>
                    <a:pt x="15637" y="12517"/>
                  </a:cubicBezTo>
                  <a:cubicBezTo>
                    <a:pt x="15664" y="12440"/>
                    <a:pt x="15717" y="12440"/>
                    <a:pt x="15744" y="12364"/>
                  </a:cubicBezTo>
                  <a:cubicBezTo>
                    <a:pt x="15771" y="12364"/>
                    <a:pt x="15797" y="12440"/>
                    <a:pt x="15824" y="12440"/>
                  </a:cubicBezTo>
                  <a:cubicBezTo>
                    <a:pt x="15851" y="12440"/>
                    <a:pt x="15877" y="12440"/>
                    <a:pt x="15904" y="12440"/>
                  </a:cubicBezTo>
                  <a:cubicBezTo>
                    <a:pt x="15904" y="12364"/>
                    <a:pt x="15931" y="12440"/>
                    <a:pt x="15957" y="12440"/>
                  </a:cubicBezTo>
                  <a:cubicBezTo>
                    <a:pt x="16011" y="12440"/>
                    <a:pt x="16011" y="12210"/>
                    <a:pt x="16091" y="12210"/>
                  </a:cubicBezTo>
                  <a:cubicBezTo>
                    <a:pt x="16117" y="12210"/>
                    <a:pt x="16171" y="12210"/>
                    <a:pt x="16197" y="12210"/>
                  </a:cubicBezTo>
                  <a:cubicBezTo>
                    <a:pt x="16224" y="12287"/>
                    <a:pt x="16251" y="12364"/>
                    <a:pt x="16277" y="12364"/>
                  </a:cubicBezTo>
                  <a:cubicBezTo>
                    <a:pt x="16304" y="12440"/>
                    <a:pt x="16411" y="12287"/>
                    <a:pt x="16411" y="12517"/>
                  </a:cubicBezTo>
                  <a:cubicBezTo>
                    <a:pt x="16411" y="12517"/>
                    <a:pt x="16331" y="12517"/>
                    <a:pt x="16331" y="12593"/>
                  </a:cubicBezTo>
                  <a:cubicBezTo>
                    <a:pt x="16304" y="12746"/>
                    <a:pt x="16411" y="12670"/>
                    <a:pt x="16411" y="12670"/>
                  </a:cubicBezTo>
                  <a:cubicBezTo>
                    <a:pt x="16464" y="12670"/>
                    <a:pt x="16517" y="12670"/>
                    <a:pt x="16544" y="12670"/>
                  </a:cubicBezTo>
                  <a:cubicBezTo>
                    <a:pt x="16571" y="12593"/>
                    <a:pt x="16571" y="12593"/>
                    <a:pt x="16597" y="12517"/>
                  </a:cubicBezTo>
                  <a:cubicBezTo>
                    <a:pt x="16624" y="12517"/>
                    <a:pt x="16651" y="12593"/>
                    <a:pt x="16704" y="12593"/>
                  </a:cubicBezTo>
                  <a:cubicBezTo>
                    <a:pt x="16731" y="12593"/>
                    <a:pt x="16917" y="12440"/>
                    <a:pt x="16811" y="12364"/>
                  </a:cubicBezTo>
                  <a:cubicBezTo>
                    <a:pt x="16757" y="12364"/>
                    <a:pt x="16731" y="12440"/>
                    <a:pt x="16731" y="12210"/>
                  </a:cubicBezTo>
                  <a:cubicBezTo>
                    <a:pt x="16731" y="12134"/>
                    <a:pt x="16784" y="11904"/>
                    <a:pt x="16811" y="11827"/>
                  </a:cubicBezTo>
                  <a:cubicBezTo>
                    <a:pt x="16864" y="11751"/>
                    <a:pt x="16891" y="11674"/>
                    <a:pt x="16944" y="11521"/>
                  </a:cubicBezTo>
                  <a:cubicBezTo>
                    <a:pt x="16971" y="11444"/>
                    <a:pt x="17024" y="11444"/>
                    <a:pt x="17051" y="11291"/>
                  </a:cubicBezTo>
                  <a:cubicBezTo>
                    <a:pt x="17077" y="11138"/>
                    <a:pt x="17104" y="11061"/>
                    <a:pt x="17157" y="11061"/>
                  </a:cubicBezTo>
                  <a:cubicBezTo>
                    <a:pt x="17211" y="11061"/>
                    <a:pt x="17291" y="10985"/>
                    <a:pt x="17344" y="10985"/>
                  </a:cubicBezTo>
                  <a:cubicBezTo>
                    <a:pt x="17397" y="10985"/>
                    <a:pt x="17424" y="11138"/>
                    <a:pt x="17451" y="11138"/>
                  </a:cubicBezTo>
                  <a:cubicBezTo>
                    <a:pt x="17477" y="11061"/>
                    <a:pt x="17504" y="10908"/>
                    <a:pt x="17531" y="10985"/>
                  </a:cubicBezTo>
                  <a:cubicBezTo>
                    <a:pt x="17557" y="11061"/>
                    <a:pt x="17477" y="11291"/>
                    <a:pt x="17477" y="11368"/>
                  </a:cubicBezTo>
                  <a:cubicBezTo>
                    <a:pt x="17477" y="11521"/>
                    <a:pt x="17504" y="11368"/>
                    <a:pt x="17557" y="11444"/>
                  </a:cubicBezTo>
                  <a:cubicBezTo>
                    <a:pt x="17557" y="11444"/>
                    <a:pt x="17504" y="11598"/>
                    <a:pt x="17504" y="11674"/>
                  </a:cubicBezTo>
                  <a:cubicBezTo>
                    <a:pt x="17504" y="11751"/>
                    <a:pt x="17691" y="11368"/>
                    <a:pt x="17691" y="11368"/>
                  </a:cubicBezTo>
                  <a:cubicBezTo>
                    <a:pt x="17717" y="11291"/>
                    <a:pt x="17744" y="11215"/>
                    <a:pt x="17797" y="11138"/>
                  </a:cubicBezTo>
                  <a:cubicBezTo>
                    <a:pt x="17824" y="11061"/>
                    <a:pt x="17904" y="11215"/>
                    <a:pt x="17904" y="11061"/>
                  </a:cubicBezTo>
                  <a:cubicBezTo>
                    <a:pt x="17877" y="10908"/>
                    <a:pt x="17904" y="10602"/>
                    <a:pt x="17984" y="10602"/>
                  </a:cubicBezTo>
                  <a:cubicBezTo>
                    <a:pt x="18011" y="10525"/>
                    <a:pt x="18064" y="10449"/>
                    <a:pt x="18091" y="10525"/>
                  </a:cubicBezTo>
                  <a:cubicBezTo>
                    <a:pt x="18117" y="10525"/>
                    <a:pt x="18171" y="10678"/>
                    <a:pt x="18197" y="10602"/>
                  </a:cubicBezTo>
                  <a:cubicBezTo>
                    <a:pt x="18144" y="10678"/>
                    <a:pt x="18064" y="10602"/>
                    <a:pt x="18037" y="10832"/>
                  </a:cubicBezTo>
                  <a:cubicBezTo>
                    <a:pt x="18037" y="10908"/>
                    <a:pt x="18037" y="10985"/>
                    <a:pt x="18037" y="11061"/>
                  </a:cubicBezTo>
                  <a:cubicBezTo>
                    <a:pt x="18037" y="11138"/>
                    <a:pt x="17984" y="11138"/>
                    <a:pt x="18011" y="11215"/>
                  </a:cubicBezTo>
                  <a:cubicBezTo>
                    <a:pt x="18011" y="11291"/>
                    <a:pt x="18037" y="11291"/>
                    <a:pt x="18011" y="11368"/>
                  </a:cubicBezTo>
                  <a:cubicBezTo>
                    <a:pt x="17984" y="11368"/>
                    <a:pt x="17957" y="11444"/>
                    <a:pt x="17984" y="11521"/>
                  </a:cubicBezTo>
                  <a:cubicBezTo>
                    <a:pt x="17984" y="11521"/>
                    <a:pt x="17824" y="11674"/>
                    <a:pt x="17824" y="11751"/>
                  </a:cubicBezTo>
                  <a:cubicBezTo>
                    <a:pt x="17771" y="11827"/>
                    <a:pt x="17744" y="11981"/>
                    <a:pt x="17691" y="12057"/>
                  </a:cubicBezTo>
                  <a:cubicBezTo>
                    <a:pt x="17637" y="12210"/>
                    <a:pt x="17584" y="12287"/>
                    <a:pt x="17531" y="12440"/>
                  </a:cubicBezTo>
                  <a:cubicBezTo>
                    <a:pt x="17424" y="12670"/>
                    <a:pt x="17344" y="13206"/>
                    <a:pt x="17211" y="13206"/>
                  </a:cubicBezTo>
                  <a:cubicBezTo>
                    <a:pt x="17184" y="13206"/>
                    <a:pt x="17077" y="13283"/>
                    <a:pt x="17077" y="13359"/>
                  </a:cubicBezTo>
                  <a:cubicBezTo>
                    <a:pt x="17077" y="13589"/>
                    <a:pt x="17077" y="13666"/>
                    <a:pt x="16997" y="13819"/>
                  </a:cubicBezTo>
                  <a:cubicBezTo>
                    <a:pt x="16891" y="14049"/>
                    <a:pt x="16891" y="14508"/>
                    <a:pt x="16917" y="14891"/>
                  </a:cubicBezTo>
                  <a:cubicBezTo>
                    <a:pt x="16944" y="15274"/>
                    <a:pt x="16917" y="15734"/>
                    <a:pt x="16997" y="16040"/>
                  </a:cubicBezTo>
                  <a:cubicBezTo>
                    <a:pt x="17024" y="16193"/>
                    <a:pt x="17024" y="16423"/>
                    <a:pt x="17024" y="16576"/>
                  </a:cubicBezTo>
                  <a:cubicBezTo>
                    <a:pt x="17024" y="16576"/>
                    <a:pt x="17024" y="16729"/>
                    <a:pt x="17051" y="16729"/>
                  </a:cubicBezTo>
                  <a:cubicBezTo>
                    <a:pt x="17077" y="16729"/>
                    <a:pt x="17024" y="16959"/>
                    <a:pt x="17051" y="16959"/>
                  </a:cubicBezTo>
                  <a:cubicBezTo>
                    <a:pt x="17051" y="16959"/>
                    <a:pt x="17184" y="16653"/>
                    <a:pt x="17184" y="16576"/>
                  </a:cubicBezTo>
                  <a:cubicBezTo>
                    <a:pt x="17237" y="16423"/>
                    <a:pt x="17264" y="16270"/>
                    <a:pt x="17291" y="16040"/>
                  </a:cubicBezTo>
                  <a:cubicBezTo>
                    <a:pt x="17317" y="15887"/>
                    <a:pt x="17424" y="15734"/>
                    <a:pt x="17451" y="15734"/>
                  </a:cubicBezTo>
                  <a:cubicBezTo>
                    <a:pt x="17531" y="15887"/>
                    <a:pt x="17451" y="15427"/>
                    <a:pt x="17477" y="15351"/>
                  </a:cubicBezTo>
                  <a:cubicBezTo>
                    <a:pt x="17531" y="15121"/>
                    <a:pt x="17557" y="15044"/>
                    <a:pt x="17637" y="15044"/>
                  </a:cubicBezTo>
                  <a:cubicBezTo>
                    <a:pt x="17717" y="15044"/>
                    <a:pt x="17824" y="15044"/>
                    <a:pt x="17771" y="14815"/>
                  </a:cubicBezTo>
                  <a:cubicBezTo>
                    <a:pt x="17691" y="14585"/>
                    <a:pt x="17744" y="14355"/>
                    <a:pt x="17824" y="14202"/>
                  </a:cubicBezTo>
                  <a:cubicBezTo>
                    <a:pt x="17851" y="14125"/>
                    <a:pt x="17851" y="14278"/>
                    <a:pt x="17877" y="14278"/>
                  </a:cubicBezTo>
                  <a:cubicBezTo>
                    <a:pt x="17931" y="14278"/>
                    <a:pt x="17931" y="14049"/>
                    <a:pt x="17931" y="13972"/>
                  </a:cubicBezTo>
                  <a:cubicBezTo>
                    <a:pt x="17877" y="13819"/>
                    <a:pt x="17824" y="13742"/>
                    <a:pt x="17877" y="13512"/>
                  </a:cubicBezTo>
                  <a:cubicBezTo>
                    <a:pt x="17877" y="13512"/>
                    <a:pt x="17957" y="13436"/>
                    <a:pt x="17931" y="13359"/>
                  </a:cubicBezTo>
                  <a:cubicBezTo>
                    <a:pt x="17904" y="13359"/>
                    <a:pt x="17877" y="13206"/>
                    <a:pt x="17851" y="13206"/>
                  </a:cubicBezTo>
                  <a:cubicBezTo>
                    <a:pt x="17824" y="13206"/>
                    <a:pt x="17851" y="13283"/>
                    <a:pt x="17824" y="13283"/>
                  </a:cubicBezTo>
                  <a:cubicBezTo>
                    <a:pt x="17771" y="13283"/>
                    <a:pt x="17744" y="13206"/>
                    <a:pt x="17771" y="13053"/>
                  </a:cubicBezTo>
                  <a:cubicBezTo>
                    <a:pt x="17797" y="12900"/>
                    <a:pt x="17851" y="12823"/>
                    <a:pt x="17904" y="12593"/>
                  </a:cubicBezTo>
                  <a:cubicBezTo>
                    <a:pt x="17931" y="12440"/>
                    <a:pt x="17931" y="12210"/>
                    <a:pt x="18011" y="12057"/>
                  </a:cubicBezTo>
                  <a:cubicBezTo>
                    <a:pt x="18037" y="11981"/>
                    <a:pt x="18037" y="12134"/>
                    <a:pt x="18037" y="12134"/>
                  </a:cubicBezTo>
                  <a:cubicBezTo>
                    <a:pt x="18091" y="12134"/>
                    <a:pt x="18091" y="11981"/>
                    <a:pt x="18117" y="12057"/>
                  </a:cubicBezTo>
                  <a:cubicBezTo>
                    <a:pt x="18144" y="12057"/>
                    <a:pt x="18144" y="12134"/>
                    <a:pt x="18171" y="12057"/>
                  </a:cubicBezTo>
                  <a:cubicBezTo>
                    <a:pt x="18224" y="11981"/>
                    <a:pt x="18251" y="11904"/>
                    <a:pt x="18304" y="11827"/>
                  </a:cubicBezTo>
                  <a:cubicBezTo>
                    <a:pt x="18384" y="11751"/>
                    <a:pt x="18277" y="12057"/>
                    <a:pt x="18331" y="12134"/>
                  </a:cubicBezTo>
                  <a:cubicBezTo>
                    <a:pt x="18331" y="12210"/>
                    <a:pt x="18437" y="11904"/>
                    <a:pt x="18464" y="11904"/>
                  </a:cubicBezTo>
                  <a:cubicBezTo>
                    <a:pt x="18517" y="11827"/>
                    <a:pt x="18571" y="11751"/>
                    <a:pt x="18651" y="11751"/>
                  </a:cubicBezTo>
                  <a:cubicBezTo>
                    <a:pt x="18704" y="11751"/>
                    <a:pt x="18757" y="11751"/>
                    <a:pt x="18784" y="11904"/>
                  </a:cubicBezTo>
                  <a:cubicBezTo>
                    <a:pt x="18811" y="11904"/>
                    <a:pt x="18837" y="11981"/>
                    <a:pt x="18864" y="12057"/>
                  </a:cubicBezTo>
                  <a:cubicBezTo>
                    <a:pt x="18891" y="12134"/>
                    <a:pt x="18891" y="11904"/>
                    <a:pt x="18917" y="11904"/>
                  </a:cubicBezTo>
                  <a:cubicBezTo>
                    <a:pt x="19131" y="11368"/>
                    <a:pt x="19371" y="11138"/>
                    <a:pt x="19611" y="10832"/>
                  </a:cubicBezTo>
                  <a:cubicBezTo>
                    <a:pt x="19664" y="10755"/>
                    <a:pt x="19744" y="10678"/>
                    <a:pt x="19771" y="10525"/>
                  </a:cubicBezTo>
                  <a:cubicBezTo>
                    <a:pt x="19797" y="10372"/>
                    <a:pt x="19797" y="10602"/>
                    <a:pt x="19851" y="10602"/>
                  </a:cubicBezTo>
                  <a:cubicBezTo>
                    <a:pt x="19877" y="10602"/>
                    <a:pt x="19931" y="10602"/>
                    <a:pt x="19957" y="10602"/>
                  </a:cubicBezTo>
                  <a:cubicBezTo>
                    <a:pt x="19984" y="10678"/>
                    <a:pt x="20011" y="10755"/>
                    <a:pt x="20037" y="10755"/>
                  </a:cubicBezTo>
                  <a:cubicBezTo>
                    <a:pt x="20117" y="10755"/>
                    <a:pt x="20117" y="10449"/>
                    <a:pt x="20091" y="10295"/>
                  </a:cubicBezTo>
                  <a:cubicBezTo>
                    <a:pt x="20091" y="10219"/>
                    <a:pt x="19984" y="10066"/>
                    <a:pt x="20011" y="9989"/>
                  </a:cubicBezTo>
                  <a:cubicBezTo>
                    <a:pt x="20011" y="9912"/>
                    <a:pt x="19957" y="9529"/>
                    <a:pt x="19931" y="9606"/>
                  </a:cubicBezTo>
                  <a:cubicBezTo>
                    <a:pt x="19931" y="9683"/>
                    <a:pt x="19877" y="9529"/>
                    <a:pt x="19851" y="9529"/>
                  </a:cubicBezTo>
                  <a:cubicBezTo>
                    <a:pt x="19824" y="9453"/>
                    <a:pt x="19851" y="9376"/>
                    <a:pt x="19824" y="9300"/>
                  </a:cubicBezTo>
                  <a:cubicBezTo>
                    <a:pt x="19824" y="9223"/>
                    <a:pt x="19744" y="9300"/>
                    <a:pt x="19744" y="9300"/>
                  </a:cubicBezTo>
                  <a:cubicBezTo>
                    <a:pt x="19717" y="9376"/>
                    <a:pt x="19637" y="9300"/>
                    <a:pt x="19664" y="9223"/>
                  </a:cubicBezTo>
                  <a:cubicBezTo>
                    <a:pt x="19664" y="9146"/>
                    <a:pt x="19744" y="9223"/>
                    <a:pt x="19771" y="9223"/>
                  </a:cubicBezTo>
                  <a:cubicBezTo>
                    <a:pt x="19771" y="9146"/>
                    <a:pt x="19691" y="9146"/>
                    <a:pt x="19691" y="9146"/>
                  </a:cubicBezTo>
                  <a:cubicBezTo>
                    <a:pt x="19691" y="8917"/>
                    <a:pt x="19904" y="9300"/>
                    <a:pt x="19931" y="9300"/>
                  </a:cubicBezTo>
                  <a:cubicBezTo>
                    <a:pt x="19984" y="9376"/>
                    <a:pt x="20144" y="9223"/>
                    <a:pt x="20197" y="9070"/>
                  </a:cubicBezTo>
                  <a:cubicBezTo>
                    <a:pt x="20224" y="8993"/>
                    <a:pt x="20171" y="8993"/>
                    <a:pt x="20171" y="8917"/>
                  </a:cubicBezTo>
                  <a:cubicBezTo>
                    <a:pt x="20171" y="8917"/>
                    <a:pt x="20277" y="8917"/>
                    <a:pt x="20277" y="8764"/>
                  </a:cubicBezTo>
                  <a:cubicBezTo>
                    <a:pt x="20251" y="8687"/>
                    <a:pt x="20197" y="8610"/>
                    <a:pt x="20224" y="8534"/>
                  </a:cubicBezTo>
                  <a:cubicBezTo>
                    <a:pt x="20224" y="8457"/>
                    <a:pt x="20277" y="8304"/>
                    <a:pt x="20277" y="8304"/>
                  </a:cubicBezTo>
                  <a:cubicBezTo>
                    <a:pt x="20304" y="8304"/>
                    <a:pt x="20411" y="8381"/>
                    <a:pt x="20411" y="8304"/>
                  </a:cubicBezTo>
                  <a:cubicBezTo>
                    <a:pt x="20384" y="8381"/>
                    <a:pt x="20304" y="8457"/>
                    <a:pt x="20331" y="8534"/>
                  </a:cubicBezTo>
                  <a:cubicBezTo>
                    <a:pt x="20357" y="8610"/>
                    <a:pt x="20384" y="8687"/>
                    <a:pt x="20384" y="8687"/>
                  </a:cubicBezTo>
                  <a:cubicBezTo>
                    <a:pt x="20384" y="8764"/>
                    <a:pt x="20357" y="8840"/>
                    <a:pt x="20384" y="8840"/>
                  </a:cubicBezTo>
                  <a:cubicBezTo>
                    <a:pt x="20437" y="8840"/>
                    <a:pt x="20491" y="8764"/>
                    <a:pt x="20544" y="8764"/>
                  </a:cubicBezTo>
                  <a:cubicBezTo>
                    <a:pt x="20597" y="8764"/>
                    <a:pt x="20651" y="8764"/>
                    <a:pt x="20704" y="8840"/>
                  </a:cubicBezTo>
                  <a:cubicBezTo>
                    <a:pt x="20731" y="8917"/>
                    <a:pt x="20731" y="8917"/>
                    <a:pt x="20731" y="9070"/>
                  </a:cubicBezTo>
                  <a:cubicBezTo>
                    <a:pt x="20731" y="9146"/>
                    <a:pt x="20837" y="9223"/>
                    <a:pt x="20864" y="9223"/>
                  </a:cubicBezTo>
                  <a:cubicBezTo>
                    <a:pt x="20891" y="9300"/>
                    <a:pt x="21051" y="9606"/>
                    <a:pt x="21077" y="9453"/>
                  </a:cubicBezTo>
                  <a:cubicBezTo>
                    <a:pt x="21051" y="9683"/>
                    <a:pt x="21211" y="9453"/>
                    <a:pt x="21211" y="9453"/>
                  </a:cubicBezTo>
                  <a:cubicBezTo>
                    <a:pt x="21211" y="9376"/>
                    <a:pt x="21104" y="9376"/>
                    <a:pt x="21131" y="9300"/>
                  </a:cubicBezTo>
                  <a:cubicBezTo>
                    <a:pt x="21131" y="9146"/>
                    <a:pt x="21211" y="9300"/>
                    <a:pt x="21211" y="9300"/>
                  </a:cubicBezTo>
                  <a:cubicBezTo>
                    <a:pt x="21211" y="9146"/>
                    <a:pt x="21184" y="9300"/>
                    <a:pt x="21211" y="9070"/>
                  </a:cubicBezTo>
                  <a:cubicBezTo>
                    <a:pt x="21211" y="8993"/>
                    <a:pt x="21211" y="8917"/>
                    <a:pt x="21211" y="8840"/>
                  </a:cubicBezTo>
                  <a:cubicBezTo>
                    <a:pt x="21184" y="8764"/>
                    <a:pt x="21157" y="8764"/>
                    <a:pt x="21157" y="8687"/>
                  </a:cubicBezTo>
                  <a:cubicBezTo>
                    <a:pt x="21157" y="8687"/>
                    <a:pt x="21344" y="8840"/>
                    <a:pt x="21371" y="8764"/>
                  </a:cubicBezTo>
                  <a:cubicBezTo>
                    <a:pt x="21371" y="8764"/>
                    <a:pt x="21344" y="8687"/>
                    <a:pt x="21317" y="8687"/>
                  </a:cubicBezTo>
                  <a:cubicBezTo>
                    <a:pt x="21344" y="8687"/>
                    <a:pt x="21424" y="8764"/>
                    <a:pt x="21451" y="8687"/>
                  </a:cubicBezTo>
                  <a:cubicBezTo>
                    <a:pt x="21451" y="8610"/>
                    <a:pt x="21451" y="8534"/>
                    <a:pt x="21477" y="8457"/>
                  </a:cubicBezTo>
                  <a:cubicBezTo>
                    <a:pt x="21477" y="8457"/>
                    <a:pt x="21557" y="8457"/>
                    <a:pt x="21557" y="8457"/>
                  </a:cubicBezTo>
                  <a:cubicBezTo>
                    <a:pt x="21557" y="8457"/>
                    <a:pt x="21531" y="8457"/>
                    <a:pt x="21531" y="8457"/>
                  </a:cubicBezTo>
                  <a:cubicBezTo>
                    <a:pt x="21504" y="8381"/>
                    <a:pt x="21584" y="8457"/>
                    <a:pt x="21531" y="8457"/>
                  </a:cubicBezTo>
                  <a:close/>
                  <a:moveTo>
                    <a:pt x="10784" y="14661"/>
                  </a:moveTo>
                  <a:cubicBezTo>
                    <a:pt x="10757" y="14891"/>
                    <a:pt x="10757" y="15121"/>
                    <a:pt x="10731" y="15351"/>
                  </a:cubicBezTo>
                  <a:cubicBezTo>
                    <a:pt x="10704" y="15504"/>
                    <a:pt x="10624" y="15427"/>
                    <a:pt x="10624" y="15581"/>
                  </a:cubicBezTo>
                  <a:cubicBezTo>
                    <a:pt x="10624" y="15581"/>
                    <a:pt x="10677" y="15581"/>
                    <a:pt x="10704" y="15581"/>
                  </a:cubicBezTo>
                  <a:cubicBezTo>
                    <a:pt x="10704" y="15581"/>
                    <a:pt x="10464" y="16040"/>
                    <a:pt x="10437" y="16040"/>
                  </a:cubicBezTo>
                  <a:cubicBezTo>
                    <a:pt x="10411" y="16117"/>
                    <a:pt x="10384" y="16193"/>
                    <a:pt x="10331" y="16193"/>
                  </a:cubicBezTo>
                  <a:cubicBezTo>
                    <a:pt x="10304" y="16270"/>
                    <a:pt x="10277" y="16423"/>
                    <a:pt x="10251" y="16500"/>
                  </a:cubicBezTo>
                  <a:cubicBezTo>
                    <a:pt x="10224" y="16576"/>
                    <a:pt x="10037" y="16729"/>
                    <a:pt x="10011" y="16576"/>
                  </a:cubicBezTo>
                  <a:cubicBezTo>
                    <a:pt x="10011" y="16500"/>
                    <a:pt x="10197" y="16346"/>
                    <a:pt x="10224" y="16270"/>
                  </a:cubicBezTo>
                  <a:cubicBezTo>
                    <a:pt x="10304" y="16117"/>
                    <a:pt x="10384" y="15887"/>
                    <a:pt x="10464" y="15734"/>
                  </a:cubicBezTo>
                  <a:cubicBezTo>
                    <a:pt x="10517" y="15657"/>
                    <a:pt x="10517" y="15427"/>
                    <a:pt x="10571" y="15351"/>
                  </a:cubicBezTo>
                  <a:cubicBezTo>
                    <a:pt x="10624" y="15121"/>
                    <a:pt x="10677" y="14891"/>
                    <a:pt x="10704" y="14661"/>
                  </a:cubicBezTo>
                  <a:cubicBezTo>
                    <a:pt x="10704" y="14508"/>
                    <a:pt x="10704" y="14508"/>
                    <a:pt x="10757" y="14432"/>
                  </a:cubicBezTo>
                  <a:cubicBezTo>
                    <a:pt x="10811" y="14355"/>
                    <a:pt x="10784" y="14585"/>
                    <a:pt x="10784" y="14661"/>
                  </a:cubicBezTo>
                  <a:cubicBezTo>
                    <a:pt x="10757" y="14738"/>
                    <a:pt x="10784" y="14508"/>
                    <a:pt x="10784" y="14661"/>
                  </a:cubicBezTo>
                  <a:close/>
                </a:path>
              </a:pathLst>
            </a:custGeom>
            <a:grpFill/>
            <a:ln w="3175" cap="flat">
              <a:solidFill>
                <a:schemeClr val="bg1"/>
              </a:solidFill>
              <a:prstDash val="solid"/>
              <a:round/>
            </a:ln>
            <a:effectLst/>
          </p:spPr>
          <p:txBody>
            <a:bodyPr lIns="22860" tIns="22860" rIns="22860" bIns="22860"/>
            <a:lstStyle/>
            <a:p>
              <a:pPr defTabSz="914217">
                <a:defRPr sz="3600">
                  <a:solidFill>
                    <a:schemeClr val="accent1">
                      <a:satOff val="-3355"/>
                      <a:lumOff val="26614"/>
                    </a:schemeClr>
                  </a:solidFill>
                  <a:latin typeface="Lato Light"/>
                  <a:ea typeface="Lato Light"/>
                  <a:cs typeface="Lato Light"/>
                  <a:sym typeface="Lato Light"/>
                </a:defRPr>
              </a:pPr>
              <a:endParaRPr sz="3600" b="0" i="0">
                <a:solidFill>
                  <a:schemeClr val="accent1">
                    <a:satOff val="-3355"/>
                    <a:lumOff val="26614"/>
                  </a:schemeClr>
                </a:solidFill>
                <a:latin typeface="DM Sans" pitchFamily="2" charset="77"/>
                <a:ea typeface="Lato Light"/>
                <a:cs typeface="Lato Light"/>
                <a:sym typeface="Lato Light"/>
              </a:endParaRPr>
            </a:p>
          </p:txBody>
        </p:sp>
        <p:sp>
          <p:nvSpPr>
            <p:cNvPr id="323" name="Shape 2142">
              <a:extLst>
                <a:ext uri="{FF2B5EF4-FFF2-40B4-BE49-F238E27FC236}">
                  <a16:creationId xmlns:a16="http://schemas.microsoft.com/office/drawing/2014/main" id="{F6CF24EE-8C83-4510-6063-BB217B70314A}"/>
                </a:ext>
              </a:extLst>
            </p:cNvPr>
            <p:cNvSpPr/>
            <p:nvPr/>
          </p:nvSpPr>
          <p:spPr>
            <a:xfrm>
              <a:off x="10111436" y="1769171"/>
              <a:ext cx="89342" cy="211312"/>
            </a:xfrm>
            <a:custGeom>
              <a:avLst/>
              <a:gdLst/>
              <a:ahLst/>
              <a:cxnLst>
                <a:cxn ang="0">
                  <a:pos x="wd2" y="hd2"/>
                </a:cxn>
                <a:cxn ang="5400000">
                  <a:pos x="wd2" y="hd2"/>
                </a:cxn>
                <a:cxn ang="10800000">
                  <a:pos x="wd2" y="hd2"/>
                </a:cxn>
                <a:cxn ang="16200000">
                  <a:pos x="wd2" y="hd2"/>
                </a:cxn>
              </a:cxnLst>
              <a:rect l="0" t="0" r="r" b="b"/>
              <a:pathLst>
                <a:path w="19515" h="21600" extrusionOk="0">
                  <a:moveTo>
                    <a:pt x="16635" y="17550"/>
                  </a:moveTo>
                  <a:cubicBezTo>
                    <a:pt x="16635" y="14850"/>
                    <a:pt x="10875" y="11475"/>
                    <a:pt x="12315" y="8775"/>
                  </a:cubicBezTo>
                  <a:cubicBezTo>
                    <a:pt x="13755" y="6750"/>
                    <a:pt x="12315" y="4725"/>
                    <a:pt x="10875" y="2700"/>
                  </a:cubicBezTo>
                  <a:cubicBezTo>
                    <a:pt x="10875" y="2025"/>
                    <a:pt x="10875" y="1350"/>
                    <a:pt x="10875" y="675"/>
                  </a:cubicBezTo>
                  <a:cubicBezTo>
                    <a:pt x="10875" y="0"/>
                    <a:pt x="6555" y="0"/>
                    <a:pt x="6555" y="0"/>
                  </a:cubicBezTo>
                  <a:cubicBezTo>
                    <a:pt x="6555" y="675"/>
                    <a:pt x="7995" y="1350"/>
                    <a:pt x="7995" y="2025"/>
                  </a:cubicBezTo>
                  <a:cubicBezTo>
                    <a:pt x="9435" y="2700"/>
                    <a:pt x="7995" y="3375"/>
                    <a:pt x="6555" y="3375"/>
                  </a:cubicBezTo>
                  <a:cubicBezTo>
                    <a:pt x="5115" y="4050"/>
                    <a:pt x="3675" y="3375"/>
                    <a:pt x="3675" y="4725"/>
                  </a:cubicBezTo>
                  <a:cubicBezTo>
                    <a:pt x="3675" y="5400"/>
                    <a:pt x="3675" y="5400"/>
                    <a:pt x="3675" y="6075"/>
                  </a:cubicBezTo>
                  <a:cubicBezTo>
                    <a:pt x="2235" y="7425"/>
                    <a:pt x="2235" y="8775"/>
                    <a:pt x="795" y="9450"/>
                  </a:cubicBezTo>
                  <a:cubicBezTo>
                    <a:pt x="-2085" y="10125"/>
                    <a:pt x="3675" y="12150"/>
                    <a:pt x="5115" y="13500"/>
                  </a:cubicBezTo>
                  <a:cubicBezTo>
                    <a:pt x="6555" y="14850"/>
                    <a:pt x="3675" y="21600"/>
                    <a:pt x="6555" y="21600"/>
                  </a:cubicBezTo>
                  <a:cubicBezTo>
                    <a:pt x="10875" y="21600"/>
                    <a:pt x="15195" y="21600"/>
                    <a:pt x="19515" y="21600"/>
                  </a:cubicBezTo>
                  <a:cubicBezTo>
                    <a:pt x="19515" y="20250"/>
                    <a:pt x="18075" y="18900"/>
                    <a:pt x="16635" y="17550"/>
                  </a:cubicBezTo>
                  <a:cubicBezTo>
                    <a:pt x="16635" y="16200"/>
                    <a:pt x="16635" y="18225"/>
                    <a:pt x="16635" y="175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4" name="Shape 2143">
              <a:extLst>
                <a:ext uri="{FF2B5EF4-FFF2-40B4-BE49-F238E27FC236}">
                  <a16:creationId xmlns:a16="http://schemas.microsoft.com/office/drawing/2014/main" id="{333203A1-A329-FD2E-C6F1-24A500CF8686}"/>
                </a:ext>
              </a:extLst>
            </p:cNvPr>
            <p:cNvSpPr/>
            <p:nvPr/>
          </p:nvSpPr>
          <p:spPr>
            <a:xfrm>
              <a:off x="10126866" y="1978720"/>
              <a:ext cx="94140" cy="147879"/>
            </a:xfrm>
            <a:custGeom>
              <a:avLst/>
              <a:gdLst/>
              <a:ahLst/>
              <a:cxnLst>
                <a:cxn ang="0">
                  <a:pos x="wd2" y="hd2"/>
                </a:cxn>
                <a:cxn ang="5400000">
                  <a:pos x="wd2" y="hd2"/>
                </a:cxn>
                <a:cxn ang="10800000">
                  <a:pos x="wd2" y="hd2"/>
                </a:cxn>
                <a:cxn ang="16200000">
                  <a:pos x="wd2" y="hd2"/>
                </a:cxn>
              </a:cxnLst>
              <a:rect l="0" t="0" r="r" b="b"/>
              <a:pathLst>
                <a:path w="20563" h="20896" extrusionOk="0">
                  <a:moveTo>
                    <a:pt x="16243" y="235"/>
                  </a:moveTo>
                  <a:cubicBezTo>
                    <a:pt x="14803" y="235"/>
                    <a:pt x="11923" y="235"/>
                    <a:pt x="9043" y="235"/>
                  </a:cubicBezTo>
                  <a:cubicBezTo>
                    <a:pt x="6163" y="235"/>
                    <a:pt x="3283" y="-704"/>
                    <a:pt x="1843" y="1174"/>
                  </a:cubicBezTo>
                  <a:cubicBezTo>
                    <a:pt x="1843" y="3053"/>
                    <a:pt x="403" y="3992"/>
                    <a:pt x="403" y="5870"/>
                  </a:cubicBezTo>
                  <a:cubicBezTo>
                    <a:pt x="403" y="6809"/>
                    <a:pt x="1843" y="7748"/>
                    <a:pt x="1843" y="9626"/>
                  </a:cubicBezTo>
                  <a:cubicBezTo>
                    <a:pt x="1843" y="10566"/>
                    <a:pt x="-1037" y="20896"/>
                    <a:pt x="403" y="20896"/>
                  </a:cubicBezTo>
                  <a:cubicBezTo>
                    <a:pt x="3283" y="19957"/>
                    <a:pt x="403" y="17139"/>
                    <a:pt x="4723" y="18079"/>
                  </a:cubicBezTo>
                  <a:cubicBezTo>
                    <a:pt x="6163" y="18079"/>
                    <a:pt x="9043" y="17139"/>
                    <a:pt x="9043" y="18079"/>
                  </a:cubicBezTo>
                  <a:cubicBezTo>
                    <a:pt x="10483" y="18079"/>
                    <a:pt x="10483" y="20896"/>
                    <a:pt x="11923" y="20896"/>
                  </a:cubicBezTo>
                  <a:cubicBezTo>
                    <a:pt x="11923" y="20896"/>
                    <a:pt x="11923" y="18079"/>
                    <a:pt x="11923" y="18079"/>
                  </a:cubicBezTo>
                  <a:cubicBezTo>
                    <a:pt x="11923" y="16200"/>
                    <a:pt x="9043" y="15261"/>
                    <a:pt x="7603" y="14322"/>
                  </a:cubicBezTo>
                  <a:cubicBezTo>
                    <a:pt x="6163" y="12444"/>
                    <a:pt x="1843" y="7748"/>
                    <a:pt x="4723" y="5870"/>
                  </a:cubicBezTo>
                  <a:cubicBezTo>
                    <a:pt x="9043" y="3992"/>
                    <a:pt x="7603" y="3053"/>
                    <a:pt x="11923" y="2113"/>
                  </a:cubicBezTo>
                  <a:cubicBezTo>
                    <a:pt x="14803" y="1174"/>
                    <a:pt x="19123" y="3053"/>
                    <a:pt x="20563" y="4931"/>
                  </a:cubicBezTo>
                  <a:cubicBezTo>
                    <a:pt x="19123" y="3053"/>
                    <a:pt x="17683" y="1174"/>
                    <a:pt x="16243" y="23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5" name="Shape 2144">
              <a:extLst>
                <a:ext uri="{FF2B5EF4-FFF2-40B4-BE49-F238E27FC236}">
                  <a16:creationId xmlns:a16="http://schemas.microsoft.com/office/drawing/2014/main" id="{E1D3CEB1-AC64-C0EF-0593-E3A277087209}"/>
                </a:ext>
              </a:extLst>
            </p:cNvPr>
            <p:cNvSpPr/>
            <p:nvPr/>
          </p:nvSpPr>
          <p:spPr>
            <a:xfrm>
              <a:off x="9600723" y="2423337"/>
              <a:ext cx="134563" cy="161562"/>
            </a:xfrm>
            <a:custGeom>
              <a:avLst/>
              <a:gdLst/>
              <a:ahLst/>
              <a:cxnLst>
                <a:cxn ang="0">
                  <a:pos x="wd2" y="hd2"/>
                </a:cxn>
                <a:cxn ang="5400000">
                  <a:pos x="wd2" y="hd2"/>
                </a:cxn>
                <a:cxn ang="10800000">
                  <a:pos x="wd2" y="hd2"/>
                </a:cxn>
                <a:cxn ang="16200000">
                  <a:pos x="wd2" y="hd2"/>
                </a:cxn>
              </a:cxnLst>
              <a:rect l="0" t="0" r="r" b="b"/>
              <a:pathLst>
                <a:path w="20859" h="20978" extrusionOk="0">
                  <a:moveTo>
                    <a:pt x="5143" y="864"/>
                  </a:moveTo>
                  <a:cubicBezTo>
                    <a:pt x="3086" y="1728"/>
                    <a:pt x="2057" y="5184"/>
                    <a:pt x="4114" y="6048"/>
                  </a:cubicBezTo>
                  <a:cubicBezTo>
                    <a:pt x="7200" y="8640"/>
                    <a:pt x="2057" y="7776"/>
                    <a:pt x="1029" y="7776"/>
                  </a:cubicBezTo>
                  <a:cubicBezTo>
                    <a:pt x="1029" y="7776"/>
                    <a:pt x="3086" y="9504"/>
                    <a:pt x="3086" y="9504"/>
                  </a:cubicBezTo>
                  <a:cubicBezTo>
                    <a:pt x="3086" y="11232"/>
                    <a:pt x="3086" y="11232"/>
                    <a:pt x="2057" y="12096"/>
                  </a:cubicBezTo>
                  <a:cubicBezTo>
                    <a:pt x="2057" y="12096"/>
                    <a:pt x="3086" y="12960"/>
                    <a:pt x="3086" y="13824"/>
                  </a:cubicBezTo>
                  <a:cubicBezTo>
                    <a:pt x="2057" y="14688"/>
                    <a:pt x="1029" y="17280"/>
                    <a:pt x="1029" y="17280"/>
                  </a:cubicBezTo>
                  <a:cubicBezTo>
                    <a:pt x="1029" y="17280"/>
                    <a:pt x="3086" y="17280"/>
                    <a:pt x="3086" y="18144"/>
                  </a:cubicBezTo>
                  <a:cubicBezTo>
                    <a:pt x="3086" y="18144"/>
                    <a:pt x="0" y="19872"/>
                    <a:pt x="0" y="20736"/>
                  </a:cubicBezTo>
                  <a:cubicBezTo>
                    <a:pt x="0" y="20736"/>
                    <a:pt x="1029" y="19872"/>
                    <a:pt x="2057" y="19872"/>
                  </a:cubicBezTo>
                  <a:cubicBezTo>
                    <a:pt x="2057" y="19872"/>
                    <a:pt x="2057" y="21600"/>
                    <a:pt x="3086" y="20736"/>
                  </a:cubicBezTo>
                  <a:cubicBezTo>
                    <a:pt x="3086" y="19872"/>
                    <a:pt x="5143" y="19008"/>
                    <a:pt x="6171" y="19008"/>
                  </a:cubicBezTo>
                  <a:cubicBezTo>
                    <a:pt x="7200" y="18144"/>
                    <a:pt x="6171" y="21600"/>
                    <a:pt x="8229" y="19008"/>
                  </a:cubicBezTo>
                  <a:cubicBezTo>
                    <a:pt x="9257" y="17280"/>
                    <a:pt x="8229" y="18144"/>
                    <a:pt x="9257" y="19008"/>
                  </a:cubicBezTo>
                  <a:cubicBezTo>
                    <a:pt x="9257" y="19008"/>
                    <a:pt x="12343" y="18144"/>
                    <a:pt x="12343" y="18144"/>
                  </a:cubicBezTo>
                  <a:cubicBezTo>
                    <a:pt x="14400" y="18144"/>
                    <a:pt x="13371" y="17280"/>
                    <a:pt x="14400" y="17280"/>
                  </a:cubicBezTo>
                  <a:cubicBezTo>
                    <a:pt x="16457" y="17280"/>
                    <a:pt x="16457" y="16416"/>
                    <a:pt x="17486" y="15552"/>
                  </a:cubicBezTo>
                  <a:cubicBezTo>
                    <a:pt x="18514" y="13824"/>
                    <a:pt x="19543" y="16416"/>
                    <a:pt x="20571" y="17280"/>
                  </a:cubicBezTo>
                  <a:cubicBezTo>
                    <a:pt x="21600" y="17280"/>
                    <a:pt x="19543" y="13824"/>
                    <a:pt x="19543" y="13824"/>
                  </a:cubicBezTo>
                  <a:cubicBezTo>
                    <a:pt x="18514" y="12960"/>
                    <a:pt x="17486" y="12096"/>
                    <a:pt x="17486" y="10368"/>
                  </a:cubicBezTo>
                  <a:cubicBezTo>
                    <a:pt x="17486" y="6048"/>
                    <a:pt x="14400" y="3456"/>
                    <a:pt x="12343" y="0"/>
                  </a:cubicBezTo>
                  <a:cubicBezTo>
                    <a:pt x="10286" y="1728"/>
                    <a:pt x="8229" y="864"/>
                    <a:pt x="5143" y="864"/>
                  </a:cubicBezTo>
                  <a:cubicBezTo>
                    <a:pt x="5143" y="1728"/>
                    <a:pt x="6171" y="864"/>
                    <a:pt x="5143" y="86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6" name="Shape 2145">
              <a:extLst>
                <a:ext uri="{FF2B5EF4-FFF2-40B4-BE49-F238E27FC236}">
                  <a16:creationId xmlns:a16="http://schemas.microsoft.com/office/drawing/2014/main" id="{DDD68CB7-5CB0-651E-4DFE-EA393F063AE7}"/>
                </a:ext>
              </a:extLst>
            </p:cNvPr>
            <p:cNvSpPr/>
            <p:nvPr/>
          </p:nvSpPr>
          <p:spPr>
            <a:xfrm>
              <a:off x="9542291" y="2250543"/>
              <a:ext cx="211257" cy="199770"/>
            </a:xfrm>
            <a:custGeom>
              <a:avLst/>
              <a:gdLst/>
              <a:ahLst/>
              <a:cxnLst>
                <a:cxn ang="0">
                  <a:pos x="wd2" y="hd2"/>
                </a:cxn>
                <a:cxn ang="5400000">
                  <a:pos x="wd2" y="hd2"/>
                </a:cxn>
                <a:cxn ang="10800000">
                  <a:pos x="wd2" y="hd2"/>
                </a:cxn>
                <a:cxn ang="16200000">
                  <a:pos x="wd2" y="hd2"/>
                </a:cxn>
              </a:cxnLst>
              <a:rect l="0" t="0" r="r" b="b"/>
              <a:pathLst>
                <a:path w="21600" h="21093" extrusionOk="0">
                  <a:moveTo>
                    <a:pt x="21600" y="1583"/>
                  </a:moveTo>
                  <a:cubicBezTo>
                    <a:pt x="20925" y="887"/>
                    <a:pt x="20250" y="-507"/>
                    <a:pt x="19575" y="190"/>
                  </a:cubicBezTo>
                  <a:cubicBezTo>
                    <a:pt x="18900" y="190"/>
                    <a:pt x="18900" y="1583"/>
                    <a:pt x="18225" y="2280"/>
                  </a:cubicBezTo>
                  <a:cubicBezTo>
                    <a:pt x="18225" y="2280"/>
                    <a:pt x="17550" y="1583"/>
                    <a:pt x="16875" y="2977"/>
                  </a:cubicBezTo>
                  <a:cubicBezTo>
                    <a:pt x="16200" y="3674"/>
                    <a:pt x="14850" y="3674"/>
                    <a:pt x="13500" y="3674"/>
                  </a:cubicBezTo>
                  <a:cubicBezTo>
                    <a:pt x="12150" y="4370"/>
                    <a:pt x="14850" y="5764"/>
                    <a:pt x="13500" y="6461"/>
                  </a:cubicBezTo>
                  <a:cubicBezTo>
                    <a:pt x="11475" y="7158"/>
                    <a:pt x="10800" y="5764"/>
                    <a:pt x="8775" y="5764"/>
                  </a:cubicBezTo>
                  <a:cubicBezTo>
                    <a:pt x="8100" y="5067"/>
                    <a:pt x="6750" y="7158"/>
                    <a:pt x="6750" y="7854"/>
                  </a:cubicBezTo>
                  <a:cubicBezTo>
                    <a:pt x="4725" y="9945"/>
                    <a:pt x="675" y="9945"/>
                    <a:pt x="0" y="12732"/>
                  </a:cubicBezTo>
                  <a:cubicBezTo>
                    <a:pt x="0" y="12732"/>
                    <a:pt x="4050" y="14125"/>
                    <a:pt x="4050" y="14125"/>
                  </a:cubicBezTo>
                  <a:cubicBezTo>
                    <a:pt x="4050" y="14822"/>
                    <a:pt x="3375" y="16216"/>
                    <a:pt x="3375" y="16216"/>
                  </a:cubicBezTo>
                  <a:cubicBezTo>
                    <a:pt x="3375" y="17609"/>
                    <a:pt x="4050" y="16912"/>
                    <a:pt x="4050" y="17609"/>
                  </a:cubicBezTo>
                  <a:cubicBezTo>
                    <a:pt x="4050" y="16912"/>
                    <a:pt x="1350" y="19003"/>
                    <a:pt x="2025" y="19699"/>
                  </a:cubicBezTo>
                  <a:cubicBezTo>
                    <a:pt x="2025" y="19699"/>
                    <a:pt x="3375" y="20396"/>
                    <a:pt x="3375" y="20396"/>
                  </a:cubicBezTo>
                  <a:cubicBezTo>
                    <a:pt x="4050" y="20396"/>
                    <a:pt x="3375" y="20396"/>
                    <a:pt x="3375" y="21093"/>
                  </a:cubicBezTo>
                  <a:cubicBezTo>
                    <a:pt x="3375" y="20396"/>
                    <a:pt x="6075" y="20396"/>
                    <a:pt x="6075" y="21093"/>
                  </a:cubicBezTo>
                  <a:cubicBezTo>
                    <a:pt x="6750" y="21093"/>
                    <a:pt x="7425" y="21093"/>
                    <a:pt x="8100" y="21093"/>
                  </a:cubicBezTo>
                  <a:cubicBezTo>
                    <a:pt x="8100" y="21093"/>
                    <a:pt x="8775" y="19699"/>
                    <a:pt x="9450" y="19003"/>
                  </a:cubicBezTo>
                  <a:cubicBezTo>
                    <a:pt x="11475" y="19003"/>
                    <a:pt x="12825" y="19699"/>
                    <a:pt x="14175" y="18306"/>
                  </a:cubicBezTo>
                  <a:cubicBezTo>
                    <a:pt x="14175" y="16912"/>
                    <a:pt x="10800" y="15519"/>
                    <a:pt x="10800" y="14822"/>
                  </a:cubicBezTo>
                  <a:cubicBezTo>
                    <a:pt x="11475" y="14125"/>
                    <a:pt x="12150" y="13428"/>
                    <a:pt x="13500" y="12732"/>
                  </a:cubicBezTo>
                  <a:cubicBezTo>
                    <a:pt x="14850" y="11338"/>
                    <a:pt x="16200" y="9945"/>
                    <a:pt x="18225" y="9248"/>
                  </a:cubicBezTo>
                  <a:cubicBezTo>
                    <a:pt x="19575" y="7854"/>
                    <a:pt x="17550" y="5764"/>
                    <a:pt x="18225" y="5067"/>
                  </a:cubicBezTo>
                  <a:cubicBezTo>
                    <a:pt x="19575" y="3674"/>
                    <a:pt x="20250" y="2280"/>
                    <a:pt x="21600" y="158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7" name="Shape 2146">
              <a:extLst>
                <a:ext uri="{FF2B5EF4-FFF2-40B4-BE49-F238E27FC236}">
                  <a16:creationId xmlns:a16="http://schemas.microsoft.com/office/drawing/2014/main" id="{B33CA11B-5434-5D29-3BB9-00F0FE9A4947}"/>
                </a:ext>
              </a:extLst>
            </p:cNvPr>
            <p:cNvSpPr/>
            <p:nvPr/>
          </p:nvSpPr>
          <p:spPr>
            <a:xfrm>
              <a:off x="5173331" y="1727855"/>
              <a:ext cx="148717" cy="160456"/>
            </a:xfrm>
            <a:custGeom>
              <a:avLst/>
              <a:gdLst/>
              <a:ahLst/>
              <a:cxnLst>
                <a:cxn ang="0">
                  <a:pos x="wd2" y="hd2"/>
                </a:cxn>
                <a:cxn ang="5400000">
                  <a:pos x="wd2" y="hd2"/>
                </a:cxn>
                <a:cxn ang="10800000">
                  <a:pos x="wd2" y="hd2"/>
                </a:cxn>
                <a:cxn ang="16200000">
                  <a:pos x="wd2" y="hd2"/>
                </a:cxn>
              </a:cxnLst>
              <a:rect l="0" t="0" r="r" b="b"/>
              <a:pathLst>
                <a:path w="20419" h="21120" extrusionOk="0">
                  <a:moveTo>
                    <a:pt x="18900" y="6432"/>
                  </a:moveTo>
                  <a:cubicBezTo>
                    <a:pt x="18000" y="6432"/>
                    <a:pt x="17100" y="3840"/>
                    <a:pt x="16200" y="3840"/>
                  </a:cubicBezTo>
                  <a:cubicBezTo>
                    <a:pt x="14400" y="4704"/>
                    <a:pt x="15300" y="5568"/>
                    <a:pt x="13500" y="4704"/>
                  </a:cubicBezTo>
                  <a:cubicBezTo>
                    <a:pt x="9900" y="3840"/>
                    <a:pt x="13500" y="2112"/>
                    <a:pt x="14400" y="384"/>
                  </a:cubicBezTo>
                  <a:cubicBezTo>
                    <a:pt x="12600" y="384"/>
                    <a:pt x="9900" y="-480"/>
                    <a:pt x="9000" y="384"/>
                  </a:cubicBezTo>
                  <a:cubicBezTo>
                    <a:pt x="9000" y="384"/>
                    <a:pt x="10800" y="384"/>
                    <a:pt x="9000" y="1248"/>
                  </a:cubicBezTo>
                  <a:cubicBezTo>
                    <a:pt x="9000" y="1248"/>
                    <a:pt x="7200" y="2112"/>
                    <a:pt x="8100" y="2112"/>
                  </a:cubicBezTo>
                  <a:cubicBezTo>
                    <a:pt x="8100" y="2976"/>
                    <a:pt x="9900" y="2112"/>
                    <a:pt x="9900" y="2976"/>
                  </a:cubicBezTo>
                  <a:cubicBezTo>
                    <a:pt x="10800" y="3840"/>
                    <a:pt x="8100" y="3840"/>
                    <a:pt x="8100" y="3840"/>
                  </a:cubicBezTo>
                  <a:cubicBezTo>
                    <a:pt x="6300" y="4704"/>
                    <a:pt x="2700" y="3840"/>
                    <a:pt x="1800" y="4704"/>
                  </a:cubicBezTo>
                  <a:cubicBezTo>
                    <a:pt x="1800" y="4704"/>
                    <a:pt x="2700" y="4704"/>
                    <a:pt x="2700" y="5568"/>
                  </a:cubicBezTo>
                  <a:cubicBezTo>
                    <a:pt x="2700" y="5568"/>
                    <a:pt x="900" y="5568"/>
                    <a:pt x="1800" y="6432"/>
                  </a:cubicBezTo>
                  <a:cubicBezTo>
                    <a:pt x="1800" y="6432"/>
                    <a:pt x="1800" y="6432"/>
                    <a:pt x="1800" y="6432"/>
                  </a:cubicBezTo>
                  <a:cubicBezTo>
                    <a:pt x="2700" y="6432"/>
                    <a:pt x="900" y="6432"/>
                    <a:pt x="900" y="6432"/>
                  </a:cubicBezTo>
                  <a:cubicBezTo>
                    <a:pt x="900" y="7296"/>
                    <a:pt x="4500" y="7296"/>
                    <a:pt x="2700" y="8160"/>
                  </a:cubicBezTo>
                  <a:cubicBezTo>
                    <a:pt x="0" y="9888"/>
                    <a:pt x="3600" y="10752"/>
                    <a:pt x="5400" y="10752"/>
                  </a:cubicBezTo>
                  <a:cubicBezTo>
                    <a:pt x="6300" y="10752"/>
                    <a:pt x="4500" y="13344"/>
                    <a:pt x="4500" y="14208"/>
                  </a:cubicBezTo>
                  <a:cubicBezTo>
                    <a:pt x="3600" y="14208"/>
                    <a:pt x="1800" y="17664"/>
                    <a:pt x="900" y="16800"/>
                  </a:cubicBezTo>
                  <a:cubicBezTo>
                    <a:pt x="900" y="16800"/>
                    <a:pt x="2700" y="16800"/>
                    <a:pt x="2700" y="16800"/>
                  </a:cubicBezTo>
                  <a:cubicBezTo>
                    <a:pt x="1800" y="17664"/>
                    <a:pt x="900" y="16800"/>
                    <a:pt x="0" y="18528"/>
                  </a:cubicBezTo>
                  <a:cubicBezTo>
                    <a:pt x="0" y="18528"/>
                    <a:pt x="2700" y="17664"/>
                    <a:pt x="2700" y="17664"/>
                  </a:cubicBezTo>
                  <a:cubicBezTo>
                    <a:pt x="2700" y="17664"/>
                    <a:pt x="1800" y="19392"/>
                    <a:pt x="1800" y="20256"/>
                  </a:cubicBezTo>
                  <a:cubicBezTo>
                    <a:pt x="1800" y="20256"/>
                    <a:pt x="3600" y="19392"/>
                    <a:pt x="3600" y="19392"/>
                  </a:cubicBezTo>
                  <a:cubicBezTo>
                    <a:pt x="3600" y="19392"/>
                    <a:pt x="3600" y="20256"/>
                    <a:pt x="3600" y="21120"/>
                  </a:cubicBezTo>
                  <a:cubicBezTo>
                    <a:pt x="4500" y="21120"/>
                    <a:pt x="6300" y="20256"/>
                    <a:pt x="7200" y="20256"/>
                  </a:cubicBezTo>
                  <a:cubicBezTo>
                    <a:pt x="9900" y="19392"/>
                    <a:pt x="12600" y="16800"/>
                    <a:pt x="15300" y="16800"/>
                  </a:cubicBezTo>
                  <a:cubicBezTo>
                    <a:pt x="18900" y="16800"/>
                    <a:pt x="18000" y="15936"/>
                    <a:pt x="19800" y="13344"/>
                  </a:cubicBezTo>
                  <a:cubicBezTo>
                    <a:pt x="21600" y="10752"/>
                    <a:pt x="18900" y="9024"/>
                    <a:pt x="18900" y="6432"/>
                  </a:cubicBezTo>
                  <a:cubicBezTo>
                    <a:pt x="18000" y="6432"/>
                    <a:pt x="18900" y="7296"/>
                    <a:pt x="18900" y="643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8" name="Shape 2147">
              <a:extLst>
                <a:ext uri="{FF2B5EF4-FFF2-40B4-BE49-F238E27FC236}">
                  <a16:creationId xmlns:a16="http://schemas.microsoft.com/office/drawing/2014/main" id="{5AFF0936-7642-2B0F-F57B-443B0075C1CF}"/>
                </a:ext>
              </a:extLst>
            </p:cNvPr>
            <p:cNvSpPr/>
            <p:nvPr/>
          </p:nvSpPr>
          <p:spPr>
            <a:xfrm>
              <a:off x="5257261" y="1719704"/>
              <a:ext cx="80169" cy="52966"/>
            </a:xfrm>
            <a:custGeom>
              <a:avLst/>
              <a:gdLst/>
              <a:ahLst/>
              <a:cxnLst>
                <a:cxn ang="0">
                  <a:pos x="wd2" y="hd2"/>
                </a:cxn>
                <a:cxn ang="5400000">
                  <a:pos x="wd2" y="hd2"/>
                </a:cxn>
                <a:cxn ang="10800000">
                  <a:pos x="wd2" y="hd2"/>
                </a:cxn>
                <a:cxn ang="16200000">
                  <a:pos x="wd2" y="hd2"/>
                </a:cxn>
              </a:cxnLst>
              <a:rect l="0" t="0" r="r" b="b"/>
              <a:pathLst>
                <a:path w="16394" h="17549" extrusionOk="0">
                  <a:moveTo>
                    <a:pt x="272" y="12219"/>
                  </a:moveTo>
                  <a:cubicBezTo>
                    <a:pt x="-1078" y="14379"/>
                    <a:pt x="2972" y="16539"/>
                    <a:pt x="4322" y="16539"/>
                  </a:cubicBezTo>
                  <a:cubicBezTo>
                    <a:pt x="4322" y="16539"/>
                    <a:pt x="5672" y="14379"/>
                    <a:pt x="5672" y="14379"/>
                  </a:cubicBezTo>
                  <a:cubicBezTo>
                    <a:pt x="7022" y="12219"/>
                    <a:pt x="8372" y="14379"/>
                    <a:pt x="9722" y="16539"/>
                  </a:cubicBezTo>
                  <a:cubicBezTo>
                    <a:pt x="12422" y="20859"/>
                    <a:pt x="20522" y="10059"/>
                    <a:pt x="13772" y="7899"/>
                  </a:cubicBezTo>
                  <a:cubicBezTo>
                    <a:pt x="15122" y="7899"/>
                    <a:pt x="13772" y="3579"/>
                    <a:pt x="13772" y="3579"/>
                  </a:cubicBezTo>
                  <a:cubicBezTo>
                    <a:pt x="12422" y="-741"/>
                    <a:pt x="11072" y="-741"/>
                    <a:pt x="8372" y="1419"/>
                  </a:cubicBezTo>
                  <a:cubicBezTo>
                    <a:pt x="7022" y="1419"/>
                    <a:pt x="4322" y="1419"/>
                    <a:pt x="4322" y="3579"/>
                  </a:cubicBezTo>
                  <a:cubicBezTo>
                    <a:pt x="2972" y="5739"/>
                    <a:pt x="272" y="7899"/>
                    <a:pt x="272" y="12219"/>
                  </a:cubicBezTo>
                  <a:cubicBezTo>
                    <a:pt x="272" y="12219"/>
                    <a:pt x="272" y="10059"/>
                    <a:pt x="272" y="1221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9" name="Shape 2148">
              <a:extLst>
                <a:ext uri="{FF2B5EF4-FFF2-40B4-BE49-F238E27FC236}">
                  <a16:creationId xmlns:a16="http://schemas.microsoft.com/office/drawing/2014/main" id="{D140CD67-DD7E-C9EE-F52B-25440F50229B}"/>
                </a:ext>
              </a:extLst>
            </p:cNvPr>
            <p:cNvSpPr/>
            <p:nvPr/>
          </p:nvSpPr>
          <p:spPr>
            <a:xfrm>
              <a:off x="5219331" y="2212023"/>
              <a:ext cx="407975" cy="299617"/>
            </a:xfrm>
            <a:custGeom>
              <a:avLst/>
              <a:gdLst/>
              <a:ahLst/>
              <a:cxnLst>
                <a:cxn ang="0">
                  <a:pos x="wd2" y="hd2"/>
                </a:cxn>
                <a:cxn ang="5400000">
                  <a:pos x="wd2" y="hd2"/>
                </a:cxn>
                <a:cxn ang="10800000">
                  <a:pos x="wd2" y="hd2"/>
                </a:cxn>
                <a:cxn ang="16200000">
                  <a:pos x="wd2" y="hd2"/>
                </a:cxn>
              </a:cxnLst>
              <a:rect l="0" t="0" r="r" b="b"/>
              <a:pathLst>
                <a:path w="21310" h="21325" extrusionOk="0">
                  <a:moveTo>
                    <a:pt x="19596" y="3757"/>
                  </a:moveTo>
                  <a:cubicBezTo>
                    <a:pt x="18567" y="3757"/>
                    <a:pt x="18224" y="3287"/>
                    <a:pt x="17539" y="2817"/>
                  </a:cubicBezTo>
                  <a:cubicBezTo>
                    <a:pt x="17196" y="2348"/>
                    <a:pt x="16853" y="2817"/>
                    <a:pt x="16510" y="2817"/>
                  </a:cubicBezTo>
                  <a:cubicBezTo>
                    <a:pt x="16167" y="2817"/>
                    <a:pt x="15481" y="2817"/>
                    <a:pt x="15139" y="2817"/>
                  </a:cubicBezTo>
                  <a:cubicBezTo>
                    <a:pt x="14453" y="2348"/>
                    <a:pt x="13767" y="1878"/>
                    <a:pt x="13424" y="1878"/>
                  </a:cubicBezTo>
                  <a:cubicBezTo>
                    <a:pt x="13081" y="1409"/>
                    <a:pt x="13081" y="1409"/>
                    <a:pt x="12739" y="939"/>
                  </a:cubicBezTo>
                  <a:cubicBezTo>
                    <a:pt x="12396" y="1409"/>
                    <a:pt x="12053" y="939"/>
                    <a:pt x="11710" y="939"/>
                  </a:cubicBezTo>
                  <a:cubicBezTo>
                    <a:pt x="11024" y="470"/>
                    <a:pt x="10681" y="939"/>
                    <a:pt x="10339" y="939"/>
                  </a:cubicBezTo>
                  <a:cubicBezTo>
                    <a:pt x="9653" y="939"/>
                    <a:pt x="9310" y="939"/>
                    <a:pt x="8967" y="939"/>
                  </a:cubicBezTo>
                  <a:cubicBezTo>
                    <a:pt x="7939" y="939"/>
                    <a:pt x="6910" y="470"/>
                    <a:pt x="5539" y="470"/>
                  </a:cubicBezTo>
                  <a:cubicBezTo>
                    <a:pt x="4853" y="470"/>
                    <a:pt x="3481" y="0"/>
                    <a:pt x="2453" y="0"/>
                  </a:cubicBezTo>
                  <a:cubicBezTo>
                    <a:pt x="2110" y="470"/>
                    <a:pt x="1081" y="939"/>
                    <a:pt x="396" y="1409"/>
                  </a:cubicBezTo>
                  <a:cubicBezTo>
                    <a:pt x="-290" y="1878"/>
                    <a:pt x="53" y="2348"/>
                    <a:pt x="396" y="2817"/>
                  </a:cubicBezTo>
                  <a:cubicBezTo>
                    <a:pt x="396" y="3757"/>
                    <a:pt x="396" y="4226"/>
                    <a:pt x="396" y="5165"/>
                  </a:cubicBezTo>
                  <a:cubicBezTo>
                    <a:pt x="739" y="5165"/>
                    <a:pt x="1424" y="4696"/>
                    <a:pt x="1424" y="4696"/>
                  </a:cubicBezTo>
                  <a:cubicBezTo>
                    <a:pt x="1767" y="4696"/>
                    <a:pt x="1424" y="5635"/>
                    <a:pt x="2110" y="5635"/>
                  </a:cubicBezTo>
                  <a:cubicBezTo>
                    <a:pt x="2796" y="5635"/>
                    <a:pt x="3139" y="5165"/>
                    <a:pt x="3824" y="5165"/>
                  </a:cubicBezTo>
                  <a:cubicBezTo>
                    <a:pt x="4510" y="4696"/>
                    <a:pt x="5196" y="6104"/>
                    <a:pt x="4510" y="6574"/>
                  </a:cubicBezTo>
                  <a:cubicBezTo>
                    <a:pt x="3824" y="7513"/>
                    <a:pt x="4167" y="7983"/>
                    <a:pt x="4167" y="9391"/>
                  </a:cubicBezTo>
                  <a:cubicBezTo>
                    <a:pt x="3824" y="9861"/>
                    <a:pt x="4167" y="11270"/>
                    <a:pt x="3824" y="11739"/>
                  </a:cubicBezTo>
                  <a:cubicBezTo>
                    <a:pt x="2796" y="11739"/>
                    <a:pt x="3139" y="12209"/>
                    <a:pt x="3824" y="13148"/>
                  </a:cubicBezTo>
                  <a:cubicBezTo>
                    <a:pt x="4167" y="13617"/>
                    <a:pt x="3139" y="14557"/>
                    <a:pt x="3139" y="15496"/>
                  </a:cubicBezTo>
                  <a:cubicBezTo>
                    <a:pt x="3824" y="16435"/>
                    <a:pt x="3139" y="16904"/>
                    <a:pt x="3139" y="17843"/>
                  </a:cubicBezTo>
                  <a:cubicBezTo>
                    <a:pt x="4167" y="17374"/>
                    <a:pt x="4853" y="19722"/>
                    <a:pt x="5539" y="20661"/>
                  </a:cubicBezTo>
                  <a:cubicBezTo>
                    <a:pt x="5539" y="21130"/>
                    <a:pt x="6224" y="21600"/>
                    <a:pt x="6567" y="21130"/>
                  </a:cubicBezTo>
                  <a:cubicBezTo>
                    <a:pt x="6567" y="21130"/>
                    <a:pt x="6910" y="20661"/>
                    <a:pt x="6910" y="20191"/>
                  </a:cubicBezTo>
                  <a:cubicBezTo>
                    <a:pt x="7253" y="20191"/>
                    <a:pt x="7939" y="19722"/>
                    <a:pt x="7939" y="19722"/>
                  </a:cubicBezTo>
                  <a:cubicBezTo>
                    <a:pt x="9310" y="19252"/>
                    <a:pt x="10681" y="19722"/>
                    <a:pt x="12053" y="19252"/>
                  </a:cubicBezTo>
                  <a:cubicBezTo>
                    <a:pt x="12396" y="18783"/>
                    <a:pt x="12396" y="18313"/>
                    <a:pt x="13081" y="17843"/>
                  </a:cubicBezTo>
                  <a:cubicBezTo>
                    <a:pt x="13767" y="17374"/>
                    <a:pt x="14110" y="16904"/>
                    <a:pt x="14453" y="16435"/>
                  </a:cubicBezTo>
                  <a:cubicBezTo>
                    <a:pt x="14796" y="15026"/>
                    <a:pt x="15139" y="14557"/>
                    <a:pt x="15824" y="14087"/>
                  </a:cubicBezTo>
                  <a:cubicBezTo>
                    <a:pt x="16167" y="13617"/>
                    <a:pt x="15481" y="12678"/>
                    <a:pt x="15139" y="12209"/>
                  </a:cubicBezTo>
                  <a:cubicBezTo>
                    <a:pt x="15139" y="11739"/>
                    <a:pt x="15824" y="10330"/>
                    <a:pt x="16167" y="9861"/>
                  </a:cubicBezTo>
                  <a:cubicBezTo>
                    <a:pt x="16167" y="9861"/>
                    <a:pt x="16510" y="9391"/>
                    <a:pt x="16853" y="8922"/>
                  </a:cubicBezTo>
                  <a:cubicBezTo>
                    <a:pt x="16853" y="8922"/>
                    <a:pt x="16853" y="7983"/>
                    <a:pt x="17196" y="7983"/>
                  </a:cubicBezTo>
                  <a:cubicBezTo>
                    <a:pt x="18224" y="7043"/>
                    <a:pt x="19253" y="6574"/>
                    <a:pt x="20281" y="6104"/>
                  </a:cubicBezTo>
                  <a:cubicBezTo>
                    <a:pt x="20624" y="5635"/>
                    <a:pt x="21310" y="5165"/>
                    <a:pt x="21310" y="4226"/>
                  </a:cubicBezTo>
                  <a:cubicBezTo>
                    <a:pt x="20967" y="3287"/>
                    <a:pt x="20281" y="4226"/>
                    <a:pt x="19596" y="3757"/>
                  </a:cubicBezTo>
                  <a:cubicBezTo>
                    <a:pt x="18567" y="3757"/>
                    <a:pt x="20281" y="4226"/>
                    <a:pt x="19596" y="37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0" name="Shape 2149">
              <a:extLst>
                <a:ext uri="{FF2B5EF4-FFF2-40B4-BE49-F238E27FC236}">
                  <a16:creationId xmlns:a16="http://schemas.microsoft.com/office/drawing/2014/main" id="{359DA8BD-DE3F-B396-23E4-903CC8E37496}"/>
                </a:ext>
              </a:extLst>
            </p:cNvPr>
            <p:cNvSpPr/>
            <p:nvPr/>
          </p:nvSpPr>
          <p:spPr>
            <a:xfrm>
              <a:off x="5213781" y="2277217"/>
              <a:ext cx="97895" cy="200074"/>
            </a:xfrm>
            <a:custGeom>
              <a:avLst/>
              <a:gdLst/>
              <a:ahLst/>
              <a:cxnLst>
                <a:cxn ang="0">
                  <a:pos x="wd2" y="hd2"/>
                </a:cxn>
                <a:cxn ang="5400000">
                  <a:pos x="wd2" y="hd2"/>
                </a:cxn>
                <a:cxn ang="10800000">
                  <a:pos x="wd2" y="hd2"/>
                </a:cxn>
                <a:cxn ang="16200000">
                  <a:pos x="wd2" y="hd2"/>
                </a:cxn>
              </a:cxnLst>
              <a:rect l="0" t="0" r="r" b="b"/>
              <a:pathLst>
                <a:path w="20018" h="21600" extrusionOk="0">
                  <a:moveTo>
                    <a:pt x="14850" y="18000"/>
                  </a:moveTo>
                  <a:cubicBezTo>
                    <a:pt x="16200" y="16560"/>
                    <a:pt x="13500" y="15840"/>
                    <a:pt x="14850" y="15120"/>
                  </a:cubicBezTo>
                  <a:cubicBezTo>
                    <a:pt x="16200" y="12960"/>
                    <a:pt x="16200" y="12960"/>
                    <a:pt x="13500" y="11520"/>
                  </a:cubicBezTo>
                  <a:cubicBezTo>
                    <a:pt x="12150" y="10080"/>
                    <a:pt x="14850" y="10800"/>
                    <a:pt x="16200" y="10080"/>
                  </a:cubicBezTo>
                  <a:cubicBezTo>
                    <a:pt x="17550" y="9360"/>
                    <a:pt x="17550" y="7200"/>
                    <a:pt x="17550" y="6480"/>
                  </a:cubicBezTo>
                  <a:cubicBezTo>
                    <a:pt x="17550" y="4320"/>
                    <a:pt x="16200" y="4320"/>
                    <a:pt x="18900" y="2880"/>
                  </a:cubicBezTo>
                  <a:cubicBezTo>
                    <a:pt x="21600" y="2160"/>
                    <a:pt x="18900" y="0"/>
                    <a:pt x="16200" y="720"/>
                  </a:cubicBezTo>
                  <a:cubicBezTo>
                    <a:pt x="13500" y="720"/>
                    <a:pt x="12150" y="1440"/>
                    <a:pt x="9450" y="1440"/>
                  </a:cubicBezTo>
                  <a:cubicBezTo>
                    <a:pt x="6750" y="1440"/>
                    <a:pt x="8100" y="0"/>
                    <a:pt x="6750" y="0"/>
                  </a:cubicBezTo>
                  <a:cubicBezTo>
                    <a:pt x="8100" y="0"/>
                    <a:pt x="4050" y="0"/>
                    <a:pt x="5400" y="0"/>
                  </a:cubicBezTo>
                  <a:cubicBezTo>
                    <a:pt x="2700" y="720"/>
                    <a:pt x="4050" y="1440"/>
                    <a:pt x="4050" y="2880"/>
                  </a:cubicBezTo>
                  <a:cubicBezTo>
                    <a:pt x="4050" y="3600"/>
                    <a:pt x="4050" y="5040"/>
                    <a:pt x="4050" y="5760"/>
                  </a:cubicBezTo>
                  <a:cubicBezTo>
                    <a:pt x="2700" y="7200"/>
                    <a:pt x="2700" y="8640"/>
                    <a:pt x="2700" y="9360"/>
                  </a:cubicBezTo>
                  <a:cubicBezTo>
                    <a:pt x="1350" y="11520"/>
                    <a:pt x="0" y="12240"/>
                    <a:pt x="0" y="14400"/>
                  </a:cubicBezTo>
                  <a:cubicBezTo>
                    <a:pt x="1350" y="15120"/>
                    <a:pt x="2700" y="14400"/>
                    <a:pt x="2700" y="15840"/>
                  </a:cubicBezTo>
                  <a:cubicBezTo>
                    <a:pt x="4050" y="16560"/>
                    <a:pt x="2700" y="18720"/>
                    <a:pt x="2700" y="20160"/>
                  </a:cubicBezTo>
                  <a:cubicBezTo>
                    <a:pt x="2700" y="21600"/>
                    <a:pt x="5400" y="21600"/>
                    <a:pt x="8100" y="21600"/>
                  </a:cubicBezTo>
                  <a:cubicBezTo>
                    <a:pt x="13500" y="21600"/>
                    <a:pt x="12150" y="19440"/>
                    <a:pt x="14850" y="18000"/>
                  </a:cubicBezTo>
                  <a:cubicBezTo>
                    <a:pt x="16200" y="16560"/>
                    <a:pt x="13500" y="18720"/>
                    <a:pt x="14850" y="18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1" name="Shape 2150">
              <a:extLst>
                <a:ext uri="{FF2B5EF4-FFF2-40B4-BE49-F238E27FC236}">
                  <a16:creationId xmlns:a16="http://schemas.microsoft.com/office/drawing/2014/main" id="{CCAD8985-79BE-7337-B663-EC2D9C8E1F5E}"/>
                </a:ext>
              </a:extLst>
            </p:cNvPr>
            <p:cNvSpPr/>
            <p:nvPr/>
          </p:nvSpPr>
          <p:spPr>
            <a:xfrm>
              <a:off x="6485815" y="4096215"/>
              <a:ext cx="342514" cy="568991"/>
            </a:xfrm>
            <a:custGeom>
              <a:avLst/>
              <a:gdLst/>
              <a:ahLst/>
              <a:cxnLst>
                <a:cxn ang="0">
                  <a:pos x="wd2" y="hd2"/>
                </a:cxn>
                <a:cxn ang="5400000">
                  <a:pos x="wd2" y="hd2"/>
                </a:cxn>
                <a:cxn ang="10800000">
                  <a:pos x="wd2" y="hd2"/>
                </a:cxn>
                <a:cxn ang="16200000">
                  <a:pos x="wd2" y="hd2"/>
                </a:cxn>
              </a:cxnLst>
              <a:rect l="0" t="0" r="r" b="b"/>
              <a:pathLst>
                <a:path w="21238" h="21109" extrusionOk="0">
                  <a:moveTo>
                    <a:pt x="21192" y="5298"/>
                  </a:moveTo>
                  <a:cubicBezTo>
                    <a:pt x="19970" y="3826"/>
                    <a:pt x="20377" y="1862"/>
                    <a:pt x="20377" y="389"/>
                  </a:cubicBezTo>
                  <a:cubicBezTo>
                    <a:pt x="20377" y="-347"/>
                    <a:pt x="19562" y="144"/>
                    <a:pt x="18747" y="389"/>
                  </a:cubicBezTo>
                  <a:cubicBezTo>
                    <a:pt x="18340" y="635"/>
                    <a:pt x="17525" y="1126"/>
                    <a:pt x="16709" y="1126"/>
                  </a:cubicBezTo>
                  <a:cubicBezTo>
                    <a:pt x="16302" y="1126"/>
                    <a:pt x="15487" y="880"/>
                    <a:pt x="15487" y="1371"/>
                  </a:cubicBezTo>
                  <a:cubicBezTo>
                    <a:pt x="14672" y="2108"/>
                    <a:pt x="13857" y="1371"/>
                    <a:pt x="13042" y="1371"/>
                  </a:cubicBezTo>
                  <a:cubicBezTo>
                    <a:pt x="12226" y="1371"/>
                    <a:pt x="12226" y="1862"/>
                    <a:pt x="11411" y="1371"/>
                  </a:cubicBezTo>
                  <a:cubicBezTo>
                    <a:pt x="11004" y="1371"/>
                    <a:pt x="9781" y="1371"/>
                    <a:pt x="9374" y="1371"/>
                  </a:cubicBezTo>
                  <a:cubicBezTo>
                    <a:pt x="8151" y="1371"/>
                    <a:pt x="8558" y="3580"/>
                    <a:pt x="9781" y="4071"/>
                  </a:cubicBezTo>
                  <a:cubicBezTo>
                    <a:pt x="9781" y="4071"/>
                    <a:pt x="9781" y="4562"/>
                    <a:pt x="10189" y="4562"/>
                  </a:cubicBezTo>
                  <a:cubicBezTo>
                    <a:pt x="10189" y="4808"/>
                    <a:pt x="10596" y="4808"/>
                    <a:pt x="11004" y="5053"/>
                  </a:cubicBezTo>
                  <a:cubicBezTo>
                    <a:pt x="11004" y="5544"/>
                    <a:pt x="11004" y="6280"/>
                    <a:pt x="11004" y="6526"/>
                  </a:cubicBezTo>
                  <a:cubicBezTo>
                    <a:pt x="11004" y="7017"/>
                    <a:pt x="11411" y="7262"/>
                    <a:pt x="10189" y="7262"/>
                  </a:cubicBezTo>
                  <a:cubicBezTo>
                    <a:pt x="9781" y="7262"/>
                    <a:pt x="9781" y="7998"/>
                    <a:pt x="9781" y="8244"/>
                  </a:cubicBezTo>
                  <a:cubicBezTo>
                    <a:pt x="9374" y="7998"/>
                    <a:pt x="8558" y="7508"/>
                    <a:pt x="8151" y="7262"/>
                  </a:cubicBezTo>
                  <a:cubicBezTo>
                    <a:pt x="7743" y="6771"/>
                    <a:pt x="8558" y="6280"/>
                    <a:pt x="8558" y="5789"/>
                  </a:cubicBezTo>
                  <a:cubicBezTo>
                    <a:pt x="8966" y="4562"/>
                    <a:pt x="7743" y="5544"/>
                    <a:pt x="6521" y="5053"/>
                  </a:cubicBezTo>
                  <a:cubicBezTo>
                    <a:pt x="6113" y="4808"/>
                    <a:pt x="6113" y="4317"/>
                    <a:pt x="5298" y="4562"/>
                  </a:cubicBezTo>
                  <a:cubicBezTo>
                    <a:pt x="3668" y="5053"/>
                    <a:pt x="2445" y="5298"/>
                    <a:pt x="815" y="5544"/>
                  </a:cubicBezTo>
                  <a:cubicBezTo>
                    <a:pt x="408" y="5789"/>
                    <a:pt x="0" y="5789"/>
                    <a:pt x="0" y="6035"/>
                  </a:cubicBezTo>
                  <a:cubicBezTo>
                    <a:pt x="0" y="6280"/>
                    <a:pt x="408" y="6771"/>
                    <a:pt x="408" y="7017"/>
                  </a:cubicBezTo>
                  <a:cubicBezTo>
                    <a:pt x="1630" y="7017"/>
                    <a:pt x="4891" y="7508"/>
                    <a:pt x="4891" y="8244"/>
                  </a:cubicBezTo>
                  <a:cubicBezTo>
                    <a:pt x="5298" y="8980"/>
                    <a:pt x="5298" y="9717"/>
                    <a:pt x="5298" y="10453"/>
                  </a:cubicBezTo>
                  <a:cubicBezTo>
                    <a:pt x="4891" y="10944"/>
                    <a:pt x="5706" y="11680"/>
                    <a:pt x="4891" y="12417"/>
                  </a:cubicBezTo>
                  <a:cubicBezTo>
                    <a:pt x="4075" y="13153"/>
                    <a:pt x="3260" y="14135"/>
                    <a:pt x="2445" y="14871"/>
                  </a:cubicBezTo>
                  <a:cubicBezTo>
                    <a:pt x="1630" y="15362"/>
                    <a:pt x="2445" y="16344"/>
                    <a:pt x="2445" y="16589"/>
                  </a:cubicBezTo>
                  <a:cubicBezTo>
                    <a:pt x="3260" y="17571"/>
                    <a:pt x="3260" y="18062"/>
                    <a:pt x="3260" y="18798"/>
                  </a:cubicBezTo>
                  <a:cubicBezTo>
                    <a:pt x="3260" y="19535"/>
                    <a:pt x="3260" y="20271"/>
                    <a:pt x="3668" y="21008"/>
                  </a:cubicBezTo>
                  <a:cubicBezTo>
                    <a:pt x="3668" y="21253"/>
                    <a:pt x="4891" y="21008"/>
                    <a:pt x="4891" y="20762"/>
                  </a:cubicBezTo>
                  <a:cubicBezTo>
                    <a:pt x="5298" y="20517"/>
                    <a:pt x="5298" y="20026"/>
                    <a:pt x="5298" y="20026"/>
                  </a:cubicBezTo>
                  <a:cubicBezTo>
                    <a:pt x="4891" y="20026"/>
                    <a:pt x="4483" y="20026"/>
                    <a:pt x="4483" y="20026"/>
                  </a:cubicBezTo>
                  <a:cubicBezTo>
                    <a:pt x="4483" y="19289"/>
                    <a:pt x="5706" y="18798"/>
                    <a:pt x="6521" y="18553"/>
                  </a:cubicBezTo>
                  <a:cubicBezTo>
                    <a:pt x="7743" y="18308"/>
                    <a:pt x="9374" y="18062"/>
                    <a:pt x="10189" y="17326"/>
                  </a:cubicBezTo>
                  <a:cubicBezTo>
                    <a:pt x="10189" y="17080"/>
                    <a:pt x="10189" y="15853"/>
                    <a:pt x="10189" y="15362"/>
                  </a:cubicBezTo>
                  <a:cubicBezTo>
                    <a:pt x="10189" y="14871"/>
                    <a:pt x="8558" y="11435"/>
                    <a:pt x="8558" y="11435"/>
                  </a:cubicBezTo>
                  <a:cubicBezTo>
                    <a:pt x="8966" y="11189"/>
                    <a:pt x="8966" y="11926"/>
                    <a:pt x="9781" y="11435"/>
                  </a:cubicBezTo>
                  <a:cubicBezTo>
                    <a:pt x="10596" y="10944"/>
                    <a:pt x="11004" y="10698"/>
                    <a:pt x="11819" y="10453"/>
                  </a:cubicBezTo>
                  <a:cubicBezTo>
                    <a:pt x="12634" y="10208"/>
                    <a:pt x="13042" y="8735"/>
                    <a:pt x="14264" y="8980"/>
                  </a:cubicBezTo>
                  <a:cubicBezTo>
                    <a:pt x="14672" y="8980"/>
                    <a:pt x="15487" y="8489"/>
                    <a:pt x="16302" y="8489"/>
                  </a:cubicBezTo>
                  <a:cubicBezTo>
                    <a:pt x="17117" y="8244"/>
                    <a:pt x="17932" y="7998"/>
                    <a:pt x="18747" y="7508"/>
                  </a:cubicBezTo>
                  <a:cubicBezTo>
                    <a:pt x="19155" y="7262"/>
                    <a:pt x="21600" y="5789"/>
                    <a:pt x="21192" y="5298"/>
                  </a:cubicBezTo>
                  <a:cubicBezTo>
                    <a:pt x="20785" y="5053"/>
                    <a:pt x="21192" y="5544"/>
                    <a:pt x="21192" y="529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2" name="Shape 2151">
              <a:extLst>
                <a:ext uri="{FF2B5EF4-FFF2-40B4-BE49-F238E27FC236}">
                  <a16:creationId xmlns:a16="http://schemas.microsoft.com/office/drawing/2014/main" id="{6590BA2D-936C-6B38-3AE3-1CB70E590FE1}"/>
                </a:ext>
              </a:extLst>
            </p:cNvPr>
            <p:cNvSpPr/>
            <p:nvPr/>
          </p:nvSpPr>
          <p:spPr>
            <a:xfrm>
              <a:off x="6569748" y="4068866"/>
              <a:ext cx="95083" cy="249530"/>
            </a:xfrm>
            <a:custGeom>
              <a:avLst/>
              <a:gdLst/>
              <a:ahLst/>
              <a:cxnLst>
                <a:cxn ang="0">
                  <a:pos x="wd2" y="hd2"/>
                </a:cxn>
                <a:cxn ang="5400000">
                  <a:pos x="wd2" y="hd2"/>
                </a:cxn>
                <a:cxn ang="10800000">
                  <a:pos x="wd2" y="hd2"/>
                </a:cxn>
                <a:cxn ang="16200000">
                  <a:pos x="wd2" y="hd2"/>
                </a:cxn>
              </a:cxnLst>
              <a:rect l="0" t="0" r="r" b="b"/>
              <a:pathLst>
                <a:path w="19443" h="21600" extrusionOk="0">
                  <a:moveTo>
                    <a:pt x="4322" y="14211"/>
                  </a:moveTo>
                  <a:cubicBezTo>
                    <a:pt x="7022" y="14779"/>
                    <a:pt x="11072" y="13642"/>
                    <a:pt x="11072" y="14779"/>
                  </a:cubicBezTo>
                  <a:cubicBezTo>
                    <a:pt x="12422" y="15916"/>
                    <a:pt x="11072" y="16484"/>
                    <a:pt x="9722" y="17621"/>
                  </a:cubicBezTo>
                  <a:cubicBezTo>
                    <a:pt x="7022" y="18758"/>
                    <a:pt x="12422" y="20463"/>
                    <a:pt x="15122" y="21600"/>
                  </a:cubicBezTo>
                  <a:cubicBezTo>
                    <a:pt x="16472" y="21032"/>
                    <a:pt x="15122" y="19895"/>
                    <a:pt x="15122" y="19326"/>
                  </a:cubicBezTo>
                  <a:cubicBezTo>
                    <a:pt x="16472" y="18758"/>
                    <a:pt x="20522" y="19895"/>
                    <a:pt x="19172" y="18758"/>
                  </a:cubicBezTo>
                  <a:cubicBezTo>
                    <a:pt x="19172" y="17621"/>
                    <a:pt x="19172" y="16484"/>
                    <a:pt x="19172" y="15347"/>
                  </a:cubicBezTo>
                  <a:cubicBezTo>
                    <a:pt x="17822" y="14211"/>
                    <a:pt x="16472" y="13642"/>
                    <a:pt x="15122" y="12505"/>
                  </a:cubicBezTo>
                  <a:cubicBezTo>
                    <a:pt x="13772" y="14211"/>
                    <a:pt x="9722" y="11937"/>
                    <a:pt x="9722" y="11368"/>
                  </a:cubicBezTo>
                  <a:cubicBezTo>
                    <a:pt x="9722" y="10232"/>
                    <a:pt x="9722" y="9663"/>
                    <a:pt x="9722" y="9095"/>
                  </a:cubicBezTo>
                  <a:cubicBezTo>
                    <a:pt x="9722" y="7958"/>
                    <a:pt x="9722" y="8526"/>
                    <a:pt x="8372" y="7958"/>
                  </a:cubicBezTo>
                  <a:cubicBezTo>
                    <a:pt x="7022" y="7958"/>
                    <a:pt x="9722" y="4547"/>
                    <a:pt x="9722" y="4547"/>
                  </a:cubicBezTo>
                  <a:cubicBezTo>
                    <a:pt x="9722" y="3411"/>
                    <a:pt x="8372" y="2842"/>
                    <a:pt x="8372" y="1705"/>
                  </a:cubicBezTo>
                  <a:cubicBezTo>
                    <a:pt x="7022" y="1137"/>
                    <a:pt x="5672" y="0"/>
                    <a:pt x="8372" y="568"/>
                  </a:cubicBezTo>
                  <a:cubicBezTo>
                    <a:pt x="7022" y="0"/>
                    <a:pt x="2972" y="0"/>
                    <a:pt x="1622" y="0"/>
                  </a:cubicBezTo>
                  <a:cubicBezTo>
                    <a:pt x="1622" y="568"/>
                    <a:pt x="7022" y="2842"/>
                    <a:pt x="4322" y="3411"/>
                  </a:cubicBezTo>
                  <a:cubicBezTo>
                    <a:pt x="272" y="3979"/>
                    <a:pt x="1622" y="6821"/>
                    <a:pt x="4322" y="7958"/>
                  </a:cubicBezTo>
                  <a:cubicBezTo>
                    <a:pt x="4322" y="8526"/>
                    <a:pt x="1622" y="8526"/>
                    <a:pt x="1622" y="9095"/>
                  </a:cubicBezTo>
                  <a:cubicBezTo>
                    <a:pt x="272" y="9095"/>
                    <a:pt x="272" y="10800"/>
                    <a:pt x="272" y="11368"/>
                  </a:cubicBezTo>
                  <a:cubicBezTo>
                    <a:pt x="-1078" y="12505"/>
                    <a:pt x="2972" y="13642"/>
                    <a:pt x="4322" y="14211"/>
                  </a:cubicBezTo>
                  <a:cubicBezTo>
                    <a:pt x="5672" y="14779"/>
                    <a:pt x="4322" y="13642"/>
                    <a:pt x="4322" y="142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3" name="Shape 2152">
              <a:extLst>
                <a:ext uri="{FF2B5EF4-FFF2-40B4-BE49-F238E27FC236}">
                  <a16:creationId xmlns:a16="http://schemas.microsoft.com/office/drawing/2014/main" id="{A82E233A-6B7E-FDB9-46B0-33C8AE27690C}"/>
                </a:ext>
              </a:extLst>
            </p:cNvPr>
            <p:cNvSpPr/>
            <p:nvPr/>
          </p:nvSpPr>
          <p:spPr>
            <a:xfrm>
              <a:off x="6212672" y="4021659"/>
              <a:ext cx="381257" cy="330457"/>
            </a:xfrm>
            <a:custGeom>
              <a:avLst/>
              <a:gdLst/>
              <a:ahLst/>
              <a:cxnLst>
                <a:cxn ang="0">
                  <a:pos x="wd2" y="hd2"/>
                </a:cxn>
                <a:cxn ang="5400000">
                  <a:pos x="wd2" y="hd2"/>
                </a:cxn>
                <a:cxn ang="10800000">
                  <a:pos x="wd2" y="hd2"/>
                </a:cxn>
                <a:cxn ang="16200000">
                  <a:pos x="wd2" y="hd2"/>
                </a:cxn>
              </a:cxnLst>
              <a:rect l="0" t="0" r="r" b="b"/>
              <a:pathLst>
                <a:path w="20820" h="21600" extrusionOk="0">
                  <a:moveTo>
                    <a:pt x="19858" y="12960"/>
                  </a:moveTo>
                  <a:cubicBezTo>
                    <a:pt x="19138" y="11664"/>
                    <a:pt x="19858" y="11664"/>
                    <a:pt x="19498" y="10368"/>
                  </a:cubicBezTo>
                  <a:cubicBezTo>
                    <a:pt x="19498" y="9936"/>
                    <a:pt x="19858" y="9936"/>
                    <a:pt x="20218" y="9504"/>
                  </a:cubicBezTo>
                  <a:cubicBezTo>
                    <a:pt x="20578" y="9072"/>
                    <a:pt x="20218" y="8640"/>
                    <a:pt x="20218" y="8208"/>
                  </a:cubicBezTo>
                  <a:cubicBezTo>
                    <a:pt x="19858" y="7344"/>
                    <a:pt x="19858" y="6048"/>
                    <a:pt x="20578" y="5616"/>
                  </a:cubicBezTo>
                  <a:cubicBezTo>
                    <a:pt x="21298" y="5184"/>
                    <a:pt x="20218" y="3888"/>
                    <a:pt x="19858" y="3456"/>
                  </a:cubicBezTo>
                  <a:cubicBezTo>
                    <a:pt x="19498" y="2592"/>
                    <a:pt x="18778" y="2160"/>
                    <a:pt x="18058" y="2160"/>
                  </a:cubicBezTo>
                  <a:cubicBezTo>
                    <a:pt x="17698" y="1728"/>
                    <a:pt x="17338" y="1296"/>
                    <a:pt x="16978" y="1296"/>
                  </a:cubicBezTo>
                  <a:cubicBezTo>
                    <a:pt x="16618" y="864"/>
                    <a:pt x="16258" y="432"/>
                    <a:pt x="15898" y="0"/>
                  </a:cubicBezTo>
                  <a:cubicBezTo>
                    <a:pt x="15898" y="0"/>
                    <a:pt x="13738" y="432"/>
                    <a:pt x="13378" y="432"/>
                  </a:cubicBezTo>
                  <a:cubicBezTo>
                    <a:pt x="12658" y="432"/>
                    <a:pt x="12658" y="1296"/>
                    <a:pt x="11938" y="1728"/>
                  </a:cubicBezTo>
                  <a:cubicBezTo>
                    <a:pt x="11578" y="2592"/>
                    <a:pt x="11938" y="3888"/>
                    <a:pt x="12298" y="4320"/>
                  </a:cubicBezTo>
                  <a:cubicBezTo>
                    <a:pt x="12298" y="5616"/>
                    <a:pt x="11578" y="6048"/>
                    <a:pt x="11578" y="7344"/>
                  </a:cubicBezTo>
                  <a:cubicBezTo>
                    <a:pt x="11578" y="7776"/>
                    <a:pt x="12298" y="9072"/>
                    <a:pt x="13018" y="9072"/>
                  </a:cubicBezTo>
                  <a:cubicBezTo>
                    <a:pt x="13738" y="9072"/>
                    <a:pt x="14098" y="8640"/>
                    <a:pt x="14098" y="9936"/>
                  </a:cubicBezTo>
                  <a:cubicBezTo>
                    <a:pt x="14098" y="10800"/>
                    <a:pt x="14098" y="11232"/>
                    <a:pt x="13738" y="11232"/>
                  </a:cubicBezTo>
                  <a:cubicBezTo>
                    <a:pt x="13018" y="11664"/>
                    <a:pt x="12658" y="12096"/>
                    <a:pt x="12298" y="11232"/>
                  </a:cubicBezTo>
                  <a:cubicBezTo>
                    <a:pt x="11938" y="10368"/>
                    <a:pt x="11578" y="9504"/>
                    <a:pt x="10858" y="9504"/>
                  </a:cubicBezTo>
                  <a:cubicBezTo>
                    <a:pt x="10138" y="9072"/>
                    <a:pt x="9778" y="8208"/>
                    <a:pt x="9418" y="7344"/>
                  </a:cubicBezTo>
                  <a:cubicBezTo>
                    <a:pt x="8698" y="9072"/>
                    <a:pt x="7978" y="8208"/>
                    <a:pt x="6898" y="7776"/>
                  </a:cubicBezTo>
                  <a:cubicBezTo>
                    <a:pt x="6178" y="7776"/>
                    <a:pt x="6178" y="6912"/>
                    <a:pt x="5458" y="6912"/>
                  </a:cubicBezTo>
                  <a:cubicBezTo>
                    <a:pt x="5458" y="6912"/>
                    <a:pt x="5098" y="7344"/>
                    <a:pt x="4738" y="6912"/>
                  </a:cubicBezTo>
                  <a:cubicBezTo>
                    <a:pt x="4378" y="6912"/>
                    <a:pt x="4378" y="6048"/>
                    <a:pt x="3658" y="6048"/>
                  </a:cubicBezTo>
                  <a:cubicBezTo>
                    <a:pt x="3658" y="6912"/>
                    <a:pt x="3658" y="7776"/>
                    <a:pt x="3658" y="8640"/>
                  </a:cubicBezTo>
                  <a:cubicBezTo>
                    <a:pt x="3658" y="9504"/>
                    <a:pt x="4018" y="10368"/>
                    <a:pt x="3298" y="10368"/>
                  </a:cubicBezTo>
                  <a:cubicBezTo>
                    <a:pt x="2218" y="10368"/>
                    <a:pt x="1138" y="10368"/>
                    <a:pt x="418" y="10368"/>
                  </a:cubicBezTo>
                  <a:cubicBezTo>
                    <a:pt x="58" y="10368"/>
                    <a:pt x="58" y="12096"/>
                    <a:pt x="58" y="12528"/>
                  </a:cubicBezTo>
                  <a:cubicBezTo>
                    <a:pt x="58" y="14256"/>
                    <a:pt x="-302" y="17280"/>
                    <a:pt x="778" y="18576"/>
                  </a:cubicBezTo>
                  <a:cubicBezTo>
                    <a:pt x="1138" y="19008"/>
                    <a:pt x="2218" y="20736"/>
                    <a:pt x="2578" y="20736"/>
                  </a:cubicBezTo>
                  <a:cubicBezTo>
                    <a:pt x="3298" y="20304"/>
                    <a:pt x="6538" y="20304"/>
                    <a:pt x="5458" y="21600"/>
                  </a:cubicBezTo>
                  <a:cubicBezTo>
                    <a:pt x="6178" y="21600"/>
                    <a:pt x="5818" y="21600"/>
                    <a:pt x="6178" y="21600"/>
                  </a:cubicBezTo>
                  <a:cubicBezTo>
                    <a:pt x="6898" y="21168"/>
                    <a:pt x="7258" y="21600"/>
                    <a:pt x="7618" y="21600"/>
                  </a:cubicBezTo>
                  <a:cubicBezTo>
                    <a:pt x="8698" y="21600"/>
                    <a:pt x="9418" y="21600"/>
                    <a:pt x="9778" y="20304"/>
                  </a:cubicBezTo>
                  <a:cubicBezTo>
                    <a:pt x="10138" y="19872"/>
                    <a:pt x="10498" y="19440"/>
                    <a:pt x="10858" y="19008"/>
                  </a:cubicBezTo>
                  <a:cubicBezTo>
                    <a:pt x="11218" y="18576"/>
                    <a:pt x="11938" y="18576"/>
                    <a:pt x="12298" y="17712"/>
                  </a:cubicBezTo>
                  <a:cubicBezTo>
                    <a:pt x="12658" y="17280"/>
                    <a:pt x="12658" y="16848"/>
                    <a:pt x="13018" y="16416"/>
                  </a:cubicBezTo>
                  <a:cubicBezTo>
                    <a:pt x="13738" y="16416"/>
                    <a:pt x="14458" y="16416"/>
                    <a:pt x="15178" y="16416"/>
                  </a:cubicBezTo>
                  <a:cubicBezTo>
                    <a:pt x="14818" y="15984"/>
                    <a:pt x="14818" y="15120"/>
                    <a:pt x="14818" y="15120"/>
                  </a:cubicBezTo>
                  <a:cubicBezTo>
                    <a:pt x="15538" y="14688"/>
                    <a:pt x="15898" y="14688"/>
                    <a:pt x="16258" y="14256"/>
                  </a:cubicBezTo>
                  <a:cubicBezTo>
                    <a:pt x="17338" y="13824"/>
                    <a:pt x="18778" y="13392"/>
                    <a:pt x="19858" y="12960"/>
                  </a:cubicBezTo>
                  <a:cubicBezTo>
                    <a:pt x="19498" y="12528"/>
                    <a:pt x="19498" y="12960"/>
                    <a:pt x="19858" y="12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4" name="Shape 2153">
              <a:extLst>
                <a:ext uri="{FF2B5EF4-FFF2-40B4-BE49-F238E27FC236}">
                  <a16:creationId xmlns:a16="http://schemas.microsoft.com/office/drawing/2014/main" id="{AA23CEA3-360A-86AC-9C07-31F594C0B6B2}"/>
                </a:ext>
              </a:extLst>
            </p:cNvPr>
            <p:cNvSpPr/>
            <p:nvPr/>
          </p:nvSpPr>
          <p:spPr>
            <a:xfrm>
              <a:off x="5911515" y="4318393"/>
              <a:ext cx="405230" cy="414232"/>
            </a:xfrm>
            <a:custGeom>
              <a:avLst/>
              <a:gdLst/>
              <a:ahLst/>
              <a:cxnLst>
                <a:cxn ang="0">
                  <a:pos x="wd2" y="hd2"/>
                </a:cxn>
                <a:cxn ang="5400000">
                  <a:pos x="wd2" y="hd2"/>
                </a:cxn>
                <a:cxn ang="10800000">
                  <a:pos x="wd2" y="hd2"/>
                </a:cxn>
                <a:cxn ang="16200000">
                  <a:pos x="wd2" y="hd2"/>
                </a:cxn>
              </a:cxnLst>
              <a:rect l="0" t="0" r="r" b="b"/>
              <a:pathLst>
                <a:path w="20827" h="21514" extrusionOk="0">
                  <a:moveTo>
                    <a:pt x="10854" y="1714"/>
                  </a:moveTo>
                  <a:cubicBezTo>
                    <a:pt x="10516" y="1714"/>
                    <a:pt x="10179" y="686"/>
                    <a:pt x="10179" y="686"/>
                  </a:cubicBezTo>
                  <a:cubicBezTo>
                    <a:pt x="9841" y="686"/>
                    <a:pt x="9504" y="686"/>
                    <a:pt x="9166" y="686"/>
                  </a:cubicBezTo>
                  <a:cubicBezTo>
                    <a:pt x="8154" y="686"/>
                    <a:pt x="6804" y="686"/>
                    <a:pt x="5791" y="686"/>
                  </a:cubicBezTo>
                  <a:cubicBezTo>
                    <a:pt x="4779" y="686"/>
                    <a:pt x="4104" y="686"/>
                    <a:pt x="3091" y="686"/>
                  </a:cubicBezTo>
                  <a:cubicBezTo>
                    <a:pt x="2754" y="686"/>
                    <a:pt x="2754" y="0"/>
                    <a:pt x="2079" y="0"/>
                  </a:cubicBezTo>
                  <a:cubicBezTo>
                    <a:pt x="1741" y="0"/>
                    <a:pt x="1404" y="686"/>
                    <a:pt x="1066" y="686"/>
                  </a:cubicBezTo>
                  <a:cubicBezTo>
                    <a:pt x="729" y="686"/>
                    <a:pt x="391" y="686"/>
                    <a:pt x="54" y="686"/>
                  </a:cubicBezTo>
                  <a:cubicBezTo>
                    <a:pt x="-284" y="2400"/>
                    <a:pt x="1066" y="3086"/>
                    <a:pt x="1741" y="4800"/>
                  </a:cubicBezTo>
                  <a:cubicBezTo>
                    <a:pt x="2079" y="5486"/>
                    <a:pt x="2416" y="6514"/>
                    <a:pt x="2754" y="7200"/>
                  </a:cubicBezTo>
                  <a:cubicBezTo>
                    <a:pt x="3091" y="8229"/>
                    <a:pt x="3766" y="8914"/>
                    <a:pt x="4104" y="9943"/>
                  </a:cubicBezTo>
                  <a:cubicBezTo>
                    <a:pt x="4104" y="10286"/>
                    <a:pt x="4104" y="11314"/>
                    <a:pt x="4104" y="11657"/>
                  </a:cubicBezTo>
                  <a:cubicBezTo>
                    <a:pt x="4104" y="12686"/>
                    <a:pt x="4441" y="13371"/>
                    <a:pt x="4441" y="14400"/>
                  </a:cubicBezTo>
                  <a:cubicBezTo>
                    <a:pt x="4779" y="15429"/>
                    <a:pt x="4779" y="16457"/>
                    <a:pt x="5116" y="17486"/>
                  </a:cubicBezTo>
                  <a:cubicBezTo>
                    <a:pt x="5454" y="18857"/>
                    <a:pt x="6466" y="19886"/>
                    <a:pt x="7141" y="20914"/>
                  </a:cubicBezTo>
                  <a:cubicBezTo>
                    <a:pt x="8154" y="19886"/>
                    <a:pt x="8154" y="20571"/>
                    <a:pt x="9166" y="21257"/>
                  </a:cubicBezTo>
                  <a:cubicBezTo>
                    <a:pt x="9504" y="21600"/>
                    <a:pt x="10516" y="21600"/>
                    <a:pt x="10854" y="21257"/>
                  </a:cubicBezTo>
                  <a:cubicBezTo>
                    <a:pt x="11866" y="21257"/>
                    <a:pt x="12541" y="20914"/>
                    <a:pt x="12541" y="19886"/>
                  </a:cubicBezTo>
                  <a:cubicBezTo>
                    <a:pt x="12541" y="17829"/>
                    <a:pt x="12541" y="15771"/>
                    <a:pt x="12541" y="13714"/>
                  </a:cubicBezTo>
                  <a:cubicBezTo>
                    <a:pt x="12541" y="12343"/>
                    <a:pt x="12541" y="10971"/>
                    <a:pt x="12541" y="9600"/>
                  </a:cubicBezTo>
                  <a:cubicBezTo>
                    <a:pt x="12541" y="9257"/>
                    <a:pt x="12541" y="8914"/>
                    <a:pt x="12879" y="8914"/>
                  </a:cubicBezTo>
                  <a:cubicBezTo>
                    <a:pt x="12879" y="8914"/>
                    <a:pt x="14229" y="8914"/>
                    <a:pt x="14229" y="8914"/>
                  </a:cubicBezTo>
                  <a:cubicBezTo>
                    <a:pt x="14229" y="6857"/>
                    <a:pt x="14229" y="4457"/>
                    <a:pt x="14229" y="2400"/>
                  </a:cubicBezTo>
                  <a:cubicBezTo>
                    <a:pt x="15241" y="2743"/>
                    <a:pt x="15916" y="2057"/>
                    <a:pt x="16928" y="2057"/>
                  </a:cubicBezTo>
                  <a:cubicBezTo>
                    <a:pt x="16928" y="1714"/>
                    <a:pt x="17266" y="1714"/>
                    <a:pt x="17603" y="1714"/>
                  </a:cubicBezTo>
                  <a:cubicBezTo>
                    <a:pt x="17603" y="1714"/>
                    <a:pt x="18279" y="2743"/>
                    <a:pt x="18616" y="2743"/>
                  </a:cubicBezTo>
                  <a:cubicBezTo>
                    <a:pt x="18954" y="2400"/>
                    <a:pt x="18616" y="2057"/>
                    <a:pt x="19291" y="2057"/>
                  </a:cubicBezTo>
                  <a:cubicBezTo>
                    <a:pt x="19628" y="2057"/>
                    <a:pt x="19966" y="1714"/>
                    <a:pt x="20641" y="1714"/>
                  </a:cubicBezTo>
                  <a:cubicBezTo>
                    <a:pt x="21316" y="1371"/>
                    <a:pt x="19966" y="686"/>
                    <a:pt x="19628" y="686"/>
                  </a:cubicBezTo>
                  <a:cubicBezTo>
                    <a:pt x="17941" y="686"/>
                    <a:pt x="16591" y="1714"/>
                    <a:pt x="14904" y="1714"/>
                  </a:cubicBezTo>
                  <a:cubicBezTo>
                    <a:pt x="13553" y="1714"/>
                    <a:pt x="12204" y="1714"/>
                    <a:pt x="10854" y="171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5" name="Shape 2154">
              <a:extLst>
                <a:ext uri="{FF2B5EF4-FFF2-40B4-BE49-F238E27FC236}">
                  <a16:creationId xmlns:a16="http://schemas.microsoft.com/office/drawing/2014/main" id="{9A71416E-5EF8-9007-7EC3-35C4488349A4}"/>
                </a:ext>
              </a:extLst>
            </p:cNvPr>
            <p:cNvSpPr/>
            <p:nvPr/>
          </p:nvSpPr>
          <p:spPr>
            <a:xfrm>
              <a:off x="5920885" y="3575929"/>
              <a:ext cx="594749" cy="623325"/>
            </a:xfrm>
            <a:custGeom>
              <a:avLst/>
              <a:gdLst/>
              <a:ahLst/>
              <a:cxnLst>
                <a:cxn ang="0">
                  <a:pos x="wd2" y="hd2"/>
                </a:cxn>
                <a:cxn ang="5400000">
                  <a:pos x="wd2" y="hd2"/>
                </a:cxn>
                <a:cxn ang="10800000">
                  <a:pos x="wd2" y="hd2"/>
                </a:cxn>
                <a:cxn ang="16200000">
                  <a:pos x="wd2" y="hd2"/>
                </a:cxn>
              </a:cxnLst>
              <a:rect l="0" t="0" r="r" b="b"/>
              <a:pathLst>
                <a:path w="21409" h="21467" extrusionOk="0">
                  <a:moveTo>
                    <a:pt x="21231" y="3278"/>
                  </a:moveTo>
                  <a:cubicBezTo>
                    <a:pt x="20993" y="3050"/>
                    <a:pt x="20993" y="2595"/>
                    <a:pt x="20993" y="2141"/>
                  </a:cubicBezTo>
                  <a:cubicBezTo>
                    <a:pt x="20993" y="1913"/>
                    <a:pt x="20519" y="1686"/>
                    <a:pt x="20281" y="1459"/>
                  </a:cubicBezTo>
                  <a:cubicBezTo>
                    <a:pt x="20281" y="1231"/>
                    <a:pt x="19806" y="776"/>
                    <a:pt x="19569" y="776"/>
                  </a:cubicBezTo>
                  <a:cubicBezTo>
                    <a:pt x="19332" y="776"/>
                    <a:pt x="19332" y="1231"/>
                    <a:pt x="18857" y="1004"/>
                  </a:cubicBezTo>
                  <a:cubicBezTo>
                    <a:pt x="18382" y="776"/>
                    <a:pt x="18620" y="1004"/>
                    <a:pt x="18145" y="1231"/>
                  </a:cubicBezTo>
                  <a:cubicBezTo>
                    <a:pt x="18145" y="1231"/>
                    <a:pt x="17670" y="1004"/>
                    <a:pt x="17670" y="776"/>
                  </a:cubicBezTo>
                  <a:cubicBezTo>
                    <a:pt x="17433" y="549"/>
                    <a:pt x="17195" y="322"/>
                    <a:pt x="16958" y="94"/>
                  </a:cubicBezTo>
                  <a:cubicBezTo>
                    <a:pt x="16721" y="-133"/>
                    <a:pt x="16483" y="322"/>
                    <a:pt x="16246" y="322"/>
                  </a:cubicBezTo>
                  <a:cubicBezTo>
                    <a:pt x="16009" y="549"/>
                    <a:pt x="15534" y="322"/>
                    <a:pt x="15297" y="94"/>
                  </a:cubicBezTo>
                  <a:cubicBezTo>
                    <a:pt x="14822" y="-133"/>
                    <a:pt x="14822" y="94"/>
                    <a:pt x="14347" y="322"/>
                  </a:cubicBezTo>
                  <a:cubicBezTo>
                    <a:pt x="14110" y="549"/>
                    <a:pt x="13635" y="322"/>
                    <a:pt x="13398" y="322"/>
                  </a:cubicBezTo>
                  <a:cubicBezTo>
                    <a:pt x="13160" y="549"/>
                    <a:pt x="12448" y="549"/>
                    <a:pt x="12211" y="549"/>
                  </a:cubicBezTo>
                  <a:cubicBezTo>
                    <a:pt x="11499" y="94"/>
                    <a:pt x="11973" y="1231"/>
                    <a:pt x="11261" y="1231"/>
                  </a:cubicBezTo>
                  <a:cubicBezTo>
                    <a:pt x="10787" y="1459"/>
                    <a:pt x="9837" y="1231"/>
                    <a:pt x="9363" y="1004"/>
                  </a:cubicBezTo>
                  <a:cubicBezTo>
                    <a:pt x="8888" y="776"/>
                    <a:pt x="8650" y="322"/>
                    <a:pt x="8176" y="322"/>
                  </a:cubicBezTo>
                  <a:cubicBezTo>
                    <a:pt x="7938" y="94"/>
                    <a:pt x="7464" y="549"/>
                    <a:pt x="7226" y="776"/>
                  </a:cubicBezTo>
                  <a:cubicBezTo>
                    <a:pt x="6752" y="1231"/>
                    <a:pt x="7226" y="1913"/>
                    <a:pt x="6989" y="2595"/>
                  </a:cubicBezTo>
                  <a:cubicBezTo>
                    <a:pt x="6277" y="3732"/>
                    <a:pt x="6277" y="5096"/>
                    <a:pt x="5565" y="6006"/>
                  </a:cubicBezTo>
                  <a:cubicBezTo>
                    <a:pt x="5090" y="6688"/>
                    <a:pt x="4853" y="7143"/>
                    <a:pt x="4378" y="7825"/>
                  </a:cubicBezTo>
                  <a:cubicBezTo>
                    <a:pt x="4141" y="8280"/>
                    <a:pt x="4141" y="8734"/>
                    <a:pt x="4141" y="9189"/>
                  </a:cubicBezTo>
                  <a:cubicBezTo>
                    <a:pt x="4141" y="9871"/>
                    <a:pt x="4378" y="10326"/>
                    <a:pt x="3903" y="10781"/>
                  </a:cubicBezTo>
                  <a:cubicBezTo>
                    <a:pt x="3666" y="10781"/>
                    <a:pt x="2479" y="11463"/>
                    <a:pt x="2479" y="11463"/>
                  </a:cubicBezTo>
                  <a:cubicBezTo>
                    <a:pt x="2242" y="11463"/>
                    <a:pt x="2716" y="10781"/>
                    <a:pt x="2242" y="11008"/>
                  </a:cubicBezTo>
                  <a:cubicBezTo>
                    <a:pt x="1530" y="11463"/>
                    <a:pt x="1530" y="11918"/>
                    <a:pt x="1055" y="11235"/>
                  </a:cubicBezTo>
                  <a:cubicBezTo>
                    <a:pt x="817" y="11463"/>
                    <a:pt x="343" y="11918"/>
                    <a:pt x="343" y="12372"/>
                  </a:cubicBezTo>
                  <a:cubicBezTo>
                    <a:pt x="343" y="12372"/>
                    <a:pt x="343" y="12600"/>
                    <a:pt x="105" y="12600"/>
                  </a:cubicBezTo>
                  <a:cubicBezTo>
                    <a:pt x="-132" y="12827"/>
                    <a:pt x="105" y="13054"/>
                    <a:pt x="105" y="13282"/>
                  </a:cubicBezTo>
                  <a:cubicBezTo>
                    <a:pt x="1055" y="12600"/>
                    <a:pt x="1767" y="12827"/>
                    <a:pt x="2954" y="12827"/>
                  </a:cubicBezTo>
                  <a:cubicBezTo>
                    <a:pt x="3428" y="12827"/>
                    <a:pt x="3666" y="12827"/>
                    <a:pt x="4141" y="12827"/>
                  </a:cubicBezTo>
                  <a:cubicBezTo>
                    <a:pt x="4615" y="12827"/>
                    <a:pt x="4853" y="13509"/>
                    <a:pt x="5090" y="13964"/>
                  </a:cubicBezTo>
                  <a:cubicBezTo>
                    <a:pt x="5327" y="14419"/>
                    <a:pt x="5565" y="15101"/>
                    <a:pt x="6039" y="15328"/>
                  </a:cubicBezTo>
                  <a:cubicBezTo>
                    <a:pt x="6277" y="15555"/>
                    <a:pt x="7226" y="15328"/>
                    <a:pt x="7701" y="15101"/>
                  </a:cubicBezTo>
                  <a:cubicBezTo>
                    <a:pt x="7938" y="15101"/>
                    <a:pt x="7938" y="14419"/>
                    <a:pt x="8176" y="14191"/>
                  </a:cubicBezTo>
                  <a:cubicBezTo>
                    <a:pt x="8176" y="13736"/>
                    <a:pt x="8888" y="13964"/>
                    <a:pt x="9125" y="13964"/>
                  </a:cubicBezTo>
                  <a:cubicBezTo>
                    <a:pt x="9125" y="14419"/>
                    <a:pt x="9125" y="14419"/>
                    <a:pt x="9600" y="14419"/>
                  </a:cubicBezTo>
                  <a:cubicBezTo>
                    <a:pt x="9837" y="14419"/>
                    <a:pt x="10549" y="14191"/>
                    <a:pt x="10549" y="14646"/>
                  </a:cubicBezTo>
                  <a:cubicBezTo>
                    <a:pt x="10549" y="15101"/>
                    <a:pt x="10787" y="15328"/>
                    <a:pt x="10787" y="15783"/>
                  </a:cubicBezTo>
                  <a:cubicBezTo>
                    <a:pt x="10787" y="16010"/>
                    <a:pt x="10787" y="16238"/>
                    <a:pt x="10549" y="16692"/>
                  </a:cubicBezTo>
                  <a:cubicBezTo>
                    <a:pt x="10549" y="16920"/>
                    <a:pt x="10787" y="17374"/>
                    <a:pt x="11024" y="17602"/>
                  </a:cubicBezTo>
                  <a:cubicBezTo>
                    <a:pt x="11261" y="17829"/>
                    <a:pt x="11024" y="18284"/>
                    <a:pt x="11024" y="18511"/>
                  </a:cubicBezTo>
                  <a:cubicBezTo>
                    <a:pt x="11024" y="19193"/>
                    <a:pt x="12211" y="18511"/>
                    <a:pt x="12448" y="18511"/>
                  </a:cubicBezTo>
                  <a:cubicBezTo>
                    <a:pt x="12923" y="18511"/>
                    <a:pt x="13160" y="18511"/>
                    <a:pt x="13398" y="18739"/>
                  </a:cubicBezTo>
                  <a:cubicBezTo>
                    <a:pt x="13872" y="19193"/>
                    <a:pt x="13635" y="18966"/>
                    <a:pt x="14110" y="18966"/>
                  </a:cubicBezTo>
                  <a:cubicBezTo>
                    <a:pt x="14584" y="18966"/>
                    <a:pt x="14584" y="19193"/>
                    <a:pt x="14822" y="19421"/>
                  </a:cubicBezTo>
                  <a:cubicBezTo>
                    <a:pt x="15059" y="19421"/>
                    <a:pt x="15297" y="19648"/>
                    <a:pt x="15534" y="19648"/>
                  </a:cubicBezTo>
                  <a:cubicBezTo>
                    <a:pt x="16246" y="19875"/>
                    <a:pt x="16483" y="19875"/>
                    <a:pt x="16721" y="19193"/>
                  </a:cubicBezTo>
                  <a:cubicBezTo>
                    <a:pt x="16958" y="19875"/>
                    <a:pt x="17195" y="20103"/>
                    <a:pt x="17908" y="20330"/>
                  </a:cubicBezTo>
                  <a:cubicBezTo>
                    <a:pt x="18382" y="20558"/>
                    <a:pt x="18382" y="21240"/>
                    <a:pt x="18857" y="21467"/>
                  </a:cubicBezTo>
                  <a:cubicBezTo>
                    <a:pt x="18857" y="21467"/>
                    <a:pt x="19806" y="21240"/>
                    <a:pt x="19806" y="21240"/>
                  </a:cubicBezTo>
                  <a:cubicBezTo>
                    <a:pt x="19806" y="20785"/>
                    <a:pt x="20044" y="19875"/>
                    <a:pt x="19569" y="20103"/>
                  </a:cubicBezTo>
                  <a:cubicBezTo>
                    <a:pt x="18857" y="20330"/>
                    <a:pt x="18382" y="19875"/>
                    <a:pt x="18145" y="19193"/>
                  </a:cubicBezTo>
                  <a:cubicBezTo>
                    <a:pt x="18145" y="18739"/>
                    <a:pt x="18620" y="18056"/>
                    <a:pt x="18382" y="17374"/>
                  </a:cubicBezTo>
                  <a:cubicBezTo>
                    <a:pt x="18382" y="17147"/>
                    <a:pt x="18145" y="16692"/>
                    <a:pt x="18382" y="16465"/>
                  </a:cubicBezTo>
                  <a:cubicBezTo>
                    <a:pt x="18382" y="16465"/>
                    <a:pt x="18382" y="16238"/>
                    <a:pt x="18620" y="16238"/>
                  </a:cubicBezTo>
                  <a:cubicBezTo>
                    <a:pt x="18857" y="16238"/>
                    <a:pt x="18620" y="15783"/>
                    <a:pt x="18857" y="15783"/>
                  </a:cubicBezTo>
                  <a:cubicBezTo>
                    <a:pt x="19094" y="15328"/>
                    <a:pt x="20281" y="15328"/>
                    <a:pt x="20519" y="15328"/>
                  </a:cubicBezTo>
                  <a:cubicBezTo>
                    <a:pt x="20044" y="15101"/>
                    <a:pt x="20281" y="14419"/>
                    <a:pt x="19806" y="14191"/>
                  </a:cubicBezTo>
                  <a:cubicBezTo>
                    <a:pt x="19569" y="13964"/>
                    <a:pt x="19332" y="13736"/>
                    <a:pt x="19332" y="13509"/>
                  </a:cubicBezTo>
                  <a:cubicBezTo>
                    <a:pt x="19332" y="13054"/>
                    <a:pt x="19332" y="12600"/>
                    <a:pt x="19094" y="12372"/>
                  </a:cubicBezTo>
                  <a:cubicBezTo>
                    <a:pt x="19094" y="11918"/>
                    <a:pt x="18857" y="11690"/>
                    <a:pt x="18857" y="11235"/>
                  </a:cubicBezTo>
                  <a:cubicBezTo>
                    <a:pt x="18857" y="11008"/>
                    <a:pt x="18857" y="9871"/>
                    <a:pt x="19094" y="10099"/>
                  </a:cubicBezTo>
                  <a:cubicBezTo>
                    <a:pt x="18857" y="9189"/>
                    <a:pt x="18857" y="8734"/>
                    <a:pt x="19332" y="7825"/>
                  </a:cubicBezTo>
                  <a:cubicBezTo>
                    <a:pt x="19569" y="7143"/>
                    <a:pt x="19569" y="6915"/>
                    <a:pt x="19569" y="6233"/>
                  </a:cubicBezTo>
                  <a:cubicBezTo>
                    <a:pt x="19569" y="5551"/>
                    <a:pt x="20044" y="5096"/>
                    <a:pt x="20519" y="4642"/>
                  </a:cubicBezTo>
                  <a:cubicBezTo>
                    <a:pt x="20756" y="4414"/>
                    <a:pt x="20993" y="4187"/>
                    <a:pt x="21231" y="3960"/>
                  </a:cubicBezTo>
                  <a:cubicBezTo>
                    <a:pt x="21468" y="3732"/>
                    <a:pt x="21468" y="3732"/>
                    <a:pt x="21231" y="3278"/>
                  </a:cubicBezTo>
                  <a:cubicBezTo>
                    <a:pt x="20993" y="3278"/>
                    <a:pt x="21468" y="3505"/>
                    <a:pt x="21231" y="327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6" name="Shape 2155">
              <a:extLst>
                <a:ext uri="{FF2B5EF4-FFF2-40B4-BE49-F238E27FC236}">
                  <a16:creationId xmlns:a16="http://schemas.microsoft.com/office/drawing/2014/main" id="{25C82E95-6FEC-271B-9940-DF3EFFDB1E0A}"/>
                </a:ext>
              </a:extLst>
            </p:cNvPr>
            <p:cNvSpPr/>
            <p:nvPr/>
          </p:nvSpPr>
          <p:spPr>
            <a:xfrm>
              <a:off x="5910477" y="3947931"/>
              <a:ext cx="370824" cy="405063"/>
            </a:xfrm>
            <a:custGeom>
              <a:avLst/>
              <a:gdLst/>
              <a:ahLst/>
              <a:cxnLst>
                <a:cxn ang="0">
                  <a:pos x="wd2" y="hd2"/>
                </a:cxn>
                <a:cxn ang="5400000">
                  <a:pos x="wd2" y="hd2"/>
                </a:cxn>
                <a:cxn ang="10800000">
                  <a:pos x="wd2" y="hd2"/>
                </a:cxn>
                <a:cxn ang="16200000">
                  <a:pos x="wd2" y="hd2"/>
                </a:cxn>
              </a:cxnLst>
              <a:rect l="0" t="0" r="r" b="b"/>
              <a:pathLst>
                <a:path w="21600" h="21038" extrusionOk="0">
                  <a:moveTo>
                    <a:pt x="19671" y="9000"/>
                  </a:moveTo>
                  <a:cubicBezTo>
                    <a:pt x="18900" y="9000"/>
                    <a:pt x="18514" y="9343"/>
                    <a:pt x="18514" y="8657"/>
                  </a:cubicBezTo>
                  <a:cubicBezTo>
                    <a:pt x="18514" y="7972"/>
                    <a:pt x="18514" y="7629"/>
                    <a:pt x="18129" y="6943"/>
                  </a:cubicBezTo>
                  <a:cubicBezTo>
                    <a:pt x="17357" y="5914"/>
                    <a:pt x="18514" y="4886"/>
                    <a:pt x="17743" y="3857"/>
                  </a:cubicBezTo>
                  <a:cubicBezTo>
                    <a:pt x="17743" y="3514"/>
                    <a:pt x="17743" y="2486"/>
                    <a:pt x="17743" y="2486"/>
                  </a:cubicBezTo>
                  <a:cubicBezTo>
                    <a:pt x="17743" y="2486"/>
                    <a:pt x="16586" y="2486"/>
                    <a:pt x="16586" y="2486"/>
                  </a:cubicBezTo>
                  <a:cubicBezTo>
                    <a:pt x="15429" y="2486"/>
                    <a:pt x="15429" y="2829"/>
                    <a:pt x="15429" y="1800"/>
                  </a:cubicBezTo>
                  <a:cubicBezTo>
                    <a:pt x="14271" y="1800"/>
                    <a:pt x="13886" y="1457"/>
                    <a:pt x="13500" y="2486"/>
                  </a:cubicBezTo>
                  <a:cubicBezTo>
                    <a:pt x="13500" y="2486"/>
                    <a:pt x="13500" y="3514"/>
                    <a:pt x="13114" y="3514"/>
                  </a:cubicBezTo>
                  <a:cubicBezTo>
                    <a:pt x="12729" y="3857"/>
                    <a:pt x="11957" y="3857"/>
                    <a:pt x="11186" y="3857"/>
                  </a:cubicBezTo>
                  <a:cubicBezTo>
                    <a:pt x="8486" y="4200"/>
                    <a:pt x="9257" y="86"/>
                    <a:pt x="6943" y="86"/>
                  </a:cubicBezTo>
                  <a:cubicBezTo>
                    <a:pt x="5014" y="86"/>
                    <a:pt x="2700" y="-257"/>
                    <a:pt x="1157" y="429"/>
                  </a:cubicBezTo>
                  <a:cubicBezTo>
                    <a:pt x="386" y="1114"/>
                    <a:pt x="2314" y="3172"/>
                    <a:pt x="2314" y="3857"/>
                  </a:cubicBezTo>
                  <a:cubicBezTo>
                    <a:pt x="2700" y="4200"/>
                    <a:pt x="2700" y="4886"/>
                    <a:pt x="2314" y="5229"/>
                  </a:cubicBezTo>
                  <a:cubicBezTo>
                    <a:pt x="1543" y="5572"/>
                    <a:pt x="2314" y="6257"/>
                    <a:pt x="2314" y="6600"/>
                  </a:cubicBezTo>
                  <a:cubicBezTo>
                    <a:pt x="3471" y="7972"/>
                    <a:pt x="4243" y="9686"/>
                    <a:pt x="3086" y="11057"/>
                  </a:cubicBezTo>
                  <a:cubicBezTo>
                    <a:pt x="2314" y="12086"/>
                    <a:pt x="1543" y="12772"/>
                    <a:pt x="1157" y="13800"/>
                  </a:cubicBezTo>
                  <a:cubicBezTo>
                    <a:pt x="771" y="14829"/>
                    <a:pt x="386" y="15857"/>
                    <a:pt x="0" y="16886"/>
                  </a:cubicBezTo>
                  <a:cubicBezTo>
                    <a:pt x="0" y="17572"/>
                    <a:pt x="0" y="18257"/>
                    <a:pt x="0" y="18600"/>
                  </a:cubicBezTo>
                  <a:cubicBezTo>
                    <a:pt x="0" y="18943"/>
                    <a:pt x="0" y="19629"/>
                    <a:pt x="0" y="19972"/>
                  </a:cubicBezTo>
                  <a:cubicBezTo>
                    <a:pt x="386" y="19972"/>
                    <a:pt x="771" y="19972"/>
                    <a:pt x="1157" y="19972"/>
                  </a:cubicBezTo>
                  <a:cubicBezTo>
                    <a:pt x="1929" y="19972"/>
                    <a:pt x="1929" y="18943"/>
                    <a:pt x="3086" y="19629"/>
                  </a:cubicBezTo>
                  <a:cubicBezTo>
                    <a:pt x="3086" y="19629"/>
                    <a:pt x="3471" y="19972"/>
                    <a:pt x="3471" y="19972"/>
                  </a:cubicBezTo>
                  <a:cubicBezTo>
                    <a:pt x="4629" y="19972"/>
                    <a:pt x="5400" y="19972"/>
                    <a:pt x="6171" y="19972"/>
                  </a:cubicBezTo>
                  <a:cubicBezTo>
                    <a:pt x="7329" y="19972"/>
                    <a:pt x="8486" y="19972"/>
                    <a:pt x="9643" y="19972"/>
                  </a:cubicBezTo>
                  <a:cubicBezTo>
                    <a:pt x="10029" y="19972"/>
                    <a:pt x="11186" y="19972"/>
                    <a:pt x="11571" y="19972"/>
                  </a:cubicBezTo>
                  <a:cubicBezTo>
                    <a:pt x="12343" y="21343"/>
                    <a:pt x="13886" y="21000"/>
                    <a:pt x="15043" y="21000"/>
                  </a:cubicBezTo>
                  <a:cubicBezTo>
                    <a:pt x="16971" y="21000"/>
                    <a:pt x="18514" y="20657"/>
                    <a:pt x="20443" y="20314"/>
                  </a:cubicBezTo>
                  <a:cubicBezTo>
                    <a:pt x="19286" y="19286"/>
                    <a:pt x="17743" y="18600"/>
                    <a:pt x="17743" y="17229"/>
                  </a:cubicBezTo>
                  <a:cubicBezTo>
                    <a:pt x="17743" y="15514"/>
                    <a:pt x="17743" y="13800"/>
                    <a:pt x="17743" y="12429"/>
                  </a:cubicBezTo>
                  <a:cubicBezTo>
                    <a:pt x="17743" y="12086"/>
                    <a:pt x="21600" y="12772"/>
                    <a:pt x="21600" y="11743"/>
                  </a:cubicBezTo>
                  <a:cubicBezTo>
                    <a:pt x="21600" y="11057"/>
                    <a:pt x="21600" y="10029"/>
                    <a:pt x="21600" y="9000"/>
                  </a:cubicBezTo>
                  <a:cubicBezTo>
                    <a:pt x="21600" y="7972"/>
                    <a:pt x="20443" y="9000"/>
                    <a:pt x="19671" y="9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7" name="Shape 2156">
              <a:extLst>
                <a:ext uri="{FF2B5EF4-FFF2-40B4-BE49-F238E27FC236}">
                  <a16:creationId xmlns:a16="http://schemas.microsoft.com/office/drawing/2014/main" id="{CD4AB412-B088-74C5-80FC-EE4E078663DB}"/>
                </a:ext>
              </a:extLst>
            </p:cNvPr>
            <p:cNvSpPr/>
            <p:nvPr/>
          </p:nvSpPr>
          <p:spPr>
            <a:xfrm>
              <a:off x="6152367" y="4351833"/>
              <a:ext cx="293737" cy="303762"/>
            </a:xfrm>
            <a:custGeom>
              <a:avLst/>
              <a:gdLst/>
              <a:ahLst/>
              <a:cxnLst>
                <a:cxn ang="0">
                  <a:pos x="wd2" y="hd2"/>
                </a:cxn>
                <a:cxn ang="5400000">
                  <a:pos x="wd2" y="hd2"/>
                </a:cxn>
                <a:cxn ang="10800000">
                  <a:pos x="wd2" y="hd2"/>
                </a:cxn>
                <a:cxn ang="16200000">
                  <a:pos x="wd2" y="hd2"/>
                </a:cxn>
              </a:cxnLst>
              <a:rect l="0" t="0" r="r" b="b"/>
              <a:pathLst>
                <a:path w="20912" h="20700" extrusionOk="0">
                  <a:moveTo>
                    <a:pt x="11478" y="0"/>
                  </a:moveTo>
                  <a:cubicBezTo>
                    <a:pt x="11009" y="450"/>
                    <a:pt x="10069" y="450"/>
                    <a:pt x="9600" y="450"/>
                  </a:cubicBezTo>
                  <a:cubicBezTo>
                    <a:pt x="8661" y="450"/>
                    <a:pt x="9130" y="1800"/>
                    <a:pt x="8191" y="900"/>
                  </a:cubicBezTo>
                  <a:cubicBezTo>
                    <a:pt x="6782" y="-900"/>
                    <a:pt x="4435" y="1350"/>
                    <a:pt x="2556" y="900"/>
                  </a:cubicBezTo>
                  <a:cubicBezTo>
                    <a:pt x="2556" y="3150"/>
                    <a:pt x="2556" y="5400"/>
                    <a:pt x="2556" y="7200"/>
                  </a:cubicBezTo>
                  <a:cubicBezTo>
                    <a:pt x="2556" y="7650"/>
                    <a:pt x="3026" y="9450"/>
                    <a:pt x="2556" y="9450"/>
                  </a:cubicBezTo>
                  <a:cubicBezTo>
                    <a:pt x="2087" y="9900"/>
                    <a:pt x="209" y="9000"/>
                    <a:pt x="209" y="9900"/>
                  </a:cubicBezTo>
                  <a:cubicBezTo>
                    <a:pt x="209" y="10800"/>
                    <a:pt x="209" y="12150"/>
                    <a:pt x="209" y="13050"/>
                  </a:cubicBezTo>
                  <a:cubicBezTo>
                    <a:pt x="209" y="13950"/>
                    <a:pt x="-261" y="15300"/>
                    <a:pt x="209" y="16200"/>
                  </a:cubicBezTo>
                  <a:cubicBezTo>
                    <a:pt x="2087" y="16650"/>
                    <a:pt x="2556" y="18900"/>
                    <a:pt x="1617" y="20250"/>
                  </a:cubicBezTo>
                  <a:cubicBezTo>
                    <a:pt x="1617" y="20700"/>
                    <a:pt x="3496" y="20700"/>
                    <a:pt x="3496" y="20700"/>
                  </a:cubicBezTo>
                  <a:cubicBezTo>
                    <a:pt x="4435" y="20700"/>
                    <a:pt x="4904" y="19800"/>
                    <a:pt x="5843" y="18900"/>
                  </a:cubicBezTo>
                  <a:cubicBezTo>
                    <a:pt x="6782" y="18000"/>
                    <a:pt x="6782" y="16650"/>
                    <a:pt x="8661" y="17550"/>
                  </a:cubicBezTo>
                  <a:cubicBezTo>
                    <a:pt x="10539" y="18450"/>
                    <a:pt x="12417" y="18900"/>
                    <a:pt x="13356" y="16650"/>
                  </a:cubicBezTo>
                  <a:cubicBezTo>
                    <a:pt x="13356" y="16200"/>
                    <a:pt x="13356" y="15750"/>
                    <a:pt x="14296" y="15750"/>
                  </a:cubicBezTo>
                  <a:cubicBezTo>
                    <a:pt x="15235" y="15750"/>
                    <a:pt x="15704" y="14850"/>
                    <a:pt x="15704" y="14400"/>
                  </a:cubicBezTo>
                  <a:cubicBezTo>
                    <a:pt x="16643" y="13050"/>
                    <a:pt x="18522" y="11700"/>
                    <a:pt x="19930" y="10800"/>
                  </a:cubicBezTo>
                  <a:cubicBezTo>
                    <a:pt x="20869" y="10350"/>
                    <a:pt x="21339" y="9900"/>
                    <a:pt x="20400" y="9000"/>
                  </a:cubicBezTo>
                  <a:cubicBezTo>
                    <a:pt x="19930" y="8550"/>
                    <a:pt x="18522" y="9000"/>
                    <a:pt x="18522" y="8550"/>
                  </a:cubicBezTo>
                  <a:cubicBezTo>
                    <a:pt x="18052" y="8100"/>
                    <a:pt x="17582" y="7650"/>
                    <a:pt x="17582" y="6750"/>
                  </a:cubicBezTo>
                  <a:cubicBezTo>
                    <a:pt x="17582" y="6750"/>
                    <a:pt x="18052" y="6300"/>
                    <a:pt x="18052" y="5850"/>
                  </a:cubicBezTo>
                  <a:cubicBezTo>
                    <a:pt x="17582" y="5850"/>
                    <a:pt x="17113" y="5850"/>
                    <a:pt x="16643" y="5400"/>
                  </a:cubicBezTo>
                  <a:cubicBezTo>
                    <a:pt x="16643" y="5400"/>
                    <a:pt x="17113" y="4950"/>
                    <a:pt x="16643" y="4950"/>
                  </a:cubicBezTo>
                  <a:cubicBezTo>
                    <a:pt x="16174" y="4950"/>
                    <a:pt x="16174" y="4500"/>
                    <a:pt x="15704" y="4500"/>
                  </a:cubicBezTo>
                  <a:cubicBezTo>
                    <a:pt x="14765" y="4050"/>
                    <a:pt x="14296" y="3600"/>
                    <a:pt x="13826" y="2250"/>
                  </a:cubicBezTo>
                  <a:cubicBezTo>
                    <a:pt x="13826" y="1800"/>
                    <a:pt x="12417" y="0"/>
                    <a:pt x="11478" y="0"/>
                  </a:cubicBezTo>
                  <a:cubicBezTo>
                    <a:pt x="11478" y="0"/>
                    <a:pt x="11948" y="0"/>
                    <a:pt x="11478"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8" name="Shape 2157">
              <a:extLst>
                <a:ext uri="{FF2B5EF4-FFF2-40B4-BE49-F238E27FC236}">
                  <a16:creationId xmlns:a16="http://schemas.microsoft.com/office/drawing/2014/main" id="{E8805F41-2F9D-4EC7-AE9F-D6F1B2E017E0}"/>
                </a:ext>
              </a:extLst>
            </p:cNvPr>
            <p:cNvSpPr/>
            <p:nvPr/>
          </p:nvSpPr>
          <p:spPr>
            <a:xfrm>
              <a:off x="6322359" y="4273432"/>
              <a:ext cx="248859" cy="229297"/>
            </a:xfrm>
            <a:custGeom>
              <a:avLst/>
              <a:gdLst/>
              <a:ahLst/>
              <a:cxnLst>
                <a:cxn ang="0">
                  <a:pos x="wd2" y="hd2"/>
                </a:cxn>
                <a:cxn ang="5400000">
                  <a:pos x="wd2" y="hd2"/>
                </a:cxn>
                <a:cxn ang="10800000">
                  <a:pos x="wd2" y="hd2"/>
                </a:cxn>
                <a:cxn ang="16200000">
                  <a:pos x="wd2" y="hd2"/>
                </a:cxn>
              </a:cxnLst>
              <a:rect l="0" t="0" r="r" b="b"/>
              <a:pathLst>
                <a:path w="20798" h="21600" extrusionOk="0">
                  <a:moveTo>
                    <a:pt x="20798" y="13577"/>
                  </a:moveTo>
                  <a:cubicBezTo>
                    <a:pt x="20798" y="12960"/>
                    <a:pt x="20244" y="11726"/>
                    <a:pt x="20244" y="11109"/>
                  </a:cubicBezTo>
                  <a:cubicBezTo>
                    <a:pt x="20244" y="9874"/>
                    <a:pt x="20798" y="9257"/>
                    <a:pt x="20798" y="8640"/>
                  </a:cubicBezTo>
                  <a:cubicBezTo>
                    <a:pt x="20798" y="6789"/>
                    <a:pt x="20798" y="5554"/>
                    <a:pt x="20244" y="4320"/>
                  </a:cubicBezTo>
                  <a:cubicBezTo>
                    <a:pt x="20244" y="2469"/>
                    <a:pt x="15260" y="1234"/>
                    <a:pt x="14152" y="1234"/>
                  </a:cubicBezTo>
                  <a:cubicBezTo>
                    <a:pt x="14152" y="0"/>
                    <a:pt x="14152" y="0"/>
                    <a:pt x="12490" y="0"/>
                  </a:cubicBezTo>
                  <a:cubicBezTo>
                    <a:pt x="10829" y="0"/>
                    <a:pt x="10829" y="617"/>
                    <a:pt x="9721" y="1851"/>
                  </a:cubicBezTo>
                  <a:cubicBezTo>
                    <a:pt x="9167" y="3086"/>
                    <a:pt x="7506" y="3703"/>
                    <a:pt x="6398" y="4320"/>
                  </a:cubicBezTo>
                  <a:cubicBezTo>
                    <a:pt x="5844" y="5554"/>
                    <a:pt x="5290" y="7406"/>
                    <a:pt x="4183" y="7406"/>
                  </a:cubicBezTo>
                  <a:cubicBezTo>
                    <a:pt x="3075" y="7406"/>
                    <a:pt x="1967" y="6789"/>
                    <a:pt x="306" y="7406"/>
                  </a:cubicBezTo>
                  <a:cubicBezTo>
                    <a:pt x="-802" y="8023"/>
                    <a:pt x="1413" y="9257"/>
                    <a:pt x="1967" y="9874"/>
                  </a:cubicBezTo>
                  <a:cubicBezTo>
                    <a:pt x="2521" y="11109"/>
                    <a:pt x="2521" y="12343"/>
                    <a:pt x="3629" y="12960"/>
                  </a:cubicBezTo>
                  <a:cubicBezTo>
                    <a:pt x="4183" y="13577"/>
                    <a:pt x="4736" y="14194"/>
                    <a:pt x="5290" y="14194"/>
                  </a:cubicBezTo>
                  <a:cubicBezTo>
                    <a:pt x="5844" y="14194"/>
                    <a:pt x="5290" y="14811"/>
                    <a:pt x="5290" y="14811"/>
                  </a:cubicBezTo>
                  <a:cubicBezTo>
                    <a:pt x="5844" y="14811"/>
                    <a:pt x="6398" y="15429"/>
                    <a:pt x="6952" y="15429"/>
                  </a:cubicBezTo>
                  <a:cubicBezTo>
                    <a:pt x="6952" y="16046"/>
                    <a:pt x="6398" y="16663"/>
                    <a:pt x="6398" y="17280"/>
                  </a:cubicBezTo>
                  <a:cubicBezTo>
                    <a:pt x="6398" y="17897"/>
                    <a:pt x="6952" y="19131"/>
                    <a:pt x="7506" y="19131"/>
                  </a:cubicBezTo>
                  <a:cubicBezTo>
                    <a:pt x="9167" y="19131"/>
                    <a:pt x="9721" y="19131"/>
                    <a:pt x="10275" y="20983"/>
                  </a:cubicBezTo>
                  <a:cubicBezTo>
                    <a:pt x="10829" y="21600"/>
                    <a:pt x="11936" y="20983"/>
                    <a:pt x="13044" y="21600"/>
                  </a:cubicBezTo>
                  <a:cubicBezTo>
                    <a:pt x="13598" y="21600"/>
                    <a:pt x="13598" y="21600"/>
                    <a:pt x="14152" y="21600"/>
                  </a:cubicBezTo>
                  <a:cubicBezTo>
                    <a:pt x="16367" y="21600"/>
                    <a:pt x="16921" y="20983"/>
                    <a:pt x="18029" y="19131"/>
                  </a:cubicBezTo>
                  <a:cubicBezTo>
                    <a:pt x="18583" y="18514"/>
                    <a:pt x="19136" y="17280"/>
                    <a:pt x="19136" y="16663"/>
                  </a:cubicBezTo>
                  <a:cubicBezTo>
                    <a:pt x="19690" y="15429"/>
                    <a:pt x="20798" y="14811"/>
                    <a:pt x="20798" y="1357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9" name="Shape 2158">
              <a:extLst>
                <a:ext uri="{FF2B5EF4-FFF2-40B4-BE49-F238E27FC236}">
                  <a16:creationId xmlns:a16="http://schemas.microsoft.com/office/drawing/2014/main" id="{EAE9FAB0-75C0-44B7-46FE-0412609B03E5}"/>
                </a:ext>
              </a:extLst>
            </p:cNvPr>
            <p:cNvSpPr/>
            <p:nvPr/>
          </p:nvSpPr>
          <p:spPr>
            <a:xfrm>
              <a:off x="6501332" y="4621290"/>
              <a:ext cx="41475" cy="56484"/>
            </a:xfrm>
            <a:custGeom>
              <a:avLst/>
              <a:gdLst/>
              <a:ahLst/>
              <a:cxnLst>
                <a:cxn ang="0">
                  <a:pos x="wd2" y="hd2"/>
                </a:cxn>
                <a:cxn ang="5400000">
                  <a:pos x="wd2" y="hd2"/>
                </a:cxn>
                <a:cxn ang="10800000">
                  <a:pos x="wd2" y="hd2"/>
                </a:cxn>
                <a:cxn ang="16200000">
                  <a:pos x="wd2" y="hd2"/>
                </a:cxn>
              </a:cxnLst>
              <a:rect l="0" t="0" r="r" b="b"/>
              <a:pathLst>
                <a:path w="13745" h="16446" extrusionOk="0">
                  <a:moveTo>
                    <a:pt x="5657" y="170"/>
                  </a:moveTo>
                  <a:cubicBezTo>
                    <a:pt x="-5143" y="2133"/>
                    <a:pt x="1337" y="19806"/>
                    <a:pt x="9977" y="15879"/>
                  </a:cubicBezTo>
                  <a:cubicBezTo>
                    <a:pt x="16457" y="13915"/>
                    <a:pt x="14297" y="-1794"/>
                    <a:pt x="5657" y="170"/>
                  </a:cubicBezTo>
                  <a:cubicBezTo>
                    <a:pt x="1337" y="170"/>
                    <a:pt x="7817" y="170"/>
                    <a:pt x="5657" y="17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0" name="Shape 2159">
              <a:extLst>
                <a:ext uri="{FF2B5EF4-FFF2-40B4-BE49-F238E27FC236}">
                  <a16:creationId xmlns:a16="http://schemas.microsoft.com/office/drawing/2014/main" id="{AFDB2A41-AC16-B83E-1EE6-BE6E92C33E32}"/>
                </a:ext>
              </a:extLst>
            </p:cNvPr>
            <p:cNvSpPr/>
            <p:nvPr/>
          </p:nvSpPr>
          <p:spPr>
            <a:xfrm>
              <a:off x="6050628" y="4498254"/>
              <a:ext cx="513846" cy="448810"/>
            </a:xfrm>
            <a:custGeom>
              <a:avLst/>
              <a:gdLst/>
              <a:ahLst/>
              <a:cxnLst>
                <a:cxn ang="0">
                  <a:pos x="wd2" y="hd2"/>
                </a:cxn>
                <a:cxn ang="5400000">
                  <a:pos x="wd2" y="hd2"/>
                </a:cxn>
                <a:cxn ang="10800000">
                  <a:pos x="wd2" y="hd2"/>
                </a:cxn>
                <a:cxn ang="16200000">
                  <a:pos x="wd2" y="hd2"/>
                </a:cxn>
              </a:cxnLst>
              <a:rect l="0" t="0" r="r" b="b"/>
              <a:pathLst>
                <a:path w="21287" h="21243" extrusionOk="0">
                  <a:moveTo>
                    <a:pt x="19920" y="8345"/>
                  </a:moveTo>
                  <a:cubicBezTo>
                    <a:pt x="19100" y="8345"/>
                    <a:pt x="18279" y="7406"/>
                    <a:pt x="18553" y="6780"/>
                  </a:cubicBezTo>
                  <a:cubicBezTo>
                    <a:pt x="18553" y="6154"/>
                    <a:pt x="19100" y="5841"/>
                    <a:pt x="19373" y="5841"/>
                  </a:cubicBezTo>
                  <a:cubicBezTo>
                    <a:pt x="19646" y="5841"/>
                    <a:pt x="19920" y="6154"/>
                    <a:pt x="20193" y="6154"/>
                  </a:cubicBezTo>
                  <a:cubicBezTo>
                    <a:pt x="20193" y="5215"/>
                    <a:pt x="20467" y="4276"/>
                    <a:pt x="20193" y="3336"/>
                  </a:cubicBezTo>
                  <a:cubicBezTo>
                    <a:pt x="19920" y="3023"/>
                    <a:pt x="19646" y="2397"/>
                    <a:pt x="19646" y="2084"/>
                  </a:cubicBezTo>
                  <a:cubicBezTo>
                    <a:pt x="19373" y="1458"/>
                    <a:pt x="19373" y="832"/>
                    <a:pt x="19373" y="206"/>
                  </a:cubicBezTo>
                  <a:cubicBezTo>
                    <a:pt x="18826" y="519"/>
                    <a:pt x="18006" y="206"/>
                    <a:pt x="17733" y="206"/>
                  </a:cubicBezTo>
                  <a:cubicBezTo>
                    <a:pt x="16912" y="-107"/>
                    <a:pt x="16365" y="-107"/>
                    <a:pt x="16092" y="519"/>
                  </a:cubicBezTo>
                  <a:cubicBezTo>
                    <a:pt x="15545" y="832"/>
                    <a:pt x="14998" y="832"/>
                    <a:pt x="14725" y="1458"/>
                  </a:cubicBezTo>
                  <a:cubicBezTo>
                    <a:pt x="14452" y="1771"/>
                    <a:pt x="13905" y="2084"/>
                    <a:pt x="13631" y="2397"/>
                  </a:cubicBezTo>
                  <a:cubicBezTo>
                    <a:pt x="13358" y="2710"/>
                    <a:pt x="13358" y="3336"/>
                    <a:pt x="13084" y="3650"/>
                  </a:cubicBezTo>
                  <a:cubicBezTo>
                    <a:pt x="12811" y="4276"/>
                    <a:pt x="12264" y="3650"/>
                    <a:pt x="11991" y="4276"/>
                  </a:cubicBezTo>
                  <a:cubicBezTo>
                    <a:pt x="11717" y="4589"/>
                    <a:pt x="11991" y="4902"/>
                    <a:pt x="11717" y="5215"/>
                  </a:cubicBezTo>
                  <a:cubicBezTo>
                    <a:pt x="11171" y="6467"/>
                    <a:pt x="9803" y="5528"/>
                    <a:pt x="8983" y="5215"/>
                  </a:cubicBezTo>
                  <a:cubicBezTo>
                    <a:pt x="8163" y="4589"/>
                    <a:pt x="7890" y="5841"/>
                    <a:pt x="7343" y="6467"/>
                  </a:cubicBezTo>
                  <a:cubicBezTo>
                    <a:pt x="7069" y="6780"/>
                    <a:pt x="6796" y="7406"/>
                    <a:pt x="6249" y="7406"/>
                  </a:cubicBezTo>
                  <a:cubicBezTo>
                    <a:pt x="6249" y="7406"/>
                    <a:pt x="5155" y="7406"/>
                    <a:pt x="5155" y="7093"/>
                  </a:cubicBezTo>
                  <a:cubicBezTo>
                    <a:pt x="5702" y="6154"/>
                    <a:pt x="5429" y="4589"/>
                    <a:pt x="4335" y="4276"/>
                  </a:cubicBezTo>
                  <a:cubicBezTo>
                    <a:pt x="4335" y="5841"/>
                    <a:pt x="4335" y="7406"/>
                    <a:pt x="4335" y="8971"/>
                  </a:cubicBezTo>
                  <a:cubicBezTo>
                    <a:pt x="4335" y="8971"/>
                    <a:pt x="4609" y="9910"/>
                    <a:pt x="4335" y="10223"/>
                  </a:cubicBezTo>
                  <a:cubicBezTo>
                    <a:pt x="3515" y="10850"/>
                    <a:pt x="3241" y="11163"/>
                    <a:pt x="2148" y="10850"/>
                  </a:cubicBezTo>
                  <a:cubicBezTo>
                    <a:pt x="1874" y="10850"/>
                    <a:pt x="1601" y="10850"/>
                    <a:pt x="1328" y="10536"/>
                  </a:cubicBezTo>
                  <a:cubicBezTo>
                    <a:pt x="1054" y="9910"/>
                    <a:pt x="781" y="9597"/>
                    <a:pt x="234" y="10223"/>
                  </a:cubicBezTo>
                  <a:cubicBezTo>
                    <a:pt x="-313" y="10850"/>
                    <a:pt x="234" y="11789"/>
                    <a:pt x="507" y="12415"/>
                  </a:cubicBezTo>
                  <a:cubicBezTo>
                    <a:pt x="781" y="12728"/>
                    <a:pt x="1054" y="13354"/>
                    <a:pt x="1054" y="13980"/>
                  </a:cubicBezTo>
                  <a:cubicBezTo>
                    <a:pt x="1601" y="15232"/>
                    <a:pt x="2695" y="15858"/>
                    <a:pt x="2148" y="17423"/>
                  </a:cubicBezTo>
                  <a:cubicBezTo>
                    <a:pt x="1874" y="18050"/>
                    <a:pt x="1601" y="18050"/>
                    <a:pt x="1874" y="18676"/>
                  </a:cubicBezTo>
                  <a:cubicBezTo>
                    <a:pt x="2148" y="18989"/>
                    <a:pt x="2148" y="19302"/>
                    <a:pt x="2148" y="19302"/>
                  </a:cubicBezTo>
                  <a:cubicBezTo>
                    <a:pt x="2421" y="19615"/>
                    <a:pt x="2148" y="20241"/>
                    <a:pt x="2421" y="20554"/>
                  </a:cubicBezTo>
                  <a:cubicBezTo>
                    <a:pt x="2421" y="20554"/>
                    <a:pt x="2421" y="19928"/>
                    <a:pt x="2695" y="19928"/>
                  </a:cubicBezTo>
                  <a:cubicBezTo>
                    <a:pt x="2695" y="19928"/>
                    <a:pt x="3515" y="20867"/>
                    <a:pt x="3788" y="21180"/>
                  </a:cubicBezTo>
                  <a:cubicBezTo>
                    <a:pt x="4335" y="21493"/>
                    <a:pt x="4882" y="20554"/>
                    <a:pt x="5429" y="20554"/>
                  </a:cubicBezTo>
                  <a:cubicBezTo>
                    <a:pt x="5976" y="20241"/>
                    <a:pt x="6522" y="20867"/>
                    <a:pt x="6796" y="20241"/>
                  </a:cubicBezTo>
                  <a:cubicBezTo>
                    <a:pt x="7343" y="19928"/>
                    <a:pt x="7616" y="19928"/>
                    <a:pt x="8163" y="19928"/>
                  </a:cubicBezTo>
                  <a:cubicBezTo>
                    <a:pt x="8710" y="19928"/>
                    <a:pt x="9257" y="19928"/>
                    <a:pt x="10077" y="19928"/>
                  </a:cubicBezTo>
                  <a:cubicBezTo>
                    <a:pt x="10077" y="19928"/>
                    <a:pt x="10350" y="19928"/>
                    <a:pt x="10350" y="19928"/>
                  </a:cubicBezTo>
                  <a:cubicBezTo>
                    <a:pt x="10624" y="19928"/>
                    <a:pt x="10624" y="19615"/>
                    <a:pt x="10897" y="19615"/>
                  </a:cubicBezTo>
                  <a:cubicBezTo>
                    <a:pt x="10897" y="19615"/>
                    <a:pt x="10897" y="19302"/>
                    <a:pt x="11171" y="19302"/>
                  </a:cubicBezTo>
                  <a:cubicBezTo>
                    <a:pt x="11171" y="19615"/>
                    <a:pt x="11171" y="20241"/>
                    <a:pt x="11717" y="20241"/>
                  </a:cubicBezTo>
                  <a:cubicBezTo>
                    <a:pt x="11717" y="20241"/>
                    <a:pt x="11444" y="18989"/>
                    <a:pt x="12264" y="19302"/>
                  </a:cubicBezTo>
                  <a:cubicBezTo>
                    <a:pt x="13358" y="19615"/>
                    <a:pt x="14452" y="18363"/>
                    <a:pt x="15272" y="17423"/>
                  </a:cubicBezTo>
                  <a:cubicBezTo>
                    <a:pt x="16092" y="16797"/>
                    <a:pt x="16639" y="15858"/>
                    <a:pt x="17459" y="14919"/>
                  </a:cubicBezTo>
                  <a:cubicBezTo>
                    <a:pt x="18279" y="13980"/>
                    <a:pt x="18553" y="12728"/>
                    <a:pt x="19373" y="11476"/>
                  </a:cubicBezTo>
                  <a:cubicBezTo>
                    <a:pt x="19646" y="11163"/>
                    <a:pt x="20467" y="10850"/>
                    <a:pt x="20740" y="10223"/>
                  </a:cubicBezTo>
                  <a:cubicBezTo>
                    <a:pt x="21014" y="9597"/>
                    <a:pt x="21287" y="8345"/>
                    <a:pt x="21287" y="7719"/>
                  </a:cubicBezTo>
                  <a:cubicBezTo>
                    <a:pt x="21014" y="7719"/>
                    <a:pt x="20740" y="7719"/>
                    <a:pt x="20467" y="7719"/>
                  </a:cubicBezTo>
                  <a:cubicBezTo>
                    <a:pt x="20193" y="7719"/>
                    <a:pt x="20193" y="8345"/>
                    <a:pt x="19920" y="8345"/>
                  </a:cubicBezTo>
                  <a:close/>
                  <a:moveTo>
                    <a:pt x="16639" y="12102"/>
                  </a:moveTo>
                  <a:cubicBezTo>
                    <a:pt x="16365" y="12102"/>
                    <a:pt x="16365" y="12728"/>
                    <a:pt x="16365" y="12728"/>
                  </a:cubicBezTo>
                  <a:cubicBezTo>
                    <a:pt x="16092" y="13354"/>
                    <a:pt x="15545" y="13041"/>
                    <a:pt x="15272" y="13354"/>
                  </a:cubicBezTo>
                  <a:cubicBezTo>
                    <a:pt x="14998" y="13354"/>
                    <a:pt x="14998" y="13667"/>
                    <a:pt x="14725" y="13667"/>
                  </a:cubicBezTo>
                  <a:cubicBezTo>
                    <a:pt x="14178" y="13667"/>
                    <a:pt x="13905" y="13041"/>
                    <a:pt x="13905" y="12728"/>
                  </a:cubicBezTo>
                  <a:cubicBezTo>
                    <a:pt x="13631" y="12102"/>
                    <a:pt x="14452" y="11163"/>
                    <a:pt x="14998" y="10850"/>
                  </a:cubicBezTo>
                  <a:cubicBezTo>
                    <a:pt x="15272" y="10536"/>
                    <a:pt x="15819" y="10536"/>
                    <a:pt x="16092" y="10850"/>
                  </a:cubicBezTo>
                  <a:cubicBezTo>
                    <a:pt x="16365" y="11163"/>
                    <a:pt x="17186" y="11789"/>
                    <a:pt x="16639" y="12102"/>
                  </a:cubicBezTo>
                  <a:cubicBezTo>
                    <a:pt x="16365" y="12102"/>
                    <a:pt x="16912" y="11789"/>
                    <a:pt x="16639" y="121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1" name="Shape 2160">
              <a:extLst>
                <a:ext uri="{FF2B5EF4-FFF2-40B4-BE49-F238E27FC236}">
                  <a16:creationId xmlns:a16="http://schemas.microsoft.com/office/drawing/2014/main" id="{F0BA9806-323D-AB1D-5A6A-0C93F0F73D42}"/>
                </a:ext>
              </a:extLst>
            </p:cNvPr>
            <p:cNvSpPr/>
            <p:nvPr/>
          </p:nvSpPr>
          <p:spPr>
            <a:xfrm>
              <a:off x="6386162" y="4723956"/>
              <a:ext cx="70541" cy="62772"/>
            </a:xfrm>
            <a:custGeom>
              <a:avLst/>
              <a:gdLst/>
              <a:ahLst/>
              <a:cxnLst>
                <a:cxn ang="0">
                  <a:pos x="wd2" y="hd2"/>
                </a:cxn>
                <a:cxn ang="5400000">
                  <a:pos x="wd2" y="hd2"/>
                </a:cxn>
                <a:cxn ang="10800000">
                  <a:pos x="wd2" y="hd2"/>
                </a:cxn>
                <a:cxn ang="16200000">
                  <a:pos x="wd2" y="hd2"/>
                </a:cxn>
              </a:cxnLst>
              <a:rect l="0" t="0" r="r" b="b"/>
              <a:pathLst>
                <a:path w="17841" h="15465" extrusionOk="0">
                  <a:moveTo>
                    <a:pt x="16765" y="4203"/>
                  </a:moveTo>
                  <a:cubicBezTo>
                    <a:pt x="13442" y="880"/>
                    <a:pt x="6796" y="-2443"/>
                    <a:pt x="3473" y="2542"/>
                  </a:cubicBezTo>
                  <a:cubicBezTo>
                    <a:pt x="150" y="5865"/>
                    <a:pt x="-1512" y="9188"/>
                    <a:pt x="1811" y="12511"/>
                  </a:cubicBezTo>
                  <a:cubicBezTo>
                    <a:pt x="5134" y="19157"/>
                    <a:pt x="6796" y="12511"/>
                    <a:pt x="10119" y="12511"/>
                  </a:cubicBezTo>
                  <a:cubicBezTo>
                    <a:pt x="15103" y="12511"/>
                    <a:pt x="20088" y="5865"/>
                    <a:pt x="16765" y="4203"/>
                  </a:cubicBezTo>
                  <a:cubicBezTo>
                    <a:pt x="15103" y="2542"/>
                    <a:pt x="18426" y="4203"/>
                    <a:pt x="16765" y="420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2" name="Shape 2161">
              <a:extLst>
                <a:ext uri="{FF2B5EF4-FFF2-40B4-BE49-F238E27FC236}">
                  <a16:creationId xmlns:a16="http://schemas.microsoft.com/office/drawing/2014/main" id="{95B0AA80-16F9-8799-8015-69F361244EC3}"/>
                </a:ext>
              </a:extLst>
            </p:cNvPr>
            <p:cNvSpPr/>
            <p:nvPr/>
          </p:nvSpPr>
          <p:spPr>
            <a:xfrm>
              <a:off x="5917222" y="3900675"/>
              <a:ext cx="33712" cy="49046"/>
            </a:xfrm>
            <a:custGeom>
              <a:avLst/>
              <a:gdLst/>
              <a:ahLst/>
              <a:cxnLst>
                <a:cxn ang="0">
                  <a:pos x="wd2" y="hd2"/>
                </a:cxn>
                <a:cxn ang="5400000">
                  <a:pos x="wd2" y="hd2"/>
                </a:cxn>
                <a:cxn ang="10800000">
                  <a:pos x="wd2" y="hd2"/>
                </a:cxn>
                <a:cxn ang="16200000">
                  <a:pos x="wd2" y="hd2"/>
                </a:cxn>
              </a:cxnLst>
              <a:rect l="0" t="0" r="r" b="b"/>
              <a:pathLst>
                <a:path w="21600" h="19636" extrusionOk="0">
                  <a:moveTo>
                    <a:pt x="8640" y="11536"/>
                  </a:moveTo>
                  <a:cubicBezTo>
                    <a:pt x="8640" y="8836"/>
                    <a:pt x="17280" y="3436"/>
                    <a:pt x="21600" y="736"/>
                  </a:cubicBezTo>
                  <a:cubicBezTo>
                    <a:pt x="17280" y="-1964"/>
                    <a:pt x="8640" y="3436"/>
                    <a:pt x="4320" y="6136"/>
                  </a:cubicBezTo>
                  <a:cubicBezTo>
                    <a:pt x="0" y="8836"/>
                    <a:pt x="0" y="14236"/>
                    <a:pt x="0" y="19636"/>
                  </a:cubicBezTo>
                  <a:cubicBezTo>
                    <a:pt x="8640" y="16936"/>
                    <a:pt x="8640" y="14236"/>
                    <a:pt x="8640" y="1153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3" name="Shape 2162">
              <a:extLst>
                <a:ext uri="{FF2B5EF4-FFF2-40B4-BE49-F238E27FC236}">
                  <a16:creationId xmlns:a16="http://schemas.microsoft.com/office/drawing/2014/main" id="{6CB2ECEE-3ECD-DA44-7E96-03EACC959A7F}"/>
                </a:ext>
              </a:extLst>
            </p:cNvPr>
            <p:cNvSpPr/>
            <p:nvPr/>
          </p:nvSpPr>
          <p:spPr>
            <a:xfrm>
              <a:off x="5885754" y="3630760"/>
              <a:ext cx="229237" cy="291988"/>
            </a:xfrm>
            <a:custGeom>
              <a:avLst/>
              <a:gdLst/>
              <a:ahLst/>
              <a:cxnLst>
                <a:cxn ang="0">
                  <a:pos x="wd2" y="hd2"/>
                </a:cxn>
                <a:cxn ang="5400000">
                  <a:pos x="wd2" y="hd2"/>
                </a:cxn>
                <a:cxn ang="10800000">
                  <a:pos x="wd2" y="hd2"/>
                </a:cxn>
                <a:cxn ang="16200000">
                  <a:pos x="wd2" y="hd2"/>
                </a:cxn>
              </a:cxnLst>
              <a:rect l="0" t="0" r="r" b="b"/>
              <a:pathLst>
                <a:path w="21600" h="21254" extrusionOk="0">
                  <a:moveTo>
                    <a:pt x="6789" y="20774"/>
                  </a:moveTo>
                  <a:cubicBezTo>
                    <a:pt x="7406" y="20774"/>
                    <a:pt x="8640" y="19814"/>
                    <a:pt x="9257" y="19334"/>
                  </a:cubicBezTo>
                  <a:cubicBezTo>
                    <a:pt x="10491" y="18854"/>
                    <a:pt x="9257" y="20294"/>
                    <a:pt x="9874" y="20294"/>
                  </a:cubicBezTo>
                  <a:cubicBezTo>
                    <a:pt x="9874" y="20294"/>
                    <a:pt x="14194" y="18374"/>
                    <a:pt x="14194" y="17414"/>
                  </a:cubicBezTo>
                  <a:cubicBezTo>
                    <a:pt x="14194" y="15494"/>
                    <a:pt x="14194" y="13574"/>
                    <a:pt x="15429" y="12134"/>
                  </a:cubicBezTo>
                  <a:cubicBezTo>
                    <a:pt x="16663" y="10214"/>
                    <a:pt x="18514" y="8774"/>
                    <a:pt x="19131" y="7334"/>
                  </a:cubicBezTo>
                  <a:cubicBezTo>
                    <a:pt x="19749" y="5894"/>
                    <a:pt x="19749" y="4934"/>
                    <a:pt x="20366" y="3494"/>
                  </a:cubicBezTo>
                  <a:cubicBezTo>
                    <a:pt x="20366" y="2534"/>
                    <a:pt x="21600" y="1574"/>
                    <a:pt x="21600" y="614"/>
                  </a:cubicBezTo>
                  <a:cubicBezTo>
                    <a:pt x="20366" y="614"/>
                    <a:pt x="19131" y="-346"/>
                    <a:pt x="17897" y="134"/>
                  </a:cubicBezTo>
                  <a:cubicBezTo>
                    <a:pt x="17280" y="134"/>
                    <a:pt x="16046" y="134"/>
                    <a:pt x="16046" y="614"/>
                  </a:cubicBezTo>
                  <a:cubicBezTo>
                    <a:pt x="15429" y="1574"/>
                    <a:pt x="15429" y="2054"/>
                    <a:pt x="15429" y="2534"/>
                  </a:cubicBezTo>
                  <a:cubicBezTo>
                    <a:pt x="14811" y="3974"/>
                    <a:pt x="14194" y="4454"/>
                    <a:pt x="12343" y="4454"/>
                  </a:cubicBezTo>
                  <a:cubicBezTo>
                    <a:pt x="10491" y="3974"/>
                    <a:pt x="8023" y="3494"/>
                    <a:pt x="6171" y="3494"/>
                  </a:cubicBezTo>
                  <a:cubicBezTo>
                    <a:pt x="6171" y="4454"/>
                    <a:pt x="5554" y="6374"/>
                    <a:pt x="8023" y="5894"/>
                  </a:cubicBezTo>
                  <a:cubicBezTo>
                    <a:pt x="10491" y="4934"/>
                    <a:pt x="8640" y="7814"/>
                    <a:pt x="8640" y="8774"/>
                  </a:cubicBezTo>
                  <a:cubicBezTo>
                    <a:pt x="8640" y="9254"/>
                    <a:pt x="8640" y="9734"/>
                    <a:pt x="9257" y="10214"/>
                  </a:cubicBezTo>
                  <a:cubicBezTo>
                    <a:pt x="9874" y="10694"/>
                    <a:pt x="9874" y="11174"/>
                    <a:pt x="9874" y="11654"/>
                  </a:cubicBezTo>
                  <a:cubicBezTo>
                    <a:pt x="9874" y="12614"/>
                    <a:pt x="9874" y="14054"/>
                    <a:pt x="9257" y="15014"/>
                  </a:cubicBezTo>
                  <a:cubicBezTo>
                    <a:pt x="9257" y="15494"/>
                    <a:pt x="8023" y="14534"/>
                    <a:pt x="8023" y="14534"/>
                  </a:cubicBezTo>
                  <a:cubicBezTo>
                    <a:pt x="6789" y="14534"/>
                    <a:pt x="6789" y="15494"/>
                    <a:pt x="6171" y="15014"/>
                  </a:cubicBezTo>
                  <a:cubicBezTo>
                    <a:pt x="6171" y="14534"/>
                    <a:pt x="5554" y="14054"/>
                    <a:pt x="4937" y="13574"/>
                  </a:cubicBezTo>
                  <a:cubicBezTo>
                    <a:pt x="4320" y="13574"/>
                    <a:pt x="4320" y="14534"/>
                    <a:pt x="3703" y="15014"/>
                  </a:cubicBezTo>
                  <a:cubicBezTo>
                    <a:pt x="3703" y="15014"/>
                    <a:pt x="2469" y="15014"/>
                    <a:pt x="2469" y="15014"/>
                  </a:cubicBezTo>
                  <a:cubicBezTo>
                    <a:pt x="1234" y="15014"/>
                    <a:pt x="1851" y="15974"/>
                    <a:pt x="1851" y="16454"/>
                  </a:cubicBezTo>
                  <a:cubicBezTo>
                    <a:pt x="2469" y="17894"/>
                    <a:pt x="1851" y="17414"/>
                    <a:pt x="0" y="18374"/>
                  </a:cubicBezTo>
                  <a:cubicBezTo>
                    <a:pt x="1234" y="19334"/>
                    <a:pt x="2469" y="19814"/>
                    <a:pt x="3086" y="21254"/>
                  </a:cubicBezTo>
                  <a:cubicBezTo>
                    <a:pt x="3703" y="20774"/>
                    <a:pt x="4320" y="20294"/>
                    <a:pt x="4937" y="19814"/>
                  </a:cubicBezTo>
                  <a:cubicBezTo>
                    <a:pt x="6171" y="19334"/>
                    <a:pt x="6171" y="20294"/>
                    <a:pt x="6789" y="20774"/>
                  </a:cubicBezTo>
                  <a:cubicBezTo>
                    <a:pt x="7406" y="20774"/>
                    <a:pt x="6171" y="20294"/>
                    <a:pt x="6789" y="207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4" name="Shape 2163">
              <a:extLst>
                <a:ext uri="{FF2B5EF4-FFF2-40B4-BE49-F238E27FC236}">
                  <a16:creationId xmlns:a16="http://schemas.microsoft.com/office/drawing/2014/main" id="{474532EC-8E8C-9136-1338-03C12D1BA041}"/>
                </a:ext>
              </a:extLst>
            </p:cNvPr>
            <p:cNvSpPr/>
            <p:nvPr/>
          </p:nvSpPr>
          <p:spPr>
            <a:xfrm>
              <a:off x="5994296" y="3387724"/>
              <a:ext cx="394384" cy="296736"/>
            </a:xfrm>
            <a:custGeom>
              <a:avLst/>
              <a:gdLst/>
              <a:ahLst/>
              <a:cxnLst>
                <a:cxn ang="0">
                  <a:pos x="wd2" y="hd2"/>
                </a:cxn>
                <a:cxn ang="5400000">
                  <a:pos x="wd2" y="hd2"/>
                </a:cxn>
                <a:cxn ang="10800000">
                  <a:pos x="wd2" y="hd2"/>
                </a:cxn>
                <a:cxn ang="16200000">
                  <a:pos x="wd2" y="hd2"/>
                </a:cxn>
              </a:cxnLst>
              <a:rect l="0" t="0" r="r" b="b"/>
              <a:pathLst>
                <a:path w="20270" h="21600" extrusionOk="0">
                  <a:moveTo>
                    <a:pt x="3554" y="17760"/>
                  </a:moveTo>
                  <a:cubicBezTo>
                    <a:pt x="3891" y="17760"/>
                    <a:pt x="4904" y="17280"/>
                    <a:pt x="5242" y="17760"/>
                  </a:cubicBezTo>
                  <a:cubicBezTo>
                    <a:pt x="5242" y="18240"/>
                    <a:pt x="6254" y="18240"/>
                    <a:pt x="6254" y="18240"/>
                  </a:cubicBezTo>
                  <a:cubicBezTo>
                    <a:pt x="6592" y="17280"/>
                    <a:pt x="6254" y="16320"/>
                    <a:pt x="6592" y="15840"/>
                  </a:cubicBezTo>
                  <a:cubicBezTo>
                    <a:pt x="6592" y="15360"/>
                    <a:pt x="7267" y="13920"/>
                    <a:pt x="7941" y="14400"/>
                  </a:cubicBezTo>
                  <a:cubicBezTo>
                    <a:pt x="8617" y="14400"/>
                    <a:pt x="8954" y="15360"/>
                    <a:pt x="9629" y="15840"/>
                  </a:cubicBezTo>
                  <a:cubicBezTo>
                    <a:pt x="10304" y="16320"/>
                    <a:pt x="10979" y="16320"/>
                    <a:pt x="11654" y="16320"/>
                  </a:cubicBezTo>
                  <a:cubicBezTo>
                    <a:pt x="11992" y="16320"/>
                    <a:pt x="12666" y="16800"/>
                    <a:pt x="12666" y="16320"/>
                  </a:cubicBezTo>
                  <a:cubicBezTo>
                    <a:pt x="13004" y="15840"/>
                    <a:pt x="13004" y="13920"/>
                    <a:pt x="13342" y="14400"/>
                  </a:cubicBezTo>
                  <a:cubicBezTo>
                    <a:pt x="14017" y="14880"/>
                    <a:pt x="14017" y="14880"/>
                    <a:pt x="14692" y="14880"/>
                  </a:cubicBezTo>
                  <a:cubicBezTo>
                    <a:pt x="15367" y="14400"/>
                    <a:pt x="15704" y="14880"/>
                    <a:pt x="16379" y="14880"/>
                  </a:cubicBezTo>
                  <a:cubicBezTo>
                    <a:pt x="17054" y="14880"/>
                    <a:pt x="17392" y="13440"/>
                    <a:pt x="18067" y="13920"/>
                  </a:cubicBezTo>
                  <a:cubicBezTo>
                    <a:pt x="18404" y="13920"/>
                    <a:pt x="19079" y="14880"/>
                    <a:pt x="19754" y="14400"/>
                  </a:cubicBezTo>
                  <a:cubicBezTo>
                    <a:pt x="21104" y="13440"/>
                    <a:pt x="19417" y="12480"/>
                    <a:pt x="19079" y="11520"/>
                  </a:cubicBezTo>
                  <a:cubicBezTo>
                    <a:pt x="18742" y="10560"/>
                    <a:pt x="18742" y="10080"/>
                    <a:pt x="18067" y="9600"/>
                  </a:cubicBezTo>
                  <a:cubicBezTo>
                    <a:pt x="17392" y="9120"/>
                    <a:pt x="17054" y="8640"/>
                    <a:pt x="16717" y="7680"/>
                  </a:cubicBezTo>
                  <a:cubicBezTo>
                    <a:pt x="16717" y="6720"/>
                    <a:pt x="16042" y="6720"/>
                    <a:pt x="15367" y="6240"/>
                  </a:cubicBezTo>
                  <a:cubicBezTo>
                    <a:pt x="15367" y="6240"/>
                    <a:pt x="15367" y="5760"/>
                    <a:pt x="15029" y="5760"/>
                  </a:cubicBezTo>
                  <a:cubicBezTo>
                    <a:pt x="15029" y="5760"/>
                    <a:pt x="14354" y="5760"/>
                    <a:pt x="14354" y="5760"/>
                  </a:cubicBezTo>
                  <a:cubicBezTo>
                    <a:pt x="14017" y="5280"/>
                    <a:pt x="14354" y="3360"/>
                    <a:pt x="14354" y="2880"/>
                  </a:cubicBezTo>
                  <a:cubicBezTo>
                    <a:pt x="14354" y="1920"/>
                    <a:pt x="13679" y="1440"/>
                    <a:pt x="13342" y="480"/>
                  </a:cubicBezTo>
                  <a:cubicBezTo>
                    <a:pt x="13342" y="480"/>
                    <a:pt x="13342" y="0"/>
                    <a:pt x="13342" y="0"/>
                  </a:cubicBezTo>
                  <a:cubicBezTo>
                    <a:pt x="13004" y="0"/>
                    <a:pt x="12666" y="0"/>
                    <a:pt x="12329" y="0"/>
                  </a:cubicBezTo>
                  <a:cubicBezTo>
                    <a:pt x="11654" y="480"/>
                    <a:pt x="11654" y="480"/>
                    <a:pt x="11317" y="1440"/>
                  </a:cubicBezTo>
                  <a:cubicBezTo>
                    <a:pt x="11317" y="2880"/>
                    <a:pt x="8954" y="4800"/>
                    <a:pt x="8279" y="4800"/>
                  </a:cubicBezTo>
                  <a:cubicBezTo>
                    <a:pt x="7941" y="4800"/>
                    <a:pt x="6592" y="4800"/>
                    <a:pt x="6929" y="5280"/>
                  </a:cubicBezTo>
                  <a:cubicBezTo>
                    <a:pt x="7267" y="6240"/>
                    <a:pt x="6254" y="7200"/>
                    <a:pt x="5917" y="7200"/>
                  </a:cubicBezTo>
                  <a:cubicBezTo>
                    <a:pt x="5242" y="7680"/>
                    <a:pt x="4567" y="8160"/>
                    <a:pt x="3891" y="8160"/>
                  </a:cubicBezTo>
                  <a:cubicBezTo>
                    <a:pt x="3216" y="8640"/>
                    <a:pt x="3216" y="7680"/>
                    <a:pt x="2542" y="8160"/>
                  </a:cubicBezTo>
                  <a:cubicBezTo>
                    <a:pt x="1866" y="8640"/>
                    <a:pt x="1529" y="8160"/>
                    <a:pt x="1529" y="8640"/>
                  </a:cubicBezTo>
                  <a:cubicBezTo>
                    <a:pt x="1191" y="9600"/>
                    <a:pt x="854" y="10560"/>
                    <a:pt x="516" y="11040"/>
                  </a:cubicBezTo>
                  <a:cubicBezTo>
                    <a:pt x="-496" y="12960"/>
                    <a:pt x="179" y="14400"/>
                    <a:pt x="854" y="16320"/>
                  </a:cubicBezTo>
                  <a:cubicBezTo>
                    <a:pt x="1191" y="17280"/>
                    <a:pt x="1191" y="17760"/>
                    <a:pt x="1529" y="18720"/>
                  </a:cubicBezTo>
                  <a:cubicBezTo>
                    <a:pt x="2204" y="19680"/>
                    <a:pt x="2542" y="20160"/>
                    <a:pt x="2542" y="21600"/>
                  </a:cubicBezTo>
                  <a:cubicBezTo>
                    <a:pt x="2542" y="21120"/>
                    <a:pt x="2879" y="17760"/>
                    <a:pt x="3554" y="177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5" name="Shape 2164">
              <a:extLst>
                <a:ext uri="{FF2B5EF4-FFF2-40B4-BE49-F238E27FC236}">
                  <a16:creationId xmlns:a16="http://schemas.microsoft.com/office/drawing/2014/main" id="{A598D547-FE23-7553-8075-89682FB2BE38}"/>
                </a:ext>
              </a:extLst>
            </p:cNvPr>
            <p:cNvSpPr/>
            <p:nvPr/>
          </p:nvSpPr>
          <p:spPr>
            <a:xfrm>
              <a:off x="5527247" y="2965101"/>
              <a:ext cx="760797" cy="541768"/>
            </a:xfrm>
            <a:custGeom>
              <a:avLst/>
              <a:gdLst/>
              <a:ahLst/>
              <a:cxnLst>
                <a:cxn ang="0">
                  <a:pos x="wd2" y="hd2"/>
                </a:cxn>
                <a:cxn ang="5400000">
                  <a:pos x="wd2" y="hd2"/>
                </a:cxn>
                <a:cxn ang="10800000">
                  <a:pos x="wd2" y="hd2"/>
                </a:cxn>
                <a:cxn ang="16200000">
                  <a:pos x="wd2" y="hd2"/>
                </a:cxn>
              </a:cxnLst>
              <a:rect l="0" t="0" r="r" b="b"/>
              <a:pathLst>
                <a:path w="21318" h="21600" extrusionOk="0">
                  <a:moveTo>
                    <a:pt x="14487" y="21337"/>
                  </a:moveTo>
                  <a:cubicBezTo>
                    <a:pt x="14672" y="21073"/>
                    <a:pt x="14856" y="21600"/>
                    <a:pt x="15041" y="21600"/>
                  </a:cubicBezTo>
                  <a:cubicBezTo>
                    <a:pt x="15410" y="21337"/>
                    <a:pt x="15780" y="21073"/>
                    <a:pt x="16149" y="20810"/>
                  </a:cubicBezTo>
                  <a:cubicBezTo>
                    <a:pt x="16333" y="20810"/>
                    <a:pt x="16887" y="20546"/>
                    <a:pt x="16887" y="20020"/>
                  </a:cubicBezTo>
                  <a:cubicBezTo>
                    <a:pt x="16887" y="19493"/>
                    <a:pt x="17072" y="19756"/>
                    <a:pt x="17441" y="19493"/>
                  </a:cubicBezTo>
                  <a:cubicBezTo>
                    <a:pt x="17995" y="19493"/>
                    <a:pt x="18733" y="18702"/>
                    <a:pt x="19103" y="17912"/>
                  </a:cubicBezTo>
                  <a:cubicBezTo>
                    <a:pt x="19287" y="17649"/>
                    <a:pt x="19287" y="17385"/>
                    <a:pt x="19472" y="17122"/>
                  </a:cubicBezTo>
                  <a:cubicBezTo>
                    <a:pt x="19656" y="16859"/>
                    <a:pt x="20026" y="16859"/>
                    <a:pt x="20395" y="16859"/>
                  </a:cubicBezTo>
                  <a:cubicBezTo>
                    <a:pt x="20395" y="16332"/>
                    <a:pt x="20026" y="16068"/>
                    <a:pt x="19841" y="15541"/>
                  </a:cubicBezTo>
                  <a:cubicBezTo>
                    <a:pt x="19841" y="15278"/>
                    <a:pt x="20026" y="14488"/>
                    <a:pt x="19472" y="14488"/>
                  </a:cubicBezTo>
                  <a:cubicBezTo>
                    <a:pt x="19287" y="14488"/>
                    <a:pt x="19841" y="13961"/>
                    <a:pt x="19656" y="13698"/>
                  </a:cubicBezTo>
                  <a:cubicBezTo>
                    <a:pt x="19656" y="12907"/>
                    <a:pt x="19841" y="12644"/>
                    <a:pt x="20026" y="12117"/>
                  </a:cubicBezTo>
                  <a:cubicBezTo>
                    <a:pt x="20026" y="11590"/>
                    <a:pt x="20395" y="11590"/>
                    <a:pt x="20395" y="11063"/>
                  </a:cubicBezTo>
                  <a:cubicBezTo>
                    <a:pt x="20395" y="10800"/>
                    <a:pt x="20580" y="10537"/>
                    <a:pt x="20764" y="10537"/>
                  </a:cubicBezTo>
                  <a:cubicBezTo>
                    <a:pt x="21318" y="10537"/>
                    <a:pt x="21318" y="10537"/>
                    <a:pt x="21318" y="10010"/>
                  </a:cubicBezTo>
                  <a:cubicBezTo>
                    <a:pt x="21318" y="8429"/>
                    <a:pt x="21318" y="7112"/>
                    <a:pt x="21318" y="5532"/>
                  </a:cubicBezTo>
                  <a:cubicBezTo>
                    <a:pt x="21318" y="5005"/>
                    <a:pt x="20580" y="4741"/>
                    <a:pt x="20210" y="4478"/>
                  </a:cubicBezTo>
                  <a:cubicBezTo>
                    <a:pt x="18364" y="3161"/>
                    <a:pt x="16518" y="1580"/>
                    <a:pt x="14672" y="263"/>
                  </a:cubicBezTo>
                  <a:cubicBezTo>
                    <a:pt x="14487" y="263"/>
                    <a:pt x="14487" y="0"/>
                    <a:pt x="14303" y="0"/>
                  </a:cubicBezTo>
                  <a:cubicBezTo>
                    <a:pt x="14118" y="263"/>
                    <a:pt x="13749" y="527"/>
                    <a:pt x="13564" y="527"/>
                  </a:cubicBezTo>
                  <a:cubicBezTo>
                    <a:pt x="13380" y="790"/>
                    <a:pt x="13010" y="1317"/>
                    <a:pt x="12826" y="1317"/>
                  </a:cubicBezTo>
                  <a:cubicBezTo>
                    <a:pt x="12641" y="1317"/>
                    <a:pt x="12456" y="790"/>
                    <a:pt x="12087" y="527"/>
                  </a:cubicBezTo>
                  <a:cubicBezTo>
                    <a:pt x="11903" y="263"/>
                    <a:pt x="11718" y="263"/>
                    <a:pt x="11533" y="263"/>
                  </a:cubicBezTo>
                  <a:cubicBezTo>
                    <a:pt x="11164" y="0"/>
                    <a:pt x="10980" y="0"/>
                    <a:pt x="10610" y="263"/>
                  </a:cubicBezTo>
                  <a:cubicBezTo>
                    <a:pt x="9318" y="1317"/>
                    <a:pt x="8026" y="2634"/>
                    <a:pt x="6733" y="3688"/>
                  </a:cubicBezTo>
                  <a:cubicBezTo>
                    <a:pt x="6180" y="4215"/>
                    <a:pt x="5626" y="4741"/>
                    <a:pt x="5072" y="5532"/>
                  </a:cubicBezTo>
                  <a:cubicBezTo>
                    <a:pt x="4887" y="5795"/>
                    <a:pt x="4703" y="5795"/>
                    <a:pt x="4518" y="5795"/>
                  </a:cubicBezTo>
                  <a:cubicBezTo>
                    <a:pt x="3964" y="5795"/>
                    <a:pt x="3780" y="5795"/>
                    <a:pt x="3780" y="6585"/>
                  </a:cubicBezTo>
                  <a:cubicBezTo>
                    <a:pt x="3780" y="7376"/>
                    <a:pt x="3780" y="8166"/>
                    <a:pt x="3780" y="8956"/>
                  </a:cubicBezTo>
                  <a:cubicBezTo>
                    <a:pt x="3780" y="9746"/>
                    <a:pt x="3595" y="10537"/>
                    <a:pt x="3226" y="11063"/>
                  </a:cubicBezTo>
                  <a:cubicBezTo>
                    <a:pt x="3041" y="11327"/>
                    <a:pt x="2487" y="11327"/>
                    <a:pt x="2303" y="11327"/>
                  </a:cubicBezTo>
                  <a:cubicBezTo>
                    <a:pt x="1933" y="11327"/>
                    <a:pt x="1564" y="11327"/>
                    <a:pt x="1195" y="11327"/>
                  </a:cubicBezTo>
                  <a:cubicBezTo>
                    <a:pt x="826" y="11327"/>
                    <a:pt x="456" y="11590"/>
                    <a:pt x="87" y="11590"/>
                  </a:cubicBezTo>
                  <a:cubicBezTo>
                    <a:pt x="-282" y="11590"/>
                    <a:pt x="641" y="13434"/>
                    <a:pt x="641" y="13434"/>
                  </a:cubicBezTo>
                  <a:cubicBezTo>
                    <a:pt x="826" y="14224"/>
                    <a:pt x="1010" y="14751"/>
                    <a:pt x="1564" y="15015"/>
                  </a:cubicBezTo>
                  <a:cubicBezTo>
                    <a:pt x="1564" y="15015"/>
                    <a:pt x="1749" y="14751"/>
                    <a:pt x="1749" y="14751"/>
                  </a:cubicBezTo>
                  <a:cubicBezTo>
                    <a:pt x="1933" y="15015"/>
                    <a:pt x="1933" y="15805"/>
                    <a:pt x="2303" y="15278"/>
                  </a:cubicBezTo>
                  <a:cubicBezTo>
                    <a:pt x="2672" y="14751"/>
                    <a:pt x="3041" y="16068"/>
                    <a:pt x="3226" y="16332"/>
                  </a:cubicBezTo>
                  <a:cubicBezTo>
                    <a:pt x="3226" y="16068"/>
                    <a:pt x="3410" y="15541"/>
                    <a:pt x="3410" y="15278"/>
                  </a:cubicBezTo>
                  <a:cubicBezTo>
                    <a:pt x="3410" y="15015"/>
                    <a:pt x="3595" y="14751"/>
                    <a:pt x="3595" y="14488"/>
                  </a:cubicBezTo>
                  <a:cubicBezTo>
                    <a:pt x="3780" y="13698"/>
                    <a:pt x="3780" y="13698"/>
                    <a:pt x="4333" y="13434"/>
                  </a:cubicBezTo>
                  <a:cubicBezTo>
                    <a:pt x="4518" y="13171"/>
                    <a:pt x="4703" y="13171"/>
                    <a:pt x="4887" y="13171"/>
                  </a:cubicBezTo>
                  <a:cubicBezTo>
                    <a:pt x="5072" y="12907"/>
                    <a:pt x="5256" y="13434"/>
                    <a:pt x="5441" y="13434"/>
                  </a:cubicBezTo>
                  <a:cubicBezTo>
                    <a:pt x="5810" y="13434"/>
                    <a:pt x="5995" y="13698"/>
                    <a:pt x="6180" y="13961"/>
                  </a:cubicBezTo>
                  <a:cubicBezTo>
                    <a:pt x="6364" y="14224"/>
                    <a:pt x="6549" y="14224"/>
                    <a:pt x="6918" y="14224"/>
                  </a:cubicBezTo>
                  <a:cubicBezTo>
                    <a:pt x="7472" y="13698"/>
                    <a:pt x="7656" y="14488"/>
                    <a:pt x="8210" y="14488"/>
                  </a:cubicBezTo>
                  <a:cubicBezTo>
                    <a:pt x="8764" y="14488"/>
                    <a:pt x="9318" y="13961"/>
                    <a:pt x="9872" y="13961"/>
                  </a:cubicBezTo>
                  <a:cubicBezTo>
                    <a:pt x="10241" y="13961"/>
                    <a:pt x="10980" y="14224"/>
                    <a:pt x="11533" y="13961"/>
                  </a:cubicBezTo>
                  <a:cubicBezTo>
                    <a:pt x="11718" y="13961"/>
                    <a:pt x="11903" y="13698"/>
                    <a:pt x="12087" y="13434"/>
                  </a:cubicBezTo>
                  <a:cubicBezTo>
                    <a:pt x="12456" y="13171"/>
                    <a:pt x="12272" y="12907"/>
                    <a:pt x="12272" y="12380"/>
                  </a:cubicBezTo>
                  <a:cubicBezTo>
                    <a:pt x="12272" y="11063"/>
                    <a:pt x="13195" y="10273"/>
                    <a:pt x="13933" y="9220"/>
                  </a:cubicBezTo>
                  <a:cubicBezTo>
                    <a:pt x="14118" y="8956"/>
                    <a:pt x="13933" y="8429"/>
                    <a:pt x="13933" y="8166"/>
                  </a:cubicBezTo>
                  <a:cubicBezTo>
                    <a:pt x="13933" y="7376"/>
                    <a:pt x="13933" y="6849"/>
                    <a:pt x="13933" y="6059"/>
                  </a:cubicBezTo>
                  <a:cubicBezTo>
                    <a:pt x="14118" y="5532"/>
                    <a:pt x="14303" y="4741"/>
                    <a:pt x="14303" y="4215"/>
                  </a:cubicBezTo>
                  <a:cubicBezTo>
                    <a:pt x="14118" y="3688"/>
                    <a:pt x="13933" y="3161"/>
                    <a:pt x="13749" y="2898"/>
                  </a:cubicBezTo>
                  <a:cubicBezTo>
                    <a:pt x="13380" y="2107"/>
                    <a:pt x="13564" y="1317"/>
                    <a:pt x="13564" y="527"/>
                  </a:cubicBezTo>
                  <a:cubicBezTo>
                    <a:pt x="13564" y="1317"/>
                    <a:pt x="13564" y="1844"/>
                    <a:pt x="13564" y="2371"/>
                  </a:cubicBezTo>
                  <a:cubicBezTo>
                    <a:pt x="13564" y="2898"/>
                    <a:pt x="14118" y="3688"/>
                    <a:pt x="14118" y="4215"/>
                  </a:cubicBezTo>
                  <a:cubicBezTo>
                    <a:pt x="14303" y="5005"/>
                    <a:pt x="13933" y="6059"/>
                    <a:pt x="13933" y="6849"/>
                  </a:cubicBezTo>
                  <a:cubicBezTo>
                    <a:pt x="13933" y="7376"/>
                    <a:pt x="14118" y="8429"/>
                    <a:pt x="13933" y="9220"/>
                  </a:cubicBezTo>
                  <a:cubicBezTo>
                    <a:pt x="13749" y="9746"/>
                    <a:pt x="13010" y="10273"/>
                    <a:pt x="12826" y="10800"/>
                  </a:cubicBezTo>
                  <a:cubicBezTo>
                    <a:pt x="12456" y="11063"/>
                    <a:pt x="12272" y="11590"/>
                    <a:pt x="12272" y="12117"/>
                  </a:cubicBezTo>
                  <a:cubicBezTo>
                    <a:pt x="12087" y="12907"/>
                    <a:pt x="12456" y="13171"/>
                    <a:pt x="12641" y="13961"/>
                  </a:cubicBezTo>
                  <a:cubicBezTo>
                    <a:pt x="12641" y="14224"/>
                    <a:pt x="12826" y="14224"/>
                    <a:pt x="13010" y="14488"/>
                  </a:cubicBezTo>
                  <a:cubicBezTo>
                    <a:pt x="13380" y="14751"/>
                    <a:pt x="13564" y="15015"/>
                    <a:pt x="13564" y="15541"/>
                  </a:cubicBezTo>
                  <a:cubicBezTo>
                    <a:pt x="13564" y="16068"/>
                    <a:pt x="13564" y="16595"/>
                    <a:pt x="13564" y="17122"/>
                  </a:cubicBezTo>
                  <a:cubicBezTo>
                    <a:pt x="13564" y="17385"/>
                    <a:pt x="13749" y="17912"/>
                    <a:pt x="13933" y="18439"/>
                  </a:cubicBezTo>
                  <a:cubicBezTo>
                    <a:pt x="13380" y="18439"/>
                    <a:pt x="12087" y="18439"/>
                    <a:pt x="13010" y="19493"/>
                  </a:cubicBezTo>
                  <a:cubicBezTo>
                    <a:pt x="13380" y="19756"/>
                    <a:pt x="13564" y="20020"/>
                    <a:pt x="13749" y="20546"/>
                  </a:cubicBezTo>
                  <a:cubicBezTo>
                    <a:pt x="13749" y="20810"/>
                    <a:pt x="13933" y="21073"/>
                    <a:pt x="13933" y="21337"/>
                  </a:cubicBezTo>
                  <a:cubicBezTo>
                    <a:pt x="13933" y="21600"/>
                    <a:pt x="14487" y="21337"/>
                    <a:pt x="14487" y="21337"/>
                  </a:cubicBezTo>
                  <a:cubicBezTo>
                    <a:pt x="14856" y="21073"/>
                    <a:pt x="14487" y="21337"/>
                    <a:pt x="14487" y="2133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6" name="Shape 2165">
              <a:extLst>
                <a:ext uri="{FF2B5EF4-FFF2-40B4-BE49-F238E27FC236}">
                  <a16:creationId xmlns:a16="http://schemas.microsoft.com/office/drawing/2014/main" id="{F012CB89-959E-89EF-BACB-5F6A342ABE94}"/>
                </a:ext>
              </a:extLst>
            </p:cNvPr>
            <p:cNvSpPr/>
            <p:nvPr/>
          </p:nvSpPr>
          <p:spPr>
            <a:xfrm>
              <a:off x="6218633" y="2978589"/>
              <a:ext cx="536871" cy="661803"/>
            </a:xfrm>
            <a:custGeom>
              <a:avLst/>
              <a:gdLst/>
              <a:ahLst/>
              <a:cxnLst>
                <a:cxn ang="0">
                  <a:pos x="wd2" y="hd2"/>
                </a:cxn>
                <a:cxn ang="5400000">
                  <a:pos x="wd2" y="hd2"/>
                </a:cxn>
                <a:cxn ang="10800000">
                  <a:pos x="wd2" y="hd2"/>
                </a:cxn>
                <a:cxn ang="16200000">
                  <a:pos x="wd2" y="hd2"/>
                </a:cxn>
              </a:cxnLst>
              <a:rect l="0" t="0" r="r" b="b"/>
              <a:pathLst>
                <a:path w="21410" h="21411" extrusionOk="0">
                  <a:moveTo>
                    <a:pt x="1390" y="8341"/>
                  </a:moveTo>
                  <a:cubicBezTo>
                    <a:pt x="1390" y="8341"/>
                    <a:pt x="1390" y="8554"/>
                    <a:pt x="1390" y="8768"/>
                  </a:cubicBezTo>
                  <a:cubicBezTo>
                    <a:pt x="1127" y="8982"/>
                    <a:pt x="864" y="8982"/>
                    <a:pt x="864" y="9196"/>
                  </a:cubicBezTo>
                  <a:cubicBezTo>
                    <a:pt x="864" y="9624"/>
                    <a:pt x="337" y="10051"/>
                    <a:pt x="337" y="10479"/>
                  </a:cubicBezTo>
                  <a:cubicBezTo>
                    <a:pt x="337" y="10693"/>
                    <a:pt x="600" y="10907"/>
                    <a:pt x="337" y="10907"/>
                  </a:cubicBezTo>
                  <a:cubicBezTo>
                    <a:pt x="337" y="11121"/>
                    <a:pt x="-190" y="11335"/>
                    <a:pt x="73" y="11335"/>
                  </a:cubicBezTo>
                  <a:cubicBezTo>
                    <a:pt x="864" y="11335"/>
                    <a:pt x="600" y="12190"/>
                    <a:pt x="864" y="12404"/>
                  </a:cubicBezTo>
                  <a:cubicBezTo>
                    <a:pt x="864" y="12618"/>
                    <a:pt x="1127" y="12618"/>
                    <a:pt x="1390" y="12832"/>
                  </a:cubicBezTo>
                  <a:cubicBezTo>
                    <a:pt x="1390" y="13046"/>
                    <a:pt x="1390" y="13259"/>
                    <a:pt x="1390" y="13473"/>
                  </a:cubicBezTo>
                  <a:cubicBezTo>
                    <a:pt x="1654" y="13901"/>
                    <a:pt x="2181" y="14115"/>
                    <a:pt x="2181" y="14543"/>
                  </a:cubicBezTo>
                  <a:cubicBezTo>
                    <a:pt x="2181" y="14756"/>
                    <a:pt x="1917" y="15826"/>
                    <a:pt x="2181" y="15826"/>
                  </a:cubicBezTo>
                  <a:cubicBezTo>
                    <a:pt x="2971" y="15826"/>
                    <a:pt x="3234" y="16040"/>
                    <a:pt x="3761" y="16253"/>
                  </a:cubicBezTo>
                  <a:cubicBezTo>
                    <a:pt x="4288" y="16467"/>
                    <a:pt x="4025" y="17109"/>
                    <a:pt x="4551" y="17323"/>
                  </a:cubicBezTo>
                  <a:cubicBezTo>
                    <a:pt x="4815" y="17537"/>
                    <a:pt x="5605" y="17537"/>
                    <a:pt x="5605" y="17964"/>
                  </a:cubicBezTo>
                  <a:cubicBezTo>
                    <a:pt x="5605" y="18392"/>
                    <a:pt x="6395" y="18606"/>
                    <a:pt x="6659" y="18820"/>
                  </a:cubicBezTo>
                  <a:cubicBezTo>
                    <a:pt x="6659" y="19034"/>
                    <a:pt x="6659" y="19248"/>
                    <a:pt x="6659" y="19461"/>
                  </a:cubicBezTo>
                  <a:cubicBezTo>
                    <a:pt x="6922" y="19461"/>
                    <a:pt x="7186" y="19675"/>
                    <a:pt x="7186" y="19675"/>
                  </a:cubicBezTo>
                  <a:cubicBezTo>
                    <a:pt x="7449" y="19889"/>
                    <a:pt x="7712" y="20317"/>
                    <a:pt x="8239" y="20531"/>
                  </a:cubicBezTo>
                  <a:cubicBezTo>
                    <a:pt x="8503" y="20745"/>
                    <a:pt x="8503" y="19889"/>
                    <a:pt x="9030" y="20317"/>
                  </a:cubicBezTo>
                  <a:cubicBezTo>
                    <a:pt x="9556" y="20531"/>
                    <a:pt x="9556" y="20103"/>
                    <a:pt x="10083" y="20103"/>
                  </a:cubicBezTo>
                  <a:cubicBezTo>
                    <a:pt x="10610" y="20317"/>
                    <a:pt x="10873" y="20958"/>
                    <a:pt x="11400" y="21386"/>
                  </a:cubicBezTo>
                  <a:cubicBezTo>
                    <a:pt x="11927" y="20317"/>
                    <a:pt x="12717" y="21600"/>
                    <a:pt x="13244" y="21386"/>
                  </a:cubicBezTo>
                  <a:cubicBezTo>
                    <a:pt x="13508" y="21172"/>
                    <a:pt x="13771" y="20958"/>
                    <a:pt x="14298" y="20958"/>
                  </a:cubicBezTo>
                  <a:cubicBezTo>
                    <a:pt x="14561" y="20958"/>
                    <a:pt x="15088" y="20958"/>
                    <a:pt x="15351" y="20745"/>
                  </a:cubicBezTo>
                  <a:cubicBezTo>
                    <a:pt x="15878" y="19889"/>
                    <a:pt x="16932" y="19461"/>
                    <a:pt x="17986" y="20103"/>
                  </a:cubicBezTo>
                  <a:cubicBezTo>
                    <a:pt x="17986" y="19889"/>
                    <a:pt x="17986" y="19675"/>
                    <a:pt x="17986" y="19461"/>
                  </a:cubicBezTo>
                  <a:cubicBezTo>
                    <a:pt x="17986" y="19248"/>
                    <a:pt x="17195" y="19248"/>
                    <a:pt x="17195" y="19248"/>
                  </a:cubicBezTo>
                  <a:cubicBezTo>
                    <a:pt x="16669" y="18820"/>
                    <a:pt x="16405" y="18178"/>
                    <a:pt x="15878" y="17750"/>
                  </a:cubicBezTo>
                  <a:cubicBezTo>
                    <a:pt x="15615" y="17537"/>
                    <a:pt x="15615" y="17323"/>
                    <a:pt x="15351" y="17109"/>
                  </a:cubicBezTo>
                  <a:cubicBezTo>
                    <a:pt x="15088" y="16895"/>
                    <a:pt x="14825" y="16895"/>
                    <a:pt x="14561" y="16681"/>
                  </a:cubicBezTo>
                  <a:cubicBezTo>
                    <a:pt x="13771" y="16040"/>
                    <a:pt x="15351" y="16040"/>
                    <a:pt x="15351" y="16040"/>
                  </a:cubicBezTo>
                  <a:cubicBezTo>
                    <a:pt x="15878" y="15826"/>
                    <a:pt x="15615" y="14756"/>
                    <a:pt x="15878" y="14329"/>
                  </a:cubicBezTo>
                  <a:cubicBezTo>
                    <a:pt x="15878" y="14115"/>
                    <a:pt x="15878" y="13687"/>
                    <a:pt x="16142" y="13687"/>
                  </a:cubicBezTo>
                  <a:cubicBezTo>
                    <a:pt x="16405" y="13473"/>
                    <a:pt x="16932" y="13473"/>
                    <a:pt x="16932" y="13259"/>
                  </a:cubicBezTo>
                  <a:cubicBezTo>
                    <a:pt x="16932" y="13046"/>
                    <a:pt x="16932" y="12832"/>
                    <a:pt x="16932" y="12404"/>
                  </a:cubicBezTo>
                  <a:cubicBezTo>
                    <a:pt x="16932" y="12190"/>
                    <a:pt x="17195" y="11976"/>
                    <a:pt x="17459" y="11762"/>
                  </a:cubicBezTo>
                  <a:cubicBezTo>
                    <a:pt x="17722" y="11335"/>
                    <a:pt x="18249" y="11549"/>
                    <a:pt x="18512" y="11121"/>
                  </a:cubicBezTo>
                  <a:cubicBezTo>
                    <a:pt x="18512" y="10693"/>
                    <a:pt x="18776" y="10265"/>
                    <a:pt x="18776" y="9624"/>
                  </a:cubicBezTo>
                  <a:cubicBezTo>
                    <a:pt x="18776" y="9410"/>
                    <a:pt x="18776" y="9196"/>
                    <a:pt x="18776" y="8982"/>
                  </a:cubicBezTo>
                  <a:cubicBezTo>
                    <a:pt x="18776" y="8554"/>
                    <a:pt x="19303" y="8127"/>
                    <a:pt x="19303" y="7913"/>
                  </a:cubicBezTo>
                  <a:cubicBezTo>
                    <a:pt x="19303" y="7057"/>
                    <a:pt x="19566" y="6416"/>
                    <a:pt x="20620" y="6202"/>
                  </a:cubicBezTo>
                  <a:cubicBezTo>
                    <a:pt x="20883" y="6202"/>
                    <a:pt x="21147" y="6202"/>
                    <a:pt x="21410" y="5774"/>
                  </a:cubicBezTo>
                  <a:cubicBezTo>
                    <a:pt x="21410" y="5560"/>
                    <a:pt x="20883" y="5133"/>
                    <a:pt x="20620" y="4919"/>
                  </a:cubicBezTo>
                  <a:cubicBezTo>
                    <a:pt x="20093" y="4491"/>
                    <a:pt x="19830" y="4063"/>
                    <a:pt x="19830" y="3636"/>
                  </a:cubicBezTo>
                  <a:cubicBezTo>
                    <a:pt x="19830" y="3422"/>
                    <a:pt x="19566" y="2352"/>
                    <a:pt x="19830" y="2352"/>
                  </a:cubicBezTo>
                  <a:cubicBezTo>
                    <a:pt x="20093" y="2139"/>
                    <a:pt x="19830" y="2139"/>
                    <a:pt x="19566" y="1925"/>
                  </a:cubicBezTo>
                  <a:cubicBezTo>
                    <a:pt x="19303" y="1711"/>
                    <a:pt x="19303" y="1497"/>
                    <a:pt x="19303" y="1069"/>
                  </a:cubicBezTo>
                  <a:cubicBezTo>
                    <a:pt x="18776" y="642"/>
                    <a:pt x="17986" y="428"/>
                    <a:pt x="17722" y="0"/>
                  </a:cubicBezTo>
                  <a:cubicBezTo>
                    <a:pt x="17459" y="0"/>
                    <a:pt x="16932" y="214"/>
                    <a:pt x="16669" y="428"/>
                  </a:cubicBezTo>
                  <a:cubicBezTo>
                    <a:pt x="16405" y="1069"/>
                    <a:pt x="15878" y="642"/>
                    <a:pt x="15615" y="1069"/>
                  </a:cubicBezTo>
                  <a:cubicBezTo>
                    <a:pt x="15351" y="1925"/>
                    <a:pt x="15088" y="1069"/>
                    <a:pt x="14561" y="1069"/>
                  </a:cubicBezTo>
                  <a:cubicBezTo>
                    <a:pt x="13508" y="1069"/>
                    <a:pt x="12717" y="1069"/>
                    <a:pt x="11927" y="1069"/>
                  </a:cubicBezTo>
                  <a:cubicBezTo>
                    <a:pt x="9556" y="1069"/>
                    <a:pt x="6922" y="1069"/>
                    <a:pt x="4288" y="1069"/>
                  </a:cubicBezTo>
                  <a:cubicBezTo>
                    <a:pt x="3761" y="1069"/>
                    <a:pt x="4025" y="2566"/>
                    <a:pt x="4025" y="2994"/>
                  </a:cubicBezTo>
                  <a:cubicBezTo>
                    <a:pt x="4025" y="3422"/>
                    <a:pt x="3761" y="3422"/>
                    <a:pt x="3234" y="3422"/>
                  </a:cubicBezTo>
                  <a:cubicBezTo>
                    <a:pt x="2444" y="3422"/>
                    <a:pt x="2708" y="3422"/>
                    <a:pt x="2708" y="3850"/>
                  </a:cubicBezTo>
                  <a:cubicBezTo>
                    <a:pt x="2708" y="4919"/>
                    <a:pt x="2708" y="5774"/>
                    <a:pt x="2708" y="6844"/>
                  </a:cubicBezTo>
                  <a:cubicBezTo>
                    <a:pt x="2708" y="7271"/>
                    <a:pt x="2708" y="7699"/>
                    <a:pt x="2708" y="7913"/>
                  </a:cubicBezTo>
                  <a:cubicBezTo>
                    <a:pt x="2708" y="8341"/>
                    <a:pt x="1654" y="8127"/>
                    <a:pt x="1390" y="8341"/>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7" name="Shape 2166">
              <a:extLst>
                <a:ext uri="{FF2B5EF4-FFF2-40B4-BE49-F238E27FC236}">
                  <a16:creationId xmlns:a16="http://schemas.microsoft.com/office/drawing/2014/main" id="{C75A13BA-76B7-803B-1559-D0B471DD035F}"/>
                </a:ext>
              </a:extLst>
            </p:cNvPr>
            <p:cNvSpPr/>
            <p:nvPr/>
          </p:nvSpPr>
          <p:spPr>
            <a:xfrm>
              <a:off x="6688084" y="3149437"/>
              <a:ext cx="211257" cy="191082"/>
            </a:xfrm>
            <a:custGeom>
              <a:avLst/>
              <a:gdLst/>
              <a:ahLst/>
              <a:cxnLst>
                <a:cxn ang="0">
                  <a:pos x="wd2" y="hd2"/>
                </a:cxn>
                <a:cxn ang="5400000">
                  <a:pos x="wd2" y="hd2"/>
                </a:cxn>
                <a:cxn ang="10800000">
                  <a:pos x="wd2" y="hd2"/>
                </a:cxn>
                <a:cxn ang="16200000">
                  <a:pos x="wd2" y="hd2"/>
                </a:cxn>
              </a:cxnLst>
              <a:rect l="0" t="0" r="r" b="b"/>
              <a:pathLst>
                <a:path w="21600" h="21600" extrusionOk="0">
                  <a:moveTo>
                    <a:pt x="2025" y="14152"/>
                  </a:moveTo>
                  <a:cubicBezTo>
                    <a:pt x="2700" y="14152"/>
                    <a:pt x="4050" y="15641"/>
                    <a:pt x="4725" y="14897"/>
                  </a:cubicBezTo>
                  <a:cubicBezTo>
                    <a:pt x="4725" y="14152"/>
                    <a:pt x="4050" y="12662"/>
                    <a:pt x="4725" y="12662"/>
                  </a:cubicBezTo>
                  <a:cubicBezTo>
                    <a:pt x="6075" y="12662"/>
                    <a:pt x="6075" y="14152"/>
                    <a:pt x="6750" y="14152"/>
                  </a:cubicBezTo>
                  <a:cubicBezTo>
                    <a:pt x="7425" y="14152"/>
                    <a:pt x="8100" y="13407"/>
                    <a:pt x="8100" y="13407"/>
                  </a:cubicBezTo>
                  <a:cubicBezTo>
                    <a:pt x="8775" y="12662"/>
                    <a:pt x="9450" y="13407"/>
                    <a:pt x="9450" y="13407"/>
                  </a:cubicBezTo>
                  <a:cubicBezTo>
                    <a:pt x="14850" y="13407"/>
                    <a:pt x="16875" y="17876"/>
                    <a:pt x="19575" y="21600"/>
                  </a:cubicBezTo>
                  <a:cubicBezTo>
                    <a:pt x="20250" y="21600"/>
                    <a:pt x="20925" y="20855"/>
                    <a:pt x="21600" y="20110"/>
                  </a:cubicBezTo>
                  <a:cubicBezTo>
                    <a:pt x="19575" y="18621"/>
                    <a:pt x="17550" y="16386"/>
                    <a:pt x="16200" y="14152"/>
                  </a:cubicBezTo>
                  <a:cubicBezTo>
                    <a:pt x="15525" y="12662"/>
                    <a:pt x="14175" y="12662"/>
                    <a:pt x="12825" y="11917"/>
                  </a:cubicBezTo>
                  <a:cubicBezTo>
                    <a:pt x="12150" y="11917"/>
                    <a:pt x="12150" y="10428"/>
                    <a:pt x="11475" y="10428"/>
                  </a:cubicBezTo>
                  <a:cubicBezTo>
                    <a:pt x="10800" y="10428"/>
                    <a:pt x="11475" y="11172"/>
                    <a:pt x="11475" y="11917"/>
                  </a:cubicBezTo>
                  <a:cubicBezTo>
                    <a:pt x="11475" y="11917"/>
                    <a:pt x="10800" y="10428"/>
                    <a:pt x="10800" y="10428"/>
                  </a:cubicBezTo>
                  <a:cubicBezTo>
                    <a:pt x="10125" y="8938"/>
                    <a:pt x="9450" y="8193"/>
                    <a:pt x="9450" y="6703"/>
                  </a:cubicBezTo>
                  <a:cubicBezTo>
                    <a:pt x="8775" y="4469"/>
                    <a:pt x="8775" y="2234"/>
                    <a:pt x="6750" y="0"/>
                  </a:cubicBezTo>
                  <a:cubicBezTo>
                    <a:pt x="6075" y="2979"/>
                    <a:pt x="2700" y="2979"/>
                    <a:pt x="1350" y="5214"/>
                  </a:cubicBezTo>
                  <a:cubicBezTo>
                    <a:pt x="675" y="6703"/>
                    <a:pt x="1350" y="8193"/>
                    <a:pt x="675" y="9683"/>
                  </a:cubicBezTo>
                  <a:cubicBezTo>
                    <a:pt x="0" y="11172"/>
                    <a:pt x="0" y="12662"/>
                    <a:pt x="0" y="14897"/>
                  </a:cubicBezTo>
                  <a:cubicBezTo>
                    <a:pt x="675" y="14152"/>
                    <a:pt x="1350" y="14152"/>
                    <a:pt x="2025" y="1415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8" name="Shape 2167">
              <a:extLst>
                <a:ext uri="{FF2B5EF4-FFF2-40B4-BE49-F238E27FC236}">
                  <a16:creationId xmlns:a16="http://schemas.microsoft.com/office/drawing/2014/main" id="{7D890E52-98F7-B517-67B9-42E81635D61B}"/>
                </a:ext>
              </a:extLst>
            </p:cNvPr>
            <p:cNvSpPr/>
            <p:nvPr/>
          </p:nvSpPr>
          <p:spPr>
            <a:xfrm>
              <a:off x="6580220" y="3262432"/>
              <a:ext cx="485427" cy="379038"/>
            </a:xfrm>
            <a:custGeom>
              <a:avLst/>
              <a:gdLst/>
              <a:ahLst/>
              <a:cxnLst>
                <a:cxn ang="0">
                  <a:pos x="wd2" y="hd2"/>
                </a:cxn>
                <a:cxn ang="5400000">
                  <a:pos x="wd2" y="hd2"/>
                </a:cxn>
                <a:cxn ang="10800000">
                  <a:pos x="wd2" y="hd2"/>
                </a:cxn>
                <a:cxn ang="16200000">
                  <a:pos x="wd2" y="hd2"/>
                </a:cxn>
              </a:cxnLst>
              <a:rect l="0" t="0" r="r" b="b"/>
              <a:pathLst>
                <a:path w="21500" h="20233" extrusionOk="0">
                  <a:moveTo>
                    <a:pt x="20332" y="12344"/>
                  </a:moveTo>
                  <a:cubicBezTo>
                    <a:pt x="18873" y="11636"/>
                    <a:pt x="17705" y="11281"/>
                    <a:pt x="16538" y="10573"/>
                  </a:cubicBezTo>
                  <a:cubicBezTo>
                    <a:pt x="15662" y="10219"/>
                    <a:pt x="15370" y="9865"/>
                    <a:pt x="14786" y="9157"/>
                  </a:cubicBezTo>
                  <a:cubicBezTo>
                    <a:pt x="14495" y="8803"/>
                    <a:pt x="14203" y="8095"/>
                    <a:pt x="13911" y="7386"/>
                  </a:cubicBezTo>
                  <a:cubicBezTo>
                    <a:pt x="13911" y="7032"/>
                    <a:pt x="14786" y="6324"/>
                    <a:pt x="14786" y="5970"/>
                  </a:cubicBezTo>
                  <a:cubicBezTo>
                    <a:pt x="14203" y="6324"/>
                    <a:pt x="13619" y="6678"/>
                    <a:pt x="13035" y="7032"/>
                  </a:cubicBezTo>
                  <a:cubicBezTo>
                    <a:pt x="12451" y="7032"/>
                    <a:pt x="12451" y="5616"/>
                    <a:pt x="12743" y="5262"/>
                  </a:cubicBezTo>
                  <a:cubicBezTo>
                    <a:pt x="13619" y="4199"/>
                    <a:pt x="13327" y="4199"/>
                    <a:pt x="12743" y="3137"/>
                  </a:cubicBezTo>
                  <a:cubicBezTo>
                    <a:pt x="12159" y="2429"/>
                    <a:pt x="11576" y="1013"/>
                    <a:pt x="10700" y="658"/>
                  </a:cubicBezTo>
                  <a:cubicBezTo>
                    <a:pt x="10116" y="658"/>
                    <a:pt x="8657" y="-50"/>
                    <a:pt x="8073" y="304"/>
                  </a:cubicBezTo>
                  <a:cubicBezTo>
                    <a:pt x="7489" y="1367"/>
                    <a:pt x="6905" y="-1112"/>
                    <a:pt x="6905" y="658"/>
                  </a:cubicBezTo>
                  <a:cubicBezTo>
                    <a:pt x="6905" y="1367"/>
                    <a:pt x="6322" y="1013"/>
                    <a:pt x="6030" y="658"/>
                  </a:cubicBezTo>
                  <a:cubicBezTo>
                    <a:pt x="5738" y="658"/>
                    <a:pt x="5446" y="658"/>
                    <a:pt x="5154" y="658"/>
                  </a:cubicBezTo>
                  <a:cubicBezTo>
                    <a:pt x="4570" y="1013"/>
                    <a:pt x="4862" y="1013"/>
                    <a:pt x="4862" y="1721"/>
                  </a:cubicBezTo>
                  <a:cubicBezTo>
                    <a:pt x="4862" y="2075"/>
                    <a:pt x="4570" y="3137"/>
                    <a:pt x="4278" y="3491"/>
                  </a:cubicBezTo>
                  <a:cubicBezTo>
                    <a:pt x="4278" y="3845"/>
                    <a:pt x="3403" y="3491"/>
                    <a:pt x="3403" y="3845"/>
                  </a:cubicBezTo>
                  <a:cubicBezTo>
                    <a:pt x="3403" y="4554"/>
                    <a:pt x="2819" y="4908"/>
                    <a:pt x="2819" y="5262"/>
                  </a:cubicBezTo>
                  <a:cubicBezTo>
                    <a:pt x="2819" y="5616"/>
                    <a:pt x="3111" y="6678"/>
                    <a:pt x="2819" y="7032"/>
                  </a:cubicBezTo>
                  <a:cubicBezTo>
                    <a:pt x="1068" y="7386"/>
                    <a:pt x="1651" y="9511"/>
                    <a:pt x="1359" y="10927"/>
                  </a:cubicBezTo>
                  <a:cubicBezTo>
                    <a:pt x="1068" y="11281"/>
                    <a:pt x="776" y="11281"/>
                    <a:pt x="192" y="11281"/>
                  </a:cubicBezTo>
                  <a:cubicBezTo>
                    <a:pt x="-100" y="11636"/>
                    <a:pt x="-100" y="12344"/>
                    <a:pt x="484" y="12344"/>
                  </a:cubicBezTo>
                  <a:cubicBezTo>
                    <a:pt x="1359" y="12698"/>
                    <a:pt x="2235" y="14822"/>
                    <a:pt x="2527" y="15531"/>
                  </a:cubicBezTo>
                  <a:cubicBezTo>
                    <a:pt x="2819" y="16239"/>
                    <a:pt x="3111" y="16239"/>
                    <a:pt x="3695" y="16593"/>
                  </a:cubicBezTo>
                  <a:cubicBezTo>
                    <a:pt x="3986" y="16947"/>
                    <a:pt x="3695" y="17655"/>
                    <a:pt x="3986" y="18009"/>
                  </a:cubicBezTo>
                  <a:cubicBezTo>
                    <a:pt x="4570" y="18718"/>
                    <a:pt x="5154" y="18009"/>
                    <a:pt x="5738" y="18363"/>
                  </a:cubicBezTo>
                  <a:cubicBezTo>
                    <a:pt x="6030" y="18718"/>
                    <a:pt x="6614" y="19426"/>
                    <a:pt x="7197" y="19780"/>
                  </a:cubicBezTo>
                  <a:cubicBezTo>
                    <a:pt x="7781" y="19780"/>
                    <a:pt x="8949" y="20488"/>
                    <a:pt x="9532" y="20134"/>
                  </a:cubicBezTo>
                  <a:cubicBezTo>
                    <a:pt x="10116" y="19426"/>
                    <a:pt x="10408" y="18718"/>
                    <a:pt x="11284" y="19072"/>
                  </a:cubicBezTo>
                  <a:cubicBezTo>
                    <a:pt x="12159" y="19426"/>
                    <a:pt x="13035" y="19072"/>
                    <a:pt x="13619" y="18718"/>
                  </a:cubicBezTo>
                  <a:cubicBezTo>
                    <a:pt x="14203" y="18009"/>
                    <a:pt x="14786" y="17655"/>
                    <a:pt x="15662" y="17655"/>
                  </a:cubicBezTo>
                  <a:cubicBezTo>
                    <a:pt x="15954" y="17655"/>
                    <a:pt x="17122" y="17655"/>
                    <a:pt x="17122" y="17655"/>
                  </a:cubicBezTo>
                  <a:cubicBezTo>
                    <a:pt x="18581" y="15885"/>
                    <a:pt x="20041" y="14114"/>
                    <a:pt x="21500" y="12344"/>
                  </a:cubicBezTo>
                  <a:cubicBezTo>
                    <a:pt x="21208" y="12344"/>
                    <a:pt x="20624" y="12344"/>
                    <a:pt x="20332" y="1234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9" name="Shape 2168">
              <a:extLst>
                <a:ext uri="{FF2B5EF4-FFF2-40B4-BE49-F238E27FC236}">
                  <a16:creationId xmlns:a16="http://schemas.microsoft.com/office/drawing/2014/main" id="{48981090-2749-9E3B-C7F3-4D37319A0AC9}"/>
                </a:ext>
              </a:extLst>
            </p:cNvPr>
            <p:cNvSpPr/>
            <p:nvPr/>
          </p:nvSpPr>
          <p:spPr>
            <a:xfrm>
              <a:off x="6602679" y="3360749"/>
              <a:ext cx="567829" cy="548511"/>
            </a:xfrm>
            <a:custGeom>
              <a:avLst/>
              <a:gdLst/>
              <a:ahLst/>
              <a:cxnLst>
                <a:cxn ang="0">
                  <a:pos x="wd2" y="hd2"/>
                </a:cxn>
                <a:cxn ang="5400000">
                  <a:pos x="wd2" y="hd2"/>
                </a:cxn>
                <a:cxn ang="10800000">
                  <a:pos x="wd2" y="hd2"/>
                </a:cxn>
                <a:cxn ang="16200000">
                  <a:pos x="wd2" y="hd2"/>
                </a:cxn>
              </a:cxnLst>
              <a:rect l="0" t="0" r="r" b="b"/>
              <a:pathLst>
                <a:path w="21402" h="21600" extrusionOk="0">
                  <a:moveTo>
                    <a:pt x="21352" y="260"/>
                  </a:moveTo>
                  <a:cubicBezTo>
                    <a:pt x="21600" y="0"/>
                    <a:pt x="20855" y="0"/>
                    <a:pt x="20607" y="0"/>
                  </a:cubicBezTo>
                  <a:cubicBezTo>
                    <a:pt x="20359" y="260"/>
                    <a:pt x="20110" y="520"/>
                    <a:pt x="19614" y="781"/>
                  </a:cubicBezTo>
                  <a:cubicBezTo>
                    <a:pt x="19117" y="781"/>
                    <a:pt x="18372" y="781"/>
                    <a:pt x="17628" y="781"/>
                  </a:cubicBezTo>
                  <a:cubicBezTo>
                    <a:pt x="17628" y="1041"/>
                    <a:pt x="17379" y="1041"/>
                    <a:pt x="17131" y="1041"/>
                  </a:cubicBezTo>
                  <a:cubicBezTo>
                    <a:pt x="16883" y="1041"/>
                    <a:pt x="16883" y="781"/>
                    <a:pt x="16883" y="781"/>
                  </a:cubicBezTo>
                  <a:cubicBezTo>
                    <a:pt x="16386" y="1041"/>
                    <a:pt x="16138" y="1561"/>
                    <a:pt x="15641" y="1561"/>
                  </a:cubicBezTo>
                  <a:cubicBezTo>
                    <a:pt x="15145" y="1561"/>
                    <a:pt x="15145" y="1301"/>
                    <a:pt x="14400" y="1301"/>
                  </a:cubicBezTo>
                  <a:cubicBezTo>
                    <a:pt x="14152" y="1561"/>
                    <a:pt x="13655" y="2082"/>
                    <a:pt x="13159" y="1822"/>
                  </a:cubicBezTo>
                  <a:cubicBezTo>
                    <a:pt x="12414" y="1561"/>
                    <a:pt x="12166" y="1301"/>
                    <a:pt x="11669" y="520"/>
                  </a:cubicBezTo>
                  <a:cubicBezTo>
                    <a:pt x="11669" y="781"/>
                    <a:pt x="10924" y="1301"/>
                    <a:pt x="10924" y="1561"/>
                  </a:cubicBezTo>
                  <a:cubicBezTo>
                    <a:pt x="11172" y="2082"/>
                    <a:pt x="11421" y="2602"/>
                    <a:pt x="11917" y="3123"/>
                  </a:cubicBezTo>
                  <a:cubicBezTo>
                    <a:pt x="12414" y="3643"/>
                    <a:pt x="13159" y="3904"/>
                    <a:pt x="13903" y="4164"/>
                  </a:cubicBezTo>
                  <a:cubicBezTo>
                    <a:pt x="15145" y="4684"/>
                    <a:pt x="16138" y="5205"/>
                    <a:pt x="17379" y="5205"/>
                  </a:cubicBezTo>
                  <a:cubicBezTo>
                    <a:pt x="16883" y="5725"/>
                    <a:pt x="16138" y="6506"/>
                    <a:pt x="15641" y="7027"/>
                  </a:cubicBezTo>
                  <a:cubicBezTo>
                    <a:pt x="15145" y="7547"/>
                    <a:pt x="14648" y="8067"/>
                    <a:pt x="14400" y="8588"/>
                  </a:cubicBezTo>
                  <a:cubicBezTo>
                    <a:pt x="14152" y="8588"/>
                    <a:pt x="13903" y="9108"/>
                    <a:pt x="13655" y="9108"/>
                  </a:cubicBezTo>
                  <a:cubicBezTo>
                    <a:pt x="13159" y="9369"/>
                    <a:pt x="12414" y="8848"/>
                    <a:pt x="11917" y="9108"/>
                  </a:cubicBezTo>
                  <a:cubicBezTo>
                    <a:pt x="11421" y="9108"/>
                    <a:pt x="10924" y="9629"/>
                    <a:pt x="10428" y="9889"/>
                  </a:cubicBezTo>
                  <a:cubicBezTo>
                    <a:pt x="9931" y="10149"/>
                    <a:pt x="9434" y="10410"/>
                    <a:pt x="8938" y="10149"/>
                  </a:cubicBezTo>
                  <a:cubicBezTo>
                    <a:pt x="8690" y="10149"/>
                    <a:pt x="8193" y="9889"/>
                    <a:pt x="7945" y="10149"/>
                  </a:cubicBezTo>
                  <a:cubicBezTo>
                    <a:pt x="7200" y="10670"/>
                    <a:pt x="7200" y="11190"/>
                    <a:pt x="6455" y="10930"/>
                  </a:cubicBezTo>
                  <a:cubicBezTo>
                    <a:pt x="5959" y="10670"/>
                    <a:pt x="5462" y="10670"/>
                    <a:pt x="5214" y="10670"/>
                  </a:cubicBezTo>
                  <a:cubicBezTo>
                    <a:pt x="4717" y="10410"/>
                    <a:pt x="4221" y="9889"/>
                    <a:pt x="3972" y="9629"/>
                  </a:cubicBezTo>
                  <a:cubicBezTo>
                    <a:pt x="3724" y="9629"/>
                    <a:pt x="2979" y="9889"/>
                    <a:pt x="2731" y="9629"/>
                  </a:cubicBezTo>
                  <a:cubicBezTo>
                    <a:pt x="2483" y="9369"/>
                    <a:pt x="1986" y="8848"/>
                    <a:pt x="1738" y="8848"/>
                  </a:cubicBezTo>
                  <a:cubicBezTo>
                    <a:pt x="745" y="9108"/>
                    <a:pt x="497" y="9369"/>
                    <a:pt x="0" y="10149"/>
                  </a:cubicBezTo>
                  <a:cubicBezTo>
                    <a:pt x="0" y="10410"/>
                    <a:pt x="745" y="10410"/>
                    <a:pt x="745" y="10670"/>
                  </a:cubicBezTo>
                  <a:cubicBezTo>
                    <a:pt x="745" y="11190"/>
                    <a:pt x="745" y="11451"/>
                    <a:pt x="993" y="11711"/>
                  </a:cubicBezTo>
                  <a:cubicBezTo>
                    <a:pt x="1490" y="12231"/>
                    <a:pt x="1241" y="13533"/>
                    <a:pt x="745" y="14053"/>
                  </a:cubicBezTo>
                  <a:cubicBezTo>
                    <a:pt x="497" y="14313"/>
                    <a:pt x="248" y="14573"/>
                    <a:pt x="0" y="15094"/>
                  </a:cubicBezTo>
                  <a:cubicBezTo>
                    <a:pt x="0" y="15875"/>
                    <a:pt x="497" y="15354"/>
                    <a:pt x="745" y="15614"/>
                  </a:cubicBezTo>
                  <a:cubicBezTo>
                    <a:pt x="745" y="15614"/>
                    <a:pt x="0" y="16655"/>
                    <a:pt x="248" y="16916"/>
                  </a:cubicBezTo>
                  <a:cubicBezTo>
                    <a:pt x="497" y="16916"/>
                    <a:pt x="745" y="17176"/>
                    <a:pt x="993" y="17176"/>
                  </a:cubicBezTo>
                  <a:cubicBezTo>
                    <a:pt x="1986" y="17957"/>
                    <a:pt x="2979" y="18477"/>
                    <a:pt x="3724" y="18998"/>
                  </a:cubicBezTo>
                  <a:cubicBezTo>
                    <a:pt x="4469" y="19258"/>
                    <a:pt x="4717" y="19258"/>
                    <a:pt x="4717" y="20039"/>
                  </a:cubicBezTo>
                  <a:cubicBezTo>
                    <a:pt x="4717" y="20559"/>
                    <a:pt x="6207" y="21340"/>
                    <a:pt x="6455" y="21600"/>
                  </a:cubicBezTo>
                  <a:cubicBezTo>
                    <a:pt x="6952" y="20819"/>
                    <a:pt x="7200" y="20299"/>
                    <a:pt x="7448" y="19778"/>
                  </a:cubicBezTo>
                  <a:cubicBezTo>
                    <a:pt x="7448" y="19258"/>
                    <a:pt x="7697" y="18737"/>
                    <a:pt x="8193" y="18737"/>
                  </a:cubicBezTo>
                  <a:cubicBezTo>
                    <a:pt x="8441" y="18477"/>
                    <a:pt x="8441" y="18217"/>
                    <a:pt x="8690" y="17957"/>
                  </a:cubicBezTo>
                  <a:cubicBezTo>
                    <a:pt x="9186" y="17696"/>
                    <a:pt x="9434" y="17436"/>
                    <a:pt x="9931" y="16916"/>
                  </a:cubicBezTo>
                  <a:cubicBezTo>
                    <a:pt x="11172" y="14834"/>
                    <a:pt x="12910" y="13793"/>
                    <a:pt x="14648" y="12492"/>
                  </a:cubicBezTo>
                  <a:cubicBezTo>
                    <a:pt x="16883" y="10930"/>
                    <a:pt x="18124" y="8588"/>
                    <a:pt x="19117" y="6246"/>
                  </a:cubicBezTo>
                  <a:cubicBezTo>
                    <a:pt x="19614" y="5205"/>
                    <a:pt x="20359" y="4684"/>
                    <a:pt x="20855" y="3643"/>
                  </a:cubicBezTo>
                  <a:cubicBezTo>
                    <a:pt x="21103" y="3123"/>
                    <a:pt x="21103" y="2342"/>
                    <a:pt x="21352" y="1822"/>
                  </a:cubicBezTo>
                  <a:cubicBezTo>
                    <a:pt x="21352" y="1561"/>
                    <a:pt x="21103" y="520"/>
                    <a:pt x="21352" y="260"/>
                  </a:cubicBezTo>
                  <a:cubicBezTo>
                    <a:pt x="21352" y="260"/>
                    <a:pt x="21352" y="260"/>
                    <a:pt x="21352" y="2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0" name="Shape 2169">
              <a:extLst>
                <a:ext uri="{FF2B5EF4-FFF2-40B4-BE49-F238E27FC236}">
                  <a16:creationId xmlns:a16="http://schemas.microsoft.com/office/drawing/2014/main" id="{C493EA1B-56A1-8291-CB19-CA425C140083}"/>
                </a:ext>
              </a:extLst>
            </p:cNvPr>
            <p:cNvSpPr/>
            <p:nvPr/>
          </p:nvSpPr>
          <p:spPr>
            <a:xfrm>
              <a:off x="6861135" y="3333242"/>
              <a:ext cx="52975" cy="62482"/>
            </a:xfrm>
            <a:custGeom>
              <a:avLst/>
              <a:gdLst/>
              <a:ahLst/>
              <a:cxnLst>
                <a:cxn ang="0">
                  <a:pos x="wd2" y="hd2"/>
                </a:cxn>
                <a:cxn ang="5400000">
                  <a:pos x="wd2" y="hd2"/>
                </a:cxn>
                <a:cxn ang="10800000">
                  <a:pos x="wd2" y="hd2"/>
                </a:cxn>
                <a:cxn ang="16200000">
                  <a:pos x="wd2" y="hd2"/>
                </a:cxn>
              </a:cxnLst>
              <a:rect l="0" t="0" r="r" b="b"/>
              <a:pathLst>
                <a:path w="19582" h="18761" extrusionOk="0">
                  <a:moveTo>
                    <a:pt x="7200" y="2737"/>
                  </a:moveTo>
                  <a:cubicBezTo>
                    <a:pt x="4800" y="4701"/>
                    <a:pt x="2400" y="6665"/>
                    <a:pt x="2400" y="8628"/>
                  </a:cubicBezTo>
                  <a:cubicBezTo>
                    <a:pt x="0" y="8628"/>
                    <a:pt x="0" y="16483"/>
                    <a:pt x="0" y="18446"/>
                  </a:cubicBezTo>
                  <a:cubicBezTo>
                    <a:pt x="4800" y="20410"/>
                    <a:pt x="16800" y="12555"/>
                    <a:pt x="19200" y="12555"/>
                  </a:cubicBezTo>
                  <a:cubicBezTo>
                    <a:pt x="19200" y="10592"/>
                    <a:pt x="12000" y="8628"/>
                    <a:pt x="9600" y="10592"/>
                  </a:cubicBezTo>
                  <a:cubicBezTo>
                    <a:pt x="12000" y="8628"/>
                    <a:pt x="21600" y="6665"/>
                    <a:pt x="19200" y="4701"/>
                  </a:cubicBezTo>
                  <a:cubicBezTo>
                    <a:pt x="16800" y="-1190"/>
                    <a:pt x="12000" y="-1190"/>
                    <a:pt x="7200" y="273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1" name="Shape 2170">
              <a:extLst>
                <a:ext uri="{FF2B5EF4-FFF2-40B4-BE49-F238E27FC236}">
                  <a16:creationId xmlns:a16="http://schemas.microsoft.com/office/drawing/2014/main" id="{6660EEBB-159C-4399-4D62-6C7A9CBB03C0}"/>
                </a:ext>
              </a:extLst>
            </p:cNvPr>
            <p:cNvSpPr/>
            <p:nvPr/>
          </p:nvSpPr>
          <p:spPr>
            <a:xfrm>
              <a:off x="6465590" y="3619269"/>
              <a:ext cx="170802" cy="180480"/>
            </a:xfrm>
            <a:custGeom>
              <a:avLst/>
              <a:gdLst/>
              <a:ahLst/>
              <a:cxnLst>
                <a:cxn ang="0">
                  <a:pos x="wd2" y="hd2"/>
                </a:cxn>
                <a:cxn ang="5400000">
                  <a:pos x="wd2" y="hd2"/>
                </a:cxn>
                <a:cxn ang="10800000">
                  <a:pos x="wd2" y="hd2"/>
                </a:cxn>
                <a:cxn ang="16200000">
                  <a:pos x="wd2" y="hd2"/>
                </a:cxn>
              </a:cxnLst>
              <a:rect l="0" t="0" r="r" b="b"/>
              <a:pathLst>
                <a:path w="21600" h="21148" extrusionOk="0">
                  <a:moveTo>
                    <a:pt x="18277" y="13886"/>
                  </a:moveTo>
                  <a:cubicBezTo>
                    <a:pt x="18277" y="12343"/>
                    <a:pt x="19938" y="11571"/>
                    <a:pt x="20769" y="10800"/>
                  </a:cubicBezTo>
                  <a:cubicBezTo>
                    <a:pt x="21600" y="10029"/>
                    <a:pt x="21600" y="7714"/>
                    <a:pt x="21600" y="6171"/>
                  </a:cubicBezTo>
                  <a:cubicBezTo>
                    <a:pt x="21600" y="4629"/>
                    <a:pt x="19938" y="3857"/>
                    <a:pt x="19938" y="2314"/>
                  </a:cubicBezTo>
                  <a:cubicBezTo>
                    <a:pt x="19938" y="771"/>
                    <a:pt x="18277" y="771"/>
                    <a:pt x="17446" y="0"/>
                  </a:cubicBezTo>
                  <a:cubicBezTo>
                    <a:pt x="16615" y="771"/>
                    <a:pt x="14954" y="0"/>
                    <a:pt x="13292" y="771"/>
                  </a:cubicBezTo>
                  <a:cubicBezTo>
                    <a:pt x="12462" y="1543"/>
                    <a:pt x="10800" y="3086"/>
                    <a:pt x="9969" y="2314"/>
                  </a:cubicBezTo>
                  <a:cubicBezTo>
                    <a:pt x="8308" y="771"/>
                    <a:pt x="5815" y="0"/>
                    <a:pt x="4985" y="1543"/>
                  </a:cubicBezTo>
                  <a:cubicBezTo>
                    <a:pt x="4154" y="3086"/>
                    <a:pt x="4985" y="5400"/>
                    <a:pt x="5815" y="6171"/>
                  </a:cubicBezTo>
                  <a:cubicBezTo>
                    <a:pt x="6646" y="7714"/>
                    <a:pt x="5815" y="7714"/>
                    <a:pt x="4985" y="9257"/>
                  </a:cubicBezTo>
                  <a:cubicBezTo>
                    <a:pt x="4154" y="10800"/>
                    <a:pt x="2492" y="11571"/>
                    <a:pt x="1662" y="12343"/>
                  </a:cubicBezTo>
                  <a:cubicBezTo>
                    <a:pt x="831" y="13886"/>
                    <a:pt x="0" y="14657"/>
                    <a:pt x="0" y="16971"/>
                  </a:cubicBezTo>
                  <a:cubicBezTo>
                    <a:pt x="0" y="17743"/>
                    <a:pt x="831" y="19286"/>
                    <a:pt x="0" y="20829"/>
                  </a:cubicBezTo>
                  <a:cubicBezTo>
                    <a:pt x="1662" y="21600"/>
                    <a:pt x="1662" y="20829"/>
                    <a:pt x="3323" y="20057"/>
                  </a:cubicBezTo>
                  <a:cubicBezTo>
                    <a:pt x="4985" y="19286"/>
                    <a:pt x="7477" y="19286"/>
                    <a:pt x="9138" y="19286"/>
                  </a:cubicBezTo>
                  <a:cubicBezTo>
                    <a:pt x="8308" y="16971"/>
                    <a:pt x="9969" y="16200"/>
                    <a:pt x="11631" y="15429"/>
                  </a:cubicBezTo>
                  <a:cubicBezTo>
                    <a:pt x="13292" y="14657"/>
                    <a:pt x="16615" y="13114"/>
                    <a:pt x="17446" y="15429"/>
                  </a:cubicBezTo>
                  <a:cubicBezTo>
                    <a:pt x="17446" y="14657"/>
                    <a:pt x="17446" y="13886"/>
                    <a:pt x="18277" y="13886"/>
                  </a:cubicBezTo>
                  <a:cubicBezTo>
                    <a:pt x="18277" y="12343"/>
                    <a:pt x="17446" y="13886"/>
                    <a:pt x="18277" y="1388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2" name="Shape 2171">
              <a:extLst>
                <a:ext uri="{FF2B5EF4-FFF2-40B4-BE49-F238E27FC236}">
                  <a16:creationId xmlns:a16="http://schemas.microsoft.com/office/drawing/2014/main" id="{6B38E2F1-A6FC-D914-2332-7C5D58310479}"/>
                </a:ext>
              </a:extLst>
            </p:cNvPr>
            <p:cNvSpPr/>
            <p:nvPr/>
          </p:nvSpPr>
          <p:spPr>
            <a:xfrm>
              <a:off x="6445362" y="3830580"/>
              <a:ext cx="59535" cy="65192"/>
            </a:xfrm>
            <a:custGeom>
              <a:avLst/>
              <a:gdLst/>
              <a:ahLst/>
              <a:cxnLst>
                <a:cxn ang="0">
                  <a:pos x="wd2" y="hd2"/>
                </a:cxn>
                <a:cxn ang="5400000">
                  <a:pos x="wd2" y="hd2"/>
                </a:cxn>
                <a:cxn ang="10800000">
                  <a:pos x="wd2" y="hd2"/>
                </a:cxn>
                <a:cxn ang="16200000">
                  <a:pos x="wd2" y="hd2"/>
                </a:cxn>
              </a:cxnLst>
              <a:rect l="0" t="0" r="r" b="b"/>
              <a:pathLst>
                <a:path w="19731" h="21600" extrusionOk="0">
                  <a:moveTo>
                    <a:pt x="2160" y="12960"/>
                  </a:moveTo>
                  <a:cubicBezTo>
                    <a:pt x="4320" y="15120"/>
                    <a:pt x="4320" y="19440"/>
                    <a:pt x="6480" y="21600"/>
                  </a:cubicBezTo>
                  <a:cubicBezTo>
                    <a:pt x="10800" y="19440"/>
                    <a:pt x="15120" y="15120"/>
                    <a:pt x="19440" y="10800"/>
                  </a:cubicBezTo>
                  <a:cubicBezTo>
                    <a:pt x="21600" y="6480"/>
                    <a:pt x="10800" y="8640"/>
                    <a:pt x="17280" y="0"/>
                  </a:cubicBezTo>
                  <a:cubicBezTo>
                    <a:pt x="15120" y="0"/>
                    <a:pt x="6480" y="0"/>
                    <a:pt x="8640" y="2160"/>
                  </a:cubicBezTo>
                  <a:cubicBezTo>
                    <a:pt x="10800" y="6480"/>
                    <a:pt x="2160" y="4320"/>
                    <a:pt x="0" y="2160"/>
                  </a:cubicBezTo>
                  <a:cubicBezTo>
                    <a:pt x="0" y="6480"/>
                    <a:pt x="2160" y="8640"/>
                    <a:pt x="2160" y="12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3" name="Shape 2172">
              <a:extLst>
                <a:ext uri="{FF2B5EF4-FFF2-40B4-BE49-F238E27FC236}">
                  <a16:creationId xmlns:a16="http://schemas.microsoft.com/office/drawing/2014/main" id="{85DFB465-A4F2-C255-DA53-8D3DB451AE8A}"/>
                </a:ext>
              </a:extLst>
            </p:cNvPr>
            <p:cNvSpPr/>
            <p:nvPr/>
          </p:nvSpPr>
          <p:spPr>
            <a:xfrm>
              <a:off x="6445362" y="3790117"/>
              <a:ext cx="60796" cy="54996"/>
            </a:xfrm>
            <a:custGeom>
              <a:avLst/>
              <a:gdLst/>
              <a:ahLst/>
              <a:cxnLst>
                <a:cxn ang="0">
                  <a:pos x="wd2" y="hd2"/>
                </a:cxn>
                <a:cxn ang="5400000">
                  <a:pos x="wd2" y="hd2"/>
                </a:cxn>
                <a:cxn ang="10800000">
                  <a:pos x="wd2" y="hd2"/>
                </a:cxn>
                <a:cxn ang="16200000">
                  <a:pos x="wd2" y="hd2"/>
                </a:cxn>
              </a:cxnLst>
              <a:rect l="0" t="0" r="r" b="b"/>
              <a:pathLst>
                <a:path w="18260" h="19571" extrusionOk="0">
                  <a:moveTo>
                    <a:pt x="5891" y="2400"/>
                  </a:moveTo>
                  <a:cubicBezTo>
                    <a:pt x="1964" y="4800"/>
                    <a:pt x="0" y="12000"/>
                    <a:pt x="0" y="16800"/>
                  </a:cubicBezTo>
                  <a:cubicBezTo>
                    <a:pt x="1964" y="19200"/>
                    <a:pt x="9818" y="21600"/>
                    <a:pt x="7855" y="16800"/>
                  </a:cubicBezTo>
                  <a:cubicBezTo>
                    <a:pt x="5891" y="14400"/>
                    <a:pt x="13745" y="14400"/>
                    <a:pt x="15709" y="14400"/>
                  </a:cubicBezTo>
                  <a:cubicBezTo>
                    <a:pt x="21600" y="12000"/>
                    <a:pt x="15709" y="2400"/>
                    <a:pt x="13745" y="0"/>
                  </a:cubicBezTo>
                  <a:cubicBezTo>
                    <a:pt x="9818" y="2400"/>
                    <a:pt x="9818" y="4800"/>
                    <a:pt x="5891" y="2400"/>
                  </a:cubicBezTo>
                  <a:cubicBezTo>
                    <a:pt x="3927" y="2400"/>
                    <a:pt x="7855" y="2400"/>
                    <a:pt x="5891" y="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4" name="Shape 2173">
              <a:extLst>
                <a:ext uri="{FF2B5EF4-FFF2-40B4-BE49-F238E27FC236}">
                  <a16:creationId xmlns:a16="http://schemas.microsoft.com/office/drawing/2014/main" id="{93117258-B846-8A34-B18D-2BA71E007971}"/>
                </a:ext>
              </a:extLst>
            </p:cNvPr>
            <p:cNvSpPr/>
            <p:nvPr/>
          </p:nvSpPr>
          <p:spPr>
            <a:xfrm>
              <a:off x="6463778" y="3780535"/>
              <a:ext cx="350160" cy="363247"/>
            </a:xfrm>
            <a:custGeom>
              <a:avLst/>
              <a:gdLst/>
              <a:ahLst/>
              <a:cxnLst>
                <a:cxn ang="0">
                  <a:pos x="wd2" y="hd2"/>
                </a:cxn>
                <a:cxn ang="5400000">
                  <a:pos x="wd2" y="hd2"/>
                </a:cxn>
                <a:cxn ang="10800000">
                  <a:pos x="wd2" y="hd2"/>
                </a:cxn>
                <a:cxn ang="16200000">
                  <a:pos x="wd2" y="hd2"/>
                </a:cxn>
              </a:cxnLst>
              <a:rect l="0" t="0" r="r" b="b"/>
              <a:pathLst>
                <a:path w="21300" h="20411" extrusionOk="0">
                  <a:moveTo>
                    <a:pt x="16100" y="4243"/>
                  </a:moveTo>
                  <a:cubicBezTo>
                    <a:pt x="13700" y="2754"/>
                    <a:pt x="11300" y="1636"/>
                    <a:pt x="8900" y="519"/>
                  </a:cubicBezTo>
                  <a:cubicBezTo>
                    <a:pt x="8500" y="1264"/>
                    <a:pt x="7300" y="2009"/>
                    <a:pt x="6500" y="2009"/>
                  </a:cubicBezTo>
                  <a:cubicBezTo>
                    <a:pt x="6500" y="2009"/>
                    <a:pt x="8100" y="2381"/>
                    <a:pt x="8100" y="2754"/>
                  </a:cubicBezTo>
                  <a:cubicBezTo>
                    <a:pt x="7700" y="3126"/>
                    <a:pt x="6900" y="2754"/>
                    <a:pt x="6500" y="2754"/>
                  </a:cubicBezTo>
                  <a:cubicBezTo>
                    <a:pt x="5700" y="2381"/>
                    <a:pt x="5700" y="2754"/>
                    <a:pt x="4900" y="3126"/>
                  </a:cubicBezTo>
                  <a:cubicBezTo>
                    <a:pt x="4900" y="3126"/>
                    <a:pt x="4100" y="2754"/>
                    <a:pt x="4100" y="2381"/>
                  </a:cubicBezTo>
                  <a:cubicBezTo>
                    <a:pt x="3700" y="2009"/>
                    <a:pt x="4100" y="1264"/>
                    <a:pt x="4500" y="892"/>
                  </a:cubicBezTo>
                  <a:cubicBezTo>
                    <a:pt x="4900" y="-598"/>
                    <a:pt x="2500" y="147"/>
                    <a:pt x="1700" y="519"/>
                  </a:cubicBezTo>
                  <a:cubicBezTo>
                    <a:pt x="2100" y="892"/>
                    <a:pt x="2900" y="2009"/>
                    <a:pt x="2500" y="2381"/>
                  </a:cubicBezTo>
                  <a:cubicBezTo>
                    <a:pt x="2500" y="2754"/>
                    <a:pt x="900" y="3871"/>
                    <a:pt x="1700" y="3871"/>
                  </a:cubicBezTo>
                  <a:cubicBezTo>
                    <a:pt x="2900" y="4243"/>
                    <a:pt x="2500" y="4616"/>
                    <a:pt x="2100" y="5361"/>
                  </a:cubicBezTo>
                  <a:cubicBezTo>
                    <a:pt x="1700" y="5361"/>
                    <a:pt x="900" y="5733"/>
                    <a:pt x="500" y="6105"/>
                  </a:cubicBezTo>
                  <a:cubicBezTo>
                    <a:pt x="-300" y="6478"/>
                    <a:pt x="100" y="6478"/>
                    <a:pt x="100" y="7223"/>
                  </a:cubicBezTo>
                  <a:cubicBezTo>
                    <a:pt x="500" y="9085"/>
                    <a:pt x="1300" y="10202"/>
                    <a:pt x="1700" y="11692"/>
                  </a:cubicBezTo>
                  <a:cubicBezTo>
                    <a:pt x="1700" y="13554"/>
                    <a:pt x="3300" y="14299"/>
                    <a:pt x="4500" y="15043"/>
                  </a:cubicBezTo>
                  <a:cubicBezTo>
                    <a:pt x="4900" y="15416"/>
                    <a:pt x="5300" y="15416"/>
                    <a:pt x="5700" y="15416"/>
                  </a:cubicBezTo>
                  <a:cubicBezTo>
                    <a:pt x="6100" y="15416"/>
                    <a:pt x="6100" y="15788"/>
                    <a:pt x="6500" y="16161"/>
                  </a:cubicBezTo>
                  <a:cubicBezTo>
                    <a:pt x="7300" y="16161"/>
                    <a:pt x="8500" y="16161"/>
                    <a:pt x="9300" y="16905"/>
                  </a:cubicBezTo>
                  <a:cubicBezTo>
                    <a:pt x="9700" y="17278"/>
                    <a:pt x="9700" y="18395"/>
                    <a:pt x="9700" y="19140"/>
                  </a:cubicBezTo>
                  <a:cubicBezTo>
                    <a:pt x="10100" y="19512"/>
                    <a:pt x="9700" y="19885"/>
                    <a:pt x="10500" y="19885"/>
                  </a:cubicBezTo>
                  <a:cubicBezTo>
                    <a:pt x="10900" y="19885"/>
                    <a:pt x="11300" y="19885"/>
                    <a:pt x="11700" y="19885"/>
                  </a:cubicBezTo>
                  <a:cubicBezTo>
                    <a:pt x="12100" y="19885"/>
                    <a:pt x="12500" y="19885"/>
                    <a:pt x="12900" y="20257"/>
                  </a:cubicBezTo>
                  <a:cubicBezTo>
                    <a:pt x="13300" y="20630"/>
                    <a:pt x="13700" y="20257"/>
                    <a:pt x="14100" y="19885"/>
                  </a:cubicBezTo>
                  <a:cubicBezTo>
                    <a:pt x="14900" y="19512"/>
                    <a:pt x="15700" y="21002"/>
                    <a:pt x="16500" y="19885"/>
                  </a:cubicBezTo>
                  <a:cubicBezTo>
                    <a:pt x="16500" y="19140"/>
                    <a:pt x="17700" y="19512"/>
                    <a:pt x="18100" y="19512"/>
                  </a:cubicBezTo>
                  <a:cubicBezTo>
                    <a:pt x="19300" y="19140"/>
                    <a:pt x="20100" y="18395"/>
                    <a:pt x="21300" y="17650"/>
                  </a:cubicBezTo>
                  <a:cubicBezTo>
                    <a:pt x="19300" y="16533"/>
                    <a:pt x="19300" y="15043"/>
                    <a:pt x="19300" y="12809"/>
                  </a:cubicBezTo>
                  <a:cubicBezTo>
                    <a:pt x="18900" y="12436"/>
                    <a:pt x="19700" y="11692"/>
                    <a:pt x="19300" y="11319"/>
                  </a:cubicBezTo>
                  <a:cubicBezTo>
                    <a:pt x="18900" y="10947"/>
                    <a:pt x="18100" y="10574"/>
                    <a:pt x="18100" y="9830"/>
                  </a:cubicBezTo>
                  <a:cubicBezTo>
                    <a:pt x="18100" y="9457"/>
                    <a:pt x="18900" y="6850"/>
                    <a:pt x="18900" y="6850"/>
                  </a:cubicBezTo>
                  <a:cubicBezTo>
                    <a:pt x="18500" y="6850"/>
                    <a:pt x="18100" y="6478"/>
                    <a:pt x="17700" y="6105"/>
                  </a:cubicBezTo>
                  <a:cubicBezTo>
                    <a:pt x="17300" y="5733"/>
                    <a:pt x="16900" y="5733"/>
                    <a:pt x="16100" y="5361"/>
                  </a:cubicBezTo>
                  <a:cubicBezTo>
                    <a:pt x="16100" y="4988"/>
                    <a:pt x="16100" y="4616"/>
                    <a:pt x="16100" y="424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5" name="Shape 2174">
              <a:extLst>
                <a:ext uri="{FF2B5EF4-FFF2-40B4-BE49-F238E27FC236}">
                  <a16:creationId xmlns:a16="http://schemas.microsoft.com/office/drawing/2014/main" id="{A0BC9A93-5BAF-F70A-52C0-CE81EBE3BB89}"/>
                </a:ext>
              </a:extLst>
            </p:cNvPr>
            <p:cNvSpPr/>
            <p:nvPr/>
          </p:nvSpPr>
          <p:spPr>
            <a:xfrm>
              <a:off x="5813842" y="3677716"/>
              <a:ext cx="175902" cy="204570"/>
            </a:xfrm>
            <a:custGeom>
              <a:avLst/>
              <a:gdLst/>
              <a:ahLst/>
              <a:cxnLst>
                <a:cxn ang="0">
                  <a:pos x="wd2" y="hd2"/>
                </a:cxn>
                <a:cxn ang="5400000">
                  <a:pos x="wd2" y="hd2"/>
                </a:cxn>
                <a:cxn ang="10800000">
                  <a:pos x="wd2" y="hd2"/>
                </a:cxn>
                <a:cxn ang="16200000">
                  <a:pos x="wd2" y="hd2"/>
                </a:cxn>
              </a:cxnLst>
              <a:rect l="0" t="0" r="r" b="b"/>
              <a:pathLst>
                <a:path w="21400" h="21600" extrusionOk="0">
                  <a:moveTo>
                    <a:pt x="12000" y="20206"/>
                  </a:moveTo>
                  <a:cubicBezTo>
                    <a:pt x="12000" y="19510"/>
                    <a:pt x="10400" y="16723"/>
                    <a:pt x="12000" y="16723"/>
                  </a:cubicBezTo>
                  <a:cubicBezTo>
                    <a:pt x="12000" y="16723"/>
                    <a:pt x="13600" y="16723"/>
                    <a:pt x="13600" y="16723"/>
                  </a:cubicBezTo>
                  <a:cubicBezTo>
                    <a:pt x="14400" y="16026"/>
                    <a:pt x="14400" y="14632"/>
                    <a:pt x="15200" y="14632"/>
                  </a:cubicBezTo>
                  <a:cubicBezTo>
                    <a:pt x="16000" y="15329"/>
                    <a:pt x="16800" y="16026"/>
                    <a:pt x="16800" y="16723"/>
                  </a:cubicBezTo>
                  <a:cubicBezTo>
                    <a:pt x="17600" y="17419"/>
                    <a:pt x="17600" y="16026"/>
                    <a:pt x="19200" y="16026"/>
                  </a:cubicBezTo>
                  <a:cubicBezTo>
                    <a:pt x="19200" y="16026"/>
                    <a:pt x="20800" y="17419"/>
                    <a:pt x="20800" y="16723"/>
                  </a:cubicBezTo>
                  <a:cubicBezTo>
                    <a:pt x="20800" y="16026"/>
                    <a:pt x="20800" y="15329"/>
                    <a:pt x="20800" y="14632"/>
                  </a:cubicBezTo>
                  <a:cubicBezTo>
                    <a:pt x="21600" y="13239"/>
                    <a:pt x="21600" y="11148"/>
                    <a:pt x="20800" y="9755"/>
                  </a:cubicBezTo>
                  <a:cubicBezTo>
                    <a:pt x="20000" y="9058"/>
                    <a:pt x="20000" y="8361"/>
                    <a:pt x="20000" y="7665"/>
                  </a:cubicBezTo>
                  <a:cubicBezTo>
                    <a:pt x="20000" y="6271"/>
                    <a:pt x="21600" y="5574"/>
                    <a:pt x="20800" y="4181"/>
                  </a:cubicBezTo>
                  <a:cubicBezTo>
                    <a:pt x="20000" y="2090"/>
                    <a:pt x="16800" y="4877"/>
                    <a:pt x="16800" y="2787"/>
                  </a:cubicBezTo>
                  <a:cubicBezTo>
                    <a:pt x="16800" y="1394"/>
                    <a:pt x="17600" y="0"/>
                    <a:pt x="15200" y="0"/>
                  </a:cubicBezTo>
                  <a:cubicBezTo>
                    <a:pt x="14400" y="0"/>
                    <a:pt x="12800" y="0"/>
                    <a:pt x="11200" y="0"/>
                  </a:cubicBezTo>
                  <a:cubicBezTo>
                    <a:pt x="8000" y="0"/>
                    <a:pt x="12000" y="4877"/>
                    <a:pt x="8800" y="4877"/>
                  </a:cubicBezTo>
                  <a:cubicBezTo>
                    <a:pt x="7200" y="4877"/>
                    <a:pt x="5600" y="4877"/>
                    <a:pt x="4000" y="4877"/>
                  </a:cubicBezTo>
                  <a:cubicBezTo>
                    <a:pt x="3200" y="4877"/>
                    <a:pt x="3200" y="4877"/>
                    <a:pt x="3200" y="4877"/>
                  </a:cubicBezTo>
                  <a:cubicBezTo>
                    <a:pt x="1600" y="6271"/>
                    <a:pt x="3200" y="6271"/>
                    <a:pt x="3200" y="6968"/>
                  </a:cubicBezTo>
                  <a:cubicBezTo>
                    <a:pt x="3200" y="8361"/>
                    <a:pt x="0" y="9755"/>
                    <a:pt x="0" y="11148"/>
                  </a:cubicBezTo>
                  <a:cubicBezTo>
                    <a:pt x="800" y="12542"/>
                    <a:pt x="2400" y="14632"/>
                    <a:pt x="3200" y="16026"/>
                  </a:cubicBezTo>
                  <a:cubicBezTo>
                    <a:pt x="4800" y="16723"/>
                    <a:pt x="5600" y="18116"/>
                    <a:pt x="7200" y="19510"/>
                  </a:cubicBezTo>
                  <a:cubicBezTo>
                    <a:pt x="8000" y="20206"/>
                    <a:pt x="8800" y="20903"/>
                    <a:pt x="8800" y="21600"/>
                  </a:cubicBezTo>
                  <a:cubicBezTo>
                    <a:pt x="9600" y="20903"/>
                    <a:pt x="11200" y="20903"/>
                    <a:pt x="12000" y="20206"/>
                  </a:cubicBezTo>
                  <a:cubicBezTo>
                    <a:pt x="12000" y="20206"/>
                    <a:pt x="11200" y="20903"/>
                    <a:pt x="12000" y="2020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6" name="Shape 2175">
              <a:extLst>
                <a:ext uri="{FF2B5EF4-FFF2-40B4-BE49-F238E27FC236}">
                  <a16:creationId xmlns:a16="http://schemas.microsoft.com/office/drawing/2014/main" id="{CE4F7E27-8226-D502-9952-A0872B6C0D21}"/>
                </a:ext>
              </a:extLst>
            </p:cNvPr>
            <p:cNvSpPr/>
            <p:nvPr/>
          </p:nvSpPr>
          <p:spPr>
            <a:xfrm>
              <a:off x="5825077" y="3677716"/>
              <a:ext cx="74166" cy="4720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15429"/>
                    <a:pt x="21600" y="6171"/>
                    <a:pt x="21600" y="0"/>
                  </a:cubicBezTo>
                  <a:cubicBezTo>
                    <a:pt x="15709" y="0"/>
                    <a:pt x="11782" y="3086"/>
                    <a:pt x="5891" y="3086"/>
                  </a:cubicBezTo>
                  <a:cubicBezTo>
                    <a:pt x="7855" y="6171"/>
                    <a:pt x="1964" y="9257"/>
                    <a:pt x="0" y="12343"/>
                  </a:cubicBezTo>
                  <a:cubicBezTo>
                    <a:pt x="0" y="15429"/>
                    <a:pt x="3927" y="18514"/>
                    <a:pt x="3927" y="21600"/>
                  </a:cubicBezTo>
                  <a:lnTo>
                    <a:pt x="21600" y="21600"/>
                  </a:ln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7" name="Shape 2176">
              <a:extLst>
                <a:ext uri="{FF2B5EF4-FFF2-40B4-BE49-F238E27FC236}">
                  <a16:creationId xmlns:a16="http://schemas.microsoft.com/office/drawing/2014/main" id="{853DF4A1-7796-CC90-7685-956A9AA35ADC}"/>
                </a:ext>
              </a:extLst>
            </p:cNvPr>
            <p:cNvSpPr/>
            <p:nvPr/>
          </p:nvSpPr>
          <p:spPr>
            <a:xfrm>
              <a:off x="5805078" y="3322533"/>
              <a:ext cx="237999" cy="368098"/>
            </a:xfrm>
            <a:custGeom>
              <a:avLst/>
              <a:gdLst/>
              <a:ahLst/>
              <a:cxnLst>
                <a:cxn ang="0">
                  <a:pos x="wd2" y="hd2"/>
                </a:cxn>
                <a:cxn ang="5400000">
                  <a:pos x="wd2" y="hd2"/>
                </a:cxn>
                <a:cxn ang="10800000">
                  <a:pos x="wd2" y="hd2"/>
                </a:cxn>
                <a:cxn ang="16200000">
                  <a:pos x="wd2" y="hd2"/>
                </a:cxn>
              </a:cxnLst>
              <a:rect l="0" t="0" r="r" b="b"/>
              <a:pathLst>
                <a:path w="21180" h="21179" extrusionOk="0">
                  <a:moveTo>
                    <a:pt x="16510" y="20842"/>
                  </a:moveTo>
                  <a:cubicBezTo>
                    <a:pt x="18261" y="20842"/>
                    <a:pt x="20012" y="21600"/>
                    <a:pt x="21180" y="20842"/>
                  </a:cubicBezTo>
                  <a:cubicBezTo>
                    <a:pt x="21180" y="19326"/>
                    <a:pt x="20012" y="18947"/>
                    <a:pt x="18845" y="18189"/>
                  </a:cubicBezTo>
                  <a:cubicBezTo>
                    <a:pt x="18261" y="17811"/>
                    <a:pt x="18261" y="17432"/>
                    <a:pt x="18261" y="16674"/>
                  </a:cubicBezTo>
                  <a:cubicBezTo>
                    <a:pt x="17677" y="16295"/>
                    <a:pt x="17094" y="15916"/>
                    <a:pt x="17094" y="15158"/>
                  </a:cubicBezTo>
                  <a:cubicBezTo>
                    <a:pt x="16510" y="13642"/>
                    <a:pt x="17677" y="13263"/>
                    <a:pt x="18261" y="12126"/>
                  </a:cubicBezTo>
                  <a:cubicBezTo>
                    <a:pt x="18845" y="11368"/>
                    <a:pt x="19429" y="10989"/>
                    <a:pt x="19429" y="10232"/>
                  </a:cubicBezTo>
                  <a:cubicBezTo>
                    <a:pt x="18845" y="9474"/>
                    <a:pt x="18845" y="8716"/>
                    <a:pt x="17677" y="7958"/>
                  </a:cubicBezTo>
                  <a:cubicBezTo>
                    <a:pt x="17677" y="7958"/>
                    <a:pt x="14758" y="6821"/>
                    <a:pt x="15926" y="6063"/>
                  </a:cubicBezTo>
                  <a:cubicBezTo>
                    <a:pt x="16510" y="5684"/>
                    <a:pt x="18261" y="6063"/>
                    <a:pt x="19429" y="6063"/>
                  </a:cubicBezTo>
                  <a:cubicBezTo>
                    <a:pt x="18261" y="4547"/>
                    <a:pt x="18261" y="3789"/>
                    <a:pt x="18261" y="2274"/>
                  </a:cubicBezTo>
                  <a:cubicBezTo>
                    <a:pt x="18261" y="1895"/>
                    <a:pt x="18261" y="1137"/>
                    <a:pt x="17094" y="758"/>
                  </a:cubicBezTo>
                  <a:cubicBezTo>
                    <a:pt x="17094" y="379"/>
                    <a:pt x="15342" y="0"/>
                    <a:pt x="15342" y="0"/>
                  </a:cubicBezTo>
                  <a:cubicBezTo>
                    <a:pt x="15342" y="758"/>
                    <a:pt x="18845" y="2653"/>
                    <a:pt x="15926" y="3411"/>
                  </a:cubicBezTo>
                  <a:cubicBezTo>
                    <a:pt x="14175" y="4168"/>
                    <a:pt x="13591" y="5305"/>
                    <a:pt x="13007" y="6821"/>
                  </a:cubicBezTo>
                  <a:cubicBezTo>
                    <a:pt x="12423" y="7200"/>
                    <a:pt x="12423" y="8337"/>
                    <a:pt x="11839" y="8337"/>
                  </a:cubicBezTo>
                  <a:cubicBezTo>
                    <a:pt x="10672" y="8716"/>
                    <a:pt x="10672" y="9474"/>
                    <a:pt x="10088" y="10232"/>
                  </a:cubicBezTo>
                  <a:cubicBezTo>
                    <a:pt x="9504" y="10989"/>
                    <a:pt x="8921" y="11747"/>
                    <a:pt x="8337" y="12505"/>
                  </a:cubicBezTo>
                  <a:cubicBezTo>
                    <a:pt x="7169" y="13263"/>
                    <a:pt x="6585" y="11747"/>
                    <a:pt x="6002" y="11747"/>
                  </a:cubicBezTo>
                  <a:cubicBezTo>
                    <a:pt x="3083" y="11747"/>
                    <a:pt x="1331" y="13263"/>
                    <a:pt x="748" y="14779"/>
                  </a:cubicBezTo>
                  <a:cubicBezTo>
                    <a:pt x="748" y="15158"/>
                    <a:pt x="-420" y="15537"/>
                    <a:pt x="164" y="15916"/>
                  </a:cubicBezTo>
                  <a:cubicBezTo>
                    <a:pt x="748" y="16295"/>
                    <a:pt x="1331" y="16674"/>
                    <a:pt x="1915" y="17053"/>
                  </a:cubicBezTo>
                  <a:cubicBezTo>
                    <a:pt x="1915" y="17432"/>
                    <a:pt x="2499" y="16674"/>
                    <a:pt x="2499" y="17053"/>
                  </a:cubicBezTo>
                  <a:cubicBezTo>
                    <a:pt x="3083" y="17432"/>
                    <a:pt x="3666" y="17811"/>
                    <a:pt x="3666" y="18189"/>
                  </a:cubicBezTo>
                  <a:cubicBezTo>
                    <a:pt x="4250" y="18947"/>
                    <a:pt x="3666" y="20084"/>
                    <a:pt x="3666" y="20842"/>
                  </a:cubicBezTo>
                  <a:cubicBezTo>
                    <a:pt x="5418" y="20463"/>
                    <a:pt x="7169" y="20463"/>
                    <a:pt x="8921" y="20463"/>
                  </a:cubicBezTo>
                  <a:cubicBezTo>
                    <a:pt x="11256" y="20463"/>
                    <a:pt x="14175" y="20842"/>
                    <a:pt x="16510" y="2084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8" name="Shape 2177">
              <a:extLst>
                <a:ext uri="{FF2B5EF4-FFF2-40B4-BE49-F238E27FC236}">
                  <a16:creationId xmlns:a16="http://schemas.microsoft.com/office/drawing/2014/main" id="{F772AA6C-8531-B3AF-26D2-359065A40F05}"/>
                </a:ext>
              </a:extLst>
            </p:cNvPr>
            <p:cNvSpPr/>
            <p:nvPr/>
          </p:nvSpPr>
          <p:spPr>
            <a:xfrm>
              <a:off x="5546702" y="3340518"/>
              <a:ext cx="94091" cy="204570"/>
            </a:xfrm>
            <a:custGeom>
              <a:avLst/>
              <a:gdLst/>
              <a:ahLst/>
              <a:cxnLst>
                <a:cxn ang="0">
                  <a:pos x="wd2" y="hd2"/>
                </a:cxn>
                <a:cxn ang="5400000">
                  <a:pos x="wd2" y="hd2"/>
                </a:cxn>
                <a:cxn ang="10800000">
                  <a:pos x="wd2" y="hd2"/>
                </a:cxn>
                <a:cxn ang="16200000">
                  <a:pos x="wd2" y="hd2"/>
                </a:cxn>
              </a:cxnLst>
              <a:rect l="0" t="0" r="r" b="b"/>
              <a:pathLst>
                <a:path w="20552" h="21600" extrusionOk="0">
                  <a:moveTo>
                    <a:pt x="14792" y="0"/>
                  </a:moveTo>
                  <a:cubicBezTo>
                    <a:pt x="11912" y="1394"/>
                    <a:pt x="13352" y="1394"/>
                    <a:pt x="11912" y="2787"/>
                  </a:cubicBezTo>
                  <a:cubicBezTo>
                    <a:pt x="10472" y="4181"/>
                    <a:pt x="7592" y="3484"/>
                    <a:pt x="4712" y="3484"/>
                  </a:cubicBezTo>
                  <a:cubicBezTo>
                    <a:pt x="4712" y="3484"/>
                    <a:pt x="1832" y="4877"/>
                    <a:pt x="392" y="5574"/>
                  </a:cubicBezTo>
                  <a:cubicBezTo>
                    <a:pt x="-1048" y="6271"/>
                    <a:pt x="1832" y="7665"/>
                    <a:pt x="3272" y="9058"/>
                  </a:cubicBezTo>
                  <a:cubicBezTo>
                    <a:pt x="9032" y="12542"/>
                    <a:pt x="4712" y="17419"/>
                    <a:pt x="7592" y="21600"/>
                  </a:cubicBezTo>
                  <a:cubicBezTo>
                    <a:pt x="9032" y="21600"/>
                    <a:pt x="11912" y="21600"/>
                    <a:pt x="14792" y="20903"/>
                  </a:cubicBezTo>
                  <a:cubicBezTo>
                    <a:pt x="16232" y="20903"/>
                    <a:pt x="16232" y="20206"/>
                    <a:pt x="14792" y="18813"/>
                  </a:cubicBezTo>
                  <a:cubicBezTo>
                    <a:pt x="14792" y="16723"/>
                    <a:pt x="14792" y="14632"/>
                    <a:pt x="14792" y="12542"/>
                  </a:cubicBezTo>
                  <a:cubicBezTo>
                    <a:pt x="14792" y="9755"/>
                    <a:pt x="19112" y="8361"/>
                    <a:pt x="20552" y="6271"/>
                  </a:cubicBezTo>
                  <a:cubicBezTo>
                    <a:pt x="20552" y="4181"/>
                    <a:pt x="20552" y="3484"/>
                    <a:pt x="19112" y="2090"/>
                  </a:cubicBezTo>
                  <a:cubicBezTo>
                    <a:pt x="19112" y="2090"/>
                    <a:pt x="14792" y="0"/>
                    <a:pt x="14792" y="0"/>
                  </a:cubicBezTo>
                  <a:cubicBezTo>
                    <a:pt x="13352" y="697"/>
                    <a:pt x="14792" y="0"/>
                    <a:pt x="14792"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9" name="Shape 2178">
              <a:extLst>
                <a:ext uri="{FF2B5EF4-FFF2-40B4-BE49-F238E27FC236}">
                  <a16:creationId xmlns:a16="http://schemas.microsoft.com/office/drawing/2014/main" id="{01FE2F46-A528-A98F-7847-F8F16E59DD18}"/>
                </a:ext>
              </a:extLst>
            </p:cNvPr>
            <p:cNvSpPr/>
            <p:nvPr/>
          </p:nvSpPr>
          <p:spPr>
            <a:xfrm>
              <a:off x="5613188" y="3293621"/>
              <a:ext cx="384942" cy="318978"/>
            </a:xfrm>
            <a:custGeom>
              <a:avLst/>
              <a:gdLst/>
              <a:ahLst/>
              <a:cxnLst>
                <a:cxn ang="0">
                  <a:pos x="wd2" y="hd2"/>
                </a:cxn>
                <a:cxn ang="5400000">
                  <a:pos x="wd2" y="hd2"/>
                </a:cxn>
                <a:cxn ang="10800000">
                  <a:pos x="wd2" y="hd2"/>
                </a:cxn>
                <a:cxn ang="16200000">
                  <a:pos x="wd2" y="hd2"/>
                </a:cxn>
              </a:cxnLst>
              <a:rect l="0" t="0" r="r" b="b"/>
              <a:pathLst>
                <a:path w="21386" h="20433" extrusionOk="0">
                  <a:moveTo>
                    <a:pt x="11135" y="17480"/>
                  </a:moveTo>
                  <a:cubicBezTo>
                    <a:pt x="11501" y="16633"/>
                    <a:pt x="12600" y="15363"/>
                    <a:pt x="13332" y="15363"/>
                  </a:cubicBezTo>
                  <a:cubicBezTo>
                    <a:pt x="13698" y="14939"/>
                    <a:pt x="14430" y="14939"/>
                    <a:pt x="14430" y="14939"/>
                  </a:cubicBezTo>
                  <a:cubicBezTo>
                    <a:pt x="14796" y="15363"/>
                    <a:pt x="15162" y="16210"/>
                    <a:pt x="15528" y="15786"/>
                  </a:cubicBezTo>
                  <a:cubicBezTo>
                    <a:pt x="16261" y="15363"/>
                    <a:pt x="16627" y="14092"/>
                    <a:pt x="16993" y="13245"/>
                  </a:cubicBezTo>
                  <a:cubicBezTo>
                    <a:pt x="16993" y="12821"/>
                    <a:pt x="17359" y="11974"/>
                    <a:pt x="17359" y="11551"/>
                  </a:cubicBezTo>
                  <a:cubicBezTo>
                    <a:pt x="17725" y="11127"/>
                    <a:pt x="18091" y="11551"/>
                    <a:pt x="18457" y="11127"/>
                  </a:cubicBezTo>
                  <a:cubicBezTo>
                    <a:pt x="18457" y="10280"/>
                    <a:pt x="19189" y="5621"/>
                    <a:pt x="20288" y="5621"/>
                  </a:cubicBezTo>
                  <a:cubicBezTo>
                    <a:pt x="21020" y="5621"/>
                    <a:pt x="21386" y="4774"/>
                    <a:pt x="21386" y="4351"/>
                  </a:cubicBezTo>
                  <a:cubicBezTo>
                    <a:pt x="21386" y="3504"/>
                    <a:pt x="20654" y="3504"/>
                    <a:pt x="20654" y="3080"/>
                  </a:cubicBezTo>
                  <a:cubicBezTo>
                    <a:pt x="20654" y="2657"/>
                    <a:pt x="20288" y="2657"/>
                    <a:pt x="20288" y="2233"/>
                  </a:cubicBezTo>
                  <a:cubicBezTo>
                    <a:pt x="19922" y="1386"/>
                    <a:pt x="19922" y="963"/>
                    <a:pt x="19555" y="116"/>
                  </a:cubicBezTo>
                  <a:cubicBezTo>
                    <a:pt x="19189" y="539"/>
                    <a:pt x="18091" y="1810"/>
                    <a:pt x="17359" y="1810"/>
                  </a:cubicBezTo>
                  <a:cubicBezTo>
                    <a:pt x="16261" y="1386"/>
                    <a:pt x="15528" y="1386"/>
                    <a:pt x="14430" y="1386"/>
                  </a:cubicBezTo>
                  <a:cubicBezTo>
                    <a:pt x="13332" y="1386"/>
                    <a:pt x="12600" y="2233"/>
                    <a:pt x="11501" y="2233"/>
                  </a:cubicBezTo>
                  <a:cubicBezTo>
                    <a:pt x="10769" y="2233"/>
                    <a:pt x="10037" y="963"/>
                    <a:pt x="9305" y="1386"/>
                  </a:cubicBezTo>
                  <a:cubicBezTo>
                    <a:pt x="7840" y="2233"/>
                    <a:pt x="7474" y="1810"/>
                    <a:pt x="6742" y="963"/>
                  </a:cubicBezTo>
                  <a:cubicBezTo>
                    <a:pt x="6376" y="539"/>
                    <a:pt x="5278" y="-308"/>
                    <a:pt x="4545" y="116"/>
                  </a:cubicBezTo>
                  <a:cubicBezTo>
                    <a:pt x="4179" y="116"/>
                    <a:pt x="3081" y="539"/>
                    <a:pt x="2715" y="963"/>
                  </a:cubicBezTo>
                  <a:cubicBezTo>
                    <a:pt x="2349" y="1386"/>
                    <a:pt x="2715" y="1810"/>
                    <a:pt x="2349" y="2233"/>
                  </a:cubicBezTo>
                  <a:cubicBezTo>
                    <a:pt x="2349" y="2657"/>
                    <a:pt x="1983" y="3504"/>
                    <a:pt x="1983" y="3927"/>
                  </a:cubicBezTo>
                  <a:cubicBezTo>
                    <a:pt x="1617" y="4774"/>
                    <a:pt x="1617" y="5621"/>
                    <a:pt x="1617" y="6468"/>
                  </a:cubicBezTo>
                  <a:cubicBezTo>
                    <a:pt x="1617" y="7739"/>
                    <a:pt x="518" y="8586"/>
                    <a:pt x="152" y="9857"/>
                  </a:cubicBezTo>
                  <a:cubicBezTo>
                    <a:pt x="-214" y="11127"/>
                    <a:pt x="152" y="14092"/>
                    <a:pt x="518" y="15786"/>
                  </a:cubicBezTo>
                  <a:cubicBezTo>
                    <a:pt x="518" y="16210"/>
                    <a:pt x="1250" y="15786"/>
                    <a:pt x="1617" y="15786"/>
                  </a:cubicBezTo>
                  <a:cubicBezTo>
                    <a:pt x="1983" y="15786"/>
                    <a:pt x="2715" y="16210"/>
                    <a:pt x="3081" y="16210"/>
                  </a:cubicBezTo>
                  <a:cubicBezTo>
                    <a:pt x="3447" y="16633"/>
                    <a:pt x="4911" y="17480"/>
                    <a:pt x="4911" y="17904"/>
                  </a:cubicBezTo>
                  <a:cubicBezTo>
                    <a:pt x="4911" y="18327"/>
                    <a:pt x="4911" y="18327"/>
                    <a:pt x="4911" y="18751"/>
                  </a:cubicBezTo>
                  <a:cubicBezTo>
                    <a:pt x="4911" y="19174"/>
                    <a:pt x="5278" y="19598"/>
                    <a:pt x="5644" y="20021"/>
                  </a:cubicBezTo>
                  <a:cubicBezTo>
                    <a:pt x="6376" y="21292"/>
                    <a:pt x="7474" y="19174"/>
                    <a:pt x="8206" y="19598"/>
                  </a:cubicBezTo>
                  <a:cubicBezTo>
                    <a:pt x="8206" y="19598"/>
                    <a:pt x="7840" y="20021"/>
                    <a:pt x="7840" y="20021"/>
                  </a:cubicBezTo>
                  <a:cubicBezTo>
                    <a:pt x="7840" y="19598"/>
                    <a:pt x="9671" y="19598"/>
                    <a:pt x="9671" y="19598"/>
                  </a:cubicBezTo>
                  <a:cubicBezTo>
                    <a:pt x="10403" y="19598"/>
                    <a:pt x="10403" y="18751"/>
                    <a:pt x="10769" y="19598"/>
                  </a:cubicBezTo>
                  <a:cubicBezTo>
                    <a:pt x="11135" y="18751"/>
                    <a:pt x="11135" y="18327"/>
                    <a:pt x="11135" y="17480"/>
                  </a:cubicBezTo>
                  <a:cubicBezTo>
                    <a:pt x="11501" y="17057"/>
                    <a:pt x="11135" y="17904"/>
                    <a:pt x="11135" y="174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0" name="Shape 2179">
              <a:extLst>
                <a:ext uri="{FF2B5EF4-FFF2-40B4-BE49-F238E27FC236}">
                  <a16:creationId xmlns:a16="http://schemas.microsoft.com/office/drawing/2014/main" id="{61DD476A-9659-43D4-5BC5-2590351487A4}"/>
                </a:ext>
              </a:extLst>
            </p:cNvPr>
            <p:cNvSpPr/>
            <p:nvPr/>
          </p:nvSpPr>
          <p:spPr>
            <a:xfrm>
              <a:off x="5336391" y="3248346"/>
              <a:ext cx="267637" cy="197825"/>
            </a:xfrm>
            <a:custGeom>
              <a:avLst/>
              <a:gdLst/>
              <a:ahLst/>
              <a:cxnLst>
                <a:cxn ang="0">
                  <a:pos x="wd2" y="hd2"/>
                </a:cxn>
                <a:cxn ang="5400000">
                  <a:pos x="wd2" y="hd2"/>
                </a:cxn>
                <a:cxn ang="10800000">
                  <a:pos x="wd2" y="hd2"/>
                </a:cxn>
                <a:cxn ang="16200000">
                  <a:pos x="wd2" y="hd2"/>
                </a:cxn>
              </a:cxnLst>
              <a:rect l="0" t="0" r="r" b="b"/>
              <a:pathLst>
                <a:path w="20744" h="21600" extrusionOk="0">
                  <a:moveTo>
                    <a:pt x="17555" y="14400"/>
                  </a:moveTo>
                  <a:cubicBezTo>
                    <a:pt x="18584" y="12240"/>
                    <a:pt x="20126" y="14400"/>
                    <a:pt x="20641" y="12240"/>
                  </a:cubicBezTo>
                  <a:cubicBezTo>
                    <a:pt x="21155" y="11520"/>
                    <a:pt x="19612" y="9360"/>
                    <a:pt x="19098" y="9360"/>
                  </a:cubicBezTo>
                  <a:cubicBezTo>
                    <a:pt x="18584" y="10800"/>
                    <a:pt x="17041" y="7920"/>
                    <a:pt x="16526" y="7200"/>
                  </a:cubicBezTo>
                  <a:cubicBezTo>
                    <a:pt x="16526" y="6480"/>
                    <a:pt x="16526" y="5760"/>
                    <a:pt x="16012" y="5040"/>
                  </a:cubicBezTo>
                  <a:cubicBezTo>
                    <a:pt x="14984" y="3600"/>
                    <a:pt x="14984" y="2880"/>
                    <a:pt x="14984" y="720"/>
                  </a:cubicBezTo>
                  <a:cubicBezTo>
                    <a:pt x="14469" y="720"/>
                    <a:pt x="13441" y="0"/>
                    <a:pt x="12926" y="0"/>
                  </a:cubicBezTo>
                  <a:cubicBezTo>
                    <a:pt x="11898" y="720"/>
                    <a:pt x="11384" y="1440"/>
                    <a:pt x="10869" y="1440"/>
                  </a:cubicBezTo>
                  <a:cubicBezTo>
                    <a:pt x="10355" y="2160"/>
                    <a:pt x="9841" y="2880"/>
                    <a:pt x="9326" y="2880"/>
                  </a:cubicBezTo>
                  <a:cubicBezTo>
                    <a:pt x="8812" y="4320"/>
                    <a:pt x="8812" y="2880"/>
                    <a:pt x="8298" y="3600"/>
                  </a:cubicBezTo>
                  <a:cubicBezTo>
                    <a:pt x="7269" y="4320"/>
                    <a:pt x="6241" y="7920"/>
                    <a:pt x="5212" y="7200"/>
                  </a:cubicBezTo>
                  <a:cubicBezTo>
                    <a:pt x="4698" y="7200"/>
                    <a:pt x="4184" y="5760"/>
                    <a:pt x="4184" y="7200"/>
                  </a:cubicBezTo>
                  <a:cubicBezTo>
                    <a:pt x="3669" y="7920"/>
                    <a:pt x="3669" y="9360"/>
                    <a:pt x="3155" y="10080"/>
                  </a:cubicBezTo>
                  <a:cubicBezTo>
                    <a:pt x="3155" y="10800"/>
                    <a:pt x="3155" y="11520"/>
                    <a:pt x="2126" y="11520"/>
                  </a:cubicBezTo>
                  <a:cubicBezTo>
                    <a:pt x="2126" y="11520"/>
                    <a:pt x="69" y="12240"/>
                    <a:pt x="584" y="12960"/>
                  </a:cubicBezTo>
                  <a:cubicBezTo>
                    <a:pt x="2126" y="14400"/>
                    <a:pt x="-445" y="16560"/>
                    <a:pt x="69" y="17280"/>
                  </a:cubicBezTo>
                  <a:cubicBezTo>
                    <a:pt x="1098" y="18000"/>
                    <a:pt x="2126" y="21600"/>
                    <a:pt x="3669" y="20160"/>
                  </a:cubicBezTo>
                  <a:cubicBezTo>
                    <a:pt x="5212" y="18720"/>
                    <a:pt x="6241" y="19440"/>
                    <a:pt x="7784" y="21600"/>
                  </a:cubicBezTo>
                  <a:cubicBezTo>
                    <a:pt x="7269" y="19440"/>
                    <a:pt x="7269" y="17280"/>
                    <a:pt x="7269" y="15840"/>
                  </a:cubicBezTo>
                  <a:cubicBezTo>
                    <a:pt x="9326" y="15840"/>
                    <a:pt x="10869" y="15840"/>
                    <a:pt x="12926" y="15840"/>
                  </a:cubicBezTo>
                  <a:cubicBezTo>
                    <a:pt x="14469" y="15840"/>
                    <a:pt x="17041" y="16560"/>
                    <a:pt x="17555" y="14400"/>
                  </a:cubicBezTo>
                  <a:cubicBezTo>
                    <a:pt x="18069" y="12960"/>
                    <a:pt x="17555" y="14400"/>
                    <a:pt x="17555" y="14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1" name="Shape 2180">
              <a:extLst>
                <a:ext uri="{FF2B5EF4-FFF2-40B4-BE49-F238E27FC236}">
                  <a16:creationId xmlns:a16="http://schemas.microsoft.com/office/drawing/2014/main" id="{C27E4687-1E24-AF75-017A-5148B080A7A6}"/>
                </a:ext>
              </a:extLst>
            </p:cNvPr>
            <p:cNvSpPr/>
            <p:nvPr/>
          </p:nvSpPr>
          <p:spPr>
            <a:xfrm>
              <a:off x="5524426" y="3394467"/>
              <a:ext cx="52728" cy="155722"/>
            </a:xfrm>
            <a:custGeom>
              <a:avLst/>
              <a:gdLst/>
              <a:ahLst/>
              <a:cxnLst>
                <a:cxn ang="0">
                  <a:pos x="wd2" y="hd2"/>
                </a:cxn>
                <a:cxn ang="5400000">
                  <a:pos x="wd2" y="hd2"/>
                </a:cxn>
                <a:cxn ang="10800000">
                  <a:pos x="wd2" y="hd2"/>
                </a:cxn>
                <a:cxn ang="16200000">
                  <a:pos x="wd2" y="hd2"/>
                </a:cxn>
              </a:cxnLst>
              <a:rect l="0" t="0" r="r" b="b"/>
              <a:pathLst>
                <a:path w="17475" h="21375" extrusionOk="0">
                  <a:moveTo>
                    <a:pt x="17040" y="9000"/>
                  </a:moveTo>
                  <a:cubicBezTo>
                    <a:pt x="17040" y="8100"/>
                    <a:pt x="17040" y="6300"/>
                    <a:pt x="14880" y="5400"/>
                  </a:cubicBezTo>
                  <a:cubicBezTo>
                    <a:pt x="12720" y="4500"/>
                    <a:pt x="6240" y="900"/>
                    <a:pt x="8400" y="0"/>
                  </a:cubicBezTo>
                  <a:cubicBezTo>
                    <a:pt x="6240" y="0"/>
                    <a:pt x="4080" y="0"/>
                    <a:pt x="1920" y="0"/>
                  </a:cubicBezTo>
                  <a:cubicBezTo>
                    <a:pt x="-2400" y="0"/>
                    <a:pt x="1920" y="1800"/>
                    <a:pt x="1920" y="2700"/>
                  </a:cubicBezTo>
                  <a:cubicBezTo>
                    <a:pt x="4080" y="4500"/>
                    <a:pt x="1920" y="6300"/>
                    <a:pt x="1920" y="8100"/>
                  </a:cubicBezTo>
                  <a:cubicBezTo>
                    <a:pt x="-240" y="10800"/>
                    <a:pt x="4080" y="10800"/>
                    <a:pt x="6240" y="13500"/>
                  </a:cubicBezTo>
                  <a:cubicBezTo>
                    <a:pt x="6240" y="15300"/>
                    <a:pt x="4080" y="17100"/>
                    <a:pt x="6240" y="18900"/>
                  </a:cubicBezTo>
                  <a:cubicBezTo>
                    <a:pt x="6240" y="19800"/>
                    <a:pt x="8400" y="20700"/>
                    <a:pt x="10560" y="20700"/>
                  </a:cubicBezTo>
                  <a:cubicBezTo>
                    <a:pt x="12720" y="21600"/>
                    <a:pt x="19200" y="21600"/>
                    <a:pt x="17040" y="20700"/>
                  </a:cubicBezTo>
                  <a:cubicBezTo>
                    <a:pt x="17040" y="17100"/>
                    <a:pt x="17040" y="13500"/>
                    <a:pt x="17040" y="9000"/>
                  </a:cubicBezTo>
                  <a:cubicBezTo>
                    <a:pt x="17040" y="6300"/>
                    <a:pt x="17040" y="11700"/>
                    <a:pt x="17040" y="9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2" name="Shape 2181">
              <a:extLst>
                <a:ext uri="{FF2B5EF4-FFF2-40B4-BE49-F238E27FC236}">
                  <a16:creationId xmlns:a16="http://schemas.microsoft.com/office/drawing/2014/main" id="{F215AFB3-807E-05D6-11E6-7240C0776666}"/>
                </a:ext>
              </a:extLst>
            </p:cNvPr>
            <p:cNvSpPr/>
            <p:nvPr/>
          </p:nvSpPr>
          <p:spPr>
            <a:xfrm>
              <a:off x="5242806" y="3405964"/>
              <a:ext cx="192086" cy="199818"/>
            </a:xfrm>
            <a:custGeom>
              <a:avLst/>
              <a:gdLst/>
              <a:ahLst/>
              <a:cxnLst>
                <a:cxn ang="0">
                  <a:pos x="wd2" y="hd2"/>
                </a:cxn>
                <a:cxn ang="5400000">
                  <a:pos x="wd2" y="hd2"/>
                </a:cxn>
                <a:cxn ang="10800000">
                  <a:pos x="wd2" y="hd2"/>
                </a:cxn>
                <a:cxn ang="16200000">
                  <a:pos x="wd2" y="hd2"/>
                </a:cxn>
              </a:cxnLst>
              <a:rect l="0" t="0" r="r" b="b"/>
              <a:pathLst>
                <a:path w="19851" h="21098" extrusionOk="0">
                  <a:moveTo>
                    <a:pt x="16641" y="2285"/>
                  </a:moveTo>
                  <a:cubicBezTo>
                    <a:pt x="15291" y="2285"/>
                    <a:pt x="14616" y="3679"/>
                    <a:pt x="13266" y="2982"/>
                  </a:cubicBezTo>
                  <a:cubicBezTo>
                    <a:pt x="11916" y="2982"/>
                    <a:pt x="10566" y="-502"/>
                    <a:pt x="9216" y="195"/>
                  </a:cubicBezTo>
                  <a:cubicBezTo>
                    <a:pt x="8541" y="892"/>
                    <a:pt x="7866" y="892"/>
                    <a:pt x="7866" y="195"/>
                  </a:cubicBezTo>
                  <a:cubicBezTo>
                    <a:pt x="7191" y="-502"/>
                    <a:pt x="6516" y="892"/>
                    <a:pt x="5841" y="892"/>
                  </a:cubicBezTo>
                  <a:cubicBezTo>
                    <a:pt x="4491" y="1588"/>
                    <a:pt x="3816" y="892"/>
                    <a:pt x="3141" y="892"/>
                  </a:cubicBezTo>
                  <a:cubicBezTo>
                    <a:pt x="2466" y="195"/>
                    <a:pt x="2466" y="1588"/>
                    <a:pt x="1791" y="1588"/>
                  </a:cubicBezTo>
                  <a:cubicBezTo>
                    <a:pt x="1116" y="1588"/>
                    <a:pt x="441" y="2982"/>
                    <a:pt x="1116" y="3679"/>
                  </a:cubicBezTo>
                  <a:cubicBezTo>
                    <a:pt x="1116" y="4375"/>
                    <a:pt x="2466" y="4375"/>
                    <a:pt x="2466" y="4375"/>
                  </a:cubicBezTo>
                  <a:cubicBezTo>
                    <a:pt x="2466" y="5072"/>
                    <a:pt x="1116" y="5769"/>
                    <a:pt x="1116" y="5769"/>
                  </a:cubicBezTo>
                  <a:cubicBezTo>
                    <a:pt x="1116" y="6466"/>
                    <a:pt x="2466" y="7163"/>
                    <a:pt x="2466" y="7859"/>
                  </a:cubicBezTo>
                  <a:cubicBezTo>
                    <a:pt x="2466" y="7859"/>
                    <a:pt x="1116" y="7163"/>
                    <a:pt x="1116" y="8556"/>
                  </a:cubicBezTo>
                  <a:cubicBezTo>
                    <a:pt x="1116" y="9253"/>
                    <a:pt x="1791" y="10646"/>
                    <a:pt x="441" y="10646"/>
                  </a:cubicBezTo>
                  <a:cubicBezTo>
                    <a:pt x="1116" y="11343"/>
                    <a:pt x="1116" y="12040"/>
                    <a:pt x="441" y="12737"/>
                  </a:cubicBezTo>
                  <a:cubicBezTo>
                    <a:pt x="441" y="14130"/>
                    <a:pt x="-909" y="14130"/>
                    <a:pt x="1116" y="15524"/>
                  </a:cubicBezTo>
                  <a:cubicBezTo>
                    <a:pt x="1791" y="15524"/>
                    <a:pt x="3141" y="16221"/>
                    <a:pt x="3816" y="17614"/>
                  </a:cubicBezTo>
                  <a:cubicBezTo>
                    <a:pt x="4491" y="18311"/>
                    <a:pt x="3816" y="19704"/>
                    <a:pt x="3816" y="21098"/>
                  </a:cubicBezTo>
                  <a:cubicBezTo>
                    <a:pt x="6516" y="20401"/>
                    <a:pt x="8541" y="19008"/>
                    <a:pt x="11916" y="19008"/>
                  </a:cubicBezTo>
                  <a:cubicBezTo>
                    <a:pt x="13266" y="18311"/>
                    <a:pt x="15291" y="19008"/>
                    <a:pt x="16641" y="19008"/>
                  </a:cubicBezTo>
                  <a:cubicBezTo>
                    <a:pt x="17991" y="19008"/>
                    <a:pt x="20016" y="19704"/>
                    <a:pt x="19341" y="17614"/>
                  </a:cubicBezTo>
                  <a:cubicBezTo>
                    <a:pt x="19341" y="16221"/>
                    <a:pt x="18666" y="15524"/>
                    <a:pt x="17991" y="14130"/>
                  </a:cubicBezTo>
                  <a:cubicBezTo>
                    <a:pt x="17991" y="12737"/>
                    <a:pt x="18666" y="11343"/>
                    <a:pt x="19341" y="9950"/>
                  </a:cubicBezTo>
                  <a:cubicBezTo>
                    <a:pt x="20016" y="7163"/>
                    <a:pt x="20691" y="2285"/>
                    <a:pt x="16641" y="228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3" name="Shape 2182">
              <a:extLst>
                <a:ext uri="{FF2B5EF4-FFF2-40B4-BE49-F238E27FC236}">
                  <a16:creationId xmlns:a16="http://schemas.microsoft.com/office/drawing/2014/main" id="{82300A98-0D3C-2EBB-123D-73195CC2EBFD}"/>
                </a:ext>
              </a:extLst>
            </p:cNvPr>
            <p:cNvSpPr/>
            <p:nvPr/>
          </p:nvSpPr>
          <p:spPr>
            <a:xfrm>
              <a:off x="5417053" y="3394467"/>
              <a:ext cx="145083" cy="197825"/>
            </a:xfrm>
            <a:custGeom>
              <a:avLst/>
              <a:gdLst/>
              <a:ahLst/>
              <a:cxnLst>
                <a:cxn ang="0">
                  <a:pos x="wd2" y="hd2"/>
                </a:cxn>
                <a:cxn ang="5400000">
                  <a:pos x="wd2" y="hd2"/>
                </a:cxn>
                <a:cxn ang="10800000">
                  <a:pos x="wd2" y="hd2"/>
                </a:cxn>
                <a:cxn ang="16200000">
                  <a:pos x="wd2" y="hd2"/>
                </a:cxn>
              </a:cxnLst>
              <a:rect l="0" t="0" r="r" b="b"/>
              <a:pathLst>
                <a:path w="20812" h="21600" extrusionOk="0">
                  <a:moveTo>
                    <a:pt x="17055" y="9360"/>
                  </a:moveTo>
                  <a:cubicBezTo>
                    <a:pt x="15177" y="7920"/>
                    <a:pt x="16116" y="5760"/>
                    <a:pt x="16116" y="4320"/>
                  </a:cubicBezTo>
                  <a:cubicBezTo>
                    <a:pt x="17055" y="2880"/>
                    <a:pt x="14238" y="1440"/>
                    <a:pt x="15177" y="0"/>
                  </a:cubicBezTo>
                  <a:cubicBezTo>
                    <a:pt x="10482" y="0"/>
                    <a:pt x="6725" y="0"/>
                    <a:pt x="2029" y="0"/>
                  </a:cubicBezTo>
                  <a:cubicBezTo>
                    <a:pt x="2029" y="2160"/>
                    <a:pt x="2969" y="5040"/>
                    <a:pt x="2969" y="7920"/>
                  </a:cubicBezTo>
                  <a:cubicBezTo>
                    <a:pt x="2969" y="10800"/>
                    <a:pt x="-788" y="12960"/>
                    <a:pt x="151" y="15840"/>
                  </a:cubicBezTo>
                  <a:cubicBezTo>
                    <a:pt x="1090" y="18000"/>
                    <a:pt x="2969" y="18720"/>
                    <a:pt x="2029" y="21600"/>
                  </a:cubicBezTo>
                  <a:cubicBezTo>
                    <a:pt x="4847" y="21600"/>
                    <a:pt x="5786" y="21600"/>
                    <a:pt x="8603" y="20880"/>
                  </a:cubicBezTo>
                  <a:cubicBezTo>
                    <a:pt x="13299" y="20160"/>
                    <a:pt x="17055" y="18720"/>
                    <a:pt x="20812" y="17280"/>
                  </a:cubicBezTo>
                  <a:cubicBezTo>
                    <a:pt x="18934" y="16560"/>
                    <a:pt x="17995" y="15120"/>
                    <a:pt x="17995" y="13680"/>
                  </a:cubicBezTo>
                  <a:cubicBezTo>
                    <a:pt x="17995" y="12240"/>
                    <a:pt x="17995" y="10800"/>
                    <a:pt x="17055" y="9360"/>
                  </a:cubicBezTo>
                  <a:cubicBezTo>
                    <a:pt x="15177" y="7920"/>
                    <a:pt x="17995" y="10800"/>
                    <a:pt x="17055" y="93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4" name="Shape 2183">
              <a:extLst>
                <a:ext uri="{FF2B5EF4-FFF2-40B4-BE49-F238E27FC236}">
                  <a16:creationId xmlns:a16="http://schemas.microsoft.com/office/drawing/2014/main" id="{2F701D3A-D649-D356-4A1A-5480E3565F44}"/>
                </a:ext>
              </a:extLst>
            </p:cNvPr>
            <p:cNvSpPr/>
            <p:nvPr/>
          </p:nvSpPr>
          <p:spPr>
            <a:xfrm>
              <a:off x="5086470" y="3424996"/>
              <a:ext cx="90954" cy="103254"/>
            </a:xfrm>
            <a:custGeom>
              <a:avLst/>
              <a:gdLst/>
              <a:ahLst/>
              <a:cxnLst>
                <a:cxn ang="0">
                  <a:pos x="wd2" y="hd2"/>
                </a:cxn>
                <a:cxn ang="5400000">
                  <a:pos x="wd2" y="hd2"/>
                </a:cxn>
                <a:cxn ang="10800000">
                  <a:pos x="wd2" y="hd2"/>
                </a:cxn>
                <a:cxn ang="16200000">
                  <a:pos x="wd2" y="hd2"/>
                </a:cxn>
              </a:cxnLst>
              <a:rect l="0" t="0" r="r" b="b"/>
              <a:pathLst>
                <a:path w="19867" h="18719" extrusionOk="0">
                  <a:moveTo>
                    <a:pt x="16126" y="14933"/>
                  </a:moveTo>
                  <a:cubicBezTo>
                    <a:pt x="20446" y="13733"/>
                    <a:pt x="20446" y="7733"/>
                    <a:pt x="19006" y="5333"/>
                  </a:cubicBezTo>
                  <a:cubicBezTo>
                    <a:pt x="16126" y="533"/>
                    <a:pt x="10366" y="-1867"/>
                    <a:pt x="6046" y="1733"/>
                  </a:cubicBezTo>
                  <a:cubicBezTo>
                    <a:pt x="3166" y="2933"/>
                    <a:pt x="-1154" y="5333"/>
                    <a:pt x="286" y="7733"/>
                  </a:cubicBezTo>
                  <a:cubicBezTo>
                    <a:pt x="1726" y="10133"/>
                    <a:pt x="1726" y="11333"/>
                    <a:pt x="4606" y="12533"/>
                  </a:cubicBezTo>
                  <a:cubicBezTo>
                    <a:pt x="6046" y="14933"/>
                    <a:pt x="6046" y="16133"/>
                    <a:pt x="8926" y="17333"/>
                  </a:cubicBezTo>
                  <a:cubicBezTo>
                    <a:pt x="10366" y="18533"/>
                    <a:pt x="11806" y="19733"/>
                    <a:pt x="13246" y="17333"/>
                  </a:cubicBezTo>
                  <a:cubicBezTo>
                    <a:pt x="13246" y="16133"/>
                    <a:pt x="14686" y="16133"/>
                    <a:pt x="16126" y="14933"/>
                  </a:cubicBezTo>
                  <a:cubicBezTo>
                    <a:pt x="19006" y="13733"/>
                    <a:pt x="14686" y="16133"/>
                    <a:pt x="16126" y="1493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5" name="Shape 2184">
              <a:extLst>
                <a:ext uri="{FF2B5EF4-FFF2-40B4-BE49-F238E27FC236}">
                  <a16:creationId xmlns:a16="http://schemas.microsoft.com/office/drawing/2014/main" id="{CEF2FBD1-4375-0670-8D12-C9C9711DA7CE}"/>
                </a:ext>
              </a:extLst>
            </p:cNvPr>
            <p:cNvSpPr/>
            <p:nvPr/>
          </p:nvSpPr>
          <p:spPr>
            <a:xfrm>
              <a:off x="5139618" y="3472467"/>
              <a:ext cx="142394" cy="133315"/>
            </a:xfrm>
            <a:custGeom>
              <a:avLst/>
              <a:gdLst/>
              <a:ahLst/>
              <a:cxnLst>
                <a:cxn ang="0">
                  <a:pos x="wd2" y="hd2"/>
                </a:cxn>
                <a:cxn ang="5400000">
                  <a:pos x="wd2" y="hd2"/>
                </a:cxn>
                <a:cxn ang="10800000">
                  <a:pos x="wd2" y="hd2"/>
                </a:cxn>
                <a:cxn ang="16200000">
                  <a:pos x="wd2" y="hd2"/>
                </a:cxn>
              </a:cxnLst>
              <a:rect l="0" t="0" r="r" b="b"/>
              <a:pathLst>
                <a:path w="21055" h="20660" extrusionOk="0">
                  <a:moveTo>
                    <a:pt x="20618" y="16546"/>
                  </a:moveTo>
                  <a:cubicBezTo>
                    <a:pt x="21600" y="14489"/>
                    <a:pt x="19636" y="13460"/>
                    <a:pt x="18655" y="12431"/>
                  </a:cubicBezTo>
                  <a:cubicBezTo>
                    <a:pt x="17673" y="12431"/>
                    <a:pt x="13745" y="11403"/>
                    <a:pt x="15709" y="10374"/>
                  </a:cubicBezTo>
                  <a:cubicBezTo>
                    <a:pt x="16691" y="9346"/>
                    <a:pt x="16691" y="6260"/>
                    <a:pt x="15709" y="5231"/>
                  </a:cubicBezTo>
                  <a:cubicBezTo>
                    <a:pt x="14727" y="3174"/>
                    <a:pt x="13745" y="7289"/>
                    <a:pt x="12764" y="7289"/>
                  </a:cubicBezTo>
                  <a:cubicBezTo>
                    <a:pt x="9818" y="7289"/>
                    <a:pt x="10800" y="-940"/>
                    <a:pt x="8836" y="89"/>
                  </a:cubicBezTo>
                  <a:cubicBezTo>
                    <a:pt x="7855" y="1117"/>
                    <a:pt x="5891" y="2146"/>
                    <a:pt x="4909" y="3174"/>
                  </a:cubicBezTo>
                  <a:cubicBezTo>
                    <a:pt x="3927" y="5231"/>
                    <a:pt x="1964" y="6260"/>
                    <a:pt x="0" y="8317"/>
                  </a:cubicBezTo>
                  <a:cubicBezTo>
                    <a:pt x="4909" y="11403"/>
                    <a:pt x="7855" y="14489"/>
                    <a:pt x="11782" y="17574"/>
                  </a:cubicBezTo>
                  <a:cubicBezTo>
                    <a:pt x="13745" y="19631"/>
                    <a:pt x="15709" y="20660"/>
                    <a:pt x="18655" y="20660"/>
                  </a:cubicBezTo>
                  <a:cubicBezTo>
                    <a:pt x="21600" y="20660"/>
                    <a:pt x="19636" y="18603"/>
                    <a:pt x="20618" y="16546"/>
                  </a:cubicBezTo>
                  <a:cubicBezTo>
                    <a:pt x="21600" y="14489"/>
                    <a:pt x="20618" y="18603"/>
                    <a:pt x="20618" y="1654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6" name="Shape 2185">
              <a:extLst>
                <a:ext uri="{FF2B5EF4-FFF2-40B4-BE49-F238E27FC236}">
                  <a16:creationId xmlns:a16="http://schemas.microsoft.com/office/drawing/2014/main" id="{DAA40C80-51FA-1D51-99A3-863C478DCDD1}"/>
                </a:ext>
              </a:extLst>
            </p:cNvPr>
            <p:cNvSpPr/>
            <p:nvPr/>
          </p:nvSpPr>
          <p:spPr>
            <a:xfrm>
              <a:off x="5036236" y="3335439"/>
              <a:ext cx="229237" cy="180270"/>
            </a:xfrm>
            <a:custGeom>
              <a:avLst/>
              <a:gdLst/>
              <a:ahLst/>
              <a:cxnLst>
                <a:cxn ang="0">
                  <a:pos x="wd2" y="hd2"/>
                </a:cxn>
                <a:cxn ang="5400000">
                  <a:pos x="wd2" y="hd2"/>
                </a:cxn>
                <a:cxn ang="10800000">
                  <a:pos x="wd2" y="hd2"/>
                </a:cxn>
                <a:cxn ang="16200000">
                  <a:pos x="wd2" y="hd2"/>
                </a:cxn>
              </a:cxnLst>
              <a:rect l="0" t="0" r="r" b="b"/>
              <a:pathLst>
                <a:path w="21600" h="20141" extrusionOk="0">
                  <a:moveTo>
                    <a:pt x="6171" y="11731"/>
                  </a:moveTo>
                  <a:cubicBezTo>
                    <a:pt x="8640" y="10242"/>
                    <a:pt x="11109" y="8752"/>
                    <a:pt x="12343" y="12476"/>
                  </a:cubicBezTo>
                  <a:cubicBezTo>
                    <a:pt x="13577" y="13966"/>
                    <a:pt x="12960" y="14711"/>
                    <a:pt x="12960" y="16945"/>
                  </a:cubicBezTo>
                  <a:cubicBezTo>
                    <a:pt x="13577" y="17690"/>
                    <a:pt x="14811" y="15455"/>
                    <a:pt x="15429" y="15455"/>
                  </a:cubicBezTo>
                  <a:cubicBezTo>
                    <a:pt x="16663" y="14711"/>
                    <a:pt x="16663" y="21414"/>
                    <a:pt x="17897" y="19924"/>
                  </a:cubicBezTo>
                  <a:cubicBezTo>
                    <a:pt x="18514" y="19924"/>
                    <a:pt x="18514" y="19180"/>
                    <a:pt x="19131" y="19180"/>
                  </a:cubicBezTo>
                  <a:cubicBezTo>
                    <a:pt x="19131" y="18435"/>
                    <a:pt x="20366" y="19180"/>
                    <a:pt x="20366" y="18435"/>
                  </a:cubicBezTo>
                  <a:cubicBezTo>
                    <a:pt x="20983" y="17690"/>
                    <a:pt x="20366" y="16945"/>
                    <a:pt x="20366" y="16945"/>
                  </a:cubicBezTo>
                  <a:cubicBezTo>
                    <a:pt x="20366" y="15455"/>
                    <a:pt x="21600" y="16200"/>
                    <a:pt x="21600" y="16200"/>
                  </a:cubicBezTo>
                  <a:cubicBezTo>
                    <a:pt x="21600" y="15455"/>
                    <a:pt x="19749" y="14711"/>
                    <a:pt x="20983" y="13966"/>
                  </a:cubicBezTo>
                  <a:cubicBezTo>
                    <a:pt x="21600" y="13221"/>
                    <a:pt x="21600" y="12476"/>
                    <a:pt x="20366" y="11731"/>
                  </a:cubicBezTo>
                  <a:cubicBezTo>
                    <a:pt x="19749" y="10986"/>
                    <a:pt x="20983" y="9497"/>
                    <a:pt x="20366" y="8752"/>
                  </a:cubicBezTo>
                  <a:cubicBezTo>
                    <a:pt x="19749" y="8007"/>
                    <a:pt x="20366" y="7262"/>
                    <a:pt x="19749" y="5773"/>
                  </a:cubicBezTo>
                  <a:cubicBezTo>
                    <a:pt x="19131" y="5028"/>
                    <a:pt x="17897" y="-186"/>
                    <a:pt x="16046" y="1304"/>
                  </a:cubicBezTo>
                  <a:cubicBezTo>
                    <a:pt x="16046" y="1304"/>
                    <a:pt x="15429" y="2048"/>
                    <a:pt x="14811" y="2048"/>
                  </a:cubicBezTo>
                  <a:cubicBezTo>
                    <a:pt x="14194" y="2048"/>
                    <a:pt x="14194" y="2048"/>
                    <a:pt x="13577" y="2048"/>
                  </a:cubicBezTo>
                  <a:cubicBezTo>
                    <a:pt x="12960" y="2793"/>
                    <a:pt x="12343" y="2048"/>
                    <a:pt x="11726" y="2048"/>
                  </a:cubicBezTo>
                  <a:cubicBezTo>
                    <a:pt x="11109" y="2048"/>
                    <a:pt x="11109" y="2793"/>
                    <a:pt x="11109" y="2048"/>
                  </a:cubicBezTo>
                  <a:cubicBezTo>
                    <a:pt x="9874" y="1304"/>
                    <a:pt x="10491" y="1304"/>
                    <a:pt x="9257" y="1304"/>
                  </a:cubicBezTo>
                  <a:cubicBezTo>
                    <a:pt x="7406" y="2048"/>
                    <a:pt x="7406" y="559"/>
                    <a:pt x="6171" y="559"/>
                  </a:cubicBezTo>
                  <a:cubicBezTo>
                    <a:pt x="4937" y="-186"/>
                    <a:pt x="3703" y="-186"/>
                    <a:pt x="3086" y="559"/>
                  </a:cubicBezTo>
                  <a:cubicBezTo>
                    <a:pt x="3086" y="1304"/>
                    <a:pt x="1851" y="2048"/>
                    <a:pt x="3086" y="2793"/>
                  </a:cubicBezTo>
                  <a:cubicBezTo>
                    <a:pt x="3703" y="3538"/>
                    <a:pt x="3086" y="4283"/>
                    <a:pt x="1851" y="4283"/>
                  </a:cubicBezTo>
                  <a:cubicBezTo>
                    <a:pt x="617" y="4283"/>
                    <a:pt x="0" y="4283"/>
                    <a:pt x="0" y="5773"/>
                  </a:cubicBezTo>
                  <a:cubicBezTo>
                    <a:pt x="617" y="7262"/>
                    <a:pt x="1234" y="8007"/>
                    <a:pt x="1851" y="9497"/>
                  </a:cubicBezTo>
                  <a:cubicBezTo>
                    <a:pt x="3086" y="10986"/>
                    <a:pt x="3703" y="11731"/>
                    <a:pt x="4937" y="13966"/>
                  </a:cubicBezTo>
                  <a:cubicBezTo>
                    <a:pt x="5554" y="13221"/>
                    <a:pt x="5554" y="12476"/>
                    <a:pt x="6171" y="11731"/>
                  </a:cubicBezTo>
                  <a:cubicBezTo>
                    <a:pt x="6789" y="11731"/>
                    <a:pt x="6171" y="12476"/>
                    <a:pt x="6171" y="117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7" name="Shape 2186">
              <a:extLst>
                <a:ext uri="{FF2B5EF4-FFF2-40B4-BE49-F238E27FC236}">
                  <a16:creationId xmlns:a16="http://schemas.microsoft.com/office/drawing/2014/main" id="{21DD57CC-4A08-EADA-4E70-81AA0566BEF4}"/>
                </a:ext>
              </a:extLst>
            </p:cNvPr>
            <p:cNvSpPr/>
            <p:nvPr/>
          </p:nvSpPr>
          <p:spPr>
            <a:xfrm>
              <a:off x="4975557" y="3340518"/>
              <a:ext cx="95514" cy="47209"/>
            </a:xfrm>
            <a:custGeom>
              <a:avLst/>
              <a:gdLst/>
              <a:ahLst/>
              <a:cxnLst>
                <a:cxn ang="0">
                  <a:pos x="wd2" y="hd2"/>
                </a:cxn>
                <a:cxn ang="5400000">
                  <a:pos x="wd2" y="hd2"/>
                </a:cxn>
                <a:cxn ang="10800000">
                  <a:pos x="wd2" y="hd2"/>
                </a:cxn>
                <a:cxn ang="16200000">
                  <a:pos x="wd2" y="hd2"/>
                </a:cxn>
              </a:cxnLst>
              <a:rect l="0" t="0" r="r" b="b"/>
              <a:pathLst>
                <a:path w="19531" h="21600" extrusionOk="0">
                  <a:moveTo>
                    <a:pt x="13500" y="15429"/>
                  </a:moveTo>
                  <a:cubicBezTo>
                    <a:pt x="14850" y="15429"/>
                    <a:pt x="21600" y="15429"/>
                    <a:pt x="18900" y="9257"/>
                  </a:cubicBezTo>
                  <a:cubicBezTo>
                    <a:pt x="16200" y="6171"/>
                    <a:pt x="18900" y="3086"/>
                    <a:pt x="18900" y="0"/>
                  </a:cubicBezTo>
                  <a:cubicBezTo>
                    <a:pt x="16200" y="0"/>
                    <a:pt x="12150" y="0"/>
                    <a:pt x="9450" y="0"/>
                  </a:cubicBezTo>
                  <a:cubicBezTo>
                    <a:pt x="6750" y="0"/>
                    <a:pt x="6750" y="3086"/>
                    <a:pt x="5400" y="0"/>
                  </a:cubicBezTo>
                  <a:cubicBezTo>
                    <a:pt x="2700" y="0"/>
                    <a:pt x="2700" y="0"/>
                    <a:pt x="0" y="3086"/>
                  </a:cubicBezTo>
                  <a:cubicBezTo>
                    <a:pt x="1350" y="6171"/>
                    <a:pt x="1350" y="9257"/>
                    <a:pt x="4050" y="9257"/>
                  </a:cubicBezTo>
                  <a:cubicBezTo>
                    <a:pt x="5400" y="9257"/>
                    <a:pt x="9450" y="9257"/>
                    <a:pt x="9450" y="9257"/>
                  </a:cubicBezTo>
                  <a:cubicBezTo>
                    <a:pt x="6750" y="15429"/>
                    <a:pt x="9450" y="18514"/>
                    <a:pt x="12150" y="21600"/>
                  </a:cubicBezTo>
                  <a:cubicBezTo>
                    <a:pt x="12150" y="21600"/>
                    <a:pt x="12150" y="15429"/>
                    <a:pt x="13500" y="154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8" name="Shape 2187">
              <a:extLst>
                <a:ext uri="{FF2B5EF4-FFF2-40B4-BE49-F238E27FC236}">
                  <a16:creationId xmlns:a16="http://schemas.microsoft.com/office/drawing/2014/main" id="{C61981A5-3158-5C03-1D4C-2CA532A5DF96}"/>
                </a:ext>
              </a:extLst>
            </p:cNvPr>
            <p:cNvSpPr/>
            <p:nvPr/>
          </p:nvSpPr>
          <p:spPr>
            <a:xfrm>
              <a:off x="4968813" y="3300903"/>
              <a:ext cx="98887" cy="21630"/>
            </a:xfrm>
            <a:custGeom>
              <a:avLst/>
              <a:gdLst/>
              <a:ahLst/>
              <a:cxnLst>
                <a:cxn ang="0">
                  <a:pos x="wd2" y="hd2"/>
                </a:cxn>
                <a:cxn ang="5400000">
                  <a:pos x="wd2" y="hd2"/>
                </a:cxn>
                <a:cxn ang="10800000">
                  <a:pos x="wd2" y="hd2"/>
                </a:cxn>
                <a:cxn ang="16200000">
                  <a:pos x="wd2" y="hd2"/>
                </a:cxn>
              </a:cxnLst>
              <a:rect l="0" t="0" r="r" b="b"/>
              <a:pathLst>
                <a:path w="21600" h="17318" extrusionOk="0">
                  <a:moveTo>
                    <a:pt x="5760" y="17318"/>
                  </a:moveTo>
                  <a:cubicBezTo>
                    <a:pt x="8640" y="11918"/>
                    <a:pt x="10080" y="6518"/>
                    <a:pt x="12960" y="11918"/>
                  </a:cubicBezTo>
                  <a:cubicBezTo>
                    <a:pt x="14400" y="11918"/>
                    <a:pt x="20160" y="17318"/>
                    <a:pt x="21600" y="6518"/>
                  </a:cubicBezTo>
                  <a:cubicBezTo>
                    <a:pt x="21600" y="11918"/>
                    <a:pt x="12960" y="-4282"/>
                    <a:pt x="11520" y="1118"/>
                  </a:cubicBezTo>
                  <a:cubicBezTo>
                    <a:pt x="7200" y="6518"/>
                    <a:pt x="1440" y="-4282"/>
                    <a:pt x="0" y="17318"/>
                  </a:cubicBezTo>
                  <a:cubicBezTo>
                    <a:pt x="2880" y="17318"/>
                    <a:pt x="4320" y="17318"/>
                    <a:pt x="5760" y="17318"/>
                  </a:cubicBezTo>
                  <a:cubicBezTo>
                    <a:pt x="7200" y="17318"/>
                    <a:pt x="5760" y="17318"/>
                    <a:pt x="5760" y="1731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9" name="Shape 2188">
              <a:extLst>
                <a:ext uri="{FF2B5EF4-FFF2-40B4-BE49-F238E27FC236}">
                  <a16:creationId xmlns:a16="http://schemas.microsoft.com/office/drawing/2014/main" id="{EE060F62-A01E-FCB2-E95A-D6F28E95EDE8}"/>
                </a:ext>
              </a:extLst>
            </p:cNvPr>
            <p:cNvSpPr/>
            <p:nvPr/>
          </p:nvSpPr>
          <p:spPr>
            <a:xfrm>
              <a:off x="4960125" y="2832471"/>
              <a:ext cx="390749" cy="434674"/>
            </a:xfrm>
            <a:custGeom>
              <a:avLst/>
              <a:gdLst/>
              <a:ahLst/>
              <a:cxnLst>
                <a:cxn ang="0">
                  <a:pos x="wd2" y="hd2"/>
                </a:cxn>
                <a:cxn ang="5400000">
                  <a:pos x="wd2" y="hd2"/>
                </a:cxn>
                <a:cxn ang="10800000">
                  <a:pos x="wd2" y="hd2"/>
                </a:cxn>
                <a:cxn ang="16200000">
                  <a:pos x="wd2" y="hd2"/>
                </a:cxn>
              </a:cxnLst>
              <a:rect l="0" t="0" r="r" b="b"/>
              <a:pathLst>
                <a:path w="21338" h="20883" extrusionOk="0">
                  <a:moveTo>
                    <a:pt x="1538" y="18106"/>
                  </a:moveTo>
                  <a:cubicBezTo>
                    <a:pt x="2258" y="18106"/>
                    <a:pt x="4418" y="17471"/>
                    <a:pt x="5138" y="18106"/>
                  </a:cubicBezTo>
                  <a:cubicBezTo>
                    <a:pt x="5498" y="18424"/>
                    <a:pt x="5858" y="18424"/>
                    <a:pt x="6218" y="18741"/>
                  </a:cubicBezTo>
                  <a:cubicBezTo>
                    <a:pt x="6578" y="19376"/>
                    <a:pt x="6938" y="19694"/>
                    <a:pt x="7298" y="20012"/>
                  </a:cubicBezTo>
                  <a:cubicBezTo>
                    <a:pt x="7658" y="20329"/>
                    <a:pt x="9098" y="21600"/>
                    <a:pt x="9458" y="20329"/>
                  </a:cubicBezTo>
                  <a:cubicBezTo>
                    <a:pt x="9818" y="18424"/>
                    <a:pt x="10538" y="20647"/>
                    <a:pt x="11258" y="20329"/>
                  </a:cubicBezTo>
                  <a:cubicBezTo>
                    <a:pt x="11618" y="19694"/>
                    <a:pt x="11618" y="19694"/>
                    <a:pt x="12338" y="19694"/>
                  </a:cubicBezTo>
                  <a:cubicBezTo>
                    <a:pt x="13058" y="19694"/>
                    <a:pt x="13418" y="19694"/>
                    <a:pt x="13778" y="19694"/>
                  </a:cubicBezTo>
                  <a:cubicBezTo>
                    <a:pt x="14498" y="19376"/>
                    <a:pt x="15218" y="19376"/>
                    <a:pt x="15578" y="19376"/>
                  </a:cubicBezTo>
                  <a:cubicBezTo>
                    <a:pt x="16658" y="19376"/>
                    <a:pt x="17738" y="19376"/>
                    <a:pt x="18818" y="19376"/>
                  </a:cubicBezTo>
                  <a:cubicBezTo>
                    <a:pt x="19178" y="19376"/>
                    <a:pt x="20258" y="19694"/>
                    <a:pt x="20618" y="19376"/>
                  </a:cubicBezTo>
                  <a:cubicBezTo>
                    <a:pt x="20978" y="19376"/>
                    <a:pt x="20618" y="17471"/>
                    <a:pt x="20618" y="17153"/>
                  </a:cubicBezTo>
                  <a:cubicBezTo>
                    <a:pt x="20258" y="15247"/>
                    <a:pt x="19898" y="13659"/>
                    <a:pt x="19898" y="12071"/>
                  </a:cubicBezTo>
                  <a:cubicBezTo>
                    <a:pt x="19538" y="9212"/>
                    <a:pt x="18818" y="6671"/>
                    <a:pt x="18458" y="3812"/>
                  </a:cubicBezTo>
                  <a:cubicBezTo>
                    <a:pt x="19538" y="3812"/>
                    <a:pt x="20618" y="3812"/>
                    <a:pt x="21338" y="3812"/>
                  </a:cubicBezTo>
                  <a:cubicBezTo>
                    <a:pt x="19178" y="2541"/>
                    <a:pt x="17018" y="1271"/>
                    <a:pt x="15218" y="0"/>
                  </a:cubicBezTo>
                  <a:cubicBezTo>
                    <a:pt x="15218" y="318"/>
                    <a:pt x="15218" y="2224"/>
                    <a:pt x="14858" y="2224"/>
                  </a:cubicBezTo>
                  <a:cubicBezTo>
                    <a:pt x="14498" y="2224"/>
                    <a:pt x="13778" y="2224"/>
                    <a:pt x="13058" y="2224"/>
                  </a:cubicBezTo>
                  <a:cubicBezTo>
                    <a:pt x="12338" y="2224"/>
                    <a:pt x="11258" y="2224"/>
                    <a:pt x="10178" y="2224"/>
                  </a:cubicBezTo>
                  <a:cubicBezTo>
                    <a:pt x="10178" y="2224"/>
                    <a:pt x="9098" y="2224"/>
                    <a:pt x="9098" y="2224"/>
                  </a:cubicBezTo>
                  <a:cubicBezTo>
                    <a:pt x="8738" y="2541"/>
                    <a:pt x="9098" y="3494"/>
                    <a:pt x="9098" y="3812"/>
                  </a:cubicBezTo>
                  <a:cubicBezTo>
                    <a:pt x="9098" y="4447"/>
                    <a:pt x="9098" y="5400"/>
                    <a:pt x="9098" y="6035"/>
                  </a:cubicBezTo>
                  <a:cubicBezTo>
                    <a:pt x="9098" y="6988"/>
                    <a:pt x="6938" y="6671"/>
                    <a:pt x="6938" y="7941"/>
                  </a:cubicBezTo>
                  <a:cubicBezTo>
                    <a:pt x="6938" y="8259"/>
                    <a:pt x="7298" y="9847"/>
                    <a:pt x="6938" y="10165"/>
                  </a:cubicBezTo>
                  <a:cubicBezTo>
                    <a:pt x="6938" y="10165"/>
                    <a:pt x="5858" y="10165"/>
                    <a:pt x="5498" y="10165"/>
                  </a:cubicBezTo>
                  <a:cubicBezTo>
                    <a:pt x="4058" y="10165"/>
                    <a:pt x="2258" y="10165"/>
                    <a:pt x="818" y="10165"/>
                  </a:cubicBezTo>
                  <a:cubicBezTo>
                    <a:pt x="458" y="10165"/>
                    <a:pt x="-262" y="9847"/>
                    <a:pt x="98" y="10482"/>
                  </a:cubicBezTo>
                  <a:cubicBezTo>
                    <a:pt x="458" y="10800"/>
                    <a:pt x="818" y="11118"/>
                    <a:pt x="1178" y="11435"/>
                  </a:cubicBezTo>
                  <a:cubicBezTo>
                    <a:pt x="1538" y="12071"/>
                    <a:pt x="1178" y="12706"/>
                    <a:pt x="818" y="13024"/>
                  </a:cubicBezTo>
                  <a:cubicBezTo>
                    <a:pt x="818" y="13976"/>
                    <a:pt x="1898" y="14294"/>
                    <a:pt x="1898" y="15247"/>
                  </a:cubicBezTo>
                  <a:cubicBezTo>
                    <a:pt x="2258" y="16200"/>
                    <a:pt x="1178" y="17471"/>
                    <a:pt x="818" y="18424"/>
                  </a:cubicBezTo>
                  <a:cubicBezTo>
                    <a:pt x="1178" y="18424"/>
                    <a:pt x="1178" y="18106"/>
                    <a:pt x="1538" y="1810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0" name="Shape 2189">
              <a:extLst>
                <a:ext uri="{FF2B5EF4-FFF2-40B4-BE49-F238E27FC236}">
                  <a16:creationId xmlns:a16="http://schemas.microsoft.com/office/drawing/2014/main" id="{EC049EF6-558B-E449-A62B-2849B49F94C9}"/>
                </a:ext>
              </a:extLst>
            </p:cNvPr>
            <p:cNvSpPr/>
            <p:nvPr/>
          </p:nvSpPr>
          <p:spPr>
            <a:xfrm>
              <a:off x="4960553" y="3207026"/>
              <a:ext cx="185807" cy="143145"/>
            </a:xfrm>
            <a:custGeom>
              <a:avLst/>
              <a:gdLst/>
              <a:ahLst/>
              <a:cxnLst>
                <a:cxn ang="0">
                  <a:pos x="wd2" y="hd2"/>
                </a:cxn>
                <a:cxn ang="5400000">
                  <a:pos x="wd2" y="hd2"/>
                </a:cxn>
                <a:cxn ang="10800000">
                  <a:pos x="wd2" y="hd2"/>
                </a:cxn>
                <a:cxn ang="16200000">
                  <a:pos x="wd2" y="hd2"/>
                </a:cxn>
              </a:cxnLst>
              <a:rect l="0" t="0" r="r" b="b"/>
              <a:pathLst>
                <a:path w="21009" h="20528" extrusionOk="0">
                  <a:moveTo>
                    <a:pt x="5368" y="20139"/>
                  </a:moveTo>
                  <a:cubicBezTo>
                    <a:pt x="6112" y="20139"/>
                    <a:pt x="6112" y="19200"/>
                    <a:pt x="6857" y="19200"/>
                  </a:cubicBezTo>
                  <a:cubicBezTo>
                    <a:pt x="8347" y="19200"/>
                    <a:pt x="9092" y="19200"/>
                    <a:pt x="10581" y="19200"/>
                  </a:cubicBezTo>
                  <a:cubicBezTo>
                    <a:pt x="12071" y="19200"/>
                    <a:pt x="14306" y="18261"/>
                    <a:pt x="16540" y="19200"/>
                  </a:cubicBezTo>
                  <a:cubicBezTo>
                    <a:pt x="17285" y="20139"/>
                    <a:pt x="18030" y="21078"/>
                    <a:pt x="19519" y="20139"/>
                  </a:cubicBezTo>
                  <a:cubicBezTo>
                    <a:pt x="21009" y="20139"/>
                    <a:pt x="21009" y="19200"/>
                    <a:pt x="21009" y="17321"/>
                  </a:cubicBezTo>
                  <a:cubicBezTo>
                    <a:pt x="21009" y="15443"/>
                    <a:pt x="18030" y="14504"/>
                    <a:pt x="18030" y="12626"/>
                  </a:cubicBezTo>
                  <a:cubicBezTo>
                    <a:pt x="18030" y="12626"/>
                    <a:pt x="18030" y="8869"/>
                    <a:pt x="18030" y="8869"/>
                  </a:cubicBezTo>
                  <a:cubicBezTo>
                    <a:pt x="17285" y="8869"/>
                    <a:pt x="14306" y="4174"/>
                    <a:pt x="13561" y="3235"/>
                  </a:cubicBezTo>
                  <a:cubicBezTo>
                    <a:pt x="11326" y="417"/>
                    <a:pt x="9092" y="-522"/>
                    <a:pt x="6112" y="417"/>
                  </a:cubicBezTo>
                  <a:cubicBezTo>
                    <a:pt x="5368" y="417"/>
                    <a:pt x="3133" y="-522"/>
                    <a:pt x="3133" y="417"/>
                  </a:cubicBezTo>
                  <a:cubicBezTo>
                    <a:pt x="2388" y="1356"/>
                    <a:pt x="899" y="3235"/>
                    <a:pt x="899" y="5113"/>
                  </a:cubicBezTo>
                  <a:cubicBezTo>
                    <a:pt x="1643" y="6991"/>
                    <a:pt x="1643" y="7930"/>
                    <a:pt x="154" y="8869"/>
                  </a:cubicBezTo>
                  <a:cubicBezTo>
                    <a:pt x="-591" y="8869"/>
                    <a:pt x="1643" y="10748"/>
                    <a:pt x="899" y="10748"/>
                  </a:cubicBezTo>
                  <a:cubicBezTo>
                    <a:pt x="2388" y="11687"/>
                    <a:pt x="899" y="11687"/>
                    <a:pt x="899" y="12626"/>
                  </a:cubicBezTo>
                  <a:cubicBezTo>
                    <a:pt x="899" y="12626"/>
                    <a:pt x="1643" y="13565"/>
                    <a:pt x="2388" y="13565"/>
                  </a:cubicBezTo>
                  <a:cubicBezTo>
                    <a:pt x="2388" y="14504"/>
                    <a:pt x="5368" y="13565"/>
                    <a:pt x="6112" y="13565"/>
                  </a:cubicBezTo>
                  <a:cubicBezTo>
                    <a:pt x="6857" y="13565"/>
                    <a:pt x="6857" y="12626"/>
                    <a:pt x="6857" y="12626"/>
                  </a:cubicBezTo>
                  <a:cubicBezTo>
                    <a:pt x="7602" y="12626"/>
                    <a:pt x="12071" y="15443"/>
                    <a:pt x="12071" y="14504"/>
                  </a:cubicBezTo>
                  <a:cubicBezTo>
                    <a:pt x="11326" y="16382"/>
                    <a:pt x="8347" y="15443"/>
                    <a:pt x="7602" y="15443"/>
                  </a:cubicBezTo>
                  <a:cubicBezTo>
                    <a:pt x="6112" y="14504"/>
                    <a:pt x="5368" y="16382"/>
                    <a:pt x="3878" y="16382"/>
                  </a:cubicBezTo>
                  <a:cubicBezTo>
                    <a:pt x="1643" y="16382"/>
                    <a:pt x="154" y="16382"/>
                    <a:pt x="1643" y="19200"/>
                  </a:cubicBezTo>
                  <a:cubicBezTo>
                    <a:pt x="1643" y="20139"/>
                    <a:pt x="2388" y="19200"/>
                    <a:pt x="3133" y="19200"/>
                  </a:cubicBezTo>
                  <a:cubicBezTo>
                    <a:pt x="3878" y="19200"/>
                    <a:pt x="4623" y="20139"/>
                    <a:pt x="5368" y="201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1" name="Shape 2190">
              <a:extLst>
                <a:ext uri="{FF2B5EF4-FFF2-40B4-BE49-F238E27FC236}">
                  <a16:creationId xmlns:a16="http://schemas.microsoft.com/office/drawing/2014/main" id="{DE073879-62A3-5DA8-CFF8-962761FB5ABF}"/>
                </a:ext>
              </a:extLst>
            </p:cNvPr>
            <p:cNvSpPr/>
            <p:nvPr/>
          </p:nvSpPr>
          <p:spPr>
            <a:xfrm>
              <a:off x="5121638" y="2910320"/>
              <a:ext cx="541805" cy="509476"/>
            </a:xfrm>
            <a:custGeom>
              <a:avLst/>
              <a:gdLst/>
              <a:ahLst/>
              <a:cxnLst>
                <a:cxn ang="0">
                  <a:pos x="wd2" y="hd2"/>
                </a:cxn>
                <a:cxn ang="5400000">
                  <a:pos x="wd2" y="hd2"/>
                </a:cxn>
                <a:cxn ang="10800000">
                  <a:pos x="wd2" y="hd2"/>
                </a:cxn>
                <a:cxn ang="16200000">
                  <a:pos x="wd2" y="hd2"/>
                </a:cxn>
              </a:cxnLst>
              <a:rect l="0" t="0" r="r" b="b"/>
              <a:pathLst>
                <a:path w="21168" h="21377" extrusionOk="0">
                  <a:moveTo>
                    <a:pt x="6943" y="123"/>
                  </a:moveTo>
                  <a:cubicBezTo>
                    <a:pt x="7457" y="4277"/>
                    <a:pt x="7971" y="8431"/>
                    <a:pt x="8486" y="12308"/>
                  </a:cubicBezTo>
                  <a:cubicBezTo>
                    <a:pt x="8486" y="12861"/>
                    <a:pt x="9000" y="13692"/>
                    <a:pt x="8229" y="13692"/>
                  </a:cubicBezTo>
                  <a:cubicBezTo>
                    <a:pt x="7200" y="13692"/>
                    <a:pt x="5914" y="13692"/>
                    <a:pt x="4886" y="13692"/>
                  </a:cubicBezTo>
                  <a:cubicBezTo>
                    <a:pt x="4371" y="13692"/>
                    <a:pt x="4114" y="13692"/>
                    <a:pt x="3857" y="13692"/>
                  </a:cubicBezTo>
                  <a:cubicBezTo>
                    <a:pt x="3600" y="13692"/>
                    <a:pt x="3343" y="13969"/>
                    <a:pt x="3086" y="13969"/>
                  </a:cubicBezTo>
                  <a:cubicBezTo>
                    <a:pt x="2829" y="14246"/>
                    <a:pt x="2571" y="13969"/>
                    <a:pt x="2057" y="13969"/>
                  </a:cubicBezTo>
                  <a:cubicBezTo>
                    <a:pt x="1800" y="13969"/>
                    <a:pt x="1800" y="14523"/>
                    <a:pt x="1543" y="14246"/>
                  </a:cubicBezTo>
                  <a:cubicBezTo>
                    <a:pt x="1286" y="14246"/>
                    <a:pt x="1029" y="13692"/>
                    <a:pt x="771" y="13692"/>
                  </a:cubicBezTo>
                  <a:cubicBezTo>
                    <a:pt x="514" y="13692"/>
                    <a:pt x="514" y="15354"/>
                    <a:pt x="0" y="15077"/>
                  </a:cubicBezTo>
                  <a:cubicBezTo>
                    <a:pt x="0" y="15354"/>
                    <a:pt x="0" y="15908"/>
                    <a:pt x="0" y="16184"/>
                  </a:cubicBezTo>
                  <a:cubicBezTo>
                    <a:pt x="0" y="16738"/>
                    <a:pt x="514" y="16738"/>
                    <a:pt x="771" y="17292"/>
                  </a:cubicBezTo>
                  <a:cubicBezTo>
                    <a:pt x="1029" y="17569"/>
                    <a:pt x="771" y="18123"/>
                    <a:pt x="1029" y="18400"/>
                  </a:cubicBezTo>
                  <a:cubicBezTo>
                    <a:pt x="1286" y="18954"/>
                    <a:pt x="1543" y="18400"/>
                    <a:pt x="1800" y="18677"/>
                  </a:cubicBezTo>
                  <a:cubicBezTo>
                    <a:pt x="1800" y="18954"/>
                    <a:pt x="2571" y="18677"/>
                    <a:pt x="2829" y="18677"/>
                  </a:cubicBezTo>
                  <a:cubicBezTo>
                    <a:pt x="3086" y="18677"/>
                    <a:pt x="3600" y="18123"/>
                    <a:pt x="3857" y="18123"/>
                  </a:cubicBezTo>
                  <a:cubicBezTo>
                    <a:pt x="4371" y="18677"/>
                    <a:pt x="4629" y="20061"/>
                    <a:pt x="5143" y="20615"/>
                  </a:cubicBezTo>
                  <a:cubicBezTo>
                    <a:pt x="5143" y="20615"/>
                    <a:pt x="4886" y="21169"/>
                    <a:pt x="5143" y="21169"/>
                  </a:cubicBezTo>
                  <a:cubicBezTo>
                    <a:pt x="5400" y="21446"/>
                    <a:pt x="5657" y="20892"/>
                    <a:pt x="5914" y="21169"/>
                  </a:cubicBezTo>
                  <a:cubicBezTo>
                    <a:pt x="6171" y="21446"/>
                    <a:pt x="6686" y="21446"/>
                    <a:pt x="6943" y="21169"/>
                  </a:cubicBezTo>
                  <a:cubicBezTo>
                    <a:pt x="7457" y="20615"/>
                    <a:pt x="7457" y="21169"/>
                    <a:pt x="7714" y="21169"/>
                  </a:cubicBezTo>
                  <a:cubicBezTo>
                    <a:pt x="8486" y="21169"/>
                    <a:pt x="9000" y="20061"/>
                    <a:pt x="9000" y="19508"/>
                  </a:cubicBezTo>
                  <a:cubicBezTo>
                    <a:pt x="9000" y="19231"/>
                    <a:pt x="8486" y="19231"/>
                    <a:pt x="9000" y="18954"/>
                  </a:cubicBezTo>
                  <a:cubicBezTo>
                    <a:pt x="9257" y="18677"/>
                    <a:pt x="9771" y="18954"/>
                    <a:pt x="10029" y="18400"/>
                  </a:cubicBezTo>
                  <a:cubicBezTo>
                    <a:pt x="10029" y="18123"/>
                    <a:pt x="10286" y="17569"/>
                    <a:pt x="10286" y="17292"/>
                  </a:cubicBezTo>
                  <a:cubicBezTo>
                    <a:pt x="10543" y="16738"/>
                    <a:pt x="10543" y="16461"/>
                    <a:pt x="10800" y="17015"/>
                  </a:cubicBezTo>
                  <a:cubicBezTo>
                    <a:pt x="11571" y="17569"/>
                    <a:pt x="12086" y="15354"/>
                    <a:pt x="12600" y="15631"/>
                  </a:cubicBezTo>
                  <a:cubicBezTo>
                    <a:pt x="12857" y="15631"/>
                    <a:pt x="12857" y="15631"/>
                    <a:pt x="13114" y="15631"/>
                  </a:cubicBezTo>
                  <a:cubicBezTo>
                    <a:pt x="13114" y="15631"/>
                    <a:pt x="13371" y="15354"/>
                    <a:pt x="13371" y="15354"/>
                  </a:cubicBezTo>
                  <a:cubicBezTo>
                    <a:pt x="13629" y="15077"/>
                    <a:pt x="13886" y="15077"/>
                    <a:pt x="14143" y="14800"/>
                  </a:cubicBezTo>
                  <a:cubicBezTo>
                    <a:pt x="14914" y="13969"/>
                    <a:pt x="15686" y="14800"/>
                    <a:pt x="16714" y="14523"/>
                  </a:cubicBezTo>
                  <a:cubicBezTo>
                    <a:pt x="17229" y="14523"/>
                    <a:pt x="17486" y="14246"/>
                    <a:pt x="18000" y="14246"/>
                  </a:cubicBezTo>
                  <a:cubicBezTo>
                    <a:pt x="18771" y="14246"/>
                    <a:pt x="19543" y="14246"/>
                    <a:pt x="20057" y="13969"/>
                  </a:cubicBezTo>
                  <a:cubicBezTo>
                    <a:pt x="21600" y="13415"/>
                    <a:pt x="21086" y="9815"/>
                    <a:pt x="21086" y="8431"/>
                  </a:cubicBezTo>
                  <a:cubicBezTo>
                    <a:pt x="20829" y="8708"/>
                    <a:pt x="20057" y="9261"/>
                    <a:pt x="19800" y="8708"/>
                  </a:cubicBezTo>
                  <a:cubicBezTo>
                    <a:pt x="19543" y="8431"/>
                    <a:pt x="20057" y="7877"/>
                    <a:pt x="19800" y="7600"/>
                  </a:cubicBezTo>
                  <a:cubicBezTo>
                    <a:pt x="19543" y="7046"/>
                    <a:pt x="18514" y="7323"/>
                    <a:pt x="18000" y="7046"/>
                  </a:cubicBezTo>
                  <a:cubicBezTo>
                    <a:pt x="17486" y="7046"/>
                    <a:pt x="17229" y="6215"/>
                    <a:pt x="16971" y="5938"/>
                  </a:cubicBezTo>
                  <a:cubicBezTo>
                    <a:pt x="16971" y="5661"/>
                    <a:pt x="16714" y="5384"/>
                    <a:pt x="16200" y="5384"/>
                  </a:cubicBezTo>
                  <a:cubicBezTo>
                    <a:pt x="15686" y="4831"/>
                    <a:pt x="14914" y="4277"/>
                    <a:pt x="14400" y="3723"/>
                  </a:cubicBezTo>
                  <a:cubicBezTo>
                    <a:pt x="12857" y="2892"/>
                    <a:pt x="11314" y="1784"/>
                    <a:pt x="10029" y="677"/>
                  </a:cubicBezTo>
                  <a:cubicBezTo>
                    <a:pt x="9771" y="677"/>
                    <a:pt x="9257" y="123"/>
                    <a:pt x="9000" y="123"/>
                  </a:cubicBezTo>
                  <a:cubicBezTo>
                    <a:pt x="8486" y="-154"/>
                    <a:pt x="7714" y="123"/>
                    <a:pt x="6943" y="12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2" name="Shape 2191">
              <a:extLst>
                <a:ext uri="{FF2B5EF4-FFF2-40B4-BE49-F238E27FC236}">
                  <a16:creationId xmlns:a16="http://schemas.microsoft.com/office/drawing/2014/main" id="{83AD9FB1-E561-652E-E2E7-C9FFC9D58AF6}"/>
                </a:ext>
              </a:extLst>
            </p:cNvPr>
            <p:cNvSpPr/>
            <p:nvPr/>
          </p:nvSpPr>
          <p:spPr>
            <a:xfrm>
              <a:off x="6311272" y="2668365"/>
              <a:ext cx="358832" cy="355185"/>
            </a:xfrm>
            <a:custGeom>
              <a:avLst/>
              <a:gdLst/>
              <a:ahLst/>
              <a:cxnLst>
                <a:cxn ang="0">
                  <a:pos x="wd2" y="hd2"/>
                </a:cxn>
                <a:cxn ang="5400000">
                  <a:pos x="wd2" y="hd2"/>
                </a:cxn>
                <a:cxn ang="10800000">
                  <a:pos x="wd2" y="hd2"/>
                </a:cxn>
                <a:cxn ang="16200000">
                  <a:pos x="wd2" y="hd2"/>
                </a:cxn>
              </a:cxnLst>
              <a:rect l="0" t="0" r="r" b="b"/>
              <a:pathLst>
                <a:path w="21289" h="21600" extrusionOk="0">
                  <a:moveTo>
                    <a:pt x="17362" y="21600"/>
                  </a:moveTo>
                  <a:cubicBezTo>
                    <a:pt x="17754" y="21600"/>
                    <a:pt x="17754" y="20400"/>
                    <a:pt x="18540" y="20400"/>
                  </a:cubicBezTo>
                  <a:cubicBezTo>
                    <a:pt x="19718" y="20400"/>
                    <a:pt x="18933" y="19600"/>
                    <a:pt x="19718" y="19200"/>
                  </a:cubicBezTo>
                  <a:cubicBezTo>
                    <a:pt x="20896" y="18800"/>
                    <a:pt x="20896" y="18800"/>
                    <a:pt x="20896" y="17600"/>
                  </a:cubicBezTo>
                  <a:cubicBezTo>
                    <a:pt x="20504" y="16800"/>
                    <a:pt x="20504" y="16800"/>
                    <a:pt x="21289" y="16800"/>
                  </a:cubicBezTo>
                  <a:cubicBezTo>
                    <a:pt x="20896" y="16800"/>
                    <a:pt x="19718" y="14800"/>
                    <a:pt x="19325" y="14400"/>
                  </a:cubicBezTo>
                  <a:cubicBezTo>
                    <a:pt x="18933" y="12800"/>
                    <a:pt x="18147" y="11200"/>
                    <a:pt x="17362" y="10000"/>
                  </a:cubicBezTo>
                  <a:cubicBezTo>
                    <a:pt x="16576" y="8800"/>
                    <a:pt x="16184" y="7200"/>
                    <a:pt x="15398" y="6400"/>
                  </a:cubicBezTo>
                  <a:cubicBezTo>
                    <a:pt x="15005" y="6000"/>
                    <a:pt x="14220" y="3600"/>
                    <a:pt x="14613" y="3200"/>
                  </a:cubicBezTo>
                  <a:cubicBezTo>
                    <a:pt x="14613" y="3200"/>
                    <a:pt x="17754" y="8800"/>
                    <a:pt x="18147" y="8800"/>
                  </a:cubicBezTo>
                  <a:cubicBezTo>
                    <a:pt x="18540" y="8800"/>
                    <a:pt x="18933" y="7600"/>
                    <a:pt x="18933" y="7600"/>
                  </a:cubicBezTo>
                  <a:cubicBezTo>
                    <a:pt x="18933" y="6800"/>
                    <a:pt x="18933" y="6000"/>
                    <a:pt x="18540" y="5600"/>
                  </a:cubicBezTo>
                  <a:cubicBezTo>
                    <a:pt x="18540" y="4000"/>
                    <a:pt x="18147" y="2400"/>
                    <a:pt x="18147" y="800"/>
                  </a:cubicBezTo>
                  <a:cubicBezTo>
                    <a:pt x="17362" y="1600"/>
                    <a:pt x="15398" y="1600"/>
                    <a:pt x="14613" y="800"/>
                  </a:cubicBezTo>
                  <a:cubicBezTo>
                    <a:pt x="13042" y="0"/>
                    <a:pt x="11078" y="400"/>
                    <a:pt x="9507" y="1200"/>
                  </a:cubicBezTo>
                  <a:cubicBezTo>
                    <a:pt x="8329" y="2000"/>
                    <a:pt x="7151" y="1600"/>
                    <a:pt x="5973" y="1200"/>
                  </a:cubicBezTo>
                  <a:cubicBezTo>
                    <a:pt x="4402" y="800"/>
                    <a:pt x="2831" y="800"/>
                    <a:pt x="1260" y="400"/>
                  </a:cubicBezTo>
                  <a:cubicBezTo>
                    <a:pt x="1260" y="400"/>
                    <a:pt x="867" y="0"/>
                    <a:pt x="867" y="0"/>
                  </a:cubicBezTo>
                  <a:cubicBezTo>
                    <a:pt x="474" y="400"/>
                    <a:pt x="474" y="800"/>
                    <a:pt x="82" y="1200"/>
                  </a:cubicBezTo>
                  <a:cubicBezTo>
                    <a:pt x="-311" y="1600"/>
                    <a:pt x="867" y="2000"/>
                    <a:pt x="474" y="2800"/>
                  </a:cubicBezTo>
                  <a:cubicBezTo>
                    <a:pt x="82" y="3200"/>
                    <a:pt x="82" y="3600"/>
                    <a:pt x="82" y="4400"/>
                  </a:cubicBezTo>
                  <a:cubicBezTo>
                    <a:pt x="474" y="4400"/>
                    <a:pt x="474" y="4800"/>
                    <a:pt x="474" y="5200"/>
                  </a:cubicBezTo>
                  <a:cubicBezTo>
                    <a:pt x="474" y="6800"/>
                    <a:pt x="474" y="8400"/>
                    <a:pt x="474" y="10000"/>
                  </a:cubicBezTo>
                  <a:cubicBezTo>
                    <a:pt x="474" y="11200"/>
                    <a:pt x="474" y="20800"/>
                    <a:pt x="474" y="20800"/>
                  </a:cubicBezTo>
                  <a:cubicBezTo>
                    <a:pt x="4794" y="20800"/>
                    <a:pt x="8722" y="20800"/>
                    <a:pt x="13042" y="20800"/>
                  </a:cubicBezTo>
                  <a:cubicBezTo>
                    <a:pt x="13827" y="20800"/>
                    <a:pt x="14613" y="20800"/>
                    <a:pt x="15398" y="20800"/>
                  </a:cubicBezTo>
                  <a:cubicBezTo>
                    <a:pt x="16184" y="20800"/>
                    <a:pt x="16576" y="21600"/>
                    <a:pt x="17362"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3" name="Shape 2192">
              <a:extLst>
                <a:ext uri="{FF2B5EF4-FFF2-40B4-BE49-F238E27FC236}">
                  <a16:creationId xmlns:a16="http://schemas.microsoft.com/office/drawing/2014/main" id="{6F54295C-1479-BD9E-71E1-8BF367269764}"/>
                </a:ext>
              </a:extLst>
            </p:cNvPr>
            <p:cNvSpPr/>
            <p:nvPr/>
          </p:nvSpPr>
          <p:spPr>
            <a:xfrm>
              <a:off x="5768918" y="2463799"/>
              <a:ext cx="130326" cy="256273"/>
            </a:xfrm>
            <a:custGeom>
              <a:avLst/>
              <a:gdLst/>
              <a:ahLst/>
              <a:cxnLst>
                <a:cxn ang="0">
                  <a:pos x="wd2" y="hd2"/>
                </a:cxn>
                <a:cxn ang="5400000">
                  <a:pos x="wd2" y="hd2"/>
                </a:cxn>
                <a:cxn ang="10800000">
                  <a:pos x="wd2" y="hd2"/>
                </a:cxn>
                <a:cxn ang="16200000">
                  <a:pos x="wd2" y="hd2"/>
                </a:cxn>
              </a:cxnLst>
              <a:rect l="0" t="0" r="r" b="b"/>
              <a:pathLst>
                <a:path w="21229" h="21600" extrusionOk="0">
                  <a:moveTo>
                    <a:pt x="14749" y="18831"/>
                  </a:moveTo>
                  <a:cubicBezTo>
                    <a:pt x="12589" y="17723"/>
                    <a:pt x="16909" y="16615"/>
                    <a:pt x="17989" y="16615"/>
                  </a:cubicBezTo>
                  <a:cubicBezTo>
                    <a:pt x="20149" y="16062"/>
                    <a:pt x="21229" y="15508"/>
                    <a:pt x="21229" y="14954"/>
                  </a:cubicBezTo>
                  <a:cubicBezTo>
                    <a:pt x="21229" y="14400"/>
                    <a:pt x="21229" y="13846"/>
                    <a:pt x="21229" y="13292"/>
                  </a:cubicBezTo>
                  <a:cubicBezTo>
                    <a:pt x="21229" y="12738"/>
                    <a:pt x="20149" y="12738"/>
                    <a:pt x="20149" y="12738"/>
                  </a:cubicBezTo>
                  <a:cubicBezTo>
                    <a:pt x="19069" y="12185"/>
                    <a:pt x="19069" y="11631"/>
                    <a:pt x="17989" y="11077"/>
                  </a:cubicBezTo>
                  <a:cubicBezTo>
                    <a:pt x="16909" y="11077"/>
                    <a:pt x="15829" y="11631"/>
                    <a:pt x="14749" y="11077"/>
                  </a:cubicBezTo>
                  <a:cubicBezTo>
                    <a:pt x="11509" y="9969"/>
                    <a:pt x="14749" y="9415"/>
                    <a:pt x="16909" y="8862"/>
                  </a:cubicBezTo>
                  <a:cubicBezTo>
                    <a:pt x="19069" y="8308"/>
                    <a:pt x="20149" y="6646"/>
                    <a:pt x="17989" y="5538"/>
                  </a:cubicBezTo>
                  <a:cubicBezTo>
                    <a:pt x="17989" y="4985"/>
                    <a:pt x="14749" y="3877"/>
                    <a:pt x="15829" y="3323"/>
                  </a:cubicBezTo>
                  <a:cubicBezTo>
                    <a:pt x="16909" y="2769"/>
                    <a:pt x="17989" y="2769"/>
                    <a:pt x="19069" y="2215"/>
                  </a:cubicBezTo>
                  <a:cubicBezTo>
                    <a:pt x="19069" y="2215"/>
                    <a:pt x="19069" y="554"/>
                    <a:pt x="19069" y="554"/>
                  </a:cubicBezTo>
                  <a:cubicBezTo>
                    <a:pt x="17989" y="554"/>
                    <a:pt x="16909" y="2215"/>
                    <a:pt x="15829" y="1662"/>
                  </a:cubicBezTo>
                  <a:cubicBezTo>
                    <a:pt x="15829" y="1662"/>
                    <a:pt x="14749" y="1108"/>
                    <a:pt x="14749" y="1108"/>
                  </a:cubicBezTo>
                  <a:cubicBezTo>
                    <a:pt x="13669" y="554"/>
                    <a:pt x="12589" y="0"/>
                    <a:pt x="11509" y="0"/>
                  </a:cubicBezTo>
                  <a:cubicBezTo>
                    <a:pt x="9349" y="554"/>
                    <a:pt x="6109" y="1108"/>
                    <a:pt x="5029" y="2215"/>
                  </a:cubicBezTo>
                  <a:cubicBezTo>
                    <a:pt x="2869" y="4431"/>
                    <a:pt x="5029" y="7754"/>
                    <a:pt x="1789" y="9415"/>
                  </a:cubicBezTo>
                  <a:cubicBezTo>
                    <a:pt x="-371" y="10523"/>
                    <a:pt x="-371" y="10523"/>
                    <a:pt x="709" y="11631"/>
                  </a:cubicBezTo>
                  <a:cubicBezTo>
                    <a:pt x="709" y="12738"/>
                    <a:pt x="3949" y="13292"/>
                    <a:pt x="3949" y="14400"/>
                  </a:cubicBezTo>
                  <a:cubicBezTo>
                    <a:pt x="5029" y="15508"/>
                    <a:pt x="8269" y="16062"/>
                    <a:pt x="8269" y="16615"/>
                  </a:cubicBezTo>
                  <a:cubicBezTo>
                    <a:pt x="9349" y="18277"/>
                    <a:pt x="10429" y="20492"/>
                    <a:pt x="10429" y="21600"/>
                  </a:cubicBezTo>
                  <a:cubicBezTo>
                    <a:pt x="12589" y="21600"/>
                    <a:pt x="16909" y="20492"/>
                    <a:pt x="14749" y="18831"/>
                  </a:cubicBezTo>
                  <a:cubicBezTo>
                    <a:pt x="13669" y="18277"/>
                    <a:pt x="15829" y="19385"/>
                    <a:pt x="14749" y="188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4" name="Shape 2193">
              <a:extLst>
                <a:ext uri="{FF2B5EF4-FFF2-40B4-BE49-F238E27FC236}">
                  <a16:creationId xmlns:a16="http://schemas.microsoft.com/office/drawing/2014/main" id="{1BB073C1-DA44-E1EA-7E3E-86F9A01904D5}"/>
                </a:ext>
              </a:extLst>
            </p:cNvPr>
            <p:cNvSpPr/>
            <p:nvPr/>
          </p:nvSpPr>
          <p:spPr>
            <a:xfrm>
              <a:off x="5830328" y="2614414"/>
              <a:ext cx="495926" cy="483321"/>
            </a:xfrm>
            <a:custGeom>
              <a:avLst/>
              <a:gdLst/>
              <a:ahLst/>
              <a:cxnLst>
                <a:cxn ang="0">
                  <a:pos x="wd2" y="hd2"/>
                </a:cxn>
                <a:cxn ang="5400000">
                  <a:pos x="wd2" y="hd2"/>
                </a:cxn>
                <a:cxn ang="10800000">
                  <a:pos x="wd2" y="hd2"/>
                </a:cxn>
                <a:cxn ang="16200000">
                  <a:pos x="wd2" y="hd2"/>
                </a:cxn>
              </a:cxnLst>
              <a:rect l="0" t="0" r="r" b="b"/>
              <a:pathLst>
                <a:path w="21374" h="21600" extrusionOk="0">
                  <a:moveTo>
                    <a:pt x="5742" y="16274"/>
                  </a:moveTo>
                  <a:cubicBezTo>
                    <a:pt x="5742" y="16570"/>
                    <a:pt x="6595" y="17162"/>
                    <a:pt x="6879" y="16866"/>
                  </a:cubicBezTo>
                  <a:cubicBezTo>
                    <a:pt x="7163" y="16570"/>
                    <a:pt x="7448" y="16570"/>
                    <a:pt x="7732" y="16274"/>
                  </a:cubicBezTo>
                  <a:cubicBezTo>
                    <a:pt x="8016" y="16274"/>
                    <a:pt x="8869" y="15682"/>
                    <a:pt x="9153" y="15682"/>
                  </a:cubicBezTo>
                  <a:cubicBezTo>
                    <a:pt x="10290" y="16274"/>
                    <a:pt x="11142" y="16866"/>
                    <a:pt x="12279" y="17458"/>
                  </a:cubicBezTo>
                  <a:cubicBezTo>
                    <a:pt x="14837" y="18937"/>
                    <a:pt x="17111" y="20416"/>
                    <a:pt x="19669" y="21600"/>
                  </a:cubicBezTo>
                  <a:cubicBezTo>
                    <a:pt x="19669" y="21008"/>
                    <a:pt x="19385" y="21008"/>
                    <a:pt x="19953" y="21008"/>
                  </a:cubicBezTo>
                  <a:cubicBezTo>
                    <a:pt x="19953" y="21008"/>
                    <a:pt x="21090" y="21008"/>
                    <a:pt x="21090" y="21008"/>
                  </a:cubicBezTo>
                  <a:cubicBezTo>
                    <a:pt x="21090" y="20416"/>
                    <a:pt x="21090" y="20121"/>
                    <a:pt x="21090" y="19529"/>
                  </a:cubicBezTo>
                  <a:cubicBezTo>
                    <a:pt x="21090" y="17458"/>
                    <a:pt x="21090" y="15386"/>
                    <a:pt x="21090" y="13019"/>
                  </a:cubicBezTo>
                  <a:cubicBezTo>
                    <a:pt x="21090" y="10948"/>
                    <a:pt x="21090" y="8877"/>
                    <a:pt x="21090" y="7101"/>
                  </a:cubicBezTo>
                  <a:cubicBezTo>
                    <a:pt x="21090" y="6510"/>
                    <a:pt x="21090" y="6214"/>
                    <a:pt x="21090" y="5918"/>
                  </a:cubicBezTo>
                  <a:cubicBezTo>
                    <a:pt x="20806" y="5622"/>
                    <a:pt x="20806" y="5326"/>
                    <a:pt x="20806" y="5030"/>
                  </a:cubicBezTo>
                  <a:cubicBezTo>
                    <a:pt x="20806" y="4734"/>
                    <a:pt x="21374" y="4438"/>
                    <a:pt x="21374" y="4142"/>
                  </a:cubicBezTo>
                  <a:cubicBezTo>
                    <a:pt x="21374" y="3847"/>
                    <a:pt x="20806" y="3551"/>
                    <a:pt x="20806" y="3255"/>
                  </a:cubicBezTo>
                  <a:cubicBezTo>
                    <a:pt x="20806" y="2959"/>
                    <a:pt x="21090" y="2663"/>
                    <a:pt x="21374" y="2367"/>
                  </a:cubicBezTo>
                  <a:cubicBezTo>
                    <a:pt x="20521" y="1775"/>
                    <a:pt x="19669" y="2071"/>
                    <a:pt x="18816" y="1479"/>
                  </a:cubicBezTo>
                  <a:cubicBezTo>
                    <a:pt x="18248" y="1184"/>
                    <a:pt x="17963" y="592"/>
                    <a:pt x="17111" y="592"/>
                  </a:cubicBezTo>
                  <a:cubicBezTo>
                    <a:pt x="15974" y="592"/>
                    <a:pt x="14837" y="888"/>
                    <a:pt x="14269" y="1775"/>
                  </a:cubicBezTo>
                  <a:cubicBezTo>
                    <a:pt x="13985" y="2071"/>
                    <a:pt x="13985" y="2367"/>
                    <a:pt x="14269" y="2663"/>
                  </a:cubicBezTo>
                  <a:cubicBezTo>
                    <a:pt x="14553" y="3255"/>
                    <a:pt x="14269" y="3551"/>
                    <a:pt x="13985" y="4142"/>
                  </a:cubicBezTo>
                  <a:cubicBezTo>
                    <a:pt x="13416" y="5030"/>
                    <a:pt x="12279" y="4438"/>
                    <a:pt x="11427" y="3847"/>
                  </a:cubicBezTo>
                  <a:cubicBezTo>
                    <a:pt x="10858" y="3847"/>
                    <a:pt x="10574" y="3551"/>
                    <a:pt x="10006" y="3551"/>
                  </a:cubicBezTo>
                  <a:cubicBezTo>
                    <a:pt x="9437" y="3255"/>
                    <a:pt x="8869" y="3551"/>
                    <a:pt x="8585" y="2959"/>
                  </a:cubicBezTo>
                  <a:cubicBezTo>
                    <a:pt x="8300" y="2663"/>
                    <a:pt x="8300" y="2071"/>
                    <a:pt x="8016" y="1775"/>
                  </a:cubicBezTo>
                  <a:cubicBezTo>
                    <a:pt x="7732" y="1184"/>
                    <a:pt x="6879" y="1184"/>
                    <a:pt x="6311" y="888"/>
                  </a:cubicBezTo>
                  <a:cubicBezTo>
                    <a:pt x="5742" y="592"/>
                    <a:pt x="5174" y="592"/>
                    <a:pt x="4606" y="592"/>
                  </a:cubicBezTo>
                  <a:cubicBezTo>
                    <a:pt x="4037" y="592"/>
                    <a:pt x="3753" y="296"/>
                    <a:pt x="2900" y="0"/>
                  </a:cubicBezTo>
                  <a:cubicBezTo>
                    <a:pt x="2900" y="296"/>
                    <a:pt x="2900" y="592"/>
                    <a:pt x="2900" y="1184"/>
                  </a:cubicBezTo>
                  <a:cubicBezTo>
                    <a:pt x="2900" y="1479"/>
                    <a:pt x="2900" y="1184"/>
                    <a:pt x="2332" y="1775"/>
                  </a:cubicBezTo>
                  <a:cubicBezTo>
                    <a:pt x="2048" y="2071"/>
                    <a:pt x="1763" y="2071"/>
                    <a:pt x="1195" y="2367"/>
                  </a:cubicBezTo>
                  <a:cubicBezTo>
                    <a:pt x="627" y="2959"/>
                    <a:pt x="1479" y="3551"/>
                    <a:pt x="1195" y="4142"/>
                  </a:cubicBezTo>
                  <a:cubicBezTo>
                    <a:pt x="911" y="4734"/>
                    <a:pt x="58" y="4734"/>
                    <a:pt x="58" y="5030"/>
                  </a:cubicBezTo>
                  <a:cubicBezTo>
                    <a:pt x="58" y="5622"/>
                    <a:pt x="342" y="5918"/>
                    <a:pt x="627" y="6214"/>
                  </a:cubicBezTo>
                  <a:cubicBezTo>
                    <a:pt x="627" y="6805"/>
                    <a:pt x="627" y="7397"/>
                    <a:pt x="627" y="7693"/>
                  </a:cubicBezTo>
                  <a:cubicBezTo>
                    <a:pt x="627" y="8285"/>
                    <a:pt x="911" y="8581"/>
                    <a:pt x="627" y="9173"/>
                  </a:cubicBezTo>
                  <a:cubicBezTo>
                    <a:pt x="627" y="9468"/>
                    <a:pt x="627" y="9764"/>
                    <a:pt x="627" y="10060"/>
                  </a:cubicBezTo>
                  <a:cubicBezTo>
                    <a:pt x="627" y="10356"/>
                    <a:pt x="911" y="10652"/>
                    <a:pt x="627" y="10948"/>
                  </a:cubicBezTo>
                  <a:cubicBezTo>
                    <a:pt x="627" y="11244"/>
                    <a:pt x="-226" y="11244"/>
                    <a:pt x="58" y="11836"/>
                  </a:cubicBezTo>
                  <a:cubicBezTo>
                    <a:pt x="627" y="12427"/>
                    <a:pt x="911" y="12723"/>
                    <a:pt x="911" y="13611"/>
                  </a:cubicBezTo>
                  <a:cubicBezTo>
                    <a:pt x="911" y="14203"/>
                    <a:pt x="1479" y="13907"/>
                    <a:pt x="1763" y="14203"/>
                  </a:cubicBezTo>
                  <a:cubicBezTo>
                    <a:pt x="2332" y="14203"/>
                    <a:pt x="2616" y="14203"/>
                    <a:pt x="2900" y="14499"/>
                  </a:cubicBezTo>
                  <a:cubicBezTo>
                    <a:pt x="3185" y="14795"/>
                    <a:pt x="3469" y="15386"/>
                    <a:pt x="3753" y="15682"/>
                  </a:cubicBezTo>
                  <a:cubicBezTo>
                    <a:pt x="4321" y="15978"/>
                    <a:pt x="5174" y="15682"/>
                    <a:pt x="5742" y="16274"/>
                  </a:cubicBezTo>
                  <a:cubicBezTo>
                    <a:pt x="6027" y="16570"/>
                    <a:pt x="5458" y="15978"/>
                    <a:pt x="5742" y="162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5" name="Shape 2194">
              <a:extLst>
                <a:ext uri="{FF2B5EF4-FFF2-40B4-BE49-F238E27FC236}">
                  <a16:creationId xmlns:a16="http://schemas.microsoft.com/office/drawing/2014/main" id="{8B34E743-948F-6480-CB06-C5E2274FD49B}"/>
                </a:ext>
              </a:extLst>
            </p:cNvPr>
            <p:cNvSpPr/>
            <p:nvPr/>
          </p:nvSpPr>
          <p:spPr>
            <a:xfrm>
              <a:off x="4962073" y="2818983"/>
              <a:ext cx="276432" cy="224802"/>
            </a:xfrm>
            <a:custGeom>
              <a:avLst/>
              <a:gdLst/>
              <a:ahLst/>
              <a:cxnLst>
                <a:cxn ang="0">
                  <a:pos x="wd2" y="hd2"/>
                </a:cxn>
                <a:cxn ang="5400000">
                  <a:pos x="wd2" y="hd2"/>
                </a:cxn>
                <a:cxn ang="10800000">
                  <a:pos x="wd2" y="hd2"/>
                </a:cxn>
                <a:cxn ang="16200000">
                  <a:pos x="wd2" y="hd2"/>
                </a:cxn>
              </a:cxnLst>
              <a:rect l="0" t="0" r="r" b="b"/>
              <a:pathLst>
                <a:path w="21600" h="21600" extrusionOk="0">
                  <a:moveTo>
                    <a:pt x="9771" y="21600"/>
                  </a:moveTo>
                  <a:cubicBezTo>
                    <a:pt x="9771" y="19694"/>
                    <a:pt x="9257" y="16518"/>
                    <a:pt x="10286" y="15882"/>
                  </a:cubicBezTo>
                  <a:cubicBezTo>
                    <a:pt x="10800" y="15247"/>
                    <a:pt x="11829" y="14612"/>
                    <a:pt x="12343" y="13976"/>
                  </a:cubicBezTo>
                  <a:cubicBezTo>
                    <a:pt x="12857" y="13976"/>
                    <a:pt x="12857" y="12706"/>
                    <a:pt x="12857" y="12706"/>
                  </a:cubicBezTo>
                  <a:cubicBezTo>
                    <a:pt x="12857" y="10165"/>
                    <a:pt x="12857" y="8259"/>
                    <a:pt x="12857" y="5718"/>
                  </a:cubicBezTo>
                  <a:cubicBezTo>
                    <a:pt x="12857" y="5718"/>
                    <a:pt x="15943" y="5718"/>
                    <a:pt x="16457" y="5718"/>
                  </a:cubicBezTo>
                  <a:cubicBezTo>
                    <a:pt x="18000" y="5718"/>
                    <a:pt x="19543" y="5718"/>
                    <a:pt x="21086" y="5718"/>
                  </a:cubicBezTo>
                  <a:cubicBezTo>
                    <a:pt x="21600" y="5718"/>
                    <a:pt x="21600" y="1906"/>
                    <a:pt x="21600" y="1271"/>
                  </a:cubicBezTo>
                  <a:cubicBezTo>
                    <a:pt x="21600" y="0"/>
                    <a:pt x="21600" y="0"/>
                    <a:pt x="20571" y="0"/>
                  </a:cubicBezTo>
                  <a:cubicBezTo>
                    <a:pt x="16971" y="0"/>
                    <a:pt x="13886" y="0"/>
                    <a:pt x="10286" y="0"/>
                  </a:cubicBezTo>
                  <a:cubicBezTo>
                    <a:pt x="9257" y="1271"/>
                    <a:pt x="8743" y="2541"/>
                    <a:pt x="7714" y="3812"/>
                  </a:cubicBezTo>
                  <a:cubicBezTo>
                    <a:pt x="5657" y="5718"/>
                    <a:pt x="5657" y="7624"/>
                    <a:pt x="5143" y="10800"/>
                  </a:cubicBezTo>
                  <a:cubicBezTo>
                    <a:pt x="5143" y="10800"/>
                    <a:pt x="4629" y="11435"/>
                    <a:pt x="4114" y="11435"/>
                  </a:cubicBezTo>
                  <a:cubicBezTo>
                    <a:pt x="3086" y="12706"/>
                    <a:pt x="2571" y="13976"/>
                    <a:pt x="2057" y="15882"/>
                  </a:cubicBezTo>
                  <a:cubicBezTo>
                    <a:pt x="1029" y="17788"/>
                    <a:pt x="0" y="19059"/>
                    <a:pt x="0" y="21600"/>
                  </a:cubicBezTo>
                  <a:cubicBezTo>
                    <a:pt x="3086" y="21600"/>
                    <a:pt x="6686" y="21600"/>
                    <a:pt x="9771"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6" name="Shape 2195">
              <a:extLst>
                <a:ext uri="{FF2B5EF4-FFF2-40B4-BE49-F238E27FC236}">
                  <a16:creationId xmlns:a16="http://schemas.microsoft.com/office/drawing/2014/main" id="{8C116AF9-3660-E8AA-F5FD-6DA4522047FA}"/>
                </a:ext>
              </a:extLst>
            </p:cNvPr>
            <p:cNvSpPr/>
            <p:nvPr/>
          </p:nvSpPr>
          <p:spPr>
            <a:xfrm>
              <a:off x="5094668" y="2519348"/>
              <a:ext cx="386051" cy="299635"/>
            </a:xfrm>
            <a:custGeom>
              <a:avLst/>
              <a:gdLst/>
              <a:ahLst/>
              <a:cxnLst>
                <a:cxn ang="0">
                  <a:pos x="wd2" y="hd2"/>
                </a:cxn>
                <a:cxn ang="5400000">
                  <a:pos x="wd2" y="hd2"/>
                </a:cxn>
                <a:cxn ang="10800000">
                  <a:pos x="wd2" y="hd2"/>
                </a:cxn>
                <a:cxn ang="16200000">
                  <a:pos x="wd2" y="hd2"/>
                </a:cxn>
              </a:cxnLst>
              <a:rect l="0" t="0" r="r" b="b"/>
              <a:pathLst>
                <a:path w="21082" h="20419" extrusionOk="0">
                  <a:moveTo>
                    <a:pt x="7920" y="20419"/>
                  </a:moveTo>
                  <a:cubicBezTo>
                    <a:pt x="7920" y="19069"/>
                    <a:pt x="7560" y="18169"/>
                    <a:pt x="8280" y="17269"/>
                  </a:cubicBezTo>
                  <a:cubicBezTo>
                    <a:pt x="9000" y="16819"/>
                    <a:pt x="10080" y="16369"/>
                    <a:pt x="10440" y="15469"/>
                  </a:cubicBezTo>
                  <a:cubicBezTo>
                    <a:pt x="10800" y="15469"/>
                    <a:pt x="11520" y="15469"/>
                    <a:pt x="11880" y="15469"/>
                  </a:cubicBezTo>
                  <a:cubicBezTo>
                    <a:pt x="12240" y="15019"/>
                    <a:pt x="12960" y="15019"/>
                    <a:pt x="13680" y="14569"/>
                  </a:cubicBezTo>
                  <a:cubicBezTo>
                    <a:pt x="14040" y="14119"/>
                    <a:pt x="14040" y="13669"/>
                    <a:pt x="14400" y="13219"/>
                  </a:cubicBezTo>
                  <a:cubicBezTo>
                    <a:pt x="14760" y="12769"/>
                    <a:pt x="15840" y="13219"/>
                    <a:pt x="16200" y="12769"/>
                  </a:cubicBezTo>
                  <a:cubicBezTo>
                    <a:pt x="16560" y="12319"/>
                    <a:pt x="16560" y="11869"/>
                    <a:pt x="16560" y="11419"/>
                  </a:cubicBezTo>
                  <a:cubicBezTo>
                    <a:pt x="16560" y="10519"/>
                    <a:pt x="17640" y="10519"/>
                    <a:pt x="18000" y="10069"/>
                  </a:cubicBezTo>
                  <a:cubicBezTo>
                    <a:pt x="18360" y="9619"/>
                    <a:pt x="18360" y="9169"/>
                    <a:pt x="19080" y="9169"/>
                  </a:cubicBezTo>
                  <a:cubicBezTo>
                    <a:pt x="19440" y="9169"/>
                    <a:pt x="20520" y="9619"/>
                    <a:pt x="20880" y="9619"/>
                  </a:cubicBezTo>
                  <a:cubicBezTo>
                    <a:pt x="21600" y="9169"/>
                    <a:pt x="20160" y="6469"/>
                    <a:pt x="20160" y="6019"/>
                  </a:cubicBezTo>
                  <a:cubicBezTo>
                    <a:pt x="20160" y="5119"/>
                    <a:pt x="20160" y="4219"/>
                    <a:pt x="20160" y="3319"/>
                  </a:cubicBezTo>
                  <a:cubicBezTo>
                    <a:pt x="19800" y="2869"/>
                    <a:pt x="19800" y="2419"/>
                    <a:pt x="19800" y="1969"/>
                  </a:cubicBezTo>
                  <a:cubicBezTo>
                    <a:pt x="19080" y="1969"/>
                    <a:pt x="18720" y="1519"/>
                    <a:pt x="18360" y="1519"/>
                  </a:cubicBezTo>
                  <a:cubicBezTo>
                    <a:pt x="18000" y="1069"/>
                    <a:pt x="17280" y="1519"/>
                    <a:pt x="16920" y="1519"/>
                  </a:cubicBezTo>
                  <a:cubicBezTo>
                    <a:pt x="16560" y="1069"/>
                    <a:pt x="15840" y="1519"/>
                    <a:pt x="15120" y="1519"/>
                  </a:cubicBezTo>
                  <a:cubicBezTo>
                    <a:pt x="14400" y="1519"/>
                    <a:pt x="12960" y="-1181"/>
                    <a:pt x="12600" y="619"/>
                  </a:cubicBezTo>
                  <a:cubicBezTo>
                    <a:pt x="12240" y="1969"/>
                    <a:pt x="11880" y="3319"/>
                    <a:pt x="10800" y="4669"/>
                  </a:cubicBezTo>
                  <a:cubicBezTo>
                    <a:pt x="9720" y="6019"/>
                    <a:pt x="8280" y="6019"/>
                    <a:pt x="7200" y="7369"/>
                  </a:cubicBezTo>
                  <a:cubicBezTo>
                    <a:pt x="6480" y="8269"/>
                    <a:pt x="6120" y="9619"/>
                    <a:pt x="5760" y="10969"/>
                  </a:cubicBezTo>
                  <a:cubicBezTo>
                    <a:pt x="5760" y="11869"/>
                    <a:pt x="6120" y="13219"/>
                    <a:pt x="5760" y="14569"/>
                  </a:cubicBezTo>
                  <a:cubicBezTo>
                    <a:pt x="5400" y="15019"/>
                    <a:pt x="5040" y="15919"/>
                    <a:pt x="5040" y="16369"/>
                  </a:cubicBezTo>
                  <a:cubicBezTo>
                    <a:pt x="4680" y="17269"/>
                    <a:pt x="3960" y="17269"/>
                    <a:pt x="3240" y="17719"/>
                  </a:cubicBezTo>
                  <a:cubicBezTo>
                    <a:pt x="2880" y="18169"/>
                    <a:pt x="2520" y="18619"/>
                    <a:pt x="1800" y="19069"/>
                  </a:cubicBezTo>
                  <a:cubicBezTo>
                    <a:pt x="1440" y="19519"/>
                    <a:pt x="720" y="19519"/>
                    <a:pt x="0" y="20419"/>
                  </a:cubicBezTo>
                  <a:lnTo>
                    <a:pt x="7920" y="20419"/>
                  </a:ln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7" name="Shape 2196">
              <a:extLst>
                <a:ext uri="{FF2B5EF4-FFF2-40B4-BE49-F238E27FC236}">
                  <a16:creationId xmlns:a16="http://schemas.microsoft.com/office/drawing/2014/main" id="{19070BFC-1C97-EF2E-BF8F-2471E4EB2CCA}"/>
                </a:ext>
              </a:extLst>
            </p:cNvPr>
            <p:cNvSpPr/>
            <p:nvPr/>
          </p:nvSpPr>
          <p:spPr>
            <a:xfrm>
              <a:off x="5238936" y="2470542"/>
              <a:ext cx="678286" cy="651919"/>
            </a:xfrm>
            <a:custGeom>
              <a:avLst/>
              <a:gdLst/>
              <a:ahLst/>
              <a:cxnLst>
                <a:cxn ang="0">
                  <a:pos x="wd2" y="hd2"/>
                </a:cxn>
                <a:cxn ang="5400000">
                  <a:pos x="wd2" y="hd2"/>
                </a:cxn>
                <a:cxn ang="10800000">
                  <a:pos x="wd2" y="hd2"/>
                </a:cxn>
                <a:cxn ang="16200000">
                  <a:pos x="wd2" y="hd2"/>
                </a:cxn>
              </a:cxnLst>
              <a:rect l="0" t="0" r="r" b="b"/>
              <a:pathLst>
                <a:path w="21444" h="21600" extrusionOk="0">
                  <a:moveTo>
                    <a:pt x="7113" y="4800"/>
                  </a:moveTo>
                  <a:cubicBezTo>
                    <a:pt x="7321" y="5018"/>
                    <a:pt x="8152" y="6327"/>
                    <a:pt x="7321" y="6327"/>
                  </a:cubicBezTo>
                  <a:cubicBezTo>
                    <a:pt x="7113" y="6109"/>
                    <a:pt x="6490" y="5891"/>
                    <a:pt x="6282" y="6109"/>
                  </a:cubicBezTo>
                  <a:cubicBezTo>
                    <a:pt x="6075" y="6327"/>
                    <a:pt x="6075" y="6327"/>
                    <a:pt x="5867" y="6545"/>
                  </a:cubicBezTo>
                  <a:cubicBezTo>
                    <a:pt x="5659" y="6764"/>
                    <a:pt x="5452" y="6764"/>
                    <a:pt x="5244" y="6764"/>
                  </a:cubicBezTo>
                  <a:cubicBezTo>
                    <a:pt x="4829" y="6982"/>
                    <a:pt x="5036" y="7418"/>
                    <a:pt x="4829" y="7636"/>
                  </a:cubicBezTo>
                  <a:cubicBezTo>
                    <a:pt x="4829" y="8073"/>
                    <a:pt x="4206" y="7855"/>
                    <a:pt x="3998" y="8073"/>
                  </a:cubicBezTo>
                  <a:cubicBezTo>
                    <a:pt x="3582" y="8073"/>
                    <a:pt x="3582" y="8509"/>
                    <a:pt x="3375" y="8727"/>
                  </a:cubicBezTo>
                  <a:cubicBezTo>
                    <a:pt x="2959" y="9164"/>
                    <a:pt x="2544" y="8945"/>
                    <a:pt x="2129" y="9164"/>
                  </a:cubicBezTo>
                  <a:cubicBezTo>
                    <a:pt x="1921" y="9164"/>
                    <a:pt x="1713" y="9164"/>
                    <a:pt x="1506" y="9382"/>
                  </a:cubicBezTo>
                  <a:cubicBezTo>
                    <a:pt x="1298" y="9382"/>
                    <a:pt x="882" y="9600"/>
                    <a:pt x="675" y="9818"/>
                  </a:cubicBezTo>
                  <a:cubicBezTo>
                    <a:pt x="-156" y="10255"/>
                    <a:pt x="52" y="10473"/>
                    <a:pt x="52" y="11345"/>
                  </a:cubicBezTo>
                  <a:cubicBezTo>
                    <a:pt x="52" y="12000"/>
                    <a:pt x="-156" y="12000"/>
                    <a:pt x="259" y="12218"/>
                  </a:cubicBezTo>
                  <a:cubicBezTo>
                    <a:pt x="467" y="12436"/>
                    <a:pt x="882" y="12655"/>
                    <a:pt x="1090" y="12873"/>
                  </a:cubicBezTo>
                  <a:cubicBezTo>
                    <a:pt x="3167" y="14400"/>
                    <a:pt x="5244" y="15709"/>
                    <a:pt x="7529" y="17236"/>
                  </a:cubicBezTo>
                  <a:cubicBezTo>
                    <a:pt x="8152" y="17673"/>
                    <a:pt x="8982" y="18327"/>
                    <a:pt x="9813" y="18764"/>
                  </a:cubicBezTo>
                  <a:cubicBezTo>
                    <a:pt x="9813" y="18982"/>
                    <a:pt x="10021" y="18982"/>
                    <a:pt x="10021" y="18982"/>
                  </a:cubicBezTo>
                  <a:cubicBezTo>
                    <a:pt x="10644" y="20073"/>
                    <a:pt x="11059" y="20073"/>
                    <a:pt x="11890" y="20291"/>
                  </a:cubicBezTo>
                  <a:cubicBezTo>
                    <a:pt x="12513" y="20509"/>
                    <a:pt x="11890" y="21382"/>
                    <a:pt x="12513" y="21600"/>
                  </a:cubicBezTo>
                  <a:cubicBezTo>
                    <a:pt x="12721" y="21600"/>
                    <a:pt x="13344" y="21382"/>
                    <a:pt x="13759" y="21164"/>
                  </a:cubicBezTo>
                  <a:cubicBezTo>
                    <a:pt x="13967" y="21164"/>
                    <a:pt x="14590" y="21164"/>
                    <a:pt x="14798" y="20945"/>
                  </a:cubicBezTo>
                  <a:cubicBezTo>
                    <a:pt x="15629" y="20291"/>
                    <a:pt x="16459" y="19636"/>
                    <a:pt x="17498" y="18982"/>
                  </a:cubicBezTo>
                  <a:cubicBezTo>
                    <a:pt x="18536" y="18327"/>
                    <a:pt x="19575" y="17455"/>
                    <a:pt x="20613" y="16800"/>
                  </a:cubicBezTo>
                  <a:cubicBezTo>
                    <a:pt x="20821" y="16800"/>
                    <a:pt x="21029" y="16582"/>
                    <a:pt x="21444" y="16364"/>
                  </a:cubicBezTo>
                  <a:cubicBezTo>
                    <a:pt x="21029" y="15491"/>
                    <a:pt x="20821" y="15273"/>
                    <a:pt x="19990" y="15055"/>
                  </a:cubicBezTo>
                  <a:cubicBezTo>
                    <a:pt x="19782" y="15055"/>
                    <a:pt x="19367" y="15055"/>
                    <a:pt x="19367" y="15055"/>
                  </a:cubicBezTo>
                  <a:cubicBezTo>
                    <a:pt x="19367" y="14400"/>
                    <a:pt x="19367" y="14182"/>
                    <a:pt x="18952" y="13745"/>
                  </a:cubicBezTo>
                  <a:cubicBezTo>
                    <a:pt x="18744" y="13309"/>
                    <a:pt x="18744" y="13309"/>
                    <a:pt x="18952" y="13091"/>
                  </a:cubicBezTo>
                  <a:cubicBezTo>
                    <a:pt x="19367" y="12655"/>
                    <a:pt x="19159" y="12436"/>
                    <a:pt x="19159" y="12000"/>
                  </a:cubicBezTo>
                  <a:cubicBezTo>
                    <a:pt x="19159" y="11564"/>
                    <a:pt x="19367" y="11345"/>
                    <a:pt x="19159" y="10909"/>
                  </a:cubicBezTo>
                  <a:cubicBezTo>
                    <a:pt x="19159" y="10691"/>
                    <a:pt x="19159" y="10473"/>
                    <a:pt x="19159" y="10036"/>
                  </a:cubicBezTo>
                  <a:cubicBezTo>
                    <a:pt x="19159" y="9818"/>
                    <a:pt x="19159" y="9382"/>
                    <a:pt x="18952" y="9164"/>
                  </a:cubicBezTo>
                  <a:cubicBezTo>
                    <a:pt x="18744" y="8945"/>
                    <a:pt x="18744" y="8509"/>
                    <a:pt x="18744" y="8073"/>
                  </a:cubicBezTo>
                  <a:cubicBezTo>
                    <a:pt x="18744" y="7418"/>
                    <a:pt x="18536" y="6545"/>
                    <a:pt x="17913" y="5891"/>
                  </a:cubicBezTo>
                  <a:cubicBezTo>
                    <a:pt x="17498" y="5455"/>
                    <a:pt x="17082" y="5018"/>
                    <a:pt x="16875" y="4364"/>
                  </a:cubicBezTo>
                  <a:cubicBezTo>
                    <a:pt x="16459" y="3491"/>
                    <a:pt x="17290" y="3709"/>
                    <a:pt x="17498" y="2836"/>
                  </a:cubicBezTo>
                  <a:cubicBezTo>
                    <a:pt x="17498" y="1964"/>
                    <a:pt x="17498" y="1309"/>
                    <a:pt x="17706" y="436"/>
                  </a:cubicBezTo>
                  <a:cubicBezTo>
                    <a:pt x="17498" y="436"/>
                    <a:pt x="17498" y="218"/>
                    <a:pt x="17290" y="218"/>
                  </a:cubicBezTo>
                  <a:cubicBezTo>
                    <a:pt x="16875" y="436"/>
                    <a:pt x="16875" y="0"/>
                    <a:pt x="16667" y="0"/>
                  </a:cubicBezTo>
                  <a:cubicBezTo>
                    <a:pt x="16459" y="0"/>
                    <a:pt x="16459" y="218"/>
                    <a:pt x="16252" y="218"/>
                  </a:cubicBezTo>
                  <a:cubicBezTo>
                    <a:pt x="15836" y="218"/>
                    <a:pt x="15836" y="0"/>
                    <a:pt x="15421" y="0"/>
                  </a:cubicBezTo>
                  <a:cubicBezTo>
                    <a:pt x="15213" y="218"/>
                    <a:pt x="15006" y="218"/>
                    <a:pt x="14798" y="436"/>
                  </a:cubicBezTo>
                  <a:cubicBezTo>
                    <a:pt x="14382" y="655"/>
                    <a:pt x="14382" y="436"/>
                    <a:pt x="13967" y="218"/>
                  </a:cubicBezTo>
                  <a:cubicBezTo>
                    <a:pt x="13552" y="218"/>
                    <a:pt x="12929" y="218"/>
                    <a:pt x="12513" y="436"/>
                  </a:cubicBezTo>
                  <a:cubicBezTo>
                    <a:pt x="11475" y="655"/>
                    <a:pt x="10436" y="655"/>
                    <a:pt x="9398" y="1091"/>
                  </a:cubicBezTo>
                  <a:cubicBezTo>
                    <a:pt x="9190" y="1309"/>
                    <a:pt x="8982" y="1527"/>
                    <a:pt x="8775" y="1527"/>
                  </a:cubicBezTo>
                  <a:cubicBezTo>
                    <a:pt x="8567" y="1745"/>
                    <a:pt x="8152" y="1745"/>
                    <a:pt x="7944" y="1745"/>
                  </a:cubicBezTo>
                  <a:cubicBezTo>
                    <a:pt x="7529" y="1964"/>
                    <a:pt x="7529" y="2618"/>
                    <a:pt x="6906" y="2618"/>
                  </a:cubicBezTo>
                  <a:cubicBezTo>
                    <a:pt x="7113" y="3273"/>
                    <a:pt x="7113" y="3927"/>
                    <a:pt x="7113" y="4800"/>
                  </a:cubicBezTo>
                  <a:cubicBezTo>
                    <a:pt x="7321" y="5018"/>
                    <a:pt x="7113" y="4364"/>
                    <a:pt x="7113" y="4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8" name="Shape 2197">
              <a:extLst>
                <a:ext uri="{FF2B5EF4-FFF2-40B4-BE49-F238E27FC236}">
                  <a16:creationId xmlns:a16="http://schemas.microsoft.com/office/drawing/2014/main" id="{B7A2F8A3-5CFC-7681-9ACE-62C88438E0FF}"/>
                </a:ext>
              </a:extLst>
            </p:cNvPr>
            <p:cNvSpPr/>
            <p:nvPr/>
          </p:nvSpPr>
          <p:spPr>
            <a:xfrm>
              <a:off x="3116951" y="0"/>
              <a:ext cx="2005895" cy="1499412"/>
            </a:xfrm>
            <a:custGeom>
              <a:avLst/>
              <a:gdLst/>
              <a:ahLst/>
              <a:cxnLst>
                <a:cxn ang="0">
                  <a:pos x="wd2" y="hd2"/>
                </a:cxn>
                <a:cxn ang="5400000">
                  <a:pos x="wd2" y="hd2"/>
                </a:cxn>
                <a:cxn ang="10800000">
                  <a:pos x="wd2" y="hd2"/>
                </a:cxn>
                <a:cxn ang="16200000">
                  <a:pos x="wd2" y="hd2"/>
                </a:cxn>
              </a:cxnLst>
              <a:rect l="0" t="0" r="r" b="b"/>
              <a:pathLst>
                <a:path w="21541" h="21600" extrusionOk="0">
                  <a:moveTo>
                    <a:pt x="2266" y="3521"/>
                  </a:moveTo>
                  <a:cubicBezTo>
                    <a:pt x="2195" y="3616"/>
                    <a:pt x="1841" y="3806"/>
                    <a:pt x="1912" y="3901"/>
                  </a:cubicBezTo>
                  <a:cubicBezTo>
                    <a:pt x="1983" y="3996"/>
                    <a:pt x="2125" y="3996"/>
                    <a:pt x="2266" y="4092"/>
                  </a:cubicBezTo>
                  <a:cubicBezTo>
                    <a:pt x="2408" y="4092"/>
                    <a:pt x="2550" y="4092"/>
                    <a:pt x="2762" y="4092"/>
                  </a:cubicBezTo>
                  <a:cubicBezTo>
                    <a:pt x="2762" y="4092"/>
                    <a:pt x="3116" y="3996"/>
                    <a:pt x="3187" y="3996"/>
                  </a:cubicBezTo>
                  <a:cubicBezTo>
                    <a:pt x="3116" y="3996"/>
                    <a:pt x="2974" y="4092"/>
                    <a:pt x="2904" y="4187"/>
                  </a:cubicBezTo>
                  <a:cubicBezTo>
                    <a:pt x="2833" y="4282"/>
                    <a:pt x="2762" y="4377"/>
                    <a:pt x="2833" y="4567"/>
                  </a:cubicBezTo>
                  <a:cubicBezTo>
                    <a:pt x="2974" y="4758"/>
                    <a:pt x="2550" y="5233"/>
                    <a:pt x="2337" y="5138"/>
                  </a:cubicBezTo>
                  <a:cubicBezTo>
                    <a:pt x="2266" y="5043"/>
                    <a:pt x="2125" y="5138"/>
                    <a:pt x="1983" y="5138"/>
                  </a:cubicBezTo>
                  <a:cubicBezTo>
                    <a:pt x="1912" y="5043"/>
                    <a:pt x="1770" y="5138"/>
                    <a:pt x="1700" y="5138"/>
                  </a:cubicBezTo>
                  <a:cubicBezTo>
                    <a:pt x="1629" y="5138"/>
                    <a:pt x="1487" y="5138"/>
                    <a:pt x="1416" y="5329"/>
                  </a:cubicBezTo>
                  <a:cubicBezTo>
                    <a:pt x="1346" y="5424"/>
                    <a:pt x="1275" y="5424"/>
                    <a:pt x="1133" y="5424"/>
                  </a:cubicBezTo>
                  <a:cubicBezTo>
                    <a:pt x="921" y="5519"/>
                    <a:pt x="708" y="5614"/>
                    <a:pt x="496" y="5614"/>
                  </a:cubicBezTo>
                  <a:cubicBezTo>
                    <a:pt x="425" y="5614"/>
                    <a:pt x="283" y="5519"/>
                    <a:pt x="283" y="5614"/>
                  </a:cubicBezTo>
                  <a:cubicBezTo>
                    <a:pt x="212" y="5709"/>
                    <a:pt x="0" y="5709"/>
                    <a:pt x="0" y="5900"/>
                  </a:cubicBezTo>
                  <a:cubicBezTo>
                    <a:pt x="0" y="5995"/>
                    <a:pt x="71" y="5900"/>
                    <a:pt x="71" y="5995"/>
                  </a:cubicBezTo>
                  <a:cubicBezTo>
                    <a:pt x="71" y="5995"/>
                    <a:pt x="0" y="6090"/>
                    <a:pt x="0" y="6090"/>
                  </a:cubicBezTo>
                  <a:cubicBezTo>
                    <a:pt x="0" y="6185"/>
                    <a:pt x="142" y="6375"/>
                    <a:pt x="212" y="6470"/>
                  </a:cubicBezTo>
                  <a:cubicBezTo>
                    <a:pt x="212" y="6470"/>
                    <a:pt x="283" y="6375"/>
                    <a:pt x="283" y="6375"/>
                  </a:cubicBezTo>
                  <a:cubicBezTo>
                    <a:pt x="354" y="6280"/>
                    <a:pt x="425" y="6375"/>
                    <a:pt x="496" y="6470"/>
                  </a:cubicBezTo>
                  <a:cubicBezTo>
                    <a:pt x="567" y="6470"/>
                    <a:pt x="921" y="6566"/>
                    <a:pt x="921" y="6375"/>
                  </a:cubicBezTo>
                  <a:cubicBezTo>
                    <a:pt x="921" y="6470"/>
                    <a:pt x="850" y="6470"/>
                    <a:pt x="921" y="6566"/>
                  </a:cubicBezTo>
                  <a:cubicBezTo>
                    <a:pt x="921" y="6661"/>
                    <a:pt x="1062" y="6756"/>
                    <a:pt x="1133" y="6756"/>
                  </a:cubicBezTo>
                  <a:cubicBezTo>
                    <a:pt x="1204" y="6851"/>
                    <a:pt x="1275" y="6851"/>
                    <a:pt x="1346" y="6851"/>
                  </a:cubicBezTo>
                  <a:cubicBezTo>
                    <a:pt x="1487" y="6851"/>
                    <a:pt x="1487" y="6661"/>
                    <a:pt x="1558" y="6756"/>
                  </a:cubicBezTo>
                  <a:cubicBezTo>
                    <a:pt x="1700" y="6756"/>
                    <a:pt x="1912" y="6756"/>
                    <a:pt x="1983" y="6756"/>
                  </a:cubicBezTo>
                  <a:cubicBezTo>
                    <a:pt x="2054" y="6756"/>
                    <a:pt x="2054" y="6661"/>
                    <a:pt x="2125" y="6566"/>
                  </a:cubicBezTo>
                  <a:cubicBezTo>
                    <a:pt x="2195" y="6566"/>
                    <a:pt x="2408" y="6756"/>
                    <a:pt x="2408" y="6851"/>
                  </a:cubicBezTo>
                  <a:cubicBezTo>
                    <a:pt x="2408" y="6946"/>
                    <a:pt x="1700" y="6851"/>
                    <a:pt x="1558" y="6946"/>
                  </a:cubicBezTo>
                  <a:cubicBezTo>
                    <a:pt x="1416" y="6946"/>
                    <a:pt x="1629" y="7041"/>
                    <a:pt x="1700" y="7041"/>
                  </a:cubicBezTo>
                  <a:cubicBezTo>
                    <a:pt x="1841" y="7137"/>
                    <a:pt x="1912" y="7041"/>
                    <a:pt x="2054" y="7137"/>
                  </a:cubicBezTo>
                  <a:cubicBezTo>
                    <a:pt x="1983" y="7041"/>
                    <a:pt x="1841" y="7137"/>
                    <a:pt x="1700" y="7137"/>
                  </a:cubicBezTo>
                  <a:cubicBezTo>
                    <a:pt x="1487" y="7137"/>
                    <a:pt x="1275" y="7041"/>
                    <a:pt x="1062" y="7041"/>
                  </a:cubicBezTo>
                  <a:cubicBezTo>
                    <a:pt x="921" y="7041"/>
                    <a:pt x="637" y="7041"/>
                    <a:pt x="637" y="7232"/>
                  </a:cubicBezTo>
                  <a:cubicBezTo>
                    <a:pt x="567" y="7327"/>
                    <a:pt x="779" y="7422"/>
                    <a:pt x="850" y="7422"/>
                  </a:cubicBezTo>
                  <a:cubicBezTo>
                    <a:pt x="921" y="7422"/>
                    <a:pt x="1062" y="7327"/>
                    <a:pt x="1062" y="7327"/>
                  </a:cubicBezTo>
                  <a:cubicBezTo>
                    <a:pt x="1133" y="7422"/>
                    <a:pt x="1062" y="7422"/>
                    <a:pt x="1062" y="7517"/>
                  </a:cubicBezTo>
                  <a:cubicBezTo>
                    <a:pt x="1133" y="7612"/>
                    <a:pt x="1275" y="7612"/>
                    <a:pt x="1346" y="7612"/>
                  </a:cubicBezTo>
                  <a:cubicBezTo>
                    <a:pt x="1487" y="7612"/>
                    <a:pt x="1629" y="7612"/>
                    <a:pt x="1770" y="7612"/>
                  </a:cubicBezTo>
                  <a:cubicBezTo>
                    <a:pt x="1770" y="7612"/>
                    <a:pt x="1487" y="7707"/>
                    <a:pt x="1416" y="7707"/>
                  </a:cubicBezTo>
                  <a:cubicBezTo>
                    <a:pt x="1133" y="7803"/>
                    <a:pt x="1346" y="7993"/>
                    <a:pt x="1487" y="8088"/>
                  </a:cubicBezTo>
                  <a:cubicBezTo>
                    <a:pt x="1629" y="8183"/>
                    <a:pt x="1770" y="8183"/>
                    <a:pt x="1912" y="8278"/>
                  </a:cubicBezTo>
                  <a:cubicBezTo>
                    <a:pt x="1912" y="8278"/>
                    <a:pt x="2195" y="8278"/>
                    <a:pt x="2195" y="8278"/>
                  </a:cubicBezTo>
                  <a:cubicBezTo>
                    <a:pt x="2195" y="8278"/>
                    <a:pt x="2054" y="8183"/>
                    <a:pt x="2054" y="8088"/>
                  </a:cubicBezTo>
                  <a:cubicBezTo>
                    <a:pt x="2054" y="7993"/>
                    <a:pt x="2195" y="8088"/>
                    <a:pt x="2195" y="8088"/>
                  </a:cubicBezTo>
                  <a:cubicBezTo>
                    <a:pt x="2266" y="8183"/>
                    <a:pt x="2337" y="8088"/>
                    <a:pt x="2408" y="7993"/>
                  </a:cubicBezTo>
                  <a:cubicBezTo>
                    <a:pt x="2408" y="7993"/>
                    <a:pt x="2479" y="7898"/>
                    <a:pt x="2550" y="7898"/>
                  </a:cubicBezTo>
                  <a:cubicBezTo>
                    <a:pt x="2620" y="7993"/>
                    <a:pt x="2550" y="8183"/>
                    <a:pt x="2550" y="8183"/>
                  </a:cubicBezTo>
                  <a:cubicBezTo>
                    <a:pt x="2620" y="8278"/>
                    <a:pt x="2833" y="8088"/>
                    <a:pt x="2904" y="8088"/>
                  </a:cubicBezTo>
                  <a:cubicBezTo>
                    <a:pt x="3045" y="7993"/>
                    <a:pt x="3045" y="7993"/>
                    <a:pt x="3116" y="8088"/>
                  </a:cubicBezTo>
                  <a:cubicBezTo>
                    <a:pt x="3187" y="8183"/>
                    <a:pt x="3258" y="7993"/>
                    <a:pt x="3329" y="7993"/>
                  </a:cubicBezTo>
                  <a:cubicBezTo>
                    <a:pt x="3399" y="7898"/>
                    <a:pt x="3541" y="7993"/>
                    <a:pt x="3612" y="7993"/>
                  </a:cubicBezTo>
                  <a:cubicBezTo>
                    <a:pt x="3824" y="7993"/>
                    <a:pt x="4108" y="8088"/>
                    <a:pt x="4320" y="8183"/>
                  </a:cubicBezTo>
                  <a:cubicBezTo>
                    <a:pt x="4462" y="8183"/>
                    <a:pt x="4603" y="8374"/>
                    <a:pt x="4745" y="8374"/>
                  </a:cubicBezTo>
                  <a:cubicBezTo>
                    <a:pt x="4887" y="8374"/>
                    <a:pt x="5028" y="8469"/>
                    <a:pt x="5099" y="8564"/>
                  </a:cubicBezTo>
                  <a:cubicBezTo>
                    <a:pt x="5241" y="8659"/>
                    <a:pt x="5170" y="8754"/>
                    <a:pt x="5170" y="8849"/>
                  </a:cubicBezTo>
                  <a:cubicBezTo>
                    <a:pt x="5170" y="8944"/>
                    <a:pt x="5311" y="9135"/>
                    <a:pt x="5382" y="9135"/>
                  </a:cubicBezTo>
                  <a:cubicBezTo>
                    <a:pt x="5453" y="9230"/>
                    <a:pt x="5595" y="9135"/>
                    <a:pt x="5666" y="9230"/>
                  </a:cubicBezTo>
                  <a:cubicBezTo>
                    <a:pt x="5666" y="9420"/>
                    <a:pt x="5807" y="9515"/>
                    <a:pt x="5878" y="9611"/>
                  </a:cubicBezTo>
                  <a:cubicBezTo>
                    <a:pt x="5949" y="9706"/>
                    <a:pt x="5878" y="9896"/>
                    <a:pt x="5949" y="9991"/>
                  </a:cubicBezTo>
                  <a:cubicBezTo>
                    <a:pt x="5949" y="10086"/>
                    <a:pt x="6090" y="10181"/>
                    <a:pt x="6090" y="10372"/>
                  </a:cubicBezTo>
                  <a:cubicBezTo>
                    <a:pt x="6090" y="10467"/>
                    <a:pt x="6020" y="10467"/>
                    <a:pt x="6090" y="10562"/>
                  </a:cubicBezTo>
                  <a:cubicBezTo>
                    <a:pt x="6090" y="10562"/>
                    <a:pt x="6161" y="10657"/>
                    <a:pt x="6161" y="10657"/>
                  </a:cubicBezTo>
                  <a:cubicBezTo>
                    <a:pt x="6161" y="10657"/>
                    <a:pt x="6161" y="10657"/>
                    <a:pt x="6161" y="10657"/>
                  </a:cubicBezTo>
                  <a:cubicBezTo>
                    <a:pt x="6232" y="10562"/>
                    <a:pt x="6374" y="10752"/>
                    <a:pt x="6303" y="10848"/>
                  </a:cubicBezTo>
                  <a:cubicBezTo>
                    <a:pt x="6232" y="10943"/>
                    <a:pt x="6232" y="10943"/>
                    <a:pt x="6232" y="11133"/>
                  </a:cubicBezTo>
                  <a:cubicBezTo>
                    <a:pt x="6232" y="11038"/>
                    <a:pt x="6374" y="10943"/>
                    <a:pt x="6445" y="11133"/>
                  </a:cubicBezTo>
                  <a:cubicBezTo>
                    <a:pt x="6445" y="11228"/>
                    <a:pt x="6445" y="11228"/>
                    <a:pt x="6445" y="11323"/>
                  </a:cubicBezTo>
                  <a:cubicBezTo>
                    <a:pt x="6445" y="11323"/>
                    <a:pt x="6445" y="11514"/>
                    <a:pt x="6445" y="11419"/>
                  </a:cubicBezTo>
                  <a:cubicBezTo>
                    <a:pt x="6445" y="11514"/>
                    <a:pt x="6586" y="11514"/>
                    <a:pt x="6586" y="11514"/>
                  </a:cubicBezTo>
                  <a:cubicBezTo>
                    <a:pt x="6515" y="11419"/>
                    <a:pt x="6303" y="11989"/>
                    <a:pt x="6374" y="11609"/>
                  </a:cubicBezTo>
                  <a:cubicBezTo>
                    <a:pt x="6374" y="11609"/>
                    <a:pt x="6232" y="11514"/>
                    <a:pt x="6232" y="11609"/>
                  </a:cubicBezTo>
                  <a:cubicBezTo>
                    <a:pt x="6232" y="11609"/>
                    <a:pt x="6303" y="11609"/>
                    <a:pt x="6303" y="11609"/>
                  </a:cubicBezTo>
                  <a:cubicBezTo>
                    <a:pt x="6303" y="11704"/>
                    <a:pt x="6090" y="11704"/>
                    <a:pt x="6161" y="11799"/>
                  </a:cubicBezTo>
                  <a:cubicBezTo>
                    <a:pt x="6161" y="11799"/>
                    <a:pt x="6374" y="11894"/>
                    <a:pt x="6303" y="11894"/>
                  </a:cubicBezTo>
                  <a:cubicBezTo>
                    <a:pt x="6161" y="12085"/>
                    <a:pt x="6445" y="12085"/>
                    <a:pt x="6515" y="11989"/>
                  </a:cubicBezTo>
                  <a:cubicBezTo>
                    <a:pt x="6445" y="12085"/>
                    <a:pt x="6374" y="12085"/>
                    <a:pt x="6232" y="12085"/>
                  </a:cubicBezTo>
                  <a:cubicBezTo>
                    <a:pt x="6232" y="12085"/>
                    <a:pt x="6090" y="12275"/>
                    <a:pt x="6090" y="12275"/>
                  </a:cubicBezTo>
                  <a:cubicBezTo>
                    <a:pt x="6090" y="12275"/>
                    <a:pt x="6161" y="12370"/>
                    <a:pt x="6161" y="12370"/>
                  </a:cubicBezTo>
                  <a:cubicBezTo>
                    <a:pt x="6303" y="12465"/>
                    <a:pt x="6232" y="12465"/>
                    <a:pt x="6303" y="12465"/>
                  </a:cubicBezTo>
                  <a:cubicBezTo>
                    <a:pt x="6374" y="12465"/>
                    <a:pt x="6657" y="12656"/>
                    <a:pt x="6728" y="12465"/>
                  </a:cubicBezTo>
                  <a:cubicBezTo>
                    <a:pt x="6728" y="12180"/>
                    <a:pt x="6870" y="12275"/>
                    <a:pt x="6940" y="12180"/>
                  </a:cubicBezTo>
                  <a:cubicBezTo>
                    <a:pt x="6940" y="12180"/>
                    <a:pt x="6799" y="11609"/>
                    <a:pt x="6799" y="11609"/>
                  </a:cubicBezTo>
                  <a:cubicBezTo>
                    <a:pt x="6799" y="11704"/>
                    <a:pt x="6940" y="11989"/>
                    <a:pt x="6940" y="11989"/>
                  </a:cubicBezTo>
                  <a:cubicBezTo>
                    <a:pt x="7011" y="12180"/>
                    <a:pt x="7082" y="11989"/>
                    <a:pt x="7153" y="11989"/>
                  </a:cubicBezTo>
                  <a:cubicBezTo>
                    <a:pt x="7153" y="11989"/>
                    <a:pt x="6940" y="12370"/>
                    <a:pt x="6940" y="12370"/>
                  </a:cubicBezTo>
                  <a:cubicBezTo>
                    <a:pt x="6940" y="12370"/>
                    <a:pt x="7224" y="12275"/>
                    <a:pt x="7224" y="12275"/>
                  </a:cubicBezTo>
                  <a:cubicBezTo>
                    <a:pt x="7294" y="12275"/>
                    <a:pt x="7365" y="12275"/>
                    <a:pt x="7365" y="12275"/>
                  </a:cubicBezTo>
                  <a:cubicBezTo>
                    <a:pt x="7436" y="12275"/>
                    <a:pt x="7507" y="12180"/>
                    <a:pt x="7578" y="12180"/>
                  </a:cubicBezTo>
                  <a:cubicBezTo>
                    <a:pt x="7578" y="12275"/>
                    <a:pt x="7507" y="12370"/>
                    <a:pt x="7436" y="12370"/>
                  </a:cubicBezTo>
                  <a:cubicBezTo>
                    <a:pt x="7365" y="12370"/>
                    <a:pt x="7224" y="12370"/>
                    <a:pt x="7153" y="12465"/>
                  </a:cubicBezTo>
                  <a:cubicBezTo>
                    <a:pt x="7082" y="12560"/>
                    <a:pt x="7294" y="12465"/>
                    <a:pt x="7294" y="12465"/>
                  </a:cubicBezTo>
                  <a:cubicBezTo>
                    <a:pt x="7436" y="12465"/>
                    <a:pt x="7578" y="12465"/>
                    <a:pt x="7719" y="12465"/>
                  </a:cubicBezTo>
                  <a:cubicBezTo>
                    <a:pt x="7649" y="12465"/>
                    <a:pt x="7365" y="12465"/>
                    <a:pt x="7365" y="12560"/>
                  </a:cubicBezTo>
                  <a:cubicBezTo>
                    <a:pt x="7365" y="12560"/>
                    <a:pt x="7507" y="12656"/>
                    <a:pt x="7507" y="12751"/>
                  </a:cubicBezTo>
                  <a:cubicBezTo>
                    <a:pt x="7507" y="12751"/>
                    <a:pt x="7507" y="12846"/>
                    <a:pt x="7507" y="12846"/>
                  </a:cubicBezTo>
                  <a:cubicBezTo>
                    <a:pt x="7507" y="12941"/>
                    <a:pt x="7436" y="12941"/>
                    <a:pt x="7507" y="13036"/>
                  </a:cubicBezTo>
                  <a:cubicBezTo>
                    <a:pt x="7507" y="13036"/>
                    <a:pt x="7649" y="12941"/>
                    <a:pt x="7719" y="12941"/>
                  </a:cubicBezTo>
                  <a:cubicBezTo>
                    <a:pt x="7790" y="12941"/>
                    <a:pt x="7719" y="12941"/>
                    <a:pt x="7790" y="13036"/>
                  </a:cubicBezTo>
                  <a:cubicBezTo>
                    <a:pt x="7861" y="13131"/>
                    <a:pt x="7861" y="13226"/>
                    <a:pt x="7932" y="13322"/>
                  </a:cubicBezTo>
                  <a:cubicBezTo>
                    <a:pt x="7932" y="13417"/>
                    <a:pt x="7719" y="13417"/>
                    <a:pt x="7719" y="13417"/>
                  </a:cubicBezTo>
                  <a:cubicBezTo>
                    <a:pt x="7436" y="13131"/>
                    <a:pt x="7011" y="12941"/>
                    <a:pt x="6728" y="13036"/>
                  </a:cubicBezTo>
                  <a:cubicBezTo>
                    <a:pt x="6445" y="13036"/>
                    <a:pt x="6799" y="13322"/>
                    <a:pt x="6940" y="13322"/>
                  </a:cubicBezTo>
                  <a:cubicBezTo>
                    <a:pt x="7153" y="13417"/>
                    <a:pt x="7294" y="13702"/>
                    <a:pt x="7507" y="13702"/>
                  </a:cubicBezTo>
                  <a:cubicBezTo>
                    <a:pt x="7578" y="13702"/>
                    <a:pt x="7649" y="13607"/>
                    <a:pt x="7790" y="13607"/>
                  </a:cubicBezTo>
                  <a:cubicBezTo>
                    <a:pt x="7790" y="13702"/>
                    <a:pt x="8003" y="13702"/>
                    <a:pt x="8003" y="13702"/>
                  </a:cubicBezTo>
                  <a:cubicBezTo>
                    <a:pt x="8073" y="13797"/>
                    <a:pt x="8003" y="13893"/>
                    <a:pt x="8003" y="13893"/>
                  </a:cubicBezTo>
                  <a:cubicBezTo>
                    <a:pt x="7790" y="13988"/>
                    <a:pt x="8073" y="14083"/>
                    <a:pt x="8003" y="14178"/>
                  </a:cubicBezTo>
                  <a:cubicBezTo>
                    <a:pt x="8003" y="14273"/>
                    <a:pt x="7861" y="14178"/>
                    <a:pt x="7861" y="14368"/>
                  </a:cubicBezTo>
                  <a:cubicBezTo>
                    <a:pt x="7861" y="14463"/>
                    <a:pt x="8003" y="14463"/>
                    <a:pt x="8003" y="14463"/>
                  </a:cubicBezTo>
                  <a:cubicBezTo>
                    <a:pt x="7932" y="14559"/>
                    <a:pt x="7790" y="14368"/>
                    <a:pt x="7790" y="14463"/>
                  </a:cubicBezTo>
                  <a:cubicBezTo>
                    <a:pt x="7719" y="14559"/>
                    <a:pt x="7719" y="14654"/>
                    <a:pt x="7719" y="14749"/>
                  </a:cubicBezTo>
                  <a:cubicBezTo>
                    <a:pt x="7719" y="14749"/>
                    <a:pt x="7861" y="14749"/>
                    <a:pt x="7861" y="14749"/>
                  </a:cubicBezTo>
                  <a:cubicBezTo>
                    <a:pt x="7861" y="14844"/>
                    <a:pt x="7719" y="14939"/>
                    <a:pt x="7649" y="14939"/>
                  </a:cubicBezTo>
                  <a:cubicBezTo>
                    <a:pt x="7578" y="14939"/>
                    <a:pt x="7507" y="14939"/>
                    <a:pt x="7436" y="14939"/>
                  </a:cubicBezTo>
                  <a:cubicBezTo>
                    <a:pt x="7365" y="14844"/>
                    <a:pt x="7294" y="14844"/>
                    <a:pt x="7224" y="14939"/>
                  </a:cubicBezTo>
                  <a:cubicBezTo>
                    <a:pt x="7153" y="15034"/>
                    <a:pt x="7153" y="14939"/>
                    <a:pt x="7082" y="15034"/>
                  </a:cubicBezTo>
                  <a:cubicBezTo>
                    <a:pt x="7082" y="15034"/>
                    <a:pt x="7294" y="15320"/>
                    <a:pt x="7365" y="15320"/>
                  </a:cubicBezTo>
                  <a:cubicBezTo>
                    <a:pt x="7365" y="15225"/>
                    <a:pt x="7365" y="15225"/>
                    <a:pt x="7294" y="15225"/>
                  </a:cubicBezTo>
                  <a:cubicBezTo>
                    <a:pt x="7294" y="15225"/>
                    <a:pt x="7507" y="15225"/>
                    <a:pt x="7507" y="15225"/>
                  </a:cubicBezTo>
                  <a:cubicBezTo>
                    <a:pt x="7507" y="15225"/>
                    <a:pt x="7861" y="15034"/>
                    <a:pt x="7861" y="15130"/>
                  </a:cubicBezTo>
                  <a:cubicBezTo>
                    <a:pt x="7790" y="15130"/>
                    <a:pt x="7719" y="15130"/>
                    <a:pt x="7649" y="15225"/>
                  </a:cubicBezTo>
                  <a:cubicBezTo>
                    <a:pt x="7719" y="15130"/>
                    <a:pt x="7861" y="15320"/>
                    <a:pt x="7790" y="15320"/>
                  </a:cubicBezTo>
                  <a:cubicBezTo>
                    <a:pt x="7861" y="15320"/>
                    <a:pt x="8073" y="15415"/>
                    <a:pt x="8144" y="15415"/>
                  </a:cubicBezTo>
                  <a:cubicBezTo>
                    <a:pt x="8073" y="15415"/>
                    <a:pt x="7932" y="15415"/>
                    <a:pt x="7932" y="15415"/>
                  </a:cubicBezTo>
                  <a:cubicBezTo>
                    <a:pt x="7932" y="15415"/>
                    <a:pt x="8215" y="15700"/>
                    <a:pt x="8215" y="15700"/>
                  </a:cubicBezTo>
                  <a:cubicBezTo>
                    <a:pt x="8003" y="15700"/>
                    <a:pt x="7861" y="15320"/>
                    <a:pt x="7649" y="15320"/>
                  </a:cubicBezTo>
                  <a:cubicBezTo>
                    <a:pt x="7507" y="15320"/>
                    <a:pt x="7153" y="15225"/>
                    <a:pt x="7082" y="15415"/>
                  </a:cubicBezTo>
                  <a:cubicBezTo>
                    <a:pt x="7082" y="15510"/>
                    <a:pt x="7011" y="15510"/>
                    <a:pt x="6940" y="15605"/>
                  </a:cubicBezTo>
                  <a:cubicBezTo>
                    <a:pt x="6870" y="15605"/>
                    <a:pt x="6870" y="15796"/>
                    <a:pt x="6940" y="15700"/>
                  </a:cubicBezTo>
                  <a:cubicBezTo>
                    <a:pt x="7082" y="15700"/>
                    <a:pt x="7224" y="15605"/>
                    <a:pt x="7294" y="15415"/>
                  </a:cubicBezTo>
                  <a:cubicBezTo>
                    <a:pt x="7294" y="15510"/>
                    <a:pt x="7436" y="15510"/>
                    <a:pt x="7436" y="15510"/>
                  </a:cubicBezTo>
                  <a:cubicBezTo>
                    <a:pt x="7507" y="15510"/>
                    <a:pt x="7649" y="15796"/>
                    <a:pt x="7649" y="15510"/>
                  </a:cubicBezTo>
                  <a:cubicBezTo>
                    <a:pt x="7649" y="15415"/>
                    <a:pt x="7790" y="15605"/>
                    <a:pt x="7790" y="15605"/>
                  </a:cubicBezTo>
                  <a:cubicBezTo>
                    <a:pt x="7790" y="15605"/>
                    <a:pt x="8073" y="15605"/>
                    <a:pt x="8003" y="15700"/>
                  </a:cubicBezTo>
                  <a:cubicBezTo>
                    <a:pt x="8003" y="15700"/>
                    <a:pt x="7932" y="15700"/>
                    <a:pt x="7932" y="15700"/>
                  </a:cubicBezTo>
                  <a:cubicBezTo>
                    <a:pt x="7932" y="15700"/>
                    <a:pt x="8073" y="15796"/>
                    <a:pt x="8073" y="15796"/>
                  </a:cubicBezTo>
                  <a:cubicBezTo>
                    <a:pt x="8003" y="15796"/>
                    <a:pt x="7861" y="15796"/>
                    <a:pt x="7790" y="15700"/>
                  </a:cubicBezTo>
                  <a:cubicBezTo>
                    <a:pt x="7719" y="15605"/>
                    <a:pt x="7719" y="15700"/>
                    <a:pt x="7719" y="15796"/>
                  </a:cubicBezTo>
                  <a:cubicBezTo>
                    <a:pt x="7719" y="15700"/>
                    <a:pt x="7294" y="15605"/>
                    <a:pt x="7224" y="15605"/>
                  </a:cubicBezTo>
                  <a:cubicBezTo>
                    <a:pt x="7153" y="15605"/>
                    <a:pt x="6728" y="15796"/>
                    <a:pt x="6799" y="15986"/>
                  </a:cubicBezTo>
                  <a:cubicBezTo>
                    <a:pt x="6870" y="16081"/>
                    <a:pt x="7294" y="15891"/>
                    <a:pt x="7365" y="15891"/>
                  </a:cubicBezTo>
                  <a:cubicBezTo>
                    <a:pt x="7436" y="15891"/>
                    <a:pt x="7578" y="15891"/>
                    <a:pt x="7649" y="15986"/>
                  </a:cubicBezTo>
                  <a:cubicBezTo>
                    <a:pt x="7649" y="15986"/>
                    <a:pt x="7932" y="16081"/>
                    <a:pt x="7932" y="16081"/>
                  </a:cubicBezTo>
                  <a:cubicBezTo>
                    <a:pt x="7932" y="16176"/>
                    <a:pt x="7578" y="15986"/>
                    <a:pt x="7578" y="15986"/>
                  </a:cubicBezTo>
                  <a:cubicBezTo>
                    <a:pt x="7436" y="15891"/>
                    <a:pt x="7224" y="15986"/>
                    <a:pt x="7082" y="15986"/>
                  </a:cubicBezTo>
                  <a:cubicBezTo>
                    <a:pt x="6586" y="16176"/>
                    <a:pt x="7153" y="16367"/>
                    <a:pt x="7294" y="16271"/>
                  </a:cubicBezTo>
                  <a:cubicBezTo>
                    <a:pt x="7224" y="16367"/>
                    <a:pt x="7153" y="16462"/>
                    <a:pt x="7011" y="16462"/>
                  </a:cubicBezTo>
                  <a:cubicBezTo>
                    <a:pt x="6799" y="16557"/>
                    <a:pt x="7153" y="16652"/>
                    <a:pt x="7153" y="16652"/>
                  </a:cubicBezTo>
                  <a:cubicBezTo>
                    <a:pt x="7153" y="16652"/>
                    <a:pt x="6870" y="16557"/>
                    <a:pt x="6870" y="16747"/>
                  </a:cubicBezTo>
                  <a:cubicBezTo>
                    <a:pt x="6870" y="17033"/>
                    <a:pt x="7011" y="16842"/>
                    <a:pt x="7153" y="16747"/>
                  </a:cubicBezTo>
                  <a:cubicBezTo>
                    <a:pt x="7294" y="16652"/>
                    <a:pt x="7436" y="16462"/>
                    <a:pt x="7578" y="16367"/>
                  </a:cubicBezTo>
                  <a:cubicBezTo>
                    <a:pt x="7649" y="16367"/>
                    <a:pt x="8073" y="16081"/>
                    <a:pt x="8073" y="16271"/>
                  </a:cubicBezTo>
                  <a:cubicBezTo>
                    <a:pt x="8073" y="16271"/>
                    <a:pt x="7861" y="16271"/>
                    <a:pt x="7861" y="16271"/>
                  </a:cubicBezTo>
                  <a:cubicBezTo>
                    <a:pt x="7861" y="16271"/>
                    <a:pt x="8003" y="16271"/>
                    <a:pt x="8073" y="16367"/>
                  </a:cubicBezTo>
                  <a:cubicBezTo>
                    <a:pt x="7861" y="16176"/>
                    <a:pt x="6940" y="16937"/>
                    <a:pt x="7011" y="17033"/>
                  </a:cubicBezTo>
                  <a:cubicBezTo>
                    <a:pt x="7011" y="17128"/>
                    <a:pt x="7436" y="16937"/>
                    <a:pt x="7507" y="16937"/>
                  </a:cubicBezTo>
                  <a:cubicBezTo>
                    <a:pt x="7507" y="16937"/>
                    <a:pt x="7224" y="17033"/>
                    <a:pt x="7153" y="17128"/>
                  </a:cubicBezTo>
                  <a:cubicBezTo>
                    <a:pt x="7153" y="17128"/>
                    <a:pt x="7294" y="17508"/>
                    <a:pt x="7365" y="17413"/>
                  </a:cubicBezTo>
                  <a:cubicBezTo>
                    <a:pt x="7436" y="17318"/>
                    <a:pt x="7507" y="17128"/>
                    <a:pt x="7578" y="17128"/>
                  </a:cubicBezTo>
                  <a:cubicBezTo>
                    <a:pt x="7649" y="17128"/>
                    <a:pt x="7932" y="17223"/>
                    <a:pt x="7932" y="17223"/>
                  </a:cubicBezTo>
                  <a:cubicBezTo>
                    <a:pt x="7932" y="17223"/>
                    <a:pt x="7649" y="17223"/>
                    <a:pt x="7649" y="17223"/>
                  </a:cubicBezTo>
                  <a:cubicBezTo>
                    <a:pt x="7507" y="17223"/>
                    <a:pt x="7436" y="17318"/>
                    <a:pt x="7365" y="17413"/>
                  </a:cubicBezTo>
                  <a:cubicBezTo>
                    <a:pt x="7365" y="17508"/>
                    <a:pt x="7365" y="17604"/>
                    <a:pt x="7365" y="17699"/>
                  </a:cubicBezTo>
                  <a:cubicBezTo>
                    <a:pt x="7436" y="17984"/>
                    <a:pt x="7436" y="17889"/>
                    <a:pt x="7578" y="17794"/>
                  </a:cubicBezTo>
                  <a:cubicBezTo>
                    <a:pt x="7507" y="17889"/>
                    <a:pt x="7436" y="18270"/>
                    <a:pt x="7507" y="18365"/>
                  </a:cubicBezTo>
                  <a:cubicBezTo>
                    <a:pt x="7507" y="18365"/>
                    <a:pt x="7719" y="17984"/>
                    <a:pt x="7790" y="17984"/>
                  </a:cubicBezTo>
                  <a:cubicBezTo>
                    <a:pt x="7790" y="18079"/>
                    <a:pt x="7719" y="18174"/>
                    <a:pt x="7790" y="18270"/>
                  </a:cubicBezTo>
                  <a:cubicBezTo>
                    <a:pt x="7790" y="18365"/>
                    <a:pt x="7861" y="18174"/>
                    <a:pt x="7932" y="18174"/>
                  </a:cubicBezTo>
                  <a:cubicBezTo>
                    <a:pt x="8073" y="17984"/>
                    <a:pt x="7790" y="17794"/>
                    <a:pt x="7790" y="17699"/>
                  </a:cubicBezTo>
                  <a:cubicBezTo>
                    <a:pt x="7790" y="17699"/>
                    <a:pt x="7932" y="17984"/>
                    <a:pt x="8003" y="17984"/>
                  </a:cubicBezTo>
                  <a:cubicBezTo>
                    <a:pt x="8073" y="18079"/>
                    <a:pt x="8073" y="17984"/>
                    <a:pt x="8144" y="17889"/>
                  </a:cubicBezTo>
                  <a:cubicBezTo>
                    <a:pt x="8073" y="17889"/>
                    <a:pt x="8286" y="18174"/>
                    <a:pt x="8215" y="18270"/>
                  </a:cubicBezTo>
                  <a:cubicBezTo>
                    <a:pt x="8286" y="18174"/>
                    <a:pt x="8073" y="17984"/>
                    <a:pt x="8073" y="18174"/>
                  </a:cubicBezTo>
                  <a:cubicBezTo>
                    <a:pt x="8073" y="18365"/>
                    <a:pt x="8215" y="18555"/>
                    <a:pt x="8073" y="18650"/>
                  </a:cubicBezTo>
                  <a:cubicBezTo>
                    <a:pt x="8073" y="18650"/>
                    <a:pt x="8073" y="18365"/>
                    <a:pt x="8073" y="18365"/>
                  </a:cubicBezTo>
                  <a:cubicBezTo>
                    <a:pt x="8073" y="18270"/>
                    <a:pt x="7932" y="18460"/>
                    <a:pt x="7861" y="18460"/>
                  </a:cubicBezTo>
                  <a:cubicBezTo>
                    <a:pt x="7790" y="18460"/>
                    <a:pt x="7719" y="18650"/>
                    <a:pt x="7719" y="18745"/>
                  </a:cubicBezTo>
                  <a:cubicBezTo>
                    <a:pt x="7649" y="18936"/>
                    <a:pt x="7861" y="18745"/>
                    <a:pt x="7861" y="18841"/>
                  </a:cubicBezTo>
                  <a:cubicBezTo>
                    <a:pt x="7932" y="18936"/>
                    <a:pt x="7790" y="19031"/>
                    <a:pt x="7790" y="19031"/>
                  </a:cubicBezTo>
                  <a:cubicBezTo>
                    <a:pt x="7790" y="19031"/>
                    <a:pt x="7932" y="18936"/>
                    <a:pt x="8003" y="19126"/>
                  </a:cubicBezTo>
                  <a:cubicBezTo>
                    <a:pt x="8003" y="19316"/>
                    <a:pt x="8144" y="19411"/>
                    <a:pt x="8144" y="19507"/>
                  </a:cubicBezTo>
                  <a:cubicBezTo>
                    <a:pt x="8073" y="19697"/>
                    <a:pt x="8144" y="19697"/>
                    <a:pt x="8286" y="19887"/>
                  </a:cubicBezTo>
                  <a:cubicBezTo>
                    <a:pt x="8357" y="19982"/>
                    <a:pt x="8428" y="20173"/>
                    <a:pt x="8498" y="19982"/>
                  </a:cubicBezTo>
                  <a:cubicBezTo>
                    <a:pt x="8498" y="19982"/>
                    <a:pt x="8569" y="20458"/>
                    <a:pt x="8640" y="20458"/>
                  </a:cubicBezTo>
                  <a:cubicBezTo>
                    <a:pt x="8711" y="20553"/>
                    <a:pt x="8640" y="20458"/>
                    <a:pt x="8711" y="20458"/>
                  </a:cubicBezTo>
                  <a:cubicBezTo>
                    <a:pt x="8782" y="20553"/>
                    <a:pt x="8852" y="20648"/>
                    <a:pt x="8923" y="20744"/>
                  </a:cubicBezTo>
                  <a:cubicBezTo>
                    <a:pt x="9065" y="20839"/>
                    <a:pt x="9207" y="20934"/>
                    <a:pt x="9348" y="20839"/>
                  </a:cubicBezTo>
                  <a:cubicBezTo>
                    <a:pt x="9419" y="20839"/>
                    <a:pt x="9631" y="20839"/>
                    <a:pt x="9631" y="20744"/>
                  </a:cubicBezTo>
                  <a:cubicBezTo>
                    <a:pt x="9631" y="20744"/>
                    <a:pt x="9631" y="21029"/>
                    <a:pt x="9631" y="21029"/>
                  </a:cubicBezTo>
                  <a:cubicBezTo>
                    <a:pt x="9631" y="21029"/>
                    <a:pt x="9773" y="20648"/>
                    <a:pt x="9773" y="20744"/>
                  </a:cubicBezTo>
                  <a:cubicBezTo>
                    <a:pt x="9844" y="20744"/>
                    <a:pt x="9773" y="20839"/>
                    <a:pt x="9773" y="20839"/>
                  </a:cubicBezTo>
                  <a:cubicBezTo>
                    <a:pt x="9773" y="20934"/>
                    <a:pt x="9844" y="20934"/>
                    <a:pt x="9844" y="20934"/>
                  </a:cubicBezTo>
                  <a:cubicBezTo>
                    <a:pt x="9844" y="20934"/>
                    <a:pt x="9631" y="21029"/>
                    <a:pt x="9702" y="21124"/>
                  </a:cubicBezTo>
                  <a:cubicBezTo>
                    <a:pt x="9773" y="21124"/>
                    <a:pt x="9773" y="21124"/>
                    <a:pt x="9844" y="21029"/>
                  </a:cubicBezTo>
                  <a:cubicBezTo>
                    <a:pt x="9915" y="21124"/>
                    <a:pt x="9844" y="21219"/>
                    <a:pt x="9844" y="21219"/>
                  </a:cubicBezTo>
                  <a:cubicBezTo>
                    <a:pt x="9844" y="21315"/>
                    <a:pt x="10056" y="21029"/>
                    <a:pt x="10056" y="21124"/>
                  </a:cubicBezTo>
                  <a:cubicBezTo>
                    <a:pt x="10056" y="21219"/>
                    <a:pt x="9915" y="21315"/>
                    <a:pt x="9915" y="21410"/>
                  </a:cubicBezTo>
                  <a:cubicBezTo>
                    <a:pt x="9915" y="21315"/>
                    <a:pt x="10127" y="21219"/>
                    <a:pt x="10056" y="21410"/>
                  </a:cubicBezTo>
                  <a:cubicBezTo>
                    <a:pt x="10056" y="21410"/>
                    <a:pt x="10056" y="21410"/>
                    <a:pt x="10056" y="21315"/>
                  </a:cubicBezTo>
                  <a:cubicBezTo>
                    <a:pt x="10056" y="21505"/>
                    <a:pt x="10269" y="21219"/>
                    <a:pt x="10269" y="21219"/>
                  </a:cubicBezTo>
                  <a:cubicBezTo>
                    <a:pt x="10340" y="21315"/>
                    <a:pt x="10269" y="21505"/>
                    <a:pt x="10269" y="21600"/>
                  </a:cubicBezTo>
                  <a:cubicBezTo>
                    <a:pt x="10198" y="21410"/>
                    <a:pt x="10835" y="21410"/>
                    <a:pt x="10410" y="21124"/>
                  </a:cubicBezTo>
                  <a:cubicBezTo>
                    <a:pt x="10481" y="21124"/>
                    <a:pt x="10835" y="21124"/>
                    <a:pt x="10623" y="21029"/>
                  </a:cubicBezTo>
                  <a:cubicBezTo>
                    <a:pt x="10410" y="20839"/>
                    <a:pt x="10694" y="20934"/>
                    <a:pt x="10765" y="20744"/>
                  </a:cubicBezTo>
                  <a:cubicBezTo>
                    <a:pt x="10765" y="20744"/>
                    <a:pt x="10552" y="20744"/>
                    <a:pt x="10552" y="20744"/>
                  </a:cubicBezTo>
                  <a:cubicBezTo>
                    <a:pt x="10623" y="20648"/>
                    <a:pt x="10694" y="20553"/>
                    <a:pt x="10765" y="20553"/>
                  </a:cubicBezTo>
                  <a:cubicBezTo>
                    <a:pt x="10906" y="20363"/>
                    <a:pt x="10694" y="20458"/>
                    <a:pt x="10694" y="20363"/>
                  </a:cubicBezTo>
                  <a:cubicBezTo>
                    <a:pt x="10694" y="20363"/>
                    <a:pt x="10906" y="20268"/>
                    <a:pt x="10906" y="20173"/>
                  </a:cubicBezTo>
                  <a:cubicBezTo>
                    <a:pt x="10906" y="20078"/>
                    <a:pt x="10906" y="19887"/>
                    <a:pt x="10835" y="19792"/>
                  </a:cubicBezTo>
                  <a:cubicBezTo>
                    <a:pt x="10765" y="19792"/>
                    <a:pt x="10906" y="19697"/>
                    <a:pt x="10835" y="19602"/>
                  </a:cubicBezTo>
                  <a:cubicBezTo>
                    <a:pt x="10835" y="19602"/>
                    <a:pt x="10694" y="19507"/>
                    <a:pt x="10694" y="19507"/>
                  </a:cubicBezTo>
                  <a:cubicBezTo>
                    <a:pt x="10694" y="19507"/>
                    <a:pt x="10977" y="19411"/>
                    <a:pt x="11048" y="19411"/>
                  </a:cubicBezTo>
                  <a:cubicBezTo>
                    <a:pt x="11260" y="19411"/>
                    <a:pt x="11048" y="19316"/>
                    <a:pt x="10977" y="19221"/>
                  </a:cubicBezTo>
                  <a:cubicBezTo>
                    <a:pt x="10977" y="19221"/>
                    <a:pt x="11331" y="19221"/>
                    <a:pt x="11331" y="19221"/>
                  </a:cubicBezTo>
                  <a:cubicBezTo>
                    <a:pt x="11260" y="19126"/>
                    <a:pt x="11119" y="19126"/>
                    <a:pt x="11048" y="19031"/>
                  </a:cubicBezTo>
                  <a:cubicBezTo>
                    <a:pt x="11048" y="19031"/>
                    <a:pt x="11331" y="19126"/>
                    <a:pt x="11331" y="19031"/>
                  </a:cubicBezTo>
                  <a:cubicBezTo>
                    <a:pt x="11402" y="19031"/>
                    <a:pt x="11331" y="19031"/>
                    <a:pt x="11331" y="18936"/>
                  </a:cubicBezTo>
                  <a:cubicBezTo>
                    <a:pt x="11402" y="18936"/>
                    <a:pt x="11402" y="18936"/>
                    <a:pt x="11402" y="18936"/>
                  </a:cubicBezTo>
                  <a:cubicBezTo>
                    <a:pt x="11473" y="18841"/>
                    <a:pt x="11190" y="18745"/>
                    <a:pt x="11190" y="18745"/>
                  </a:cubicBezTo>
                  <a:cubicBezTo>
                    <a:pt x="11190" y="18745"/>
                    <a:pt x="11544" y="18745"/>
                    <a:pt x="11473" y="18650"/>
                  </a:cubicBezTo>
                  <a:cubicBezTo>
                    <a:pt x="11473" y="18555"/>
                    <a:pt x="11544" y="18555"/>
                    <a:pt x="11402" y="18460"/>
                  </a:cubicBezTo>
                  <a:cubicBezTo>
                    <a:pt x="11402" y="18460"/>
                    <a:pt x="11190" y="18460"/>
                    <a:pt x="11190" y="18365"/>
                  </a:cubicBezTo>
                  <a:cubicBezTo>
                    <a:pt x="11190" y="18365"/>
                    <a:pt x="11544" y="18270"/>
                    <a:pt x="11544" y="18270"/>
                  </a:cubicBezTo>
                  <a:cubicBezTo>
                    <a:pt x="11685" y="18270"/>
                    <a:pt x="11614" y="17984"/>
                    <a:pt x="11473" y="17984"/>
                  </a:cubicBezTo>
                  <a:cubicBezTo>
                    <a:pt x="11402" y="17889"/>
                    <a:pt x="11190" y="17794"/>
                    <a:pt x="11402" y="17699"/>
                  </a:cubicBezTo>
                  <a:cubicBezTo>
                    <a:pt x="11544" y="17699"/>
                    <a:pt x="11756" y="17794"/>
                    <a:pt x="11827" y="17604"/>
                  </a:cubicBezTo>
                  <a:cubicBezTo>
                    <a:pt x="11827" y="17604"/>
                    <a:pt x="11685" y="17413"/>
                    <a:pt x="11685" y="17413"/>
                  </a:cubicBezTo>
                  <a:cubicBezTo>
                    <a:pt x="11685" y="17318"/>
                    <a:pt x="11827" y="17318"/>
                    <a:pt x="11827" y="17318"/>
                  </a:cubicBezTo>
                  <a:cubicBezTo>
                    <a:pt x="11898" y="17223"/>
                    <a:pt x="12039" y="17223"/>
                    <a:pt x="12181" y="17318"/>
                  </a:cubicBezTo>
                  <a:cubicBezTo>
                    <a:pt x="12181" y="17318"/>
                    <a:pt x="12323" y="17318"/>
                    <a:pt x="12323" y="17318"/>
                  </a:cubicBezTo>
                  <a:cubicBezTo>
                    <a:pt x="12393" y="17223"/>
                    <a:pt x="12252" y="17128"/>
                    <a:pt x="12252" y="17033"/>
                  </a:cubicBezTo>
                  <a:cubicBezTo>
                    <a:pt x="12323" y="16937"/>
                    <a:pt x="12535" y="16557"/>
                    <a:pt x="12677" y="16747"/>
                  </a:cubicBezTo>
                  <a:cubicBezTo>
                    <a:pt x="12606" y="16652"/>
                    <a:pt x="12393" y="17223"/>
                    <a:pt x="12464" y="17223"/>
                  </a:cubicBezTo>
                  <a:cubicBezTo>
                    <a:pt x="12535" y="17318"/>
                    <a:pt x="12677" y="17033"/>
                    <a:pt x="12818" y="17033"/>
                  </a:cubicBezTo>
                  <a:cubicBezTo>
                    <a:pt x="12818" y="17033"/>
                    <a:pt x="12960" y="17128"/>
                    <a:pt x="12960" y="17128"/>
                  </a:cubicBezTo>
                  <a:cubicBezTo>
                    <a:pt x="12960" y="17128"/>
                    <a:pt x="12960" y="16937"/>
                    <a:pt x="12960" y="16937"/>
                  </a:cubicBezTo>
                  <a:cubicBezTo>
                    <a:pt x="13172" y="17033"/>
                    <a:pt x="13172" y="16937"/>
                    <a:pt x="13243" y="16842"/>
                  </a:cubicBezTo>
                  <a:cubicBezTo>
                    <a:pt x="13314" y="16747"/>
                    <a:pt x="13385" y="16747"/>
                    <a:pt x="13456" y="16747"/>
                  </a:cubicBezTo>
                  <a:cubicBezTo>
                    <a:pt x="13597" y="16652"/>
                    <a:pt x="13597" y="16557"/>
                    <a:pt x="13668" y="16462"/>
                  </a:cubicBezTo>
                  <a:cubicBezTo>
                    <a:pt x="13739" y="16367"/>
                    <a:pt x="13881" y="16176"/>
                    <a:pt x="13951" y="15986"/>
                  </a:cubicBezTo>
                  <a:cubicBezTo>
                    <a:pt x="14093" y="15796"/>
                    <a:pt x="14093" y="15700"/>
                    <a:pt x="14235" y="15700"/>
                  </a:cubicBezTo>
                  <a:cubicBezTo>
                    <a:pt x="14306" y="15605"/>
                    <a:pt x="14518" y="15605"/>
                    <a:pt x="14518" y="15415"/>
                  </a:cubicBezTo>
                  <a:cubicBezTo>
                    <a:pt x="14447" y="15415"/>
                    <a:pt x="14376" y="14939"/>
                    <a:pt x="14376" y="14939"/>
                  </a:cubicBezTo>
                  <a:cubicBezTo>
                    <a:pt x="14447" y="14939"/>
                    <a:pt x="14660" y="15225"/>
                    <a:pt x="14730" y="15225"/>
                  </a:cubicBezTo>
                  <a:cubicBezTo>
                    <a:pt x="14801" y="15320"/>
                    <a:pt x="14872" y="15320"/>
                    <a:pt x="14943" y="15320"/>
                  </a:cubicBezTo>
                  <a:cubicBezTo>
                    <a:pt x="14943" y="15320"/>
                    <a:pt x="15085" y="15225"/>
                    <a:pt x="15085" y="15225"/>
                  </a:cubicBezTo>
                  <a:cubicBezTo>
                    <a:pt x="15155" y="15225"/>
                    <a:pt x="15226" y="15320"/>
                    <a:pt x="15297" y="15225"/>
                  </a:cubicBezTo>
                  <a:cubicBezTo>
                    <a:pt x="15297" y="15225"/>
                    <a:pt x="15155" y="15034"/>
                    <a:pt x="15368" y="15130"/>
                  </a:cubicBezTo>
                  <a:cubicBezTo>
                    <a:pt x="15510" y="15130"/>
                    <a:pt x="15651" y="15130"/>
                    <a:pt x="15793" y="15034"/>
                  </a:cubicBezTo>
                  <a:cubicBezTo>
                    <a:pt x="16147" y="14939"/>
                    <a:pt x="16430" y="14844"/>
                    <a:pt x="16784" y="14654"/>
                  </a:cubicBezTo>
                  <a:cubicBezTo>
                    <a:pt x="16855" y="14559"/>
                    <a:pt x="17988" y="13607"/>
                    <a:pt x="18059" y="13607"/>
                  </a:cubicBezTo>
                  <a:cubicBezTo>
                    <a:pt x="17988" y="13607"/>
                    <a:pt x="17492" y="13607"/>
                    <a:pt x="17422" y="13607"/>
                  </a:cubicBezTo>
                  <a:cubicBezTo>
                    <a:pt x="17280" y="13512"/>
                    <a:pt x="17138" y="13417"/>
                    <a:pt x="16997" y="13417"/>
                  </a:cubicBezTo>
                  <a:cubicBezTo>
                    <a:pt x="16855" y="13417"/>
                    <a:pt x="16713" y="13512"/>
                    <a:pt x="16643" y="13512"/>
                  </a:cubicBezTo>
                  <a:cubicBezTo>
                    <a:pt x="16501" y="13607"/>
                    <a:pt x="16501" y="13417"/>
                    <a:pt x="16430" y="13512"/>
                  </a:cubicBezTo>
                  <a:cubicBezTo>
                    <a:pt x="16359" y="13512"/>
                    <a:pt x="16289" y="13702"/>
                    <a:pt x="16218" y="13702"/>
                  </a:cubicBezTo>
                  <a:cubicBezTo>
                    <a:pt x="15934" y="13702"/>
                    <a:pt x="16430" y="13322"/>
                    <a:pt x="16501" y="13417"/>
                  </a:cubicBezTo>
                  <a:cubicBezTo>
                    <a:pt x="16430" y="13322"/>
                    <a:pt x="16218" y="13417"/>
                    <a:pt x="16147" y="13417"/>
                  </a:cubicBezTo>
                  <a:cubicBezTo>
                    <a:pt x="15934" y="13417"/>
                    <a:pt x="15793" y="13322"/>
                    <a:pt x="15651" y="13322"/>
                  </a:cubicBezTo>
                  <a:cubicBezTo>
                    <a:pt x="15722" y="13322"/>
                    <a:pt x="15934" y="13131"/>
                    <a:pt x="16005" y="13036"/>
                  </a:cubicBezTo>
                  <a:cubicBezTo>
                    <a:pt x="16005" y="12751"/>
                    <a:pt x="16147" y="12846"/>
                    <a:pt x="16218" y="12941"/>
                  </a:cubicBezTo>
                  <a:cubicBezTo>
                    <a:pt x="16359" y="12941"/>
                    <a:pt x="16926" y="12751"/>
                    <a:pt x="16997" y="12656"/>
                  </a:cubicBezTo>
                  <a:cubicBezTo>
                    <a:pt x="16997" y="12560"/>
                    <a:pt x="16643" y="12465"/>
                    <a:pt x="16572" y="12370"/>
                  </a:cubicBezTo>
                  <a:cubicBezTo>
                    <a:pt x="16643" y="12465"/>
                    <a:pt x="16926" y="12560"/>
                    <a:pt x="16997" y="12560"/>
                  </a:cubicBezTo>
                  <a:cubicBezTo>
                    <a:pt x="17068" y="12656"/>
                    <a:pt x="17351" y="12656"/>
                    <a:pt x="17351" y="12846"/>
                  </a:cubicBezTo>
                  <a:cubicBezTo>
                    <a:pt x="17280" y="13131"/>
                    <a:pt x="17422" y="13226"/>
                    <a:pt x="17563" y="13226"/>
                  </a:cubicBezTo>
                  <a:cubicBezTo>
                    <a:pt x="17563" y="13226"/>
                    <a:pt x="17988" y="13226"/>
                    <a:pt x="17917" y="13131"/>
                  </a:cubicBezTo>
                  <a:cubicBezTo>
                    <a:pt x="17917" y="13131"/>
                    <a:pt x="17917" y="13322"/>
                    <a:pt x="17988" y="13322"/>
                  </a:cubicBezTo>
                  <a:cubicBezTo>
                    <a:pt x="18130" y="13226"/>
                    <a:pt x="18201" y="12941"/>
                    <a:pt x="18201" y="12751"/>
                  </a:cubicBezTo>
                  <a:cubicBezTo>
                    <a:pt x="18201" y="12656"/>
                    <a:pt x="18201" y="12275"/>
                    <a:pt x="18059" y="12370"/>
                  </a:cubicBezTo>
                  <a:cubicBezTo>
                    <a:pt x="17917" y="12560"/>
                    <a:pt x="17988" y="12370"/>
                    <a:pt x="17917" y="12275"/>
                  </a:cubicBezTo>
                  <a:cubicBezTo>
                    <a:pt x="17776" y="12085"/>
                    <a:pt x="17563" y="11989"/>
                    <a:pt x="17351" y="11799"/>
                  </a:cubicBezTo>
                  <a:cubicBezTo>
                    <a:pt x="17280" y="11704"/>
                    <a:pt x="17209" y="11704"/>
                    <a:pt x="17138" y="11609"/>
                  </a:cubicBezTo>
                  <a:cubicBezTo>
                    <a:pt x="17138" y="11609"/>
                    <a:pt x="16855" y="11704"/>
                    <a:pt x="16855" y="11799"/>
                  </a:cubicBezTo>
                  <a:cubicBezTo>
                    <a:pt x="16855" y="11799"/>
                    <a:pt x="16926" y="11704"/>
                    <a:pt x="16855" y="11704"/>
                  </a:cubicBezTo>
                  <a:cubicBezTo>
                    <a:pt x="16855" y="11704"/>
                    <a:pt x="16784" y="11609"/>
                    <a:pt x="16784" y="11609"/>
                  </a:cubicBezTo>
                  <a:cubicBezTo>
                    <a:pt x="16784" y="11514"/>
                    <a:pt x="17068" y="11609"/>
                    <a:pt x="17068" y="11514"/>
                  </a:cubicBezTo>
                  <a:cubicBezTo>
                    <a:pt x="17068" y="11323"/>
                    <a:pt x="17068" y="11228"/>
                    <a:pt x="16855" y="11228"/>
                  </a:cubicBezTo>
                  <a:cubicBezTo>
                    <a:pt x="16713" y="11323"/>
                    <a:pt x="16643" y="11514"/>
                    <a:pt x="16501" y="11323"/>
                  </a:cubicBezTo>
                  <a:cubicBezTo>
                    <a:pt x="16501" y="11323"/>
                    <a:pt x="16218" y="11323"/>
                    <a:pt x="16218" y="11228"/>
                  </a:cubicBezTo>
                  <a:cubicBezTo>
                    <a:pt x="16218" y="11038"/>
                    <a:pt x="16572" y="11323"/>
                    <a:pt x="16572" y="11323"/>
                  </a:cubicBezTo>
                  <a:cubicBezTo>
                    <a:pt x="16643" y="11323"/>
                    <a:pt x="16997" y="11228"/>
                    <a:pt x="16997" y="11133"/>
                  </a:cubicBezTo>
                  <a:cubicBezTo>
                    <a:pt x="17068" y="11133"/>
                    <a:pt x="16713" y="10943"/>
                    <a:pt x="16643" y="10943"/>
                  </a:cubicBezTo>
                  <a:cubicBezTo>
                    <a:pt x="16501" y="10943"/>
                    <a:pt x="16289" y="10943"/>
                    <a:pt x="16147" y="11038"/>
                  </a:cubicBezTo>
                  <a:cubicBezTo>
                    <a:pt x="16218" y="11038"/>
                    <a:pt x="16501" y="10752"/>
                    <a:pt x="16501" y="10848"/>
                  </a:cubicBezTo>
                  <a:cubicBezTo>
                    <a:pt x="16501" y="10752"/>
                    <a:pt x="16218" y="10752"/>
                    <a:pt x="16218" y="10657"/>
                  </a:cubicBezTo>
                  <a:cubicBezTo>
                    <a:pt x="16430" y="10752"/>
                    <a:pt x="16643" y="10943"/>
                    <a:pt x="16855" y="10752"/>
                  </a:cubicBezTo>
                  <a:cubicBezTo>
                    <a:pt x="16855" y="10752"/>
                    <a:pt x="17068" y="10657"/>
                    <a:pt x="17068" y="10562"/>
                  </a:cubicBezTo>
                  <a:cubicBezTo>
                    <a:pt x="16997" y="10467"/>
                    <a:pt x="16855" y="10372"/>
                    <a:pt x="16855" y="10277"/>
                  </a:cubicBezTo>
                  <a:cubicBezTo>
                    <a:pt x="16855" y="10372"/>
                    <a:pt x="17068" y="10467"/>
                    <a:pt x="17138" y="10467"/>
                  </a:cubicBezTo>
                  <a:cubicBezTo>
                    <a:pt x="17280" y="10562"/>
                    <a:pt x="17209" y="10372"/>
                    <a:pt x="17351" y="10372"/>
                  </a:cubicBezTo>
                  <a:cubicBezTo>
                    <a:pt x="17422" y="10372"/>
                    <a:pt x="17988" y="10562"/>
                    <a:pt x="17988" y="10562"/>
                  </a:cubicBezTo>
                  <a:cubicBezTo>
                    <a:pt x="17917" y="10562"/>
                    <a:pt x="17422" y="10467"/>
                    <a:pt x="17422" y="10467"/>
                  </a:cubicBezTo>
                  <a:cubicBezTo>
                    <a:pt x="17563" y="10848"/>
                    <a:pt x="17988" y="10752"/>
                    <a:pt x="18201" y="10752"/>
                  </a:cubicBezTo>
                  <a:cubicBezTo>
                    <a:pt x="18271" y="10657"/>
                    <a:pt x="18484" y="10752"/>
                    <a:pt x="18555" y="10657"/>
                  </a:cubicBezTo>
                  <a:cubicBezTo>
                    <a:pt x="18767" y="10562"/>
                    <a:pt x="18696" y="10372"/>
                    <a:pt x="18555" y="10277"/>
                  </a:cubicBezTo>
                  <a:cubicBezTo>
                    <a:pt x="18484" y="10181"/>
                    <a:pt x="18271" y="10086"/>
                    <a:pt x="18201" y="10086"/>
                  </a:cubicBezTo>
                  <a:cubicBezTo>
                    <a:pt x="18130" y="10086"/>
                    <a:pt x="18201" y="10372"/>
                    <a:pt x="18201" y="10467"/>
                  </a:cubicBezTo>
                  <a:cubicBezTo>
                    <a:pt x="18130" y="10372"/>
                    <a:pt x="18130" y="10277"/>
                    <a:pt x="18059" y="10181"/>
                  </a:cubicBezTo>
                  <a:cubicBezTo>
                    <a:pt x="18059" y="10086"/>
                    <a:pt x="17988" y="10181"/>
                    <a:pt x="17917" y="10086"/>
                  </a:cubicBezTo>
                  <a:cubicBezTo>
                    <a:pt x="17988" y="10181"/>
                    <a:pt x="18130" y="9611"/>
                    <a:pt x="18130" y="9515"/>
                  </a:cubicBezTo>
                  <a:cubicBezTo>
                    <a:pt x="18130" y="9515"/>
                    <a:pt x="18201" y="9801"/>
                    <a:pt x="18201" y="9801"/>
                  </a:cubicBezTo>
                  <a:cubicBezTo>
                    <a:pt x="18201" y="9991"/>
                    <a:pt x="18201" y="10086"/>
                    <a:pt x="18271" y="10086"/>
                  </a:cubicBezTo>
                  <a:cubicBezTo>
                    <a:pt x="18484" y="10086"/>
                    <a:pt x="18626" y="9991"/>
                    <a:pt x="18767" y="9991"/>
                  </a:cubicBezTo>
                  <a:cubicBezTo>
                    <a:pt x="18838" y="9991"/>
                    <a:pt x="19263" y="9801"/>
                    <a:pt x="19121" y="9611"/>
                  </a:cubicBezTo>
                  <a:cubicBezTo>
                    <a:pt x="18980" y="9515"/>
                    <a:pt x="18909" y="9706"/>
                    <a:pt x="18838" y="9611"/>
                  </a:cubicBezTo>
                  <a:cubicBezTo>
                    <a:pt x="18838" y="9515"/>
                    <a:pt x="18838" y="9515"/>
                    <a:pt x="18838" y="9420"/>
                  </a:cubicBezTo>
                  <a:cubicBezTo>
                    <a:pt x="18909" y="9325"/>
                    <a:pt x="18838" y="9230"/>
                    <a:pt x="18767" y="9230"/>
                  </a:cubicBezTo>
                  <a:cubicBezTo>
                    <a:pt x="18767" y="9135"/>
                    <a:pt x="18555" y="9135"/>
                    <a:pt x="18484" y="9135"/>
                  </a:cubicBezTo>
                  <a:cubicBezTo>
                    <a:pt x="18342" y="9135"/>
                    <a:pt x="18271" y="9325"/>
                    <a:pt x="18130" y="9135"/>
                  </a:cubicBezTo>
                  <a:cubicBezTo>
                    <a:pt x="18413" y="9420"/>
                    <a:pt x="18555" y="8659"/>
                    <a:pt x="18838" y="9040"/>
                  </a:cubicBezTo>
                  <a:cubicBezTo>
                    <a:pt x="18909" y="9230"/>
                    <a:pt x="19050" y="8944"/>
                    <a:pt x="19050" y="8754"/>
                  </a:cubicBezTo>
                  <a:cubicBezTo>
                    <a:pt x="19050" y="8659"/>
                    <a:pt x="18838" y="8374"/>
                    <a:pt x="18838" y="8374"/>
                  </a:cubicBezTo>
                  <a:cubicBezTo>
                    <a:pt x="18838" y="8278"/>
                    <a:pt x="19050" y="8564"/>
                    <a:pt x="19050" y="8659"/>
                  </a:cubicBezTo>
                  <a:cubicBezTo>
                    <a:pt x="19050" y="8754"/>
                    <a:pt x="19192" y="8564"/>
                    <a:pt x="19121" y="8374"/>
                  </a:cubicBezTo>
                  <a:cubicBezTo>
                    <a:pt x="19050" y="8278"/>
                    <a:pt x="18909" y="8088"/>
                    <a:pt x="18838" y="7993"/>
                  </a:cubicBezTo>
                  <a:cubicBezTo>
                    <a:pt x="18696" y="7993"/>
                    <a:pt x="18484" y="8088"/>
                    <a:pt x="18342" y="7993"/>
                  </a:cubicBezTo>
                  <a:cubicBezTo>
                    <a:pt x="18271" y="7898"/>
                    <a:pt x="18271" y="7707"/>
                    <a:pt x="18130" y="7707"/>
                  </a:cubicBezTo>
                  <a:cubicBezTo>
                    <a:pt x="18130" y="7612"/>
                    <a:pt x="17847" y="7707"/>
                    <a:pt x="17917" y="7612"/>
                  </a:cubicBezTo>
                  <a:cubicBezTo>
                    <a:pt x="17988" y="7422"/>
                    <a:pt x="17988" y="7327"/>
                    <a:pt x="18130" y="7517"/>
                  </a:cubicBezTo>
                  <a:cubicBezTo>
                    <a:pt x="18271" y="7707"/>
                    <a:pt x="18413" y="7422"/>
                    <a:pt x="18555" y="7327"/>
                  </a:cubicBezTo>
                  <a:cubicBezTo>
                    <a:pt x="18767" y="7137"/>
                    <a:pt x="19192" y="7707"/>
                    <a:pt x="19405" y="7422"/>
                  </a:cubicBezTo>
                  <a:cubicBezTo>
                    <a:pt x="19475" y="7327"/>
                    <a:pt x="19475" y="6851"/>
                    <a:pt x="19263" y="6946"/>
                  </a:cubicBezTo>
                  <a:cubicBezTo>
                    <a:pt x="19192" y="6946"/>
                    <a:pt x="19121" y="7041"/>
                    <a:pt x="19050" y="6946"/>
                  </a:cubicBezTo>
                  <a:cubicBezTo>
                    <a:pt x="18909" y="6946"/>
                    <a:pt x="18767" y="6851"/>
                    <a:pt x="18626" y="6661"/>
                  </a:cubicBezTo>
                  <a:cubicBezTo>
                    <a:pt x="18413" y="6470"/>
                    <a:pt x="19192" y="6756"/>
                    <a:pt x="19192" y="6661"/>
                  </a:cubicBezTo>
                  <a:cubicBezTo>
                    <a:pt x="19121" y="6470"/>
                    <a:pt x="18767" y="6375"/>
                    <a:pt x="18626" y="6280"/>
                  </a:cubicBezTo>
                  <a:cubicBezTo>
                    <a:pt x="18413" y="6185"/>
                    <a:pt x="18413" y="6280"/>
                    <a:pt x="18342" y="6470"/>
                  </a:cubicBezTo>
                  <a:cubicBezTo>
                    <a:pt x="18342" y="6566"/>
                    <a:pt x="18201" y="6661"/>
                    <a:pt x="18130" y="6566"/>
                  </a:cubicBezTo>
                  <a:cubicBezTo>
                    <a:pt x="18059" y="6566"/>
                    <a:pt x="18271" y="6185"/>
                    <a:pt x="18271" y="6090"/>
                  </a:cubicBezTo>
                  <a:cubicBezTo>
                    <a:pt x="18271" y="5995"/>
                    <a:pt x="18342" y="5804"/>
                    <a:pt x="18413" y="5709"/>
                  </a:cubicBezTo>
                  <a:cubicBezTo>
                    <a:pt x="18413" y="5614"/>
                    <a:pt x="18413" y="5424"/>
                    <a:pt x="18484" y="5424"/>
                  </a:cubicBezTo>
                  <a:cubicBezTo>
                    <a:pt x="18555" y="5424"/>
                    <a:pt x="18696" y="5424"/>
                    <a:pt x="18767" y="5329"/>
                  </a:cubicBezTo>
                  <a:cubicBezTo>
                    <a:pt x="18767" y="5329"/>
                    <a:pt x="19121" y="4853"/>
                    <a:pt x="19121" y="4948"/>
                  </a:cubicBezTo>
                  <a:cubicBezTo>
                    <a:pt x="19121" y="4948"/>
                    <a:pt x="18980" y="4853"/>
                    <a:pt x="18980" y="4853"/>
                  </a:cubicBezTo>
                  <a:cubicBezTo>
                    <a:pt x="18980" y="4758"/>
                    <a:pt x="18980" y="4663"/>
                    <a:pt x="18980" y="4567"/>
                  </a:cubicBezTo>
                  <a:cubicBezTo>
                    <a:pt x="18980" y="4377"/>
                    <a:pt x="19050" y="4377"/>
                    <a:pt x="19192" y="4377"/>
                  </a:cubicBezTo>
                  <a:cubicBezTo>
                    <a:pt x="19334" y="4377"/>
                    <a:pt x="19900" y="4092"/>
                    <a:pt x="19546" y="4092"/>
                  </a:cubicBezTo>
                  <a:cubicBezTo>
                    <a:pt x="19334" y="4092"/>
                    <a:pt x="18980" y="3996"/>
                    <a:pt x="18838" y="4187"/>
                  </a:cubicBezTo>
                  <a:cubicBezTo>
                    <a:pt x="18767" y="4282"/>
                    <a:pt x="18767" y="4472"/>
                    <a:pt x="18626" y="4377"/>
                  </a:cubicBezTo>
                  <a:cubicBezTo>
                    <a:pt x="18484" y="4282"/>
                    <a:pt x="18626" y="4092"/>
                    <a:pt x="18696" y="3996"/>
                  </a:cubicBezTo>
                  <a:cubicBezTo>
                    <a:pt x="18838" y="3711"/>
                    <a:pt x="19121" y="3901"/>
                    <a:pt x="19334" y="3901"/>
                  </a:cubicBezTo>
                  <a:cubicBezTo>
                    <a:pt x="19617" y="3901"/>
                    <a:pt x="19900" y="3996"/>
                    <a:pt x="20042" y="3616"/>
                  </a:cubicBezTo>
                  <a:cubicBezTo>
                    <a:pt x="20113" y="3616"/>
                    <a:pt x="19830" y="3521"/>
                    <a:pt x="19830" y="3521"/>
                  </a:cubicBezTo>
                  <a:cubicBezTo>
                    <a:pt x="19688" y="3426"/>
                    <a:pt x="19546" y="3521"/>
                    <a:pt x="19405" y="3521"/>
                  </a:cubicBezTo>
                  <a:cubicBezTo>
                    <a:pt x="19263" y="3521"/>
                    <a:pt x="19192" y="3426"/>
                    <a:pt x="19050" y="3426"/>
                  </a:cubicBezTo>
                  <a:cubicBezTo>
                    <a:pt x="18980" y="3426"/>
                    <a:pt x="18838" y="3426"/>
                    <a:pt x="18767" y="3426"/>
                  </a:cubicBezTo>
                  <a:cubicBezTo>
                    <a:pt x="18838" y="3521"/>
                    <a:pt x="19050" y="3426"/>
                    <a:pt x="19192" y="3426"/>
                  </a:cubicBezTo>
                  <a:cubicBezTo>
                    <a:pt x="19405" y="3426"/>
                    <a:pt x="19546" y="3330"/>
                    <a:pt x="19759" y="3330"/>
                  </a:cubicBezTo>
                  <a:cubicBezTo>
                    <a:pt x="20042" y="3426"/>
                    <a:pt x="20184" y="3235"/>
                    <a:pt x="20396" y="3235"/>
                  </a:cubicBezTo>
                  <a:cubicBezTo>
                    <a:pt x="20467" y="3235"/>
                    <a:pt x="20609" y="3235"/>
                    <a:pt x="20609" y="3140"/>
                  </a:cubicBezTo>
                  <a:cubicBezTo>
                    <a:pt x="20609" y="3140"/>
                    <a:pt x="20467" y="2950"/>
                    <a:pt x="20538" y="2950"/>
                  </a:cubicBezTo>
                  <a:cubicBezTo>
                    <a:pt x="20892" y="2855"/>
                    <a:pt x="21246" y="2759"/>
                    <a:pt x="21529" y="2474"/>
                  </a:cubicBezTo>
                  <a:cubicBezTo>
                    <a:pt x="21600" y="2379"/>
                    <a:pt x="21317" y="2284"/>
                    <a:pt x="21317" y="2284"/>
                  </a:cubicBezTo>
                  <a:cubicBezTo>
                    <a:pt x="21104" y="2189"/>
                    <a:pt x="20892" y="2093"/>
                    <a:pt x="20750" y="2093"/>
                  </a:cubicBezTo>
                  <a:cubicBezTo>
                    <a:pt x="20325" y="1998"/>
                    <a:pt x="19971" y="1903"/>
                    <a:pt x="19617" y="2379"/>
                  </a:cubicBezTo>
                  <a:cubicBezTo>
                    <a:pt x="19475" y="2664"/>
                    <a:pt x="19334" y="2474"/>
                    <a:pt x="19050" y="2474"/>
                  </a:cubicBezTo>
                  <a:cubicBezTo>
                    <a:pt x="18980" y="2474"/>
                    <a:pt x="18696" y="2759"/>
                    <a:pt x="18767" y="2474"/>
                  </a:cubicBezTo>
                  <a:cubicBezTo>
                    <a:pt x="18767" y="2284"/>
                    <a:pt x="18413" y="2569"/>
                    <a:pt x="18342" y="2664"/>
                  </a:cubicBezTo>
                  <a:cubicBezTo>
                    <a:pt x="18201" y="2759"/>
                    <a:pt x="18059" y="2855"/>
                    <a:pt x="17917" y="2950"/>
                  </a:cubicBezTo>
                  <a:cubicBezTo>
                    <a:pt x="17847" y="2950"/>
                    <a:pt x="17280" y="3521"/>
                    <a:pt x="17280" y="3521"/>
                  </a:cubicBezTo>
                  <a:cubicBezTo>
                    <a:pt x="17138" y="3330"/>
                    <a:pt x="18696" y="2093"/>
                    <a:pt x="17776" y="1808"/>
                  </a:cubicBezTo>
                  <a:cubicBezTo>
                    <a:pt x="17422" y="1808"/>
                    <a:pt x="17492" y="2093"/>
                    <a:pt x="17209" y="2284"/>
                  </a:cubicBezTo>
                  <a:cubicBezTo>
                    <a:pt x="16997" y="2379"/>
                    <a:pt x="16855" y="2379"/>
                    <a:pt x="16643" y="2474"/>
                  </a:cubicBezTo>
                  <a:cubicBezTo>
                    <a:pt x="16572" y="2474"/>
                    <a:pt x="16218" y="2664"/>
                    <a:pt x="16147" y="2664"/>
                  </a:cubicBezTo>
                  <a:cubicBezTo>
                    <a:pt x="16005" y="2379"/>
                    <a:pt x="16501" y="2284"/>
                    <a:pt x="16643" y="2284"/>
                  </a:cubicBezTo>
                  <a:cubicBezTo>
                    <a:pt x="16643" y="2189"/>
                    <a:pt x="17068" y="2093"/>
                    <a:pt x="16855" y="1998"/>
                  </a:cubicBezTo>
                  <a:cubicBezTo>
                    <a:pt x="16643" y="1903"/>
                    <a:pt x="16430" y="1903"/>
                    <a:pt x="16218" y="1903"/>
                  </a:cubicBezTo>
                  <a:cubicBezTo>
                    <a:pt x="15651" y="1903"/>
                    <a:pt x="15085" y="1998"/>
                    <a:pt x="14518" y="2189"/>
                  </a:cubicBezTo>
                  <a:cubicBezTo>
                    <a:pt x="14518" y="2189"/>
                    <a:pt x="14306" y="2379"/>
                    <a:pt x="14235" y="2284"/>
                  </a:cubicBezTo>
                  <a:cubicBezTo>
                    <a:pt x="14235" y="2093"/>
                    <a:pt x="14164" y="2093"/>
                    <a:pt x="14306" y="2093"/>
                  </a:cubicBezTo>
                  <a:cubicBezTo>
                    <a:pt x="14589" y="1903"/>
                    <a:pt x="14872" y="1808"/>
                    <a:pt x="15155" y="1713"/>
                  </a:cubicBezTo>
                  <a:cubicBezTo>
                    <a:pt x="15651" y="1618"/>
                    <a:pt x="16218" y="1713"/>
                    <a:pt x="16784" y="1713"/>
                  </a:cubicBezTo>
                  <a:cubicBezTo>
                    <a:pt x="16926" y="1713"/>
                    <a:pt x="17068" y="1713"/>
                    <a:pt x="17209" y="1713"/>
                  </a:cubicBezTo>
                  <a:cubicBezTo>
                    <a:pt x="17492" y="1522"/>
                    <a:pt x="17847" y="1522"/>
                    <a:pt x="18130" y="1332"/>
                  </a:cubicBezTo>
                  <a:cubicBezTo>
                    <a:pt x="18271" y="1332"/>
                    <a:pt x="18342" y="1237"/>
                    <a:pt x="18130" y="1142"/>
                  </a:cubicBezTo>
                  <a:cubicBezTo>
                    <a:pt x="17988" y="1047"/>
                    <a:pt x="17705" y="952"/>
                    <a:pt x="17563" y="1047"/>
                  </a:cubicBezTo>
                  <a:cubicBezTo>
                    <a:pt x="17422" y="1047"/>
                    <a:pt x="17422" y="952"/>
                    <a:pt x="17280" y="856"/>
                  </a:cubicBezTo>
                  <a:cubicBezTo>
                    <a:pt x="17138" y="856"/>
                    <a:pt x="16997" y="1047"/>
                    <a:pt x="16855" y="1047"/>
                  </a:cubicBezTo>
                  <a:cubicBezTo>
                    <a:pt x="16855" y="1047"/>
                    <a:pt x="16997" y="761"/>
                    <a:pt x="17068" y="761"/>
                  </a:cubicBezTo>
                  <a:cubicBezTo>
                    <a:pt x="17138" y="571"/>
                    <a:pt x="16855" y="571"/>
                    <a:pt x="16784" y="571"/>
                  </a:cubicBezTo>
                  <a:cubicBezTo>
                    <a:pt x="16359" y="666"/>
                    <a:pt x="16005" y="666"/>
                    <a:pt x="15580" y="571"/>
                  </a:cubicBezTo>
                  <a:cubicBezTo>
                    <a:pt x="15226" y="571"/>
                    <a:pt x="14943" y="761"/>
                    <a:pt x="14589" y="761"/>
                  </a:cubicBezTo>
                  <a:cubicBezTo>
                    <a:pt x="14447" y="761"/>
                    <a:pt x="14235" y="761"/>
                    <a:pt x="14093" y="761"/>
                  </a:cubicBezTo>
                  <a:cubicBezTo>
                    <a:pt x="13951" y="856"/>
                    <a:pt x="13739" y="761"/>
                    <a:pt x="13668" y="856"/>
                  </a:cubicBezTo>
                  <a:cubicBezTo>
                    <a:pt x="13881" y="761"/>
                    <a:pt x="14093" y="761"/>
                    <a:pt x="14306" y="666"/>
                  </a:cubicBezTo>
                  <a:cubicBezTo>
                    <a:pt x="14660" y="666"/>
                    <a:pt x="14943" y="571"/>
                    <a:pt x="15226" y="571"/>
                  </a:cubicBezTo>
                  <a:cubicBezTo>
                    <a:pt x="15368" y="571"/>
                    <a:pt x="16784" y="571"/>
                    <a:pt x="16784" y="381"/>
                  </a:cubicBezTo>
                  <a:cubicBezTo>
                    <a:pt x="16713" y="381"/>
                    <a:pt x="16501" y="285"/>
                    <a:pt x="16430" y="190"/>
                  </a:cubicBezTo>
                  <a:cubicBezTo>
                    <a:pt x="16218" y="190"/>
                    <a:pt x="16076" y="190"/>
                    <a:pt x="15864" y="190"/>
                  </a:cubicBezTo>
                  <a:cubicBezTo>
                    <a:pt x="15580" y="190"/>
                    <a:pt x="15297" y="95"/>
                    <a:pt x="15085" y="0"/>
                  </a:cubicBezTo>
                  <a:cubicBezTo>
                    <a:pt x="14589" y="0"/>
                    <a:pt x="14164" y="0"/>
                    <a:pt x="13739" y="0"/>
                  </a:cubicBezTo>
                  <a:cubicBezTo>
                    <a:pt x="13527" y="95"/>
                    <a:pt x="13314" y="95"/>
                    <a:pt x="13102" y="95"/>
                  </a:cubicBezTo>
                  <a:cubicBezTo>
                    <a:pt x="13031" y="95"/>
                    <a:pt x="12960" y="285"/>
                    <a:pt x="12960" y="285"/>
                  </a:cubicBezTo>
                  <a:cubicBezTo>
                    <a:pt x="12818" y="285"/>
                    <a:pt x="12677" y="190"/>
                    <a:pt x="12535" y="190"/>
                  </a:cubicBezTo>
                  <a:cubicBezTo>
                    <a:pt x="12464" y="190"/>
                    <a:pt x="12393" y="285"/>
                    <a:pt x="12252" y="285"/>
                  </a:cubicBezTo>
                  <a:cubicBezTo>
                    <a:pt x="12110" y="285"/>
                    <a:pt x="12110" y="381"/>
                    <a:pt x="12252" y="381"/>
                  </a:cubicBezTo>
                  <a:cubicBezTo>
                    <a:pt x="12464" y="476"/>
                    <a:pt x="12677" y="476"/>
                    <a:pt x="12818" y="571"/>
                  </a:cubicBezTo>
                  <a:cubicBezTo>
                    <a:pt x="12748" y="476"/>
                    <a:pt x="12323" y="666"/>
                    <a:pt x="12252" y="761"/>
                  </a:cubicBezTo>
                  <a:cubicBezTo>
                    <a:pt x="12252" y="761"/>
                    <a:pt x="12039" y="761"/>
                    <a:pt x="12039" y="761"/>
                  </a:cubicBezTo>
                  <a:cubicBezTo>
                    <a:pt x="12039" y="761"/>
                    <a:pt x="12181" y="952"/>
                    <a:pt x="12181" y="952"/>
                  </a:cubicBezTo>
                  <a:cubicBezTo>
                    <a:pt x="12110" y="952"/>
                    <a:pt x="11969" y="856"/>
                    <a:pt x="11898" y="761"/>
                  </a:cubicBezTo>
                  <a:cubicBezTo>
                    <a:pt x="11827" y="666"/>
                    <a:pt x="11614" y="761"/>
                    <a:pt x="11544" y="761"/>
                  </a:cubicBezTo>
                  <a:cubicBezTo>
                    <a:pt x="11331" y="666"/>
                    <a:pt x="11119" y="571"/>
                    <a:pt x="10906" y="476"/>
                  </a:cubicBezTo>
                  <a:cubicBezTo>
                    <a:pt x="10765" y="381"/>
                    <a:pt x="10623" y="571"/>
                    <a:pt x="10410" y="571"/>
                  </a:cubicBezTo>
                  <a:cubicBezTo>
                    <a:pt x="10340" y="571"/>
                    <a:pt x="9915" y="476"/>
                    <a:pt x="9915" y="666"/>
                  </a:cubicBezTo>
                  <a:cubicBezTo>
                    <a:pt x="9844" y="666"/>
                    <a:pt x="10835" y="856"/>
                    <a:pt x="10977" y="952"/>
                  </a:cubicBezTo>
                  <a:cubicBezTo>
                    <a:pt x="11190" y="952"/>
                    <a:pt x="11402" y="952"/>
                    <a:pt x="11544" y="1047"/>
                  </a:cubicBezTo>
                  <a:cubicBezTo>
                    <a:pt x="11614" y="1047"/>
                    <a:pt x="11685" y="1047"/>
                    <a:pt x="11756" y="1142"/>
                  </a:cubicBezTo>
                  <a:cubicBezTo>
                    <a:pt x="11756" y="1142"/>
                    <a:pt x="11756" y="1427"/>
                    <a:pt x="11756" y="1427"/>
                  </a:cubicBezTo>
                  <a:cubicBezTo>
                    <a:pt x="11756" y="1522"/>
                    <a:pt x="11685" y="1332"/>
                    <a:pt x="11685" y="1237"/>
                  </a:cubicBezTo>
                  <a:cubicBezTo>
                    <a:pt x="11614" y="1142"/>
                    <a:pt x="11402" y="1142"/>
                    <a:pt x="11331" y="1047"/>
                  </a:cubicBezTo>
                  <a:cubicBezTo>
                    <a:pt x="11331" y="1047"/>
                    <a:pt x="11119" y="1047"/>
                    <a:pt x="11119" y="1047"/>
                  </a:cubicBezTo>
                  <a:cubicBezTo>
                    <a:pt x="11119" y="1142"/>
                    <a:pt x="11190" y="1332"/>
                    <a:pt x="11190" y="1332"/>
                  </a:cubicBezTo>
                  <a:cubicBezTo>
                    <a:pt x="11048" y="1332"/>
                    <a:pt x="10977" y="1047"/>
                    <a:pt x="10906" y="1047"/>
                  </a:cubicBezTo>
                  <a:cubicBezTo>
                    <a:pt x="10765" y="1047"/>
                    <a:pt x="10623" y="1047"/>
                    <a:pt x="10481" y="952"/>
                  </a:cubicBezTo>
                  <a:cubicBezTo>
                    <a:pt x="10410" y="952"/>
                    <a:pt x="9844" y="952"/>
                    <a:pt x="9844" y="952"/>
                  </a:cubicBezTo>
                  <a:cubicBezTo>
                    <a:pt x="9773" y="1142"/>
                    <a:pt x="10694" y="1618"/>
                    <a:pt x="10694" y="1618"/>
                  </a:cubicBezTo>
                  <a:cubicBezTo>
                    <a:pt x="10694" y="1713"/>
                    <a:pt x="10340" y="1618"/>
                    <a:pt x="10340" y="1618"/>
                  </a:cubicBezTo>
                  <a:cubicBezTo>
                    <a:pt x="10127" y="1618"/>
                    <a:pt x="10056" y="1522"/>
                    <a:pt x="10127" y="1808"/>
                  </a:cubicBezTo>
                  <a:cubicBezTo>
                    <a:pt x="10056" y="1808"/>
                    <a:pt x="9986" y="1713"/>
                    <a:pt x="9915" y="1618"/>
                  </a:cubicBezTo>
                  <a:cubicBezTo>
                    <a:pt x="9915" y="1522"/>
                    <a:pt x="10056" y="1618"/>
                    <a:pt x="10127" y="1522"/>
                  </a:cubicBezTo>
                  <a:cubicBezTo>
                    <a:pt x="10127" y="1522"/>
                    <a:pt x="9986" y="1332"/>
                    <a:pt x="9915" y="1332"/>
                  </a:cubicBezTo>
                  <a:cubicBezTo>
                    <a:pt x="9773" y="1237"/>
                    <a:pt x="9631" y="1142"/>
                    <a:pt x="9419" y="1142"/>
                  </a:cubicBezTo>
                  <a:cubicBezTo>
                    <a:pt x="9348" y="1142"/>
                    <a:pt x="9207" y="1047"/>
                    <a:pt x="9136" y="1142"/>
                  </a:cubicBezTo>
                  <a:cubicBezTo>
                    <a:pt x="9065" y="1142"/>
                    <a:pt x="9277" y="1427"/>
                    <a:pt x="9277" y="1427"/>
                  </a:cubicBezTo>
                  <a:cubicBezTo>
                    <a:pt x="9490" y="1618"/>
                    <a:pt x="9773" y="1618"/>
                    <a:pt x="10056" y="1903"/>
                  </a:cubicBezTo>
                  <a:cubicBezTo>
                    <a:pt x="10127" y="1903"/>
                    <a:pt x="10198" y="1998"/>
                    <a:pt x="10127" y="2093"/>
                  </a:cubicBezTo>
                  <a:cubicBezTo>
                    <a:pt x="9986" y="2284"/>
                    <a:pt x="9844" y="2093"/>
                    <a:pt x="9702" y="1998"/>
                  </a:cubicBezTo>
                  <a:cubicBezTo>
                    <a:pt x="9348" y="1713"/>
                    <a:pt x="8923" y="1522"/>
                    <a:pt x="8498" y="1427"/>
                  </a:cubicBezTo>
                  <a:cubicBezTo>
                    <a:pt x="8286" y="1332"/>
                    <a:pt x="8073" y="1237"/>
                    <a:pt x="7861" y="1332"/>
                  </a:cubicBezTo>
                  <a:cubicBezTo>
                    <a:pt x="7790" y="1332"/>
                    <a:pt x="8003" y="1618"/>
                    <a:pt x="8003" y="1713"/>
                  </a:cubicBezTo>
                  <a:cubicBezTo>
                    <a:pt x="8003" y="1713"/>
                    <a:pt x="8286" y="1998"/>
                    <a:pt x="8286" y="1998"/>
                  </a:cubicBezTo>
                  <a:cubicBezTo>
                    <a:pt x="8286" y="2093"/>
                    <a:pt x="7861" y="1998"/>
                    <a:pt x="7861" y="1998"/>
                  </a:cubicBezTo>
                  <a:cubicBezTo>
                    <a:pt x="7861" y="2189"/>
                    <a:pt x="8144" y="2093"/>
                    <a:pt x="8144" y="2284"/>
                  </a:cubicBezTo>
                  <a:cubicBezTo>
                    <a:pt x="8144" y="2284"/>
                    <a:pt x="7861" y="2189"/>
                    <a:pt x="7790" y="2093"/>
                  </a:cubicBezTo>
                  <a:cubicBezTo>
                    <a:pt x="7649" y="1998"/>
                    <a:pt x="7507" y="1998"/>
                    <a:pt x="7294" y="1903"/>
                  </a:cubicBezTo>
                  <a:cubicBezTo>
                    <a:pt x="7153" y="1808"/>
                    <a:pt x="7153" y="1903"/>
                    <a:pt x="7153" y="2093"/>
                  </a:cubicBezTo>
                  <a:cubicBezTo>
                    <a:pt x="7082" y="2189"/>
                    <a:pt x="7011" y="2189"/>
                    <a:pt x="6940" y="2189"/>
                  </a:cubicBezTo>
                  <a:cubicBezTo>
                    <a:pt x="6940" y="2284"/>
                    <a:pt x="6940" y="2474"/>
                    <a:pt x="6870" y="2474"/>
                  </a:cubicBezTo>
                  <a:cubicBezTo>
                    <a:pt x="6870" y="2569"/>
                    <a:pt x="6870" y="2284"/>
                    <a:pt x="6870" y="2189"/>
                  </a:cubicBezTo>
                  <a:cubicBezTo>
                    <a:pt x="6870" y="2093"/>
                    <a:pt x="6940" y="1998"/>
                    <a:pt x="6940" y="1903"/>
                  </a:cubicBezTo>
                  <a:cubicBezTo>
                    <a:pt x="6870" y="1522"/>
                    <a:pt x="6586" y="1522"/>
                    <a:pt x="6374" y="1522"/>
                  </a:cubicBezTo>
                  <a:cubicBezTo>
                    <a:pt x="6090" y="1618"/>
                    <a:pt x="5807" y="1713"/>
                    <a:pt x="5524" y="1713"/>
                  </a:cubicBezTo>
                  <a:cubicBezTo>
                    <a:pt x="5453" y="1808"/>
                    <a:pt x="5311" y="1808"/>
                    <a:pt x="5241" y="1808"/>
                  </a:cubicBezTo>
                  <a:cubicBezTo>
                    <a:pt x="5241" y="1808"/>
                    <a:pt x="4887" y="1903"/>
                    <a:pt x="4887" y="1903"/>
                  </a:cubicBezTo>
                  <a:cubicBezTo>
                    <a:pt x="4957" y="1998"/>
                    <a:pt x="5099" y="1998"/>
                    <a:pt x="5170" y="1998"/>
                  </a:cubicBezTo>
                  <a:cubicBezTo>
                    <a:pt x="5241" y="2093"/>
                    <a:pt x="5311" y="2189"/>
                    <a:pt x="5453" y="2284"/>
                  </a:cubicBezTo>
                  <a:cubicBezTo>
                    <a:pt x="5453" y="2284"/>
                    <a:pt x="5736" y="2569"/>
                    <a:pt x="5736" y="2569"/>
                  </a:cubicBezTo>
                  <a:cubicBezTo>
                    <a:pt x="5666" y="2569"/>
                    <a:pt x="5382" y="2379"/>
                    <a:pt x="5311" y="2379"/>
                  </a:cubicBezTo>
                  <a:cubicBezTo>
                    <a:pt x="5170" y="2284"/>
                    <a:pt x="5099" y="2093"/>
                    <a:pt x="4957" y="2093"/>
                  </a:cubicBezTo>
                  <a:cubicBezTo>
                    <a:pt x="4745" y="1998"/>
                    <a:pt x="4532" y="2093"/>
                    <a:pt x="4320" y="2093"/>
                  </a:cubicBezTo>
                  <a:cubicBezTo>
                    <a:pt x="4108" y="2189"/>
                    <a:pt x="4108" y="2093"/>
                    <a:pt x="4249" y="2379"/>
                  </a:cubicBezTo>
                  <a:cubicBezTo>
                    <a:pt x="4249" y="2474"/>
                    <a:pt x="4249" y="2759"/>
                    <a:pt x="4249" y="2855"/>
                  </a:cubicBezTo>
                  <a:cubicBezTo>
                    <a:pt x="4249" y="3045"/>
                    <a:pt x="3966" y="2855"/>
                    <a:pt x="3895" y="2855"/>
                  </a:cubicBezTo>
                  <a:cubicBezTo>
                    <a:pt x="3824" y="2855"/>
                    <a:pt x="3612" y="2664"/>
                    <a:pt x="3541" y="2855"/>
                  </a:cubicBezTo>
                  <a:cubicBezTo>
                    <a:pt x="3470" y="2950"/>
                    <a:pt x="3541" y="3235"/>
                    <a:pt x="3541" y="3235"/>
                  </a:cubicBezTo>
                  <a:cubicBezTo>
                    <a:pt x="3470" y="3330"/>
                    <a:pt x="3399" y="3140"/>
                    <a:pt x="3329" y="3045"/>
                  </a:cubicBezTo>
                  <a:cubicBezTo>
                    <a:pt x="3187" y="2950"/>
                    <a:pt x="3045" y="2950"/>
                    <a:pt x="2974" y="3045"/>
                  </a:cubicBezTo>
                  <a:cubicBezTo>
                    <a:pt x="2762" y="3235"/>
                    <a:pt x="2550" y="3426"/>
                    <a:pt x="2266" y="3521"/>
                  </a:cubicBezTo>
                  <a:cubicBezTo>
                    <a:pt x="2195" y="3616"/>
                    <a:pt x="2408" y="3521"/>
                    <a:pt x="2266" y="352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9" name="Shape 2198">
              <a:extLst>
                <a:ext uri="{FF2B5EF4-FFF2-40B4-BE49-F238E27FC236}">
                  <a16:creationId xmlns:a16="http://schemas.microsoft.com/office/drawing/2014/main" id="{12E9FAC4-3DC3-61E7-82AE-E5305CE7426F}"/>
                </a:ext>
              </a:extLst>
            </p:cNvPr>
            <p:cNvSpPr/>
            <p:nvPr/>
          </p:nvSpPr>
          <p:spPr>
            <a:xfrm>
              <a:off x="3715070" y="934416"/>
              <a:ext cx="100827" cy="61399"/>
            </a:xfrm>
            <a:custGeom>
              <a:avLst/>
              <a:gdLst/>
              <a:ahLst/>
              <a:cxnLst>
                <a:cxn ang="0">
                  <a:pos x="wd2" y="hd2"/>
                </a:cxn>
                <a:cxn ang="5400000">
                  <a:pos x="wd2" y="hd2"/>
                </a:cxn>
                <a:cxn ang="10800000">
                  <a:pos x="wd2" y="hd2"/>
                </a:cxn>
                <a:cxn ang="16200000">
                  <a:pos x="wd2" y="hd2"/>
                </a:cxn>
              </a:cxnLst>
              <a:rect l="0" t="0" r="r" b="b"/>
              <a:pathLst>
                <a:path w="20618" h="17877" extrusionOk="0">
                  <a:moveTo>
                    <a:pt x="20618" y="10691"/>
                  </a:moveTo>
                  <a:cubicBezTo>
                    <a:pt x="19268" y="8727"/>
                    <a:pt x="13868" y="4800"/>
                    <a:pt x="13868" y="4800"/>
                  </a:cubicBezTo>
                  <a:cubicBezTo>
                    <a:pt x="11168" y="2836"/>
                    <a:pt x="8468" y="873"/>
                    <a:pt x="5768" y="873"/>
                  </a:cubicBezTo>
                  <a:cubicBezTo>
                    <a:pt x="4418" y="873"/>
                    <a:pt x="1718" y="-1091"/>
                    <a:pt x="368" y="873"/>
                  </a:cubicBezTo>
                  <a:cubicBezTo>
                    <a:pt x="-982" y="2836"/>
                    <a:pt x="3068" y="4800"/>
                    <a:pt x="3068" y="4800"/>
                  </a:cubicBezTo>
                  <a:cubicBezTo>
                    <a:pt x="1718" y="4800"/>
                    <a:pt x="-982" y="10691"/>
                    <a:pt x="368" y="12654"/>
                  </a:cubicBezTo>
                  <a:cubicBezTo>
                    <a:pt x="1718" y="12654"/>
                    <a:pt x="4418" y="10691"/>
                    <a:pt x="5768" y="12654"/>
                  </a:cubicBezTo>
                  <a:cubicBezTo>
                    <a:pt x="8468" y="14618"/>
                    <a:pt x="5768" y="14618"/>
                    <a:pt x="5768" y="16582"/>
                  </a:cubicBezTo>
                  <a:cubicBezTo>
                    <a:pt x="5768" y="20509"/>
                    <a:pt x="20618" y="14618"/>
                    <a:pt x="20618" y="10691"/>
                  </a:cubicBezTo>
                  <a:cubicBezTo>
                    <a:pt x="19268" y="8727"/>
                    <a:pt x="20618" y="12654"/>
                    <a:pt x="20618" y="106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0" name="Shape 2199">
              <a:extLst>
                <a:ext uri="{FF2B5EF4-FFF2-40B4-BE49-F238E27FC236}">
                  <a16:creationId xmlns:a16="http://schemas.microsoft.com/office/drawing/2014/main" id="{36AC06BD-9F59-D1EB-4E05-0A8252A7734C}"/>
                </a:ext>
              </a:extLst>
            </p:cNvPr>
            <p:cNvSpPr/>
            <p:nvPr/>
          </p:nvSpPr>
          <p:spPr>
            <a:xfrm>
              <a:off x="3749678" y="878964"/>
              <a:ext cx="15572" cy="13490"/>
            </a:xfrm>
            <a:custGeom>
              <a:avLst/>
              <a:gdLst/>
              <a:ahLst/>
              <a:cxnLst>
                <a:cxn ang="0">
                  <a:pos x="wd2" y="hd2"/>
                </a:cxn>
                <a:cxn ang="5400000">
                  <a:pos x="wd2" y="hd2"/>
                </a:cxn>
                <a:cxn ang="10800000">
                  <a:pos x="wd2" y="hd2"/>
                </a:cxn>
                <a:cxn ang="16200000">
                  <a:pos x="wd2" y="hd2"/>
                </a:cxn>
              </a:cxnLst>
              <a:rect l="0" t="0" r="r" b="b"/>
              <a:pathLst>
                <a:path w="12471" h="21600" extrusionOk="0">
                  <a:moveTo>
                    <a:pt x="6235" y="21600"/>
                  </a:moveTo>
                  <a:cubicBezTo>
                    <a:pt x="-4565" y="21600"/>
                    <a:pt x="835" y="0"/>
                    <a:pt x="6235" y="0"/>
                  </a:cubicBezTo>
                  <a:cubicBezTo>
                    <a:pt x="11635" y="0"/>
                    <a:pt x="17035" y="21600"/>
                    <a:pt x="6235"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1" name="Shape 2200">
              <a:extLst>
                <a:ext uri="{FF2B5EF4-FFF2-40B4-BE49-F238E27FC236}">
                  <a16:creationId xmlns:a16="http://schemas.microsoft.com/office/drawing/2014/main" id="{3537C112-6E4F-B9B1-6B97-AFE6A7D179A3}"/>
                </a:ext>
              </a:extLst>
            </p:cNvPr>
            <p:cNvSpPr/>
            <p:nvPr/>
          </p:nvSpPr>
          <p:spPr>
            <a:xfrm>
              <a:off x="3771688" y="104297"/>
              <a:ext cx="61167" cy="31127"/>
            </a:xfrm>
            <a:custGeom>
              <a:avLst/>
              <a:gdLst/>
              <a:ahLst/>
              <a:cxnLst>
                <a:cxn ang="0">
                  <a:pos x="wd2" y="hd2"/>
                </a:cxn>
                <a:cxn ang="5400000">
                  <a:pos x="wd2" y="hd2"/>
                </a:cxn>
                <a:cxn ang="10800000">
                  <a:pos x="wd2" y="hd2"/>
                </a:cxn>
                <a:cxn ang="16200000">
                  <a:pos x="wd2" y="hd2"/>
                </a:cxn>
              </a:cxnLst>
              <a:rect l="0" t="0" r="r" b="b"/>
              <a:pathLst>
                <a:path w="18371" h="16616" extrusionOk="0">
                  <a:moveTo>
                    <a:pt x="15426" y="11525"/>
                  </a:moveTo>
                  <a:cubicBezTo>
                    <a:pt x="19353" y="15125"/>
                    <a:pt x="19353" y="18725"/>
                    <a:pt x="15426" y="15125"/>
                  </a:cubicBezTo>
                  <a:cubicBezTo>
                    <a:pt x="11498" y="15125"/>
                    <a:pt x="5608" y="11525"/>
                    <a:pt x="3644" y="11525"/>
                  </a:cubicBezTo>
                  <a:cubicBezTo>
                    <a:pt x="1680" y="7925"/>
                    <a:pt x="-2247" y="-2875"/>
                    <a:pt x="1680" y="725"/>
                  </a:cubicBezTo>
                  <a:cubicBezTo>
                    <a:pt x="5608" y="4325"/>
                    <a:pt x="11498" y="7925"/>
                    <a:pt x="15426" y="11525"/>
                  </a:cubicBezTo>
                  <a:cubicBezTo>
                    <a:pt x="19353" y="15125"/>
                    <a:pt x="11498" y="7925"/>
                    <a:pt x="15426" y="115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2" name="Shape 2201">
              <a:extLst>
                <a:ext uri="{FF2B5EF4-FFF2-40B4-BE49-F238E27FC236}">
                  <a16:creationId xmlns:a16="http://schemas.microsoft.com/office/drawing/2014/main" id="{C5E62D69-8DB9-0DA1-D580-4A5630CE9FBA}"/>
                </a:ext>
              </a:extLst>
            </p:cNvPr>
            <p:cNvSpPr/>
            <p:nvPr/>
          </p:nvSpPr>
          <p:spPr>
            <a:xfrm>
              <a:off x="3986700" y="46188"/>
              <a:ext cx="53938" cy="20019"/>
            </a:xfrm>
            <a:custGeom>
              <a:avLst/>
              <a:gdLst/>
              <a:ahLst/>
              <a:cxnLst>
                <a:cxn ang="0">
                  <a:pos x="wd2" y="hd2"/>
                </a:cxn>
                <a:cxn ang="5400000">
                  <a:pos x="wd2" y="hd2"/>
                </a:cxn>
                <a:cxn ang="10800000">
                  <a:pos x="wd2" y="hd2"/>
                </a:cxn>
                <a:cxn ang="16200000">
                  <a:pos x="wd2" y="hd2"/>
                </a:cxn>
              </a:cxnLst>
              <a:rect l="0" t="0" r="r" b="b"/>
              <a:pathLst>
                <a:path w="21600" h="13739" extrusionOk="0">
                  <a:moveTo>
                    <a:pt x="21600" y="9030"/>
                  </a:moveTo>
                  <a:cubicBezTo>
                    <a:pt x="21600" y="17670"/>
                    <a:pt x="0" y="13350"/>
                    <a:pt x="0" y="4710"/>
                  </a:cubicBezTo>
                  <a:cubicBezTo>
                    <a:pt x="0" y="-3930"/>
                    <a:pt x="21600" y="390"/>
                    <a:pt x="21600" y="903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3" name="Shape 2202">
              <a:extLst>
                <a:ext uri="{FF2B5EF4-FFF2-40B4-BE49-F238E27FC236}">
                  <a16:creationId xmlns:a16="http://schemas.microsoft.com/office/drawing/2014/main" id="{8DDCE57E-C562-E2DA-2BA6-9630A7D0F3C2}"/>
                </a:ext>
              </a:extLst>
            </p:cNvPr>
            <p:cNvSpPr/>
            <p:nvPr/>
          </p:nvSpPr>
          <p:spPr>
            <a:xfrm>
              <a:off x="4843819" y="125887"/>
              <a:ext cx="27500" cy="21315"/>
            </a:xfrm>
            <a:custGeom>
              <a:avLst/>
              <a:gdLst/>
              <a:ahLst/>
              <a:cxnLst>
                <a:cxn ang="0">
                  <a:pos x="wd2" y="hd2"/>
                </a:cxn>
                <a:cxn ang="5400000">
                  <a:pos x="wd2" y="hd2"/>
                </a:cxn>
                <a:cxn ang="10800000">
                  <a:pos x="wd2" y="hd2"/>
                </a:cxn>
                <a:cxn ang="16200000">
                  <a:pos x="wd2" y="hd2"/>
                </a:cxn>
              </a:cxnLst>
              <a:rect l="0" t="0" r="r" b="b"/>
              <a:pathLst>
                <a:path w="15546" h="17067" extrusionOk="0">
                  <a:moveTo>
                    <a:pt x="14973" y="16200"/>
                  </a:moveTo>
                  <a:cubicBezTo>
                    <a:pt x="11373" y="21600"/>
                    <a:pt x="-3027" y="0"/>
                    <a:pt x="573" y="0"/>
                  </a:cubicBezTo>
                  <a:cubicBezTo>
                    <a:pt x="4173" y="0"/>
                    <a:pt x="18573" y="10800"/>
                    <a:pt x="14973"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4" name="Shape 2203">
              <a:extLst>
                <a:ext uri="{FF2B5EF4-FFF2-40B4-BE49-F238E27FC236}">
                  <a16:creationId xmlns:a16="http://schemas.microsoft.com/office/drawing/2014/main" id="{232B8DF7-ED3C-1C70-D408-78340E0616BC}"/>
                </a:ext>
              </a:extLst>
            </p:cNvPr>
            <p:cNvSpPr/>
            <p:nvPr/>
          </p:nvSpPr>
          <p:spPr>
            <a:xfrm>
              <a:off x="4898056" y="152861"/>
              <a:ext cx="20908" cy="6746"/>
            </a:xfrm>
            <a:custGeom>
              <a:avLst/>
              <a:gdLst/>
              <a:ahLst/>
              <a:cxnLst>
                <a:cxn ang="0">
                  <a:pos x="wd2" y="hd2"/>
                </a:cxn>
                <a:cxn ang="5400000">
                  <a:pos x="wd2" y="hd2"/>
                </a:cxn>
                <a:cxn ang="10800000">
                  <a:pos x="wd2" y="hd2"/>
                </a:cxn>
                <a:cxn ang="16200000">
                  <a:pos x="wd2" y="hd2"/>
                </a:cxn>
              </a:cxnLst>
              <a:rect l="0" t="0" r="r" b="b"/>
              <a:pathLst>
                <a:path w="13396" h="21600" extrusionOk="0">
                  <a:moveTo>
                    <a:pt x="12219" y="21600"/>
                  </a:moveTo>
                  <a:cubicBezTo>
                    <a:pt x="3579" y="21600"/>
                    <a:pt x="-5061" y="0"/>
                    <a:pt x="3579" y="0"/>
                  </a:cubicBezTo>
                  <a:cubicBezTo>
                    <a:pt x="7899" y="0"/>
                    <a:pt x="16539" y="21600"/>
                    <a:pt x="12219"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5" name="Shape 2204">
              <a:extLst>
                <a:ext uri="{FF2B5EF4-FFF2-40B4-BE49-F238E27FC236}">
                  <a16:creationId xmlns:a16="http://schemas.microsoft.com/office/drawing/2014/main" id="{8E4CF232-042F-0A52-CAF0-4860E38FAFA3}"/>
                </a:ext>
              </a:extLst>
            </p:cNvPr>
            <p:cNvSpPr/>
            <p:nvPr/>
          </p:nvSpPr>
          <p:spPr>
            <a:xfrm>
              <a:off x="4899106" y="528277"/>
              <a:ext cx="18021" cy="47208"/>
            </a:xfrm>
            <a:custGeom>
              <a:avLst/>
              <a:gdLst/>
              <a:ahLst/>
              <a:cxnLst>
                <a:cxn ang="0">
                  <a:pos x="wd2" y="hd2"/>
                </a:cxn>
                <a:cxn ang="5400000">
                  <a:pos x="wd2" y="hd2"/>
                </a:cxn>
                <a:cxn ang="10800000">
                  <a:pos x="wd2" y="hd2"/>
                </a:cxn>
                <a:cxn ang="16200000">
                  <a:pos x="wd2" y="hd2"/>
                </a:cxn>
              </a:cxnLst>
              <a:rect l="0" t="0" r="r" b="b"/>
              <a:pathLst>
                <a:path w="14433" h="21600" extrusionOk="0">
                  <a:moveTo>
                    <a:pt x="3633" y="0"/>
                  </a:moveTo>
                  <a:cubicBezTo>
                    <a:pt x="-7167" y="0"/>
                    <a:pt x="9033" y="21600"/>
                    <a:pt x="14433" y="21600"/>
                  </a:cubicBezTo>
                  <a:cubicBezTo>
                    <a:pt x="14433" y="21600"/>
                    <a:pt x="9033" y="0"/>
                    <a:pt x="363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6" name="Shape 2205">
              <a:extLst>
                <a:ext uri="{FF2B5EF4-FFF2-40B4-BE49-F238E27FC236}">
                  <a16:creationId xmlns:a16="http://schemas.microsoft.com/office/drawing/2014/main" id="{BD88667A-B31F-9F16-53DE-819644459EBE}"/>
                </a:ext>
              </a:extLst>
            </p:cNvPr>
            <p:cNvSpPr/>
            <p:nvPr/>
          </p:nvSpPr>
          <p:spPr>
            <a:xfrm>
              <a:off x="4905247" y="613699"/>
              <a:ext cx="33122" cy="26977"/>
            </a:xfrm>
            <a:custGeom>
              <a:avLst/>
              <a:gdLst/>
              <a:ahLst/>
              <a:cxnLst>
                <a:cxn ang="0">
                  <a:pos x="wd2" y="hd2"/>
                </a:cxn>
                <a:cxn ang="5400000">
                  <a:pos x="wd2" y="hd2"/>
                </a:cxn>
                <a:cxn ang="10800000">
                  <a:pos x="wd2" y="hd2"/>
                </a:cxn>
                <a:cxn ang="16200000">
                  <a:pos x="wd2" y="hd2"/>
                </a:cxn>
              </a:cxnLst>
              <a:rect l="0" t="0" r="r" b="b"/>
              <a:pathLst>
                <a:path w="15917" h="21600" extrusionOk="0">
                  <a:moveTo>
                    <a:pt x="2315" y="0"/>
                  </a:moveTo>
                  <a:cubicBezTo>
                    <a:pt x="-771" y="5400"/>
                    <a:pt x="-771" y="16200"/>
                    <a:pt x="2315" y="21600"/>
                  </a:cubicBezTo>
                  <a:cubicBezTo>
                    <a:pt x="5400" y="21600"/>
                    <a:pt x="8486" y="21600"/>
                    <a:pt x="14658" y="21600"/>
                  </a:cubicBezTo>
                  <a:cubicBezTo>
                    <a:pt x="20829" y="21600"/>
                    <a:pt x="2315" y="0"/>
                    <a:pt x="2315" y="0"/>
                  </a:cubicBezTo>
                  <a:cubicBezTo>
                    <a:pt x="-771" y="5400"/>
                    <a:pt x="2315" y="0"/>
                    <a:pt x="2315"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7" name="Shape 2206">
              <a:extLst>
                <a:ext uri="{FF2B5EF4-FFF2-40B4-BE49-F238E27FC236}">
                  <a16:creationId xmlns:a16="http://schemas.microsoft.com/office/drawing/2014/main" id="{24175A19-F003-D7D9-AB3A-93B208183BBF}"/>
                </a:ext>
              </a:extLst>
            </p:cNvPr>
            <p:cNvSpPr/>
            <p:nvPr/>
          </p:nvSpPr>
          <p:spPr>
            <a:xfrm>
              <a:off x="4719354" y="769598"/>
              <a:ext cx="83721" cy="55413"/>
            </a:xfrm>
            <a:custGeom>
              <a:avLst/>
              <a:gdLst/>
              <a:ahLst/>
              <a:cxnLst>
                <a:cxn ang="0">
                  <a:pos x="wd2" y="hd2"/>
                </a:cxn>
                <a:cxn ang="5400000">
                  <a:pos x="wd2" y="hd2"/>
                </a:cxn>
                <a:cxn ang="10800000">
                  <a:pos x="wd2" y="hd2"/>
                </a:cxn>
                <a:cxn ang="16200000">
                  <a:pos x="wd2" y="hd2"/>
                </a:cxn>
              </a:cxnLst>
              <a:rect l="0" t="0" r="r" b="b"/>
              <a:pathLst>
                <a:path w="16093" h="18360" extrusionOk="0">
                  <a:moveTo>
                    <a:pt x="0" y="5400"/>
                  </a:moveTo>
                  <a:cubicBezTo>
                    <a:pt x="1271" y="-3240"/>
                    <a:pt x="8894" y="1080"/>
                    <a:pt x="12706" y="1080"/>
                  </a:cubicBezTo>
                  <a:cubicBezTo>
                    <a:pt x="21600" y="3240"/>
                    <a:pt x="10165" y="5400"/>
                    <a:pt x="10165" y="5400"/>
                  </a:cubicBezTo>
                  <a:cubicBezTo>
                    <a:pt x="10165" y="9720"/>
                    <a:pt x="15247" y="7560"/>
                    <a:pt x="15247" y="11880"/>
                  </a:cubicBezTo>
                  <a:cubicBezTo>
                    <a:pt x="15247" y="11880"/>
                    <a:pt x="12706" y="9720"/>
                    <a:pt x="11435" y="11880"/>
                  </a:cubicBezTo>
                  <a:cubicBezTo>
                    <a:pt x="11435" y="11880"/>
                    <a:pt x="15247" y="18360"/>
                    <a:pt x="13976" y="18360"/>
                  </a:cubicBezTo>
                  <a:cubicBezTo>
                    <a:pt x="12706" y="18360"/>
                    <a:pt x="11435" y="16200"/>
                    <a:pt x="10165" y="16200"/>
                  </a:cubicBezTo>
                  <a:cubicBezTo>
                    <a:pt x="7624" y="14040"/>
                    <a:pt x="0" y="11880"/>
                    <a:pt x="0" y="5400"/>
                  </a:cubicBezTo>
                  <a:cubicBezTo>
                    <a:pt x="0" y="3240"/>
                    <a:pt x="0" y="11880"/>
                    <a:pt x="0" y="5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8" name="Shape 2207">
              <a:extLst>
                <a:ext uri="{FF2B5EF4-FFF2-40B4-BE49-F238E27FC236}">
                  <a16:creationId xmlns:a16="http://schemas.microsoft.com/office/drawing/2014/main" id="{2AEC1C18-5306-2AA1-48B1-0BE8766FF600}"/>
                </a:ext>
              </a:extLst>
            </p:cNvPr>
            <p:cNvSpPr/>
            <p:nvPr/>
          </p:nvSpPr>
          <p:spPr>
            <a:xfrm>
              <a:off x="4699127" y="746333"/>
              <a:ext cx="53816" cy="11382"/>
            </a:xfrm>
            <a:custGeom>
              <a:avLst/>
              <a:gdLst/>
              <a:ahLst/>
              <a:cxnLst>
                <a:cxn ang="0">
                  <a:pos x="wd2" y="hd2"/>
                </a:cxn>
                <a:cxn ang="5400000">
                  <a:pos x="wd2" y="hd2"/>
                </a:cxn>
                <a:cxn ang="10800000">
                  <a:pos x="wd2" y="hd2"/>
                </a:cxn>
                <a:cxn ang="16200000">
                  <a:pos x="wd2" y="hd2"/>
                </a:cxn>
              </a:cxnLst>
              <a:rect l="0" t="0" r="r" b="b"/>
              <a:pathLst>
                <a:path w="19893" h="12150" extrusionOk="0">
                  <a:moveTo>
                    <a:pt x="19200" y="7200"/>
                  </a:moveTo>
                  <a:cubicBezTo>
                    <a:pt x="21600" y="7200"/>
                    <a:pt x="12000" y="0"/>
                    <a:pt x="12000" y="0"/>
                  </a:cubicBezTo>
                  <a:cubicBezTo>
                    <a:pt x="7200" y="0"/>
                    <a:pt x="2400" y="0"/>
                    <a:pt x="0" y="0"/>
                  </a:cubicBezTo>
                  <a:cubicBezTo>
                    <a:pt x="4800" y="0"/>
                    <a:pt x="14400" y="21600"/>
                    <a:pt x="19200" y="7200"/>
                  </a:cubicBezTo>
                  <a:cubicBezTo>
                    <a:pt x="21600" y="7200"/>
                    <a:pt x="16800" y="14400"/>
                    <a:pt x="19200"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9" name="Shape 2208">
              <a:extLst>
                <a:ext uri="{FF2B5EF4-FFF2-40B4-BE49-F238E27FC236}">
                  <a16:creationId xmlns:a16="http://schemas.microsoft.com/office/drawing/2014/main" id="{3A367181-620B-78DD-1056-6400DF0823D5}"/>
                </a:ext>
              </a:extLst>
            </p:cNvPr>
            <p:cNvSpPr/>
            <p:nvPr/>
          </p:nvSpPr>
          <p:spPr>
            <a:xfrm>
              <a:off x="4606983" y="889470"/>
              <a:ext cx="83759" cy="35355"/>
            </a:xfrm>
            <a:custGeom>
              <a:avLst/>
              <a:gdLst/>
              <a:ahLst/>
              <a:cxnLst>
                <a:cxn ang="0">
                  <a:pos x="wd2" y="hd2"/>
                </a:cxn>
                <a:cxn ang="5400000">
                  <a:pos x="wd2" y="hd2"/>
                </a:cxn>
                <a:cxn ang="10800000">
                  <a:pos x="wd2" y="hd2"/>
                </a:cxn>
                <a:cxn ang="16200000">
                  <a:pos x="wd2" y="hd2"/>
                </a:cxn>
              </a:cxnLst>
              <a:rect l="0" t="0" r="r" b="b"/>
              <a:pathLst>
                <a:path w="21185" h="16985" extrusionOk="0">
                  <a:moveTo>
                    <a:pt x="19938" y="10535"/>
                  </a:moveTo>
                  <a:cubicBezTo>
                    <a:pt x="21600" y="7449"/>
                    <a:pt x="21600" y="4363"/>
                    <a:pt x="19938" y="1278"/>
                  </a:cubicBezTo>
                  <a:cubicBezTo>
                    <a:pt x="18277" y="-1808"/>
                    <a:pt x="13292" y="1278"/>
                    <a:pt x="11631" y="4363"/>
                  </a:cubicBezTo>
                  <a:cubicBezTo>
                    <a:pt x="9969" y="4363"/>
                    <a:pt x="6646" y="4363"/>
                    <a:pt x="4985" y="7449"/>
                  </a:cubicBezTo>
                  <a:cubicBezTo>
                    <a:pt x="4985" y="7449"/>
                    <a:pt x="0" y="13621"/>
                    <a:pt x="0" y="13621"/>
                  </a:cubicBezTo>
                  <a:cubicBezTo>
                    <a:pt x="4985" y="19792"/>
                    <a:pt x="16615" y="16706"/>
                    <a:pt x="19938" y="10535"/>
                  </a:cubicBezTo>
                  <a:cubicBezTo>
                    <a:pt x="21600" y="7449"/>
                    <a:pt x="14954" y="16706"/>
                    <a:pt x="19938" y="1053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0" name="Shape 2209">
              <a:extLst>
                <a:ext uri="{FF2B5EF4-FFF2-40B4-BE49-F238E27FC236}">
                  <a16:creationId xmlns:a16="http://schemas.microsoft.com/office/drawing/2014/main" id="{689F54A7-E633-43A4-2BDC-AC6504B32FAB}"/>
                </a:ext>
              </a:extLst>
            </p:cNvPr>
            <p:cNvSpPr/>
            <p:nvPr/>
          </p:nvSpPr>
          <p:spPr>
            <a:xfrm>
              <a:off x="3835031" y="957036"/>
              <a:ext cx="17574" cy="24413"/>
            </a:xfrm>
            <a:custGeom>
              <a:avLst/>
              <a:gdLst/>
              <a:ahLst/>
              <a:cxnLst>
                <a:cxn ang="0">
                  <a:pos x="wd2" y="hd2"/>
                </a:cxn>
                <a:cxn ang="5400000">
                  <a:pos x="wd2" y="hd2"/>
                </a:cxn>
                <a:cxn ang="10800000">
                  <a:pos x="wd2" y="hd2"/>
                </a:cxn>
                <a:cxn ang="16200000">
                  <a:pos x="wd2" y="hd2"/>
                </a:cxn>
              </a:cxnLst>
              <a:rect l="0" t="0" r="r" b="b"/>
              <a:pathLst>
                <a:path w="14074" h="13032" extrusionOk="0">
                  <a:moveTo>
                    <a:pt x="11674" y="3925"/>
                  </a:moveTo>
                  <a:cubicBezTo>
                    <a:pt x="6274" y="-3275"/>
                    <a:pt x="874" y="325"/>
                    <a:pt x="874" y="7525"/>
                  </a:cubicBezTo>
                  <a:cubicBezTo>
                    <a:pt x="-4526" y="18325"/>
                    <a:pt x="17074" y="11125"/>
                    <a:pt x="11674" y="3925"/>
                  </a:cubicBezTo>
                  <a:cubicBezTo>
                    <a:pt x="11674" y="3925"/>
                    <a:pt x="17074" y="7525"/>
                    <a:pt x="11674" y="39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1" name="Shape 2210">
              <a:extLst>
                <a:ext uri="{FF2B5EF4-FFF2-40B4-BE49-F238E27FC236}">
                  <a16:creationId xmlns:a16="http://schemas.microsoft.com/office/drawing/2014/main" id="{73CE86A2-95B5-04F8-5997-3F6025B882E6}"/>
                </a:ext>
              </a:extLst>
            </p:cNvPr>
            <p:cNvSpPr/>
            <p:nvPr/>
          </p:nvSpPr>
          <p:spPr>
            <a:xfrm>
              <a:off x="3776136" y="870332"/>
              <a:ext cx="19534" cy="13037"/>
            </a:xfrm>
            <a:custGeom>
              <a:avLst/>
              <a:gdLst/>
              <a:ahLst/>
              <a:cxnLst>
                <a:cxn ang="0">
                  <a:pos x="wd2" y="hd2"/>
                </a:cxn>
                <a:cxn ang="5400000">
                  <a:pos x="wd2" y="hd2"/>
                </a:cxn>
                <a:cxn ang="10800000">
                  <a:pos x="wd2" y="hd2"/>
                </a:cxn>
                <a:cxn ang="16200000">
                  <a:pos x="wd2" y="hd2"/>
                </a:cxn>
              </a:cxnLst>
              <a:rect l="0" t="0" r="r" b="b"/>
              <a:pathLst>
                <a:path w="17067" h="10439" extrusionOk="0">
                  <a:moveTo>
                    <a:pt x="17067" y="6912"/>
                  </a:moveTo>
                  <a:cubicBezTo>
                    <a:pt x="11667" y="6912"/>
                    <a:pt x="867" y="-3888"/>
                    <a:pt x="867" y="1512"/>
                  </a:cubicBezTo>
                  <a:cubicBezTo>
                    <a:pt x="-4533" y="17712"/>
                    <a:pt x="17067" y="6912"/>
                    <a:pt x="17067" y="6912"/>
                  </a:cubicBezTo>
                  <a:cubicBezTo>
                    <a:pt x="11667" y="6912"/>
                    <a:pt x="17067" y="6912"/>
                    <a:pt x="17067" y="691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2" name="Shape 2211">
              <a:extLst>
                <a:ext uri="{FF2B5EF4-FFF2-40B4-BE49-F238E27FC236}">
                  <a16:creationId xmlns:a16="http://schemas.microsoft.com/office/drawing/2014/main" id="{11736FB2-6C4A-5072-12DE-BDAF0B2A0AAA}"/>
                </a:ext>
              </a:extLst>
            </p:cNvPr>
            <p:cNvSpPr/>
            <p:nvPr/>
          </p:nvSpPr>
          <p:spPr>
            <a:xfrm>
              <a:off x="4930609" y="446804"/>
              <a:ext cx="13486" cy="9539"/>
            </a:xfrm>
            <a:custGeom>
              <a:avLst/>
              <a:gdLst/>
              <a:ahLst/>
              <a:cxnLst>
                <a:cxn ang="0">
                  <a:pos x="wd2" y="hd2"/>
                </a:cxn>
                <a:cxn ang="5400000">
                  <a:pos x="wd2" y="hd2"/>
                </a:cxn>
                <a:cxn ang="10800000">
                  <a:pos x="wd2" y="hd2"/>
                </a:cxn>
                <a:cxn ang="16200000">
                  <a:pos x="wd2" y="hd2"/>
                </a:cxn>
              </a:cxnLst>
              <a:rect l="0" t="0" r="r" b="b"/>
              <a:pathLst>
                <a:path w="21600" h="15274" extrusionOk="0">
                  <a:moveTo>
                    <a:pt x="21600" y="4474"/>
                  </a:moveTo>
                  <a:cubicBezTo>
                    <a:pt x="21600" y="-6326"/>
                    <a:pt x="0" y="4474"/>
                    <a:pt x="0" y="15274"/>
                  </a:cubicBezTo>
                  <a:cubicBezTo>
                    <a:pt x="10800" y="15274"/>
                    <a:pt x="21600" y="15274"/>
                    <a:pt x="21600" y="44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3" name="Shape 2212">
              <a:extLst>
                <a:ext uri="{FF2B5EF4-FFF2-40B4-BE49-F238E27FC236}">
                  <a16:creationId xmlns:a16="http://schemas.microsoft.com/office/drawing/2014/main" id="{32969D37-EFE8-9F14-9766-A5F8B0221CEF}"/>
                </a:ext>
              </a:extLst>
            </p:cNvPr>
            <p:cNvSpPr/>
            <p:nvPr/>
          </p:nvSpPr>
          <p:spPr>
            <a:xfrm>
              <a:off x="4880622" y="370917"/>
              <a:ext cx="12329" cy="7949"/>
            </a:xfrm>
            <a:custGeom>
              <a:avLst/>
              <a:gdLst/>
              <a:ahLst/>
              <a:cxnLst>
                <a:cxn ang="0">
                  <a:pos x="wd2" y="hd2"/>
                </a:cxn>
                <a:cxn ang="5400000">
                  <a:pos x="wd2" y="hd2"/>
                </a:cxn>
                <a:cxn ang="10800000">
                  <a:pos x="wd2" y="hd2"/>
                </a:cxn>
                <a:cxn ang="16200000">
                  <a:pos x="wd2" y="hd2"/>
                </a:cxn>
              </a:cxnLst>
              <a:rect l="0" t="0" r="r" b="b"/>
              <a:pathLst>
                <a:path w="13165" h="15274" extrusionOk="0">
                  <a:moveTo>
                    <a:pt x="10182" y="0"/>
                  </a:moveTo>
                  <a:cubicBezTo>
                    <a:pt x="2982" y="0"/>
                    <a:pt x="-4218" y="10800"/>
                    <a:pt x="2982" y="10800"/>
                  </a:cubicBezTo>
                  <a:cubicBezTo>
                    <a:pt x="10182" y="21600"/>
                    <a:pt x="17382" y="10800"/>
                    <a:pt x="10182"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4" name="Shape 2213">
              <a:extLst>
                <a:ext uri="{FF2B5EF4-FFF2-40B4-BE49-F238E27FC236}">
                  <a16:creationId xmlns:a16="http://schemas.microsoft.com/office/drawing/2014/main" id="{72DFE592-46FB-EC02-98C3-6C1733FA60DE}"/>
                </a:ext>
              </a:extLst>
            </p:cNvPr>
            <p:cNvSpPr/>
            <p:nvPr/>
          </p:nvSpPr>
          <p:spPr>
            <a:xfrm>
              <a:off x="4934924" y="347892"/>
              <a:ext cx="9350" cy="11427"/>
            </a:xfrm>
            <a:custGeom>
              <a:avLst/>
              <a:gdLst/>
              <a:ahLst/>
              <a:cxnLst>
                <a:cxn ang="0">
                  <a:pos x="wd2" y="hd2"/>
                </a:cxn>
                <a:cxn ang="5400000">
                  <a:pos x="wd2" y="hd2"/>
                </a:cxn>
                <a:cxn ang="10800000">
                  <a:pos x="wd2" y="hd2"/>
                </a:cxn>
                <a:cxn ang="16200000">
                  <a:pos x="wd2" y="hd2"/>
                </a:cxn>
              </a:cxnLst>
              <a:rect l="0" t="0" r="r" b="b"/>
              <a:pathLst>
                <a:path w="11232" h="12198" extrusionOk="0">
                  <a:moveTo>
                    <a:pt x="9216" y="2982"/>
                  </a:moveTo>
                  <a:cubicBezTo>
                    <a:pt x="9216" y="-4218"/>
                    <a:pt x="-5184" y="2982"/>
                    <a:pt x="2016" y="10182"/>
                  </a:cubicBezTo>
                  <a:cubicBezTo>
                    <a:pt x="2016" y="17382"/>
                    <a:pt x="16416" y="2982"/>
                    <a:pt x="9216" y="29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5" name="Shape 2214">
              <a:extLst>
                <a:ext uri="{FF2B5EF4-FFF2-40B4-BE49-F238E27FC236}">
                  <a16:creationId xmlns:a16="http://schemas.microsoft.com/office/drawing/2014/main" id="{D00D68F9-CB20-34E1-49DA-DBC00DE8F2E1}"/>
                </a:ext>
              </a:extLst>
            </p:cNvPr>
            <p:cNvSpPr/>
            <p:nvPr/>
          </p:nvSpPr>
          <p:spPr>
            <a:xfrm>
              <a:off x="3136105" y="476573"/>
              <a:ext cx="28042" cy="4496"/>
            </a:xfrm>
            <a:custGeom>
              <a:avLst/>
              <a:gdLst/>
              <a:ahLst/>
              <a:cxnLst>
                <a:cxn ang="0">
                  <a:pos x="wd2" y="hd2"/>
                </a:cxn>
                <a:cxn ang="5400000">
                  <a:pos x="wd2" y="hd2"/>
                </a:cxn>
                <a:cxn ang="10800000">
                  <a:pos x="wd2" y="hd2"/>
                </a:cxn>
                <a:cxn ang="16200000">
                  <a:pos x="wd2" y="hd2"/>
                </a:cxn>
              </a:cxnLst>
              <a:rect l="0" t="0" r="r" b="b"/>
              <a:pathLst>
                <a:path w="17968" h="21600" extrusionOk="0">
                  <a:moveTo>
                    <a:pt x="17968" y="21600"/>
                  </a:moveTo>
                  <a:cubicBezTo>
                    <a:pt x="13648" y="0"/>
                    <a:pt x="-3632" y="0"/>
                    <a:pt x="688" y="0"/>
                  </a:cubicBezTo>
                  <a:cubicBezTo>
                    <a:pt x="5008" y="21600"/>
                    <a:pt x="17968" y="21600"/>
                    <a:pt x="17968"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6" name="Shape 2215">
              <a:extLst>
                <a:ext uri="{FF2B5EF4-FFF2-40B4-BE49-F238E27FC236}">
                  <a16:creationId xmlns:a16="http://schemas.microsoft.com/office/drawing/2014/main" id="{21D04ECA-B66D-2493-8317-54DA6C1BB637}"/>
                </a:ext>
              </a:extLst>
            </p:cNvPr>
            <p:cNvSpPr/>
            <p:nvPr/>
          </p:nvSpPr>
          <p:spPr>
            <a:xfrm>
              <a:off x="3176557" y="475148"/>
              <a:ext cx="29115" cy="1141"/>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7" name="Shape 2216">
              <a:extLst>
                <a:ext uri="{FF2B5EF4-FFF2-40B4-BE49-F238E27FC236}">
                  <a16:creationId xmlns:a16="http://schemas.microsoft.com/office/drawing/2014/main" id="{4F4ADEEF-AFE8-3E0D-A02D-D731BCC9F632}"/>
                </a:ext>
              </a:extLst>
            </p:cNvPr>
            <p:cNvSpPr/>
            <p:nvPr/>
          </p:nvSpPr>
          <p:spPr>
            <a:xfrm>
              <a:off x="3934402" y="58448"/>
              <a:ext cx="16886" cy="13490"/>
            </a:xfrm>
            <a:custGeom>
              <a:avLst/>
              <a:gdLst/>
              <a:ahLst/>
              <a:cxnLst>
                <a:cxn ang="0">
                  <a:pos x="wd2" y="hd2"/>
                </a:cxn>
                <a:cxn ang="5400000">
                  <a:pos x="wd2" y="hd2"/>
                </a:cxn>
                <a:cxn ang="10800000">
                  <a:pos x="wd2" y="hd2"/>
                </a:cxn>
                <a:cxn ang="16200000">
                  <a:pos x="wd2" y="hd2"/>
                </a:cxn>
              </a:cxnLst>
              <a:rect l="0" t="0" r="r" b="b"/>
              <a:pathLst>
                <a:path w="13524" h="21600" extrusionOk="0">
                  <a:moveTo>
                    <a:pt x="11287" y="21600"/>
                  </a:moveTo>
                  <a:cubicBezTo>
                    <a:pt x="487" y="21600"/>
                    <a:pt x="-4913" y="0"/>
                    <a:pt x="5887" y="0"/>
                  </a:cubicBezTo>
                  <a:cubicBezTo>
                    <a:pt x="11287" y="0"/>
                    <a:pt x="16687" y="21600"/>
                    <a:pt x="11287"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8" name="Shape 2217">
              <a:extLst>
                <a:ext uri="{FF2B5EF4-FFF2-40B4-BE49-F238E27FC236}">
                  <a16:creationId xmlns:a16="http://schemas.microsoft.com/office/drawing/2014/main" id="{9240012D-F94C-CF8A-0982-8326E3B3A5C4}"/>
                </a:ext>
              </a:extLst>
            </p:cNvPr>
            <p:cNvSpPr/>
            <p:nvPr/>
          </p:nvSpPr>
          <p:spPr>
            <a:xfrm>
              <a:off x="1121247" y="1675778"/>
              <a:ext cx="60682" cy="68474"/>
            </a:xfrm>
            <a:custGeom>
              <a:avLst/>
              <a:gdLst/>
              <a:ahLst/>
              <a:cxnLst>
                <a:cxn ang="0">
                  <a:pos x="wd2" y="hd2"/>
                </a:cxn>
                <a:cxn ang="5400000">
                  <a:pos x="wd2" y="hd2"/>
                </a:cxn>
                <a:cxn ang="10800000">
                  <a:pos x="wd2" y="hd2"/>
                </a:cxn>
                <a:cxn ang="16200000">
                  <a:pos x="wd2" y="hd2"/>
                </a:cxn>
              </a:cxnLst>
              <a:rect l="0" t="0" r="r" b="b"/>
              <a:pathLst>
                <a:path w="21600" h="18798" extrusionOk="0">
                  <a:moveTo>
                    <a:pt x="21600" y="18278"/>
                  </a:moveTo>
                  <a:cubicBezTo>
                    <a:pt x="19200" y="12878"/>
                    <a:pt x="16800" y="5678"/>
                    <a:pt x="12000" y="2078"/>
                  </a:cubicBezTo>
                  <a:cubicBezTo>
                    <a:pt x="9600" y="278"/>
                    <a:pt x="7200" y="-1522"/>
                    <a:pt x="4800" y="2078"/>
                  </a:cubicBezTo>
                  <a:cubicBezTo>
                    <a:pt x="4800" y="2078"/>
                    <a:pt x="0" y="2078"/>
                    <a:pt x="0" y="3878"/>
                  </a:cubicBezTo>
                  <a:cubicBezTo>
                    <a:pt x="2400" y="5678"/>
                    <a:pt x="7200" y="3878"/>
                    <a:pt x="7200" y="7478"/>
                  </a:cubicBezTo>
                  <a:cubicBezTo>
                    <a:pt x="7200" y="9278"/>
                    <a:pt x="7200" y="9278"/>
                    <a:pt x="7200" y="11078"/>
                  </a:cubicBezTo>
                  <a:cubicBezTo>
                    <a:pt x="7200" y="12878"/>
                    <a:pt x="9600" y="11078"/>
                    <a:pt x="9600" y="11078"/>
                  </a:cubicBezTo>
                  <a:cubicBezTo>
                    <a:pt x="12000" y="12878"/>
                    <a:pt x="7200" y="12878"/>
                    <a:pt x="7200" y="12878"/>
                  </a:cubicBezTo>
                  <a:cubicBezTo>
                    <a:pt x="7200" y="14678"/>
                    <a:pt x="12000" y="18278"/>
                    <a:pt x="14400" y="18278"/>
                  </a:cubicBezTo>
                  <a:cubicBezTo>
                    <a:pt x="14400" y="18278"/>
                    <a:pt x="4800" y="11078"/>
                    <a:pt x="14400" y="14678"/>
                  </a:cubicBezTo>
                  <a:cubicBezTo>
                    <a:pt x="16800" y="14678"/>
                    <a:pt x="21600" y="20078"/>
                    <a:pt x="21600" y="18278"/>
                  </a:cubicBezTo>
                  <a:cubicBezTo>
                    <a:pt x="19200" y="16478"/>
                    <a:pt x="21600" y="20078"/>
                    <a:pt x="21600" y="1827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grpSp>
      <p:sp>
        <p:nvSpPr>
          <p:cNvPr id="399" name="Titel 9">
            <a:extLst>
              <a:ext uri="{FF2B5EF4-FFF2-40B4-BE49-F238E27FC236}">
                <a16:creationId xmlns:a16="http://schemas.microsoft.com/office/drawing/2014/main" id="{295DA8E0-4343-9FDD-2E84-482A1D3AF773}"/>
              </a:ext>
            </a:extLst>
          </p:cNvPr>
          <p:cNvSpPr>
            <a:spLocks noGrp="1"/>
          </p:cNvSpPr>
          <p:nvPr>
            <p:ph type="title" hasCustomPrompt="1"/>
          </p:nvPr>
        </p:nvSpPr>
        <p:spPr>
          <a:xfrm>
            <a:off x="-12700" y="365922"/>
            <a:ext cx="12217400" cy="505844"/>
          </a:xfrm>
        </p:spPr>
        <p:txBody>
          <a:bodyPr vert="horz"/>
          <a:lstStyle>
            <a:lvl1pPr algn="ctr" rtl="0">
              <a:defRPr>
                <a:solidFill>
                  <a:schemeClr val="tx1"/>
                </a:solidFill>
                <a:latin typeface="Aleo" pitchFamily="2" charset="77"/>
              </a:defRPr>
            </a:lvl1pPr>
          </a:lstStyle>
          <a:p>
            <a:r>
              <a:rPr lang="en-US"/>
              <a:t>Map of the World</a:t>
            </a:r>
          </a:p>
        </p:txBody>
      </p:sp>
      <p:pic>
        <p:nvPicPr>
          <p:cNvPr id="400" name="Graphic 399">
            <a:extLst>
              <a:ext uri="{FF2B5EF4-FFF2-40B4-BE49-F238E27FC236}">
                <a16:creationId xmlns:a16="http://schemas.microsoft.com/office/drawing/2014/main" id="{1CD9FA53-BD42-B53A-0EF1-A7C9FFF6E8B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Tree>
    <p:extLst>
      <p:ext uri="{BB962C8B-B14F-4D97-AF65-F5344CB8AC3E}">
        <p14:creationId xmlns:p14="http://schemas.microsoft.com/office/powerpoint/2010/main" val="428442465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ap of Europ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9" name="Titel 9">
            <a:extLst>
              <a:ext uri="{FF2B5EF4-FFF2-40B4-BE49-F238E27FC236}">
                <a16:creationId xmlns:a16="http://schemas.microsoft.com/office/drawing/2014/main" id="{295DA8E0-4343-9FDD-2E84-482A1D3AF773}"/>
              </a:ext>
            </a:extLst>
          </p:cNvPr>
          <p:cNvSpPr>
            <a:spLocks noGrp="1"/>
          </p:cNvSpPr>
          <p:nvPr>
            <p:ph type="title" hasCustomPrompt="1"/>
          </p:nvPr>
        </p:nvSpPr>
        <p:spPr>
          <a:xfrm>
            <a:off x="472546" y="466804"/>
            <a:ext cx="3791640" cy="505844"/>
          </a:xfrm>
        </p:spPr>
        <p:txBody>
          <a:bodyPr vert="horz"/>
          <a:lstStyle>
            <a:lvl1pPr algn="l" rtl="0">
              <a:defRPr>
                <a:solidFill>
                  <a:schemeClr val="tx1"/>
                </a:solidFill>
                <a:latin typeface="Aleo" pitchFamily="2" charset="77"/>
              </a:defRPr>
            </a:lvl1pPr>
          </a:lstStyle>
          <a:p>
            <a:r>
              <a:rPr lang="en-US"/>
              <a:t>Map of Europe</a:t>
            </a:r>
          </a:p>
        </p:txBody>
      </p:sp>
      <p:grpSp>
        <p:nvGrpSpPr>
          <p:cNvPr id="3" name="Group 2269">
            <a:extLst>
              <a:ext uri="{FF2B5EF4-FFF2-40B4-BE49-F238E27FC236}">
                <a16:creationId xmlns:a16="http://schemas.microsoft.com/office/drawing/2014/main" id="{803673F8-81A0-EB63-2B74-D7BB4CB7862B}"/>
              </a:ext>
            </a:extLst>
          </p:cNvPr>
          <p:cNvGrpSpPr/>
          <p:nvPr userDrawn="1"/>
        </p:nvGrpSpPr>
        <p:grpSpPr>
          <a:xfrm>
            <a:off x="4908177" y="0"/>
            <a:ext cx="7283823" cy="5327374"/>
            <a:chOff x="0" y="0"/>
            <a:chExt cx="11252248" cy="8229872"/>
          </a:xfrm>
          <a:solidFill>
            <a:schemeClr val="accent5"/>
          </a:solidFill>
        </p:grpSpPr>
        <p:sp>
          <p:nvSpPr>
            <p:cNvPr id="400" name="Shape 2223">
              <a:extLst>
                <a:ext uri="{FF2B5EF4-FFF2-40B4-BE49-F238E27FC236}">
                  <a16:creationId xmlns:a16="http://schemas.microsoft.com/office/drawing/2014/main" id="{3D3B0381-7BDC-0A83-5041-09690B08C302}"/>
                </a:ext>
              </a:extLst>
            </p:cNvPr>
            <p:cNvSpPr/>
            <p:nvPr/>
          </p:nvSpPr>
          <p:spPr>
            <a:xfrm>
              <a:off x="4947594" y="3994427"/>
              <a:ext cx="419046" cy="209554"/>
            </a:xfrm>
            <a:custGeom>
              <a:avLst/>
              <a:gdLst/>
              <a:ahLst/>
              <a:cxnLst>
                <a:cxn ang="0">
                  <a:pos x="wd2" y="hd2"/>
                </a:cxn>
                <a:cxn ang="5400000">
                  <a:pos x="wd2" y="hd2"/>
                </a:cxn>
                <a:cxn ang="10800000">
                  <a:pos x="wd2" y="hd2"/>
                </a:cxn>
                <a:cxn ang="16200000">
                  <a:pos x="wd2" y="hd2"/>
                </a:cxn>
              </a:cxnLst>
              <a:rect l="0" t="0" r="r" b="b"/>
              <a:pathLst>
                <a:path w="21075" h="20968" extrusionOk="0">
                  <a:moveTo>
                    <a:pt x="8613" y="115"/>
                  </a:moveTo>
                  <a:cubicBezTo>
                    <a:pt x="9444" y="1315"/>
                    <a:pt x="9444" y="1315"/>
                    <a:pt x="9444" y="1315"/>
                  </a:cubicBezTo>
                  <a:cubicBezTo>
                    <a:pt x="10067" y="1715"/>
                    <a:pt x="10067" y="1715"/>
                    <a:pt x="10067" y="1715"/>
                  </a:cubicBezTo>
                  <a:cubicBezTo>
                    <a:pt x="11313" y="2915"/>
                    <a:pt x="11313" y="2915"/>
                    <a:pt x="11313" y="2915"/>
                  </a:cubicBezTo>
                  <a:cubicBezTo>
                    <a:pt x="13806" y="3315"/>
                    <a:pt x="13806" y="3315"/>
                    <a:pt x="13806" y="3315"/>
                  </a:cubicBezTo>
                  <a:cubicBezTo>
                    <a:pt x="14221" y="2515"/>
                    <a:pt x="14221" y="2515"/>
                    <a:pt x="14221" y="2515"/>
                  </a:cubicBezTo>
                  <a:cubicBezTo>
                    <a:pt x="15052" y="2115"/>
                    <a:pt x="15052" y="2115"/>
                    <a:pt x="15052" y="2115"/>
                  </a:cubicBezTo>
                  <a:cubicBezTo>
                    <a:pt x="16506" y="1315"/>
                    <a:pt x="16506" y="1315"/>
                    <a:pt x="16506" y="1315"/>
                  </a:cubicBezTo>
                  <a:cubicBezTo>
                    <a:pt x="17129" y="2915"/>
                    <a:pt x="17129" y="2915"/>
                    <a:pt x="17129" y="2915"/>
                  </a:cubicBezTo>
                  <a:cubicBezTo>
                    <a:pt x="17544" y="2915"/>
                    <a:pt x="17544" y="2915"/>
                    <a:pt x="17544" y="2915"/>
                  </a:cubicBezTo>
                  <a:cubicBezTo>
                    <a:pt x="17544" y="2915"/>
                    <a:pt x="17960" y="3715"/>
                    <a:pt x="18375" y="4515"/>
                  </a:cubicBezTo>
                  <a:cubicBezTo>
                    <a:pt x="18583" y="5315"/>
                    <a:pt x="18998" y="5715"/>
                    <a:pt x="18998" y="5715"/>
                  </a:cubicBezTo>
                  <a:cubicBezTo>
                    <a:pt x="18583" y="8515"/>
                    <a:pt x="18583" y="8515"/>
                    <a:pt x="18583" y="8515"/>
                  </a:cubicBezTo>
                  <a:cubicBezTo>
                    <a:pt x="18583" y="9715"/>
                    <a:pt x="18583" y="9715"/>
                    <a:pt x="18583" y="9715"/>
                  </a:cubicBezTo>
                  <a:cubicBezTo>
                    <a:pt x="18583" y="13715"/>
                    <a:pt x="18583" y="13715"/>
                    <a:pt x="18583" y="13715"/>
                  </a:cubicBezTo>
                  <a:cubicBezTo>
                    <a:pt x="19206" y="15315"/>
                    <a:pt x="19206" y="15315"/>
                    <a:pt x="19206" y="15315"/>
                  </a:cubicBezTo>
                  <a:cubicBezTo>
                    <a:pt x="19206" y="15715"/>
                    <a:pt x="19206" y="15715"/>
                    <a:pt x="19206" y="15715"/>
                  </a:cubicBezTo>
                  <a:cubicBezTo>
                    <a:pt x="20037" y="15315"/>
                    <a:pt x="20037" y="15315"/>
                    <a:pt x="20037" y="15315"/>
                  </a:cubicBezTo>
                  <a:cubicBezTo>
                    <a:pt x="20037" y="15315"/>
                    <a:pt x="20244" y="15315"/>
                    <a:pt x="20244" y="14915"/>
                  </a:cubicBezTo>
                  <a:cubicBezTo>
                    <a:pt x="20244" y="15315"/>
                    <a:pt x="20037" y="15315"/>
                    <a:pt x="20037" y="15315"/>
                  </a:cubicBezTo>
                  <a:cubicBezTo>
                    <a:pt x="18167" y="16115"/>
                    <a:pt x="18167" y="16115"/>
                    <a:pt x="18167" y="16115"/>
                  </a:cubicBezTo>
                  <a:cubicBezTo>
                    <a:pt x="16506" y="18115"/>
                    <a:pt x="16506" y="18115"/>
                    <a:pt x="16506" y="18115"/>
                  </a:cubicBezTo>
                  <a:cubicBezTo>
                    <a:pt x="16506" y="18115"/>
                    <a:pt x="12560" y="18915"/>
                    <a:pt x="12144" y="18915"/>
                  </a:cubicBezTo>
                  <a:cubicBezTo>
                    <a:pt x="11937" y="18915"/>
                    <a:pt x="9444" y="19315"/>
                    <a:pt x="9029" y="19315"/>
                  </a:cubicBezTo>
                  <a:cubicBezTo>
                    <a:pt x="8821" y="19715"/>
                    <a:pt x="7575" y="20115"/>
                    <a:pt x="7160" y="20115"/>
                  </a:cubicBezTo>
                  <a:cubicBezTo>
                    <a:pt x="6744" y="20115"/>
                    <a:pt x="4875" y="20515"/>
                    <a:pt x="4460" y="20515"/>
                  </a:cubicBezTo>
                  <a:cubicBezTo>
                    <a:pt x="4044" y="20515"/>
                    <a:pt x="3006" y="20515"/>
                    <a:pt x="3006" y="20515"/>
                  </a:cubicBezTo>
                  <a:cubicBezTo>
                    <a:pt x="3006" y="20515"/>
                    <a:pt x="929" y="20915"/>
                    <a:pt x="306" y="20915"/>
                  </a:cubicBezTo>
                  <a:cubicBezTo>
                    <a:pt x="-317" y="21315"/>
                    <a:pt x="513" y="19315"/>
                    <a:pt x="513" y="19315"/>
                  </a:cubicBezTo>
                  <a:cubicBezTo>
                    <a:pt x="513" y="19315"/>
                    <a:pt x="3006" y="15315"/>
                    <a:pt x="2175" y="15715"/>
                  </a:cubicBezTo>
                  <a:cubicBezTo>
                    <a:pt x="1137" y="14915"/>
                    <a:pt x="1137" y="14915"/>
                    <a:pt x="1137" y="14915"/>
                  </a:cubicBezTo>
                  <a:cubicBezTo>
                    <a:pt x="306" y="13715"/>
                    <a:pt x="306" y="13715"/>
                    <a:pt x="306" y="13715"/>
                  </a:cubicBezTo>
                  <a:cubicBezTo>
                    <a:pt x="-525" y="10115"/>
                    <a:pt x="513" y="8515"/>
                    <a:pt x="1344" y="8515"/>
                  </a:cubicBezTo>
                  <a:cubicBezTo>
                    <a:pt x="1967" y="8515"/>
                    <a:pt x="3629" y="9715"/>
                    <a:pt x="4667" y="9715"/>
                  </a:cubicBezTo>
                  <a:cubicBezTo>
                    <a:pt x="8406" y="9715"/>
                    <a:pt x="7575" y="7315"/>
                    <a:pt x="7367" y="2915"/>
                  </a:cubicBezTo>
                  <a:cubicBezTo>
                    <a:pt x="7367" y="1715"/>
                    <a:pt x="7575" y="515"/>
                    <a:pt x="7783" y="115"/>
                  </a:cubicBezTo>
                  <a:cubicBezTo>
                    <a:pt x="7990" y="-285"/>
                    <a:pt x="8406" y="515"/>
                    <a:pt x="8613" y="115"/>
                  </a:cubicBezTo>
                  <a:close/>
                  <a:moveTo>
                    <a:pt x="20660" y="14515"/>
                  </a:moveTo>
                  <a:cubicBezTo>
                    <a:pt x="20660" y="14515"/>
                    <a:pt x="20660" y="14515"/>
                    <a:pt x="20660" y="14515"/>
                  </a:cubicBezTo>
                  <a:cubicBezTo>
                    <a:pt x="20660" y="14515"/>
                    <a:pt x="20660" y="14515"/>
                    <a:pt x="20660" y="14515"/>
                  </a:cubicBezTo>
                  <a:cubicBezTo>
                    <a:pt x="20660" y="14915"/>
                    <a:pt x="20660" y="14915"/>
                    <a:pt x="20660" y="14915"/>
                  </a:cubicBezTo>
                  <a:cubicBezTo>
                    <a:pt x="20660" y="14515"/>
                    <a:pt x="20660" y="14515"/>
                    <a:pt x="20660" y="14515"/>
                  </a:cubicBezTo>
                  <a:cubicBezTo>
                    <a:pt x="20660" y="14515"/>
                    <a:pt x="20660" y="14515"/>
                    <a:pt x="20660" y="14515"/>
                  </a:cubicBezTo>
                  <a:close/>
                  <a:moveTo>
                    <a:pt x="20660" y="14915"/>
                  </a:moveTo>
                  <a:cubicBezTo>
                    <a:pt x="20660" y="14915"/>
                    <a:pt x="20660" y="14915"/>
                    <a:pt x="20660" y="14915"/>
                  </a:cubicBezTo>
                  <a:cubicBezTo>
                    <a:pt x="20867" y="15315"/>
                    <a:pt x="21075" y="16115"/>
                    <a:pt x="21075" y="16515"/>
                  </a:cubicBezTo>
                  <a:cubicBezTo>
                    <a:pt x="21075" y="16515"/>
                    <a:pt x="21075" y="16515"/>
                    <a:pt x="21075" y="16515"/>
                  </a:cubicBezTo>
                  <a:cubicBezTo>
                    <a:pt x="21075" y="16115"/>
                    <a:pt x="20867" y="15315"/>
                    <a:pt x="20660" y="14915"/>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1" name="Shape 2224">
              <a:extLst>
                <a:ext uri="{FF2B5EF4-FFF2-40B4-BE49-F238E27FC236}">
                  <a16:creationId xmlns:a16="http://schemas.microsoft.com/office/drawing/2014/main" id="{0BDE21CC-0D2C-806B-4BB6-7E5CAD1E3C0A}"/>
                </a:ext>
              </a:extLst>
            </p:cNvPr>
            <p:cNvSpPr/>
            <p:nvPr/>
          </p:nvSpPr>
          <p:spPr>
            <a:xfrm>
              <a:off x="5378077" y="6561722"/>
              <a:ext cx="306705" cy="307130"/>
            </a:xfrm>
            <a:custGeom>
              <a:avLst/>
              <a:gdLst/>
              <a:ahLst/>
              <a:cxnLst>
                <a:cxn ang="0">
                  <a:pos x="wd2" y="hd2"/>
                </a:cxn>
                <a:cxn ang="5400000">
                  <a:pos x="wd2" y="hd2"/>
                </a:cxn>
                <a:cxn ang="10800000">
                  <a:pos x="wd2" y="hd2"/>
                </a:cxn>
                <a:cxn ang="16200000">
                  <a:pos x="wd2" y="hd2"/>
                </a:cxn>
              </a:cxnLst>
              <a:rect l="0" t="0" r="r" b="b"/>
              <a:pathLst>
                <a:path w="21357" h="21247" extrusionOk="0">
                  <a:moveTo>
                    <a:pt x="20205" y="13093"/>
                  </a:moveTo>
                  <a:cubicBezTo>
                    <a:pt x="19917" y="13370"/>
                    <a:pt x="19917" y="13370"/>
                    <a:pt x="19917" y="13370"/>
                  </a:cubicBezTo>
                  <a:cubicBezTo>
                    <a:pt x="18765" y="13924"/>
                    <a:pt x="17325" y="13370"/>
                    <a:pt x="17037" y="15309"/>
                  </a:cubicBezTo>
                  <a:cubicBezTo>
                    <a:pt x="17037" y="18632"/>
                    <a:pt x="15885" y="15309"/>
                    <a:pt x="14733" y="15309"/>
                  </a:cubicBezTo>
                  <a:cubicBezTo>
                    <a:pt x="13869" y="15309"/>
                    <a:pt x="13869" y="15863"/>
                    <a:pt x="13293" y="16416"/>
                  </a:cubicBezTo>
                  <a:cubicBezTo>
                    <a:pt x="12429" y="16970"/>
                    <a:pt x="11565" y="17247"/>
                    <a:pt x="11277" y="17801"/>
                  </a:cubicBezTo>
                  <a:cubicBezTo>
                    <a:pt x="11277" y="18355"/>
                    <a:pt x="10989" y="18909"/>
                    <a:pt x="10989" y="19463"/>
                  </a:cubicBezTo>
                  <a:cubicBezTo>
                    <a:pt x="11277" y="20293"/>
                    <a:pt x="11277" y="21124"/>
                    <a:pt x="10701" y="21124"/>
                  </a:cubicBezTo>
                  <a:cubicBezTo>
                    <a:pt x="10413" y="21124"/>
                    <a:pt x="9549" y="21401"/>
                    <a:pt x="8973" y="21124"/>
                  </a:cubicBezTo>
                  <a:cubicBezTo>
                    <a:pt x="8973" y="20847"/>
                    <a:pt x="8973" y="20847"/>
                    <a:pt x="8973" y="20847"/>
                  </a:cubicBezTo>
                  <a:cubicBezTo>
                    <a:pt x="9261" y="20016"/>
                    <a:pt x="9261" y="20016"/>
                    <a:pt x="9261" y="20016"/>
                  </a:cubicBezTo>
                  <a:cubicBezTo>
                    <a:pt x="8685" y="19186"/>
                    <a:pt x="8685" y="19186"/>
                    <a:pt x="8685" y="19186"/>
                  </a:cubicBezTo>
                  <a:cubicBezTo>
                    <a:pt x="8685" y="19186"/>
                    <a:pt x="8685" y="19186"/>
                    <a:pt x="8685" y="18909"/>
                  </a:cubicBezTo>
                  <a:cubicBezTo>
                    <a:pt x="8397" y="18632"/>
                    <a:pt x="8397" y="18078"/>
                    <a:pt x="8397" y="18078"/>
                  </a:cubicBezTo>
                  <a:cubicBezTo>
                    <a:pt x="8109" y="17247"/>
                    <a:pt x="8109" y="17247"/>
                    <a:pt x="8109" y="17247"/>
                  </a:cubicBezTo>
                  <a:cubicBezTo>
                    <a:pt x="8109" y="17247"/>
                    <a:pt x="7533" y="16693"/>
                    <a:pt x="7245" y="16416"/>
                  </a:cubicBezTo>
                  <a:cubicBezTo>
                    <a:pt x="7245" y="16416"/>
                    <a:pt x="7245" y="16139"/>
                    <a:pt x="6669" y="15863"/>
                  </a:cubicBezTo>
                  <a:cubicBezTo>
                    <a:pt x="6381" y="15863"/>
                    <a:pt x="5805" y="15586"/>
                    <a:pt x="5805" y="15586"/>
                  </a:cubicBezTo>
                  <a:cubicBezTo>
                    <a:pt x="5517" y="15586"/>
                    <a:pt x="5517" y="15586"/>
                    <a:pt x="5517" y="15586"/>
                  </a:cubicBezTo>
                  <a:cubicBezTo>
                    <a:pt x="5517" y="15586"/>
                    <a:pt x="5229" y="15586"/>
                    <a:pt x="5229" y="15586"/>
                  </a:cubicBezTo>
                  <a:cubicBezTo>
                    <a:pt x="4653" y="15032"/>
                    <a:pt x="4653" y="15032"/>
                    <a:pt x="4653" y="15032"/>
                  </a:cubicBezTo>
                  <a:cubicBezTo>
                    <a:pt x="4077" y="15032"/>
                    <a:pt x="4077" y="15032"/>
                    <a:pt x="4077" y="15032"/>
                  </a:cubicBezTo>
                  <a:cubicBezTo>
                    <a:pt x="3789" y="14201"/>
                    <a:pt x="3789" y="14201"/>
                    <a:pt x="3789" y="14201"/>
                  </a:cubicBezTo>
                  <a:cubicBezTo>
                    <a:pt x="3501" y="13370"/>
                    <a:pt x="3501" y="13370"/>
                    <a:pt x="3501" y="13370"/>
                  </a:cubicBezTo>
                  <a:cubicBezTo>
                    <a:pt x="2925" y="12816"/>
                    <a:pt x="2925" y="12816"/>
                    <a:pt x="2925" y="12816"/>
                  </a:cubicBezTo>
                  <a:cubicBezTo>
                    <a:pt x="2349" y="12539"/>
                    <a:pt x="2349" y="12539"/>
                    <a:pt x="2349" y="12539"/>
                  </a:cubicBezTo>
                  <a:cubicBezTo>
                    <a:pt x="2061" y="12263"/>
                    <a:pt x="2061" y="12263"/>
                    <a:pt x="2061" y="12263"/>
                  </a:cubicBezTo>
                  <a:cubicBezTo>
                    <a:pt x="1485" y="11986"/>
                    <a:pt x="1485" y="11986"/>
                    <a:pt x="1485" y="11986"/>
                  </a:cubicBezTo>
                  <a:cubicBezTo>
                    <a:pt x="1197" y="11432"/>
                    <a:pt x="1773" y="10878"/>
                    <a:pt x="1485" y="10324"/>
                  </a:cubicBezTo>
                  <a:cubicBezTo>
                    <a:pt x="909" y="9770"/>
                    <a:pt x="-243" y="9216"/>
                    <a:pt x="45" y="9216"/>
                  </a:cubicBezTo>
                  <a:cubicBezTo>
                    <a:pt x="333" y="8663"/>
                    <a:pt x="1485" y="8939"/>
                    <a:pt x="2061" y="8663"/>
                  </a:cubicBezTo>
                  <a:cubicBezTo>
                    <a:pt x="2349" y="8663"/>
                    <a:pt x="2349" y="8109"/>
                    <a:pt x="2637" y="7832"/>
                  </a:cubicBezTo>
                  <a:cubicBezTo>
                    <a:pt x="2925" y="7832"/>
                    <a:pt x="3501" y="8109"/>
                    <a:pt x="3501" y="7555"/>
                  </a:cubicBezTo>
                  <a:cubicBezTo>
                    <a:pt x="3501" y="7001"/>
                    <a:pt x="4077" y="7001"/>
                    <a:pt x="4365" y="7278"/>
                  </a:cubicBezTo>
                  <a:cubicBezTo>
                    <a:pt x="4365" y="7278"/>
                    <a:pt x="4653" y="7278"/>
                    <a:pt x="5229" y="6724"/>
                  </a:cubicBezTo>
                  <a:cubicBezTo>
                    <a:pt x="6093" y="6447"/>
                    <a:pt x="5517" y="6447"/>
                    <a:pt x="5517" y="6447"/>
                  </a:cubicBezTo>
                  <a:cubicBezTo>
                    <a:pt x="5229" y="5616"/>
                    <a:pt x="5229" y="5616"/>
                    <a:pt x="5229" y="5616"/>
                  </a:cubicBezTo>
                  <a:cubicBezTo>
                    <a:pt x="6957" y="3955"/>
                    <a:pt x="6957" y="3955"/>
                    <a:pt x="6957" y="3955"/>
                  </a:cubicBezTo>
                  <a:cubicBezTo>
                    <a:pt x="7245" y="2570"/>
                    <a:pt x="7245" y="2570"/>
                    <a:pt x="7245" y="2570"/>
                  </a:cubicBezTo>
                  <a:cubicBezTo>
                    <a:pt x="7245" y="2570"/>
                    <a:pt x="6957" y="2293"/>
                    <a:pt x="6669" y="2016"/>
                  </a:cubicBezTo>
                  <a:cubicBezTo>
                    <a:pt x="6093" y="1463"/>
                    <a:pt x="6381" y="1463"/>
                    <a:pt x="6381" y="1186"/>
                  </a:cubicBezTo>
                  <a:cubicBezTo>
                    <a:pt x="6669" y="909"/>
                    <a:pt x="6957" y="909"/>
                    <a:pt x="6957" y="909"/>
                  </a:cubicBezTo>
                  <a:cubicBezTo>
                    <a:pt x="7245" y="632"/>
                    <a:pt x="7821" y="632"/>
                    <a:pt x="8397" y="78"/>
                  </a:cubicBezTo>
                  <a:cubicBezTo>
                    <a:pt x="8973" y="-199"/>
                    <a:pt x="8973" y="355"/>
                    <a:pt x="8973" y="355"/>
                  </a:cubicBezTo>
                  <a:cubicBezTo>
                    <a:pt x="8973" y="355"/>
                    <a:pt x="9261" y="1186"/>
                    <a:pt x="10125" y="1463"/>
                  </a:cubicBezTo>
                  <a:cubicBezTo>
                    <a:pt x="10701" y="1739"/>
                    <a:pt x="10989" y="1739"/>
                    <a:pt x="10989" y="1739"/>
                  </a:cubicBezTo>
                  <a:cubicBezTo>
                    <a:pt x="11853" y="1739"/>
                    <a:pt x="11853" y="1739"/>
                    <a:pt x="11853" y="1739"/>
                  </a:cubicBezTo>
                  <a:cubicBezTo>
                    <a:pt x="13293" y="2847"/>
                    <a:pt x="13293" y="2847"/>
                    <a:pt x="13293" y="2847"/>
                  </a:cubicBezTo>
                  <a:cubicBezTo>
                    <a:pt x="13293" y="2847"/>
                    <a:pt x="13293" y="2847"/>
                    <a:pt x="13581" y="3124"/>
                  </a:cubicBezTo>
                  <a:cubicBezTo>
                    <a:pt x="13869" y="3401"/>
                    <a:pt x="14157" y="4509"/>
                    <a:pt x="14157" y="4509"/>
                  </a:cubicBezTo>
                  <a:cubicBezTo>
                    <a:pt x="16461" y="5063"/>
                    <a:pt x="16461" y="5063"/>
                    <a:pt x="16461" y="5063"/>
                  </a:cubicBezTo>
                  <a:cubicBezTo>
                    <a:pt x="16749" y="6170"/>
                    <a:pt x="16749" y="6170"/>
                    <a:pt x="16749" y="6170"/>
                  </a:cubicBezTo>
                  <a:cubicBezTo>
                    <a:pt x="16749" y="6170"/>
                    <a:pt x="17901" y="6170"/>
                    <a:pt x="18477" y="6447"/>
                  </a:cubicBezTo>
                  <a:cubicBezTo>
                    <a:pt x="19053" y="6447"/>
                    <a:pt x="19053" y="7001"/>
                    <a:pt x="19053" y="7001"/>
                  </a:cubicBezTo>
                  <a:cubicBezTo>
                    <a:pt x="19917" y="6724"/>
                    <a:pt x="19917" y="6724"/>
                    <a:pt x="19917" y="6724"/>
                  </a:cubicBezTo>
                  <a:cubicBezTo>
                    <a:pt x="21357" y="7001"/>
                    <a:pt x="21357" y="7001"/>
                    <a:pt x="21357" y="7001"/>
                  </a:cubicBezTo>
                  <a:cubicBezTo>
                    <a:pt x="21357" y="7001"/>
                    <a:pt x="21357" y="7278"/>
                    <a:pt x="21069" y="7555"/>
                  </a:cubicBezTo>
                  <a:cubicBezTo>
                    <a:pt x="20781" y="7555"/>
                    <a:pt x="20781" y="8109"/>
                    <a:pt x="20781" y="8386"/>
                  </a:cubicBezTo>
                  <a:cubicBezTo>
                    <a:pt x="20781" y="8939"/>
                    <a:pt x="20781" y="9216"/>
                    <a:pt x="20781" y="9493"/>
                  </a:cubicBezTo>
                  <a:cubicBezTo>
                    <a:pt x="20493" y="10047"/>
                    <a:pt x="20205" y="9770"/>
                    <a:pt x="19917" y="10047"/>
                  </a:cubicBezTo>
                  <a:cubicBezTo>
                    <a:pt x="19629" y="10047"/>
                    <a:pt x="19917" y="10601"/>
                    <a:pt x="20205" y="11155"/>
                  </a:cubicBezTo>
                  <a:cubicBezTo>
                    <a:pt x="20205" y="11432"/>
                    <a:pt x="20205" y="11432"/>
                    <a:pt x="19917" y="11709"/>
                  </a:cubicBezTo>
                  <a:cubicBezTo>
                    <a:pt x="19341" y="12263"/>
                    <a:pt x="19053" y="12263"/>
                    <a:pt x="19053" y="12263"/>
                  </a:cubicBezTo>
                  <a:cubicBezTo>
                    <a:pt x="19917" y="13093"/>
                    <a:pt x="19917" y="13093"/>
                    <a:pt x="19917" y="13093"/>
                  </a:cubicBezTo>
                  <a:cubicBezTo>
                    <a:pt x="19917" y="13093"/>
                    <a:pt x="19917" y="13093"/>
                    <a:pt x="20205" y="1309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2" name="Shape 2225">
              <a:extLst>
                <a:ext uri="{FF2B5EF4-FFF2-40B4-BE49-F238E27FC236}">
                  <a16:creationId xmlns:a16="http://schemas.microsoft.com/office/drawing/2014/main" id="{0F0D96CD-9B4A-2A6F-A238-59F040D6639F}"/>
                </a:ext>
              </a:extLst>
            </p:cNvPr>
            <p:cNvSpPr/>
            <p:nvPr/>
          </p:nvSpPr>
          <p:spPr>
            <a:xfrm>
              <a:off x="5281139" y="6718812"/>
              <a:ext cx="347669" cy="639888"/>
            </a:xfrm>
            <a:custGeom>
              <a:avLst/>
              <a:gdLst/>
              <a:ahLst/>
              <a:cxnLst>
                <a:cxn ang="0">
                  <a:pos x="wd2" y="hd2"/>
                </a:cxn>
                <a:cxn ang="5400000">
                  <a:pos x="wd2" y="hd2"/>
                </a:cxn>
                <a:cxn ang="10800000">
                  <a:pos x="wd2" y="hd2"/>
                </a:cxn>
                <a:cxn ang="16200000">
                  <a:pos x="wd2" y="hd2"/>
                </a:cxn>
              </a:cxnLst>
              <a:rect l="0" t="0" r="r" b="b"/>
              <a:pathLst>
                <a:path w="21459" h="21600" extrusionOk="0">
                  <a:moveTo>
                    <a:pt x="12452" y="21330"/>
                  </a:moveTo>
                  <a:cubicBezTo>
                    <a:pt x="13214" y="21600"/>
                    <a:pt x="13214" y="21600"/>
                    <a:pt x="13214" y="21600"/>
                  </a:cubicBezTo>
                  <a:cubicBezTo>
                    <a:pt x="13976" y="21465"/>
                    <a:pt x="13976" y="21465"/>
                    <a:pt x="13976" y="21465"/>
                  </a:cubicBezTo>
                  <a:cubicBezTo>
                    <a:pt x="14485" y="21330"/>
                    <a:pt x="14485" y="21330"/>
                    <a:pt x="14485" y="21330"/>
                  </a:cubicBezTo>
                  <a:cubicBezTo>
                    <a:pt x="14485" y="21330"/>
                    <a:pt x="14993" y="21060"/>
                    <a:pt x="14993" y="21060"/>
                  </a:cubicBezTo>
                  <a:cubicBezTo>
                    <a:pt x="14993" y="21060"/>
                    <a:pt x="14993" y="20790"/>
                    <a:pt x="14993" y="20790"/>
                  </a:cubicBezTo>
                  <a:cubicBezTo>
                    <a:pt x="14739" y="20655"/>
                    <a:pt x="14739" y="20655"/>
                    <a:pt x="14739" y="20655"/>
                  </a:cubicBezTo>
                  <a:cubicBezTo>
                    <a:pt x="14739" y="20655"/>
                    <a:pt x="14485" y="20385"/>
                    <a:pt x="14739" y="20385"/>
                  </a:cubicBezTo>
                  <a:cubicBezTo>
                    <a:pt x="14993" y="20385"/>
                    <a:pt x="15247" y="20250"/>
                    <a:pt x="15247" y="20385"/>
                  </a:cubicBezTo>
                  <a:cubicBezTo>
                    <a:pt x="15501" y="20385"/>
                    <a:pt x="15247" y="20385"/>
                    <a:pt x="15501" y="20385"/>
                  </a:cubicBezTo>
                  <a:cubicBezTo>
                    <a:pt x="15755" y="20385"/>
                    <a:pt x="16009" y="20250"/>
                    <a:pt x="16009" y="20250"/>
                  </a:cubicBezTo>
                  <a:cubicBezTo>
                    <a:pt x="16009" y="20115"/>
                    <a:pt x="16009" y="20115"/>
                    <a:pt x="16009" y="20115"/>
                  </a:cubicBezTo>
                  <a:cubicBezTo>
                    <a:pt x="16009" y="20115"/>
                    <a:pt x="16009" y="20115"/>
                    <a:pt x="16009" y="20115"/>
                  </a:cubicBezTo>
                  <a:cubicBezTo>
                    <a:pt x="15755" y="19980"/>
                    <a:pt x="14993" y="19710"/>
                    <a:pt x="14739" y="19710"/>
                  </a:cubicBezTo>
                  <a:cubicBezTo>
                    <a:pt x="14739" y="19575"/>
                    <a:pt x="14485" y="19440"/>
                    <a:pt x="14485" y="19440"/>
                  </a:cubicBezTo>
                  <a:cubicBezTo>
                    <a:pt x="14485" y="19305"/>
                    <a:pt x="14739" y="19170"/>
                    <a:pt x="14739" y="19170"/>
                  </a:cubicBezTo>
                  <a:cubicBezTo>
                    <a:pt x="14485" y="19035"/>
                    <a:pt x="14485" y="19035"/>
                    <a:pt x="14485" y="19035"/>
                  </a:cubicBezTo>
                  <a:cubicBezTo>
                    <a:pt x="14485" y="19035"/>
                    <a:pt x="14739" y="18900"/>
                    <a:pt x="14993" y="18900"/>
                  </a:cubicBezTo>
                  <a:cubicBezTo>
                    <a:pt x="14993" y="18900"/>
                    <a:pt x="15247" y="18900"/>
                    <a:pt x="15247" y="18900"/>
                  </a:cubicBezTo>
                  <a:cubicBezTo>
                    <a:pt x="15501" y="18495"/>
                    <a:pt x="15501" y="18495"/>
                    <a:pt x="15501" y="18495"/>
                  </a:cubicBezTo>
                  <a:cubicBezTo>
                    <a:pt x="15501" y="18495"/>
                    <a:pt x="15501" y="18360"/>
                    <a:pt x="15755" y="18360"/>
                  </a:cubicBezTo>
                  <a:cubicBezTo>
                    <a:pt x="15755" y="18360"/>
                    <a:pt x="16009" y="18360"/>
                    <a:pt x="16009" y="18360"/>
                  </a:cubicBezTo>
                  <a:cubicBezTo>
                    <a:pt x="17788" y="17820"/>
                    <a:pt x="17788" y="17820"/>
                    <a:pt x="17788" y="17820"/>
                  </a:cubicBezTo>
                  <a:cubicBezTo>
                    <a:pt x="19059" y="16740"/>
                    <a:pt x="19059" y="16740"/>
                    <a:pt x="19059" y="16740"/>
                  </a:cubicBezTo>
                  <a:cubicBezTo>
                    <a:pt x="19567" y="15525"/>
                    <a:pt x="19567" y="15525"/>
                    <a:pt x="19567" y="15525"/>
                  </a:cubicBezTo>
                  <a:cubicBezTo>
                    <a:pt x="20329" y="14445"/>
                    <a:pt x="20329" y="14445"/>
                    <a:pt x="20329" y="14445"/>
                  </a:cubicBezTo>
                  <a:cubicBezTo>
                    <a:pt x="20329" y="14445"/>
                    <a:pt x="21346" y="13905"/>
                    <a:pt x="21346" y="14040"/>
                  </a:cubicBezTo>
                  <a:cubicBezTo>
                    <a:pt x="21600" y="14175"/>
                    <a:pt x="21346" y="12960"/>
                    <a:pt x="21346" y="12960"/>
                  </a:cubicBezTo>
                  <a:cubicBezTo>
                    <a:pt x="20584" y="12555"/>
                    <a:pt x="20584" y="12555"/>
                    <a:pt x="20584" y="12555"/>
                  </a:cubicBezTo>
                  <a:cubicBezTo>
                    <a:pt x="20584" y="12285"/>
                    <a:pt x="20584" y="12285"/>
                    <a:pt x="20584" y="12285"/>
                  </a:cubicBezTo>
                  <a:cubicBezTo>
                    <a:pt x="20584" y="12285"/>
                    <a:pt x="20329" y="12285"/>
                    <a:pt x="20329" y="12285"/>
                  </a:cubicBezTo>
                  <a:cubicBezTo>
                    <a:pt x="20329" y="12285"/>
                    <a:pt x="20329" y="12285"/>
                    <a:pt x="20075" y="12285"/>
                  </a:cubicBezTo>
                  <a:cubicBezTo>
                    <a:pt x="20075" y="12150"/>
                    <a:pt x="20075" y="12150"/>
                    <a:pt x="20075" y="12150"/>
                  </a:cubicBezTo>
                  <a:cubicBezTo>
                    <a:pt x="19567" y="11880"/>
                    <a:pt x="19567" y="11880"/>
                    <a:pt x="19567" y="11880"/>
                  </a:cubicBezTo>
                  <a:cubicBezTo>
                    <a:pt x="19567" y="11880"/>
                    <a:pt x="19313" y="12015"/>
                    <a:pt x="19059" y="12015"/>
                  </a:cubicBezTo>
                  <a:cubicBezTo>
                    <a:pt x="18805" y="12015"/>
                    <a:pt x="18805" y="11880"/>
                    <a:pt x="18551" y="11880"/>
                  </a:cubicBezTo>
                  <a:cubicBezTo>
                    <a:pt x="18551" y="11880"/>
                    <a:pt x="18551" y="11880"/>
                    <a:pt x="18551" y="11880"/>
                  </a:cubicBezTo>
                  <a:cubicBezTo>
                    <a:pt x="18551" y="11880"/>
                    <a:pt x="18296" y="11880"/>
                    <a:pt x="18042" y="11880"/>
                  </a:cubicBezTo>
                  <a:cubicBezTo>
                    <a:pt x="17788" y="11880"/>
                    <a:pt x="17534"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015"/>
                    <a:pt x="17280" y="12015"/>
                    <a:pt x="17280" y="12015"/>
                  </a:cubicBezTo>
                  <a:cubicBezTo>
                    <a:pt x="17280" y="11880"/>
                    <a:pt x="17280" y="11880"/>
                    <a:pt x="17026" y="11745"/>
                  </a:cubicBezTo>
                  <a:cubicBezTo>
                    <a:pt x="17026" y="11610"/>
                    <a:pt x="17026" y="11340"/>
                    <a:pt x="16772" y="11205"/>
                  </a:cubicBezTo>
                  <a:cubicBezTo>
                    <a:pt x="16518" y="11070"/>
                    <a:pt x="16518" y="10935"/>
                    <a:pt x="16518" y="10935"/>
                  </a:cubicBezTo>
                  <a:cubicBezTo>
                    <a:pt x="16518" y="10935"/>
                    <a:pt x="16009" y="10935"/>
                    <a:pt x="15755" y="10935"/>
                  </a:cubicBezTo>
                  <a:cubicBezTo>
                    <a:pt x="15755" y="10935"/>
                    <a:pt x="15501" y="10935"/>
                    <a:pt x="15501" y="10935"/>
                  </a:cubicBezTo>
                  <a:cubicBezTo>
                    <a:pt x="15501" y="10935"/>
                    <a:pt x="15247" y="10665"/>
                    <a:pt x="15501" y="10665"/>
                  </a:cubicBezTo>
                  <a:cubicBezTo>
                    <a:pt x="15501" y="10530"/>
                    <a:pt x="15247" y="10395"/>
                    <a:pt x="14993" y="10260"/>
                  </a:cubicBezTo>
                  <a:cubicBezTo>
                    <a:pt x="14993" y="10260"/>
                    <a:pt x="14485" y="9855"/>
                    <a:pt x="14485" y="9855"/>
                  </a:cubicBezTo>
                  <a:cubicBezTo>
                    <a:pt x="14485" y="9855"/>
                    <a:pt x="14231" y="9855"/>
                    <a:pt x="14231" y="9720"/>
                  </a:cubicBezTo>
                  <a:cubicBezTo>
                    <a:pt x="14231" y="9585"/>
                    <a:pt x="14231" y="9450"/>
                    <a:pt x="14231" y="9450"/>
                  </a:cubicBezTo>
                  <a:cubicBezTo>
                    <a:pt x="13976" y="9180"/>
                    <a:pt x="13976" y="9180"/>
                    <a:pt x="13976" y="9180"/>
                  </a:cubicBezTo>
                  <a:cubicBezTo>
                    <a:pt x="13976" y="9180"/>
                    <a:pt x="14485" y="9045"/>
                    <a:pt x="14485" y="8910"/>
                  </a:cubicBezTo>
                  <a:cubicBezTo>
                    <a:pt x="14485" y="8910"/>
                    <a:pt x="14739" y="8775"/>
                    <a:pt x="14485" y="8640"/>
                  </a:cubicBezTo>
                  <a:cubicBezTo>
                    <a:pt x="14485" y="8505"/>
                    <a:pt x="13976" y="8370"/>
                    <a:pt x="13976" y="8370"/>
                  </a:cubicBezTo>
                  <a:cubicBezTo>
                    <a:pt x="13722" y="8235"/>
                    <a:pt x="13468" y="8100"/>
                    <a:pt x="13214" y="7965"/>
                  </a:cubicBezTo>
                  <a:cubicBezTo>
                    <a:pt x="13214" y="7830"/>
                    <a:pt x="13214" y="7695"/>
                    <a:pt x="13214" y="7695"/>
                  </a:cubicBezTo>
                  <a:cubicBezTo>
                    <a:pt x="13214" y="7695"/>
                    <a:pt x="13214" y="7560"/>
                    <a:pt x="13468" y="7560"/>
                  </a:cubicBezTo>
                  <a:cubicBezTo>
                    <a:pt x="13722" y="7425"/>
                    <a:pt x="13976" y="7425"/>
                    <a:pt x="13976" y="7290"/>
                  </a:cubicBezTo>
                  <a:cubicBezTo>
                    <a:pt x="13976" y="7290"/>
                    <a:pt x="14231" y="7290"/>
                    <a:pt x="14231" y="7155"/>
                  </a:cubicBezTo>
                  <a:cubicBezTo>
                    <a:pt x="13976" y="7020"/>
                    <a:pt x="13722" y="6885"/>
                    <a:pt x="13722" y="6885"/>
                  </a:cubicBezTo>
                  <a:cubicBezTo>
                    <a:pt x="13976" y="6480"/>
                    <a:pt x="13976" y="6480"/>
                    <a:pt x="13976" y="6480"/>
                  </a:cubicBezTo>
                  <a:cubicBezTo>
                    <a:pt x="13722" y="6345"/>
                    <a:pt x="13722" y="6345"/>
                    <a:pt x="13722" y="6345"/>
                  </a:cubicBezTo>
                  <a:cubicBezTo>
                    <a:pt x="13722" y="5805"/>
                    <a:pt x="13722" y="5805"/>
                    <a:pt x="13722" y="5805"/>
                  </a:cubicBezTo>
                  <a:cubicBezTo>
                    <a:pt x="13722" y="5670"/>
                    <a:pt x="13722" y="5670"/>
                    <a:pt x="13722" y="5670"/>
                  </a:cubicBezTo>
                  <a:cubicBezTo>
                    <a:pt x="13722" y="5670"/>
                    <a:pt x="13976" y="5400"/>
                    <a:pt x="13976" y="5400"/>
                  </a:cubicBezTo>
                  <a:cubicBezTo>
                    <a:pt x="13976" y="5265"/>
                    <a:pt x="13976" y="4995"/>
                    <a:pt x="13976" y="4995"/>
                  </a:cubicBezTo>
                  <a:cubicBezTo>
                    <a:pt x="13976" y="4860"/>
                    <a:pt x="13976" y="4860"/>
                    <a:pt x="13976" y="4860"/>
                  </a:cubicBezTo>
                  <a:cubicBezTo>
                    <a:pt x="14231" y="4455"/>
                    <a:pt x="14231" y="4455"/>
                    <a:pt x="14231" y="4455"/>
                  </a:cubicBezTo>
                  <a:cubicBezTo>
                    <a:pt x="13722" y="4050"/>
                    <a:pt x="13722" y="4050"/>
                    <a:pt x="13722" y="4050"/>
                  </a:cubicBezTo>
                  <a:cubicBezTo>
                    <a:pt x="13722" y="4050"/>
                    <a:pt x="13722" y="4050"/>
                    <a:pt x="13722" y="3915"/>
                  </a:cubicBezTo>
                  <a:cubicBezTo>
                    <a:pt x="13468" y="3780"/>
                    <a:pt x="13468" y="3510"/>
                    <a:pt x="13468" y="3510"/>
                  </a:cubicBezTo>
                  <a:cubicBezTo>
                    <a:pt x="13214" y="3105"/>
                    <a:pt x="13214" y="3105"/>
                    <a:pt x="13214" y="3105"/>
                  </a:cubicBezTo>
                  <a:cubicBezTo>
                    <a:pt x="13214" y="3105"/>
                    <a:pt x="12706" y="2835"/>
                    <a:pt x="12452" y="2700"/>
                  </a:cubicBezTo>
                  <a:cubicBezTo>
                    <a:pt x="12452" y="2700"/>
                    <a:pt x="12452" y="2565"/>
                    <a:pt x="11944" y="2430"/>
                  </a:cubicBezTo>
                  <a:cubicBezTo>
                    <a:pt x="11689" y="2430"/>
                    <a:pt x="11181" y="2295"/>
                    <a:pt x="11181" y="2295"/>
                  </a:cubicBezTo>
                  <a:cubicBezTo>
                    <a:pt x="10673" y="2295"/>
                    <a:pt x="10673" y="2295"/>
                    <a:pt x="10673" y="2295"/>
                  </a:cubicBezTo>
                  <a:cubicBezTo>
                    <a:pt x="10165" y="2025"/>
                    <a:pt x="10165" y="2025"/>
                    <a:pt x="10165" y="2025"/>
                  </a:cubicBezTo>
                  <a:cubicBezTo>
                    <a:pt x="9656" y="2025"/>
                    <a:pt x="9656" y="2025"/>
                    <a:pt x="9656" y="2025"/>
                  </a:cubicBezTo>
                  <a:cubicBezTo>
                    <a:pt x="9402" y="1620"/>
                    <a:pt x="9402" y="1620"/>
                    <a:pt x="9402" y="1620"/>
                  </a:cubicBezTo>
                  <a:cubicBezTo>
                    <a:pt x="9148" y="1215"/>
                    <a:pt x="9148" y="1215"/>
                    <a:pt x="9148" y="1215"/>
                  </a:cubicBezTo>
                  <a:cubicBezTo>
                    <a:pt x="8640" y="945"/>
                    <a:pt x="8640" y="945"/>
                    <a:pt x="8640" y="945"/>
                  </a:cubicBezTo>
                  <a:cubicBezTo>
                    <a:pt x="8132" y="810"/>
                    <a:pt x="8132" y="810"/>
                    <a:pt x="8132" y="810"/>
                  </a:cubicBezTo>
                  <a:cubicBezTo>
                    <a:pt x="7878" y="675"/>
                    <a:pt x="7878" y="675"/>
                    <a:pt x="7878" y="675"/>
                  </a:cubicBezTo>
                  <a:cubicBezTo>
                    <a:pt x="7369" y="540"/>
                    <a:pt x="7369" y="540"/>
                    <a:pt x="7369" y="540"/>
                  </a:cubicBezTo>
                  <a:cubicBezTo>
                    <a:pt x="7115" y="540"/>
                    <a:pt x="7115" y="540"/>
                    <a:pt x="7115" y="540"/>
                  </a:cubicBezTo>
                  <a:cubicBezTo>
                    <a:pt x="7115" y="540"/>
                    <a:pt x="6861" y="810"/>
                    <a:pt x="6861" y="810"/>
                  </a:cubicBezTo>
                  <a:cubicBezTo>
                    <a:pt x="6861" y="810"/>
                    <a:pt x="6099" y="945"/>
                    <a:pt x="6099" y="945"/>
                  </a:cubicBezTo>
                  <a:cubicBezTo>
                    <a:pt x="5591" y="1215"/>
                    <a:pt x="5591" y="1215"/>
                    <a:pt x="5591" y="1215"/>
                  </a:cubicBezTo>
                  <a:cubicBezTo>
                    <a:pt x="5082" y="1350"/>
                    <a:pt x="5082" y="1350"/>
                    <a:pt x="5082" y="1350"/>
                  </a:cubicBezTo>
                  <a:cubicBezTo>
                    <a:pt x="5082" y="1350"/>
                    <a:pt x="5082" y="1350"/>
                    <a:pt x="5082" y="1215"/>
                  </a:cubicBezTo>
                  <a:cubicBezTo>
                    <a:pt x="4828" y="1215"/>
                    <a:pt x="4828" y="1215"/>
                    <a:pt x="4828" y="1215"/>
                  </a:cubicBezTo>
                  <a:cubicBezTo>
                    <a:pt x="4828" y="1215"/>
                    <a:pt x="4574" y="1080"/>
                    <a:pt x="4574" y="945"/>
                  </a:cubicBezTo>
                  <a:cubicBezTo>
                    <a:pt x="4574" y="945"/>
                    <a:pt x="4320" y="810"/>
                    <a:pt x="4320" y="810"/>
                  </a:cubicBezTo>
                  <a:cubicBezTo>
                    <a:pt x="4320" y="810"/>
                    <a:pt x="4320" y="675"/>
                    <a:pt x="4320" y="675"/>
                  </a:cubicBezTo>
                  <a:cubicBezTo>
                    <a:pt x="4320" y="540"/>
                    <a:pt x="4320" y="405"/>
                    <a:pt x="4320" y="405"/>
                  </a:cubicBezTo>
                  <a:cubicBezTo>
                    <a:pt x="4320" y="270"/>
                    <a:pt x="4320" y="270"/>
                    <a:pt x="4320" y="270"/>
                  </a:cubicBezTo>
                  <a:cubicBezTo>
                    <a:pt x="4066" y="135"/>
                    <a:pt x="4066" y="135"/>
                    <a:pt x="4066" y="135"/>
                  </a:cubicBezTo>
                  <a:cubicBezTo>
                    <a:pt x="4066" y="0"/>
                    <a:pt x="4066" y="0"/>
                    <a:pt x="4066" y="0"/>
                  </a:cubicBezTo>
                  <a:cubicBezTo>
                    <a:pt x="4066" y="0"/>
                    <a:pt x="3558" y="0"/>
                    <a:pt x="3558" y="0"/>
                  </a:cubicBezTo>
                  <a:cubicBezTo>
                    <a:pt x="3558" y="0"/>
                    <a:pt x="2541" y="540"/>
                    <a:pt x="2541" y="540"/>
                  </a:cubicBezTo>
                  <a:cubicBezTo>
                    <a:pt x="2795" y="675"/>
                    <a:pt x="2795" y="675"/>
                    <a:pt x="2795" y="675"/>
                  </a:cubicBezTo>
                  <a:cubicBezTo>
                    <a:pt x="2541" y="945"/>
                    <a:pt x="2541" y="945"/>
                    <a:pt x="2541" y="945"/>
                  </a:cubicBezTo>
                  <a:cubicBezTo>
                    <a:pt x="2287" y="1215"/>
                    <a:pt x="2287" y="1215"/>
                    <a:pt x="2287" y="1215"/>
                  </a:cubicBezTo>
                  <a:cubicBezTo>
                    <a:pt x="2033" y="1485"/>
                    <a:pt x="2033" y="1485"/>
                    <a:pt x="2033" y="1485"/>
                  </a:cubicBezTo>
                  <a:cubicBezTo>
                    <a:pt x="2033" y="1485"/>
                    <a:pt x="1779" y="1620"/>
                    <a:pt x="1779" y="1755"/>
                  </a:cubicBezTo>
                  <a:cubicBezTo>
                    <a:pt x="1779" y="1755"/>
                    <a:pt x="1525" y="1890"/>
                    <a:pt x="1525" y="1890"/>
                  </a:cubicBezTo>
                  <a:cubicBezTo>
                    <a:pt x="1271" y="2025"/>
                    <a:pt x="1271" y="2025"/>
                    <a:pt x="1271" y="2025"/>
                  </a:cubicBezTo>
                  <a:cubicBezTo>
                    <a:pt x="1016" y="2160"/>
                    <a:pt x="1016" y="2160"/>
                    <a:pt x="1016" y="2160"/>
                  </a:cubicBezTo>
                  <a:cubicBezTo>
                    <a:pt x="1016" y="2430"/>
                    <a:pt x="1016" y="2430"/>
                    <a:pt x="1016" y="2430"/>
                  </a:cubicBezTo>
                  <a:cubicBezTo>
                    <a:pt x="1016" y="2430"/>
                    <a:pt x="1016" y="2565"/>
                    <a:pt x="1016" y="2700"/>
                  </a:cubicBezTo>
                  <a:cubicBezTo>
                    <a:pt x="1016" y="2700"/>
                    <a:pt x="762" y="2835"/>
                    <a:pt x="762" y="2835"/>
                  </a:cubicBezTo>
                  <a:cubicBezTo>
                    <a:pt x="508" y="3105"/>
                    <a:pt x="508" y="3105"/>
                    <a:pt x="508" y="3105"/>
                  </a:cubicBezTo>
                  <a:cubicBezTo>
                    <a:pt x="0" y="3375"/>
                    <a:pt x="0" y="3375"/>
                    <a:pt x="0" y="3375"/>
                  </a:cubicBezTo>
                  <a:cubicBezTo>
                    <a:pt x="0" y="3645"/>
                    <a:pt x="0" y="3645"/>
                    <a:pt x="0" y="3645"/>
                  </a:cubicBezTo>
                  <a:cubicBezTo>
                    <a:pt x="254" y="3780"/>
                    <a:pt x="254" y="3780"/>
                    <a:pt x="254" y="3780"/>
                  </a:cubicBezTo>
                  <a:cubicBezTo>
                    <a:pt x="762" y="3915"/>
                    <a:pt x="762" y="3915"/>
                    <a:pt x="762" y="3915"/>
                  </a:cubicBezTo>
                  <a:cubicBezTo>
                    <a:pt x="1271" y="4050"/>
                    <a:pt x="1271" y="4050"/>
                    <a:pt x="1271" y="4050"/>
                  </a:cubicBezTo>
                  <a:cubicBezTo>
                    <a:pt x="1271" y="4050"/>
                    <a:pt x="1271" y="4185"/>
                    <a:pt x="1271" y="4320"/>
                  </a:cubicBezTo>
                  <a:cubicBezTo>
                    <a:pt x="1271" y="4320"/>
                    <a:pt x="1271" y="4455"/>
                    <a:pt x="1271" y="4455"/>
                  </a:cubicBezTo>
                  <a:cubicBezTo>
                    <a:pt x="1016" y="4725"/>
                    <a:pt x="1016" y="4725"/>
                    <a:pt x="1016" y="4725"/>
                  </a:cubicBezTo>
                  <a:cubicBezTo>
                    <a:pt x="1016" y="4725"/>
                    <a:pt x="1271" y="4860"/>
                    <a:pt x="1271" y="4860"/>
                  </a:cubicBezTo>
                  <a:cubicBezTo>
                    <a:pt x="1271" y="4860"/>
                    <a:pt x="1271" y="4995"/>
                    <a:pt x="1271" y="4995"/>
                  </a:cubicBezTo>
                  <a:cubicBezTo>
                    <a:pt x="1271" y="4995"/>
                    <a:pt x="1271" y="5265"/>
                    <a:pt x="1271" y="5265"/>
                  </a:cubicBezTo>
                  <a:cubicBezTo>
                    <a:pt x="1016" y="5400"/>
                    <a:pt x="1016" y="5400"/>
                    <a:pt x="1016" y="5400"/>
                  </a:cubicBezTo>
                  <a:cubicBezTo>
                    <a:pt x="1016" y="5400"/>
                    <a:pt x="1271" y="5535"/>
                    <a:pt x="1271" y="5670"/>
                  </a:cubicBezTo>
                  <a:cubicBezTo>
                    <a:pt x="1271" y="5670"/>
                    <a:pt x="1271" y="5805"/>
                    <a:pt x="1271" y="5805"/>
                  </a:cubicBezTo>
                  <a:cubicBezTo>
                    <a:pt x="1016" y="5805"/>
                    <a:pt x="1525" y="6075"/>
                    <a:pt x="1525" y="6075"/>
                  </a:cubicBezTo>
                  <a:cubicBezTo>
                    <a:pt x="1525" y="6075"/>
                    <a:pt x="1779" y="5940"/>
                    <a:pt x="2033" y="5940"/>
                  </a:cubicBezTo>
                  <a:cubicBezTo>
                    <a:pt x="2033" y="5940"/>
                    <a:pt x="2541" y="5940"/>
                    <a:pt x="2541" y="5940"/>
                  </a:cubicBezTo>
                  <a:cubicBezTo>
                    <a:pt x="3049" y="6075"/>
                    <a:pt x="3049" y="6075"/>
                    <a:pt x="3049" y="6075"/>
                  </a:cubicBezTo>
                  <a:cubicBezTo>
                    <a:pt x="3558" y="6075"/>
                    <a:pt x="3558" y="6075"/>
                    <a:pt x="3558" y="6075"/>
                  </a:cubicBezTo>
                  <a:cubicBezTo>
                    <a:pt x="3812" y="6345"/>
                    <a:pt x="3812" y="6345"/>
                    <a:pt x="3812" y="6345"/>
                  </a:cubicBezTo>
                  <a:cubicBezTo>
                    <a:pt x="3812" y="6615"/>
                    <a:pt x="3812" y="6615"/>
                    <a:pt x="3812" y="6615"/>
                  </a:cubicBezTo>
                  <a:cubicBezTo>
                    <a:pt x="3812" y="7020"/>
                    <a:pt x="3812" y="7020"/>
                    <a:pt x="3812" y="7020"/>
                  </a:cubicBezTo>
                  <a:cubicBezTo>
                    <a:pt x="3558" y="7290"/>
                    <a:pt x="3558" y="7290"/>
                    <a:pt x="3558" y="7290"/>
                  </a:cubicBezTo>
                  <a:cubicBezTo>
                    <a:pt x="4066" y="7425"/>
                    <a:pt x="4066" y="7425"/>
                    <a:pt x="4066" y="7425"/>
                  </a:cubicBezTo>
                  <a:cubicBezTo>
                    <a:pt x="4066" y="7425"/>
                    <a:pt x="4066" y="7425"/>
                    <a:pt x="4066" y="7425"/>
                  </a:cubicBezTo>
                  <a:cubicBezTo>
                    <a:pt x="4066" y="7425"/>
                    <a:pt x="4066" y="7695"/>
                    <a:pt x="4066" y="7830"/>
                  </a:cubicBezTo>
                  <a:cubicBezTo>
                    <a:pt x="3812" y="7830"/>
                    <a:pt x="3558" y="7830"/>
                    <a:pt x="3304" y="7965"/>
                  </a:cubicBezTo>
                  <a:cubicBezTo>
                    <a:pt x="3049" y="7965"/>
                    <a:pt x="2795" y="7965"/>
                    <a:pt x="2795" y="7965"/>
                  </a:cubicBezTo>
                  <a:cubicBezTo>
                    <a:pt x="2795" y="8100"/>
                    <a:pt x="2795" y="8100"/>
                    <a:pt x="2795" y="8100"/>
                  </a:cubicBezTo>
                  <a:cubicBezTo>
                    <a:pt x="3304" y="8235"/>
                    <a:pt x="3304" y="8235"/>
                    <a:pt x="3304" y="8235"/>
                  </a:cubicBezTo>
                  <a:cubicBezTo>
                    <a:pt x="3304" y="8235"/>
                    <a:pt x="3558" y="8235"/>
                    <a:pt x="3558" y="8235"/>
                  </a:cubicBezTo>
                  <a:cubicBezTo>
                    <a:pt x="3558" y="8370"/>
                    <a:pt x="3558" y="8640"/>
                    <a:pt x="3558" y="8640"/>
                  </a:cubicBezTo>
                  <a:cubicBezTo>
                    <a:pt x="3558" y="8640"/>
                    <a:pt x="3558" y="8775"/>
                    <a:pt x="3304" y="8775"/>
                  </a:cubicBezTo>
                  <a:cubicBezTo>
                    <a:pt x="3304" y="8775"/>
                    <a:pt x="3049" y="8910"/>
                    <a:pt x="3049" y="8910"/>
                  </a:cubicBezTo>
                  <a:cubicBezTo>
                    <a:pt x="2795" y="9045"/>
                    <a:pt x="2795" y="9045"/>
                    <a:pt x="2795" y="9045"/>
                  </a:cubicBezTo>
                  <a:cubicBezTo>
                    <a:pt x="2541" y="9180"/>
                    <a:pt x="2541" y="9180"/>
                    <a:pt x="2541" y="9180"/>
                  </a:cubicBezTo>
                  <a:cubicBezTo>
                    <a:pt x="2033" y="9315"/>
                    <a:pt x="2033" y="9315"/>
                    <a:pt x="2033" y="9315"/>
                  </a:cubicBezTo>
                  <a:cubicBezTo>
                    <a:pt x="2541" y="9585"/>
                    <a:pt x="2541" y="9585"/>
                    <a:pt x="2541" y="9585"/>
                  </a:cubicBezTo>
                  <a:cubicBezTo>
                    <a:pt x="2795" y="9585"/>
                    <a:pt x="2795" y="9585"/>
                    <a:pt x="2795" y="9585"/>
                  </a:cubicBezTo>
                  <a:cubicBezTo>
                    <a:pt x="2795" y="9585"/>
                    <a:pt x="3049" y="9720"/>
                    <a:pt x="3049" y="9720"/>
                  </a:cubicBezTo>
                  <a:cubicBezTo>
                    <a:pt x="3049" y="9720"/>
                    <a:pt x="3812" y="9990"/>
                    <a:pt x="3812" y="9990"/>
                  </a:cubicBezTo>
                  <a:cubicBezTo>
                    <a:pt x="3558" y="10125"/>
                    <a:pt x="3558" y="10125"/>
                    <a:pt x="3558" y="10125"/>
                  </a:cubicBezTo>
                  <a:cubicBezTo>
                    <a:pt x="3558" y="10125"/>
                    <a:pt x="3558" y="10260"/>
                    <a:pt x="3558" y="10395"/>
                  </a:cubicBezTo>
                  <a:cubicBezTo>
                    <a:pt x="3558" y="10530"/>
                    <a:pt x="3558" y="10935"/>
                    <a:pt x="3558" y="10935"/>
                  </a:cubicBezTo>
                  <a:cubicBezTo>
                    <a:pt x="3304" y="11070"/>
                    <a:pt x="3304" y="11070"/>
                    <a:pt x="3304" y="11070"/>
                  </a:cubicBezTo>
                  <a:cubicBezTo>
                    <a:pt x="3304" y="11205"/>
                    <a:pt x="3558" y="11610"/>
                    <a:pt x="3558" y="11610"/>
                  </a:cubicBezTo>
                  <a:cubicBezTo>
                    <a:pt x="3558" y="11745"/>
                    <a:pt x="3558" y="11745"/>
                    <a:pt x="3558" y="11745"/>
                  </a:cubicBezTo>
                  <a:cubicBezTo>
                    <a:pt x="3304" y="11880"/>
                    <a:pt x="3304" y="11880"/>
                    <a:pt x="3304" y="11880"/>
                  </a:cubicBezTo>
                  <a:cubicBezTo>
                    <a:pt x="4320" y="12150"/>
                    <a:pt x="4320" y="12150"/>
                    <a:pt x="4320" y="12150"/>
                  </a:cubicBezTo>
                  <a:cubicBezTo>
                    <a:pt x="4066" y="12420"/>
                    <a:pt x="4066" y="12420"/>
                    <a:pt x="4066" y="12420"/>
                  </a:cubicBezTo>
                  <a:cubicBezTo>
                    <a:pt x="3558" y="12555"/>
                    <a:pt x="3558" y="12555"/>
                    <a:pt x="3558" y="12555"/>
                  </a:cubicBezTo>
                  <a:cubicBezTo>
                    <a:pt x="3558" y="12555"/>
                    <a:pt x="3304" y="12555"/>
                    <a:pt x="3304" y="12555"/>
                  </a:cubicBezTo>
                  <a:cubicBezTo>
                    <a:pt x="3304" y="12690"/>
                    <a:pt x="3304" y="12825"/>
                    <a:pt x="3304" y="12825"/>
                  </a:cubicBezTo>
                  <a:cubicBezTo>
                    <a:pt x="3558" y="12960"/>
                    <a:pt x="3558" y="12960"/>
                    <a:pt x="3558" y="12960"/>
                  </a:cubicBezTo>
                  <a:cubicBezTo>
                    <a:pt x="3304" y="13095"/>
                    <a:pt x="3304" y="13095"/>
                    <a:pt x="3304" y="13095"/>
                  </a:cubicBezTo>
                  <a:cubicBezTo>
                    <a:pt x="3304" y="13095"/>
                    <a:pt x="3304" y="13095"/>
                    <a:pt x="3304" y="13095"/>
                  </a:cubicBezTo>
                  <a:cubicBezTo>
                    <a:pt x="3304" y="13095"/>
                    <a:pt x="3304" y="13365"/>
                    <a:pt x="3304" y="13365"/>
                  </a:cubicBezTo>
                  <a:cubicBezTo>
                    <a:pt x="3304" y="13365"/>
                    <a:pt x="3304" y="13500"/>
                    <a:pt x="3049" y="13500"/>
                  </a:cubicBezTo>
                  <a:cubicBezTo>
                    <a:pt x="3049" y="13500"/>
                    <a:pt x="2795" y="13635"/>
                    <a:pt x="2795" y="13635"/>
                  </a:cubicBezTo>
                  <a:cubicBezTo>
                    <a:pt x="3049" y="13905"/>
                    <a:pt x="3049" y="13905"/>
                    <a:pt x="3049" y="13905"/>
                  </a:cubicBezTo>
                  <a:cubicBezTo>
                    <a:pt x="2795" y="14445"/>
                    <a:pt x="2795" y="14445"/>
                    <a:pt x="2795" y="14445"/>
                  </a:cubicBezTo>
                  <a:cubicBezTo>
                    <a:pt x="2795" y="14580"/>
                    <a:pt x="2795" y="14580"/>
                    <a:pt x="2795" y="14580"/>
                  </a:cubicBezTo>
                  <a:cubicBezTo>
                    <a:pt x="3049" y="14985"/>
                    <a:pt x="3049" y="14985"/>
                    <a:pt x="3049" y="14985"/>
                  </a:cubicBezTo>
                  <a:cubicBezTo>
                    <a:pt x="3558" y="15390"/>
                    <a:pt x="3558" y="15390"/>
                    <a:pt x="3558" y="15390"/>
                  </a:cubicBezTo>
                  <a:cubicBezTo>
                    <a:pt x="4066" y="15660"/>
                    <a:pt x="4066" y="15660"/>
                    <a:pt x="4066" y="15660"/>
                  </a:cubicBezTo>
                  <a:cubicBezTo>
                    <a:pt x="4320" y="15930"/>
                    <a:pt x="4320" y="15930"/>
                    <a:pt x="4320" y="15930"/>
                  </a:cubicBezTo>
                  <a:cubicBezTo>
                    <a:pt x="4828" y="16065"/>
                    <a:pt x="4828" y="16065"/>
                    <a:pt x="4828" y="16065"/>
                  </a:cubicBezTo>
                  <a:cubicBezTo>
                    <a:pt x="4574" y="16470"/>
                    <a:pt x="4574" y="16470"/>
                    <a:pt x="4574" y="16470"/>
                  </a:cubicBezTo>
                  <a:cubicBezTo>
                    <a:pt x="4828" y="16605"/>
                    <a:pt x="4828" y="16605"/>
                    <a:pt x="4828" y="16605"/>
                  </a:cubicBezTo>
                  <a:cubicBezTo>
                    <a:pt x="4828" y="16875"/>
                    <a:pt x="4828" y="16875"/>
                    <a:pt x="4828" y="16875"/>
                  </a:cubicBezTo>
                  <a:cubicBezTo>
                    <a:pt x="4828" y="16875"/>
                    <a:pt x="4828" y="16875"/>
                    <a:pt x="4574" y="17010"/>
                  </a:cubicBezTo>
                  <a:cubicBezTo>
                    <a:pt x="4574" y="17010"/>
                    <a:pt x="4574" y="17010"/>
                    <a:pt x="4320" y="16875"/>
                  </a:cubicBezTo>
                  <a:cubicBezTo>
                    <a:pt x="4066" y="16875"/>
                    <a:pt x="3812" y="16605"/>
                    <a:pt x="3812" y="16605"/>
                  </a:cubicBezTo>
                  <a:cubicBezTo>
                    <a:pt x="3812" y="16605"/>
                    <a:pt x="3558" y="16335"/>
                    <a:pt x="3558" y="16335"/>
                  </a:cubicBezTo>
                  <a:cubicBezTo>
                    <a:pt x="3558" y="16335"/>
                    <a:pt x="3304" y="16200"/>
                    <a:pt x="3304" y="16200"/>
                  </a:cubicBezTo>
                  <a:cubicBezTo>
                    <a:pt x="2795" y="16200"/>
                    <a:pt x="2795" y="16200"/>
                    <a:pt x="2795" y="16200"/>
                  </a:cubicBezTo>
                  <a:cubicBezTo>
                    <a:pt x="2795" y="16200"/>
                    <a:pt x="2795" y="16335"/>
                    <a:pt x="2795" y="16335"/>
                  </a:cubicBezTo>
                  <a:cubicBezTo>
                    <a:pt x="2795" y="16470"/>
                    <a:pt x="2795" y="16470"/>
                    <a:pt x="3049" y="16605"/>
                  </a:cubicBezTo>
                  <a:cubicBezTo>
                    <a:pt x="3304" y="16740"/>
                    <a:pt x="3304" y="16740"/>
                    <a:pt x="3558" y="16740"/>
                  </a:cubicBezTo>
                  <a:cubicBezTo>
                    <a:pt x="3558" y="16740"/>
                    <a:pt x="3558" y="16875"/>
                    <a:pt x="3812" y="16875"/>
                  </a:cubicBezTo>
                  <a:cubicBezTo>
                    <a:pt x="3812" y="17010"/>
                    <a:pt x="3812" y="17280"/>
                    <a:pt x="3812" y="17280"/>
                  </a:cubicBezTo>
                  <a:cubicBezTo>
                    <a:pt x="4320" y="17550"/>
                    <a:pt x="4320" y="17550"/>
                    <a:pt x="4320" y="17550"/>
                  </a:cubicBezTo>
                  <a:cubicBezTo>
                    <a:pt x="4828" y="17685"/>
                    <a:pt x="4828" y="17685"/>
                    <a:pt x="4828" y="17685"/>
                  </a:cubicBezTo>
                  <a:cubicBezTo>
                    <a:pt x="6861" y="18225"/>
                    <a:pt x="6861" y="18225"/>
                    <a:pt x="6861" y="18225"/>
                  </a:cubicBezTo>
                  <a:cubicBezTo>
                    <a:pt x="7624" y="18360"/>
                    <a:pt x="7624" y="18360"/>
                    <a:pt x="7624" y="18360"/>
                  </a:cubicBezTo>
                  <a:cubicBezTo>
                    <a:pt x="7878" y="18360"/>
                    <a:pt x="7878" y="18360"/>
                    <a:pt x="7878" y="18360"/>
                  </a:cubicBezTo>
                  <a:cubicBezTo>
                    <a:pt x="8132" y="18630"/>
                    <a:pt x="8132" y="18630"/>
                    <a:pt x="8132" y="18630"/>
                  </a:cubicBezTo>
                  <a:cubicBezTo>
                    <a:pt x="8386" y="18765"/>
                    <a:pt x="8386" y="18765"/>
                    <a:pt x="8386" y="18765"/>
                  </a:cubicBezTo>
                  <a:cubicBezTo>
                    <a:pt x="8386" y="18765"/>
                    <a:pt x="8640" y="18765"/>
                    <a:pt x="8894" y="18765"/>
                  </a:cubicBezTo>
                  <a:cubicBezTo>
                    <a:pt x="8894" y="18765"/>
                    <a:pt x="9402" y="18765"/>
                    <a:pt x="9402" y="18765"/>
                  </a:cubicBezTo>
                  <a:cubicBezTo>
                    <a:pt x="9402" y="18765"/>
                    <a:pt x="9656" y="18630"/>
                    <a:pt x="9656" y="18765"/>
                  </a:cubicBezTo>
                  <a:cubicBezTo>
                    <a:pt x="9656" y="18900"/>
                    <a:pt x="10419" y="19575"/>
                    <a:pt x="10419" y="19575"/>
                  </a:cubicBezTo>
                  <a:cubicBezTo>
                    <a:pt x="10419" y="19575"/>
                    <a:pt x="10419" y="19710"/>
                    <a:pt x="10673" y="19845"/>
                  </a:cubicBezTo>
                  <a:cubicBezTo>
                    <a:pt x="10927" y="19980"/>
                    <a:pt x="11435" y="20115"/>
                    <a:pt x="11435" y="20115"/>
                  </a:cubicBezTo>
                  <a:cubicBezTo>
                    <a:pt x="11435" y="20115"/>
                    <a:pt x="11181" y="20250"/>
                    <a:pt x="11181" y="20385"/>
                  </a:cubicBezTo>
                  <a:cubicBezTo>
                    <a:pt x="11435" y="20520"/>
                    <a:pt x="11181" y="20520"/>
                    <a:pt x="11435" y="20520"/>
                  </a:cubicBezTo>
                  <a:cubicBezTo>
                    <a:pt x="11435" y="20655"/>
                    <a:pt x="11435" y="20655"/>
                    <a:pt x="11435" y="20655"/>
                  </a:cubicBezTo>
                  <a:cubicBezTo>
                    <a:pt x="11435" y="20655"/>
                    <a:pt x="11435" y="20655"/>
                    <a:pt x="11435" y="20790"/>
                  </a:cubicBezTo>
                  <a:cubicBezTo>
                    <a:pt x="11689" y="20790"/>
                    <a:pt x="11689" y="20925"/>
                    <a:pt x="11689" y="20925"/>
                  </a:cubicBezTo>
                  <a:cubicBezTo>
                    <a:pt x="11689" y="21330"/>
                    <a:pt x="11689" y="21330"/>
                    <a:pt x="11689" y="21330"/>
                  </a:cubicBezTo>
                  <a:cubicBezTo>
                    <a:pt x="12198" y="21330"/>
                    <a:pt x="12198" y="21330"/>
                    <a:pt x="12198" y="21330"/>
                  </a:cubicBezTo>
                  <a:lnTo>
                    <a:pt x="12452" y="2133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3" name="Shape 2226">
              <a:extLst>
                <a:ext uri="{FF2B5EF4-FFF2-40B4-BE49-F238E27FC236}">
                  <a16:creationId xmlns:a16="http://schemas.microsoft.com/office/drawing/2014/main" id="{97E03A03-7C1F-0C41-C922-FB23B018627B}"/>
                </a:ext>
              </a:extLst>
            </p:cNvPr>
            <p:cNvSpPr/>
            <p:nvPr/>
          </p:nvSpPr>
          <p:spPr>
            <a:xfrm>
              <a:off x="5281139" y="6718812"/>
              <a:ext cx="349957" cy="639888"/>
            </a:xfrm>
            <a:custGeom>
              <a:avLst/>
              <a:gdLst/>
              <a:ahLst/>
              <a:cxnLst>
                <a:cxn ang="0">
                  <a:pos x="wd2" y="hd2"/>
                </a:cxn>
                <a:cxn ang="5400000">
                  <a:pos x="wd2" y="hd2"/>
                </a:cxn>
                <a:cxn ang="10800000">
                  <a:pos x="wd2" y="hd2"/>
                </a:cxn>
                <a:cxn ang="16200000">
                  <a:pos x="wd2" y="hd2"/>
                </a:cxn>
              </a:cxnLst>
              <a:rect l="0" t="0" r="r" b="b"/>
              <a:pathLst>
                <a:path w="21600" h="21600" extrusionOk="0">
                  <a:moveTo>
                    <a:pt x="13214" y="21600"/>
                  </a:moveTo>
                  <a:cubicBezTo>
                    <a:pt x="13214" y="21600"/>
                    <a:pt x="13214" y="21600"/>
                    <a:pt x="13214" y="21600"/>
                  </a:cubicBezTo>
                  <a:cubicBezTo>
                    <a:pt x="12452" y="21330"/>
                    <a:pt x="12452" y="21330"/>
                    <a:pt x="12452" y="21330"/>
                  </a:cubicBezTo>
                  <a:cubicBezTo>
                    <a:pt x="12198" y="21465"/>
                    <a:pt x="12198" y="21465"/>
                    <a:pt x="12198" y="21465"/>
                  </a:cubicBezTo>
                  <a:cubicBezTo>
                    <a:pt x="11689" y="21330"/>
                    <a:pt x="11689" y="21330"/>
                    <a:pt x="11689" y="21330"/>
                  </a:cubicBezTo>
                  <a:cubicBezTo>
                    <a:pt x="11689" y="20925"/>
                    <a:pt x="11689" y="20925"/>
                    <a:pt x="11689" y="20925"/>
                  </a:cubicBezTo>
                  <a:cubicBezTo>
                    <a:pt x="11689" y="20925"/>
                    <a:pt x="11435" y="20925"/>
                    <a:pt x="11435" y="20790"/>
                  </a:cubicBezTo>
                  <a:cubicBezTo>
                    <a:pt x="11435" y="20520"/>
                    <a:pt x="11435" y="20520"/>
                    <a:pt x="11435" y="20520"/>
                  </a:cubicBezTo>
                  <a:cubicBezTo>
                    <a:pt x="11181" y="20655"/>
                    <a:pt x="11181" y="20655"/>
                    <a:pt x="11181" y="20655"/>
                  </a:cubicBezTo>
                  <a:cubicBezTo>
                    <a:pt x="11181" y="20520"/>
                    <a:pt x="11181" y="20520"/>
                    <a:pt x="11181" y="20520"/>
                  </a:cubicBezTo>
                  <a:cubicBezTo>
                    <a:pt x="11181" y="20385"/>
                    <a:pt x="11181" y="20385"/>
                    <a:pt x="11181" y="20385"/>
                  </a:cubicBezTo>
                  <a:cubicBezTo>
                    <a:pt x="11181" y="20250"/>
                    <a:pt x="11181" y="20115"/>
                    <a:pt x="11435" y="20115"/>
                  </a:cubicBezTo>
                  <a:cubicBezTo>
                    <a:pt x="11181" y="20115"/>
                    <a:pt x="10673" y="19980"/>
                    <a:pt x="10673" y="19845"/>
                  </a:cubicBezTo>
                  <a:cubicBezTo>
                    <a:pt x="10419" y="19845"/>
                    <a:pt x="10419" y="19575"/>
                    <a:pt x="10419" y="19575"/>
                  </a:cubicBezTo>
                  <a:cubicBezTo>
                    <a:pt x="10165" y="19575"/>
                    <a:pt x="9656" y="19035"/>
                    <a:pt x="9656" y="18765"/>
                  </a:cubicBezTo>
                  <a:cubicBezTo>
                    <a:pt x="9148" y="18765"/>
                    <a:pt x="8894" y="18765"/>
                    <a:pt x="8894" y="18765"/>
                  </a:cubicBezTo>
                  <a:cubicBezTo>
                    <a:pt x="8640" y="18765"/>
                    <a:pt x="8386" y="18765"/>
                    <a:pt x="8386" y="18765"/>
                  </a:cubicBezTo>
                  <a:cubicBezTo>
                    <a:pt x="8132" y="18630"/>
                    <a:pt x="8132" y="18630"/>
                    <a:pt x="8132" y="18630"/>
                  </a:cubicBezTo>
                  <a:cubicBezTo>
                    <a:pt x="7878" y="18495"/>
                    <a:pt x="7878" y="18495"/>
                    <a:pt x="7878" y="18495"/>
                  </a:cubicBezTo>
                  <a:cubicBezTo>
                    <a:pt x="6861" y="18225"/>
                    <a:pt x="6861" y="18225"/>
                    <a:pt x="6861" y="18225"/>
                  </a:cubicBezTo>
                  <a:cubicBezTo>
                    <a:pt x="3812" y="17280"/>
                    <a:pt x="3812" y="17280"/>
                    <a:pt x="3812" y="17280"/>
                  </a:cubicBezTo>
                  <a:cubicBezTo>
                    <a:pt x="3812" y="17280"/>
                    <a:pt x="3558" y="17010"/>
                    <a:pt x="3558" y="16875"/>
                  </a:cubicBezTo>
                  <a:cubicBezTo>
                    <a:pt x="3558" y="16875"/>
                    <a:pt x="3558" y="16875"/>
                    <a:pt x="3558" y="16740"/>
                  </a:cubicBezTo>
                  <a:cubicBezTo>
                    <a:pt x="3304" y="16740"/>
                    <a:pt x="3049" y="16740"/>
                    <a:pt x="3049" y="16605"/>
                  </a:cubicBezTo>
                  <a:cubicBezTo>
                    <a:pt x="2795" y="16605"/>
                    <a:pt x="2795" y="16470"/>
                    <a:pt x="2541" y="16335"/>
                  </a:cubicBezTo>
                  <a:cubicBezTo>
                    <a:pt x="2541" y="16335"/>
                    <a:pt x="2541" y="16200"/>
                    <a:pt x="2541" y="16200"/>
                  </a:cubicBezTo>
                  <a:cubicBezTo>
                    <a:pt x="3304" y="16200"/>
                    <a:pt x="3304" y="16200"/>
                    <a:pt x="3304" y="16200"/>
                  </a:cubicBezTo>
                  <a:cubicBezTo>
                    <a:pt x="3304" y="16200"/>
                    <a:pt x="3558" y="16335"/>
                    <a:pt x="3558" y="16335"/>
                  </a:cubicBezTo>
                  <a:cubicBezTo>
                    <a:pt x="3812" y="16335"/>
                    <a:pt x="3812" y="16605"/>
                    <a:pt x="3812" y="16605"/>
                  </a:cubicBezTo>
                  <a:cubicBezTo>
                    <a:pt x="3812" y="16605"/>
                    <a:pt x="4066" y="16875"/>
                    <a:pt x="4320" y="16875"/>
                  </a:cubicBezTo>
                  <a:cubicBezTo>
                    <a:pt x="4320" y="16875"/>
                    <a:pt x="4574" y="16875"/>
                    <a:pt x="4574" y="16875"/>
                  </a:cubicBezTo>
                  <a:cubicBezTo>
                    <a:pt x="4574" y="16875"/>
                    <a:pt x="4574" y="16875"/>
                    <a:pt x="4574" y="16875"/>
                  </a:cubicBezTo>
                  <a:cubicBezTo>
                    <a:pt x="4828" y="16605"/>
                    <a:pt x="4828" y="16605"/>
                    <a:pt x="4828" y="16605"/>
                  </a:cubicBezTo>
                  <a:cubicBezTo>
                    <a:pt x="4574" y="16470"/>
                    <a:pt x="4574" y="16470"/>
                    <a:pt x="4574" y="16470"/>
                  </a:cubicBezTo>
                  <a:cubicBezTo>
                    <a:pt x="4574" y="16065"/>
                    <a:pt x="4574" y="16065"/>
                    <a:pt x="4574" y="16065"/>
                  </a:cubicBezTo>
                  <a:cubicBezTo>
                    <a:pt x="4320" y="15930"/>
                    <a:pt x="4320" y="15930"/>
                    <a:pt x="4320" y="15930"/>
                  </a:cubicBezTo>
                  <a:cubicBezTo>
                    <a:pt x="4066" y="15660"/>
                    <a:pt x="4066" y="15660"/>
                    <a:pt x="4066" y="15660"/>
                  </a:cubicBezTo>
                  <a:cubicBezTo>
                    <a:pt x="3049" y="14985"/>
                    <a:pt x="3049" y="14985"/>
                    <a:pt x="3049" y="14985"/>
                  </a:cubicBezTo>
                  <a:cubicBezTo>
                    <a:pt x="2541" y="14580"/>
                    <a:pt x="2541" y="14580"/>
                    <a:pt x="2541" y="14580"/>
                  </a:cubicBezTo>
                  <a:cubicBezTo>
                    <a:pt x="3049" y="13905"/>
                    <a:pt x="3049" y="13905"/>
                    <a:pt x="3049" y="13905"/>
                  </a:cubicBezTo>
                  <a:cubicBezTo>
                    <a:pt x="2795" y="13635"/>
                    <a:pt x="2795" y="13635"/>
                    <a:pt x="2795" y="13635"/>
                  </a:cubicBezTo>
                  <a:cubicBezTo>
                    <a:pt x="2795" y="13635"/>
                    <a:pt x="3049" y="13500"/>
                    <a:pt x="3049" y="13500"/>
                  </a:cubicBezTo>
                  <a:cubicBezTo>
                    <a:pt x="3049" y="13500"/>
                    <a:pt x="3304" y="13365"/>
                    <a:pt x="3304" y="13365"/>
                  </a:cubicBezTo>
                  <a:cubicBezTo>
                    <a:pt x="3304" y="13365"/>
                    <a:pt x="3304" y="13230"/>
                    <a:pt x="3304" y="13230"/>
                  </a:cubicBezTo>
                  <a:cubicBezTo>
                    <a:pt x="3304" y="13095"/>
                    <a:pt x="3304" y="13095"/>
                    <a:pt x="3304" y="13095"/>
                  </a:cubicBezTo>
                  <a:cubicBezTo>
                    <a:pt x="3558" y="12825"/>
                    <a:pt x="3558" y="12825"/>
                    <a:pt x="3558" y="12825"/>
                  </a:cubicBezTo>
                  <a:cubicBezTo>
                    <a:pt x="3049" y="12825"/>
                    <a:pt x="3049" y="12825"/>
                    <a:pt x="3049" y="12825"/>
                  </a:cubicBezTo>
                  <a:cubicBezTo>
                    <a:pt x="3049" y="12690"/>
                    <a:pt x="3304" y="12555"/>
                    <a:pt x="3304" y="12555"/>
                  </a:cubicBezTo>
                  <a:cubicBezTo>
                    <a:pt x="3304" y="12555"/>
                    <a:pt x="3304" y="12555"/>
                    <a:pt x="3558" y="12555"/>
                  </a:cubicBezTo>
                  <a:cubicBezTo>
                    <a:pt x="4066" y="12285"/>
                    <a:pt x="4066" y="12285"/>
                    <a:pt x="4066" y="12285"/>
                  </a:cubicBezTo>
                  <a:cubicBezTo>
                    <a:pt x="4066" y="12150"/>
                    <a:pt x="4066" y="12150"/>
                    <a:pt x="4066" y="12150"/>
                  </a:cubicBezTo>
                  <a:cubicBezTo>
                    <a:pt x="3304" y="12015"/>
                    <a:pt x="3304" y="12015"/>
                    <a:pt x="3304" y="12015"/>
                  </a:cubicBezTo>
                  <a:cubicBezTo>
                    <a:pt x="3558" y="11610"/>
                    <a:pt x="3558" y="11610"/>
                    <a:pt x="3558" y="11610"/>
                  </a:cubicBezTo>
                  <a:cubicBezTo>
                    <a:pt x="3304" y="11475"/>
                    <a:pt x="3049" y="11205"/>
                    <a:pt x="3049" y="11205"/>
                  </a:cubicBezTo>
                  <a:cubicBezTo>
                    <a:pt x="3304" y="10935"/>
                    <a:pt x="3304" y="10935"/>
                    <a:pt x="3304" y="10935"/>
                  </a:cubicBezTo>
                  <a:cubicBezTo>
                    <a:pt x="3304" y="10935"/>
                    <a:pt x="3558" y="10530"/>
                    <a:pt x="3558" y="10395"/>
                  </a:cubicBezTo>
                  <a:cubicBezTo>
                    <a:pt x="3558" y="10260"/>
                    <a:pt x="3558" y="10125"/>
                    <a:pt x="3558" y="10125"/>
                  </a:cubicBezTo>
                  <a:cubicBezTo>
                    <a:pt x="3558" y="9990"/>
                    <a:pt x="3558" y="9990"/>
                    <a:pt x="3558" y="9990"/>
                  </a:cubicBezTo>
                  <a:cubicBezTo>
                    <a:pt x="3304" y="9855"/>
                    <a:pt x="3049" y="9720"/>
                    <a:pt x="3049" y="9720"/>
                  </a:cubicBezTo>
                  <a:cubicBezTo>
                    <a:pt x="3049" y="9720"/>
                    <a:pt x="2795" y="9720"/>
                    <a:pt x="2795" y="9585"/>
                  </a:cubicBezTo>
                  <a:cubicBezTo>
                    <a:pt x="2541" y="9585"/>
                    <a:pt x="2541" y="9585"/>
                    <a:pt x="2541" y="9585"/>
                  </a:cubicBezTo>
                  <a:cubicBezTo>
                    <a:pt x="2033" y="9315"/>
                    <a:pt x="2033" y="9315"/>
                    <a:pt x="2033" y="9315"/>
                  </a:cubicBezTo>
                  <a:cubicBezTo>
                    <a:pt x="2795" y="9045"/>
                    <a:pt x="2795" y="9045"/>
                    <a:pt x="2795" y="9045"/>
                  </a:cubicBezTo>
                  <a:cubicBezTo>
                    <a:pt x="2795" y="8910"/>
                    <a:pt x="2795" y="8910"/>
                    <a:pt x="2795" y="8910"/>
                  </a:cubicBezTo>
                  <a:cubicBezTo>
                    <a:pt x="3049" y="8775"/>
                    <a:pt x="3304" y="8775"/>
                    <a:pt x="3304" y="8775"/>
                  </a:cubicBezTo>
                  <a:cubicBezTo>
                    <a:pt x="3304" y="8775"/>
                    <a:pt x="3558" y="8640"/>
                    <a:pt x="3558" y="8640"/>
                  </a:cubicBezTo>
                  <a:cubicBezTo>
                    <a:pt x="3558" y="8505"/>
                    <a:pt x="3558" y="8370"/>
                    <a:pt x="3558" y="8235"/>
                  </a:cubicBezTo>
                  <a:cubicBezTo>
                    <a:pt x="2795" y="8100"/>
                    <a:pt x="2795" y="8100"/>
                    <a:pt x="2795" y="8100"/>
                  </a:cubicBezTo>
                  <a:cubicBezTo>
                    <a:pt x="2795" y="7965"/>
                    <a:pt x="2795" y="7965"/>
                    <a:pt x="2795" y="7965"/>
                  </a:cubicBezTo>
                  <a:cubicBezTo>
                    <a:pt x="2795" y="7965"/>
                    <a:pt x="3049" y="7965"/>
                    <a:pt x="3304" y="7830"/>
                  </a:cubicBezTo>
                  <a:cubicBezTo>
                    <a:pt x="3558" y="7830"/>
                    <a:pt x="3812" y="7695"/>
                    <a:pt x="3812" y="7695"/>
                  </a:cubicBezTo>
                  <a:cubicBezTo>
                    <a:pt x="4066" y="7695"/>
                    <a:pt x="4066" y="7560"/>
                    <a:pt x="4066" y="7425"/>
                  </a:cubicBezTo>
                  <a:cubicBezTo>
                    <a:pt x="3558" y="7290"/>
                    <a:pt x="3558" y="7290"/>
                    <a:pt x="3558" y="7290"/>
                  </a:cubicBezTo>
                  <a:cubicBezTo>
                    <a:pt x="3812" y="7020"/>
                    <a:pt x="3812" y="7020"/>
                    <a:pt x="3812" y="7020"/>
                  </a:cubicBezTo>
                  <a:cubicBezTo>
                    <a:pt x="3558" y="6615"/>
                    <a:pt x="3558" y="6615"/>
                    <a:pt x="3558" y="6615"/>
                  </a:cubicBezTo>
                  <a:cubicBezTo>
                    <a:pt x="3812" y="6345"/>
                    <a:pt x="3812" y="6345"/>
                    <a:pt x="3812" y="6345"/>
                  </a:cubicBezTo>
                  <a:cubicBezTo>
                    <a:pt x="3558" y="6210"/>
                    <a:pt x="3558" y="6210"/>
                    <a:pt x="3558" y="6210"/>
                  </a:cubicBezTo>
                  <a:cubicBezTo>
                    <a:pt x="2541" y="5940"/>
                    <a:pt x="2541" y="5940"/>
                    <a:pt x="2541" y="5940"/>
                  </a:cubicBezTo>
                  <a:cubicBezTo>
                    <a:pt x="2287" y="5940"/>
                    <a:pt x="2287" y="5940"/>
                    <a:pt x="2287" y="5940"/>
                  </a:cubicBezTo>
                  <a:cubicBezTo>
                    <a:pt x="2033" y="5940"/>
                    <a:pt x="1779" y="6075"/>
                    <a:pt x="1779" y="6075"/>
                  </a:cubicBezTo>
                  <a:cubicBezTo>
                    <a:pt x="1016" y="5940"/>
                    <a:pt x="1016" y="5805"/>
                    <a:pt x="1016" y="5805"/>
                  </a:cubicBezTo>
                  <a:cubicBezTo>
                    <a:pt x="1271" y="5805"/>
                    <a:pt x="1271" y="5670"/>
                    <a:pt x="1271" y="5670"/>
                  </a:cubicBezTo>
                  <a:cubicBezTo>
                    <a:pt x="1016" y="5535"/>
                    <a:pt x="1016" y="5535"/>
                    <a:pt x="1016" y="5535"/>
                  </a:cubicBezTo>
                  <a:cubicBezTo>
                    <a:pt x="1016" y="5265"/>
                    <a:pt x="1016" y="5265"/>
                    <a:pt x="1016" y="5265"/>
                  </a:cubicBezTo>
                  <a:cubicBezTo>
                    <a:pt x="1016" y="5265"/>
                    <a:pt x="1271" y="4995"/>
                    <a:pt x="1271" y="4995"/>
                  </a:cubicBezTo>
                  <a:cubicBezTo>
                    <a:pt x="1016" y="4860"/>
                    <a:pt x="1016" y="4725"/>
                    <a:pt x="1016" y="4725"/>
                  </a:cubicBezTo>
                  <a:cubicBezTo>
                    <a:pt x="1271" y="4455"/>
                    <a:pt x="1271" y="4455"/>
                    <a:pt x="1271" y="4455"/>
                  </a:cubicBezTo>
                  <a:cubicBezTo>
                    <a:pt x="1271" y="4320"/>
                    <a:pt x="1271" y="4320"/>
                    <a:pt x="1271" y="4320"/>
                  </a:cubicBezTo>
                  <a:cubicBezTo>
                    <a:pt x="1271" y="4185"/>
                    <a:pt x="1271" y="4050"/>
                    <a:pt x="1271" y="4050"/>
                  </a:cubicBezTo>
                  <a:cubicBezTo>
                    <a:pt x="254" y="3780"/>
                    <a:pt x="254" y="3780"/>
                    <a:pt x="254" y="3780"/>
                  </a:cubicBezTo>
                  <a:cubicBezTo>
                    <a:pt x="0" y="3645"/>
                    <a:pt x="0" y="3645"/>
                    <a:pt x="0" y="3645"/>
                  </a:cubicBezTo>
                  <a:cubicBezTo>
                    <a:pt x="0" y="3375"/>
                    <a:pt x="0" y="3375"/>
                    <a:pt x="0" y="3375"/>
                  </a:cubicBezTo>
                  <a:cubicBezTo>
                    <a:pt x="508" y="3105"/>
                    <a:pt x="508" y="3105"/>
                    <a:pt x="508" y="3105"/>
                  </a:cubicBezTo>
                  <a:cubicBezTo>
                    <a:pt x="762" y="2835"/>
                    <a:pt x="762" y="2835"/>
                    <a:pt x="762" y="2835"/>
                  </a:cubicBezTo>
                  <a:cubicBezTo>
                    <a:pt x="762" y="2700"/>
                    <a:pt x="762" y="2700"/>
                    <a:pt x="762" y="2565"/>
                  </a:cubicBezTo>
                  <a:cubicBezTo>
                    <a:pt x="762" y="2565"/>
                    <a:pt x="1016" y="2430"/>
                    <a:pt x="1016" y="2430"/>
                  </a:cubicBezTo>
                  <a:cubicBezTo>
                    <a:pt x="1016" y="2160"/>
                    <a:pt x="1016" y="2160"/>
                    <a:pt x="1016" y="2160"/>
                  </a:cubicBezTo>
                  <a:cubicBezTo>
                    <a:pt x="1016" y="2025"/>
                    <a:pt x="1016" y="2025"/>
                    <a:pt x="1016" y="2025"/>
                  </a:cubicBezTo>
                  <a:cubicBezTo>
                    <a:pt x="1271" y="1890"/>
                    <a:pt x="1271" y="1890"/>
                    <a:pt x="1271" y="1890"/>
                  </a:cubicBezTo>
                  <a:cubicBezTo>
                    <a:pt x="1271" y="1890"/>
                    <a:pt x="1525" y="1755"/>
                    <a:pt x="1779" y="1755"/>
                  </a:cubicBezTo>
                  <a:cubicBezTo>
                    <a:pt x="1779" y="1620"/>
                    <a:pt x="1779" y="1485"/>
                    <a:pt x="1779" y="1485"/>
                  </a:cubicBezTo>
                  <a:cubicBezTo>
                    <a:pt x="2795" y="675"/>
                    <a:pt x="2795" y="675"/>
                    <a:pt x="2795" y="675"/>
                  </a:cubicBezTo>
                  <a:cubicBezTo>
                    <a:pt x="2541" y="540"/>
                    <a:pt x="2541" y="540"/>
                    <a:pt x="2541" y="540"/>
                  </a:cubicBezTo>
                  <a:cubicBezTo>
                    <a:pt x="3304" y="0"/>
                    <a:pt x="3558" y="0"/>
                    <a:pt x="3558" y="0"/>
                  </a:cubicBezTo>
                  <a:cubicBezTo>
                    <a:pt x="3812" y="0"/>
                    <a:pt x="4066" y="0"/>
                    <a:pt x="4066" y="0"/>
                  </a:cubicBezTo>
                  <a:cubicBezTo>
                    <a:pt x="4320" y="135"/>
                    <a:pt x="4320" y="135"/>
                    <a:pt x="4320" y="135"/>
                  </a:cubicBezTo>
                  <a:cubicBezTo>
                    <a:pt x="4574" y="270"/>
                    <a:pt x="4574" y="270"/>
                    <a:pt x="4574" y="270"/>
                  </a:cubicBezTo>
                  <a:cubicBezTo>
                    <a:pt x="4574" y="405"/>
                    <a:pt x="4574" y="405"/>
                    <a:pt x="4574" y="405"/>
                  </a:cubicBezTo>
                  <a:cubicBezTo>
                    <a:pt x="4574" y="540"/>
                    <a:pt x="4320" y="540"/>
                    <a:pt x="4320" y="675"/>
                  </a:cubicBezTo>
                  <a:cubicBezTo>
                    <a:pt x="4574" y="675"/>
                    <a:pt x="4320" y="810"/>
                    <a:pt x="4320" y="810"/>
                  </a:cubicBezTo>
                  <a:cubicBezTo>
                    <a:pt x="4574" y="810"/>
                    <a:pt x="4574" y="945"/>
                    <a:pt x="4574" y="945"/>
                  </a:cubicBezTo>
                  <a:cubicBezTo>
                    <a:pt x="4828" y="1080"/>
                    <a:pt x="4828" y="1080"/>
                    <a:pt x="4828" y="1080"/>
                  </a:cubicBezTo>
                  <a:cubicBezTo>
                    <a:pt x="4828" y="1215"/>
                    <a:pt x="5082" y="1215"/>
                    <a:pt x="5082" y="1215"/>
                  </a:cubicBezTo>
                  <a:cubicBezTo>
                    <a:pt x="5591" y="1080"/>
                    <a:pt x="5591" y="1080"/>
                    <a:pt x="5591" y="1080"/>
                  </a:cubicBezTo>
                  <a:cubicBezTo>
                    <a:pt x="6099" y="945"/>
                    <a:pt x="6099" y="945"/>
                    <a:pt x="6099" y="945"/>
                  </a:cubicBezTo>
                  <a:cubicBezTo>
                    <a:pt x="6099" y="945"/>
                    <a:pt x="6607" y="810"/>
                    <a:pt x="6861" y="810"/>
                  </a:cubicBezTo>
                  <a:cubicBezTo>
                    <a:pt x="6861" y="810"/>
                    <a:pt x="6861" y="675"/>
                    <a:pt x="7115" y="540"/>
                  </a:cubicBezTo>
                  <a:cubicBezTo>
                    <a:pt x="7369" y="540"/>
                    <a:pt x="7369" y="540"/>
                    <a:pt x="7369" y="540"/>
                  </a:cubicBezTo>
                  <a:cubicBezTo>
                    <a:pt x="7878" y="540"/>
                    <a:pt x="7878" y="540"/>
                    <a:pt x="7878" y="540"/>
                  </a:cubicBezTo>
                  <a:cubicBezTo>
                    <a:pt x="8132" y="810"/>
                    <a:pt x="8132" y="810"/>
                    <a:pt x="8132" y="810"/>
                  </a:cubicBezTo>
                  <a:cubicBezTo>
                    <a:pt x="8640" y="945"/>
                    <a:pt x="8640" y="945"/>
                    <a:pt x="8640" y="945"/>
                  </a:cubicBezTo>
                  <a:cubicBezTo>
                    <a:pt x="9148" y="1215"/>
                    <a:pt x="9148" y="1215"/>
                    <a:pt x="9148" y="1215"/>
                  </a:cubicBezTo>
                  <a:cubicBezTo>
                    <a:pt x="9402" y="1620"/>
                    <a:pt x="9402" y="1620"/>
                    <a:pt x="9402" y="1620"/>
                  </a:cubicBezTo>
                  <a:cubicBezTo>
                    <a:pt x="9911" y="2025"/>
                    <a:pt x="9911" y="2025"/>
                    <a:pt x="9911" y="2025"/>
                  </a:cubicBezTo>
                  <a:cubicBezTo>
                    <a:pt x="10165" y="1890"/>
                    <a:pt x="10165" y="1890"/>
                    <a:pt x="10165" y="1890"/>
                  </a:cubicBezTo>
                  <a:cubicBezTo>
                    <a:pt x="10673" y="2160"/>
                    <a:pt x="10673" y="2160"/>
                    <a:pt x="10673" y="2160"/>
                  </a:cubicBezTo>
                  <a:cubicBezTo>
                    <a:pt x="11181" y="2295"/>
                    <a:pt x="11181" y="2295"/>
                    <a:pt x="11181" y="2295"/>
                  </a:cubicBezTo>
                  <a:cubicBezTo>
                    <a:pt x="11181" y="2295"/>
                    <a:pt x="11689" y="2295"/>
                    <a:pt x="12198" y="2430"/>
                  </a:cubicBezTo>
                  <a:cubicBezTo>
                    <a:pt x="12452" y="2430"/>
                    <a:pt x="12452" y="2565"/>
                    <a:pt x="12452" y="2565"/>
                  </a:cubicBezTo>
                  <a:cubicBezTo>
                    <a:pt x="12706" y="2835"/>
                    <a:pt x="13214" y="3105"/>
                    <a:pt x="13214" y="3105"/>
                  </a:cubicBezTo>
                  <a:cubicBezTo>
                    <a:pt x="13468" y="3510"/>
                    <a:pt x="13468" y="3510"/>
                    <a:pt x="13468" y="3510"/>
                  </a:cubicBezTo>
                  <a:cubicBezTo>
                    <a:pt x="13468" y="3510"/>
                    <a:pt x="13722" y="3780"/>
                    <a:pt x="13722" y="3915"/>
                  </a:cubicBezTo>
                  <a:cubicBezTo>
                    <a:pt x="13722" y="3915"/>
                    <a:pt x="13722" y="4050"/>
                    <a:pt x="13722" y="4050"/>
                  </a:cubicBezTo>
                  <a:cubicBezTo>
                    <a:pt x="14485" y="4455"/>
                    <a:pt x="14485" y="4455"/>
                    <a:pt x="14485" y="4455"/>
                  </a:cubicBezTo>
                  <a:cubicBezTo>
                    <a:pt x="14231" y="4860"/>
                    <a:pt x="14231" y="4860"/>
                    <a:pt x="14231" y="4860"/>
                  </a:cubicBezTo>
                  <a:cubicBezTo>
                    <a:pt x="13976" y="5130"/>
                    <a:pt x="13976" y="5130"/>
                    <a:pt x="13976" y="5130"/>
                  </a:cubicBezTo>
                  <a:cubicBezTo>
                    <a:pt x="13976" y="5130"/>
                    <a:pt x="13976" y="5400"/>
                    <a:pt x="13976" y="5400"/>
                  </a:cubicBezTo>
                  <a:cubicBezTo>
                    <a:pt x="13976" y="5400"/>
                    <a:pt x="13976" y="5670"/>
                    <a:pt x="13976" y="5670"/>
                  </a:cubicBezTo>
                  <a:cubicBezTo>
                    <a:pt x="13722" y="5805"/>
                    <a:pt x="13722" y="5805"/>
                    <a:pt x="13722" y="5805"/>
                  </a:cubicBezTo>
                  <a:cubicBezTo>
                    <a:pt x="13976" y="6480"/>
                    <a:pt x="13976" y="6480"/>
                    <a:pt x="13976" y="6480"/>
                  </a:cubicBezTo>
                  <a:cubicBezTo>
                    <a:pt x="13722" y="6885"/>
                    <a:pt x="13722" y="6885"/>
                    <a:pt x="13722" y="6885"/>
                  </a:cubicBezTo>
                  <a:cubicBezTo>
                    <a:pt x="13976" y="6885"/>
                    <a:pt x="14231" y="7020"/>
                    <a:pt x="14231" y="7155"/>
                  </a:cubicBezTo>
                  <a:cubicBezTo>
                    <a:pt x="14485" y="7155"/>
                    <a:pt x="14231" y="7290"/>
                    <a:pt x="14231" y="7290"/>
                  </a:cubicBezTo>
                  <a:cubicBezTo>
                    <a:pt x="13976" y="7425"/>
                    <a:pt x="13976" y="7425"/>
                    <a:pt x="13722" y="7560"/>
                  </a:cubicBezTo>
                  <a:cubicBezTo>
                    <a:pt x="13468" y="7560"/>
                    <a:pt x="13468" y="7560"/>
                    <a:pt x="13468" y="7560"/>
                  </a:cubicBezTo>
                  <a:cubicBezTo>
                    <a:pt x="13468" y="7695"/>
                    <a:pt x="13214" y="7695"/>
                    <a:pt x="13214" y="7695"/>
                  </a:cubicBezTo>
                  <a:cubicBezTo>
                    <a:pt x="13214" y="7695"/>
                    <a:pt x="13214" y="7830"/>
                    <a:pt x="13214" y="7965"/>
                  </a:cubicBezTo>
                  <a:cubicBezTo>
                    <a:pt x="13468" y="8100"/>
                    <a:pt x="13976" y="8235"/>
                    <a:pt x="13976" y="8235"/>
                  </a:cubicBezTo>
                  <a:cubicBezTo>
                    <a:pt x="13976" y="8235"/>
                    <a:pt x="14485" y="8505"/>
                    <a:pt x="14485" y="8640"/>
                  </a:cubicBezTo>
                  <a:cubicBezTo>
                    <a:pt x="14739" y="8640"/>
                    <a:pt x="14485" y="8775"/>
                    <a:pt x="14485" y="8910"/>
                  </a:cubicBezTo>
                  <a:cubicBezTo>
                    <a:pt x="14485" y="8910"/>
                    <a:pt x="14485" y="9045"/>
                    <a:pt x="13976" y="9180"/>
                  </a:cubicBezTo>
                  <a:cubicBezTo>
                    <a:pt x="14231" y="9315"/>
                    <a:pt x="14231" y="9315"/>
                    <a:pt x="14231" y="9315"/>
                  </a:cubicBezTo>
                  <a:cubicBezTo>
                    <a:pt x="14485" y="9720"/>
                    <a:pt x="14485" y="9720"/>
                    <a:pt x="14485" y="9720"/>
                  </a:cubicBezTo>
                  <a:cubicBezTo>
                    <a:pt x="14485" y="9720"/>
                    <a:pt x="14485" y="9855"/>
                    <a:pt x="14485" y="9855"/>
                  </a:cubicBezTo>
                  <a:cubicBezTo>
                    <a:pt x="14739" y="9990"/>
                    <a:pt x="14993" y="10260"/>
                    <a:pt x="15247" y="10260"/>
                  </a:cubicBezTo>
                  <a:cubicBezTo>
                    <a:pt x="15247" y="10260"/>
                    <a:pt x="15501" y="10530"/>
                    <a:pt x="15501" y="10665"/>
                  </a:cubicBezTo>
                  <a:cubicBezTo>
                    <a:pt x="15501" y="10665"/>
                    <a:pt x="15501" y="10800"/>
                    <a:pt x="15501" y="10800"/>
                  </a:cubicBezTo>
                  <a:cubicBezTo>
                    <a:pt x="15501" y="10800"/>
                    <a:pt x="15755" y="10800"/>
                    <a:pt x="15755" y="10800"/>
                  </a:cubicBezTo>
                  <a:cubicBezTo>
                    <a:pt x="16009" y="10935"/>
                    <a:pt x="16518" y="10935"/>
                    <a:pt x="16518" y="10935"/>
                  </a:cubicBezTo>
                  <a:cubicBezTo>
                    <a:pt x="16518" y="10935"/>
                    <a:pt x="16772" y="11070"/>
                    <a:pt x="16772" y="11205"/>
                  </a:cubicBezTo>
                  <a:cubicBezTo>
                    <a:pt x="17026" y="11340"/>
                    <a:pt x="17280" y="11610"/>
                    <a:pt x="17280" y="11745"/>
                  </a:cubicBezTo>
                  <a:cubicBezTo>
                    <a:pt x="17280" y="11745"/>
                    <a:pt x="17280" y="11880"/>
                    <a:pt x="17280" y="11880"/>
                  </a:cubicBezTo>
                  <a:cubicBezTo>
                    <a:pt x="17280" y="12015"/>
                    <a:pt x="17280" y="12015"/>
                    <a:pt x="17280" y="12015"/>
                  </a:cubicBezTo>
                  <a:cubicBezTo>
                    <a:pt x="17280" y="12150"/>
                    <a:pt x="17534" y="12015"/>
                    <a:pt x="17534" y="12015"/>
                  </a:cubicBezTo>
                  <a:cubicBezTo>
                    <a:pt x="17534" y="12015"/>
                    <a:pt x="17788" y="11880"/>
                    <a:pt x="17788" y="11880"/>
                  </a:cubicBezTo>
                  <a:cubicBezTo>
                    <a:pt x="18042" y="11880"/>
                    <a:pt x="18296" y="11880"/>
                    <a:pt x="18551" y="11880"/>
                  </a:cubicBezTo>
                  <a:cubicBezTo>
                    <a:pt x="18805" y="11880"/>
                    <a:pt x="18805" y="11880"/>
                    <a:pt x="18805" y="11880"/>
                  </a:cubicBezTo>
                  <a:cubicBezTo>
                    <a:pt x="19313" y="11880"/>
                    <a:pt x="19313" y="11880"/>
                    <a:pt x="19567" y="11880"/>
                  </a:cubicBezTo>
                  <a:cubicBezTo>
                    <a:pt x="20075" y="12015"/>
                    <a:pt x="20075" y="12015"/>
                    <a:pt x="20075" y="12015"/>
                  </a:cubicBezTo>
                  <a:cubicBezTo>
                    <a:pt x="20329" y="12285"/>
                    <a:pt x="20329" y="12285"/>
                    <a:pt x="20329" y="12285"/>
                  </a:cubicBezTo>
                  <a:cubicBezTo>
                    <a:pt x="20329" y="12285"/>
                    <a:pt x="20584" y="12285"/>
                    <a:pt x="20584" y="12285"/>
                  </a:cubicBezTo>
                  <a:cubicBezTo>
                    <a:pt x="20838" y="12555"/>
                    <a:pt x="20838" y="12555"/>
                    <a:pt x="20838" y="12555"/>
                  </a:cubicBezTo>
                  <a:cubicBezTo>
                    <a:pt x="21346" y="12960"/>
                    <a:pt x="21346" y="12960"/>
                    <a:pt x="21346" y="12960"/>
                  </a:cubicBezTo>
                  <a:cubicBezTo>
                    <a:pt x="21600" y="14040"/>
                    <a:pt x="21600" y="14040"/>
                    <a:pt x="21600" y="14040"/>
                  </a:cubicBezTo>
                  <a:cubicBezTo>
                    <a:pt x="21092" y="14040"/>
                    <a:pt x="20584" y="14310"/>
                    <a:pt x="20329" y="14445"/>
                  </a:cubicBezTo>
                  <a:cubicBezTo>
                    <a:pt x="19567" y="15525"/>
                    <a:pt x="19567" y="15525"/>
                    <a:pt x="19567" y="15525"/>
                  </a:cubicBezTo>
                  <a:cubicBezTo>
                    <a:pt x="19059" y="16740"/>
                    <a:pt x="19059" y="16740"/>
                    <a:pt x="19059" y="16740"/>
                  </a:cubicBezTo>
                  <a:cubicBezTo>
                    <a:pt x="17788" y="17820"/>
                    <a:pt x="17788" y="17820"/>
                    <a:pt x="17788" y="17820"/>
                  </a:cubicBezTo>
                  <a:cubicBezTo>
                    <a:pt x="16009" y="18360"/>
                    <a:pt x="16009" y="18360"/>
                    <a:pt x="16009" y="18360"/>
                  </a:cubicBezTo>
                  <a:cubicBezTo>
                    <a:pt x="15755" y="18360"/>
                    <a:pt x="15755" y="18360"/>
                    <a:pt x="15755" y="18360"/>
                  </a:cubicBezTo>
                  <a:cubicBezTo>
                    <a:pt x="15755" y="18360"/>
                    <a:pt x="15501" y="18495"/>
                    <a:pt x="15501" y="18495"/>
                  </a:cubicBezTo>
                  <a:cubicBezTo>
                    <a:pt x="15247" y="18900"/>
                    <a:pt x="15247" y="18900"/>
                    <a:pt x="15247" y="18900"/>
                  </a:cubicBezTo>
                  <a:cubicBezTo>
                    <a:pt x="14993" y="19035"/>
                    <a:pt x="14993" y="19035"/>
                    <a:pt x="14993" y="19035"/>
                  </a:cubicBezTo>
                  <a:cubicBezTo>
                    <a:pt x="14739" y="19035"/>
                    <a:pt x="14739" y="19035"/>
                    <a:pt x="14739" y="19035"/>
                  </a:cubicBezTo>
                  <a:cubicBezTo>
                    <a:pt x="14739" y="19170"/>
                    <a:pt x="14739" y="19170"/>
                    <a:pt x="14739" y="19170"/>
                  </a:cubicBezTo>
                  <a:cubicBezTo>
                    <a:pt x="14739" y="19305"/>
                    <a:pt x="14739" y="19305"/>
                    <a:pt x="14739" y="19440"/>
                  </a:cubicBezTo>
                  <a:cubicBezTo>
                    <a:pt x="14739" y="19440"/>
                    <a:pt x="14739" y="19440"/>
                    <a:pt x="14739" y="19575"/>
                  </a:cubicBezTo>
                  <a:cubicBezTo>
                    <a:pt x="14739" y="19575"/>
                    <a:pt x="14993" y="19575"/>
                    <a:pt x="14993" y="19710"/>
                  </a:cubicBezTo>
                  <a:cubicBezTo>
                    <a:pt x="14993" y="19710"/>
                    <a:pt x="15247" y="19845"/>
                    <a:pt x="15501" y="19845"/>
                  </a:cubicBezTo>
                  <a:cubicBezTo>
                    <a:pt x="15755" y="19980"/>
                    <a:pt x="16009" y="19980"/>
                    <a:pt x="16009" y="19980"/>
                  </a:cubicBezTo>
                  <a:cubicBezTo>
                    <a:pt x="16264" y="20250"/>
                    <a:pt x="16264" y="20250"/>
                    <a:pt x="16264" y="20250"/>
                  </a:cubicBezTo>
                  <a:cubicBezTo>
                    <a:pt x="16009" y="20385"/>
                    <a:pt x="15755" y="20385"/>
                    <a:pt x="15501" y="20385"/>
                  </a:cubicBezTo>
                  <a:cubicBezTo>
                    <a:pt x="15501" y="20385"/>
                    <a:pt x="15247" y="20385"/>
                    <a:pt x="15247" y="20385"/>
                  </a:cubicBezTo>
                  <a:cubicBezTo>
                    <a:pt x="14993" y="20385"/>
                    <a:pt x="14993" y="20385"/>
                    <a:pt x="14739" y="20385"/>
                  </a:cubicBezTo>
                  <a:cubicBezTo>
                    <a:pt x="14739" y="20385"/>
                    <a:pt x="14739" y="20520"/>
                    <a:pt x="14739" y="20655"/>
                  </a:cubicBezTo>
                  <a:cubicBezTo>
                    <a:pt x="14993" y="20790"/>
                    <a:pt x="14993" y="20790"/>
                    <a:pt x="14993" y="20790"/>
                  </a:cubicBezTo>
                  <a:cubicBezTo>
                    <a:pt x="14993" y="20790"/>
                    <a:pt x="14993" y="21060"/>
                    <a:pt x="14993" y="21060"/>
                  </a:cubicBezTo>
                  <a:cubicBezTo>
                    <a:pt x="14993" y="21060"/>
                    <a:pt x="14993" y="21195"/>
                    <a:pt x="14485" y="21330"/>
                  </a:cubicBezTo>
                  <a:cubicBezTo>
                    <a:pt x="14231" y="21600"/>
                    <a:pt x="14231" y="21600"/>
                    <a:pt x="14231" y="21600"/>
                  </a:cubicBezTo>
                  <a:cubicBezTo>
                    <a:pt x="13214" y="21600"/>
                    <a:pt x="13214" y="21600"/>
                    <a:pt x="13214" y="21600"/>
                  </a:cubicBezTo>
                  <a:cubicBezTo>
                    <a:pt x="13214" y="21600"/>
                    <a:pt x="13214" y="21600"/>
                    <a:pt x="13214" y="21600"/>
                  </a:cubicBezTo>
                  <a:close/>
                  <a:moveTo>
                    <a:pt x="12452" y="21330"/>
                  </a:moveTo>
                  <a:cubicBezTo>
                    <a:pt x="12452" y="21330"/>
                    <a:pt x="12452" y="21330"/>
                    <a:pt x="12452" y="21330"/>
                  </a:cubicBezTo>
                  <a:cubicBezTo>
                    <a:pt x="13214" y="21465"/>
                    <a:pt x="13214" y="21465"/>
                    <a:pt x="13214" y="21465"/>
                  </a:cubicBezTo>
                  <a:cubicBezTo>
                    <a:pt x="13976" y="21465"/>
                    <a:pt x="13976" y="21465"/>
                    <a:pt x="13976" y="21465"/>
                  </a:cubicBezTo>
                  <a:cubicBezTo>
                    <a:pt x="14485" y="21330"/>
                    <a:pt x="14485" y="21330"/>
                    <a:pt x="14485" y="21330"/>
                  </a:cubicBezTo>
                  <a:cubicBezTo>
                    <a:pt x="14739" y="21195"/>
                    <a:pt x="14993" y="21060"/>
                    <a:pt x="14993" y="21060"/>
                  </a:cubicBezTo>
                  <a:cubicBezTo>
                    <a:pt x="14993" y="21060"/>
                    <a:pt x="14739" y="20790"/>
                    <a:pt x="14739" y="20790"/>
                  </a:cubicBezTo>
                  <a:cubicBezTo>
                    <a:pt x="14739" y="20655"/>
                    <a:pt x="14739" y="20655"/>
                    <a:pt x="14739" y="20655"/>
                  </a:cubicBezTo>
                  <a:cubicBezTo>
                    <a:pt x="14739" y="20655"/>
                    <a:pt x="14485" y="20520"/>
                    <a:pt x="14485" y="20385"/>
                  </a:cubicBezTo>
                  <a:cubicBezTo>
                    <a:pt x="14485" y="20385"/>
                    <a:pt x="14739" y="20250"/>
                    <a:pt x="14739" y="20250"/>
                  </a:cubicBezTo>
                  <a:cubicBezTo>
                    <a:pt x="14993" y="20250"/>
                    <a:pt x="14993" y="20250"/>
                    <a:pt x="14993" y="20250"/>
                  </a:cubicBezTo>
                  <a:cubicBezTo>
                    <a:pt x="14993" y="20250"/>
                    <a:pt x="15247" y="20250"/>
                    <a:pt x="15247" y="20250"/>
                  </a:cubicBezTo>
                  <a:cubicBezTo>
                    <a:pt x="15501" y="20385"/>
                    <a:pt x="15501" y="20385"/>
                    <a:pt x="15501" y="20385"/>
                  </a:cubicBezTo>
                  <a:cubicBezTo>
                    <a:pt x="15501" y="20385"/>
                    <a:pt x="15501" y="20385"/>
                    <a:pt x="15501" y="20385"/>
                  </a:cubicBezTo>
                  <a:cubicBezTo>
                    <a:pt x="15755" y="20385"/>
                    <a:pt x="16009" y="20250"/>
                    <a:pt x="16009" y="20115"/>
                  </a:cubicBezTo>
                  <a:cubicBezTo>
                    <a:pt x="16009" y="20115"/>
                    <a:pt x="16009" y="20115"/>
                    <a:pt x="16009" y="20115"/>
                  </a:cubicBezTo>
                  <a:cubicBezTo>
                    <a:pt x="15755" y="20115"/>
                    <a:pt x="15755" y="19980"/>
                    <a:pt x="15501" y="19980"/>
                  </a:cubicBezTo>
                  <a:cubicBezTo>
                    <a:pt x="14993" y="19845"/>
                    <a:pt x="14739" y="19710"/>
                    <a:pt x="14739" y="19710"/>
                  </a:cubicBezTo>
                  <a:cubicBezTo>
                    <a:pt x="14739" y="19710"/>
                    <a:pt x="14739" y="19575"/>
                    <a:pt x="14739" y="19575"/>
                  </a:cubicBezTo>
                  <a:cubicBezTo>
                    <a:pt x="14485" y="19575"/>
                    <a:pt x="14485" y="19440"/>
                    <a:pt x="14485" y="19440"/>
                  </a:cubicBezTo>
                  <a:cubicBezTo>
                    <a:pt x="14485" y="19305"/>
                    <a:pt x="14485" y="19170"/>
                    <a:pt x="14485" y="19170"/>
                  </a:cubicBezTo>
                  <a:cubicBezTo>
                    <a:pt x="14485" y="19035"/>
                    <a:pt x="14485" y="19035"/>
                    <a:pt x="14485" y="19035"/>
                  </a:cubicBezTo>
                  <a:cubicBezTo>
                    <a:pt x="14485" y="19035"/>
                    <a:pt x="14739" y="18900"/>
                    <a:pt x="14993" y="18900"/>
                  </a:cubicBezTo>
                  <a:cubicBezTo>
                    <a:pt x="15247" y="18900"/>
                    <a:pt x="15247" y="18900"/>
                    <a:pt x="15247" y="18900"/>
                  </a:cubicBezTo>
                  <a:cubicBezTo>
                    <a:pt x="15501" y="18495"/>
                    <a:pt x="15501" y="18495"/>
                    <a:pt x="15501" y="18495"/>
                  </a:cubicBezTo>
                  <a:cubicBezTo>
                    <a:pt x="15501" y="18495"/>
                    <a:pt x="15501" y="18360"/>
                    <a:pt x="15755" y="18360"/>
                  </a:cubicBezTo>
                  <a:cubicBezTo>
                    <a:pt x="16009" y="18360"/>
                    <a:pt x="16009" y="18360"/>
                    <a:pt x="16009" y="18360"/>
                  </a:cubicBezTo>
                  <a:cubicBezTo>
                    <a:pt x="16009" y="18360"/>
                    <a:pt x="16009" y="18360"/>
                    <a:pt x="16009" y="18360"/>
                  </a:cubicBezTo>
                  <a:cubicBezTo>
                    <a:pt x="17788" y="17820"/>
                    <a:pt x="17788" y="17820"/>
                    <a:pt x="17788" y="17820"/>
                  </a:cubicBezTo>
                  <a:cubicBezTo>
                    <a:pt x="19059" y="16740"/>
                    <a:pt x="19059" y="16740"/>
                    <a:pt x="19059" y="16740"/>
                  </a:cubicBezTo>
                  <a:cubicBezTo>
                    <a:pt x="19313" y="15525"/>
                    <a:pt x="19313" y="15525"/>
                    <a:pt x="19313" y="15525"/>
                  </a:cubicBezTo>
                  <a:cubicBezTo>
                    <a:pt x="20075" y="14445"/>
                    <a:pt x="20075" y="14445"/>
                    <a:pt x="20075" y="14445"/>
                  </a:cubicBezTo>
                  <a:cubicBezTo>
                    <a:pt x="20329" y="14310"/>
                    <a:pt x="21092" y="14040"/>
                    <a:pt x="21346" y="14040"/>
                  </a:cubicBezTo>
                  <a:cubicBezTo>
                    <a:pt x="21346" y="13905"/>
                    <a:pt x="21346" y="13500"/>
                    <a:pt x="21092" y="12960"/>
                  </a:cubicBezTo>
                  <a:cubicBezTo>
                    <a:pt x="20584" y="12555"/>
                    <a:pt x="20584" y="12555"/>
                    <a:pt x="20584" y="12555"/>
                  </a:cubicBezTo>
                  <a:cubicBezTo>
                    <a:pt x="20584" y="12285"/>
                    <a:pt x="20584" y="12285"/>
                    <a:pt x="20584" y="12285"/>
                  </a:cubicBezTo>
                  <a:cubicBezTo>
                    <a:pt x="20584" y="12420"/>
                    <a:pt x="20329" y="12420"/>
                    <a:pt x="20329" y="12285"/>
                  </a:cubicBezTo>
                  <a:cubicBezTo>
                    <a:pt x="20329" y="12285"/>
                    <a:pt x="20075" y="12285"/>
                    <a:pt x="20075" y="12285"/>
                  </a:cubicBezTo>
                  <a:cubicBezTo>
                    <a:pt x="20075" y="12150"/>
                    <a:pt x="20075" y="12150"/>
                    <a:pt x="20075" y="12150"/>
                  </a:cubicBezTo>
                  <a:cubicBezTo>
                    <a:pt x="19313" y="12015"/>
                    <a:pt x="19313" y="12015"/>
                    <a:pt x="19313" y="12015"/>
                  </a:cubicBezTo>
                  <a:cubicBezTo>
                    <a:pt x="19313" y="12015"/>
                    <a:pt x="19313" y="12015"/>
                    <a:pt x="19059" y="12015"/>
                  </a:cubicBezTo>
                  <a:cubicBezTo>
                    <a:pt x="19059" y="12015"/>
                    <a:pt x="18805" y="12015"/>
                    <a:pt x="18805" y="12015"/>
                  </a:cubicBezTo>
                  <a:cubicBezTo>
                    <a:pt x="18296" y="11880"/>
                    <a:pt x="18042" y="11880"/>
                    <a:pt x="18042" y="12015"/>
                  </a:cubicBezTo>
                  <a:cubicBezTo>
                    <a:pt x="17788" y="12015"/>
                    <a:pt x="17788" y="12015"/>
                    <a:pt x="17534" y="12150"/>
                  </a:cubicBezTo>
                  <a:cubicBezTo>
                    <a:pt x="17534" y="12150"/>
                    <a:pt x="17534" y="12150"/>
                    <a:pt x="17534" y="12150"/>
                  </a:cubicBezTo>
                  <a:cubicBezTo>
                    <a:pt x="17280" y="12285"/>
                    <a:pt x="17280" y="12150"/>
                    <a:pt x="17280" y="12150"/>
                  </a:cubicBezTo>
                  <a:cubicBezTo>
                    <a:pt x="17280" y="12150"/>
                    <a:pt x="17280" y="12150"/>
                    <a:pt x="17026" y="12150"/>
                  </a:cubicBezTo>
                  <a:cubicBezTo>
                    <a:pt x="17026" y="11880"/>
                    <a:pt x="17026" y="11880"/>
                    <a:pt x="17026" y="11880"/>
                  </a:cubicBezTo>
                  <a:cubicBezTo>
                    <a:pt x="17026" y="11880"/>
                    <a:pt x="17026" y="11745"/>
                    <a:pt x="17026" y="11745"/>
                  </a:cubicBezTo>
                  <a:cubicBezTo>
                    <a:pt x="17026" y="11610"/>
                    <a:pt x="16772" y="11340"/>
                    <a:pt x="16772" y="11205"/>
                  </a:cubicBezTo>
                  <a:cubicBezTo>
                    <a:pt x="16518" y="11070"/>
                    <a:pt x="16518" y="11070"/>
                    <a:pt x="16518" y="10935"/>
                  </a:cubicBezTo>
                  <a:cubicBezTo>
                    <a:pt x="16518" y="10935"/>
                    <a:pt x="16009" y="10935"/>
                    <a:pt x="16009" y="10935"/>
                  </a:cubicBezTo>
                  <a:cubicBezTo>
                    <a:pt x="15755" y="10935"/>
                    <a:pt x="15501" y="10935"/>
                    <a:pt x="15501" y="10935"/>
                  </a:cubicBezTo>
                  <a:cubicBezTo>
                    <a:pt x="15247" y="10800"/>
                    <a:pt x="15247" y="10665"/>
                    <a:pt x="15501" y="10530"/>
                  </a:cubicBezTo>
                  <a:cubicBezTo>
                    <a:pt x="15501" y="10530"/>
                    <a:pt x="15247" y="10395"/>
                    <a:pt x="14993" y="10260"/>
                  </a:cubicBezTo>
                  <a:cubicBezTo>
                    <a:pt x="14993" y="10260"/>
                    <a:pt x="14485" y="9855"/>
                    <a:pt x="14485" y="9855"/>
                  </a:cubicBezTo>
                  <a:cubicBezTo>
                    <a:pt x="14485" y="9855"/>
                    <a:pt x="14231" y="9855"/>
                    <a:pt x="14231" y="9720"/>
                  </a:cubicBezTo>
                  <a:cubicBezTo>
                    <a:pt x="13976" y="9180"/>
                    <a:pt x="13976" y="9180"/>
                    <a:pt x="13976" y="9180"/>
                  </a:cubicBezTo>
                  <a:cubicBezTo>
                    <a:pt x="14231" y="9045"/>
                    <a:pt x="14231" y="8910"/>
                    <a:pt x="14231" y="8910"/>
                  </a:cubicBezTo>
                  <a:cubicBezTo>
                    <a:pt x="14485" y="8775"/>
                    <a:pt x="14485" y="8640"/>
                    <a:pt x="14485" y="8640"/>
                  </a:cubicBezTo>
                  <a:cubicBezTo>
                    <a:pt x="14485" y="8640"/>
                    <a:pt x="13976" y="8370"/>
                    <a:pt x="13722" y="8370"/>
                  </a:cubicBezTo>
                  <a:cubicBezTo>
                    <a:pt x="13722" y="8370"/>
                    <a:pt x="13214" y="8100"/>
                    <a:pt x="13214" y="7965"/>
                  </a:cubicBezTo>
                  <a:cubicBezTo>
                    <a:pt x="12960" y="7830"/>
                    <a:pt x="12960" y="7695"/>
                    <a:pt x="12960" y="7695"/>
                  </a:cubicBezTo>
                  <a:cubicBezTo>
                    <a:pt x="13214" y="7560"/>
                    <a:pt x="13214" y="7560"/>
                    <a:pt x="13468" y="7560"/>
                  </a:cubicBezTo>
                  <a:cubicBezTo>
                    <a:pt x="13722" y="7425"/>
                    <a:pt x="13722" y="7425"/>
                    <a:pt x="13722" y="7425"/>
                  </a:cubicBezTo>
                  <a:cubicBezTo>
                    <a:pt x="13722" y="7425"/>
                    <a:pt x="13976" y="7290"/>
                    <a:pt x="13976" y="7290"/>
                  </a:cubicBezTo>
                  <a:cubicBezTo>
                    <a:pt x="13976" y="7155"/>
                    <a:pt x="13976" y="7155"/>
                    <a:pt x="13976" y="7155"/>
                  </a:cubicBezTo>
                  <a:cubicBezTo>
                    <a:pt x="13976" y="7155"/>
                    <a:pt x="13722" y="6885"/>
                    <a:pt x="13722" y="6885"/>
                  </a:cubicBezTo>
                  <a:cubicBezTo>
                    <a:pt x="13976" y="6480"/>
                    <a:pt x="13976" y="6480"/>
                    <a:pt x="13976" y="6480"/>
                  </a:cubicBezTo>
                  <a:cubicBezTo>
                    <a:pt x="13722" y="6345"/>
                    <a:pt x="13722" y="6345"/>
                    <a:pt x="13722" y="6345"/>
                  </a:cubicBezTo>
                  <a:cubicBezTo>
                    <a:pt x="13722" y="5805"/>
                    <a:pt x="13722" y="5805"/>
                    <a:pt x="13722" y="5805"/>
                  </a:cubicBezTo>
                  <a:cubicBezTo>
                    <a:pt x="13722" y="5670"/>
                    <a:pt x="13722" y="5670"/>
                    <a:pt x="13722" y="5670"/>
                  </a:cubicBezTo>
                  <a:cubicBezTo>
                    <a:pt x="13722" y="5535"/>
                    <a:pt x="13722" y="5400"/>
                    <a:pt x="13722" y="5400"/>
                  </a:cubicBezTo>
                  <a:cubicBezTo>
                    <a:pt x="13722" y="5265"/>
                    <a:pt x="13976" y="5130"/>
                    <a:pt x="13976" y="4995"/>
                  </a:cubicBezTo>
                  <a:cubicBezTo>
                    <a:pt x="13976" y="4725"/>
                    <a:pt x="13976" y="4725"/>
                    <a:pt x="13976" y="4725"/>
                  </a:cubicBezTo>
                  <a:cubicBezTo>
                    <a:pt x="14231" y="4455"/>
                    <a:pt x="14231" y="4455"/>
                    <a:pt x="14231" y="4455"/>
                  </a:cubicBezTo>
                  <a:cubicBezTo>
                    <a:pt x="13722" y="4050"/>
                    <a:pt x="13722" y="4050"/>
                    <a:pt x="13722" y="4050"/>
                  </a:cubicBezTo>
                  <a:cubicBezTo>
                    <a:pt x="13722" y="4050"/>
                    <a:pt x="13722" y="4050"/>
                    <a:pt x="13468" y="3915"/>
                  </a:cubicBezTo>
                  <a:cubicBezTo>
                    <a:pt x="13468" y="3780"/>
                    <a:pt x="13214" y="3510"/>
                    <a:pt x="13214" y="3510"/>
                  </a:cubicBezTo>
                  <a:cubicBezTo>
                    <a:pt x="12960" y="3240"/>
                    <a:pt x="12960" y="3240"/>
                    <a:pt x="12960" y="3240"/>
                  </a:cubicBezTo>
                  <a:cubicBezTo>
                    <a:pt x="12960" y="3105"/>
                    <a:pt x="12452" y="2835"/>
                    <a:pt x="12452" y="2835"/>
                  </a:cubicBezTo>
                  <a:cubicBezTo>
                    <a:pt x="12452" y="2700"/>
                    <a:pt x="12198" y="2700"/>
                    <a:pt x="12198" y="2700"/>
                  </a:cubicBezTo>
                  <a:cubicBezTo>
                    <a:pt x="12198" y="2565"/>
                    <a:pt x="12198" y="2565"/>
                    <a:pt x="11944" y="2565"/>
                  </a:cubicBezTo>
                  <a:cubicBezTo>
                    <a:pt x="11689" y="2430"/>
                    <a:pt x="11181" y="2295"/>
                    <a:pt x="11181" y="2295"/>
                  </a:cubicBezTo>
                  <a:cubicBezTo>
                    <a:pt x="10673" y="2295"/>
                    <a:pt x="10673" y="2295"/>
                    <a:pt x="10673" y="2295"/>
                  </a:cubicBezTo>
                  <a:cubicBezTo>
                    <a:pt x="10165" y="2025"/>
                    <a:pt x="10165" y="2025"/>
                    <a:pt x="10165" y="2025"/>
                  </a:cubicBezTo>
                  <a:cubicBezTo>
                    <a:pt x="9911" y="2160"/>
                    <a:pt x="9911" y="2160"/>
                    <a:pt x="9911" y="2160"/>
                  </a:cubicBezTo>
                  <a:cubicBezTo>
                    <a:pt x="9148" y="1620"/>
                    <a:pt x="9148" y="1620"/>
                    <a:pt x="9148" y="1620"/>
                  </a:cubicBezTo>
                  <a:cubicBezTo>
                    <a:pt x="9148" y="1215"/>
                    <a:pt x="9148" y="1215"/>
                    <a:pt x="9148" y="1215"/>
                  </a:cubicBezTo>
                  <a:cubicBezTo>
                    <a:pt x="7369" y="540"/>
                    <a:pt x="7369" y="540"/>
                    <a:pt x="7369" y="540"/>
                  </a:cubicBezTo>
                  <a:cubicBezTo>
                    <a:pt x="7115" y="675"/>
                    <a:pt x="7115" y="675"/>
                    <a:pt x="7115" y="675"/>
                  </a:cubicBezTo>
                  <a:cubicBezTo>
                    <a:pt x="7115" y="675"/>
                    <a:pt x="6861" y="810"/>
                    <a:pt x="6861" y="810"/>
                  </a:cubicBezTo>
                  <a:cubicBezTo>
                    <a:pt x="6861" y="945"/>
                    <a:pt x="6099" y="945"/>
                    <a:pt x="6099" y="945"/>
                  </a:cubicBezTo>
                  <a:cubicBezTo>
                    <a:pt x="5845" y="1215"/>
                    <a:pt x="5845" y="1215"/>
                    <a:pt x="5845" y="1215"/>
                  </a:cubicBezTo>
                  <a:cubicBezTo>
                    <a:pt x="5082" y="1350"/>
                    <a:pt x="5082" y="1350"/>
                    <a:pt x="5082" y="1350"/>
                  </a:cubicBezTo>
                  <a:cubicBezTo>
                    <a:pt x="5082" y="1350"/>
                    <a:pt x="4828" y="1350"/>
                    <a:pt x="4828" y="1350"/>
                  </a:cubicBezTo>
                  <a:cubicBezTo>
                    <a:pt x="4828" y="1215"/>
                    <a:pt x="4574" y="1215"/>
                    <a:pt x="4574" y="1215"/>
                  </a:cubicBezTo>
                  <a:cubicBezTo>
                    <a:pt x="4574" y="1080"/>
                    <a:pt x="4574" y="1080"/>
                    <a:pt x="4574" y="1080"/>
                  </a:cubicBezTo>
                  <a:cubicBezTo>
                    <a:pt x="4320" y="945"/>
                    <a:pt x="4320" y="810"/>
                    <a:pt x="4320" y="810"/>
                  </a:cubicBezTo>
                  <a:cubicBezTo>
                    <a:pt x="4320" y="675"/>
                    <a:pt x="4320" y="675"/>
                    <a:pt x="4320" y="675"/>
                  </a:cubicBezTo>
                  <a:cubicBezTo>
                    <a:pt x="4320" y="540"/>
                    <a:pt x="4320" y="540"/>
                    <a:pt x="4320" y="405"/>
                  </a:cubicBezTo>
                  <a:cubicBezTo>
                    <a:pt x="4320" y="270"/>
                    <a:pt x="4320" y="270"/>
                    <a:pt x="4320" y="270"/>
                  </a:cubicBezTo>
                  <a:cubicBezTo>
                    <a:pt x="3812" y="135"/>
                    <a:pt x="3812" y="135"/>
                    <a:pt x="3812" y="135"/>
                  </a:cubicBezTo>
                  <a:cubicBezTo>
                    <a:pt x="3812" y="135"/>
                    <a:pt x="3558" y="0"/>
                    <a:pt x="3558" y="0"/>
                  </a:cubicBezTo>
                  <a:cubicBezTo>
                    <a:pt x="3558" y="135"/>
                    <a:pt x="3049" y="270"/>
                    <a:pt x="2795" y="540"/>
                  </a:cubicBezTo>
                  <a:cubicBezTo>
                    <a:pt x="2795" y="675"/>
                    <a:pt x="2795" y="675"/>
                    <a:pt x="2795" y="675"/>
                  </a:cubicBezTo>
                  <a:cubicBezTo>
                    <a:pt x="2287" y="1215"/>
                    <a:pt x="2287" y="1215"/>
                    <a:pt x="2287" y="1215"/>
                  </a:cubicBezTo>
                  <a:cubicBezTo>
                    <a:pt x="2033" y="1620"/>
                    <a:pt x="2033" y="1620"/>
                    <a:pt x="2033" y="1620"/>
                  </a:cubicBezTo>
                  <a:cubicBezTo>
                    <a:pt x="2033" y="1620"/>
                    <a:pt x="2033" y="1755"/>
                    <a:pt x="1779" y="1755"/>
                  </a:cubicBezTo>
                  <a:cubicBezTo>
                    <a:pt x="1779" y="1890"/>
                    <a:pt x="1525" y="2025"/>
                    <a:pt x="1525" y="2025"/>
                  </a:cubicBezTo>
                  <a:cubicBezTo>
                    <a:pt x="1271" y="2025"/>
                    <a:pt x="1271" y="2025"/>
                    <a:pt x="1271" y="2025"/>
                  </a:cubicBezTo>
                  <a:cubicBezTo>
                    <a:pt x="1016" y="2160"/>
                    <a:pt x="1016" y="2160"/>
                    <a:pt x="1016" y="2160"/>
                  </a:cubicBezTo>
                  <a:cubicBezTo>
                    <a:pt x="1271" y="2430"/>
                    <a:pt x="1271" y="2430"/>
                    <a:pt x="1271" y="2430"/>
                  </a:cubicBezTo>
                  <a:cubicBezTo>
                    <a:pt x="1016" y="2430"/>
                    <a:pt x="1016" y="2565"/>
                    <a:pt x="1016" y="2700"/>
                  </a:cubicBezTo>
                  <a:cubicBezTo>
                    <a:pt x="1016" y="2700"/>
                    <a:pt x="1016" y="2700"/>
                    <a:pt x="762" y="2835"/>
                  </a:cubicBezTo>
                  <a:cubicBezTo>
                    <a:pt x="762" y="3105"/>
                    <a:pt x="762" y="3105"/>
                    <a:pt x="762" y="3105"/>
                  </a:cubicBezTo>
                  <a:cubicBezTo>
                    <a:pt x="0" y="3510"/>
                    <a:pt x="0" y="3510"/>
                    <a:pt x="0" y="3510"/>
                  </a:cubicBezTo>
                  <a:cubicBezTo>
                    <a:pt x="0" y="3645"/>
                    <a:pt x="0" y="3645"/>
                    <a:pt x="0" y="3645"/>
                  </a:cubicBezTo>
                  <a:cubicBezTo>
                    <a:pt x="254" y="3780"/>
                    <a:pt x="254" y="3780"/>
                    <a:pt x="254" y="3780"/>
                  </a:cubicBezTo>
                  <a:cubicBezTo>
                    <a:pt x="1271" y="4050"/>
                    <a:pt x="1271" y="4050"/>
                    <a:pt x="1271" y="4050"/>
                  </a:cubicBezTo>
                  <a:cubicBezTo>
                    <a:pt x="1525" y="4050"/>
                    <a:pt x="1525" y="4185"/>
                    <a:pt x="1525" y="4320"/>
                  </a:cubicBezTo>
                  <a:cubicBezTo>
                    <a:pt x="1525" y="4320"/>
                    <a:pt x="1271" y="4455"/>
                    <a:pt x="1271" y="4455"/>
                  </a:cubicBezTo>
                  <a:cubicBezTo>
                    <a:pt x="1271" y="4725"/>
                    <a:pt x="1271" y="4725"/>
                    <a:pt x="1271" y="4725"/>
                  </a:cubicBezTo>
                  <a:cubicBezTo>
                    <a:pt x="1271" y="4725"/>
                    <a:pt x="1271" y="4860"/>
                    <a:pt x="1271" y="4860"/>
                  </a:cubicBezTo>
                  <a:cubicBezTo>
                    <a:pt x="1271" y="4860"/>
                    <a:pt x="1525" y="4995"/>
                    <a:pt x="1525" y="4995"/>
                  </a:cubicBezTo>
                  <a:cubicBezTo>
                    <a:pt x="1525" y="5130"/>
                    <a:pt x="1271" y="5265"/>
                    <a:pt x="1271" y="5265"/>
                  </a:cubicBezTo>
                  <a:cubicBezTo>
                    <a:pt x="1016" y="5400"/>
                    <a:pt x="1016" y="5400"/>
                    <a:pt x="1016" y="5400"/>
                  </a:cubicBezTo>
                  <a:cubicBezTo>
                    <a:pt x="1271" y="5535"/>
                    <a:pt x="1271" y="5535"/>
                    <a:pt x="1271" y="5535"/>
                  </a:cubicBezTo>
                  <a:cubicBezTo>
                    <a:pt x="1271" y="5535"/>
                    <a:pt x="1271" y="5805"/>
                    <a:pt x="1271" y="5805"/>
                  </a:cubicBezTo>
                  <a:cubicBezTo>
                    <a:pt x="1271" y="5805"/>
                    <a:pt x="1525" y="5940"/>
                    <a:pt x="1779" y="5940"/>
                  </a:cubicBezTo>
                  <a:cubicBezTo>
                    <a:pt x="1779" y="5940"/>
                    <a:pt x="1779" y="5940"/>
                    <a:pt x="2033" y="5940"/>
                  </a:cubicBezTo>
                  <a:cubicBezTo>
                    <a:pt x="2287" y="5940"/>
                    <a:pt x="2287" y="5940"/>
                    <a:pt x="2287" y="5940"/>
                  </a:cubicBezTo>
                  <a:cubicBezTo>
                    <a:pt x="2541" y="5940"/>
                    <a:pt x="2541" y="5940"/>
                    <a:pt x="2541" y="5940"/>
                  </a:cubicBezTo>
                  <a:cubicBezTo>
                    <a:pt x="3558" y="6075"/>
                    <a:pt x="3558" y="6075"/>
                    <a:pt x="3558" y="6075"/>
                  </a:cubicBezTo>
                  <a:cubicBezTo>
                    <a:pt x="3812" y="6210"/>
                    <a:pt x="3812" y="6210"/>
                    <a:pt x="3812" y="6210"/>
                  </a:cubicBezTo>
                  <a:cubicBezTo>
                    <a:pt x="3812" y="6615"/>
                    <a:pt x="3812" y="6615"/>
                    <a:pt x="3812" y="6615"/>
                  </a:cubicBezTo>
                  <a:cubicBezTo>
                    <a:pt x="4066" y="7020"/>
                    <a:pt x="4066" y="7020"/>
                    <a:pt x="4066" y="7020"/>
                  </a:cubicBezTo>
                  <a:cubicBezTo>
                    <a:pt x="3812" y="7290"/>
                    <a:pt x="3812" y="7290"/>
                    <a:pt x="3812" y="7290"/>
                  </a:cubicBezTo>
                  <a:cubicBezTo>
                    <a:pt x="4066" y="7290"/>
                    <a:pt x="4066" y="7290"/>
                    <a:pt x="4066" y="7290"/>
                  </a:cubicBezTo>
                  <a:cubicBezTo>
                    <a:pt x="4066" y="7290"/>
                    <a:pt x="4066" y="7425"/>
                    <a:pt x="4066" y="7425"/>
                  </a:cubicBezTo>
                  <a:cubicBezTo>
                    <a:pt x="4066" y="7560"/>
                    <a:pt x="4066" y="7830"/>
                    <a:pt x="4066" y="7830"/>
                  </a:cubicBezTo>
                  <a:cubicBezTo>
                    <a:pt x="3812" y="7830"/>
                    <a:pt x="3558" y="7965"/>
                    <a:pt x="3304" y="7965"/>
                  </a:cubicBezTo>
                  <a:cubicBezTo>
                    <a:pt x="3049" y="7965"/>
                    <a:pt x="2795" y="7965"/>
                    <a:pt x="2795" y="7965"/>
                  </a:cubicBezTo>
                  <a:cubicBezTo>
                    <a:pt x="2795" y="8100"/>
                    <a:pt x="2795" y="8100"/>
                    <a:pt x="2795" y="8100"/>
                  </a:cubicBezTo>
                  <a:cubicBezTo>
                    <a:pt x="3304" y="8235"/>
                    <a:pt x="3304" y="8235"/>
                    <a:pt x="3304" y="8235"/>
                  </a:cubicBezTo>
                  <a:cubicBezTo>
                    <a:pt x="3558" y="8235"/>
                    <a:pt x="3558" y="8235"/>
                    <a:pt x="3558" y="8235"/>
                  </a:cubicBezTo>
                  <a:cubicBezTo>
                    <a:pt x="3812" y="8370"/>
                    <a:pt x="3812" y="8640"/>
                    <a:pt x="3812" y="8640"/>
                  </a:cubicBezTo>
                  <a:cubicBezTo>
                    <a:pt x="3558" y="8640"/>
                    <a:pt x="3558" y="8775"/>
                    <a:pt x="3558" y="8775"/>
                  </a:cubicBezTo>
                  <a:cubicBezTo>
                    <a:pt x="3304" y="8775"/>
                    <a:pt x="3049" y="8910"/>
                    <a:pt x="3049" y="8910"/>
                  </a:cubicBezTo>
                  <a:cubicBezTo>
                    <a:pt x="2541" y="9180"/>
                    <a:pt x="2541" y="9180"/>
                    <a:pt x="2541" y="9180"/>
                  </a:cubicBezTo>
                  <a:cubicBezTo>
                    <a:pt x="2287" y="9315"/>
                    <a:pt x="2287" y="9315"/>
                    <a:pt x="2287" y="9315"/>
                  </a:cubicBezTo>
                  <a:cubicBezTo>
                    <a:pt x="2541" y="9585"/>
                    <a:pt x="2541" y="9585"/>
                    <a:pt x="2541" y="9585"/>
                  </a:cubicBezTo>
                  <a:cubicBezTo>
                    <a:pt x="2795" y="9585"/>
                    <a:pt x="2795" y="9585"/>
                    <a:pt x="2795" y="9585"/>
                  </a:cubicBezTo>
                  <a:cubicBezTo>
                    <a:pt x="3049" y="9585"/>
                    <a:pt x="3049" y="9585"/>
                    <a:pt x="3049" y="9720"/>
                  </a:cubicBezTo>
                  <a:cubicBezTo>
                    <a:pt x="3049" y="9720"/>
                    <a:pt x="3049" y="9720"/>
                    <a:pt x="3812" y="9855"/>
                  </a:cubicBezTo>
                  <a:cubicBezTo>
                    <a:pt x="3812" y="10125"/>
                    <a:pt x="3812" y="10125"/>
                    <a:pt x="3812" y="10125"/>
                  </a:cubicBezTo>
                  <a:cubicBezTo>
                    <a:pt x="3812" y="10125"/>
                    <a:pt x="3812" y="10260"/>
                    <a:pt x="3812" y="10395"/>
                  </a:cubicBezTo>
                  <a:cubicBezTo>
                    <a:pt x="3812" y="10530"/>
                    <a:pt x="3558" y="10935"/>
                    <a:pt x="3558" y="10935"/>
                  </a:cubicBezTo>
                  <a:cubicBezTo>
                    <a:pt x="3304" y="11205"/>
                    <a:pt x="3304" y="11205"/>
                    <a:pt x="3304" y="11205"/>
                  </a:cubicBezTo>
                  <a:cubicBezTo>
                    <a:pt x="3304" y="11205"/>
                    <a:pt x="3558" y="11340"/>
                    <a:pt x="3558" y="11610"/>
                  </a:cubicBezTo>
                  <a:cubicBezTo>
                    <a:pt x="3304" y="12015"/>
                    <a:pt x="3304" y="12015"/>
                    <a:pt x="3304" y="12015"/>
                  </a:cubicBezTo>
                  <a:cubicBezTo>
                    <a:pt x="4320" y="12150"/>
                    <a:pt x="4320" y="12150"/>
                    <a:pt x="4320" y="12150"/>
                  </a:cubicBezTo>
                  <a:cubicBezTo>
                    <a:pt x="4320" y="12420"/>
                    <a:pt x="4320" y="12420"/>
                    <a:pt x="4320" y="12420"/>
                  </a:cubicBezTo>
                  <a:cubicBezTo>
                    <a:pt x="3558" y="12555"/>
                    <a:pt x="3558" y="12555"/>
                    <a:pt x="3558" y="12555"/>
                  </a:cubicBezTo>
                  <a:cubicBezTo>
                    <a:pt x="3558" y="12555"/>
                    <a:pt x="3304" y="12555"/>
                    <a:pt x="3304" y="12690"/>
                  </a:cubicBezTo>
                  <a:cubicBezTo>
                    <a:pt x="3304" y="12690"/>
                    <a:pt x="3304" y="12825"/>
                    <a:pt x="3304" y="12825"/>
                  </a:cubicBezTo>
                  <a:cubicBezTo>
                    <a:pt x="3812" y="12825"/>
                    <a:pt x="3812" y="12825"/>
                    <a:pt x="3812" y="12825"/>
                  </a:cubicBezTo>
                  <a:cubicBezTo>
                    <a:pt x="3304" y="13095"/>
                    <a:pt x="3304" y="13095"/>
                    <a:pt x="3304" y="13095"/>
                  </a:cubicBezTo>
                  <a:cubicBezTo>
                    <a:pt x="3304" y="13095"/>
                    <a:pt x="3304" y="13365"/>
                    <a:pt x="3304" y="13365"/>
                  </a:cubicBezTo>
                  <a:cubicBezTo>
                    <a:pt x="3304" y="13365"/>
                    <a:pt x="3304" y="13500"/>
                    <a:pt x="3304" y="13635"/>
                  </a:cubicBezTo>
                  <a:cubicBezTo>
                    <a:pt x="3049" y="13635"/>
                    <a:pt x="3049" y="13635"/>
                    <a:pt x="3049" y="13635"/>
                  </a:cubicBezTo>
                  <a:cubicBezTo>
                    <a:pt x="3049" y="13905"/>
                    <a:pt x="3049" y="13905"/>
                    <a:pt x="3049" y="13905"/>
                  </a:cubicBezTo>
                  <a:cubicBezTo>
                    <a:pt x="2795" y="14580"/>
                    <a:pt x="2795" y="14580"/>
                    <a:pt x="2795" y="14580"/>
                  </a:cubicBezTo>
                  <a:cubicBezTo>
                    <a:pt x="3558" y="15390"/>
                    <a:pt x="3558" y="15390"/>
                    <a:pt x="3558" y="15390"/>
                  </a:cubicBezTo>
                  <a:cubicBezTo>
                    <a:pt x="4320" y="15795"/>
                    <a:pt x="4320" y="15795"/>
                    <a:pt x="4320" y="15795"/>
                  </a:cubicBezTo>
                  <a:cubicBezTo>
                    <a:pt x="4828" y="16065"/>
                    <a:pt x="4828" y="16065"/>
                    <a:pt x="4828" y="16065"/>
                  </a:cubicBezTo>
                  <a:cubicBezTo>
                    <a:pt x="4574" y="16470"/>
                    <a:pt x="4574" y="16470"/>
                    <a:pt x="4574" y="16470"/>
                  </a:cubicBezTo>
                  <a:cubicBezTo>
                    <a:pt x="4828" y="16605"/>
                    <a:pt x="4828" y="16605"/>
                    <a:pt x="4828" y="16605"/>
                  </a:cubicBezTo>
                  <a:cubicBezTo>
                    <a:pt x="4828" y="16875"/>
                    <a:pt x="4828" y="16875"/>
                    <a:pt x="4828" y="16875"/>
                  </a:cubicBezTo>
                  <a:cubicBezTo>
                    <a:pt x="4828" y="16875"/>
                    <a:pt x="4828" y="17010"/>
                    <a:pt x="4574" y="17010"/>
                  </a:cubicBezTo>
                  <a:cubicBezTo>
                    <a:pt x="4574" y="17010"/>
                    <a:pt x="4320" y="17010"/>
                    <a:pt x="4320" y="17010"/>
                  </a:cubicBezTo>
                  <a:cubicBezTo>
                    <a:pt x="4066" y="16875"/>
                    <a:pt x="3812" y="16605"/>
                    <a:pt x="3812" y="16605"/>
                  </a:cubicBezTo>
                  <a:cubicBezTo>
                    <a:pt x="3812" y="16605"/>
                    <a:pt x="3558" y="16470"/>
                    <a:pt x="3558" y="16335"/>
                  </a:cubicBezTo>
                  <a:cubicBezTo>
                    <a:pt x="3558" y="16335"/>
                    <a:pt x="3304" y="16200"/>
                    <a:pt x="3304" y="16200"/>
                  </a:cubicBezTo>
                  <a:cubicBezTo>
                    <a:pt x="2795" y="16200"/>
                    <a:pt x="2795" y="16200"/>
                    <a:pt x="2795" y="16200"/>
                  </a:cubicBezTo>
                  <a:cubicBezTo>
                    <a:pt x="2795" y="16335"/>
                    <a:pt x="2795" y="16335"/>
                    <a:pt x="2795" y="16335"/>
                  </a:cubicBezTo>
                  <a:cubicBezTo>
                    <a:pt x="2795" y="16335"/>
                    <a:pt x="3049" y="16470"/>
                    <a:pt x="3049" y="16605"/>
                  </a:cubicBezTo>
                  <a:cubicBezTo>
                    <a:pt x="3304" y="16605"/>
                    <a:pt x="3558" y="16740"/>
                    <a:pt x="3558" y="16740"/>
                  </a:cubicBezTo>
                  <a:cubicBezTo>
                    <a:pt x="3558" y="16740"/>
                    <a:pt x="3812" y="16875"/>
                    <a:pt x="3812" y="16875"/>
                  </a:cubicBezTo>
                  <a:cubicBezTo>
                    <a:pt x="3812" y="16875"/>
                    <a:pt x="4066" y="17280"/>
                    <a:pt x="4066" y="17280"/>
                  </a:cubicBezTo>
                  <a:cubicBezTo>
                    <a:pt x="6861" y="18225"/>
                    <a:pt x="6861" y="18225"/>
                    <a:pt x="6861" y="18225"/>
                  </a:cubicBezTo>
                  <a:cubicBezTo>
                    <a:pt x="7878" y="18360"/>
                    <a:pt x="7878" y="18360"/>
                    <a:pt x="7878" y="18360"/>
                  </a:cubicBezTo>
                  <a:cubicBezTo>
                    <a:pt x="8132" y="18630"/>
                    <a:pt x="8132" y="18630"/>
                    <a:pt x="8132" y="18630"/>
                  </a:cubicBezTo>
                  <a:cubicBezTo>
                    <a:pt x="8386" y="18630"/>
                    <a:pt x="8386" y="18630"/>
                    <a:pt x="8386" y="18630"/>
                  </a:cubicBezTo>
                  <a:cubicBezTo>
                    <a:pt x="8386" y="18630"/>
                    <a:pt x="8640" y="18630"/>
                    <a:pt x="8894" y="18630"/>
                  </a:cubicBezTo>
                  <a:cubicBezTo>
                    <a:pt x="8894" y="18630"/>
                    <a:pt x="8894" y="18630"/>
                    <a:pt x="8894" y="18630"/>
                  </a:cubicBezTo>
                  <a:cubicBezTo>
                    <a:pt x="8894" y="18630"/>
                    <a:pt x="9402" y="18765"/>
                    <a:pt x="9402" y="18765"/>
                  </a:cubicBezTo>
                  <a:cubicBezTo>
                    <a:pt x="9402" y="18765"/>
                    <a:pt x="9656" y="18765"/>
                    <a:pt x="9656" y="18765"/>
                  </a:cubicBezTo>
                  <a:cubicBezTo>
                    <a:pt x="9656" y="18900"/>
                    <a:pt x="10165" y="19305"/>
                    <a:pt x="10419" y="19575"/>
                  </a:cubicBezTo>
                  <a:cubicBezTo>
                    <a:pt x="10419" y="19575"/>
                    <a:pt x="10673" y="19710"/>
                    <a:pt x="10673" y="19845"/>
                  </a:cubicBezTo>
                  <a:cubicBezTo>
                    <a:pt x="10927" y="19845"/>
                    <a:pt x="11435" y="19980"/>
                    <a:pt x="11435" y="19980"/>
                  </a:cubicBezTo>
                  <a:cubicBezTo>
                    <a:pt x="11435" y="20115"/>
                    <a:pt x="11435" y="20250"/>
                    <a:pt x="11435" y="20385"/>
                  </a:cubicBezTo>
                  <a:cubicBezTo>
                    <a:pt x="11435" y="20385"/>
                    <a:pt x="11435" y="20385"/>
                    <a:pt x="11435" y="20520"/>
                  </a:cubicBezTo>
                  <a:cubicBezTo>
                    <a:pt x="11435" y="20655"/>
                    <a:pt x="11689" y="20655"/>
                    <a:pt x="11689" y="20655"/>
                  </a:cubicBezTo>
                  <a:cubicBezTo>
                    <a:pt x="11689" y="20790"/>
                    <a:pt x="11944" y="20925"/>
                    <a:pt x="11944" y="20925"/>
                  </a:cubicBezTo>
                  <a:cubicBezTo>
                    <a:pt x="11944" y="21330"/>
                    <a:pt x="11944" y="21330"/>
                    <a:pt x="11944" y="21330"/>
                  </a:cubicBezTo>
                  <a:cubicBezTo>
                    <a:pt x="12198" y="21330"/>
                    <a:pt x="12198" y="21330"/>
                    <a:pt x="12198" y="21330"/>
                  </a:cubicBezTo>
                  <a:lnTo>
                    <a:pt x="12452" y="2133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4" name="Shape 2227">
              <a:extLst>
                <a:ext uri="{FF2B5EF4-FFF2-40B4-BE49-F238E27FC236}">
                  <a16:creationId xmlns:a16="http://schemas.microsoft.com/office/drawing/2014/main" id="{81AFA1A5-4C7B-1A1D-5A1F-7B69FBAEDC43}"/>
                </a:ext>
              </a:extLst>
            </p:cNvPr>
            <p:cNvSpPr/>
            <p:nvPr/>
          </p:nvSpPr>
          <p:spPr>
            <a:xfrm>
              <a:off x="5120081" y="6543422"/>
              <a:ext cx="320130" cy="354637"/>
            </a:xfrm>
            <a:custGeom>
              <a:avLst/>
              <a:gdLst/>
              <a:ahLst/>
              <a:cxnLst>
                <a:cxn ang="0">
                  <a:pos x="wd2" y="hd2"/>
                </a:cxn>
                <a:cxn ang="5400000">
                  <a:pos x="wd2" y="hd2"/>
                </a:cxn>
                <a:cxn ang="10800000">
                  <a:pos x="wd2" y="hd2"/>
                </a:cxn>
                <a:cxn ang="16200000">
                  <a:pos x="wd2" y="hd2"/>
                </a:cxn>
              </a:cxnLst>
              <a:rect l="0" t="0" r="r" b="b"/>
              <a:pathLst>
                <a:path w="21600" h="21600" extrusionOk="0">
                  <a:moveTo>
                    <a:pt x="11631" y="21115"/>
                  </a:moveTo>
                  <a:cubicBezTo>
                    <a:pt x="11631" y="21115"/>
                    <a:pt x="13015" y="21600"/>
                    <a:pt x="12738" y="21600"/>
                  </a:cubicBezTo>
                  <a:cubicBezTo>
                    <a:pt x="12738" y="21600"/>
                    <a:pt x="12738" y="21600"/>
                    <a:pt x="12738" y="21357"/>
                  </a:cubicBezTo>
                  <a:cubicBezTo>
                    <a:pt x="12738" y="21357"/>
                    <a:pt x="12462" y="21600"/>
                    <a:pt x="12462" y="21600"/>
                  </a:cubicBezTo>
                  <a:cubicBezTo>
                    <a:pt x="12462" y="21600"/>
                    <a:pt x="11908" y="21115"/>
                    <a:pt x="12185" y="21115"/>
                  </a:cubicBezTo>
                  <a:cubicBezTo>
                    <a:pt x="12185" y="21115"/>
                    <a:pt x="12185" y="20872"/>
                    <a:pt x="12185" y="20872"/>
                  </a:cubicBezTo>
                  <a:cubicBezTo>
                    <a:pt x="12185" y="20629"/>
                    <a:pt x="11908" y="20387"/>
                    <a:pt x="11908" y="20387"/>
                  </a:cubicBezTo>
                  <a:cubicBezTo>
                    <a:pt x="12185" y="20144"/>
                    <a:pt x="12185" y="20144"/>
                    <a:pt x="12185" y="20144"/>
                  </a:cubicBezTo>
                  <a:cubicBezTo>
                    <a:pt x="12185" y="20144"/>
                    <a:pt x="12185" y="19658"/>
                    <a:pt x="12185" y="19658"/>
                  </a:cubicBezTo>
                  <a:cubicBezTo>
                    <a:pt x="12185" y="19658"/>
                    <a:pt x="12185" y="19416"/>
                    <a:pt x="12185" y="19416"/>
                  </a:cubicBezTo>
                  <a:cubicBezTo>
                    <a:pt x="12185" y="19416"/>
                    <a:pt x="11908" y="19173"/>
                    <a:pt x="11908" y="19173"/>
                  </a:cubicBezTo>
                  <a:cubicBezTo>
                    <a:pt x="12185" y="18688"/>
                    <a:pt x="12185" y="18688"/>
                    <a:pt x="12185" y="18688"/>
                  </a:cubicBezTo>
                  <a:cubicBezTo>
                    <a:pt x="12185" y="18688"/>
                    <a:pt x="12185" y="18445"/>
                    <a:pt x="12185" y="18445"/>
                  </a:cubicBezTo>
                  <a:cubicBezTo>
                    <a:pt x="12185" y="18202"/>
                    <a:pt x="12185" y="17960"/>
                    <a:pt x="12185" y="17960"/>
                  </a:cubicBezTo>
                  <a:cubicBezTo>
                    <a:pt x="11631" y="17717"/>
                    <a:pt x="11631" y="17717"/>
                    <a:pt x="11631" y="17717"/>
                  </a:cubicBezTo>
                  <a:cubicBezTo>
                    <a:pt x="11077" y="17474"/>
                    <a:pt x="11077" y="17474"/>
                    <a:pt x="11077" y="17474"/>
                  </a:cubicBezTo>
                  <a:cubicBezTo>
                    <a:pt x="10800" y="17231"/>
                    <a:pt x="10800" y="17231"/>
                    <a:pt x="10800" y="17231"/>
                  </a:cubicBezTo>
                  <a:cubicBezTo>
                    <a:pt x="10800" y="16746"/>
                    <a:pt x="10800" y="16746"/>
                    <a:pt x="10800" y="16746"/>
                  </a:cubicBezTo>
                  <a:cubicBezTo>
                    <a:pt x="11354" y="16261"/>
                    <a:pt x="11354" y="16261"/>
                    <a:pt x="11354" y="16261"/>
                  </a:cubicBezTo>
                  <a:cubicBezTo>
                    <a:pt x="11631" y="15775"/>
                    <a:pt x="11631" y="15775"/>
                    <a:pt x="11631" y="15775"/>
                  </a:cubicBezTo>
                  <a:cubicBezTo>
                    <a:pt x="11631" y="15775"/>
                    <a:pt x="11908" y="15533"/>
                    <a:pt x="11908" y="15533"/>
                  </a:cubicBezTo>
                  <a:cubicBezTo>
                    <a:pt x="11908" y="15290"/>
                    <a:pt x="11908" y="15047"/>
                    <a:pt x="11908" y="15047"/>
                  </a:cubicBezTo>
                  <a:cubicBezTo>
                    <a:pt x="11908" y="14562"/>
                    <a:pt x="11908" y="14562"/>
                    <a:pt x="11908" y="14562"/>
                  </a:cubicBezTo>
                  <a:cubicBezTo>
                    <a:pt x="12185" y="14319"/>
                    <a:pt x="12185" y="14319"/>
                    <a:pt x="12185" y="14319"/>
                  </a:cubicBezTo>
                  <a:cubicBezTo>
                    <a:pt x="12462" y="14076"/>
                    <a:pt x="12462" y="14076"/>
                    <a:pt x="12462" y="14076"/>
                  </a:cubicBezTo>
                  <a:cubicBezTo>
                    <a:pt x="12462" y="14076"/>
                    <a:pt x="12738" y="13834"/>
                    <a:pt x="12738" y="13834"/>
                  </a:cubicBezTo>
                  <a:cubicBezTo>
                    <a:pt x="12738" y="13591"/>
                    <a:pt x="13015" y="13348"/>
                    <a:pt x="13015" y="13348"/>
                  </a:cubicBezTo>
                  <a:cubicBezTo>
                    <a:pt x="13292" y="12863"/>
                    <a:pt x="13292" y="12863"/>
                    <a:pt x="13292" y="12863"/>
                  </a:cubicBezTo>
                  <a:cubicBezTo>
                    <a:pt x="13569" y="12378"/>
                    <a:pt x="13569" y="12378"/>
                    <a:pt x="13569" y="12378"/>
                  </a:cubicBezTo>
                  <a:cubicBezTo>
                    <a:pt x="13846" y="11892"/>
                    <a:pt x="13846" y="11892"/>
                    <a:pt x="13846" y="11892"/>
                  </a:cubicBezTo>
                  <a:cubicBezTo>
                    <a:pt x="13569" y="11649"/>
                    <a:pt x="13569" y="11649"/>
                    <a:pt x="13569" y="11649"/>
                  </a:cubicBezTo>
                  <a:cubicBezTo>
                    <a:pt x="13569" y="11649"/>
                    <a:pt x="14677" y="10679"/>
                    <a:pt x="14677" y="10679"/>
                  </a:cubicBezTo>
                  <a:cubicBezTo>
                    <a:pt x="14677" y="10679"/>
                    <a:pt x="15231" y="10679"/>
                    <a:pt x="15231" y="10679"/>
                  </a:cubicBezTo>
                  <a:cubicBezTo>
                    <a:pt x="15231" y="10921"/>
                    <a:pt x="15231" y="10921"/>
                    <a:pt x="15231" y="10921"/>
                  </a:cubicBezTo>
                  <a:cubicBezTo>
                    <a:pt x="15508" y="11164"/>
                    <a:pt x="15508" y="11164"/>
                    <a:pt x="15508" y="11164"/>
                  </a:cubicBezTo>
                  <a:cubicBezTo>
                    <a:pt x="15508" y="11407"/>
                    <a:pt x="15508" y="11407"/>
                    <a:pt x="15508" y="11407"/>
                  </a:cubicBezTo>
                  <a:cubicBezTo>
                    <a:pt x="15508" y="11407"/>
                    <a:pt x="15508" y="11649"/>
                    <a:pt x="15508" y="11892"/>
                  </a:cubicBezTo>
                  <a:cubicBezTo>
                    <a:pt x="15508" y="11892"/>
                    <a:pt x="15508" y="12135"/>
                    <a:pt x="15508" y="12135"/>
                  </a:cubicBezTo>
                  <a:cubicBezTo>
                    <a:pt x="15508" y="12135"/>
                    <a:pt x="15785" y="12378"/>
                    <a:pt x="15785" y="12378"/>
                  </a:cubicBezTo>
                  <a:cubicBezTo>
                    <a:pt x="15785" y="12620"/>
                    <a:pt x="16062" y="12863"/>
                    <a:pt x="16062" y="12863"/>
                  </a:cubicBezTo>
                  <a:cubicBezTo>
                    <a:pt x="16062" y="12863"/>
                    <a:pt x="16062" y="12863"/>
                    <a:pt x="16338" y="12863"/>
                  </a:cubicBezTo>
                  <a:cubicBezTo>
                    <a:pt x="16338" y="13106"/>
                    <a:pt x="16338" y="13106"/>
                    <a:pt x="16338" y="13106"/>
                  </a:cubicBezTo>
                  <a:cubicBezTo>
                    <a:pt x="16892" y="12863"/>
                    <a:pt x="16892" y="12863"/>
                    <a:pt x="16892" y="12863"/>
                  </a:cubicBezTo>
                  <a:cubicBezTo>
                    <a:pt x="17446" y="12378"/>
                    <a:pt x="17446" y="12378"/>
                    <a:pt x="17446" y="12378"/>
                  </a:cubicBezTo>
                  <a:cubicBezTo>
                    <a:pt x="17446" y="12378"/>
                    <a:pt x="18277" y="12135"/>
                    <a:pt x="18277" y="12135"/>
                  </a:cubicBezTo>
                  <a:cubicBezTo>
                    <a:pt x="18277" y="12135"/>
                    <a:pt x="18554" y="11649"/>
                    <a:pt x="18554" y="11649"/>
                  </a:cubicBezTo>
                  <a:cubicBezTo>
                    <a:pt x="18831" y="11649"/>
                    <a:pt x="18831" y="11649"/>
                    <a:pt x="18831" y="11649"/>
                  </a:cubicBezTo>
                  <a:cubicBezTo>
                    <a:pt x="18831" y="11649"/>
                    <a:pt x="18831" y="11649"/>
                    <a:pt x="18831" y="11649"/>
                  </a:cubicBezTo>
                  <a:cubicBezTo>
                    <a:pt x="18554" y="11164"/>
                    <a:pt x="19108" y="10679"/>
                    <a:pt x="18831" y="10193"/>
                  </a:cubicBezTo>
                  <a:cubicBezTo>
                    <a:pt x="18831" y="10193"/>
                    <a:pt x="18554" y="9951"/>
                    <a:pt x="18554" y="9951"/>
                  </a:cubicBezTo>
                  <a:cubicBezTo>
                    <a:pt x="18554" y="9951"/>
                    <a:pt x="18554" y="9951"/>
                    <a:pt x="18554" y="9951"/>
                  </a:cubicBezTo>
                  <a:cubicBezTo>
                    <a:pt x="18554" y="9951"/>
                    <a:pt x="18554" y="9951"/>
                    <a:pt x="18554" y="9951"/>
                  </a:cubicBezTo>
                  <a:cubicBezTo>
                    <a:pt x="18000" y="9465"/>
                    <a:pt x="17169" y="9222"/>
                    <a:pt x="17446" y="9222"/>
                  </a:cubicBezTo>
                  <a:cubicBezTo>
                    <a:pt x="17723" y="8737"/>
                    <a:pt x="18831" y="8980"/>
                    <a:pt x="19385" y="8737"/>
                  </a:cubicBezTo>
                  <a:cubicBezTo>
                    <a:pt x="19662" y="8737"/>
                    <a:pt x="19662" y="8252"/>
                    <a:pt x="19938" y="8009"/>
                  </a:cubicBezTo>
                  <a:cubicBezTo>
                    <a:pt x="20215" y="8009"/>
                    <a:pt x="20769" y="8252"/>
                    <a:pt x="20769" y="7766"/>
                  </a:cubicBezTo>
                  <a:cubicBezTo>
                    <a:pt x="20769" y="7281"/>
                    <a:pt x="21323" y="7281"/>
                    <a:pt x="21600" y="7524"/>
                  </a:cubicBezTo>
                  <a:cubicBezTo>
                    <a:pt x="21600" y="7524"/>
                    <a:pt x="21600" y="7524"/>
                    <a:pt x="21600" y="7524"/>
                  </a:cubicBezTo>
                  <a:cubicBezTo>
                    <a:pt x="21323" y="7038"/>
                    <a:pt x="20492" y="6553"/>
                    <a:pt x="20215" y="6310"/>
                  </a:cubicBezTo>
                  <a:cubicBezTo>
                    <a:pt x="20215" y="6310"/>
                    <a:pt x="20215" y="6067"/>
                    <a:pt x="19662" y="6067"/>
                  </a:cubicBezTo>
                  <a:cubicBezTo>
                    <a:pt x="19385" y="6067"/>
                    <a:pt x="18831" y="5582"/>
                    <a:pt x="18831" y="5582"/>
                  </a:cubicBezTo>
                  <a:cubicBezTo>
                    <a:pt x="18000" y="5582"/>
                    <a:pt x="18000" y="5582"/>
                    <a:pt x="18000" y="5582"/>
                  </a:cubicBezTo>
                  <a:cubicBezTo>
                    <a:pt x="18000" y="5582"/>
                    <a:pt x="17169" y="4854"/>
                    <a:pt x="17169" y="4854"/>
                  </a:cubicBezTo>
                  <a:cubicBezTo>
                    <a:pt x="16892" y="4854"/>
                    <a:pt x="16062" y="4611"/>
                    <a:pt x="16062" y="4611"/>
                  </a:cubicBezTo>
                  <a:cubicBezTo>
                    <a:pt x="16062" y="4126"/>
                    <a:pt x="16062" y="4126"/>
                    <a:pt x="16062" y="4126"/>
                  </a:cubicBezTo>
                  <a:cubicBezTo>
                    <a:pt x="16062" y="4126"/>
                    <a:pt x="15785" y="4126"/>
                    <a:pt x="15785" y="4126"/>
                  </a:cubicBezTo>
                  <a:cubicBezTo>
                    <a:pt x="15508" y="4126"/>
                    <a:pt x="15231" y="4369"/>
                    <a:pt x="15231" y="4369"/>
                  </a:cubicBezTo>
                  <a:cubicBezTo>
                    <a:pt x="14400" y="4611"/>
                    <a:pt x="14400" y="4611"/>
                    <a:pt x="14400" y="4611"/>
                  </a:cubicBezTo>
                  <a:cubicBezTo>
                    <a:pt x="14400" y="4611"/>
                    <a:pt x="13846" y="4611"/>
                    <a:pt x="13846" y="4611"/>
                  </a:cubicBezTo>
                  <a:cubicBezTo>
                    <a:pt x="13569" y="4369"/>
                    <a:pt x="13292" y="3883"/>
                    <a:pt x="13292" y="3883"/>
                  </a:cubicBezTo>
                  <a:cubicBezTo>
                    <a:pt x="13292" y="3883"/>
                    <a:pt x="13292" y="3883"/>
                    <a:pt x="13015" y="3883"/>
                  </a:cubicBezTo>
                  <a:cubicBezTo>
                    <a:pt x="12738" y="4126"/>
                    <a:pt x="13292" y="4369"/>
                    <a:pt x="12738" y="4126"/>
                  </a:cubicBezTo>
                  <a:cubicBezTo>
                    <a:pt x="11908" y="3883"/>
                    <a:pt x="11908" y="3883"/>
                    <a:pt x="11908" y="3883"/>
                  </a:cubicBezTo>
                  <a:cubicBezTo>
                    <a:pt x="11354" y="3398"/>
                    <a:pt x="11354" y="3398"/>
                    <a:pt x="11354" y="3398"/>
                  </a:cubicBezTo>
                  <a:cubicBezTo>
                    <a:pt x="11077" y="3398"/>
                    <a:pt x="11077" y="3398"/>
                    <a:pt x="11077" y="3398"/>
                  </a:cubicBezTo>
                  <a:cubicBezTo>
                    <a:pt x="10800" y="3398"/>
                    <a:pt x="10800" y="3398"/>
                    <a:pt x="10800" y="3398"/>
                  </a:cubicBezTo>
                  <a:cubicBezTo>
                    <a:pt x="10800" y="3398"/>
                    <a:pt x="10523" y="2912"/>
                    <a:pt x="10523" y="2912"/>
                  </a:cubicBezTo>
                  <a:cubicBezTo>
                    <a:pt x="10523" y="2912"/>
                    <a:pt x="10523" y="2427"/>
                    <a:pt x="10523" y="2427"/>
                  </a:cubicBezTo>
                  <a:cubicBezTo>
                    <a:pt x="10246" y="2427"/>
                    <a:pt x="9415" y="2184"/>
                    <a:pt x="9415" y="2184"/>
                  </a:cubicBezTo>
                  <a:cubicBezTo>
                    <a:pt x="9138" y="1699"/>
                    <a:pt x="9138" y="1699"/>
                    <a:pt x="9138" y="1699"/>
                  </a:cubicBezTo>
                  <a:cubicBezTo>
                    <a:pt x="9138" y="1699"/>
                    <a:pt x="9138" y="1699"/>
                    <a:pt x="9138" y="1699"/>
                  </a:cubicBezTo>
                  <a:cubicBezTo>
                    <a:pt x="8862" y="1699"/>
                    <a:pt x="8308" y="1456"/>
                    <a:pt x="8308" y="1456"/>
                  </a:cubicBezTo>
                  <a:cubicBezTo>
                    <a:pt x="8031" y="1213"/>
                    <a:pt x="8031" y="1213"/>
                    <a:pt x="8031" y="1213"/>
                  </a:cubicBezTo>
                  <a:cubicBezTo>
                    <a:pt x="7200" y="1213"/>
                    <a:pt x="7200" y="1213"/>
                    <a:pt x="7200" y="1213"/>
                  </a:cubicBezTo>
                  <a:cubicBezTo>
                    <a:pt x="6923" y="728"/>
                    <a:pt x="6923" y="728"/>
                    <a:pt x="6923" y="728"/>
                  </a:cubicBezTo>
                  <a:cubicBezTo>
                    <a:pt x="6923" y="728"/>
                    <a:pt x="6646" y="485"/>
                    <a:pt x="6646" y="485"/>
                  </a:cubicBezTo>
                  <a:cubicBezTo>
                    <a:pt x="6923" y="485"/>
                    <a:pt x="6923" y="0"/>
                    <a:pt x="6923" y="0"/>
                  </a:cubicBezTo>
                  <a:cubicBezTo>
                    <a:pt x="6369" y="0"/>
                    <a:pt x="6369" y="0"/>
                    <a:pt x="6369" y="0"/>
                  </a:cubicBezTo>
                  <a:cubicBezTo>
                    <a:pt x="6369" y="0"/>
                    <a:pt x="5815" y="243"/>
                    <a:pt x="5815" y="243"/>
                  </a:cubicBezTo>
                  <a:cubicBezTo>
                    <a:pt x="5815" y="243"/>
                    <a:pt x="5538" y="485"/>
                    <a:pt x="5538" y="485"/>
                  </a:cubicBezTo>
                  <a:cubicBezTo>
                    <a:pt x="5262" y="485"/>
                    <a:pt x="5262" y="485"/>
                    <a:pt x="5262" y="485"/>
                  </a:cubicBezTo>
                  <a:cubicBezTo>
                    <a:pt x="4985" y="243"/>
                    <a:pt x="4985" y="243"/>
                    <a:pt x="4985" y="243"/>
                  </a:cubicBezTo>
                  <a:cubicBezTo>
                    <a:pt x="4708" y="0"/>
                    <a:pt x="4708" y="0"/>
                    <a:pt x="4708" y="0"/>
                  </a:cubicBezTo>
                  <a:cubicBezTo>
                    <a:pt x="4154" y="485"/>
                    <a:pt x="4154" y="485"/>
                    <a:pt x="4154" y="485"/>
                  </a:cubicBezTo>
                  <a:cubicBezTo>
                    <a:pt x="3877" y="728"/>
                    <a:pt x="3877" y="728"/>
                    <a:pt x="3877" y="728"/>
                  </a:cubicBezTo>
                  <a:cubicBezTo>
                    <a:pt x="3877" y="728"/>
                    <a:pt x="3877" y="971"/>
                    <a:pt x="3877" y="971"/>
                  </a:cubicBezTo>
                  <a:cubicBezTo>
                    <a:pt x="3877" y="971"/>
                    <a:pt x="4431" y="971"/>
                    <a:pt x="4431" y="971"/>
                  </a:cubicBezTo>
                  <a:cubicBezTo>
                    <a:pt x="4431" y="1456"/>
                    <a:pt x="4431" y="1456"/>
                    <a:pt x="4431" y="1456"/>
                  </a:cubicBezTo>
                  <a:cubicBezTo>
                    <a:pt x="4431" y="1456"/>
                    <a:pt x="4431" y="1456"/>
                    <a:pt x="4708" y="1456"/>
                  </a:cubicBezTo>
                  <a:cubicBezTo>
                    <a:pt x="4708" y="1456"/>
                    <a:pt x="4985" y="1699"/>
                    <a:pt x="4985" y="1699"/>
                  </a:cubicBezTo>
                  <a:cubicBezTo>
                    <a:pt x="5262" y="1942"/>
                    <a:pt x="5262" y="1942"/>
                    <a:pt x="5262" y="1942"/>
                  </a:cubicBezTo>
                  <a:cubicBezTo>
                    <a:pt x="5262" y="2427"/>
                    <a:pt x="5262" y="2427"/>
                    <a:pt x="5262" y="2427"/>
                  </a:cubicBezTo>
                  <a:cubicBezTo>
                    <a:pt x="5815" y="2670"/>
                    <a:pt x="5815" y="2670"/>
                    <a:pt x="5815" y="2670"/>
                  </a:cubicBezTo>
                  <a:cubicBezTo>
                    <a:pt x="5815" y="3155"/>
                    <a:pt x="5815" y="3155"/>
                    <a:pt x="5815" y="3155"/>
                  </a:cubicBezTo>
                  <a:cubicBezTo>
                    <a:pt x="5538" y="3398"/>
                    <a:pt x="5538" y="3398"/>
                    <a:pt x="5538" y="3398"/>
                  </a:cubicBezTo>
                  <a:cubicBezTo>
                    <a:pt x="5262" y="3640"/>
                    <a:pt x="5262" y="3640"/>
                    <a:pt x="5262" y="3640"/>
                  </a:cubicBezTo>
                  <a:cubicBezTo>
                    <a:pt x="4708" y="3640"/>
                    <a:pt x="4708" y="3640"/>
                    <a:pt x="4708" y="3640"/>
                  </a:cubicBezTo>
                  <a:cubicBezTo>
                    <a:pt x="4708" y="3398"/>
                    <a:pt x="4708" y="3398"/>
                    <a:pt x="4708" y="3398"/>
                  </a:cubicBezTo>
                  <a:cubicBezTo>
                    <a:pt x="4431" y="2912"/>
                    <a:pt x="4431" y="2912"/>
                    <a:pt x="4431" y="2912"/>
                  </a:cubicBezTo>
                  <a:cubicBezTo>
                    <a:pt x="4154" y="2670"/>
                    <a:pt x="4154" y="2670"/>
                    <a:pt x="4154" y="2670"/>
                  </a:cubicBezTo>
                  <a:cubicBezTo>
                    <a:pt x="3323" y="2912"/>
                    <a:pt x="3323" y="2912"/>
                    <a:pt x="3323" y="2912"/>
                  </a:cubicBezTo>
                  <a:cubicBezTo>
                    <a:pt x="3323" y="3398"/>
                    <a:pt x="3323" y="3398"/>
                    <a:pt x="3323" y="3398"/>
                  </a:cubicBezTo>
                  <a:cubicBezTo>
                    <a:pt x="1938" y="4369"/>
                    <a:pt x="1938" y="4369"/>
                    <a:pt x="1938" y="4369"/>
                  </a:cubicBezTo>
                  <a:cubicBezTo>
                    <a:pt x="2215" y="4854"/>
                    <a:pt x="2215" y="4854"/>
                    <a:pt x="2215" y="4854"/>
                  </a:cubicBezTo>
                  <a:cubicBezTo>
                    <a:pt x="1662" y="5339"/>
                    <a:pt x="1662" y="5339"/>
                    <a:pt x="1662" y="5339"/>
                  </a:cubicBezTo>
                  <a:cubicBezTo>
                    <a:pt x="1662" y="6067"/>
                    <a:pt x="1662" y="6067"/>
                    <a:pt x="1662" y="6067"/>
                  </a:cubicBezTo>
                  <a:cubicBezTo>
                    <a:pt x="1938" y="6796"/>
                    <a:pt x="1938" y="6796"/>
                    <a:pt x="1938" y="6796"/>
                  </a:cubicBezTo>
                  <a:cubicBezTo>
                    <a:pt x="1938" y="7281"/>
                    <a:pt x="1938" y="7281"/>
                    <a:pt x="1938" y="7281"/>
                  </a:cubicBezTo>
                  <a:cubicBezTo>
                    <a:pt x="831" y="7524"/>
                    <a:pt x="831" y="7524"/>
                    <a:pt x="831" y="7524"/>
                  </a:cubicBezTo>
                  <a:cubicBezTo>
                    <a:pt x="0" y="7766"/>
                    <a:pt x="0" y="7766"/>
                    <a:pt x="0" y="7766"/>
                  </a:cubicBezTo>
                  <a:cubicBezTo>
                    <a:pt x="0" y="8494"/>
                    <a:pt x="0" y="8494"/>
                    <a:pt x="0" y="8494"/>
                  </a:cubicBezTo>
                  <a:cubicBezTo>
                    <a:pt x="0" y="8737"/>
                    <a:pt x="0" y="8737"/>
                    <a:pt x="0" y="8737"/>
                  </a:cubicBezTo>
                  <a:cubicBezTo>
                    <a:pt x="831" y="9708"/>
                    <a:pt x="831" y="9708"/>
                    <a:pt x="831" y="9708"/>
                  </a:cubicBezTo>
                  <a:cubicBezTo>
                    <a:pt x="554" y="9951"/>
                    <a:pt x="554" y="9951"/>
                    <a:pt x="554" y="9951"/>
                  </a:cubicBezTo>
                  <a:cubicBezTo>
                    <a:pt x="277" y="10193"/>
                    <a:pt x="277" y="10193"/>
                    <a:pt x="277" y="10193"/>
                  </a:cubicBezTo>
                  <a:cubicBezTo>
                    <a:pt x="1108" y="11164"/>
                    <a:pt x="1108" y="11164"/>
                    <a:pt x="1108" y="11164"/>
                  </a:cubicBezTo>
                  <a:cubicBezTo>
                    <a:pt x="1385" y="11407"/>
                    <a:pt x="1385" y="11407"/>
                    <a:pt x="1385" y="11407"/>
                  </a:cubicBezTo>
                  <a:cubicBezTo>
                    <a:pt x="1938" y="11407"/>
                    <a:pt x="1938" y="11407"/>
                    <a:pt x="1938" y="11407"/>
                  </a:cubicBezTo>
                  <a:cubicBezTo>
                    <a:pt x="1938" y="11892"/>
                    <a:pt x="1938" y="11892"/>
                    <a:pt x="1938" y="11892"/>
                  </a:cubicBezTo>
                  <a:cubicBezTo>
                    <a:pt x="1938" y="12135"/>
                    <a:pt x="1938" y="12135"/>
                    <a:pt x="1938" y="12135"/>
                  </a:cubicBezTo>
                  <a:cubicBezTo>
                    <a:pt x="1938" y="12620"/>
                    <a:pt x="1938" y="12620"/>
                    <a:pt x="1938" y="12620"/>
                  </a:cubicBezTo>
                  <a:cubicBezTo>
                    <a:pt x="1385" y="13106"/>
                    <a:pt x="1385" y="13106"/>
                    <a:pt x="1385" y="13106"/>
                  </a:cubicBezTo>
                  <a:cubicBezTo>
                    <a:pt x="1662" y="13591"/>
                    <a:pt x="1662" y="13591"/>
                    <a:pt x="1662" y="13591"/>
                  </a:cubicBezTo>
                  <a:cubicBezTo>
                    <a:pt x="1108" y="13348"/>
                    <a:pt x="1108" y="13348"/>
                    <a:pt x="1108" y="13348"/>
                  </a:cubicBezTo>
                  <a:cubicBezTo>
                    <a:pt x="831" y="13834"/>
                    <a:pt x="831" y="13834"/>
                    <a:pt x="831" y="13834"/>
                  </a:cubicBezTo>
                  <a:cubicBezTo>
                    <a:pt x="1108" y="14076"/>
                    <a:pt x="1108" y="14076"/>
                    <a:pt x="1108" y="14076"/>
                  </a:cubicBezTo>
                  <a:cubicBezTo>
                    <a:pt x="831" y="14319"/>
                    <a:pt x="831" y="14319"/>
                    <a:pt x="831" y="14319"/>
                  </a:cubicBezTo>
                  <a:cubicBezTo>
                    <a:pt x="1385" y="14804"/>
                    <a:pt x="1385" y="14804"/>
                    <a:pt x="1385" y="14804"/>
                  </a:cubicBezTo>
                  <a:cubicBezTo>
                    <a:pt x="2492" y="15047"/>
                    <a:pt x="2492" y="15047"/>
                    <a:pt x="2492" y="15047"/>
                  </a:cubicBezTo>
                  <a:cubicBezTo>
                    <a:pt x="3046" y="14804"/>
                    <a:pt x="3046" y="14804"/>
                    <a:pt x="3046" y="14804"/>
                  </a:cubicBezTo>
                  <a:cubicBezTo>
                    <a:pt x="3323" y="14562"/>
                    <a:pt x="3323" y="14562"/>
                    <a:pt x="3323" y="14562"/>
                  </a:cubicBezTo>
                  <a:cubicBezTo>
                    <a:pt x="3046" y="14319"/>
                    <a:pt x="3046" y="14319"/>
                    <a:pt x="3046" y="14319"/>
                  </a:cubicBezTo>
                  <a:cubicBezTo>
                    <a:pt x="3046" y="14319"/>
                    <a:pt x="3046" y="14076"/>
                    <a:pt x="3323" y="14076"/>
                  </a:cubicBezTo>
                  <a:cubicBezTo>
                    <a:pt x="3323" y="13834"/>
                    <a:pt x="3600" y="13834"/>
                    <a:pt x="3600" y="13834"/>
                  </a:cubicBezTo>
                  <a:cubicBezTo>
                    <a:pt x="3600" y="14076"/>
                    <a:pt x="3600" y="14076"/>
                    <a:pt x="3600" y="14076"/>
                  </a:cubicBezTo>
                  <a:cubicBezTo>
                    <a:pt x="4431" y="14076"/>
                    <a:pt x="4431" y="14076"/>
                    <a:pt x="4431" y="14076"/>
                  </a:cubicBezTo>
                  <a:cubicBezTo>
                    <a:pt x="4431" y="14562"/>
                    <a:pt x="4431" y="14562"/>
                    <a:pt x="4431" y="14562"/>
                  </a:cubicBezTo>
                  <a:cubicBezTo>
                    <a:pt x="4154" y="14804"/>
                    <a:pt x="4154" y="14804"/>
                    <a:pt x="4154" y="14804"/>
                  </a:cubicBezTo>
                  <a:cubicBezTo>
                    <a:pt x="3877" y="14562"/>
                    <a:pt x="3877" y="14562"/>
                    <a:pt x="3877" y="14562"/>
                  </a:cubicBezTo>
                  <a:cubicBezTo>
                    <a:pt x="3877" y="14562"/>
                    <a:pt x="3877" y="14804"/>
                    <a:pt x="3877" y="14804"/>
                  </a:cubicBezTo>
                  <a:cubicBezTo>
                    <a:pt x="3877" y="14804"/>
                    <a:pt x="3877" y="15533"/>
                    <a:pt x="3877" y="15533"/>
                  </a:cubicBezTo>
                  <a:cubicBezTo>
                    <a:pt x="3877" y="15533"/>
                    <a:pt x="3877" y="15775"/>
                    <a:pt x="3600" y="15533"/>
                  </a:cubicBezTo>
                  <a:cubicBezTo>
                    <a:pt x="3600" y="15533"/>
                    <a:pt x="3323" y="15290"/>
                    <a:pt x="3323" y="15290"/>
                  </a:cubicBezTo>
                  <a:cubicBezTo>
                    <a:pt x="2492" y="15047"/>
                    <a:pt x="2492" y="15047"/>
                    <a:pt x="2492" y="15047"/>
                  </a:cubicBezTo>
                  <a:cubicBezTo>
                    <a:pt x="2215" y="15290"/>
                    <a:pt x="2215" y="15290"/>
                    <a:pt x="2215" y="15290"/>
                  </a:cubicBezTo>
                  <a:cubicBezTo>
                    <a:pt x="2215" y="15290"/>
                    <a:pt x="2215" y="15533"/>
                    <a:pt x="2215" y="15775"/>
                  </a:cubicBezTo>
                  <a:cubicBezTo>
                    <a:pt x="2492" y="15775"/>
                    <a:pt x="2769" y="15775"/>
                    <a:pt x="2769" y="15775"/>
                  </a:cubicBezTo>
                  <a:cubicBezTo>
                    <a:pt x="2769" y="15775"/>
                    <a:pt x="3323" y="15775"/>
                    <a:pt x="3323" y="15775"/>
                  </a:cubicBezTo>
                  <a:cubicBezTo>
                    <a:pt x="3323" y="15775"/>
                    <a:pt x="3323" y="15775"/>
                    <a:pt x="3600" y="15775"/>
                  </a:cubicBezTo>
                  <a:cubicBezTo>
                    <a:pt x="3600" y="15775"/>
                    <a:pt x="4154" y="15775"/>
                    <a:pt x="4154" y="15775"/>
                  </a:cubicBezTo>
                  <a:cubicBezTo>
                    <a:pt x="4154" y="16261"/>
                    <a:pt x="4154" y="16261"/>
                    <a:pt x="4154" y="16261"/>
                  </a:cubicBezTo>
                  <a:cubicBezTo>
                    <a:pt x="4708" y="16746"/>
                    <a:pt x="4708" y="16746"/>
                    <a:pt x="4708" y="16746"/>
                  </a:cubicBezTo>
                  <a:cubicBezTo>
                    <a:pt x="5815" y="16746"/>
                    <a:pt x="5815" y="16746"/>
                    <a:pt x="5815" y="16746"/>
                  </a:cubicBezTo>
                  <a:cubicBezTo>
                    <a:pt x="6092" y="16746"/>
                    <a:pt x="6092" y="16746"/>
                    <a:pt x="6092" y="16746"/>
                  </a:cubicBezTo>
                  <a:cubicBezTo>
                    <a:pt x="6923" y="17231"/>
                    <a:pt x="6923" y="17231"/>
                    <a:pt x="6923" y="17231"/>
                  </a:cubicBezTo>
                  <a:cubicBezTo>
                    <a:pt x="6923" y="17231"/>
                    <a:pt x="7200" y="17717"/>
                    <a:pt x="7477" y="17717"/>
                  </a:cubicBezTo>
                  <a:cubicBezTo>
                    <a:pt x="7477" y="17717"/>
                    <a:pt x="7754" y="18202"/>
                    <a:pt x="7754" y="18202"/>
                  </a:cubicBezTo>
                  <a:cubicBezTo>
                    <a:pt x="8308" y="18202"/>
                    <a:pt x="8308" y="18202"/>
                    <a:pt x="8308" y="18202"/>
                  </a:cubicBezTo>
                  <a:cubicBezTo>
                    <a:pt x="8585" y="18202"/>
                    <a:pt x="8585" y="18202"/>
                    <a:pt x="8585" y="18202"/>
                  </a:cubicBezTo>
                  <a:cubicBezTo>
                    <a:pt x="8585" y="18202"/>
                    <a:pt x="8862" y="18445"/>
                    <a:pt x="8862" y="18445"/>
                  </a:cubicBezTo>
                  <a:cubicBezTo>
                    <a:pt x="8585" y="18688"/>
                    <a:pt x="8585" y="18688"/>
                    <a:pt x="8585" y="18688"/>
                  </a:cubicBezTo>
                  <a:cubicBezTo>
                    <a:pt x="8862" y="19173"/>
                    <a:pt x="8862" y="19173"/>
                    <a:pt x="8862" y="19173"/>
                  </a:cubicBezTo>
                  <a:cubicBezTo>
                    <a:pt x="9415" y="19173"/>
                    <a:pt x="9415" y="19173"/>
                    <a:pt x="9415" y="19173"/>
                  </a:cubicBezTo>
                  <a:cubicBezTo>
                    <a:pt x="9415" y="19173"/>
                    <a:pt x="9415" y="19173"/>
                    <a:pt x="9415" y="19416"/>
                  </a:cubicBezTo>
                  <a:cubicBezTo>
                    <a:pt x="9415" y="19416"/>
                    <a:pt x="9692" y="19901"/>
                    <a:pt x="9692" y="19901"/>
                  </a:cubicBezTo>
                  <a:cubicBezTo>
                    <a:pt x="9692" y="20144"/>
                    <a:pt x="9692" y="20144"/>
                    <a:pt x="9692" y="20144"/>
                  </a:cubicBezTo>
                  <a:cubicBezTo>
                    <a:pt x="9692" y="20144"/>
                    <a:pt x="9969" y="20144"/>
                    <a:pt x="9969" y="20387"/>
                  </a:cubicBezTo>
                  <a:cubicBezTo>
                    <a:pt x="9969" y="20387"/>
                    <a:pt x="9969" y="20387"/>
                    <a:pt x="9969" y="20629"/>
                  </a:cubicBezTo>
                  <a:cubicBezTo>
                    <a:pt x="10246" y="20629"/>
                    <a:pt x="10800" y="20629"/>
                    <a:pt x="10800" y="20629"/>
                  </a:cubicBezTo>
                  <a:cubicBezTo>
                    <a:pt x="11077" y="20872"/>
                    <a:pt x="11077" y="20872"/>
                    <a:pt x="11077" y="20872"/>
                  </a:cubicBezTo>
                  <a:cubicBezTo>
                    <a:pt x="11354" y="21115"/>
                    <a:pt x="11354" y="21115"/>
                    <a:pt x="11354" y="21115"/>
                  </a:cubicBezTo>
                  <a:lnTo>
                    <a:pt x="11631" y="21115"/>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5" name="Shape 2228">
              <a:extLst>
                <a:ext uri="{FF2B5EF4-FFF2-40B4-BE49-F238E27FC236}">
                  <a16:creationId xmlns:a16="http://schemas.microsoft.com/office/drawing/2014/main" id="{A9CF5FF4-84E7-DD12-9FA5-B26CC24E68F4}"/>
                </a:ext>
              </a:extLst>
            </p:cNvPr>
            <p:cNvSpPr/>
            <p:nvPr/>
          </p:nvSpPr>
          <p:spPr>
            <a:xfrm>
              <a:off x="5493897" y="6711103"/>
              <a:ext cx="437445" cy="371984"/>
            </a:xfrm>
            <a:custGeom>
              <a:avLst/>
              <a:gdLst/>
              <a:ahLst/>
              <a:cxnLst>
                <a:cxn ang="0">
                  <a:pos x="wd2" y="hd2"/>
                </a:cxn>
                <a:cxn ang="5400000">
                  <a:pos x="wd2" y="hd2"/>
                </a:cxn>
                <a:cxn ang="10800000">
                  <a:pos x="wd2" y="hd2"/>
                </a:cxn>
                <a:cxn ang="16200000">
                  <a:pos x="wd2" y="hd2"/>
                </a:cxn>
              </a:cxnLst>
              <a:rect l="0" t="0" r="r" b="b"/>
              <a:pathLst>
                <a:path w="21600" h="21600" extrusionOk="0">
                  <a:moveTo>
                    <a:pt x="4279" y="20903"/>
                  </a:moveTo>
                  <a:cubicBezTo>
                    <a:pt x="4279" y="20903"/>
                    <a:pt x="4075" y="20903"/>
                    <a:pt x="3872" y="20903"/>
                  </a:cubicBezTo>
                  <a:cubicBezTo>
                    <a:pt x="3668" y="20903"/>
                    <a:pt x="3464" y="21368"/>
                    <a:pt x="3260" y="21368"/>
                  </a:cubicBezTo>
                  <a:cubicBezTo>
                    <a:pt x="3260" y="21368"/>
                    <a:pt x="3260" y="21368"/>
                    <a:pt x="3260" y="21135"/>
                  </a:cubicBezTo>
                  <a:cubicBezTo>
                    <a:pt x="3260" y="20903"/>
                    <a:pt x="3260" y="20903"/>
                    <a:pt x="3057" y="20671"/>
                  </a:cubicBezTo>
                  <a:cubicBezTo>
                    <a:pt x="3057" y="20439"/>
                    <a:pt x="3057" y="19974"/>
                    <a:pt x="2853" y="19742"/>
                  </a:cubicBezTo>
                  <a:cubicBezTo>
                    <a:pt x="2649" y="19510"/>
                    <a:pt x="2649" y="19277"/>
                    <a:pt x="2649" y="19277"/>
                  </a:cubicBezTo>
                  <a:cubicBezTo>
                    <a:pt x="2649" y="19277"/>
                    <a:pt x="2242" y="19277"/>
                    <a:pt x="2038" y="19277"/>
                  </a:cubicBezTo>
                  <a:cubicBezTo>
                    <a:pt x="2038" y="19277"/>
                    <a:pt x="1834" y="19277"/>
                    <a:pt x="1834" y="19277"/>
                  </a:cubicBezTo>
                  <a:cubicBezTo>
                    <a:pt x="1834" y="19277"/>
                    <a:pt x="1630" y="18813"/>
                    <a:pt x="1834" y="18813"/>
                  </a:cubicBezTo>
                  <a:cubicBezTo>
                    <a:pt x="1834" y="18581"/>
                    <a:pt x="1630" y="18348"/>
                    <a:pt x="1426" y="18116"/>
                  </a:cubicBezTo>
                  <a:cubicBezTo>
                    <a:pt x="1426" y="18116"/>
                    <a:pt x="1019" y="17419"/>
                    <a:pt x="1019" y="17419"/>
                  </a:cubicBezTo>
                  <a:cubicBezTo>
                    <a:pt x="1019" y="17419"/>
                    <a:pt x="815" y="17419"/>
                    <a:pt x="815" y="17187"/>
                  </a:cubicBezTo>
                  <a:cubicBezTo>
                    <a:pt x="815" y="16955"/>
                    <a:pt x="815" y="16723"/>
                    <a:pt x="815" y="16723"/>
                  </a:cubicBezTo>
                  <a:cubicBezTo>
                    <a:pt x="611" y="16258"/>
                    <a:pt x="611" y="16258"/>
                    <a:pt x="611" y="16258"/>
                  </a:cubicBezTo>
                  <a:cubicBezTo>
                    <a:pt x="611" y="16258"/>
                    <a:pt x="1019" y="16026"/>
                    <a:pt x="1019" y="15794"/>
                  </a:cubicBezTo>
                  <a:cubicBezTo>
                    <a:pt x="1019" y="15794"/>
                    <a:pt x="1223" y="15561"/>
                    <a:pt x="1019" y="15329"/>
                  </a:cubicBezTo>
                  <a:cubicBezTo>
                    <a:pt x="1019" y="15097"/>
                    <a:pt x="611" y="14865"/>
                    <a:pt x="611" y="14865"/>
                  </a:cubicBezTo>
                  <a:cubicBezTo>
                    <a:pt x="408" y="14632"/>
                    <a:pt x="204" y="14400"/>
                    <a:pt x="0" y="14168"/>
                  </a:cubicBezTo>
                  <a:cubicBezTo>
                    <a:pt x="0" y="13935"/>
                    <a:pt x="0" y="13703"/>
                    <a:pt x="0" y="13703"/>
                  </a:cubicBezTo>
                  <a:cubicBezTo>
                    <a:pt x="0" y="13703"/>
                    <a:pt x="0" y="13471"/>
                    <a:pt x="204" y="13471"/>
                  </a:cubicBezTo>
                  <a:cubicBezTo>
                    <a:pt x="408" y="13239"/>
                    <a:pt x="611" y="13239"/>
                    <a:pt x="611" y="13006"/>
                  </a:cubicBezTo>
                  <a:cubicBezTo>
                    <a:pt x="611" y="13006"/>
                    <a:pt x="815" y="13006"/>
                    <a:pt x="815" y="12774"/>
                  </a:cubicBezTo>
                  <a:cubicBezTo>
                    <a:pt x="611" y="12542"/>
                    <a:pt x="408" y="12310"/>
                    <a:pt x="408" y="12310"/>
                  </a:cubicBezTo>
                  <a:cubicBezTo>
                    <a:pt x="611" y="11613"/>
                    <a:pt x="611" y="11613"/>
                    <a:pt x="611" y="11613"/>
                  </a:cubicBezTo>
                  <a:cubicBezTo>
                    <a:pt x="408" y="11381"/>
                    <a:pt x="408" y="11381"/>
                    <a:pt x="408" y="11381"/>
                  </a:cubicBezTo>
                  <a:cubicBezTo>
                    <a:pt x="408" y="10452"/>
                    <a:pt x="408" y="10452"/>
                    <a:pt x="408" y="10452"/>
                  </a:cubicBezTo>
                  <a:cubicBezTo>
                    <a:pt x="408" y="10219"/>
                    <a:pt x="408" y="10219"/>
                    <a:pt x="408" y="10219"/>
                  </a:cubicBezTo>
                  <a:cubicBezTo>
                    <a:pt x="408" y="10219"/>
                    <a:pt x="611" y="9755"/>
                    <a:pt x="611" y="9755"/>
                  </a:cubicBezTo>
                  <a:cubicBezTo>
                    <a:pt x="611" y="9523"/>
                    <a:pt x="611" y="9058"/>
                    <a:pt x="611" y="9058"/>
                  </a:cubicBezTo>
                  <a:cubicBezTo>
                    <a:pt x="611" y="9058"/>
                    <a:pt x="611" y="9058"/>
                    <a:pt x="611" y="9058"/>
                  </a:cubicBezTo>
                  <a:cubicBezTo>
                    <a:pt x="1019" y="9290"/>
                    <a:pt x="1630" y="9058"/>
                    <a:pt x="1834" y="9058"/>
                  </a:cubicBezTo>
                  <a:cubicBezTo>
                    <a:pt x="2242" y="9058"/>
                    <a:pt x="2242" y="8361"/>
                    <a:pt x="2038" y="7665"/>
                  </a:cubicBezTo>
                  <a:cubicBezTo>
                    <a:pt x="2038" y="7200"/>
                    <a:pt x="2242" y="6735"/>
                    <a:pt x="2242" y="6271"/>
                  </a:cubicBezTo>
                  <a:cubicBezTo>
                    <a:pt x="2445" y="5806"/>
                    <a:pt x="3057" y="5574"/>
                    <a:pt x="3668" y="5110"/>
                  </a:cubicBezTo>
                  <a:cubicBezTo>
                    <a:pt x="4075" y="4645"/>
                    <a:pt x="4075" y="4181"/>
                    <a:pt x="4687" y="4181"/>
                  </a:cubicBezTo>
                  <a:cubicBezTo>
                    <a:pt x="4687" y="4181"/>
                    <a:pt x="4891" y="4181"/>
                    <a:pt x="5094" y="4413"/>
                  </a:cubicBezTo>
                  <a:cubicBezTo>
                    <a:pt x="5094" y="4413"/>
                    <a:pt x="5094" y="4645"/>
                    <a:pt x="5298" y="4877"/>
                  </a:cubicBezTo>
                  <a:cubicBezTo>
                    <a:pt x="5298" y="4877"/>
                    <a:pt x="5298" y="4877"/>
                    <a:pt x="5502" y="4877"/>
                  </a:cubicBezTo>
                  <a:cubicBezTo>
                    <a:pt x="5909" y="5574"/>
                    <a:pt x="6317" y="6039"/>
                    <a:pt x="6317" y="4181"/>
                  </a:cubicBezTo>
                  <a:cubicBezTo>
                    <a:pt x="6521" y="2555"/>
                    <a:pt x="7540" y="3019"/>
                    <a:pt x="8355" y="2555"/>
                  </a:cubicBezTo>
                  <a:cubicBezTo>
                    <a:pt x="8355" y="2555"/>
                    <a:pt x="8355" y="2555"/>
                    <a:pt x="8558" y="2323"/>
                  </a:cubicBezTo>
                  <a:cubicBezTo>
                    <a:pt x="8762" y="2555"/>
                    <a:pt x="8966" y="2555"/>
                    <a:pt x="9170" y="2555"/>
                  </a:cubicBezTo>
                  <a:cubicBezTo>
                    <a:pt x="9374" y="2555"/>
                    <a:pt x="9374" y="2555"/>
                    <a:pt x="9374" y="2555"/>
                  </a:cubicBezTo>
                  <a:cubicBezTo>
                    <a:pt x="9374" y="2555"/>
                    <a:pt x="9985" y="1626"/>
                    <a:pt x="9985" y="1626"/>
                  </a:cubicBezTo>
                  <a:cubicBezTo>
                    <a:pt x="10189" y="1626"/>
                    <a:pt x="10596" y="1394"/>
                    <a:pt x="10596" y="1394"/>
                  </a:cubicBezTo>
                  <a:cubicBezTo>
                    <a:pt x="11004" y="697"/>
                    <a:pt x="11004" y="697"/>
                    <a:pt x="11004" y="697"/>
                  </a:cubicBezTo>
                  <a:cubicBezTo>
                    <a:pt x="11004" y="697"/>
                    <a:pt x="11411" y="929"/>
                    <a:pt x="11615" y="929"/>
                  </a:cubicBezTo>
                  <a:cubicBezTo>
                    <a:pt x="11819" y="929"/>
                    <a:pt x="12023" y="929"/>
                    <a:pt x="12430" y="929"/>
                  </a:cubicBezTo>
                  <a:cubicBezTo>
                    <a:pt x="12634" y="697"/>
                    <a:pt x="12634" y="697"/>
                    <a:pt x="12634" y="697"/>
                  </a:cubicBezTo>
                  <a:cubicBezTo>
                    <a:pt x="12634" y="697"/>
                    <a:pt x="13042" y="232"/>
                    <a:pt x="13449" y="232"/>
                  </a:cubicBezTo>
                  <a:cubicBezTo>
                    <a:pt x="13857" y="0"/>
                    <a:pt x="13857" y="232"/>
                    <a:pt x="13857" y="232"/>
                  </a:cubicBezTo>
                  <a:cubicBezTo>
                    <a:pt x="13857" y="232"/>
                    <a:pt x="14468" y="232"/>
                    <a:pt x="14875" y="232"/>
                  </a:cubicBezTo>
                  <a:cubicBezTo>
                    <a:pt x="14875" y="232"/>
                    <a:pt x="14875" y="0"/>
                    <a:pt x="14875" y="0"/>
                  </a:cubicBezTo>
                  <a:cubicBezTo>
                    <a:pt x="15487" y="465"/>
                    <a:pt x="15487" y="1161"/>
                    <a:pt x="16098" y="1858"/>
                  </a:cubicBezTo>
                  <a:cubicBezTo>
                    <a:pt x="16913" y="2787"/>
                    <a:pt x="17728" y="2555"/>
                    <a:pt x="19155" y="3484"/>
                  </a:cubicBezTo>
                  <a:cubicBezTo>
                    <a:pt x="19155" y="3716"/>
                    <a:pt x="19970" y="4413"/>
                    <a:pt x="20174" y="5110"/>
                  </a:cubicBezTo>
                  <a:cubicBezTo>
                    <a:pt x="20377" y="6039"/>
                    <a:pt x="21192" y="6039"/>
                    <a:pt x="21396" y="6968"/>
                  </a:cubicBezTo>
                  <a:cubicBezTo>
                    <a:pt x="21396" y="7665"/>
                    <a:pt x="20989" y="7897"/>
                    <a:pt x="20989" y="8594"/>
                  </a:cubicBezTo>
                  <a:cubicBezTo>
                    <a:pt x="20989" y="9290"/>
                    <a:pt x="21396" y="10916"/>
                    <a:pt x="21600" y="11148"/>
                  </a:cubicBezTo>
                  <a:cubicBezTo>
                    <a:pt x="21600" y="11148"/>
                    <a:pt x="21600" y="11381"/>
                    <a:pt x="21600" y="11381"/>
                  </a:cubicBezTo>
                  <a:cubicBezTo>
                    <a:pt x="19766" y="11845"/>
                    <a:pt x="19766" y="11845"/>
                    <a:pt x="19766" y="11845"/>
                  </a:cubicBezTo>
                  <a:cubicBezTo>
                    <a:pt x="19970" y="13935"/>
                    <a:pt x="19970" y="13935"/>
                    <a:pt x="19970" y="13935"/>
                  </a:cubicBezTo>
                  <a:cubicBezTo>
                    <a:pt x="18951" y="14865"/>
                    <a:pt x="18951" y="14865"/>
                    <a:pt x="18951" y="14865"/>
                  </a:cubicBezTo>
                  <a:cubicBezTo>
                    <a:pt x="18951" y="14865"/>
                    <a:pt x="16506" y="15329"/>
                    <a:pt x="16302" y="15329"/>
                  </a:cubicBezTo>
                  <a:cubicBezTo>
                    <a:pt x="16098" y="15329"/>
                    <a:pt x="15079" y="15561"/>
                    <a:pt x="14672" y="15794"/>
                  </a:cubicBezTo>
                  <a:cubicBezTo>
                    <a:pt x="14264" y="15794"/>
                    <a:pt x="13653" y="16258"/>
                    <a:pt x="13449" y="16258"/>
                  </a:cubicBezTo>
                  <a:cubicBezTo>
                    <a:pt x="13042" y="16490"/>
                    <a:pt x="12838" y="17652"/>
                    <a:pt x="12838" y="17652"/>
                  </a:cubicBezTo>
                  <a:cubicBezTo>
                    <a:pt x="12838" y="17652"/>
                    <a:pt x="12226" y="18581"/>
                    <a:pt x="12023" y="18813"/>
                  </a:cubicBezTo>
                  <a:cubicBezTo>
                    <a:pt x="11819" y="19045"/>
                    <a:pt x="10800" y="19742"/>
                    <a:pt x="10800" y="19742"/>
                  </a:cubicBezTo>
                  <a:cubicBezTo>
                    <a:pt x="10800" y="19742"/>
                    <a:pt x="9781" y="19742"/>
                    <a:pt x="9577" y="19742"/>
                  </a:cubicBezTo>
                  <a:cubicBezTo>
                    <a:pt x="9170" y="19742"/>
                    <a:pt x="8762" y="20206"/>
                    <a:pt x="8355" y="20206"/>
                  </a:cubicBezTo>
                  <a:cubicBezTo>
                    <a:pt x="7743" y="20439"/>
                    <a:pt x="7336" y="20671"/>
                    <a:pt x="7132" y="20671"/>
                  </a:cubicBezTo>
                  <a:cubicBezTo>
                    <a:pt x="6928" y="20671"/>
                    <a:pt x="5909" y="20903"/>
                    <a:pt x="5909" y="20903"/>
                  </a:cubicBezTo>
                  <a:cubicBezTo>
                    <a:pt x="5909" y="21600"/>
                    <a:pt x="5909" y="21600"/>
                    <a:pt x="5909" y="21600"/>
                  </a:cubicBezTo>
                  <a:cubicBezTo>
                    <a:pt x="5909" y="21600"/>
                    <a:pt x="5706" y="21600"/>
                    <a:pt x="5706" y="21600"/>
                  </a:cubicBezTo>
                  <a:cubicBezTo>
                    <a:pt x="5706" y="21600"/>
                    <a:pt x="5706" y="21600"/>
                    <a:pt x="5502" y="21600"/>
                  </a:cubicBezTo>
                  <a:cubicBezTo>
                    <a:pt x="5502" y="21368"/>
                    <a:pt x="5502" y="21368"/>
                    <a:pt x="5502" y="21368"/>
                  </a:cubicBezTo>
                  <a:cubicBezTo>
                    <a:pt x="5094" y="20903"/>
                    <a:pt x="5094" y="20903"/>
                    <a:pt x="5094" y="20903"/>
                  </a:cubicBezTo>
                  <a:cubicBezTo>
                    <a:pt x="5094" y="20903"/>
                    <a:pt x="4891" y="21135"/>
                    <a:pt x="4687" y="21135"/>
                  </a:cubicBezTo>
                  <a:cubicBezTo>
                    <a:pt x="4483" y="21135"/>
                    <a:pt x="4483" y="20903"/>
                    <a:pt x="4279" y="2090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6" name="Shape 2229">
              <a:extLst>
                <a:ext uri="{FF2B5EF4-FFF2-40B4-BE49-F238E27FC236}">
                  <a16:creationId xmlns:a16="http://schemas.microsoft.com/office/drawing/2014/main" id="{627CC153-9338-20E8-2657-D6B29E70FC68}"/>
                </a:ext>
              </a:extLst>
            </p:cNvPr>
            <p:cNvSpPr/>
            <p:nvPr/>
          </p:nvSpPr>
          <p:spPr>
            <a:xfrm>
              <a:off x="4718428" y="5219320"/>
              <a:ext cx="805295" cy="435587"/>
            </a:xfrm>
            <a:custGeom>
              <a:avLst/>
              <a:gdLst/>
              <a:ahLst/>
              <a:cxnLst>
                <a:cxn ang="0">
                  <a:pos x="wd2" y="hd2"/>
                </a:cxn>
                <a:cxn ang="5400000">
                  <a:pos x="wd2" y="hd2"/>
                </a:cxn>
                <a:cxn ang="10800000">
                  <a:pos x="wd2" y="hd2"/>
                </a:cxn>
                <a:cxn ang="16200000">
                  <a:pos x="wd2" y="hd2"/>
                </a:cxn>
              </a:cxnLst>
              <a:rect l="0" t="0" r="r" b="b"/>
              <a:pathLst>
                <a:path w="21600" h="21600" extrusionOk="0">
                  <a:moveTo>
                    <a:pt x="2880" y="10701"/>
                  </a:moveTo>
                  <a:cubicBezTo>
                    <a:pt x="3212" y="10305"/>
                    <a:pt x="3212" y="10305"/>
                    <a:pt x="3212" y="10305"/>
                  </a:cubicBezTo>
                  <a:cubicBezTo>
                    <a:pt x="3212" y="10305"/>
                    <a:pt x="3212" y="9710"/>
                    <a:pt x="3323" y="9908"/>
                  </a:cubicBezTo>
                  <a:cubicBezTo>
                    <a:pt x="3323" y="9908"/>
                    <a:pt x="3545" y="9710"/>
                    <a:pt x="3545" y="9710"/>
                  </a:cubicBezTo>
                  <a:cubicBezTo>
                    <a:pt x="3655" y="9314"/>
                    <a:pt x="3655" y="9314"/>
                    <a:pt x="3655" y="9314"/>
                  </a:cubicBezTo>
                  <a:cubicBezTo>
                    <a:pt x="3766" y="8719"/>
                    <a:pt x="3766" y="8719"/>
                    <a:pt x="3766" y="8719"/>
                  </a:cubicBezTo>
                  <a:cubicBezTo>
                    <a:pt x="4320" y="8323"/>
                    <a:pt x="4320" y="8323"/>
                    <a:pt x="4320" y="8323"/>
                  </a:cubicBezTo>
                  <a:cubicBezTo>
                    <a:pt x="4431" y="7332"/>
                    <a:pt x="4431" y="7332"/>
                    <a:pt x="4431" y="7332"/>
                  </a:cubicBezTo>
                  <a:cubicBezTo>
                    <a:pt x="4320" y="6738"/>
                    <a:pt x="4320" y="6738"/>
                    <a:pt x="4320" y="6738"/>
                  </a:cubicBezTo>
                  <a:cubicBezTo>
                    <a:pt x="4320" y="6738"/>
                    <a:pt x="4320" y="5945"/>
                    <a:pt x="4431" y="5945"/>
                  </a:cubicBezTo>
                  <a:cubicBezTo>
                    <a:pt x="4542" y="5945"/>
                    <a:pt x="4874" y="5549"/>
                    <a:pt x="4874" y="5549"/>
                  </a:cubicBezTo>
                  <a:cubicBezTo>
                    <a:pt x="5206" y="4954"/>
                    <a:pt x="5206" y="4954"/>
                    <a:pt x="5206" y="4954"/>
                  </a:cubicBezTo>
                  <a:cubicBezTo>
                    <a:pt x="5206" y="4558"/>
                    <a:pt x="5206" y="4558"/>
                    <a:pt x="5206" y="4558"/>
                  </a:cubicBezTo>
                  <a:cubicBezTo>
                    <a:pt x="5428" y="3765"/>
                    <a:pt x="5428" y="3765"/>
                    <a:pt x="5428" y="3765"/>
                  </a:cubicBezTo>
                  <a:cubicBezTo>
                    <a:pt x="5649" y="3369"/>
                    <a:pt x="5649" y="3369"/>
                    <a:pt x="5649" y="3369"/>
                  </a:cubicBezTo>
                  <a:cubicBezTo>
                    <a:pt x="5871" y="2972"/>
                    <a:pt x="5871" y="2972"/>
                    <a:pt x="5871" y="2972"/>
                  </a:cubicBezTo>
                  <a:cubicBezTo>
                    <a:pt x="6203" y="2774"/>
                    <a:pt x="6203" y="2774"/>
                    <a:pt x="6203" y="2774"/>
                  </a:cubicBezTo>
                  <a:cubicBezTo>
                    <a:pt x="6203" y="2774"/>
                    <a:pt x="6314" y="2774"/>
                    <a:pt x="6425" y="2774"/>
                  </a:cubicBezTo>
                  <a:cubicBezTo>
                    <a:pt x="6535" y="2774"/>
                    <a:pt x="6646" y="2576"/>
                    <a:pt x="6646" y="2576"/>
                  </a:cubicBezTo>
                  <a:cubicBezTo>
                    <a:pt x="6757" y="2576"/>
                    <a:pt x="7089" y="2576"/>
                    <a:pt x="7089" y="2576"/>
                  </a:cubicBezTo>
                  <a:cubicBezTo>
                    <a:pt x="7089" y="2576"/>
                    <a:pt x="7311" y="2180"/>
                    <a:pt x="7311" y="2378"/>
                  </a:cubicBezTo>
                  <a:cubicBezTo>
                    <a:pt x="7311" y="2774"/>
                    <a:pt x="7311" y="2972"/>
                    <a:pt x="7311" y="2972"/>
                  </a:cubicBezTo>
                  <a:cubicBezTo>
                    <a:pt x="7422" y="3171"/>
                    <a:pt x="7532" y="3567"/>
                    <a:pt x="7532" y="3567"/>
                  </a:cubicBezTo>
                  <a:cubicBezTo>
                    <a:pt x="7532" y="3567"/>
                    <a:pt x="7754" y="3567"/>
                    <a:pt x="7865" y="3369"/>
                  </a:cubicBezTo>
                  <a:cubicBezTo>
                    <a:pt x="7975" y="3171"/>
                    <a:pt x="8197" y="2972"/>
                    <a:pt x="8197" y="2972"/>
                  </a:cubicBezTo>
                  <a:cubicBezTo>
                    <a:pt x="8197" y="2972"/>
                    <a:pt x="8418" y="3369"/>
                    <a:pt x="8418" y="3171"/>
                  </a:cubicBezTo>
                  <a:cubicBezTo>
                    <a:pt x="8418" y="2972"/>
                    <a:pt x="8418" y="2180"/>
                    <a:pt x="8418" y="2180"/>
                  </a:cubicBezTo>
                  <a:cubicBezTo>
                    <a:pt x="8640" y="1585"/>
                    <a:pt x="8640" y="1585"/>
                    <a:pt x="8640" y="1585"/>
                  </a:cubicBezTo>
                  <a:cubicBezTo>
                    <a:pt x="8640" y="1585"/>
                    <a:pt x="8862" y="1585"/>
                    <a:pt x="8862" y="1387"/>
                  </a:cubicBezTo>
                  <a:cubicBezTo>
                    <a:pt x="8862" y="1189"/>
                    <a:pt x="9083" y="793"/>
                    <a:pt x="9083" y="793"/>
                  </a:cubicBezTo>
                  <a:cubicBezTo>
                    <a:pt x="9415" y="793"/>
                    <a:pt x="9415" y="793"/>
                    <a:pt x="9415" y="793"/>
                  </a:cubicBezTo>
                  <a:cubicBezTo>
                    <a:pt x="9637" y="1982"/>
                    <a:pt x="9637" y="1982"/>
                    <a:pt x="9637" y="1982"/>
                  </a:cubicBezTo>
                  <a:cubicBezTo>
                    <a:pt x="9969" y="2378"/>
                    <a:pt x="9969" y="2378"/>
                    <a:pt x="9969" y="2378"/>
                  </a:cubicBezTo>
                  <a:cubicBezTo>
                    <a:pt x="10080" y="2576"/>
                    <a:pt x="10080" y="2576"/>
                    <a:pt x="10080" y="2576"/>
                  </a:cubicBezTo>
                  <a:cubicBezTo>
                    <a:pt x="10302" y="2774"/>
                    <a:pt x="10302" y="2774"/>
                    <a:pt x="10302" y="2774"/>
                  </a:cubicBezTo>
                  <a:cubicBezTo>
                    <a:pt x="10634" y="2774"/>
                    <a:pt x="10634" y="2774"/>
                    <a:pt x="10634" y="2774"/>
                  </a:cubicBezTo>
                  <a:cubicBezTo>
                    <a:pt x="10634" y="2972"/>
                    <a:pt x="10634" y="2972"/>
                    <a:pt x="10634" y="2972"/>
                  </a:cubicBezTo>
                  <a:cubicBezTo>
                    <a:pt x="10855" y="3369"/>
                    <a:pt x="10855" y="3369"/>
                    <a:pt x="10855" y="3369"/>
                  </a:cubicBezTo>
                  <a:cubicBezTo>
                    <a:pt x="10966" y="3963"/>
                    <a:pt x="10966" y="3963"/>
                    <a:pt x="10966" y="3963"/>
                  </a:cubicBezTo>
                  <a:cubicBezTo>
                    <a:pt x="10745" y="4360"/>
                    <a:pt x="10745" y="4360"/>
                    <a:pt x="10745" y="4360"/>
                  </a:cubicBezTo>
                  <a:cubicBezTo>
                    <a:pt x="10745" y="4558"/>
                    <a:pt x="10745" y="4558"/>
                    <a:pt x="10745" y="4558"/>
                  </a:cubicBezTo>
                  <a:cubicBezTo>
                    <a:pt x="10855" y="4756"/>
                    <a:pt x="10855" y="4756"/>
                    <a:pt x="10855" y="4756"/>
                  </a:cubicBezTo>
                  <a:cubicBezTo>
                    <a:pt x="10855" y="4756"/>
                    <a:pt x="10966" y="4756"/>
                    <a:pt x="10966" y="4756"/>
                  </a:cubicBezTo>
                  <a:cubicBezTo>
                    <a:pt x="10966" y="4756"/>
                    <a:pt x="11188" y="4558"/>
                    <a:pt x="11298" y="4558"/>
                  </a:cubicBezTo>
                  <a:cubicBezTo>
                    <a:pt x="11298" y="4558"/>
                    <a:pt x="11298" y="4360"/>
                    <a:pt x="11298" y="4360"/>
                  </a:cubicBezTo>
                  <a:cubicBezTo>
                    <a:pt x="11298" y="4360"/>
                    <a:pt x="11520" y="4161"/>
                    <a:pt x="11520" y="4161"/>
                  </a:cubicBezTo>
                  <a:cubicBezTo>
                    <a:pt x="11520" y="4161"/>
                    <a:pt x="11631" y="4161"/>
                    <a:pt x="11631" y="4161"/>
                  </a:cubicBezTo>
                  <a:cubicBezTo>
                    <a:pt x="11631" y="4360"/>
                    <a:pt x="11742" y="4558"/>
                    <a:pt x="11742" y="4558"/>
                  </a:cubicBezTo>
                  <a:cubicBezTo>
                    <a:pt x="11742" y="4558"/>
                    <a:pt x="11852" y="4360"/>
                    <a:pt x="11852" y="4558"/>
                  </a:cubicBezTo>
                  <a:cubicBezTo>
                    <a:pt x="11852" y="4558"/>
                    <a:pt x="11963" y="4558"/>
                    <a:pt x="11963" y="4558"/>
                  </a:cubicBezTo>
                  <a:cubicBezTo>
                    <a:pt x="11963" y="4558"/>
                    <a:pt x="11963" y="4558"/>
                    <a:pt x="11963" y="4360"/>
                  </a:cubicBezTo>
                  <a:cubicBezTo>
                    <a:pt x="11963" y="3963"/>
                    <a:pt x="11963" y="3963"/>
                    <a:pt x="11963" y="3963"/>
                  </a:cubicBezTo>
                  <a:cubicBezTo>
                    <a:pt x="11963" y="3765"/>
                    <a:pt x="11963" y="3567"/>
                    <a:pt x="11963" y="3567"/>
                  </a:cubicBezTo>
                  <a:cubicBezTo>
                    <a:pt x="12074" y="3369"/>
                    <a:pt x="12074" y="3369"/>
                    <a:pt x="12074" y="3171"/>
                  </a:cubicBezTo>
                  <a:cubicBezTo>
                    <a:pt x="12074" y="3171"/>
                    <a:pt x="11963" y="2972"/>
                    <a:pt x="12074" y="2972"/>
                  </a:cubicBezTo>
                  <a:cubicBezTo>
                    <a:pt x="12185" y="2972"/>
                    <a:pt x="12295" y="2972"/>
                    <a:pt x="12295" y="2972"/>
                  </a:cubicBezTo>
                  <a:cubicBezTo>
                    <a:pt x="12295" y="2972"/>
                    <a:pt x="12295" y="2774"/>
                    <a:pt x="12295" y="2774"/>
                  </a:cubicBezTo>
                  <a:cubicBezTo>
                    <a:pt x="12295" y="2774"/>
                    <a:pt x="12406" y="2576"/>
                    <a:pt x="12517" y="2576"/>
                  </a:cubicBezTo>
                  <a:cubicBezTo>
                    <a:pt x="12517" y="2576"/>
                    <a:pt x="12517" y="2774"/>
                    <a:pt x="12628" y="2576"/>
                  </a:cubicBezTo>
                  <a:cubicBezTo>
                    <a:pt x="12738" y="2378"/>
                    <a:pt x="12628" y="2378"/>
                    <a:pt x="12628" y="2378"/>
                  </a:cubicBezTo>
                  <a:cubicBezTo>
                    <a:pt x="12628" y="2180"/>
                    <a:pt x="12628" y="2180"/>
                    <a:pt x="12628" y="2180"/>
                  </a:cubicBezTo>
                  <a:cubicBezTo>
                    <a:pt x="12738" y="1982"/>
                    <a:pt x="12628" y="2180"/>
                    <a:pt x="12849" y="2180"/>
                  </a:cubicBezTo>
                  <a:cubicBezTo>
                    <a:pt x="12960" y="1982"/>
                    <a:pt x="13071" y="1982"/>
                    <a:pt x="13071" y="1982"/>
                  </a:cubicBezTo>
                  <a:cubicBezTo>
                    <a:pt x="13071" y="1982"/>
                    <a:pt x="13071" y="1783"/>
                    <a:pt x="13071" y="1783"/>
                  </a:cubicBezTo>
                  <a:cubicBezTo>
                    <a:pt x="13292" y="1585"/>
                    <a:pt x="13292" y="1585"/>
                    <a:pt x="13292" y="1585"/>
                  </a:cubicBezTo>
                  <a:cubicBezTo>
                    <a:pt x="13292" y="1585"/>
                    <a:pt x="13292" y="1783"/>
                    <a:pt x="13292" y="1783"/>
                  </a:cubicBezTo>
                  <a:cubicBezTo>
                    <a:pt x="13292" y="1783"/>
                    <a:pt x="13403" y="1783"/>
                    <a:pt x="13514" y="1783"/>
                  </a:cubicBezTo>
                  <a:cubicBezTo>
                    <a:pt x="13514" y="1783"/>
                    <a:pt x="13625" y="1982"/>
                    <a:pt x="13625" y="1783"/>
                  </a:cubicBezTo>
                  <a:cubicBezTo>
                    <a:pt x="13625" y="1783"/>
                    <a:pt x="13735" y="1783"/>
                    <a:pt x="13735" y="1585"/>
                  </a:cubicBezTo>
                  <a:cubicBezTo>
                    <a:pt x="13735" y="1585"/>
                    <a:pt x="13735" y="1585"/>
                    <a:pt x="13735" y="1585"/>
                  </a:cubicBezTo>
                  <a:cubicBezTo>
                    <a:pt x="13735" y="1585"/>
                    <a:pt x="13735" y="1387"/>
                    <a:pt x="13846" y="1387"/>
                  </a:cubicBezTo>
                  <a:cubicBezTo>
                    <a:pt x="13957" y="1585"/>
                    <a:pt x="13846" y="1585"/>
                    <a:pt x="13957" y="1585"/>
                  </a:cubicBezTo>
                  <a:cubicBezTo>
                    <a:pt x="13957" y="1387"/>
                    <a:pt x="14178" y="1189"/>
                    <a:pt x="14178" y="1189"/>
                  </a:cubicBezTo>
                  <a:cubicBezTo>
                    <a:pt x="14178" y="1189"/>
                    <a:pt x="14178" y="1189"/>
                    <a:pt x="14289" y="1585"/>
                  </a:cubicBezTo>
                  <a:cubicBezTo>
                    <a:pt x="14289" y="1783"/>
                    <a:pt x="14400" y="1783"/>
                    <a:pt x="14511" y="1783"/>
                  </a:cubicBezTo>
                  <a:cubicBezTo>
                    <a:pt x="14511" y="1783"/>
                    <a:pt x="14511" y="1783"/>
                    <a:pt x="14511" y="1783"/>
                  </a:cubicBezTo>
                  <a:cubicBezTo>
                    <a:pt x="14511" y="1982"/>
                    <a:pt x="14622" y="2180"/>
                    <a:pt x="14622" y="2180"/>
                  </a:cubicBezTo>
                  <a:cubicBezTo>
                    <a:pt x="14732" y="2180"/>
                    <a:pt x="14732" y="2180"/>
                    <a:pt x="14732" y="2180"/>
                  </a:cubicBezTo>
                  <a:cubicBezTo>
                    <a:pt x="14843" y="1982"/>
                    <a:pt x="14843" y="1982"/>
                    <a:pt x="14843" y="1982"/>
                  </a:cubicBezTo>
                  <a:cubicBezTo>
                    <a:pt x="14843" y="1982"/>
                    <a:pt x="14843" y="2180"/>
                    <a:pt x="14954" y="2180"/>
                  </a:cubicBezTo>
                  <a:cubicBezTo>
                    <a:pt x="15065" y="2180"/>
                    <a:pt x="15175" y="2378"/>
                    <a:pt x="15175" y="2378"/>
                  </a:cubicBezTo>
                  <a:cubicBezTo>
                    <a:pt x="15175" y="2180"/>
                    <a:pt x="15286" y="1982"/>
                    <a:pt x="15286" y="1982"/>
                  </a:cubicBezTo>
                  <a:cubicBezTo>
                    <a:pt x="15286" y="1783"/>
                    <a:pt x="15286" y="1783"/>
                    <a:pt x="15397" y="1585"/>
                  </a:cubicBezTo>
                  <a:cubicBezTo>
                    <a:pt x="15397" y="1585"/>
                    <a:pt x="15729" y="1387"/>
                    <a:pt x="15729" y="1387"/>
                  </a:cubicBezTo>
                  <a:cubicBezTo>
                    <a:pt x="15729" y="1387"/>
                    <a:pt x="15618" y="991"/>
                    <a:pt x="15508" y="991"/>
                  </a:cubicBezTo>
                  <a:cubicBezTo>
                    <a:pt x="15508" y="991"/>
                    <a:pt x="15397" y="793"/>
                    <a:pt x="15618" y="594"/>
                  </a:cubicBezTo>
                  <a:cubicBezTo>
                    <a:pt x="15729" y="594"/>
                    <a:pt x="15840" y="594"/>
                    <a:pt x="15840" y="594"/>
                  </a:cubicBezTo>
                  <a:cubicBezTo>
                    <a:pt x="16062" y="793"/>
                    <a:pt x="16062" y="793"/>
                    <a:pt x="16062" y="793"/>
                  </a:cubicBezTo>
                  <a:cubicBezTo>
                    <a:pt x="16062" y="594"/>
                    <a:pt x="16062" y="594"/>
                    <a:pt x="16062" y="594"/>
                  </a:cubicBezTo>
                  <a:cubicBezTo>
                    <a:pt x="16172" y="396"/>
                    <a:pt x="16172" y="396"/>
                    <a:pt x="16172" y="396"/>
                  </a:cubicBezTo>
                  <a:cubicBezTo>
                    <a:pt x="16172" y="396"/>
                    <a:pt x="16283" y="198"/>
                    <a:pt x="16283" y="198"/>
                  </a:cubicBezTo>
                  <a:cubicBezTo>
                    <a:pt x="16283" y="198"/>
                    <a:pt x="16394" y="198"/>
                    <a:pt x="16394" y="198"/>
                  </a:cubicBezTo>
                  <a:cubicBezTo>
                    <a:pt x="16505" y="198"/>
                    <a:pt x="16615" y="198"/>
                    <a:pt x="16615" y="198"/>
                  </a:cubicBezTo>
                  <a:cubicBezTo>
                    <a:pt x="16615" y="198"/>
                    <a:pt x="16726" y="396"/>
                    <a:pt x="16726" y="396"/>
                  </a:cubicBezTo>
                  <a:cubicBezTo>
                    <a:pt x="16837" y="396"/>
                    <a:pt x="16948" y="396"/>
                    <a:pt x="16948" y="396"/>
                  </a:cubicBezTo>
                  <a:cubicBezTo>
                    <a:pt x="16948" y="396"/>
                    <a:pt x="17058" y="594"/>
                    <a:pt x="17058" y="396"/>
                  </a:cubicBezTo>
                  <a:cubicBezTo>
                    <a:pt x="17169" y="396"/>
                    <a:pt x="17169" y="198"/>
                    <a:pt x="17169" y="198"/>
                  </a:cubicBezTo>
                  <a:cubicBezTo>
                    <a:pt x="17169" y="198"/>
                    <a:pt x="17612" y="0"/>
                    <a:pt x="17612" y="0"/>
                  </a:cubicBezTo>
                  <a:cubicBezTo>
                    <a:pt x="17612" y="0"/>
                    <a:pt x="17723" y="0"/>
                    <a:pt x="17723" y="0"/>
                  </a:cubicBezTo>
                  <a:cubicBezTo>
                    <a:pt x="17834" y="198"/>
                    <a:pt x="17945" y="198"/>
                    <a:pt x="17945" y="198"/>
                  </a:cubicBezTo>
                  <a:cubicBezTo>
                    <a:pt x="18055" y="198"/>
                    <a:pt x="18166" y="396"/>
                    <a:pt x="18166" y="396"/>
                  </a:cubicBezTo>
                  <a:cubicBezTo>
                    <a:pt x="18277" y="594"/>
                    <a:pt x="18388" y="594"/>
                    <a:pt x="18388" y="594"/>
                  </a:cubicBezTo>
                  <a:cubicBezTo>
                    <a:pt x="18388" y="594"/>
                    <a:pt x="18388" y="198"/>
                    <a:pt x="18388" y="198"/>
                  </a:cubicBezTo>
                  <a:cubicBezTo>
                    <a:pt x="18498" y="198"/>
                    <a:pt x="18609" y="198"/>
                    <a:pt x="18609" y="198"/>
                  </a:cubicBezTo>
                  <a:cubicBezTo>
                    <a:pt x="18720" y="396"/>
                    <a:pt x="18720" y="396"/>
                    <a:pt x="18720" y="396"/>
                  </a:cubicBezTo>
                  <a:cubicBezTo>
                    <a:pt x="18720" y="396"/>
                    <a:pt x="18831" y="594"/>
                    <a:pt x="18942" y="594"/>
                  </a:cubicBezTo>
                  <a:cubicBezTo>
                    <a:pt x="18942" y="594"/>
                    <a:pt x="19052" y="396"/>
                    <a:pt x="19052" y="396"/>
                  </a:cubicBezTo>
                  <a:cubicBezTo>
                    <a:pt x="19052" y="594"/>
                    <a:pt x="19163" y="594"/>
                    <a:pt x="19163" y="793"/>
                  </a:cubicBezTo>
                  <a:cubicBezTo>
                    <a:pt x="19163" y="793"/>
                    <a:pt x="19274" y="991"/>
                    <a:pt x="19274" y="991"/>
                  </a:cubicBezTo>
                  <a:cubicBezTo>
                    <a:pt x="19274" y="1189"/>
                    <a:pt x="19385" y="1189"/>
                    <a:pt x="19385" y="1189"/>
                  </a:cubicBezTo>
                  <a:cubicBezTo>
                    <a:pt x="19385" y="1387"/>
                    <a:pt x="19385" y="1585"/>
                    <a:pt x="19385" y="1585"/>
                  </a:cubicBezTo>
                  <a:cubicBezTo>
                    <a:pt x="19385" y="1585"/>
                    <a:pt x="19385" y="1585"/>
                    <a:pt x="19385" y="1783"/>
                  </a:cubicBezTo>
                  <a:cubicBezTo>
                    <a:pt x="19495" y="1783"/>
                    <a:pt x="19828" y="1783"/>
                    <a:pt x="19828" y="1783"/>
                  </a:cubicBezTo>
                  <a:cubicBezTo>
                    <a:pt x="19828" y="1783"/>
                    <a:pt x="19938" y="1783"/>
                    <a:pt x="19938" y="1982"/>
                  </a:cubicBezTo>
                  <a:cubicBezTo>
                    <a:pt x="19938" y="1982"/>
                    <a:pt x="20160" y="1982"/>
                    <a:pt x="20160" y="1982"/>
                  </a:cubicBezTo>
                  <a:cubicBezTo>
                    <a:pt x="20160" y="1982"/>
                    <a:pt x="20271" y="1783"/>
                    <a:pt x="20271" y="1982"/>
                  </a:cubicBezTo>
                  <a:cubicBezTo>
                    <a:pt x="20271" y="1982"/>
                    <a:pt x="20271" y="2180"/>
                    <a:pt x="20271" y="2180"/>
                  </a:cubicBezTo>
                  <a:cubicBezTo>
                    <a:pt x="20492" y="2180"/>
                    <a:pt x="20492" y="2180"/>
                    <a:pt x="20492" y="2180"/>
                  </a:cubicBezTo>
                  <a:cubicBezTo>
                    <a:pt x="20603" y="2180"/>
                    <a:pt x="20603" y="2180"/>
                    <a:pt x="20603" y="2180"/>
                  </a:cubicBezTo>
                  <a:cubicBezTo>
                    <a:pt x="20603" y="2180"/>
                    <a:pt x="20714" y="1982"/>
                    <a:pt x="20714" y="2180"/>
                  </a:cubicBezTo>
                  <a:cubicBezTo>
                    <a:pt x="20714" y="2180"/>
                    <a:pt x="20825" y="2180"/>
                    <a:pt x="20825" y="2180"/>
                  </a:cubicBezTo>
                  <a:cubicBezTo>
                    <a:pt x="20825" y="2180"/>
                    <a:pt x="21046" y="2378"/>
                    <a:pt x="21046" y="2378"/>
                  </a:cubicBezTo>
                  <a:cubicBezTo>
                    <a:pt x="21046" y="2378"/>
                    <a:pt x="21157" y="2378"/>
                    <a:pt x="21268" y="2378"/>
                  </a:cubicBezTo>
                  <a:cubicBezTo>
                    <a:pt x="21268" y="2378"/>
                    <a:pt x="21600" y="2378"/>
                    <a:pt x="21600" y="2378"/>
                  </a:cubicBezTo>
                  <a:cubicBezTo>
                    <a:pt x="21600" y="2378"/>
                    <a:pt x="21600" y="2576"/>
                    <a:pt x="21600" y="2774"/>
                  </a:cubicBezTo>
                  <a:cubicBezTo>
                    <a:pt x="21600" y="2774"/>
                    <a:pt x="21600" y="3171"/>
                    <a:pt x="21600" y="3171"/>
                  </a:cubicBezTo>
                  <a:cubicBezTo>
                    <a:pt x="21600" y="3171"/>
                    <a:pt x="21489" y="3369"/>
                    <a:pt x="21489" y="3567"/>
                  </a:cubicBezTo>
                  <a:cubicBezTo>
                    <a:pt x="21378" y="3567"/>
                    <a:pt x="21378" y="3963"/>
                    <a:pt x="21378" y="3963"/>
                  </a:cubicBezTo>
                  <a:cubicBezTo>
                    <a:pt x="21378" y="3963"/>
                    <a:pt x="21378" y="4161"/>
                    <a:pt x="21378" y="4161"/>
                  </a:cubicBezTo>
                  <a:cubicBezTo>
                    <a:pt x="21378" y="4161"/>
                    <a:pt x="21378" y="4558"/>
                    <a:pt x="21378" y="4558"/>
                  </a:cubicBezTo>
                  <a:cubicBezTo>
                    <a:pt x="21268" y="4954"/>
                    <a:pt x="21268" y="4954"/>
                    <a:pt x="21268" y="4954"/>
                  </a:cubicBezTo>
                  <a:cubicBezTo>
                    <a:pt x="21268" y="4954"/>
                    <a:pt x="21157" y="5152"/>
                    <a:pt x="21268" y="5350"/>
                  </a:cubicBezTo>
                  <a:cubicBezTo>
                    <a:pt x="21268" y="5350"/>
                    <a:pt x="21268" y="5549"/>
                    <a:pt x="21268" y="5549"/>
                  </a:cubicBezTo>
                  <a:cubicBezTo>
                    <a:pt x="21378" y="5747"/>
                    <a:pt x="21378" y="5747"/>
                    <a:pt x="21378" y="5747"/>
                  </a:cubicBezTo>
                  <a:cubicBezTo>
                    <a:pt x="21157" y="6143"/>
                    <a:pt x="21157" y="6143"/>
                    <a:pt x="21157" y="6143"/>
                  </a:cubicBezTo>
                  <a:cubicBezTo>
                    <a:pt x="21157" y="6539"/>
                    <a:pt x="21157" y="6539"/>
                    <a:pt x="21157" y="6539"/>
                  </a:cubicBezTo>
                  <a:cubicBezTo>
                    <a:pt x="21157" y="6539"/>
                    <a:pt x="21268" y="6738"/>
                    <a:pt x="21157" y="6936"/>
                  </a:cubicBezTo>
                  <a:cubicBezTo>
                    <a:pt x="21157" y="6936"/>
                    <a:pt x="21046" y="7134"/>
                    <a:pt x="21046" y="7134"/>
                  </a:cubicBezTo>
                  <a:cubicBezTo>
                    <a:pt x="21046" y="7134"/>
                    <a:pt x="20825" y="7530"/>
                    <a:pt x="20825" y="7530"/>
                  </a:cubicBezTo>
                  <a:cubicBezTo>
                    <a:pt x="20825" y="7530"/>
                    <a:pt x="20825" y="7728"/>
                    <a:pt x="20825" y="7728"/>
                  </a:cubicBezTo>
                  <a:cubicBezTo>
                    <a:pt x="20825" y="7728"/>
                    <a:pt x="20714" y="8125"/>
                    <a:pt x="20714" y="8125"/>
                  </a:cubicBezTo>
                  <a:cubicBezTo>
                    <a:pt x="20714" y="8125"/>
                    <a:pt x="20714" y="8719"/>
                    <a:pt x="20714" y="8719"/>
                  </a:cubicBezTo>
                  <a:cubicBezTo>
                    <a:pt x="20714" y="8719"/>
                    <a:pt x="20825" y="8917"/>
                    <a:pt x="20825" y="8917"/>
                  </a:cubicBezTo>
                  <a:cubicBezTo>
                    <a:pt x="20825" y="8917"/>
                    <a:pt x="20825" y="9116"/>
                    <a:pt x="20825" y="9314"/>
                  </a:cubicBezTo>
                  <a:cubicBezTo>
                    <a:pt x="20714" y="9314"/>
                    <a:pt x="20825" y="9512"/>
                    <a:pt x="20825" y="9710"/>
                  </a:cubicBezTo>
                  <a:cubicBezTo>
                    <a:pt x="20825" y="9710"/>
                    <a:pt x="20825" y="9908"/>
                    <a:pt x="20825" y="9908"/>
                  </a:cubicBezTo>
                  <a:cubicBezTo>
                    <a:pt x="20714" y="10305"/>
                    <a:pt x="20714" y="10305"/>
                    <a:pt x="20714" y="10305"/>
                  </a:cubicBezTo>
                  <a:cubicBezTo>
                    <a:pt x="20603" y="10305"/>
                    <a:pt x="20603" y="10305"/>
                    <a:pt x="20603" y="10305"/>
                  </a:cubicBezTo>
                  <a:cubicBezTo>
                    <a:pt x="20714" y="10899"/>
                    <a:pt x="20714" y="10899"/>
                    <a:pt x="20714" y="10899"/>
                  </a:cubicBezTo>
                  <a:cubicBezTo>
                    <a:pt x="20492" y="11295"/>
                    <a:pt x="20492" y="11295"/>
                    <a:pt x="20492" y="11295"/>
                  </a:cubicBezTo>
                  <a:cubicBezTo>
                    <a:pt x="19606" y="11295"/>
                    <a:pt x="19606" y="11295"/>
                    <a:pt x="19606" y="11295"/>
                  </a:cubicBezTo>
                  <a:cubicBezTo>
                    <a:pt x="18720" y="9710"/>
                    <a:pt x="18720" y="9710"/>
                    <a:pt x="18720" y="9710"/>
                  </a:cubicBezTo>
                  <a:cubicBezTo>
                    <a:pt x="18055" y="9512"/>
                    <a:pt x="18055" y="9512"/>
                    <a:pt x="18055" y="9512"/>
                  </a:cubicBezTo>
                  <a:cubicBezTo>
                    <a:pt x="17502" y="10305"/>
                    <a:pt x="17502" y="10305"/>
                    <a:pt x="17502" y="10305"/>
                  </a:cubicBezTo>
                  <a:cubicBezTo>
                    <a:pt x="16726" y="10503"/>
                    <a:pt x="16726" y="10503"/>
                    <a:pt x="16726" y="10503"/>
                  </a:cubicBezTo>
                  <a:cubicBezTo>
                    <a:pt x="16172" y="9908"/>
                    <a:pt x="16172" y="9908"/>
                    <a:pt x="16172" y="9908"/>
                  </a:cubicBezTo>
                  <a:cubicBezTo>
                    <a:pt x="14622" y="10701"/>
                    <a:pt x="14622" y="10701"/>
                    <a:pt x="14622" y="10701"/>
                  </a:cubicBezTo>
                  <a:cubicBezTo>
                    <a:pt x="14511" y="11295"/>
                    <a:pt x="14511" y="11295"/>
                    <a:pt x="14511" y="11295"/>
                  </a:cubicBezTo>
                  <a:cubicBezTo>
                    <a:pt x="14289" y="12683"/>
                    <a:pt x="14289" y="12683"/>
                    <a:pt x="14289" y="12683"/>
                  </a:cubicBezTo>
                  <a:cubicBezTo>
                    <a:pt x="13957" y="13872"/>
                    <a:pt x="13957" y="13872"/>
                    <a:pt x="13957" y="13872"/>
                  </a:cubicBezTo>
                  <a:cubicBezTo>
                    <a:pt x="13514" y="14268"/>
                    <a:pt x="13514" y="14268"/>
                    <a:pt x="13514" y="14268"/>
                  </a:cubicBezTo>
                  <a:cubicBezTo>
                    <a:pt x="13182" y="14664"/>
                    <a:pt x="13182" y="14664"/>
                    <a:pt x="13182" y="14664"/>
                  </a:cubicBezTo>
                  <a:cubicBezTo>
                    <a:pt x="12849" y="15457"/>
                    <a:pt x="12849" y="15457"/>
                    <a:pt x="12849" y="15457"/>
                  </a:cubicBezTo>
                  <a:cubicBezTo>
                    <a:pt x="12185" y="15457"/>
                    <a:pt x="12185" y="15457"/>
                    <a:pt x="12185" y="15457"/>
                  </a:cubicBezTo>
                  <a:cubicBezTo>
                    <a:pt x="11742" y="15259"/>
                    <a:pt x="11742" y="15259"/>
                    <a:pt x="11742" y="15259"/>
                  </a:cubicBezTo>
                  <a:cubicBezTo>
                    <a:pt x="11077" y="15457"/>
                    <a:pt x="11077" y="15457"/>
                    <a:pt x="11077" y="15457"/>
                  </a:cubicBezTo>
                  <a:cubicBezTo>
                    <a:pt x="10855" y="16646"/>
                    <a:pt x="10855" y="16646"/>
                    <a:pt x="10855" y="16646"/>
                  </a:cubicBezTo>
                  <a:cubicBezTo>
                    <a:pt x="10412" y="16844"/>
                    <a:pt x="10412" y="16844"/>
                    <a:pt x="10412" y="16844"/>
                  </a:cubicBezTo>
                  <a:cubicBezTo>
                    <a:pt x="9637" y="17042"/>
                    <a:pt x="9637" y="17042"/>
                    <a:pt x="9637" y="17042"/>
                  </a:cubicBezTo>
                  <a:cubicBezTo>
                    <a:pt x="8640" y="17637"/>
                    <a:pt x="8640" y="17637"/>
                    <a:pt x="8640" y="17637"/>
                  </a:cubicBezTo>
                  <a:cubicBezTo>
                    <a:pt x="8086" y="18628"/>
                    <a:pt x="8086" y="18628"/>
                    <a:pt x="8086" y="18628"/>
                  </a:cubicBezTo>
                  <a:cubicBezTo>
                    <a:pt x="8086" y="19024"/>
                    <a:pt x="8086" y="19024"/>
                    <a:pt x="8086" y="19024"/>
                  </a:cubicBezTo>
                  <a:cubicBezTo>
                    <a:pt x="8086" y="19024"/>
                    <a:pt x="8529" y="19618"/>
                    <a:pt x="8751" y="19817"/>
                  </a:cubicBezTo>
                  <a:cubicBezTo>
                    <a:pt x="8972" y="20213"/>
                    <a:pt x="8308" y="20411"/>
                    <a:pt x="8197" y="20609"/>
                  </a:cubicBezTo>
                  <a:cubicBezTo>
                    <a:pt x="8086" y="20807"/>
                    <a:pt x="7089" y="21006"/>
                    <a:pt x="7089" y="21006"/>
                  </a:cubicBezTo>
                  <a:cubicBezTo>
                    <a:pt x="5206" y="21204"/>
                    <a:pt x="5206" y="21204"/>
                    <a:pt x="5206" y="21204"/>
                  </a:cubicBezTo>
                  <a:cubicBezTo>
                    <a:pt x="4209" y="21600"/>
                    <a:pt x="4209" y="21600"/>
                    <a:pt x="4209" y="21600"/>
                  </a:cubicBezTo>
                  <a:cubicBezTo>
                    <a:pt x="3766" y="21204"/>
                    <a:pt x="3766" y="21204"/>
                    <a:pt x="3766" y="21204"/>
                  </a:cubicBezTo>
                  <a:cubicBezTo>
                    <a:pt x="2991" y="20411"/>
                    <a:pt x="2991" y="20411"/>
                    <a:pt x="2991" y="20411"/>
                  </a:cubicBezTo>
                  <a:cubicBezTo>
                    <a:pt x="2437" y="19420"/>
                    <a:pt x="2437" y="19420"/>
                    <a:pt x="2437" y="19420"/>
                  </a:cubicBezTo>
                  <a:cubicBezTo>
                    <a:pt x="2437" y="19420"/>
                    <a:pt x="2437" y="19420"/>
                    <a:pt x="2437" y="19420"/>
                  </a:cubicBezTo>
                  <a:cubicBezTo>
                    <a:pt x="1551" y="19222"/>
                    <a:pt x="1551" y="19222"/>
                    <a:pt x="1551" y="19222"/>
                  </a:cubicBezTo>
                  <a:cubicBezTo>
                    <a:pt x="1551" y="19420"/>
                    <a:pt x="1551" y="19420"/>
                    <a:pt x="1551" y="19420"/>
                  </a:cubicBezTo>
                  <a:cubicBezTo>
                    <a:pt x="1551" y="20213"/>
                    <a:pt x="1551" y="20213"/>
                    <a:pt x="1551" y="20213"/>
                  </a:cubicBezTo>
                  <a:cubicBezTo>
                    <a:pt x="1218" y="21006"/>
                    <a:pt x="1218" y="21006"/>
                    <a:pt x="1218" y="21006"/>
                  </a:cubicBezTo>
                  <a:cubicBezTo>
                    <a:pt x="997" y="20411"/>
                    <a:pt x="886" y="19420"/>
                    <a:pt x="665" y="18429"/>
                  </a:cubicBezTo>
                  <a:cubicBezTo>
                    <a:pt x="665" y="18429"/>
                    <a:pt x="665" y="18231"/>
                    <a:pt x="554" y="18033"/>
                  </a:cubicBezTo>
                  <a:cubicBezTo>
                    <a:pt x="554" y="17835"/>
                    <a:pt x="443" y="17439"/>
                    <a:pt x="443" y="17439"/>
                  </a:cubicBezTo>
                  <a:cubicBezTo>
                    <a:pt x="443" y="17439"/>
                    <a:pt x="443" y="17439"/>
                    <a:pt x="443" y="17439"/>
                  </a:cubicBezTo>
                  <a:cubicBezTo>
                    <a:pt x="332" y="17240"/>
                    <a:pt x="222" y="17042"/>
                    <a:pt x="222" y="17042"/>
                  </a:cubicBezTo>
                  <a:cubicBezTo>
                    <a:pt x="222" y="17042"/>
                    <a:pt x="222" y="16844"/>
                    <a:pt x="222" y="16844"/>
                  </a:cubicBezTo>
                  <a:cubicBezTo>
                    <a:pt x="111" y="16844"/>
                    <a:pt x="0" y="16646"/>
                    <a:pt x="0" y="16646"/>
                  </a:cubicBezTo>
                  <a:cubicBezTo>
                    <a:pt x="0" y="16646"/>
                    <a:pt x="0" y="16051"/>
                    <a:pt x="0" y="16051"/>
                  </a:cubicBezTo>
                  <a:cubicBezTo>
                    <a:pt x="0" y="15655"/>
                    <a:pt x="0" y="15655"/>
                    <a:pt x="0" y="15655"/>
                  </a:cubicBezTo>
                  <a:cubicBezTo>
                    <a:pt x="222" y="15259"/>
                    <a:pt x="222" y="15259"/>
                    <a:pt x="222" y="15259"/>
                  </a:cubicBezTo>
                  <a:cubicBezTo>
                    <a:pt x="222" y="15259"/>
                    <a:pt x="222" y="14862"/>
                    <a:pt x="222" y="14862"/>
                  </a:cubicBezTo>
                  <a:cubicBezTo>
                    <a:pt x="222" y="14862"/>
                    <a:pt x="332" y="14466"/>
                    <a:pt x="332" y="14466"/>
                  </a:cubicBezTo>
                  <a:cubicBezTo>
                    <a:pt x="222" y="14268"/>
                    <a:pt x="222" y="14268"/>
                    <a:pt x="222" y="14268"/>
                  </a:cubicBezTo>
                  <a:cubicBezTo>
                    <a:pt x="222" y="13673"/>
                    <a:pt x="222" y="13673"/>
                    <a:pt x="222" y="13673"/>
                  </a:cubicBezTo>
                  <a:cubicBezTo>
                    <a:pt x="332" y="13475"/>
                    <a:pt x="332" y="13475"/>
                    <a:pt x="332" y="13475"/>
                  </a:cubicBezTo>
                  <a:cubicBezTo>
                    <a:pt x="332" y="13079"/>
                    <a:pt x="332" y="13079"/>
                    <a:pt x="332" y="13079"/>
                  </a:cubicBezTo>
                  <a:cubicBezTo>
                    <a:pt x="332" y="13079"/>
                    <a:pt x="332" y="12881"/>
                    <a:pt x="332" y="12881"/>
                  </a:cubicBezTo>
                  <a:cubicBezTo>
                    <a:pt x="443" y="12881"/>
                    <a:pt x="443" y="12286"/>
                    <a:pt x="443" y="12286"/>
                  </a:cubicBezTo>
                  <a:cubicBezTo>
                    <a:pt x="443" y="12286"/>
                    <a:pt x="554" y="11890"/>
                    <a:pt x="554" y="11890"/>
                  </a:cubicBezTo>
                  <a:cubicBezTo>
                    <a:pt x="665" y="11890"/>
                    <a:pt x="665" y="11692"/>
                    <a:pt x="665" y="11692"/>
                  </a:cubicBezTo>
                  <a:cubicBezTo>
                    <a:pt x="665" y="11494"/>
                    <a:pt x="665" y="11295"/>
                    <a:pt x="665" y="11295"/>
                  </a:cubicBezTo>
                  <a:cubicBezTo>
                    <a:pt x="886" y="11097"/>
                    <a:pt x="886" y="11097"/>
                    <a:pt x="886" y="11097"/>
                  </a:cubicBezTo>
                  <a:cubicBezTo>
                    <a:pt x="886" y="11097"/>
                    <a:pt x="997" y="10899"/>
                    <a:pt x="997" y="10899"/>
                  </a:cubicBezTo>
                  <a:cubicBezTo>
                    <a:pt x="997" y="10899"/>
                    <a:pt x="1108" y="10899"/>
                    <a:pt x="1218" y="10899"/>
                  </a:cubicBezTo>
                  <a:cubicBezTo>
                    <a:pt x="1218" y="10899"/>
                    <a:pt x="1329" y="10899"/>
                    <a:pt x="1440" y="10899"/>
                  </a:cubicBezTo>
                  <a:cubicBezTo>
                    <a:pt x="1440" y="10899"/>
                    <a:pt x="1440" y="11097"/>
                    <a:pt x="1551" y="11097"/>
                  </a:cubicBezTo>
                  <a:cubicBezTo>
                    <a:pt x="1662" y="11097"/>
                    <a:pt x="1772" y="11295"/>
                    <a:pt x="1772" y="11295"/>
                  </a:cubicBezTo>
                  <a:cubicBezTo>
                    <a:pt x="1883" y="11097"/>
                    <a:pt x="1883" y="11097"/>
                    <a:pt x="1883" y="11097"/>
                  </a:cubicBezTo>
                  <a:cubicBezTo>
                    <a:pt x="1994" y="11097"/>
                    <a:pt x="1994" y="10899"/>
                    <a:pt x="1994" y="10899"/>
                  </a:cubicBezTo>
                  <a:cubicBezTo>
                    <a:pt x="2105" y="10899"/>
                    <a:pt x="2326" y="11097"/>
                    <a:pt x="2326" y="11097"/>
                  </a:cubicBezTo>
                  <a:cubicBezTo>
                    <a:pt x="2326" y="11097"/>
                    <a:pt x="2437" y="11295"/>
                    <a:pt x="2437" y="11097"/>
                  </a:cubicBezTo>
                  <a:cubicBezTo>
                    <a:pt x="2548" y="11097"/>
                    <a:pt x="2658" y="10899"/>
                    <a:pt x="2658" y="10899"/>
                  </a:cubicBezTo>
                  <a:cubicBezTo>
                    <a:pt x="2880" y="10701"/>
                    <a:pt x="2880" y="10701"/>
                    <a:pt x="2880" y="10701"/>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7" name="Shape 2230">
              <a:extLst>
                <a:ext uri="{FF2B5EF4-FFF2-40B4-BE49-F238E27FC236}">
                  <a16:creationId xmlns:a16="http://schemas.microsoft.com/office/drawing/2014/main" id="{76FDAA40-D37F-A4BB-02AC-4200E1FD822F}"/>
                </a:ext>
              </a:extLst>
            </p:cNvPr>
            <p:cNvSpPr/>
            <p:nvPr/>
          </p:nvSpPr>
          <p:spPr>
            <a:xfrm>
              <a:off x="4233262" y="5870770"/>
              <a:ext cx="481189" cy="352711"/>
            </a:xfrm>
            <a:custGeom>
              <a:avLst/>
              <a:gdLst/>
              <a:ahLst/>
              <a:cxnLst>
                <a:cxn ang="0">
                  <a:pos x="wd2" y="hd2"/>
                </a:cxn>
                <a:cxn ang="5400000">
                  <a:pos x="wd2" y="hd2"/>
                </a:cxn>
                <a:cxn ang="10800000">
                  <a:pos x="wd2" y="hd2"/>
                </a:cxn>
                <a:cxn ang="16200000">
                  <a:pos x="wd2" y="hd2"/>
                </a:cxn>
              </a:cxnLst>
              <a:rect l="0" t="0" r="r" b="b"/>
              <a:pathLst>
                <a:path w="21600" h="21600" extrusionOk="0">
                  <a:moveTo>
                    <a:pt x="1662" y="11782"/>
                  </a:moveTo>
                  <a:cubicBezTo>
                    <a:pt x="1292" y="11536"/>
                    <a:pt x="1292" y="11536"/>
                    <a:pt x="1292" y="11536"/>
                  </a:cubicBezTo>
                  <a:cubicBezTo>
                    <a:pt x="923" y="11291"/>
                    <a:pt x="923" y="11291"/>
                    <a:pt x="923" y="11291"/>
                  </a:cubicBezTo>
                  <a:cubicBezTo>
                    <a:pt x="369" y="11291"/>
                    <a:pt x="369" y="11291"/>
                    <a:pt x="369" y="11291"/>
                  </a:cubicBezTo>
                  <a:cubicBezTo>
                    <a:pt x="0" y="10800"/>
                    <a:pt x="0" y="10800"/>
                    <a:pt x="0" y="10800"/>
                  </a:cubicBezTo>
                  <a:cubicBezTo>
                    <a:pt x="185" y="10309"/>
                    <a:pt x="185" y="10309"/>
                    <a:pt x="185" y="10309"/>
                  </a:cubicBezTo>
                  <a:cubicBezTo>
                    <a:pt x="185" y="9818"/>
                    <a:pt x="185" y="9818"/>
                    <a:pt x="185" y="9818"/>
                  </a:cubicBezTo>
                  <a:cubicBezTo>
                    <a:pt x="185" y="9818"/>
                    <a:pt x="554" y="9327"/>
                    <a:pt x="554" y="9327"/>
                  </a:cubicBezTo>
                  <a:cubicBezTo>
                    <a:pt x="738" y="9082"/>
                    <a:pt x="1108" y="8836"/>
                    <a:pt x="1108" y="8836"/>
                  </a:cubicBezTo>
                  <a:cubicBezTo>
                    <a:pt x="1292" y="8345"/>
                    <a:pt x="1292" y="8345"/>
                    <a:pt x="1292" y="8345"/>
                  </a:cubicBezTo>
                  <a:cubicBezTo>
                    <a:pt x="1292" y="8345"/>
                    <a:pt x="1477" y="8100"/>
                    <a:pt x="1662" y="8100"/>
                  </a:cubicBezTo>
                  <a:cubicBezTo>
                    <a:pt x="1846" y="8100"/>
                    <a:pt x="1846" y="8345"/>
                    <a:pt x="1846" y="8100"/>
                  </a:cubicBezTo>
                  <a:cubicBezTo>
                    <a:pt x="2031" y="8100"/>
                    <a:pt x="2031" y="7118"/>
                    <a:pt x="2031" y="7118"/>
                  </a:cubicBezTo>
                  <a:cubicBezTo>
                    <a:pt x="2031" y="6627"/>
                    <a:pt x="2031" y="6627"/>
                    <a:pt x="2031" y="6627"/>
                  </a:cubicBezTo>
                  <a:cubicBezTo>
                    <a:pt x="2400" y="6627"/>
                    <a:pt x="2400" y="6627"/>
                    <a:pt x="2400" y="6627"/>
                  </a:cubicBezTo>
                  <a:cubicBezTo>
                    <a:pt x="4062" y="7364"/>
                    <a:pt x="4062" y="7364"/>
                    <a:pt x="4062" y="7364"/>
                  </a:cubicBezTo>
                  <a:cubicBezTo>
                    <a:pt x="5908" y="7609"/>
                    <a:pt x="5908" y="7609"/>
                    <a:pt x="5908" y="7609"/>
                  </a:cubicBezTo>
                  <a:cubicBezTo>
                    <a:pt x="7569" y="7609"/>
                    <a:pt x="7569" y="7609"/>
                    <a:pt x="7569" y="7609"/>
                  </a:cubicBezTo>
                  <a:cubicBezTo>
                    <a:pt x="7938" y="7609"/>
                    <a:pt x="7938" y="7609"/>
                    <a:pt x="7938" y="7609"/>
                  </a:cubicBezTo>
                  <a:cubicBezTo>
                    <a:pt x="8492" y="7118"/>
                    <a:pt x="8492" y="7118"/>
                    <a:pt x="8492" y="7118"/>
                  </a:cubicBezTo>
                  <a:cubicBezTo>
                    <a:pt x="8862" y="6382"/>
                    <a:pt x="8862" y="6382"/>
                    <a:pt x="8862" y="6382"/>
                  </a:cubicBezTo>
                  <a:cubicBezTo>
                    <a:pt x="9600" y="6136"/>
                    <a:pt x="9600" y="6136"/>
                    <a:pt x="9600" y="6136"/>
                  </a:cubicBezTo>
                  <a:cubicBezTo>
                    <a:pt x="9785" y="5645"/>
                    <a:pt x="9785" y="5645"/>
                    <a:pt x="9785" y="5645"/>
                  </a:cubicBezTo>
                  <a:cubicBezTo>
                    <a:pt x="10154" y="4664"/>
                    <a:pt x="10154" y="4664"/>
                    <a:pt x="10154" y="4664"/>
                  </a:cubicBezTo>
                  <a:cubicBezTo>
                    <a:pt x="10708" y="4173"/>
                    <a:pt x="10708" y="4173"/>
                    <a:pt x="10708" y="4173"/>
                  </a:cubicBezTo>
                  <a:cubicBezTo>
                    <a:pt x="11815" y="4173"/>
                    <a:pt x="11815" y="4173"/>
                    <a:pt x="11815" y="4173"/>
                  </a:cubicBezTo>
                  <a:cubicBezTo>
                    <a:pt x="13108" y="3682"/>
                    <a:pt x="13108" y="3682"/>
                    <a:pt x="13108" y="3682"/>
                  </a:cubicBezTo>
                  <a:cubicBezTo>
                    <a:pt x="14031" y="4173"/>
                    <a:pt x="14031" y="4173"/>
                    <a:pt x="14031" y="4173"/>
                  </a:cubicBezTo>
                  <a:cubicBezTo>
                    <a:pt x="15138" y="3191"/>
                    <a:pt x="15138" y="3191"/>
                    <a:pt x="15138" y="3191"/>
                  </a:cubicBezTo>
                  <a:cubicBezTo>
                    <a:pt x="15692" y="2945"/>
                    <a:pt x="15692" y="2945"/>
                    <a:pt x="15692" y="2945"/>
                  </a:cubicBezTo>
                  <a:cubicBezTo>
                    <a:pt x="16615" y="2455"/>
                    <a:pt x="16615" y="2455"/>
                    <a:pt x="16615" y="2455"/>
                  </a:cubicBezTo>
                  <a:cubicBezTo>
                    <a:pt x="17723" y="3436"/>
                    <a:pt x="17723" y="3436"/>
                    <a:pt x="17723" y="3436"/>
                  </a:cubicBezTo>
                  <a:cubicBezTo>
                    <a:pt x="17538" y="1964"/>
                    <a:pt x="17538" y="1964"/>
                    <a:pt x="17538" y="1964"/>
                  </a:cubicBezTo>
                  <a:cubicBezTo>
                    <a:pt x="17723" y="982"/>
                    <a:pt x="17723" y="982"/>
                    <a:pt x="17723" y="982"/>
                  </a:cubicBezTo>
                  <a:cubicBezTo>
                    <a:pt x="18462" y="491"/>
                    <a:pt x="18462" y="491"/>
                    <a:pt x="18462" y="491"/>
                  </a:cubicBezTo>
                  <a:cubicBezTo>
                    <a:pt x="18646" y="491"/>
                    <a:pt x="18646" y="491"/>
                    <a:pt x="18646" y="491"/>
                  </a:cubicBezTo>
                  <a:cubicBezTo>
                    <a:pt x="18646" y="491"/>
                    <a:pt x="18646" y="491"/>
                    <a:pt x="18646" y="491"/>
                  </a:cubicBezTo>
                  <a:cubicBezTo>
                    <a:pt x="19385" y="0"/>
                    <a:pt x="19385" y="0"/>
                    <a:pt x="19385" y="0"/>
                  </a:cubicBezTo>
                  <a:cubicBezTo>
                    <a:pt x="19754" y="491"/>
                    <a:pt x="19754" y="491"/>
                    <a:pt x="19754" y="491"/>
                  </a:cubicBezTo>
                  <a:cubicBezTo>
                    <a:pt x="19938" y="982"/>
                    <a:pt x="19938" y="982"/>
                    <a:pt x="19938" y="982"/>
                  </a:cubicBezTo>
                  <a:cubicBezTo>
                    <a:pt x="19938" y="982"/>
                    <a:pt x="19938" y="982"/>
                    <a:pt x="19938" y="982"/>
                  </a:cubicBezTo>
                  <a:cubicBezTo>
                    <a:pt x="19938" y="982"/>
                    <a:pt x="19938" y="982"/>
                    <a:pt x="19938" y="1227"/>
                  </a:cubicBezTo>
                  <a:cubicBezTo>
                    <a:pt x="19938" y="1227"/>
                    <a:pt x="19938" y="1227"/>
                    <a:pt x="19938" y="1227"/>
                  </a:cubicBezTo>
                  <a:cubicBezTo>
                    <a:pt x="19938" y="1473"/>
                    <a:pt x="19938" y="1473"/>
                    <a:pt x="19938" y="1473"/>
                  </a:cubicBezTo>
                  <a:cubicBezTo>
                    <a:pt x="20123" y="1718"/>
                    <a:pt x="20123" y="1718"/>
                    <a:pt x="20123" y="1718"/>
                  </a:cubicBezTo>
                  <a:cubicBezTo>
                    <a:pt x="20308" y="1964"/>
                    <a:pt x="20308" y="1964"/>
                    <a:pt x="20308" y="1964"/>
                  </a:cubicBezTo>
                  <a:cubicBezTo>
                    <a:pt x="20308" y="1964"/>
                    <a:pt x="20308" y="1964"/>
                    <a:pt x="20308" y="1964"/>
                  </a:cubicBezTo>
                  <a:cubicBezTo>
                    <a:pt x="20492" y="2455"/>
                    <a:pt x="20492" y="2455"/>
                    <a:pt x="20492" y="2455"/>
                  </a:cubicBezTo>
                  <a:cubicBezTo>
                    <a:pt x="20492" y="2945"/>
                    <a:pt x="20492" y="2945"/>
                    <a:pt x="20492" y="2945"/>
                  </a:cubicBezTo>
                  <a:cubicBezTo>
                    <a:pt x="21600" y="4664"/>
                    <a:pt x="21600" y="4664"/>
                    <a:pt x="21600" y="4664"/>
                  </a:cubicBezTo>
                  <a:cubicBezTo>
                    <a:pt x="21600" y="4664"/>
                    <a:pt x="21231" y="4664"/>
                    <a:pt x="21231" y="4664"/>
                  </a:cubicBezTo>
                  <a:cubicBezTo>
                    <a:pt x="21046" y="4664"/>
                    <a:pt x="20677" y="4664"/>
                    <a:pt x="20677" y="4664"/>
                  </a:cubicBezTo>
                  <a:cubicBezTo>
                    <a:pt x="20677" y="4664"/>
                    <a:pt x="20492" y="4909"/>
                    <a:pt x="20308" y="4909"/>
                  </a:cubicBezTo>
                  <a:cubicBezTo>
                    <a:pt x="20308" y="4909"/>
                    <a:pt x="20123" y="5400"/>
                    <a:pt x="20123" y="5400"/>
                  </a:cubicBezTo>
                  <a:cubicBezTo>
                    <a:pt x="19938" y="5645"/>
                    <a:pt x="19938" y="5645"/>
                    <a:pt x="19938" y="5645"/>
                  </a:cubicBezTo>
                  <a:cubicBezTo>
                    <a:pt x="20123" y="5891"/>
                    <a:pt x="20123" y="5891"/>
                    <a:pt x="20123" y="5891"/>
                  </a:cubicBezTo>
                  <a:cubicBezTo>
                    <a:pt x="20492" y="6873"/>
                    <a:pt x="20677" y="6873"/>
                    <a:pt x="19754" y="6627"/>
                  </a:cubicBezTo>
                  <a:cubicBezTo>
                    <a:pt x="19385" y="6382"/>
                    <a:pt x="19385" y="6382"/>
                    <a:pt x="19385" y="6382"/>
                  </a:cubicBezTo>
                  <a:cubicBezTo>
                    <a:pt x="19200" y="6627"/>
                    <a:pt x="19200" y="6627"/>
                    <a:pt x="19200" y="6627"/>
                  </a:cubicBezTo>
                  <a:cubicBezTo>
                    <a:pt x="18831" y="6873"/>
                    <a:pt x="18831" y="6873"/>
                    <a:pt x="18831" y="6873"/>
                  </a:cubicBezTo>
                  <a:cubicBezTo>
                    <a:pt x="18831" y="6873"/>
                    <a:pt x="18831" y="6873"/>
                    <a:pt x="18831" y="6873"/>
                  </a:cubicBezTo>
                  <a:cubicBezTo>
                    <a:pt x="18831" y="6873"/>
                    <a:pt x="18831" y="7364"/>
                    <a:pt x="18831" y="7364"/>
                  </a:cubicBezTo>
                  <a:cubicBezTo>
                    <a:pt x="18646" y="7855"/>
                    <a:pt x="18646" y="7855"/>
                    <a:pt x="18646" y="7855"/>
                  </a:cubicBezTo>
                  <a:cubicBezTo>
                    <a:pt x="18277" y="8100"/>
                    <a:pt x="18277" y="8100"/>
                    <a:pt x="18277" y="8100"/>
                  </a:cubicBezTo>
                  <a:cubicBezTo>
                    <a:pt x="17908" y="8345"/>
                    <a:pt x="17908" y="8345"/>
                    <a:pt x="17908" y="8345"/>
                  </a:cubicBezTo>
                  <a:cubicBezTo>
                    <a:pt x="17723" y="8591"/>
                    <a:pt x="17723" y="8591"/>
                    <a:pt x="17723" y="8591"/>
                  </a:cubicBezTo>
                  <a:cubicBezTo>
                    <a:pt x="17354" y="8591"/>
                    <a:pt x="17354" y="8591"/>
                    <a:pt x="17354" y="8591"/>
                  </a:cubicBezTo>
                  <a:cubicBezTo>
                    <a:pt x="16985" y="8836"/>
                    <a:pt x="16985" y="8836"/>
                    <a:pt x="16985" y="8836"/>
                  </a:cubicBezTo>
                  <a:cubicBezTo>
                    <a:pt x="16800" y="9327"/>
                    <a:pt x="16800" y="9327"/>
                    <a:pt x="16800" y="9327"/>
                  </a:cubicBezTo>
                  <a:cubicBezTo>
                    <a:pt x="16800" y="9327"/>
                    <a:pt x="16431" y="9327"/>
                    <a:pt x="16431" y="9327"/>
                  </a:cubicBezTo>
                  <a:cubicBezTo>
                    <a:pt x="16431" y="9327"/>
                    <a:pt x="15877" y="9573"/>
                    <a:pt x="15877" y="9573"/>
                  </a:cubicBezTo>
                  <a:cubicBezTo>
                    <a:pt x="15877" y="10064"/>
                    <a:pt x="15877" y="10064"/>
                    <a:pt x="15877" y="10064"/>
                  </a:cubicBezTo>
                  <a:cubicBezTo>
                    <a:pt x="15877" y="10064"/>
                    <a:pt x="15692" y="10309"/>
                    <a:pt x="15692" y="10309"/>
                  </a:cubicBezTo>
                  <a:cubicBezTo>
                    <a:pt x="15692" y="10309"/>
                    <a:pt x="15692" y="11045"/>
                    <a:pt x="15692" y="11045"/>
                  </a:cubicBezTo>
                  <a:cubicBezTo>
                    <a:pt x="15692" y="11045"/>
                    <a:pt x="16062" y="11291"/>
                    <a:pt x="16062" y="11291"/>
                  </a:cubicBezTo>
                  <a:cubicBezTo>
                    <a:pt x="16246" y="11536"/>
                    <a:pt x="16246" y="11536"/>
                    <a:pt x="16246" y="11536"/>
                  </a:cubicBezTo>
                  <a:cubicBezTo>
                    <a:pt x="16431" y="11782"/>
                    <a:pt x="16431" y="11782"/>
                    <a:pt x="16431" y="11782"/>
                  </a:cubicBezTo>
                  <a:cubicBezTo>
                    <a:pt x="16431" y="11782"/>
                    <a:pt x="16615" y="12027"/>
                    <a:pt x="16615" y="12027"/>
                  </a:cubicBezTo>
                  <a:cubicBezTo>
                    <a:pt x="16431" y="12027"/>
                    <a:pt x="16431" y="12764"/>
                    <a:pt x="16431" y="12764"/>
                  </a:cubicBezTo>
                  <a:cubicBezTo>
                    <a:pt x="16615" y="13500"/>
                    <a:pt x="16615" y="13500"/>
                    <a:pt x="16615" y="13500"/>
                  </a:cubicBezTo>
                  <a:cubicBezTo>
                    <a:pt x="16431" y="13745"/>
                    <a:pt x="16431" y="13745"/>
                    <a:pt x="16431" y="13745"/>
                  </a:cubicBezTo>
                  <a:cubicBezTo>
                    <a:pt x="16615" y="14236"/>
                    <a:pt x="16615" y="14236"/>
                    <a:pt x="16615" y="14236"/>
                  </a:cubicBezTo>
                  <a:cubicBezTo>
                    <a:pt x="16615" y="14236"/>
                    <a:pt x="16800" y="14236"/>
                    <a:pt x="16615" y="14482"/>
                  </a:cubicBezTo>
                  <a:cubicBezTo>
                    <a:pt x="16431" y="14482"/>
                    <a:pt x="16246" y="14727"/>
                    <a:pt x="16246" y="14727"/>
                  </a:cubicBezTo>
                  <a:cubicBezTo>
                    <a:pt x="16246" y="14727"/>
                    <a:pt x="15877" y="14727"/>
                    <a:pt x="15877" y="14727"/>
                  </a:cubicBezTo>
                  <a:cubicBezTo>
                    <a:pt x="15877" y="14727"/>
                    <a:pt x="15508" y="14727"/>
                    <a:pt x="15508" y="14727"/>
                  </a:cubicBezTo>
                  <a:cubicBezTo>
                    <a:pt x="15323" y="15218"/>
                    <a:pt x="15323" y="15218"/>
                    <a:pt x="15323" y="15218"/>
                  </a:cubicBezTo>
                  <a:cubicBezTo>
                    <a:pt x="14954" y="14973"/>
                    <a:pt x="14954" y="14973"/>
                    <a:pt x="14954" y="14973"/>
                  </a:cubicBezTo>
                  <a:cubicBezTo>
                    <a:pt x="14954" y="15464"/>
                    <a:pt x="14954" y="15464"/>
                    <a:pt x="14954" y="15464"/>
                  </a:cubicBezTo>
                  <a:cubicBezTo>
                    <a:pt x="14400" y="15709"/>
                    <a:pt x="14400" y="15709"/>
                    <a:pt x="14400" y="15709"/>
                  </a:cubicBezTo>
                  <a:cubicBezTo>
                    <a:pt x="14031" y="15955"/>
                    <a:pt x="14031" y="15955"/>
                    <a:pt x="14031" y="15955"/>
                  </a:cubicBezTo>
                  <a:cubicBezTo>
                    <a:pt x="13846" y="16445"/>
                    <a:pt x="13846" y="16445"/>
                    <a:pt x="13846" y="16445"/>
                  </a:cubicBezTo>
                  <a:cubicBezTo>
                    <a:pt x="14031" y="16691"/>
                    <a:pt x="14031" y="16691"/>
                    <a:pt x="14031" y="16691"/>
                  </a:cubicBezTo>
                  <a:cubicBezTo>
                    <a:pt x="14031" y="16691"/>
                    <a:pt x="14215" y="16936"/>
                    <a:pt x="14215" y="16691"/>
                  </a:cubicBezTo>
                  <a:cubicBezTo>
                    <a:pt x="14215" y="16691"/>
                    <a:pt x="14215" y="16445"/>
                    <a:pt x="14215" y="16445"/>
                  </a:cubicBezTo>
                  <a:cubicBezTo>
                    <a:pt x="14400" y="16691"/>
                    <a:pt x="14585" y="16936"/>
                    <a:pt x="14585" y="16936"/>
                  </a:cubicBezTo>
                  <a:cubicBezTo>
                    <a:pt x="14769" y="17427"/>
                    <a:pt x="14769" y="17427"/>
                    <a:pt x="14769" y="17427"/>
                  </a:cubicBezTo>
                  <a:cubicBezTo>
                    <a:pt x="14769" y="17427"/>
                    <a:pt x="14400" y="17427"/>
                    <a:pt x="14400" y="17427"/>
                  </a:cubicBezTo>
                  <a:cubicBezTo>
                    <a:pt x="14400" y="17427"/>
                    <a:pt x="14215" y="17673"/>
                    <a:pt x="14215" y="17673"/>
                  </a:cubicBezTo>
                  <a:cubicBezTo>
                    <a:pt x="14031" y="17918"/>
                    <a:pt x="14031" y="17918"/>
                    <a:pt x="14031" y="17918"/>
                  </a:cubicBezTo>
                  <a:cubicBezTo>
                    <a:pt x="14031" y="18164"/>
                    <a:pt x="14031" y="18164"/>
                    <a:pt x="14031" y="18409"/>
                  </a:cubicBezTo>
                  <a:cubicBezTo>
                    <a:pt x="14031" y="18409"/>
                    <a:pt x="14031" y="18655"/>
                    <a:pt x="14031" y="18655"/>
                  </a:cubicBezTo>
                  <a:cubicBezTo>
                    <a:pt x="14215" y="18655"/>
                    <a:pt x="14400" y="19145"/>
                    <a:pt x="14400" y="19145"/>
                  </a:cubicBezTo>
                  <a:cubicBezTo>
                    <a:pt x="14400" y="19145"/>
                    <a:pt x="14585" y="19391"/>
                    <a:pt x="14585" y="19391"/>
                  </a:cubicBezTo>
                  <a:cubicBezTo>
                    <a:pt x="14585" y="19391"/>
                    <a:pt x="14585" y="19636"/>
                    <a:pt x="14585" y="19636"/>
                  </a:cubicBezTo>
                  <a:cubicBezTo>
                    <a:pt x="14585" y="19636"/>
                    <a:pt x="14400" y="19882"/>
                    <a:pt x="14215" y="19882"/>
                  </a:cubicBezTo>
                  <a:cubicBezTo>
                    <a:pt x="14215" y="19882"/>
                    <a:pt x="13846" y="19882"/>
                    <a:pt x="13846" y="19882"/>
                  </a:cubicBezTo>
                  <a:cubicBezTo>
                    <a:pt x="13846" y="19882"/>
                    <a:pt x="13662" y="20373"/>
                    <a:pt x="13662" y="20373"/>
                  </a:cubicBezTo>
                  <a:cubicBezTo>
                    <a:pt x="13662" y="20373"/>
                    <a:pt x="13477" y="20373"/>
                    <a:pt x="13292" y="20373"/>
                  </a:cubicBezTo>
                  <a:cubicBezTo>
                    <a:pt x="13292" y="20373"/>
                    <a:pt x="13662" y="20618"/>
                    <a:pt x="13292" y="20373"/>
                  </a:cubicBezTo>
                  <a:cubicBezTo>
                    <a:pt x="12738" y="20127"/>
                    <a:pt x="12738" y="19882"/>
                    <a:pt x="12738" y="19882"/>
                  </a:cubicBezTo>
                  <a:cubicBezTo>
                    <a:pt x="12738" y="19882"/>
                    <a:pt x="12554" y="19636"/>
                    <a:pt x="12554" y="19636"/>
                  </a:cubicBezTo>
                  <a:cubicBezTo>
                    <a:pt x="12369" y="19636"/>
                    <a:pt x="12185" y="19636"/>
                    <a:pt x="12185" y="19636"/>
                  </a:cubicBezTo>
                  <a:cubicBezTo>
                    <a:pt x="11815" y="19636"/>
                    <a:pt x="11815" y="19636"/>
                    <a:pt x="11815" y="19636"/>
                  </a:cubicBezTo>
                  <a:cubicBezTo>
                    <a:pt x="11631" y="19391"/>
                    <a:pt x="11631" y="19391"/>
                    <a:pt x="11631" y="19391"/>
                  </a:cubicBezTo>
                  <a:cubicBezTo>
                    <a:pt x="11446" y="19882"/>
                    <a:pt x="11446" y="19882"/>
                    <a:pt x="11446" y="19882"/>
                  </a:cubicBezTo>
                  <a:cubicBezTo>
                    <a:pt x="11446" y="19882"/>
                    <a:pt x="11446" y="20127"/>
                    <a:pt x="11262" y="20127"/>
                  </a:cubicBezTo>
                  <a:cubicBezTo>
                    <a:pt x="11077" y="20373"/>
                    <a:pt x="11262" y="20373"/>
                    <a:pt x="11077" y="20373"/>
                  </a:cubicBezTo>
                  <a:cubicBezTo>
                    <a:pt x="10708" y="20373"/>
                    <a:pt x="10523" y="19882"/>
                    <a:pt x="10523" y="19882"/>
                  </a:cubicBezTo>
                  <a:cubicBezTo>
                    <a:pt x="10523" y="19882"/>
                    <a:pt x="10154" y="19636"/>
                    <a:pt x="10154" y="19636"/>
                  </a:cubicBezTo>
                  <a:cubicBezTo>
                    <a:pt x="9969" y="19391"/>
                    <a:pt x="9969" y="19391"/>
                    <a:pt x="9969" y="19391"/>
                  </a:cubicBezTo>
                  <a:cubicBezTo>
                    <a:pt x="9785" y="19391"/>
                    <a:pt x="9785" y="19636"/>
                    <a:pt x="9785" y="19145"/>
                  </a:cubicBezTo>
                  <a:cubicBezTo>
                    <a:pt x="9785" y="18900"/>
                    <a:pt x="9785" y="18900"/>
                    <a:pt x="9785" y="18900"/>
                  </a:cubicBezTo>
                  <a:cubicBezTo>
                    <a:pt x="9600" y="18655"/>
                    <a:pt x="9600" y="18900"/>
                    <a:pt x="9415" y="18655"/>
                  </a:cubicBezTo>
                  <a:cubicBezTo>
                    <a:pt x="9415" y="18409"/>
                    <a:pt x="9231" y="18164"/>
                    <a:pt x="9231" y="18164"/>
                  </a:cubicBezTo>
                  <a:cubicBezTo>
                    <a:pt x="9046" y="17673"/>
                    <a:pt x="9046" y="17673"/>
                    <a:pt x="9046" y="17673"/>
                  </a:cubicBezTo>
                  <a:cubicBezTo>
                    <a:pt x="9046" y="17673"/>
                    <a:pt x="9046" y="17673"/>
                    <a:pt x="9046" y="17918"/>
                  </a:cubicBezTo>
                  <a:cubicBezTo>
                    <a:pt x="8862" y="18164"/>
                    <a:pt x="8677" y="18164"/>
                    <a:pt x="8677" y="18164"/>
                  </a:cubicBezTo>
                  <a:cubicBezTo>
                    <a:pt x="8677" y="18409"/>
                    <a:pt x="8492" y="18655"/>
                    <a:pt x="8492" y="18655"/>
                  </a:cubicBezTo>
                  <a:cubicBezTo>
                    <a:pt x="8492" y="18655"/>
                    <a:pt x="8308" y="18900"/>
                    <a:pt x="8308" y="19145"/>
                  </a:cubicBezTo>
                  <a:cubicBezTo>
                    <a:pt x="8492" y="19145"/>
                    <a:pt x="8492" y="19145"/>
                    <a:pt x="8492" y="19391"/>
                  </a:cubicBezTo>
                  <a:cubicBezTo>
                    <a:pt x="8492" y="19391"/>
                    <a:pt x="8308" y="19636"/>
                    <a:pt x="8308" y="19636"/>
                  </a:cubicBezTo>
                  <a:cubicBezTo>
                    <a:pt x="8123" y="19882"/>
                    <a:pt x="8123" y="19882"/>
                    <a:pt x="7938" y="19882"/>
                  </a:cubicBezTo>
                  <a:cubicBezTo>
                    <a:pt x="7938" y="20127"/>
                    <a:pt x="7569" y="20373"/>
                    <a:pt x="7569" y="20373"/>
                  </a:cubicBezTo>
                  <a:cubicBezTo>
                    <a:pt x="7200" y="20373"/>
                    <a:pt x="7200" y="20373"/>
                    <a:pt x="7200" y="20373"/>
                  </a:cubicBezTo>
                  <a:cubicBezTo>
                    <a:pt x="6646" y="20127"/>
                    <a:pt x="6646" y="20127"/>
                    <a:pt x="6646" y="20127"/>
                  </a:cubicBezTo>
                  <a:cubicBezTo>
                    <a:pt x="6277" y="20618"/>
                    <a:pt x="6277" y="20618"/>
                    <a:pt x="6277" y="20618"/>
                  </a:cubicBezTo>
                  <a:cubicBezTo>
                    <a:pt x="6277" y="20618"/>
                    <a:pt x="6092" y="20618"/>
                    <a:pt x="6092" y="20618"/>
                  </a:cubicBezTo>
                  <a:cubicBezTo>
                    <a:pt x="5908" y="20618"/>
                    <a:pt x="5723" y="20618"/>
                    <a:pt x="5723" y="20618"/>
                  </a:cubicBezTo>
                  <a:cubicBezTo>
                    <a:pt x="5723" y="20618"/>
                    <a:pt x="5538" y="20373"/>
                    <a:pt x="5354" y="20373"/>
                  </a:cubicBezTo>
                  <a:cubicBezTo>
                    <a:pt x="5354" y="20373"/>
                    <a:pt x="5169" y="20373"/>
                    <a:pt x="5169" y="20373"/>
                  </a:cubicBezTo>
                  <a:cubicBezTo>
                    <a:pt x="4985" y="20373"/>
                    <a:pt x="4800" y="20373"/>
                    <a:pt x="4800" y="20373"/>
                  </a:cubicBezTo>
                  <a:cubicBezTo>
                    <a:pt x="4800" y="20618"/>
                    <a:pt x="4800" y="20618"/>
                    <a:pt x="4800" y="20618"/>
                  </a:cubicBezTo>
                  <a:cubicBezTo>
                    <a:pt x="4800" y="20618"/>
                    <a:pt x="4985" y="20618"/>
                    <a:pt x="4985" y="20618"/>
                  </a:cubicBezTo>
                  <a:cubicBezTo>
                    <a:pt x="4985" y="20864"/>
                    <a:pt x="4985" y="21109"/>
                    <a:pt x="4985" y="21109"/>
                  </a:cubicBezTo>
                  <a:cubicBezTo>
                    <a:pt x="4985" y="21109"/>
                    <a:pt x="4800" y="21109"/>
                    <a:pt x="4800" y="21109"/>
                  </a:cubicBezTo>
                  <a:cubicBezTo>
                    <a:pt x="4800" y="21355"/>
                    <a:pt x="4431" y="21355"/>
                    <a:pt x="4431" y="21355"/>
                  </a:cubicBezTo>
                  <a:cubicBezTo>
                    <a:pt x="4431" y="21355"/>
                    <a:pt x="4431" y="21600"/>
                    <a:pt x="4431" y="21600"/>
                  </a:cubicBezTo>
                  <a:cubicBezTo>
                    <a:pt x="4431" y="21600"/>
                    <a:pt x="4431" y="21600"/>
                    <a:pt x="4246" y="21600"/>
                  </a:cubicBezTo>
                  <a:cubicBezTo>
                    <a:pt x="4062" y="21600"/>
                    <a:pt x="4062" y="21600"/>
                    <a:pt x="3877" y="21600"/>
                  </a:cubicBezTo>
                  <a:cubicBezTo>
                    <a:pt x="3877" y="21355"/>
                    <a:pt x="3692" y="21355"/>
                    <a:pt x="3508" y="21355"/>
                  </a:cubicBezTo>
                  <a:cubicBezTo>
                    <a:pt x="3508" y="21355"/>
                    <a:pt x="2954" y="21109"/>
                    <a:pt x="2954" y="21109"/>
                  </a:cubicBezTo>
                  <a:cubicBezTo>
                    <a:pt x="2954" y="21109"/>
                    <a:pt x="2769" y="21355"/>
                    <a:pt x="2769" y="21355"/>
                  </a:cubicBezTo>
                  <a:cubicBezTo>
                    <a:pt x="2585" y="21355"/>
                    <a:pt x="2400" y="21355"/>
                    <a:pt x="2215" y="21109"/>
                  </a:cubicBezTo>
                  <a:cubicBezTo>
                    <a:pt x="2215" y="21109"/>
                    <a:pt x="2031" y="21109"/>
                    <a:pt x="2031" y="21109"/>
                  </a:cubicBezTo>
                  <a:cubicBezTo>
                    <a:pt x="2031" y="20864"/>
                    <a:pt x="2031" y="20618"/>
                    <a:pt x="2031" y="20618"/>
                  </a:cubicBezTo>
                  <a:cubicBezTo>
                    <a:pt x="2031" y="20618"/>
                    <a:pt x="1846" y="20373"/>
                    <a:pt x="2031" y="20373"/>
                  </a:cubicBezTo>
                  <a:cubicBezTo>
                    <a:pt x="2031" y="20373"/>
                    <a:pt x="2215" y="20373"/>
                    <a:pt x="2400" y="20373"/>
                  </a:cubicBezTo>
                  <a:cubicBezTo>
                    <a:pt x="2585" y="20373"/>
                    <a:pt x="2769" y="20373"/>
                    <a:pt x="2769" y="20127"/>
                  </a:cubicBezTo>
                  <a:cubicBezTo>
                    <a:pt x="2769" y="20127"/>
                    <a:pt x="2769" y="20127"/>
                    <a:pt x="2954" y="20127"/>
                  </a:cubicBezTo>
                  <a:cubicBezTo>
                    <a:pt x="2954" y="20127"/>
                    <a:pt x="3138" y="20373"/>
                    <a:pt x="3138" y="20127"/>
                  </a:cubicBezTo>
                  <a:cubicBezTo>
                    <a:pt x="3138" y="19882"/>
                    <a:pt x="3138" y="19882"/>
                    <a:pt x="3138" y="19882"/>
                  </a:cubicBezTo>
                  <a:cubicBezTo>
                    <a:pt x="2954" y="19636"/>
                    <a:pt x="2954" y="19636"/>
                    <a:pt x="2954" y="19636"/>
                  </a:cubicBezTo>
                  <a:cubicBezTo>
                    <a:pt x="2954" y="19636"/>
                    <a:pt x="3138" y="19391"/>
                    <a:pt x="3138" y="19391"/>
                  </a:cubicBezTo>
                  <a:cubicBezTo>
                    <a:pt x="3323" y="19391"/>
                    <a:pt x="3508" y="19391"/>
                    <a:pt x="3508" y="19391"/>
                  </a:cubicBezTo>
                  <a:cubicBezTo>
                    <a:pt x="3692" y="19391"/>
                    <a:pt x="3877" y="19391"/>
                    <a:pt x="3877" y="19391"/>
                  </a:cubicBezTo>
                  <a:cubicBezTo>
                    <a:pt x="3877" y="19391"/>
                    <a:pt x="3877" y="19391"/>
                    <a:pt x="4062" y="19145"/>
                  </a:cubicBezTo>
                  <a:cubicBezTo>
                    <a:pt x="4062" y="19145"/>
                    <a:pt x="3323" y="19145"/>
                    <a:pt x="3138" y="18900"/>
                  </a:cubicBezTo>
                  <a:cubicBezTo>
                    <a:pt x="2769" y="18409"/>
                    <a:pt x="2400" y="18164"/>
                    <a:pt x="2400" y="17182"/>
                  </a:cubicBezTo>
                  <a:cubicBezTo>
                    <a:pt x="2215" y="17182"/>
                    <a:pt x="2215" y="16691"/>
                    <a:pt x="2031" y="16691"/>
                  </a:cubicBezTo>
                  <a:cubicBezTo>
                    <a:pt x="2031" y="16691"/>
                    <a:pt x="1662" y="16445"/>
                    <a:pt x="1662" y="16445"/>
                  </a:cubicBezTo>
                  <a:cubicBezTo>
                    <a:pt x="1662" y="16200"/>
                    <a:pt x="1662" y="16200"/>
                    <a:pt x="1846" y="15955"/>
                  </a:cubicBezTo>
                  <a:cubicBezTo>
                    <a:pt x="1846" y="15709"/>
                    <a:pt x="1846" y="15709"/>
                    <a:pt x="2031" y="15464"/>
                  </a:cubicBezTo>
                  <a:cubicBezTo>
                    <a:pt x="2031" y="15464"/>
                    <a:pt x="2031" y="14973"/>
                    <a:pt x="2031" y="14973"/>
                  </a:cubicBezTo>
                  <a:cubicBezTo>
                    <a:pt x="2031" y="14973"/>
                    <a:pt x="2215" y="14727"/>
                    <a:pt x="2031" y="14727"/>
                  </a:cubicBezTo>
                  <a:cubicBezTo>
                    <a:pt x="2031" y="14482"/>
                    <a:pt x="1846" y="14236"/>
                    <a:pt x="1846" y="14236"/>
                  </a:cubicBezTo>
                  <a:cubicBezTo>
                    <a:pt x="1846" y="14236"/>
                    <a:pt x="1846" y="14236"/>
                    <a:pt x="1662" y="14236"/>
                  </a:cubicBezTo>
                  <a:cubicBezTo>
                    <a:pt x="1662" y="14482"/>
                    <a:pt x="1662" y="14482"/>
                    <a:pt x="1662" y="14482"/>
                  </a:cubicBezTo>
                  <a:cubicBezTo>
                    <a:pt x="1292" y="14727"/>
                    <a:pt x="1292" y="14727"/>
                    <a:pt x="1292" y="14727"/>
                  </a:cubicBezTo>
                  <a:cubicBezTo>
                    <a:pt x="1292" y="14727"/>
                    <a:pt x="1108" y="14236"/>
                    <a:pt x="1108" y="14236"/>
                  </a:cubicBezTo>
                  <a:cubicBezTo>
                    <a:pt x="923" y="14236"/>
                    <a:pt x="923" y="14236"/>
                    <a:pt x="923" y="13991"/>
                  </a:cubicBezTo>
                  <a:cubicBezTo>
                    <a:pt x="923" y="13991"/>
                    <a:pt x="1108" y="13745"/>
                    <a:pt x="1108" y="13745"/>
                  </a:cubicBezTo>
                  <a:cubicBezTo>
                    <a:pt x="1108" y="13745"/>
                    <a:pt x="923" y="13500"/>
                    <a:pt x="923" y="13500"/>
                  </a:cubicBezTo>
                  <a:cubicBezTo>
                    <a:pt x="923" y="13500"/>
                    <a:pt x="1108" y="13009"/>
                    <a:pt x="1292" y="13009"/>
                  </a:cubicBezTo>
                  <a:cubicBezTo>
                    <a:pt x="1477" y="12764"/>
                    <a:pt x="1846" y="12273"/>
                    <a:pt x="1846" y="12273"/>
                  </a:cubicBezTo>
                  <a:cubicBezTo>
                    <a:pt x="2031" y="11782"/>
                    <a:pt x="2031" y="11782"/>
                    <a:pt x="2031" y="11782"/>
                  </a:cubicBezTo>
                  <a:cubicBezTo>
                    <a:pt x="1846" y="11536"/>
                    <a:pt x="1846" y="11536"/>
                    <a:pt x="1846" y="11536"/>
                  </a:cubicBezTo>
                  <a:cubicBezTo>
                    <a:pt x="1846" y="11536"/>
                    <a:pt x="1662" y="11782"/>
                    <a:pt x="1662" y="11782"/>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8" name="Shape 2231">
              <a:extLst>
                <a:ext uri="{FF2B5EF4-FFF2-40B4-BE49-F238E27FC236}">
                  <a16:creationId xmlns:a16="http://schemas.microsoft.com/office/drawing/2014/main" id="{20CFE40D-5514-4194-CE77-4D64BE8B46C9}"/>
                </a:ext>
              </a:extLst>
            </p:cNvPr>
            <p:cNvSpPr/>
            <p:nvPr/>
          </p:nvSpPr>
          <p:spPr>
            <a:xfrm>
              <a:off x="4265076" y="5945937"/>
              <a:ext cx="936529" cy="841308"/>
            </a:xfrm>
            <a:custGeom>
              <a:avLst/>
              <a:gdLst/>
              <a:ahLst/>
              <a:cxnLst>
                <a:cxn ang="0">
                  <a:pos x="wd2" y="hd2"/>
                </a:cxn>
                <a:cxn ang="5400000">
                  <a:pos x="wd2" y="hd2"/>
                </a:cxn>
                <a:cxn ang="10800000">
                  <a:pos x="wd2" y="hd2"/>
                </a:cxn>
                <a:cxn ang="16200000">
                  <a:pos x="wd2" y="hd2"/>
                </a:cxn>
              </a:cxnLst>
              <a:rect l="0" t="0" r="r" b="b"/>
              <a:pathLst>
                <a:path w="21600" h="21526" extrusionOk="0">
                  <a:moveTo>
                    <a:pt x="20458" y="8394"/>
                  </a:moveTo>
                  <a:cubicBezTo>
                    <a:pt x="20458" y="8190"/>
                    <a:pt x="20363" y="8087"/>
                    <a:pt x="20553" y="7985"/>
                  </a:cubicBezTo>
                  <a:cubicBezTo>
                    <a:pt x="20648" y="7985"/>
                    <a:pt x="20744" y="8190"/>
                    <a:pt x="20744" y="7985"/>
                  </a:cubicBezTo>
                  <a:cubicBezTo>
                    <a:pt x="20744" y="7780"/>
                    <a:pt x="20839" y="7882"/>
                    <a:pt x="20744" y="7678"/>
                  </a:cubicBezTo>
                  <a:cubicBezTo>
                    <a:pt x="20744" y="7678"/>
                    <a:pt x="20744" y="7678"/>
                    <a:pt x="20744" y="7678"/>
                  </a:cubicBezTo>
                  <a:cubicBezTo>
                    <a:pt x="20744" y="7678"/>
                    <a:pt x="20744" y="7678"/>
                    <a:pt x="20744" y="7678"/>
                  </a:cubicBezTo>
                  <a:cubicBezTo>
                    <a:pt x="20744" y="7678"/>
                    <a:pt x="20744" y="7882"/>
                    <a:pt x="20648" y="7882"/>
                  </a:cubicBezTo>
                  <a:cubicBezTo>
                    <a:pt x="20648" y="7882"/>
                    <a:pt x="20553" y="7985"/>
                    <a:pt x="20458" y="7985"/>
                  </a:cubicBezTo>
                  <a:cubicBezTo>
                    <a:pt x="20363" y="7882"/>
                    <a:pt x="20363" y="7882"/>
                    <a:pt x="20363" y="7882"/>
                  </a:cubicBezTo>
                  <a:cubicBezTo>
                    <a:pt x="20553" y="7678"/>
                    <a:pt x="20553" y="7678"/>
                    <a:pt x="20553" y="7678"/>
                  </a:cubicBezTo>
                  <a:cubicBezTo>
                    <a:pt x="20553" y="7268"/>
                    <a:pt x="20553" y="7268"/>
                    <a:pt x="20553" y="7268"/>
                  </a:cubicBezTo>
                  <a:cubicBezTo>
                    <a:pt x="20553" y="7268"/>
                    <a:pt x="20458" y="7064"/>
                    <a:pt x="20363" y="6859"/>
                  </a:cubicBezTo>
                  <a:cubicBezTo>
                    <a:pt x="20268" y="6756"/>
                    <a:pt x="20173" y="6654"/>
                    <a:pt x="20173" y="6654"/>
                  </a:cubicBezTo>
                  <a:cubicBezTo>
                    <a:pt x="20458" y="6449"/>
                    <a:pt x="20458" y="6449"/>
                    <a:pt x="20458" y="6449"/>
                  </a:cubicBezTo>
                  <a:cubicBezTo>
                    <a:pt x="20553" y="6347"/>
                    <a:pt x="20553" y="6347"/>
                    <a:pt x="20553" y="6347"/>
                  </a:cubicBezTo>
                  <a:cubicBezTo>
                    <a:pt x="20553" y="6245"/>
                    <a:pt x="20553" y="6245"/>
                    <a:pt x="20553" y="6245"/>
                  </a:cubicBezTo>
                  <a:cubicBezTo>
                    <a:pt x="20553" y="6245"/>
                    <a:pt x="20744" y="6449"/>
                    <a:pt x="20934" y="6449"/>
                  </a:cubicBezTo>
                  <a:cubicBezTo>
                    <a:pt x="21029" y="6449"/>
                    <a:pt x="20934" y="6449"/>
                    <a:pt x="21124" y="6347"/>
                  </a:cubicBezTo>
                  <a:cubicBezTo>
                    <a:pt x="21315" y="6347"/>
                    <a:pt x="21600" y="6040"/>
                    <a:pt x="21600" y="6040"/>
                  </a:cubicBezTo>
                  <a:cubicBezTo>
                    <a:pt x="21600" y="6040"/>
                    <a:pt x="21410" y="5835"/>
                    <a:pt x="21315" y="5835"/>
                  </a:cubicBezTo>
                  <a:cubicBezTo>
                    <a:pt x="21219" y="5937"/>
                    <a:pt x="21315" y="5937"/>
                    <a:pt x="21029" y="5937"/>
                  </a:cubicBezTo>
                  <a:cubicBezTo>
                    <a:pt x="20744" y="5835"/>
                    <a:pt x="20648" y="5733"/>
                    <a:pt x="20648" y="5733"/>
                  </a:cubicBezTo>
                  <a:cubicBezTo>
                    <a:pt x="20648" y="5733"/>
                    <a:pt x="20553" y="5733"/>
                    <a:pt x="20458" y="5733"/>
                  </a:cubicBezTo>
                  <a:cubicBezTo>
                    <a:pt x="20363" y="5733"/>
                    <a:pt x="20363" y="5733"/>
                    <a:pt x="20268" y="5630"/>
                  </a:cubicBezTo>
                  <a:cubicBezTo>
                    <a:pt x="20078" y="5426"/>
                    <a:pt x="19887" y="5221"/>
                    <a:pt x="19887" y="5221"/>
                  </a:cubicBezTo>
                  <a:cubicBezTo>
                    <a:pt x="19887" y="5221"/>
                    <a:pt x="19697" y="5323"/>
                    <a:pt x="19697" y="5221"/>
                  </a:cubicBezTo>
                  <a:cubicBezTo>
                    <a:pt x="19697" y="5221"/>
                    <a:pt x="19792" y="5016"/>
                    <a:pt x="19792" y="5016"/>
                  </a:cubicBezTo>
                  <a:cubicBezTo>
                    <a:pt x="19792" y="4914"/>
                    <a:pt x="19792" y="4914"/>
                    <a:pt x="19792" y="4914"/>
                  </a:cubicBezTo>
                  <a:cubicBezTo>
                    <a:pt x="19697" y="4811"/>
                    <a:pt x="19697" y="4811"/>
                    <a:pt x="19697" y="4811"/>
                  </a:cubicBezTo>
                  <a:cubicBezTo>
                    <a:pt x="19697" y="4811"/>
                    <a:pt x="19887" y="4811"/>
                    <a:pt x="19887" y="4811"/>
                  </a:cubicBezTo>
                  <a:cubicBezTo>
                    <a:pt x="19982" y="4709"/>
                    <a:pt x="19982" y="4709"/>
                    <a:pt x="19982" y="4709"/>
                  </a:cubicBezTo>
                  <a:cubicBezTo>
                    <a:pt x="20173" y="4504"/>
                    <a:pt x="19982" y="4300"/>
                    <a:pt x="19697" y="4402"/>
                  </a:cubicBezTo>
                  <a:cubicBezTo>
                    <a:pt x="19602" y="4402"/>
                    <a:pt x="19507" y="4504"/>
                    <a:pt x="19507" y="4504"/>
                  </a:cubicBezTo>
                  <a:cubicBezTo>
                    <a:pt x="19411" y="4504"/>
                    <a:pt x="19221" y="4402"/>
                    <a:pt x="19221" y="4300"/>
                  </a:cubicBezTo>
                  <a:cubicBezTo>
                    <a:pt x="19221" y="4197"/>
                    <a:pt x="19126" y="4197"/>
                    <a:pt x="19316" y="4095"/>
                  </a:cubicBezTo>
                  <a:cubicBezTo>
                    <a:pt x="19411" y="4095"/>
                    <a:pt x="19507" y="3890"/>
                    <a:pt x="19507" y="3890"/>
                  </a:cubicBezTo>
                  <a:cubicBezTo>
                    <a:pt x="19316" y="3583"/>
                    <a:pt x="19316" y="3583"/>
                    <a:pt x="19316" y="3583"/>
                  </a:cubicBezTo>
                  <a:cubicBezTo>
                    <a:pt x="19411" y="2969"/>
                    <a:pt x="19411" y="2969"/>
                    <a:pt x="19411" y="2969"/>
                  </a:cubicBezTo>
                  <a:cubicBezTo>
                    <a:pt x="19031" y="2866"/>
                    <a:pt x="19031" y="2866"/>
                    <a:pt x="19031" y="2866"/>
                  </a:cubicBezTo>
                  <a:cubicBezTo>
                    <a:pt x="19031" y="2662"/>
                    <a:pt x="19031" y="2662"/>
                    <a:pt x="19031" y="2662"/>
                  </a:cubicBezTo>
                  <a:cubicBezTo>
                    <a:pt x="18841" y="2559"/>
                    <a:pt x="18841" y="2559"/>
                    <a:pt x="18841" y="2559"/>
                  </a:cubicBezTo>
                  <a:cubicBezTo>
                    <a:pt x="18650" y="3071"/>
                    <a:pt x="18650" y="3071"/>
                    <a:pt x="18650" y="3071"/>
                  </a:cubicBezTo>
                  <a:cubicBezTo>
                    <a:pt x="18650" y="3071"/>
                    <a:pt x="18365" y="3173"/>
                    <a:pt x="18365" y="3276"/>
                  </a:cubicBezTo>
                  <a:cubicBezTo>
                    <a:pt x="18270" y="3378"/>
                    <a:pt x="17794" y="3378"/>
                    <a:pt x="17794" y="3378"/>
                  </a:cubicBezTo>
                  <a:cubicBezTo>
                    <a:pt x="17413" y="3378"/>
                    <a:pt x="17413" y="3378"/>
                    <a:pt x="17413" y="3378"/>
                  </a:cubicBezTo>
                  <a:cubicBezTo>
                    <a:pt x="16747" y="3583"/>
                    <a:pt x="16747" y="3583"/>
                    <a:pt x="16747" y="3583"/>
                  </a:cubicBezTo>
                  <a:cubicBezTo>
                    <a:pt x="16747" y="3583"/>
                    <a:pt x="16557" y="3685"/>
                    <a:pt x="16462" y="3685"/>
                  </a:cubicBezTo>
                  <a:cubicBezTo>
                    <a:pt x="16367" y="3685"/>
                    <a:pt x="15891" y="3583"/>
                    <a:pt x="15891" y="3583"/>
                  </a:cubicBezTo>
                  <a:cubicBezTo>
                    <a:pt x="15605" y="3685"/>
                    <a:pt x="15605" y="3685"/>
                    <a:pt x="15605" y="3685"/>
                  </a:cubicBezTo>
                  <a:cubicBezTo>
                    <a:pt x="14939" y="3481"/>
                    <a:pt x="14939" y="3481"/>
                    <a:pt x="14939" y="3481"/>
                  </a:cubicBezTo>
                  <a:cubicBezTo>
                    <a:pt x="14749" y="3276"/>
                    <a:pt x="14749" y="3276"/>
                    <a:pt x="14749" y="3276"/>
                  </a:cubicBezTo>
                  <a:cubicBezTo>
                    <a:pt x="14654" y="3173"/>
                    <a:pt x="14654" y="3173"/>
                    <a:pt x="14654" y="3173"/>
                  </a:cubicBezTo>
                  <a:cubicBezTo>
                    <a:pt x="14178" y="3071"/>
                    <a:pt x="14178" y="3071"/>
                    <a:pt x="14178" y="3071"/>
                  </a:cubicBezTo>
                  <a:cubicBezTo>
                    <a:pt x="14083" y="2866"/>
                    <a:pt x="14083" y="2866"/>
                    <a:pt x="14083" y="2866"/>
                  </a:cubicBezTo>
                  <a:cubicBezTo>
                    <a:pt x="13702" y="2866"/>
                    <a:pt x="13702" y="2866"/>
                    <a:pt x="13702" y="2866"/>
                  </a:cubicBezTo>
                  <a:cubicBezTo>
                    <a:pt x="13702" y="2866"/>
                    <a:pt x="13702" y="2866"/>
                    <a:pt x="13702" y="2866"/>
                  </a:cubicBezTo>
                  <a:cubicBezTo>
                    <a:pt x="13702" y="2866"/>
                    <a:pt x="13702" y="2866"/>
                    <a:pt x="13702" y="2866"/>
                  </a:cubicBezTo>
                  <a:cubicBezTo>
                    <a:pt x="13512" y="2764"/>
                    <a:pt x="13512" y="2764"/>
                    <a:pt x="13512" y="2764"/>
                  </a:cubicBezTo>
                  <a:cubicBezTo>
                    <a:pt x="13512" y="2662"/>
                    <a:pt x="13512" y="2662"/>
                    <a:pt x="13512" y="2662"/>
                  </a:cubicBezTo>
                  <a:cubicBezTo>
                    <a:pt x="13417" y="2662"/>
                    <a:pt x="13417" y="2662"/>
                    <a:pt x="13417" y="2559"/>
                  </a:cubicBezTo>
                  <a:cubicBezTo>
                    <a:pt x="13322" y="2457"/>
                    <a:pt x="13322" y="2457"/>
                    <a:pt x="13322" y="2457"/>
                  </a:cubicBezTo>
                  <a:cubicBezTo>
                    <a:pt x="12846" y="1843"/>
                    <a:pt x="12846" y="1843"/>
                    <a:pt x="12846" y="1843"/>
                  </a:cubicBezTo>
                  <a:cubicBezTo>
                    <a:pt x="12751" y="1843"/>
                    <a:pt x="12751" y="1843"/>
                    <a:pt x="12751" y="1843"/>
                  </a:cubicBezTo>
                  <a:cubicBezTo>
                    <a:pt x="12751" y="1843"/>
                    <a:pt x="12751" y="1843"/>
                    <a:pt x="12751" y="1843"/>
                  </a:cubicBezTo>
                  <a:cubicBezTo>
                    <a:pt x="11894" y="1536"/>
                    <a:pt x="11894" y="1536"/>
                    <a:pt x="11894" y="1536"/>
                  </a:cubicBezTo>
                  <a:cubicBezTo>
                    <a:pt x="11609" y="1126"/>
                    <a:pt x="11609" y="1126"/>
                    <a:pt x="11609" y="1126"/>
                  </a:cubicBezTo>
                  <a:cubicBezTo>
                    <a:pt x="11323" y="921"/>
                    <a:pt x="11323" y="921"/>
                    <a:pt x="11323" y="921"/>
                  </a:cubicBezTo>
                  <a:cubicBezTo>
                    <a:pt x="10943" y="614"/>
                    <a:pt x="10943" y="614"/>
                    <a:pt x="10943" y="614"/>
                  </a:cubicBezTo>
                  <a:cubicBezTo>
                    <a:pt x="10562" y="307"/>
                    <a:pt x="10562" y="307"/>
                    <a:pt x="10562" y="307"/>
                  </a:cubicBezTo>
                  <a:cubicBezTo>
                    <a:pt x="10372" y="102"/>
                    <a:pt x="10372" y="102"/>
                    <a:pt x="10372" y="102"/>
                  </a:cubicBezTo>
                  <a:cubicBezTo>
                    <a:pt x="10372" y="102"/>
                    <a:pt x="10372" y="102"/>
                    <a:pt x="10372" y="102"/>
                  </a:cubicBezTo>
                  <a:cubicBezTo>
                    <a:pt x="10372" y="102"/>
                    <a:pt x="10277" y="0"/>
                    <a:pt x="10277" y="0"/>
                  </a:cubicBezTo>
                  <a:cubicBezTo>
                    <a:pt x="10277" y="0"/>
                    <a:pt x="10181" y="0"/>
                    <a:pt x="10181" y="0"/>
                  </a:cubicBezTo>
                  <a:cubicBezTo>
                    <a:pt x="10086" y="0"/>
                    <a:pt x="9896" y="0"/>
                    <a:pt x="9896" y="0"/>
                  </a:cubicBezTo>
                  <a:cubicBezTo>
                    <a:pt x="9896" y="0"/>
                    <a:pt x="9801" y="102"/>
                    <a:pt x="9706" y="102"/>
                  </a:cubicBezTo>
                  <a:cubicBezTo>
                    <a:pt x="9706" y="102"/>
                    <a:pt x="9611" y="307"/>
                    <a:pt x="9611" y="307"/>
                  </a:cubicBezTo>
                  <a:cubicBezTo>
                    <a:pt x="9515" y="409"/>
                    <a:pt x="9515" y="409"/>
                    <a:pt x="9515" y="409"/>
                  </a:cubicBezTo>
                  <a:cubicBezTo>
                    <a:pt x="9611" y="512"/>
                    <a:pt x="9611" y="512"/>
                    <a:pt x="9611" y="512"/>
                  </a:cubicBezTo>
                  <a:cubicBezTo>
                    <a:pt x="9801" y="921"/>
                    <a:pt x="9896" y="921"/>
                    <a:pt x="9420" y="819"/>
                  </a:cubicBezTo>
                  <a:cubicBezTo>
                    <a:pt x="9230" y="717"/>
                    <a:pt x="9230" y="717"/>
                    <a:pt x="9230" y="717"/>
                  </a:cubicBezTo>
                  <a:cubicBezTo>
                    <a:pt x="9135" y="819"/>
                    <a:pt x="9135" y="819"/>
                    <a:pt x="9135" y="819"/>
                  </a:cubicBezTo>
                  <a:cubicBezTo>
                    <a:pt x="8944" y="921"/>
                    <a:pt x="8944" y="921"/>
                    <a:pt x="8944" y="921"/>
                  </a:cubicBezTo>
                  <a:cubicBezTo>
                    <a:pt x="8944" y="921"/>
                    <a:pt x="8944" y="921"/>
                    <a:pt x="8944" y="921"/>
                  </a:cubicBezTo>
                  <a:cubicBezTo>
                    <a:pt x="8944" y="921"/>
                    <a:pt x="8944" y="1126"/>
                    <a:pt x="8944" y="1126"/>
                  </a:cubicBezTo>
                  <a:cubicBezTo>
                    <a:pt x="8849" y="1331"/>
                    <a:pt x="8849" y="1331"/>
                    <a:pt x="8849" y="1331"/>
                  </a:cubicBezTo>
                  <a:cubicBezTo>
                    <a:pt x="8659" y="1433"/>
                    <a:pt x="8659" y="1433"/>
                    <a:pt x="8659" y="1433"/>
                  </a:cubicBezTo>
                  <a:cubicBezTo>
                    <a:pt x="8469" y="1536"/>
                    <a:pt x="8469" y="1536"/>
                    <a:pt x="8469" y="1536"/>
                  </a:cubicBezTo>
                  <a:cubicBezTo>
                    <a:pt x="8374" y="1638"/>
                    <a:pt x="8374" y="1638"/>
                    <a:pt x="8374" y="1638"/>
                  </a:cubicBezTo>
                  <a:cubicBezTo>
                    <a:pt x="8183" y="1638"/>
                    <a:pt x="8183" y="1638"/>
                    <a:pt x="8183" y="1638"/>
                  </a:cubicBezTo>
                  <a:cubicBezTo>
                    <a:pt x="7993" y="1740"/>
                    <a:pt x="7993" y="1740"/>
                    <a:pt x="7993" y="1740"/>
                  </a:cubicBezTo>
                  <a:cubicBezTo>
                    <a:pt x="7898" y="1945"/>
                    <a:pt x="7898" y="1945"/>
                    <a:pt x="7898" y="1945"/>
                  </a:cubicBezTo>
                  <a:cubicBezTo>
                    <a:pt x="7898" y="1945"/>
                    <a:pt x="7707" y="1945"/>
                    <a:pt x="7707" y="1945"/>
                  </a:cubicBezTo>
                  <a:cubicBezTo>
                    <a:pt x="7707" y="1945"/>
                    <a:pt x="7422" y="2047"/>
                    <a:pt x="7422" y="2047"/>
                  </a:cubicBezTo>
                  <a:cubicBezTo>
                    <a:pt x="7422" y="2252"/>
                    <a:pt x="7422" y="2252"/>
                    <a:pt x="7422" y="2252"/>
                  </a:cubicBezTo>
                  <a:cubicBezTo>
                    <a:pt x="7422" y="2252"/>
                    <a:pt x="7327" y="2355"/>
                    <a:pt x="7327" y="2355"/>
                  </a:cubicBezTo>
                  <a:cubicBezTo>
                    <a:pt x="7327" y="2355"/>
                    <a:pt x="7327" y="2662"/>
                    <a:pt x="7327" y="2662"/>
                  </a:cubicBezTo>
                  <a:cubicBezTo>
                    <a:pt x="7327" y="2662"/>
                    <a:pt x="7517" y="2764"/>
                    <a:pt x="7517" y="2764"/>
                  </a:cubicBezTo>
                  <a:cubicBezTo>
                    <a:pt x="7612" y="2866"/>
                    <a:pt x="7612" y="2866"/>
                    <a:pt x="7612" y="2866"/>
                  </a:cubicBezTo>
                  <a:cubicBezTo>
                    <a:pt x="7707" y="2969"/>
                    <a:pt x="7707" y="2969"/>
                    <a:pt x="7707" y="2969"/>
                  </a:cubicBezTo>
                  <a:cubicBezTo>
                    <a:pt x="7707" y="2969"/>
                    <a:pt x="7803" y="3071"/>
                    <a:pt x="7803" y="3071"/>
                  </a:cubicBezTo>
                  <a:cubicBezTo>
                    <a:pt x="7707" y="3071"/>
                    <a:pt x="7707" y="3378"/>
                    <a:pt x="7707" y="3378"/>
                  </a:cubicBezTo>
                  <a:cubicBezTo>
                    <a:pt x="7803" y="3685"/>
                    <a:pt x="7803" y="3685"/>
                    <a:pt x="7803" y="3685"/>
                  </a:cubicBezTo>
                  <a:cubicBezTo>
                    <a:pt x="7707" y="3788"/>
                    <a:pt x="7707" y="3788"/>
                    <a:pt x="7707" y="3788"/>
                  </a:cubicBezTo>
                  <a:cubicBezTo>
                    <a:pt x="7803" y="3992"/>
                    <a:pt x="7803" y="3992"/>
                    <a:pt x="7803" y="3992"/>
                  </a:cubicBezTo>
                  <a:cubicBezTo>
                    <a:pt x="7803" y="3992"/>
                    <a:pt x="7898" y="3992"/>
                    <a:pt x="7803" y="4095"/>
                  </a:cubicBezTo>
                  <a:cubicBezTo>
                    <a:pt x="7707" y="4095"/>
                    <a:pt x="7612" y="4197"/>
                    <a:pt x="7612" y="4197"/>
                  </a:cubicBezTo>
                  <a:cubicBezTo>
                    <a:pt x="7612" y="4197"/>
                    <a:pt x="7422" y="4197"/>
                    <a:pt x="7422" y="4197"/>
                  </a:cubicBezTo>
                  <a:cubicBezTo>
                    <a:pt x="7422" y="4197"/>
                    <a:pt x="7232" y="4197"/>
                    <a:pt x="7232" y="4197"/>
                  </a:cubicBezTo>
                  <a:cubicBezTo>
                    <a:pt x="7137" y="4402"/>
                    <a:pt x="7137" y="4402"/>
                    <a:pt x="7137" y="4402"/>
                  </a:cubicBezTo>
                  <a:cubicBezTo>
                    <a:pt x="6946" y="4300"/>
                    <a:pt x="6946" y="4300"/>
                    <a:pt x="6946" y="4300"/>
                  </a:cubicBezTo>
                  <a:cubicBezTo>
                    <a:pt x="6946" y="4504"/>
                    <a:pt x="6946" y="4504"/>
                    <a:pt x="6946" y="4504"/>
                  </a:cubicBezTo>
                  <a:cubicBezTo>
                    <a:pt x="6661" y="4607"/>
                    <a:pt x="6661" y="4607"/>
                    <a:pt x="6661" y="4607"/>
                  </a:cubicBezTo>
                  <a:cubicBezTo>
                    <a:pt x="6470" y="4709"/>
                    <a:pt x="6470" y="4709"/>
                    <a:pt x="6470" y="4709"/>
                  </a:cubicBezTo>
                  <a:cubicBezTo>
                    <a:pt x="6375" y="4914"/>
                    <a:pt x="6375" y="4914"/>
                    <a:pt x="6375" y="4914"/>
                  </a:cubicBezTo>
                  <a:cubicBezTo>
                    <a:pt x="6470" y="5016"/>
                    <a:pt x="6470" y="5016"/>
                    <a:pt x="6470" y="5016"/>
                  </a:cubicBezTo>
                  <a:cubicBezTo>
                    <a:pt x="6470" y="5016"/>
                    <a:pt x="6566" y="5118"/>
                    <a:pt x="6566" y="5016"/>
                  </a:cubicBezTo>
                  <a:cubicBezTo>
                    <a:pt x="6566" y="5016"/>
                    <a:pt x="6566" y="4914"/>
                    <a:pt x="6566" y="4914"/>
                  </a:cubicBezTo>
                  <a:cubicBezTo>
                    <a:pt x="6661" y="5016"/>
                    <a:pt x="6756" y="5118"/>
                    <a:pt x="6756" y="5118"/>
                  </a:cubicBezTo>
                  <a:cubicBezTo>
                    <a:pt x="6851" y="5323"/>
                    <a:pt x="6851" y="5323"/>
                    <a:pt x="6851" y="5323"/>
                  </a:cubicBezTo>
                  <a:cubicBezTo>
                    <a:pt x="6851" y="5323"/>
                    <a:pt x="6661" y="5323"/>
                    <a:pt x="6661" y="5323"/>
                  </a:cubicBezTo>
                  <a:cubicBezTo>
                    <a:pt x="6661" y="5323"/>
                    <a:pt x="6566" y="5426"/>
                    <a:pt x="6566" y="5426"/>
                  </a:cubicBezTo>
                  <a:cubicBezTo>
                    <a:pt x="6470" y="5528"/>
                    <a:pt x="6470" y="5528"/>
                    <a:pt x="6470" y="5528"/>
                  </a:cubicBezTo>
                  <a:cubicBezTo>
                    <a:pt x="6470" y="5630"/>
                    <a:pt x="6470" y="5630"/>
                    <a:pt x="6470" y="5733"/>
                  </a:cubicBezTo>
                  <a:cubicBezTo>
                    <a:pt x="6470" y="5733"/>
                    <a:pt x="6470" y="5835"/>
                    <a:pt x="6470" y="5835"/>
                  </a:cubicBezTo>
                  <a:cubicBezTo>
                    <a:pt x="6566" y="5835"/>
                    <a:pt x="6661" y="6040"/>
                    <a:pt x="6661" y="6040"/>
                  </a:cubicBezTo>
                  <a:cubicBezTo>
                    <a:pt x="6661" y="6040"/>
                    <a:pt x="6756" y="6142"/>
                    <a:pt x="6756" y="6142"/>
                  </a:cubicBezTo>
                  <a:cubicBezTo>
                    <a:pt x="6756" y="6142"/>
                    <a:pt x="6756" y="6245"/>
                    <a:pt x="6756" y="6245"/>
                  </a:cubicBezTo>
                  <a:cubicBezTo>
                    <a:pt x="6756" y="6245"/>
                    <a:pt x="6661" y="6347"/>
                    <a:pt x="6566" y="6347"/>
                  </a:cubicBezTo>
                  <a:cubicBezTo>
                    <a:pt x="6566" y="6347"/>
                    <a:pt x="6375" y="6347"/>
                    <a:pt x="6375" y="6347"/>
                  </a:cubicBezTo>
                  <a:cubicBezTo>
                    <a:pt x="6375" y="6347"/>
                    <a:pt x="6280" y="6552"/>
                    <a:pt x="6280" y="6552"/>
                  </a:cubicBezTo>
                  <a:cubicBezTo>
                    <a:pt x="6280" y="6552"/>
                    <a:pt x="6185" y="6552"/>
                    <a:pt x="6090" y="6552"/>
                  </a:cubicBezTo>
                  <a:cubicBezTo>
                    <a:pt x="6090" y="6552"/>
                    <a:pt x="6280" y="6654"/>
                    <a:pt x="6090" y="6552"/>
                  </a:cubicBezTo>
                  <a:cubicBezTo>
                    <a:pt x="5804" y="6449"/>
                    <a:pt x="5804" y="6347"/>
                    <a:pt x="5804" y="6347"/>
                  </a:cubicBezTo>
                  <a:cubicBezTo>
                    <a:pt x="5804" y="6347"/>
                    <a:pt x="5709" y="6245"/>
                    <a:pt x="5709" y="6245"/>
                  </a:cubicBezTo>
                  <a:cubicBezTo>
                    <a:pt x="5614" y="6245"/>
                    <a:pt x="5519" y="6245"/>
                    <a:pt x="5519" y="6245"/>
                  </a:cubicBezTo>
                  <a:cubicBezTo>
                    <a:pt x="5329" y="6245"/>
                    <a:pt x="5329" y="6245"/>
                    <a:pt x="5329" y="6245"/>
                  </a:cubicBezTo>
                  <a:cubicBezTo>
                    <a:pt x="5233" y="6142"/>
                    <a:pt x="5233" y="6142"/>
                    <a:pt x="5233" y="6142"/>
                  </a:cubicBezTo>
                  <a:cubicBezTo>
                    <a:pt x="5138" y="6347"/>
                    <a:pt x="5138" y="6347"/>
                    <a:pt x="5138" y="6347"/>
                  </a:cubicBezTo>
                  <a:cubicBezTo>
                    <a:pt x="5138" y="6347"/>
                    <a:pt x="5138" y="6449"/>
                    <a:pt x="5043" y="6449"/>
                  </a:cubicBezTo>
                  <a:cubicBezTo>
                    <a:pt x="4948" y="6552"/>
                    <a:pt x="5043" y="6552"/>
                    <a:pt x="4948" y="6552"/>
                  </a:cubicBezTo>
                  <a:cubicBezTo>
                    <a:pt x="4758" y="6552"/>
                    <a:pt x="4663" y="6347"/>
                    <a:pt x="4663" y="6347"/>
                  </a:cubicBezTo>
                  <a:cubicBezTo>
                    <a:pt x="4663" y="6347"/>
                    <a:pt x="4472" y="6245"/>
                    <a:pt x="4472" y="6245"/>
                  </a:cubicBezTo>
                  <a:cubicBezTo>
                    <a:pt x="4377" y="6142"/>
                    <a:pt x="4377" y="6142"/>
                    <a:pt x="4377" y="6142"/>
                  </a:cubicBezTo>
                  <a:cubicBezTo>
                    <a:pt x="4282" y="6142"/>
                    <a:pt x="4282" y="6245"/>
                    <a:pt x="4282" y="6040"/>
                  </a:cubicBezTo>
                  <a:cubicBezTo>
                    <a:pt x="4282" y="5937"/>
                    <a:pt x="4282" y="5937"/>
                    <a:pt x="4282" y="5937"/>
                  </a:cubicBezTo>
                  <a:cubicBezTo>
                    <a:pt x="4187" y="5835"/>
                    <a:pt x="4187" y="5937"/>
                    <a:pt x="4092" y="5835"/>
                  </a:cubicBezTo>
                  <a:cubicBezTo>
                    <a:pt x="4092" y="5733"/>
                    <a:pt x="3996" y="5630"/>
                    <a:pt x="3996" y="5630"/>
                  </a:cubicBezTo>
                  <a:cubicBezTo>
                    <a:pt x="3901" y="5426"/>
                    <a:pt x="3901" y="5426"/>
                    <a:pt x="3901" y="5426"/>
                  </a:cubicBezTo>
                  <a:cubicBezTo>
                    <a:pt x="3901" y="5426"/>
                    <a:pt x="3901" y="5426"/>
                    <a:pt x="3901" y="5528"/>
                  </a:cubicBezTo>
                  <a:cubicBezTo>
                    <a:pt x="3806" y="5630"/>
                    <a:pt x="3711" y="5630"/>
                    <a:pt x="3711" y="5630"/>
                  </a:cubicBezTo>
                  <a:cubicBezTo>
                    <a:pt x="3711" y="5733"/>
                    <a:pt x="3616" y="5835"/>
                    <a:pt x="3616" y="5835"/>
                  </a:cubicBezTo>
                  <a:cubicBezTo>
                    <a:pt x="3616" y="5835"/>
                    <a:pt x="3521" y="5937"/>
                    <a:pt x="3521" y="6040"/>
                  </a:cubicBezTo>
                  <a:cubicBezTo>
                    <a:pt x="3616" y="6040"/>
                    <a:pt x="3616" y="6040"/>
                    <a:pt x="3616" y="6142"/>
                  </a:cubicBezTo>
                  <a:cubicBezTo>
                    <a:pt x="3616" y="6142"/>
                    <a:pt x="3521" y="6245"/>
                    <a:pt x="3521" y="6245"/>
                  </a:cubicBezTo>
                  <a:cubicBezTo>
                    <a:pt x="3426" y="6347"/>
                    <a:pt x="3426" y="6347"/>
                    <a:pt x="3330" y="6347"/>
                  </a:cubicBezTo>
                  <a:cubicBezTo>
                    <a:pt x="3330" y="6449"/>
                    <a:pt x="3140" y="6552"/>
                    <a:pt x="3140" y="6552"/>
                  </a:cubicBezTo>
                  <a:cubicBezTo>
                    <a:pt x="2950" y="6552"/>
                    <a:pt x="2950" y="6552"/>
                    <a:pt x="2950" y="6552"/>
                  </a:cubicBezTo>
                  <a:cubicBezTo>
                    <a:pt x="2664" y="6449"/>
                    <a:pt x="2664" y="6449"/>
                    <a:pt x="2664" y="6449"/>
                  </a:cubicBezTo>
                  <a:cubicBezTo>
                    <a:pt x="2474" y="6654"/>
                    <a:pt x="2474" y="6654"/>
                    <a:pt x="2474" y="6654"/>
                  </a:cubicBezTo>
                  <a:cubicBezTo>
                    <a:pt x="2474" y="6654"/>
                    <a:pt x="2379" y="6654"/>
                    <a:pt x="2379" y="6654"/>
                  </a:cubicBezTo>
                  <a:cubicBezTo>
                    <a:pt x="2284" y="6654"/>
                    <a:pt x="2189" y="6654"/>
                    <a:pt x="2189" y="6654"/>
                  </a:cubicBezTo>
                  <a:cubicBezTo>
                    <a:pt x="2189" y="6654"/>
                    <a:pt x="2093" y="6552"/>
                    <a:pt x="1998" y="6552"/>
                  </a:cubicBezTo>
                  <a:cubicBezTo>
                    <a:pt x="1998" y="6552"/>
                    <a:pt x="1903" y="6552"/>
                    <a:pt x="1903" y="6552"/>
                  </a:cubicBezTo>
                  <a:cubicBezTo>
                    <a:pt x="1808" y="6552"/>
                    <a:pt x="1713" y="6552"/>
                    <a:pt x="1713" y="6552"/>
                  </a:cubicBezTo>
                  <a:cubicBezTo>
                    <a:pt x="1713" y="6654"/>
                    <a:pt x="1713" y="6654"/>
                    <a:pt x="1713" y="6654"/>
                  </a:cubicBezTo>
                  <a:cubicBezTo>
                    <a:pt x="1713" y="6654"/>
                    <a:pt x="1808" y="6654"/>
                    <a:pt x="1808" y="6654"/>
                  </a:cubicBezTo>
                  <a:cubicBezTo>
                    <a:pt x="1808" y="6756"/>
                    <a:pt x="1808" y="6859"/>
                    <a:pt x="1808" y="6859"/>
                  </a:cubicBezTo>
                  <a:cubicBezTo>
                    <a:pt x="1808" y="6859"/>
                    <a:pt x="1713" y="6859"/>
                    <a:pt x="1713" y="6859"/>
                  </a:cubicBezTo>
                  <a:cubicBezTo>
                    <a:pt x="1713" y="6961"/>
                    <a:pt x="1522" y="6961"/>
                    <a:pt x="1522" y="6961"/>
                  </a:cubicBezTo>
                  <a:cubicBezTo>
                    <a:pt x="1522" y="6961"/>
                    <a:pt x="1522" y="7064"/>
                    <a:pt x="1522" y="7064"/>
                  </a:cubicBezTo>
                  <a:cubicBezTo>
                    <a:pt x="1522" y="7064"/>
                    <a:pt x="1522" y="7064"/>
                    <a:pt x="1427" y="7064"/>
                  </a:cubicBezTo>
                  <a:cubicBezTo>
                    <a:pt x="1332" y="7064"/>
                    <a:pt x="1332" y="7064"/>
                    <a:pt x="1237" y="7064"/>
                  </a:cubicBezTo>
                  <a:cubicBezTo>
                    <a:pt x="1237" y="6961"/>
                    <a:pt x="1142" y="6961"/>
                    <a:pt x="1047" y="6961"/>
                  </a:cubicBezTo>
                  <a:cubicBezTo>
                    <a:pt x="1047" y="6961"/>
                    <a:pt x="761" y="6859"/>
                    <a:pt x="761" y="6859"/>
                  </a:cubicBezTo>
                  <a:cubicBezTo>
                    <a:pt x="761" y="6859"/>
                    <a:pt x="666" y="6961"/>
                    <a:pt x="666" y="6961"/>
                  </a:cubicBezTo>
                  <a:cubicBezTo>
                    <a:pt x="571" y="6961"/>
                    <a:pt x="476" y="6961"/>
                    <a:pt x="381" y="6859"/>
                  </a:cubicBezTo>
                  <a:cubicBezTo>
                    <a:pt x="381"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654"/>
                    <a:pt x="285" y="6654"/>
                    <a:pt x="285" y="6654"/>
                  </a:cubicBezTo>
                  <a:cubicBezTo>
                    <a:pt x="0" y="6859"/>
                    <a:pt x="0" y="6859"/>
                    <a:pt x="0" y="6859"/>
                  </a:cubicBezTo>
                  <a:cubicBezTo>
                    <a:pt x="190" y="7268"/>
                    <a:pt x="190" y="7268"/>
                    <a:pt x="190" y="7268"/>
                  </a:cubicBezTo>
                  <a:cubicBezTo>
                    <a:pt x="95" y="7371"/>
                    <a:pt x="95" y="7371"/>
                    <a:pt x="95" y="7371"/>
                  </a:cubicBezTo>
                  <a:cubicBezTo>
                    <a:pt x="95" y="7371"/>
                    <a:pt x="190" y="7473"/>
                    <a:pt x="190" y="7473"/>
                  </a:cubicBezTo>
                  <a:cubicBezTo>
                    <a:pt x="190" y="7575"/>
                    <a:pt x="285" y="7575"/>
                    <a:pt x="285" y="7678"/>
                  </a:cubicBezTo>
                  <a:cubicBezTo>
                    <a:pt x="285" y="7780"/>
                    <a:pt x="285" y="7882"/>
                    <a:pt x="285" y="7882"/>
                  </a:cubicBezTo>
                  <a:cubicBezTo>
                    <a:pt x="381" y="7882"/>
                    <a:pt x="381" y="7882"/>
                    <a:pt x="381" y="7882"/>
                  </a:cubicBezTo>
                  <a:cubicBezTo>
                    <a:pt x="476" y="8087"/>
                    <a:pt x="476" y="8087"/>
                    <a:pt x="476" y="8087"/>
                  </a:cubicBezTo>
                  <a:cubicBezTo>
                    <a:pt x="476" y="8190"/>
                    <a:pt x="476" y="8190"/>
                    <a:pt x="476" y="8190"/>
                  </a:cubicBezTo>
                  <a:cubicBezTo>
                    <a:pt x="476" y="8394"/>
                    <a:pt x="476" y="8394"/>
                    <a:pt x="476" y="8394"/>
                  </a:cubicBezTo>
                  <a:cubicBezTo>
                    <a:pt x="476" y="8394"/>
                    <a:pt x="571" y="8497"/>
                    <a:pt x="571" y="8599"/>
                  </a:cubicBezTo>
                  <a:cubicBezTo>
                    <a:pt x="571" y="8599"/>
                    <a:pt x="571" y="8701"/>
                    <a:pt x="571" y="8804"/>
                  </a:cubicBezTo>
                  <a:cubicBezTo>
                    <a:pt x="571" y="8804"/>
                    <a:pt x="761" y="9009"/>
                    <a:pt x="761" y="9009"/>
                  </a:cubicBezTo>
                  <a:cubicBezTo>
                    <a:pt x="761" y="9213"/>
                    <a:pt x="761" y="9213"/>
                    <a:pt x="761" y="9213"/>
                  </a:cubicBezTo>
                  <a:cubicBezTo>
                    <a:pt x="761" y="9213"/>
                    <a:pt x="856" y="9316"/>
                    <a:pt x="952" y="9418"/>
                  </a:cubicBezTo>
                  <a:cubicBezTo>
                    <a:pt x="952" y="9418"/>
                    <a:pt x="1047" y="9520"/>
                    <a:pt x="1047" y="9520"/>
                  </a:cubicBezTo>
                  <a:cubicBezTo>
                    <a:pt x="1142" y="9725"/>
                    <a:pt x="1142" y="9725"/>
                    <a:pt x="1142" y="9725"/>
                  </a:cubicBezTo>
                  <a:cubicBezTo>
                    <a:pt x="1237" y="9930"/>
                    <a:pt x="1237" y="9930"/>
                    <a:pt x="1237" y="9930"/>
                  </a:cubicBezTo>
                  <a:cubicBezTo>
                    <a:pt x="1332" y="10032"/>
                    <a:pt x="1332" y="10032"/>
                    <a:pt x="1332" y="10032"/>
                  </a:cubicBezTo>
                  <a:cubicBezTo>
                    <a:pt x="1427" y="10237"/>
                    <a:pt x="1427" y="10237"/>
                    <a:pt x="1427" y="10237"/>
                  </a:cubicBezTo>
                  <a:cubicBezTo>
                    <a:pt x="1522" y="10339"/>
                    <a:pt x="1522" y="10339"/>
                    <a:pt x="1522" y="10339"/>
                  </a:cubicBezTo>
                  <a:cubicBezTo>
                    <a:pt x="1618" y="10442"/>
                    <a:pt x="1618" y="10442"/>
                    <a:pt x="1618" y="10442"/>
                  </a:cubicBezTo>
                  <a:cubicBezTo>
                    <a:pt x="1618" y="10442"/>
                    <a:pt x="1618" y="10544"/>
                    <a:pt x="1713" y="10544"/>
                  </a:cubicBezTo>
                  <a:cubicBezTo>
                    <a:pt x="1808" y="10544"/>
                    <a:pt x="1903" y="10544"/>
                    <a:pt x="1903" y="10544"/>
                  </a:cubicBezTo>
                  <a:cubicBezTo>
                    <a:pt x="1998" y="10544"/>
                    <a:pt x="1998" y="10646"/>
                    <a:pt x="2093" y="10339"/>
                  </a:cubicBezTo>
                  <a:cubicBezTo>
                    <a:pt x="2093" y="10135"/>
                    <a:pt x="2093" y="10032"/>
                    <a:pt x="2093" y="10032"/>
                  </a:cubicBezTo>
                  <a:cubicBezTo>
                    <a:pt x="2093" y="10032"/>
                    <a:pt x="2189" y="10032"/>
                    <a:pt x="2189" y="9930"/>
                  </a:cubicBezTo>
                  <a:cubicBezTo>
                    <a:pt x="2284" y="9930"/>
                    <a:pt x="2379" y="9930"/>
                    <a:pt x="2379" y="9827"/>
                  </a:cubicBezTo>
                  <a:cubicBezTo>
                    <a:pt x="2379" y="9623"/>
                    <a:pt x="2189" y="9520"/>
                    <a:pt x="2189" y="9520"/>
                  </a:cubicBezTo>
                  <a:cubicBezTo>
                    <a:pt x="2189" y="9520"/>
                    <a:pt x="2379" y="9418"/>
                    <a:pt x="2474" y="9520"/>
                  </a:cubicBezTo>
                  <a:cubicBezTo>
                    <a:pt x="2474" y="9623"/>
                    <a:pt x="2474" y="9725"/>
                    <a:pt x="2569" y="9623"/>
                  </a:cubicBezTo>
                  <a:cubicBezTo>
                    <a:pt x="2664" y="9418"/>
                    <a:pt x="2664" y="9418"/>
                    <a:pt x="2664" y="9418"/>
                  </a:cubicBezTo>
                  <a:cubicBezTo>
                    <a:pt x="2569" y="9316"/>
                    <a:pt x="2569" y="9213"/>
                    <a:pt x="2569" y="9111"/>
                  </a:cubicBezTo>
                  <a:cubicBezTo>
                    <a:pt x="2569" y="9111"/>
                    <a:pt x="2664" y="9009"/>
                    <a:pt x="2664" y="8906"/>
                  </a:cubicBezTo>
                  <a:cubicBezTo>
                    <a:pt x="2759" y="8804"/>
                    <a:pt x="2759" y="8701"/>
                    <a:pt x="2759" y="8599"/>
                  </a:cubicBezTo>
                  <a:cubicBezTo>
                    <a:pt x="2759" y="8394"/>
                    <a:pt x="2759" y="8497"/>
                    <a:pt x="2855" y="8292"/>
                  </a:cubicBezTo>
                  <a:cubicBezTo>
                    <a:pt x="2855" y="8190"/>
                    <a:pt x="2855" y="8292"/>
                    <a:pt x="2855" y="7882"/>
                  </a:cubicBezTo>
                  <a:cubicBezTo>
                    <a:pt x="2950" y="7575"/>
                    <a:pt x="2950" y="7473"/>
                    <a:pt x="3045" y="7473"/>
                  </a:cubicBezTo>
                  <a:cubicBezTo>
                    <a:pt x="3045" y="7473"/>
                    <a:pt x="3806" y="7780"/>
                    <a:pt x="3806" y="7780"/>
                  </a:cubicBezTo>
                  <a:cubicBezTo>
                    <a:pt x="3806" y="7780"/>
                    <a:pt x="3901" y="7985"/>
                    <a:pt x="3901" y="7985"/>
                  </a:cubicBezTo>
                  <a:cubicBezTo>
                    <a:pt x="3901" y="8087"/>
                    <a:pt x="3901" y="8190"/>
                    <a:pt x="3901" y="8190"/>
                  </a:cubicBezTo>
                  <a:cubicBezTo>
                    <a:pt x="3901" y="8292"/>
                    <a:pt x="3806" y="8497"/>
                    <a:pt x="3806" y="8497"/>
                  </a:cubicBezTo>
                  <a:cubicBezTo>
                    <a:pt x="3806" y="8599"/>
                    <a:pt x="3806" y="8599"/>
                    <a:pt x="3806" y="8599"/>
                  </a:cubicBezTo>
                  <a:cubicBezTo>
                    <a:pt x="3806" y="8599"/>
                    <a:pt x="3616" y="8599"/>
                    <a:pt x="3616" y="8804"/>
                  </a:cubicBezTo>
                  <a:cubicBezTo>
                    <a:pt x="3521" y="8906"/>
                    <a:pt x="3521" y="8906"/>
                    <a:pt x="3616" y="9009"/>
                  </a:cubicBezTo>
                  <a:cubicBezTo>
                    <a:pt x="3711" y="9111"/>
                    <a:pt x="3806" y="9213"/>
                    <a:pt x="3806" y="9213"/>
                  </a:cubicBezTo>
                  <a:cubicBezTo>
                    <a:pt x="3901" y="9213"/>
                    <a:pt x="3996" y="9111"/>
                    <a:pt x="4092" y="9111"/>
                  </a:cubicBezTo>
                  <a:cubicBezTo>
                    <a:pt x="4092" y="9111"/>
                    <a:pt x="4187" y="9111"/>
                    <a:pt x="4187" y="9111"/>
                  </a:cubicBezTo>
                  <a:cubicBezTo>
                    <a:pt x="4187" y="9213"/>
                    <a:pt x="4187" y="9316"/>
                    <a:pt x="4282" y="9418"/>
                  </a:cubicBezTo>
                  <a:cubicBezTo>
                    <a:pt x="4377" y="9418"/>
                    <a:pt x="4472" y="9520"/>
                    <a:pt x="4472" y="9520"/>
                  </a:cubicBezTo>
                  <a:cubicBezTo>
                    <a:pt x="4567" y="9520"/>
                    <a:pt x="4663" y="9520"/>
                    <a:pt x="4663" y="9520"/>
                  </a:cubicBezTo>
                  <a:cubicBezTo>
                    <a:pt x="4663" y="9520"/>
                    <a:pt x="4758" y="9418"/>
                    <a:pt x="4853" y="9418"/>
                  </a:cubicBezTo>
                  <a:cubicBezTo>
                    <a:pt x="4853" y="9418"/>
                    <a:pt x="5138" y="9725"/>
                    <a:pt x="4948" y="9316"/>
                  </a:cubicBezTo>
                  <a:cubicBezTo>
                    <a:pt x="4663" y="9009"/>
                    <a:pt x="4663" y="9009"/>
                    <a:pt x="4663" y="8906"/>
                  </a:cubicBezTo>
                  <a:cubicBezTo>
                    <a:pt x="4567" y="8906"/>
                    <a:pt x="4472" y="8804"/>
                    <a:pt x="4472" y="8804"/>
                  </a:cubicBezTo>
                  <a:cubicBezTo>
                    <a:pt x="4377" y="8804"/>
                    <a:pt x="4377" y="8804"/>
                    <a:pt x="4377" y="8804"/>
                  </a:cubicBezTo>
                  <a:cubicBezTo>
                    <a:pt x="4377" y="8804"/>
                    <a:pt x="4377" y="8701"/>
                    <a:pt x="4377" y="8599"/>
                  </a:cubicBezTo>
                  <a:cubicBezTo>
                    <a:pt x="4472" y="8497"/>
                    <a:pt x="4472" y="8497"/>
                    <a:pt x="4567" y="8497"/>
                  </a:cubicBezTo>
                  <a:cubicBezTo>
                    <a:pt x="4663" y="8497"/>
                    <a:pt x="4663" y="8394"/>
                    <a:pt x="4853" y="8599"/>
                  </a:cubicBezTo>
                  <a:cubicBezTo>
                    <a:pt x="4948" y="8701"/>
                    <a:pt x="4948" y="8701"/>
                    <a:pt x="4948" y="8804"/>
                  </a:cubicBezTo>
                  <a:cubicBezTo>
                    <a:pt x="5043" y="9009"/>
                    <a:pt x="5138" y="9111"/>
                    <a:pt x="5233" y="9213"/>
                  </a:cubicBezTo>
                  <a:cubicBezTo>
                    <a:pt x="5233" y="9213"/>
                    <a:pt x="5329" y="9213"/>
                    <a:pt x="5329" y="9418"/>
                  </a:cubicBezTo>
                  <a:cubicBezTo>
                    <a:pt x="5329" y="9623"/>
                    <a:pt x="5329" y="9827"/>
                    <a:pt x="5329" y="9930"/>
                  </a:cubicBezTo>
                  <a:cubicBezTo>
                    <a:pt x="5329" y="9930"/>
                    <a:pt x="5329" y="10339"/>
                    <a:pt x="5329" y="10339"/>
                  </a:cubicBezTo>
                  <a:cubicBezTo>
                    <a:pt x="5329" y="10339"/>
                    <a:pt x="5329" y="10544"/>
                    <a:pt x="5329" y="10646"/>
                  </a:cubicBezTo>
                  <a:cubicBezTo>
                    <a:pt x="5329" y="10749"/>
                    <a:pt x="5804" y="11465"/>
                    <a:pt x="5804" y="11465"/>
                  </a:cubicBezTo>
                  <a:cubicBezTo>
                    <a:pt x="5804" y="11465"/>
                    <a:pt x="5995" y="11773"/>
                    <a:pt x="6090" y="11773"/>
                  </a:cubicBezTo>
                  <a:cubicBezTo>
                    <a:pt x="6090" y="11773"/>
                    <a:pt x="6185" y="12080"/>
                    <a:pt x="6280" y="12182"/>
                  </a:cubicBezTo>
                  <a:cubicBezTo>
                    <a:pt x="6470" y="12182"/>
                    <a:pt x="6851" y="12387"/>
                    <a:pt x="6851" y="12387"/>
                  </a:cubicBezTo>
                  <a:cubicBezTo>
                    <a:pt x="7517" y="12796"/>
                    <a:pt x="7517" y="12796"/>
                    <a:pt x="7517" y="12796"/>
                  </a:cubicBezTo>
                  <a:cubicBezTo>
                    <a:pt x="7517" y="12796"/>
                    <a:pt x="7707" y="13103"/>
                    <a:pt x="7803" y="13103"/>
                  </a:cubicBezTo>
                  <a:cubicBezTo>
                    <a:pt x="7803" y="13103"/>
                    <a:pt x="8278" y="13103"/>
                    <a:pt x="7898" y="13103"/>
                  </a:cubicBezTo>
                  <a:cubicBezTo>
                    <a:pt x="7612" y="13103"/>
                    <a:pt x="7232" y="12899"/>
                    <a:pt x="7232" y="12899"/>
                  </a:cubicBezTo>
                  <a:cubicBezTo>
                    <a:pt x="7232" y="12899"/>
                    <a:pt x="7137" y="12694"/>
                    <a:pt x="7137" y="12694"/>
                  </a:cubicBezTo>
                  <a:cubicBezTo>
                    <a:pt x="7041" y="12694"/>
                    <a:pt x="6661" y="12591"/>
                    <a:pt x="6566" y="12489"/>
                  </a:cubicBezTo>
                  <a:cubicBezTo>
                    <a:pt x="6566" y="12489"/>
                    <a:pt x="6470" y="12387"/>
                    <a:pt x="6375" y="12284"/>
                  </a:cubicBezTo>
                  <a:cubicBezTo>
                    <a:pt x="6280" y="12080"/>
                    <a:pt x="6090" y="11977"/>
                    <a:pt x="6090" y="11977"/>
                  </a:cubicBezTo>
                  <a:cubicBezTo>
                    <a:pt x="6090" y="11977"/>
                    <a:pt x="5995" y="11875"/>
                    <a:pt x="5900" y="11670"/>
                  </a:cubicBezTo>
                  <a:cubicBezTo>
                    <a:pt x="5804" y="11568"/>
                    <a:pt x="5804" y="11568"/>
                    <a:pt x="5804" y="11465"/>
                  </a:cubicBezTo>
                  <a:cubicBezTo>
                    <a:pt x="5709" y="11465"/>
                    <a:pt x="5804" y="11465"/>
                    <a:pt x="5614" y="11363"/>
                  </a:cubicBezTo>
                  <a:cubicBezTo>
                    <a:pt x="5424" y="11261"/>
                    <a:pt x="5329" y="11158"/>
                    <a:pt x="5329" y="11158"/>
                  </a:cubicBezTo>
                  <a:cubicBezTo>
                    <a:pt x="5233" y="11158"/>
                    <a:pt x="5043" y="11056"/>
                    <a:pt x="5043" y="11056"/>
                  </a:cubicBezTo>
                  <a:cubicBezTo>
                    <a:pt x="5043" y="11056"/>
                    <a:pt x="4853" y="10851"/>
                    <a:pt x="4853" y="10851"/>
                  </a:cubicBezTo>
                  <a:cubicBezTo>
                    <a:pt x="4853" y="10851"/>
                    <a:pt x="4758" y="11056"/>
                    <a:pt x="4948" y="11158"/>
                  </a:cubicBezTo>
                  <a:cubicBezTo>
                    <a:pt x="5043" y="11158"/>
                    <a:pt x="5233" y="11363"/>
                    <a:pt x="5233" y="11363"/>
                  </a:cubicBezTo>
                  <a:cubicBezTo>
                    <a:pt x="5233" y="11363"/>
                    <a:pt x="5424" y="11465"/>
                    <a:pt x="5424" y="11465"/>
                  </a:cubicBezTo>
                  <a:cubicBezTo>
                    <a:pt x="5424" y="11465"/>
                    <a:pt x="5424" y="11670"/>
                    <a:pt x="5424" y="11670"/>
                  </a:cubicBezTo>
                  <a:cubicBezTo>
                    <a:pt x="5424" y="11670"/>
                    <a:pt x="5138" y="11568"/>
                    <a:pt x="5424" y="11670"/>
                  </a:cubicBezTo>
                  <a:cubicBezTo>
                    <a:pt x="5614" y="11773"/>
                    <a:pt x="5804" y="11773"/>
                    <a:pt x="5804" y="11773"/>
                  </a:cubicBezTo>
                  <a:cubicBezTo>
                    <a:pt x="5804" y="11773"/>
                    <a:pt x="5614" y="11875"/>
                    <a:pt x="5519" y="11875"/>
                  </a:cubicBezTo>
                  <a:cubicBezTo>
                    <a:pt x="5519" y="11977"/>
                    <a:pt x="5709" y="12284"/>
                    <a:pt x="5709" y="12182"/>
                  </a:cubicBezTo>
                  <a:cubicBezTo>
                    <a:pt x="5804" y="12182"/>
                    <a:pt x="5900" y="12284"/>
                    <a:pt x="5995" y="12284"/>
                  </a:cubicBezTo>
                  <a:cubicBezTo>
                    <a:pt x="5995" y="12284"/>
                    <a:pt x="6185" y="12284"/>
                    <a:pt x="6185" y="12387"/>
                  </a:cubicBezTo>
                  <a:cubicBezTo>
                    <a:pt x="6280" y="12387"/>
                    <a:pt x="6280" y="12387"/>
                    <a:pt x="6280" y="12489"/>
                  </a:cubicBezTo>
                  <a:cubicBezTo>
                    <a:pt x="6185" y="12489"/>
                    <a:pt x="6280" y="12694"/>
                    <a:pt x="6280" y="12694"/>
                  </a:cubicBezTo>
                  <a:cubicBezTo>
                    <a:pt x="6470" y="12796"/>
                    <a:pt x="6470" y="12796"/>
                    <a:pt x="6470" y="12796"/>
                  </a:cubicBezTo>
                  <a:cubicBezTo>
                    <a:pt x="6470" y="12796"/>
                    <a:pt x="6185" y="12796"/>
                    <a:pt x="6185" y="12694"/>
                  </a:cubicBezTo>
                  <a:cubicBezTo>
                    <a:pt x="6090" y="12694"/>
                    <a:pt x="6090" y="12591"/>
                    <a:pt x="5995" y="12694"/>
                  </a:cubicBezTo>
                  <a:cubicBezTo>
                    <a:pt x="5900" y="12796"/>
                    <a:pt x="5900" y="12796"/>
                    <a:pt x="5900" y="12899"/>
                  </a:cubicBezTo>
                  <a:cubicBezTo>
                    <a:pt x="5995" y="13001"/>
                    <a:pt x="6090" y="13103"/>
                    <a:pt x="6185" y="13001"/>
                  </a:cubicBezTo>
                  <a:cubicBezTo>
                    <a:pt x="6185" y="13001"/>
                    <a:pt x="6185" y="13001"/>
                    <a:pt x="6280" y="12899"/>
                  </a:cubicBezTo>
                  <a:cubicBezTo>
                    <a:pt x="6280" y="12899"/>
                    <a:pt x="6280" y="12899"/>
                    <a:pt x="6375" y="12899"/>
                  </a:cubicBezTo>
                  <a:cubicBezTo>
                    <a:pt x="6375" y="12899"/>
                    <a:pt x="6470" y="12899"/>
                    <a:pt x="6470" y="12899"/>
                  </a:cubicBezTo>
                  <a:cubicBezTo>
                    <a:pt x="6566" y="12796"/>
                    <a:pt x="6566" y="12796"/>
                    <a:pt x="6566" y="12796"/>
                  </a:cubicBezTo>
                  <a:cubicBezTo>
                    <a:pt x="6566" y="12796"/>
                    <a:pt x="6566" y="12796"/>
                    <a:pt x="6566" y="12899"/>
                  </a:cubicBezTo>
                  <a:cubicBezTo>
                    <a:pt x="6566" y="12899"/>
                    <a:pt x="6661" y="12899"/>
                    <a:pt x="6566" y="13001"/>
                  </a:cubicBezTo>
                  <a:cubicBezTo>
                    <a:pt x="6566" y="13103"/>
                    <a:pt x="6470" y="13103"/>
                    <a:pt x="6470" y="13103"/>
                  </a:cubicBezTo>
                  <a:cubicBezTo>
                    <a:pt x="6470" y="13206"/>
                    <a:pt x="6375" y="13103"/>
                    <a:pt x="6470" y="13308"/>
                  </a:cubicBezTo>
                  <a:cubicBezTo>
                    <a:pt x="6470" y="13410"/>
                    <a:pt x="6470" y="13513"/>
                    <a:pt x="6470" y="13513"/>
                  </a:cubicBezTo>
                  <a:cubicBezTo>
                    <a:pt x="6470" y="13513"/>
                    <a:pt x="6566" y="13513"/>
                    <a:pt x="6566" y="13513"/>
                  </a:cubicBezTo>
                  <a:cubicBezTo>
                    <a:pt x="6661" y="13615"/>
                    <a:pt x="6661" y="13718"/>
                    <a:pt x="6661" y="13820"/>
                  </a:cubicBezTo>
                  <a:cubicBezTo>
                    <a:pt x="6756" y="13820"/>
                    <a:pt x="6946" y="14127"/>
                    <a:pt x="6946" y="14127"/>
                  </a:cubicBezTo>
                  <a:cubicBezTo>
                    <a:pt x="6946" y="14127"/>
                    <a:pt x="7232" y="14332"/>
                    <a:pt x="7232" y="14332"/>
                  </a:cubicBezTo>
                  <a:cubicBezTo>
                    <a:pt x="7232" y="14332"/>
                    <a:pt x="7327" y="14434"/>
                    <a:pt x="7327" y="14434"/>
                  </a:cubicBezTo>
                  <a:cubicBezTo>
                    <a:pt x="7327" y="14434"/>
                    <a:pt x="7327" y="14536"/>
                    <a:pt x="7232" y="14434"/>
                  </a:cubicBezTo>
                  <a:cubicBezTo>
                    <a:pt x="7137" y="14332"/>
                    <a:pt x="6946" y="14229"/>
                    <a:pt x="6946" y="14229"/>
                  </a:cubicBezTo>
                  <a:cubicBezTo>
                    <a:pt x="6946" y="14434"/>
                    <a:pt x="6946" y="14434"/>
                    <a:pt x="6946" y="14434"/>
                  </a:cubicBezTo>
                  <a:cubicBezTo>
                    <a:pt x="6946" y="14434"/>
                    <a:pt x="7041" y="14536"/>
                    <a:pt x="7137" y="14536"/>
                  </a:cubicBezTo>
                  <a:cubicBezTo>
                    <a:pt x="7137" y="14639"/>
                    <a:pt x="7137" y="14639"/>
                    <a:pt x="7232" y="14741"/>
                  </a:cubicBezTo>
                  <a:cubicBezTo>
                    <a:pt x="7327" y="14741"/>
                    <a:pt x="7422" y="14741"/>
                    <a:pt x="7517" y="14741"/>
                  </a:cubicBezTo>
                  <a:cubicBezTo>
                    <a:pt x="7517" y="14844"/>
                    <a:pt x="7517" y="14639"/>
                    <a:pt x="7517" y="14639"/>
                  </a:cubicBezTo>
                  <a:cubicBezTo>
                    <a:pt x="7517" y="14639"/>
                    <a:pt x="7612" y="14639"/>
                    <a:pt x="7612" y="14639"/>
                  </a:cubicBezTo>
                  <a:cubicBezTo>
                    <a:pt x="7612" y="14741"/>
                    <a:pt x="7707" y="14844"/>
                    <a:pt x="7612" y="14946"/>
                  </a:cubicBezTo>
                  <a:cubicBezTo>
                    <a:pt x="7612" y="14946"/>
                    <a:pt x="7612" y="15048"/>
                    <a:pt x="7517" y="14946"/>
                  </a:cubicBezTo>
                  <a:cubicBezTo>
                    <a:pt x="7422" y="14946"/>
                    <a:pt x="7327" y="14844"/>
                    <a:pt x="7232" y="14844"/>
                  </a:cubicBezTo>
                  <a:cubicBezTo>
                    <a:pt x="7232" y="14844"/>
                    <a:pt x="7137" y="14741"/>
                    <a:pt x="7041" y="14844"/>
                  </a:cubicBezTo>
                  <a:cubicBezTo>
                    <a:pt x="7041" y="14844"/>
                    <a:pt x="6851" y="14741"/>
                    <a:pt x="6851" y="14844"/>
                  </a:cubicBezTo>
                  <a:cubicBezTo>
                    <a:pt x="6851" y="14946"/>
                    <a:pt x="6851" y="15048"/>
                    <a:pt x="6851" y="15048"/>
                  </a:cubicBezTo>
                  <a:cubicBezTo>
                    <a:pt x="6851" y="15048"/>
                    <a:pt x="6756" y="14639"/>
                    <a:pt x="6661" y="14639"/>
                  </a:cubicBezTo>
                  <a:cubicBezTo>
                    <a:pt x="6566" y="14639"/>
                    <a:pt x="6375" y="14536"/>
                    <a:pt x="6375" y="14536"/>
                  </a:cubicBezTo>
                  <a:cubicBezTo>
                    <a:pt x="6280" y="14332"/>
                    <a:pt x="6280" y="14332"/>
                    <a:pt x="6280" y="14332"/>
                  </a:cubicBezTo>
                  <a:cubicBezTo>
                    <a:pt x="6280" y="14332"/>
                    <a:pt x="6375" y="14332"/>
                    <a:pt x="6375" y="14332"/>
                  </a:cubicBezTo>
                  <a:cubicBezTo>
                    <a:pt x="6470" y="14434"/>
                    <a:pt x="6375" y="14434"/>
                    <a:pt x="6470" y="14434"/>
                  </a:cubicBezTo>
                  <a:cubicBezTo>
                    <a:pt x="6566" y="14434"/>
                    <a:pt x="6375" y="14229"/>
                    <a:pt x="6566" y="14229"/>
                  </a:cubicBezTo>
                  <a:cubicBezTo>
                    <a:pt x="6756" y="14229"/>
                    <a:pt x="6756" y="14229"/>
                    <a:pt x="6756" y="14229"/>
                  </a:cubicBezTo>
                  <a:cubicBezTo>
                    <a:pt x="6756" y="14127"/>
                    <a:pt x="6946" y="14127"/>
                    <a:pt x="6756" y="14025"/>
                  </a:cubicBezTo>
                  <a:cubicBezTo>
                    <a:pt x="6566" y="13922"/>
                    <a:pt x="6566" y="13922"/>
                    <a:pt x="6566" y="13922"/>
                  </a:cubicBezTo>
                  <a:cubicBezTo>
                    <a:pt x="6470" y="13922"/>
                    <a:pt x="6470" y="13922"/>
                    <a:pt x="6470" y="13820"/>
                  </a:cubicBezTo>
                  <a:cubicBezTo>
                    <a:pt x="6375" y="13718"/>
                    <a:pt x="6375" y="13615"/>
                    <a:pt x="6280" y="13615"/>
                  </a:cubicBezTo>
                  <a:cubicBezTo>
                    <a:pt x="6280" y="13615"/>
                    <a:pt x="5995" y="13615"/>
                    <a:pt x="5995" y="13615"/>
                  </a:cubicBezTo>
                  <a:cubicBezTo>
                    <a:pt x="5995" y="13615"/>
                    <a:pt x="5900" y="13513"/>
                    <a:pt x="5804" y="13513"/>
                  </a:cubicBezTo>
                  <a:cubicBezTo>
                    <a:pt x="5709" y="13513"/>
                    <a:pt x="5519" y="13308"/>
                    <a:pt x="5519" y="13308"/>
                  </a:cubicBezTo>
                  <a:cubicBezTo>
                    <a:pt x="5424" y="13206"/>
                    <a:pt x="5138" y="13103"/>
                    <a:pt x="5138" y="13103"/>
                  </a:cubicBezTo>
                  <a:cubicBezTo>
                    <a:pt x="5138" y="13103"/>
                    <a:pt x="5043" y="13001"/>
                    <a:pt x="4948" y="13001"/>
                  </a:cubicBezTo>
                  <a:cubicBezTo>
                    <a:pt x="4853" y="13001"/>
                    <a:pt x="4853" y="13001"/>
                    <a:pt x="4758" y="13001"/>
                  </a:cubicBezTo>
                  <a:cubicBezTo>
                    <a:pt x="4663" y="12899"/>
                    <a:pt x="4567" y="12796"/>
                    <a:pt x="4567" y="12796"/>
                  </a:cubicBezTo>
                  <a:cubicBezTo>
                    <a:pt x="4472" y="12694"/>
                    <a:pt x="4377" y="12694"/>
                    <a:pt x="4377" y="12694"/>
                  </a:cubicBezTo>
                  <a:cubicBezTo>
                    <a:pt x="4472" y="12796"/>
                    <a:pt x="4377" y="12796"/>
                    <a:pt x="4567" y="12899"/>
                  </a:cubicBezTo>
                  <a:cubicBezTo>
                    <a:pt x="4663" y="13001"/>
                    <a:pt x="4758" y="13001"/>
                    <a:pt x="4758" y="13001"/>
                  </a:cubicBezTo>
                  <a:cubicBezTo>
                    <a:pt x="4758" y="13001"/>
                    <a:pt x="4853" y="13103"/>
                    <a:pt x="4853" y="13103"/>
                  </a:cubicBezTo>
                  <a:cubicBezTo>
                    <a:pt x="4853" y="13206"/>
                    <a:pt x="4948" y="13103"/>
                    <a:pt x="5043" y="13103"/>
                  </a:cubicBezTo>
                  <a:cubicBezTo>
                    <a:pt x="5043" y="13206"/>
                    <a:pt x="5138" y="13206"/>
                    <a:pt x="5138" y="13308"/>
                  </a:cubicBezTo>
                  <a:cubicBezTo>
                    <a:pt x="5138" y="13308"/>
                    <a:pt x="5424" y="13308"/>
                    <a:pt x="5424" y="13410"/>
                  </a:cubicBezTo>
                  <a:cubicBezTo>
                    <a:pt x="5424" y="13513"/>
                    <a:pt x="5519" y="13615"/>
                    <a:pt x="5424" y="13615"/>
                  </a:cubicBezTo>
                  <a:cubicBezTo>
                    <a:pt x="5424" y="13615"/>
                    <a:pt x="5329" y="13718"/>
                    <a:pt x="5329" y="13718"/>
                  </a:cubicBezTo>
                  <a:cubicBezTo>
                    <a:pt x="5424" y="13718"/>
                    <a:pt x="5519" y="13820"/>
                    <a:pt x="5614" y="13820"/>
                  </a:cubicBezTo>
                  <a:cubicBezTo>
                    <a:pt x="5709" y="13820"/>
                    <a:pt x="5614" y="13820"/>
                    <a:pt x="5804" y="13922"/>
                  </a:cubicBezTo>
                  <a:cubicBezTo>
                    <a:pt x="5995" y="13922"/>
                    <a:pt x="5995" y="14127"/>
                    <a:pt x="5995" y="14127"/>
                  </a:cubicBezTo>
                  <a:cubicBezTo>
                    <a:pt x="5995" y="14229"/>
                    <a:pt x="6185" y="14332"/>
                    <a:pt x="6185" y="14332"/>
                  </a:cubicBezTo>
                  <a:cubicBezTo>
                    <a:pt x="6185" y="14332"/>
                    <a:pt x="6090" y="14332"/>
                    <a:pt x="6185" y="14434"/>
                  </a:cubicBezTo>
                  <a:cubicBezTo>
                    <a:pt x="6185" y="14434"/>
                    <a:pt x="6090" y="14434"/>
                    <a:pt x="6185" y="14536"/>
                  </a:cubicBezTo>
                  <a:cubicBezTo>
                    <a:pt x="6280" y="14536"/>
                    <a:pt x="6375" y="14536"/>
                    <a:pt x="6375" y="14536"/>
                  </a:cubicBezTo>
                  <a:cubicBezTo>
                    <a:pt x="6375" y="14639"/>
                    <a:pt x="6375" y="14639"/>
                    <a:pt x="6375" y="14741"/>
                  </a:cubicBezTo>
                  <a:cubicBezTo>
                    <a:pt x="6375" y="14741"/>
                    <a:pt x="6185" y="14946"/>
                    <a:pt x="6470" y="14946"/>
                  </a:cubicBezTo>
                  <a:cubicBezTo>
                    <a:pt x="6661" y="14946"/>
                    <a:pt x="6661" y="14946"/>
                    <a:pt x="6661" y="14946"/>
                  </a:cubicBezTo>
                  <a:cubicBezTo>
                    <a:pt x="6756" y="15048"/>
                    <a:pt x="6756" y="15048"/>
                    <a:pt x="6756" y="15048"/>
                  </a:cubicBezTo>
                  <a:cubicBezTo>
                    <a:pt x="6756" y="15048"/>
                    <a:pt x="6661" y="15151"/>
                    <a:pt x="6756" y="15253"/>
                  </a:cubicBezTo>
                  <a:cubicBezTo>
                    <a:pt x="6756" y="15355"/>
                    <a:pt x="7137" y="15355"/>
                    <a:pt x="7137" y="15355"/>
                  </a:cubicBezTo>
                  <a:cubicBezTo>
                    <a:pt x="7137" y="15253"/>
                    <a:pt x="7137" y="15253"/>
                    <a:pt x="7137" y="15253"/>
                  </a:cubicBezTo>
                  <a:cubicBezTo>
                    <a:pt x="7137" y="15253"/>
                    <a:pt x="7327" y="15355"/>
                    <a:pt x="7232" y="15355"/>
                  </a:cubicBezTo>
                  <a:cubicBezTo>
                    <a:pt x="7232" y="15458"/>
                    <a:pt x="7137" y="15458"/>
                    <a:pt x="7137" y="15458"/>
                  </a:cubicBezTo>
                  <a:cubicBezTo>
                    <a:pt x="7137" y="15458"/>
                    <a:pt x="7137" y="15663"/>
                    <a:pt x="7232" y="15663"/>
                  </a:cubicBezTo>
                  <a:cubicBezTo>
                    <a:pt x="7327" y="15663"/>
                    <a:pt x="7422" y="15765"/>
                    <a:pt x="7422" y="15765"/>
                  </a:cubicBezTo>
                  <a:cubicBezTo>
                    <a:pt x="7422" y="15765"/>
                    <a:pt x="7517" y="15765"/>
                    <a:pt x="7517" y="15867"/>
                  </a:cubicBezTo>
                  <a:cubicBezTo>
                    <a:pt x="7612" y="15867"/>
                    <a:pt x="7612" y="15970"/>
                    <a:pt x="7612" y="15970"/>
                  </a:cubicBezTo>
                  <a:cubicBezTo>
                    <a:pt x="7707" y="15970"/>
                    <a:pt x="7803" y="15970"/>
                    <a:pt x="7803" y="16072"/>
                  </a:cubicBezTo>
                  <a:cubicBezTo>
                    <a:pt x="7898" y="16072"/>
                    <a:pt x="7993" y="16174"/>
                    <a:pt x="7993" y="16072"/>
                  </a:cubicBezTo>
                  <a:cubicBezTo>
                    <a:pt x="7993" y="15970"/>
                    <a:pt x="8088" y="15970"/>
                    <a:pt x="7993" y="15867"/>
                  </a:cubicBezTo>
                  <a:cubicBezTo>
                    <a:pt x="7898" y="15765"/>
                    <a:pt x="7803" y="15765"/>
                    <a:pt x="7707" y="15765"/>
                  </a:cubicBezTo>
                  <a:cubicBezTo>
                    <a:pt x="7707" y="15765"/>
                    <a:pt x="7612" y="15765"/>
                    <a:pt x="7612" y="15663"/>
                  </a:cubicBezTo>
                  <a:cubicBezTo>
                    <a:pt x="7517" y="15663"/>
                    <a:pt x="7517" y="15663"/>
                    <a:pt x="7517" y="15560"/>
                  </a:cubicBezTo>
                  <a:cubicBezTo>
                    <a:pt x="7517" y="15458"/>
                    <a:pt x="7422" y="15355"/>
                    <a:pt x="7422" y="15355"/>
                  </a:cubicBezTo>
                  <a:cubicBezTo>
                    <a:pt x="7422" y="15355"/>
                    <a:pt x="7422" y="15151"/>
                    <a:pt x="7422" y="15151"/>
                  </a:cubicBezTo>
                  <a:cubicBezTo>
                    <a:pt x="7327" y="15151"/>
                    <a:pt x="7327" y="15151"/>
                    <a:pt x="7232" y="15151"/>
                  </a:cubicBezTo>
                  <a:cubicBezTo>
                    <a:pt x="7232" y="15151"/>
                    <a:pt x="7137" y="15048"/>
                    <a:pt x="7137" y="15048"/>
                  </a:cubicBezTo>
                  <a:cubicBezTo>
                    <a:pt x="7041" y="15048"/>
                    <a:pt x="6946" y="15048"/>
                    <a:pt x="6946" y="15048"/>
                  </a:cubicBezTo>
                  <a:cubicBezTo>
                    <a:pt x="6946" y="14946"/>
                    <a:pt x="7041" y="14946"/>
                    <a:pt x="7041" y="14946"/>
                  </a:cubicBezTo>
                  <a:cubicBezTo>
                    <a:pt x="7041" y="14946"/>
                    <a:pt x="7137" y="14946"/>
                    <a:pt x="7232" y="14946"/>
                  </a:cubicBezTo>
                  <a:cubicBezTo>
                    <a:pt x="7327" y="15048"/>
                    <a:pt x="7327" y="14946"/>
                    <a:pt x="7422" y="15048"/>
                  </a:cubicBezTo>
                  <a:cubicBezTo>
                    <a:pt x="7517" y="15048"/>
                    <a:pt x="7422" y="15151"/>
                    <a:pt x="7517" y="15151"/>
                  </a:cubicBezTo>
                  <a:cubicBezTo>
                    <a:pt x="7707" y="15151"/>
                    <a:pt x="7707" y="15048"/>
                    <a:pt x="7707" y="15048"/>
                  </a:cubicBezTo>
                  <a:cubicBezTo>
                    <a:pt x="7898" y="14946"/>
                    <a:pt x="7898" y="14946"/>
                    <a:pt x="7898" y="14946"/>
                  </a:cubicBezTo>
                  <a:cubicBezTo>
                    <a:pt x="7898" y="14946"/>
                    <a:pt x="7898" y="14946"/>
                    <a:pt x="7993" y="15048"/>
                  </a:cubicBezTo>
                  <a:cubicBezTo>
                    <a:pt x="8088" y="15048"/>
                    <a:pt x="7898" y="15151"/>
                    <a:pt x="8088" y="15151"/>
                  </a:cubicBezTo>
                  <a:cubicBezTo>
                    <a:pt x="8278" y="15151"/>
                    <a:pt x="8374" y="15151"/>
                    <a:pt x="8374" y="15151"/>
                  </a:cubicBezTo>
                  <a:cubicBezTo>
                    <a:pt x="8374" y="15253"/>
                    <a:pt x="8374" y="15355"/>
                    <a:pt x="8374" y="15355"/>
                  </a:cubicBezTo>
                  <a:cubicBezTo>
                    <a:pt x="8374" y="15355"/>
                    <a:pt x="8374" y="15458"/>
                    <a:pt x="8374" y="15458"/>
                  </a:cubicBezTo>
                  <a:cubicBezTo>
                    <a:pt x="8469" y="15458"/>
                    <a:pt x="8659" y="15458"/>
                    <a:pt x="8659" y="15458"/>
                  </a:cubicBezTo>
                  <a:cubicBezTo>
                    <a:pt x="8659" y="15458"/>
                    <a:pt x="8754" y="15458"/>
                    <a:pt x="8754" y="15560"/>
                  </a:cubicBezTo>
                  <a:cubicBezTo>
                    <a:pt x="8849" y="15663"/>
                    <a:pt x="8564" y="15765"/>
                    <a:pt x="8564" y="15765"/>
                  </a:cubicBezTo>
                  <a:cubicBezTo>
                    <a:pt x="8564" y="15765"/>
                    <a:pt x="8469" y="15663"/>
                    <a:pt x="8469" y="15765"/>
                  </a:cubicBezTo>
                  <a:cubicBezTo>
                    <a:pt x="8469" y="15867"/>
                    <a:pt x="8374" y="15867"/>
                    <a:pt x="8469" y="15970"/>
                  </a:cubicBezTo>
                  <a:cubicBezTo>
                    <a:pt x="8564" y="15970"/>
                    <a:pt x="8469" y="15970"/>
                    <a:pt x="8469" y="15970"/>
                  </a:cubicBezTo>
                  <a:cubicBezTo>
                    <a:pt x="8374" y="15970"/>
                    <a:pt x="8278" y="15867"/>
                    <a:pt x="8374" y="16072"/>
                  </a:cubicBezTo>
                  <a:cubicBezTo>
                    <a:pt x="8374" y="16174"/>
                    <a:pt x="8469" y="16277"/>
                    <a:pt x="8469" y="16277"/>
                  </a:cubicBezTo>
                  <a:cubicBezTo>
                    <a:pt x="8564" y="16277"/>
                    <a:pt x="8754" y="16277"/>
                    <a:pt x="8754" y="16277"/>
                  </a:cubicBezTo>
                  <a:cubicBezTo>
                    <a:pt x="8849" y="16277"/>
                    <a:pt x="8944" y="16277"/>
                    <a:pt x="8849" y="16277"/>
                  </a:cubicBezTo>
                  <a:cubicBezTo>
                    <a:pt x="8754" y="16174"/>
                    <a:pt x="8659" y="16174"/>
                    <a:pt x="8659" y="16174"/>
                  </a:cubicBezTo>
                  <a:cubicBezTo>
                    <a:pt x="8659" y="16174"/>
                    <a:pt x="8659" y="16174"/>
                    <a:pt x="8659" y="16072"/>
                  </a:cubicBezTo>
                  <a:cubicBezTo>
                    <a:pt x="8659" y="16072"/>
                    <a:pt x="8754" y="16072"/>
                    <a:pt x="8754" y="16072"/>
                  </a:cubicBezTo>
                  <a:cubicBezTo>
                    <a:pt x="8754" y="15970"/>
                    <a:pt x="8849" y="15867"/>
                    <a:pt x="8849" y="15867"/>
                  </a:cubicBezTo>
                  <a:cubicBezTo>
                    <a:pt x="8849" y="15867"/>
                    <a:pt x="8944" y="15663"/>
                    <a:pt x="9040" y="15765"/>
                  </a:cubicBezTo>
                  <a:cubicBezTo>
                    <a:pt x="9040" y="15867"/>
                    <a:pt x="9040" y="15867"/>
                    <a:pt x="9135" y="15867"/>
                  </a:cubicBezTo>
                  <a:cubicBezTo>
                    <a:pt x="9135" y="15867"/>
                    <a:pt x="9420" y="15560"/>
                    <a:pt x="9420" y="15560"/>
                  </a:cubicBezTo>
                  <a:cubicBezTo>
                    <a:pt x="9420" y="15560"/>
                    <a:pt x="9515" y="15560"/>
                    <a:pt x="9420" y="15663"/>
                  </a:cubicBezTo>
                  <a:cubicBezTo>
                    <a:pt x="9420" y="15765"/>
                    <a:pt x="9325" y="15867"/>
                    <a:pt x="9420" y="15970"/>
                  </a:cubicBezTo>
                  <a:cubicBezTo>
                    <a:pt x="9420" y="16072"/>
                    <a:pt x="9420" y="16072"/>
                    <a:pt x="9420" y="16072"/>
                  </a:cubicBezTo>
                  <a:cubicBezTo>
                    <a:pt x="9515" y="16174"/>
                    <a:pt x="9420" y="16174"/>
                    <a:pt x="9515" y="16277"/>
                  </a:cubicBezTo>
                  <a:cubicBezTo>
                    <a:pt x="9515" y="16379"/>
                    <a:pt x="9515" y="16277"/>
                    <a:pt x="9515" y="16379"/>
                  </a:cubicBezTo>
                  <a:cubicBezTo>
                    <a:pt x="9611" y="16482"/>
                    <a:pt x="9706" y="16686"/>
                    <a:pt x="9706" y="16686"/>
                  </a:cubicBezTo>
                  <a:cubicBezTo>
                    <a:pt x="9706" y="16686"/>
                    <a:pt x="9611" y="16789"/>
                    <a:pt x="9706" y="16789"/>
                  </a:cubicBezTo>
                  <a:cubicBezTo>
                    <a:pt x="9801" y="16891"/>
                    <a:pt x="9991" y="16891"/>
                    <a:pt x="9991" y="16891"/>
                  </a:cubicBezTo>
                  <a:cubicBezTo>
                    <a:pt x="9991" y="16891"/>
                    <a:pt x="9991" y="16891"/>
                    <a:pt x="9991" y="16891"/>
                  </a:cubicBezTo>
                  <a:cubicBezTo>
                    <a:pt x="9991" y="16891"/>
                    <a:pt x="10086" y="16993"/>
                    <a:pt x="10181" y="16891"/>
                  </a:cubicBezTo>
                  <a:cubicBezTo>
                    <a:pt x="10181" y="16789"/>
                    <a:pt x="10277" y="16789"/>
                    <a:pt x="10277" y="16789"/>
                  </a:cubicBezTo>
                  <a:cubicBezTo>
                    <a:pt x="10372" y="16789"/>
                    <a:pt x="10277" y="16789"/>
                    <a:pt x="10467" y="16789"/>
                  </a:cubicBezTo>
                  <a:cubicBezTo>
                    <a:pt x="10657" y="16789"/>
                    <a:pt x="10657" y="16891"/>
                    <a:pt x="10752" y="16789"/>
                  </a:cubicBezTo>
                  <a:cubicBezTo>
                    <a:pt x="10848" y="16686"/>
                    <a:pt x="10752" y="16686"/>
                    <a:pt x="10943" y="16686"/>
                  </a:cubicBezTo>
                  <a:cubicBezTo>
                    <a:pt x="11133" y="16686"/>
                    <a:pt x="11323" y="16584"/>
                    <a:pt x="11323" y="16584"/>
                  </a:cubicBezTo>
                  <a:cubicBezTo>
                    <a:pt x="11323" y="16584"/>
                    <a:pt x="11609" y="16584"/>
                    <a:pt x="11609" y="16584"/>
                  </a:cubicBezTo>
                  <a:cubicBezTo>
                    <a:pt x="11799" y="16686"/>
                    <a:pt x="11799" y="16686"/>
                    <a:pt x="11799" y="16686"/>
                  </a:cubicBezTo>
                  <a:cubicBezTo>
                    <a:pt x="11799" y="16686"/>
                    <a:pt x="11894" y="16789"/>
                    <a:pt x="11989" y="16789"/>
                  </a:cubicBezTo>
                  <a:cubicBezTo>
                    <a:pt x="11989" y="16789"/>
                    <a:pt x="12085" y="16789"/>
                    <a:pt x="12180" y="16789"/>
                  </a:cubicBezTo>
                  <a:cubicBezTo>
                    <a:pt x="12180" y="16789"/>
                    <a:pt x="12560" y="16891"/>
                    <a:pt x="12560" y="16891"/>
                  </a:cubicBezTo>
                  <a:cubicBezTo>
                    <a:pt x="12941" y="16993"/>
                    <a:pt x="12941" y="16993"/>
                    <a:pt x="12941" y="16993"/>
                  </a:cubicBezTo>
                  <a:cubicBezTo>
                    <a:pt x="13131" y="17096"/>
                    <a:pt x="13131" y="17096"/>
                    <a:pt x="13131" y="17096"/>
                  </a:cubicBezTo>
                  <a:cubicBezTo>
                    <a:pt x="13512" y="17403"/>
                    <a:pt x="13512" y="17403"/>
                    <a:pt x="13512" y="17403"/>
                  </a:cubicBezTo>
                  <a:cubicBezTo>
                    <a:pt x="13893" y="17812"/>
                    <a:pt x="13893" y="17812"/>
                    <a:pt x="13893" y="17812"/>
                  </a:cubicBezTo>
                  <a:cubicBezTo>
                    <a:pt x="14368" y="18017"/>
                    <a:pt x="14368" y="18017"/>
                    <a:pt x="14368" y="18017"/>
                  </a:cubicBezTo>
                  <a:cubicBezTo>
                    <a:pt x="14654" y="18222"/>
                    <a:pt x="14654" y="18222"/>
                    <a:pt x="14654" y="18222"/>
                  </a:cubicBezTo>
                  <a:cubicBezTo>
                    <a:pt x="14844" y="18427"/>
                    <a:pt x="14844" y="18427"/>
                    <a:pt x="14844" y="18427"/>
                  </a:cubicBezTo>
                  <a:cubicBezTo>
                    <a:pt x="14844" y="18427"/>
                    <a:pt x="15130" y="18631"/>
                    <a:pt x="15130" y="18631"/>
                  </a:cubicBezTo>
                  <a:cubicBezTo>
                    <a:pt x="15225" y="18631"/>
                    <a:pt x="15510" y="18836"/>
                    <a:pt x="15510" y="18836"/>
                  </a:cubicBezTo>
                  <a:cubicBezTo>
                    <a:pt x="15796" y="19041"/>
                    <a:pt x="15796" y="19041"/>
                    <a:pt x="15796" y="19041"/>
                  </a:cubicBezTo>
                  <a:cubicBezTo>
                    <a:pt x="15796" y="19041"/>
                    <a:pt x="15891" y="19245"/>
                    <a:pt x="15891" y="19245"/>
                  </a:cubicBezTo>
                  <a:cubicBezTo>
                    <a:pt x="15891" y="19348"/>
                    <a:pt x="15796" y="19245"/>
                    <a:pt x="15700" y="19245"/>
                  </a:cubicBezTo>
                  <a:cubicBezTo>
                    <a:pt x="15605" y="19348"/>
                    <a:pt x="15225" y="19143"/>
                    <a:pt x="15225" y="19143"/>
                  </a:cubicBezTo>
                  <a:cubicBezTo>
                    <a:pt x="15034" y="18938"/>
                    <a:pt x="15034" y="18938"/>
                    <a:pt x="15034" y="18938"/>
                  </a:cubicBezTo>
                  <a:cubicBezTo>
                    <a:pt x="14749" y="18938"/>
                    <a:pt x="14749" y="18938"/>
                    <a:pt x="14749" y="18938"/>
                  </a:cubicBezTo>
                  <a:cubicBezTo>
                    <a:pt x="14559" y="18836"/>
                    <a:pt x="14559" y="18836"/>
                    <a:pt x="14559" y="18836"/>
                  </a:cubicBezTo>
                  <a:cubicBezTo>
                    <a:pt x="14178" y="18938"/>
                    <a:pt x="14178" y="18938"/>
                    <a:pt x="14178" y="18938"/>
                  </a:cubicBezTo>
                  <a:cubicBezTo>
                    <a:pt x="13893" y="18836"/>
                    <a:pt x="13893" y="18836"/>
                    <a:pt x="13893" y="18836"/>
                  </a:cubicBezTo>
                  <a:cubicBezTo>
                    <a:pt x="13893" y="18836"/>
                    <a:pt x="13797" y="18836"/>
                    <a:pt x="13893" y="18938"/>
                  </a:cubicBezTo>
                  <a:cubicBezTo>
                    <a:pt x="13893" y="18938"/>
                    <a:pt x="13893" y="19041"/>
                    <a:pt x="13893" y="19041"/>
                  </a:cubicBezTo>
                  <a:cubicBezTo>
                    <a:pt x="13607" y="19245"/>
                    <a:pt x="13607" y="19245"/>
                    <a:pt x="13607" y="19245"/>
                  </a:cubicBezTo>
                  <a:cubicBezTo>
                    <a:pt x="13226" y="19348"/>
                    <a:pt x="13226" y="19348"/>
                    <a:pt x="13226" y="19348"/>
                  </a:cubicBezTo>
                  <a:cubicBezTo>
                    <a:pt x="12846" y="19348"/>
                    <a:pt x="12846" y="19348"/>
                    <a:pt x="12846" y="19348"/>
                  </a:cubicBezTo>
                  <a:cubicBezTo>
                    <a:pt x="12560" y="19348"/>
                    <a:pt x="12560" y="19348"/>
                    <a:pt x="12560" y="19348"/>
                  </a:cubicBezTo>
                  <a:cubicBezTo>
                    <a:pt x="12560" y="19553"/>
                    <a:pt x="12560" y="19553"/>
                    <a:pt x="12560" y="19553"/>
                  </a:cubicBezTo>
                  <a:cubicBezTo>
                    <a:pt x="12560" y="19553"/>
                    <a:pt x="12180" y="19553"/>
                    <a:pt x="12560" y="19655"/>
                  </a:cubicBezTo>
                  <a:cubicBezTo>
                    <a:pt x="12941" y="19655"/>
                    <a:pt x="13131" y="19655"/>
                    <a:pt x="13131" y="19553"/>
                  </a:cubicBezTo>
                  <a:cubicBezTo>
                    <a:pt x="13226" y="19553"/>
                    <a:pt x="13226" y="19450"/>
                    <a:pt x="13322" y="19450"/>
                  </a:cubicBezTo>
                  <a:cubicBezTo>
                    <a:pt x="13417" y="19450"/>
                    <a:pt x="13607" y="19450"/>
                    <a:pt x="13702" y="19450"/>
                  </a:cubicBezTo>
                  <a:cubicBezTo>
                    <a:pt x="13702" y="19450"/>
                    <a:pt x="13797" y="19450"/>
                    <a:pt x="13988" y="19348"/>
                  </a:cubicBezTo>
                  <a:cubicBezTo>
                    <a:pt x="14083" y="19348"/>
                    <a:pt x="14083" y="19245"/>
                    <a:pt x="14273" y="19348"/>
                  </a:cubicBezTo>
                  <a:cubicBezTo>
                    <a:pt x="14463" y="19450"/>
                    <a:pt x="14368" y="19143"/>
                    <a:pt x="14368" y="19143"/>
                  </a:cubicBezTo>
                  <a:cubicBezTo>
                    <a:pt x="14368" y="19143"/>
                    <a:pt x="14368" y="19041"/>
                    <a:pt x="14463" y="19041"/>
                  </a:cubicBezTo>
                  <a:cubicBezTo>
                    <a:pt x="14654" y="19143"/>
                    <a:pt x="14654" y="19143"/>
                    <a:pt x="14654" y="19143"/>
                  </a:cubicBezTo>
                  <a:cubicBezTo>
                    <a:pt x="14749" y="19143"/>
                    <a:pt x="14939" y="19245"/>
                    <a:pt x="14939" y="19245"/>
                  </a:cubicBezTo>
                  <a:cubicBezTo>
                    <a:pt x="15034" y="19245"/>
                    <a:pt x="15415" y="19348"/>
                    <a:pt x="15415" y="19348"/>
                  </a:cubicBezTo>
                  <a:cubicBezTo>
                    <a:pt x="15415" y="19348"/>
                    <a:pt x="15510" y="19655"/>
                    <a:pt x="15510" y="19655"/>
                  </a:cubicBezTo>
                  <a:cubicBezTo>
                    <a:pt x="15605" y="19655"/>
                    <a:pt x="15891" y="19655"/>
                    <a:pt x="15986" y="19655"/>
                  </a:cubicBezTo>
                  <a:cubicBezTo>
                    <a:pt x="16081" y="19655"/>
                    <a:pt x="16271" y="19655"/>
                    <a:pt x="16367" y="19757"/>
                  </a:cubicBezTo>
                  <a:cubicBezTo>
                    <a:pt x="16462" y="19860"/>
                    <a:pt x="16557" y="19860"/>
                    <a:pt x="16557" y="19860"/>
                  </a:cubicBezTo>
                  <a:cubicBezTo>
                    <a:pt x="16557" y="19860"/>
                    <a:pt x="16652" y="19962"/>
                    <a:pt x="16747" y="20064"/>
                  </a:cubicBezTo>
                  <a:cubicBezTo>
                    <a:pt x="16747" y="20064"/>
                    <a:pt x="17033" y="20269"/>
                    <a:pt x="17033" y="20269"/>
                  </a:cubicBezTo>
                  <a:cubicBezTo>
                    <a:pt x="17033" y="20269"/>
                    <a:pt x="17508" y="20474"/>
                    <a:pt x="17508" y="20474"/>
                  </a:cubicBezTo>
                  <a:cubicBezTo>
                    <a:pt x="17604" y="20372"/>
                    <a:pt x="17604" y="20372"/>
                    <a:pt x="17604" y="20372"/>
                  </a:cubicBezTo>
                  <a:cubicBezTo>
                    <a:pt x="17604" y="20269"/>
                    <a:pt x="17604" y="20167"/>
                    <a:pt x="17604" y="20167"/>
                  </a:cubicBezTo>
                  <a:cubicBezTo>
                    <a:pt x="17508" y="20064"/>
                    <a:pt x="17128" y="19962"/>
                    <a:pt x="17128" y="19962"/>
                  </a:cubicBezTo>
                  <a:cubicBezTo>
                    <a:pt x="17128" y="19962"/>
                    <a:pt x="16937" y="19860"/>
                    <a:pt x="16937" y="19860"/>
                  </a:cubicBezTo>
                  <a:cubicBezTo>
                    <a:pt x="16842" y="19348"/>
                    <a:pt x="16937" y="19757"/>
                    <a:pt x="16652" y="19655"/>
                  </a:cubicBezTo>
                  <a:cubicBezTo>
                    <a:pt x="16652" y="19655"/>
                    <a:pt x="16652" y="19655"/>
                    <a:pt x="16652" y="19655"/>
                  </a:cubicBezTo>
                  <a:cubicBezTo>
                    <a:pt x="16652" y="19655"/>
                    <a:pt x="16652" y="19655"/>
                    <a:pt x="16652" y="19655"/>
                  </a:cubicBezTo>
                  <a:cubicBezTo>
                    <a:pt x="16462" y="19757"/>
                    <a:pt x="16462" y="19655"/>
                    <a:pt x="16462" y="19655"/>
                  </a:cubicBezTo>
                  <a:cubicBezTo>
                    <a:pt x="16462" y="19553"/>
                    <a:pt x="16462" y="19553"/>
                    <a:pt x="16462" y="19553"/>
                  </a:cubicBezTo>
                  <a:cubicBezTo>
                    <a:pt x="16367" y="19450"/>
                    <a:pt x="16367" y="19450"/>
                    <a:pt x="16367" y="19450"/>
                  </a:cubicBezTo>
                  <a:cubicBezTo>
                    <a:pt x="16367" y="19450"/>
                    <a:pt x="16271" y="19245"/>
                    <a:pt x="16367" y="19143"/>
                  </a:cubicBezTo>
                  <a:cubicBezTo>
                    <a:pt x="16462" y="19143"/>
                    <a:pt x="16271" y="19655"/>
                    <a:pt x="16652" y="19041"/>
                  </a:cubicBezTo>
                  <a:cubicBezTo>
                    <a:pt x="16652" y="19041"/>
                    <a:pt x="16652" y="18938"/>
                    <a:pt x="16652" y="18938"/>
                  </a:cubicBezTo>
                  <a:cubicBezTo>
                    <a:pt x="16557" y="18938"/>
                    <a:pt x="16557" y="18938"/>
                    <a:pt x="16557" y="18938"/>
                  </a:cubicBezTo>
                  <a:cubicBezTo>
                    <a:pt x="16271" y="18938"/>
                    <a:pt x="16271" y="18938"/>
                    <a:pt x="16271" y="18938"/>
                  </a:cubicBezTo>
                  <a:cubicBezTo>
                    <a:pt x="16271" y="18938"/>
                    <a:pt x="16271" y="19041"/>
                    <a:pt x="16176" y="19143"/>
                  </a:cubicBezTo>
                  <a:cubicBezTo>
                    <a:pt x="16081" y="19245"/>
                    <a:pt x="16081" y="19143"/>
                    <a:pt x="16081" y="19143"/>
                  </a:cubicBezTo>
                  <a:cubicBezTo>
                    <a:pt x="16081" y="19041"/>
                    <a:pt x="16081" y="19041"/>
                    <a:pt x="16081" y="19041"/>
                  </a:cubicBezTo>
                  <a:cubicBezTo>
                    <a:pt x="16176" y="18938"/>
                    <a:pt x="16176" y="18938"/>
                    <a:pt x="16176" y="18938"/>
                  </a:cubicBezTo>
                  <a:cubicBezTo>
                    <a:pt x="16176" y="18938"/>
                    <a:pt x="16176" y="18631"/>
                    <a:pt x="16176" y="18529"/>
                  </a:cubicBezTo>
                  <a:cubicBezTo>
                    <a:pt x="16176" y="18529"/>
                    <a:pt x="16176" y="18529"/>
                    <a:pt x="16176" y="18529"/>
                  </a:cubicBezTo>
                  <a:cubicBezTo>
                    <a:pt x="15891" y="18324"/>
                    <a:pt x="15891" y="18324"/>
                    <a:pt x="15891" y="18324"/>
                  </a:cubicBezTo>
                  <a:cubicBezTo>
                    <a:pt x="15700" y="18119"/>
                    <a:pt x="15700" y="18119"/>
                    <a:pt x="15700" y="18119"/>
                  </a:cubicBezTo>
                  <a:cubicBezTo>
                    <a:pt x="15415" y="17915"/>
                    <a:pt x="15415" y="17915"/>
                    <a:pt x="15415" y="17915"/>
                  </a:cubicBezTo>
                  <a:cubicBezTo>
                    <a:pt x="15034" y="17505"/>
                    <a:pt x="15034" y="17505"/>
                    <a:pt x="15034" y="17505"/>
                  </a:cubicBezTo>
                  <a:cubicBezTo>
                    <a:pt x="14844" y="17403"/>
                    <a:pt x="14844" y="17403"/>
                    <a:pt x="14844" y="17403"/>
                  </a:cubicBezTo>
                  <a:cubicBezTo>
                    <a:pt x="14654" y="17198"/>
                    <a:pt x="14654" y="17198"/>
                    <a:pt x="14654" y="17198"/>
                  </a:cubicBezTo>
                  <a:cubicBezTo>
                    <a:pt x="14654" y="16993"/>
                    <a:pt x="14654" y="16993"/>
                    <a:pt x="14654" y="16993"/>
                  </a:cubicBezTo>
                  <a:cubicBezTo>
                    <a:pt x="14559" y="16584"/>
                    <a:pt x="14559" y="16584"/>
                    <a:pt x="14559" y="16584"/>
                  </a:cubicBezTo>
                  <a:cubicBezTo>
                    <a:pt x="14559" y="16584"/>
                    <a:pt x="14559" y="16584"/>
                    <a:pt x="14559" y="16584"/>
                  </a:cubicBezTo>
                  <a:cubicBezTo>
                    <a:pt x="14559" y="16584"/>
                    <a:pt x="14178" y="16482"/>
                    <a:pt x="13988" y="16379"/>
                  </a:cubicBezTo>
                  <a:cubicBezTo>
                    <a:pt x="13797" y="16277"/>
                    <a:pt x="13797" y="16277"/>
                    <a:pt x="13797" y="16277"/>
                  </a:cubicBezTo>
                  <a:cubicBezTo>
                    <a:pt x="13607" y="15970"/>
                    <a:pt x="13607" y="15970"/>
                    <a:pt x="13607" y="15970"/>
                  </a:cubicBezTo>
                  <a:cubicBezTo>
                    <a:pt x="13512" y="15867"/>
                    <a:pt x="13512" y="15867"/>
                    <a:pt x="13512" y="15867"/>
                  </a:cubicBezTo>
                  <a:cubicBezTo>
                    <a:pt x="13226" y="15560"/>
                    <a:pt x="13226" y="15560"/>
                    <a:pt x="13226" y="15560"/>
                  </a:cubicBezTo>
                  <a:cubicBezTo>
                    <a:pt x="13131" y="15560"/>
                    <a:pt x="13131" y="15560"/>
                    <a:pt x="13131" y="15560"/>
                  </a:cubicBezTo>
                  <a:cubicBezTo>
                    <a:pt x="12656" y="15355"/>
                    <a:pt x="12656" y="15355"/>
                    <a:pt x="12656" y="15355"/>
                  </a:cubicBezTo>
                  <a:cubicBezTo>
                    <a:pt x="12560" y="15151"/>
                    <a:pt x="12560" y="15151"/>
                    <a:pt x="12560" y="15151"/>
                  </a:cubicBezTo>
                  <a:cubicBezTo>
                    <a:pt x="12370" y="15048"/>
                    <a:pt x="12370" y="15048"/>
                    <a:pt x="12370" y="15048"/>
                  </a:cubicBezTo>
                  <a:cubicBezTo>
                    <a:pt x="12275" y="14844"/>
                    <a:pt x="12275" y="14844"/>
                    <a:pt x="12275" y="14844"/>
                  </a:cubicBezTo>
                  <a:cubicBezTo>
                    <a:pt x="11989" y="14741"/>
                    <a:pt x="11989" y="14741"/>
                    <a:pt x="11989" y="14741"/>
                  </a:cubicBezTo>
                  <a:cubicBezTo>
                    <a:pt x="11894" y="14536"/>
                    <a:pt x="11894" y="14536"/>
                    <a:pt x="11894" y="14536"/>
                  </a:cubicBezTo>
                  <a:cubicBezTo>
                    <a:pt x="11799" y="14434"/>
                    <a:pt x="11799" y="14434"/>
                    <a:pt x="11799" y="14434"/>
                  </a:cubicBezTo>
                  <a:cubicBezTo>
                    <a:pt x="11514" y="14025"/>
                    <a:pt x="11514" y="14025"/>
                    <a:pt x="11514" y="14025"/>
                  </a:cubicBezTo>
                  <a:cubicBezTo>
                    <a:pt x="11228" y="13820"/>
                    <a:pt x="11228" y="13820"/>
                    <a:pt x="11228" y="13820"/>
                  </a:cubicBezTo>
                  <a:cubicBezTo>
                    <a:pt x="11133" y="13718"/>
                    <a:pt x="11133" y="13718"/>
                    <a:pt x="11133" y="13718"/>
                  </a:cubicBezTo>
                  <a:cubicBezTo>
                    <a:pt x="11038" y="13615"/>
                    <a:pt x="11038" y="13615"/>
                    <a:pt x="11038" y="13615"/>
                  </a:cubicBezTo>
                  <a:cubicBezTo>
                    <a:pt x="10848" y="13308"/>
                    <a:pt x="10848" y="13308"/>
                    <a:pt x="10848" y="13308"/>
                  </a:cubicBezTo>
                  <a:cubicBezTo>
                    <a:pt x="10562" y="13001"/>
                    <a:pt x="10562" y="13001"/>
                    <a:pt x="10562" y="13001"/>
                  </a:cubicBezTo>
                  <a:cubicBezTo>
                    <a:pt x="10372" y="12796"/>
                    <a:pt x="10372" y="12796"/>
                    <a:pt x="10372" y="12796"/>
                  </a:cubicBezTo>
                  <a:cubicBezTo>
                    <a:pt x="10181" y="12489"/>
                    <a:pt x="10181" y="12489"/>
                    <a:pt x="10181" y="12489"/>
                  </a:cubicBezTo>
                  <a:cubicBezTo>
                    <a:pt x="10372" y="12284"/>
                    <a:pt x="10372" y="12284"/>
                    <a:pt x="10372" y="12284"/>
                  </a:cubicBezTo>
                  <a:cubicBezTo>
                    <a:pt x="10277" y="12182"/>
                    <a:pt x="10181" y="12182"/>
                    <a:pt x="10181" y="12080"/>
                  </a:cubicBezTo>
                  <a:cubicBezTo>
                    <a:pt x="10086" y="12080"/>
                    <a:pt x="9896" y="11977"/>
                    <a:pt x="9991" y="11875"/>
                  </a:cubicBezTo>
                  <a:cubicBezTo>
                    <a:pt x="9991" y="11773"/>
                    <a:pt x="9896" y="11670"/>
                    <a:pt x="9896" y="11465"/>
                  </a:cubicBezTo>
                  <a:cubicBezTo>
                    <a:pt x="9896" y="11363"/>
                    <a:pt x="9896" y="11261"/>
                    <a:pt x="9801" y="11261"/>
                  </a:cubicBezTo>
                  <a:cubicBezTo>
                    <a:pt x="9706" y="11158"/>
                    <a:pt x="9706" y="11158"/>
                    <a:pt x="9706" y="11158"/>
                  </a:cubicBezTo>
                  <a:cubicBezTo>
                    <a:pt x="9611" y="11158"/>
                    <a:pt x="9515" y="11158"/>
                    <a:pt x="9515" y="11158"/>
                  </a:cubicBezTo>
                  <a:cubicBezTo>
                    <a:pt x="9420" y="11158"/>
                    <a:pt x="9420" y="11158"/>
                    <a:pt x="9420" y="11158"/>
                  </a:cubicBezTo>
                  <a:cubicBezTo>
                    <a:pt x="9420" y="11158"/>
                    <a:pt x="9515" y="10954"/>
                    <a:pt x="9515" y="10749"/>
                  </a:cubicBezTo>
                  <a:cubicBezTo>
                    <a:pt x="9135" y="10646"/>
                    <a:pt x="9135" y="10646"/>
                    <a:pt x="9135" y="10646"/>
                  </a:cubicBezTo>
                  <a:cubicBezTo>
                    <a:pt x="9135" y="10646"/>
                    <a:pt x="9135" y="10339"/>
                    <a:pt x="8944" y="10237"/>
                  </a:cubicBezTo>
                  <a:cubicBezTo>
                    <a:pt x="8754" y="10237"/>
                    <a:pt x="8754" y="10237"/>
                    <a:pt x="8754" y="10237"/>
                  </a:cubicBezTo>
                  <a:cubicBezTo>
                    <a:pt x="8659" y="10339"/>
                    <a:pt x="8659" y="10442"/>
                    <a:pt x="8659" y="10442"/>
                  </a:cubicBezTo>
                  <a:cubicBezTo>
                    <a:pt x="8278" y="10032"/>
                    <a:pt x="8278" y="10032"/>
                    <a:pt x="8278" y="10032"/>
                  </a:cubicBezTo>
                  <a:cubicBezTo>
                    <a:pt x="8278" y="10032"/>
                    <a:pt x="8278" y="9930"/>
                    <a:pt x="8374" y="9725"/>
                  </a:cubicBezTo>
                  <a:cubicBezTo>
                    <a:pt x="8564" y="9520"/>
                    <a:pt x="8374" y="9418"/>
                    <a:pt x="8374" y="9418"/>
                  </a:cubicBezTo>
                  <a:cubicBezTo>
                    <a:pt x="8278" y="9111"/>
                    <a:pt x="8278" y="9111"/>
                    <a:pt x="8278" y="9111"/>
                  </a:cubicBezTo>
                  <a:cubicBezTo>
                    <a:pt x="8374" y="8906"/>
                    <a:pt x="8374" y="8906"/>
                    <a:pt x="8374" y="8906"/>
                  </a:cubicBezTo>
                  <a:cubicBezTo>
                    <a:pt x="8278" y="8804"/>
                    <a:pt x="8278" y="8804"/>
                    <a:pt x="8278" y="8804"/>
                  </a:cubicBezTo>
                  <a:cubicBezTo>
                    <a:pt x="8183" y="8701"/>
                    <a:pt x="8183" y="8701"/>
                    <a:pt x="8183" y="8701"/>
                  </a:cubicBezTo>
                  <a:cubicBezTo>
                    <a:pt x="8183" y="8701"/>
                    <a:pt x="8183" y="8701"/>
                    <a:pt x="8183" y="8701"/>
                  </a:cubicBezTo>
                  <a:cubicBezTo>
                    <a:pt x="8183" y="8701"/>
                    <a:pt x="8183" y="8701"/>
                    <a:pt x="8183" y="8701"/>
                  </a:cubicBezTo>
                  <a:cubicBezTo>
                    <a:pt x="8374" y="8292"/>
                    <a:pt x="8374" y="8292"/>
                    <a:pt x="8374" y="8292"/>
                  </a:cubicBezTo>
                  <a:cubicBezTo>
                    <a:pt x="8374" y="8292"/>
                    <a:pt x="8278" y="7882"/>
                    <a:pt x="8374" y="7780"/>
                  </a:cubicBezTo>
                  <a:cubicBezTo>
                    <a:pt x="8374" y="7780"/>
                    <a:pt x="8374" y="7780"/>
                    <a:pt x="8374" y="7780"/>
                  </a:cubicBezTo>
                  <a:cubicBezTo>
                    <a:pt x="8374" y="7678"/>
                    <a:pt x="8374" y="7678"/>
                    <a:pt x="8469" y="7678"/>
                  </a:cubicBezTo>
                  <a:cubicBezTo>
                    <a:pt x="8469" y="7575"/>
                    <a:pt x="8944" y="7473"/>
                    <a:pt x="8944" y="7473"/>
                  </a:cubicBezTo>
                  <a:cubicBezTo>
                    <a:pt x="9135" y="7371"/>
                    <a:pt x="9135" y="7371"/>
                    <a:pt x="9135" y="7371"/>
                  </a:cubicBezTo>
                  <a:cubicBezTo>
                    <a:pt x="9515" y="7882"/>
                    <a:pt x="9515" y="7882"/>
                    <a:pt x="9515" y="7882"/>
                  </a:cubicBezTo>
                  <a:cubicBezTo>
                    <a:pt x="9896" y="8292"/>
                    <a:pt x="9896" y="8292"/>
                    <a:pt x="9896" y="8292"/>
                  </a:cubicBezTo>
                  <a:cubicBezTo>
                    <a:pt x="10181" y="8497"/>
                    <a:pt x="10181" y="8497"/>
                    <a:pt x="10181" y="8497"/>
                  </a:cubicBezTo>
                  <a:cubicBezTo>
                    <a:pt x="10181" y="8497"/>
                    <a:pt x="10277" y="8394"/>
                    <a:pt x="10372" y="8394"/>
                  </a:cubicBezTo>
                  <a:cubicBezTo>
                    <a:pt x="10372" y="8292"/>
                    <a:pt x="10372" y="8087"/>
                    <a:pt x="10372" y="8087"/>
                  </a:cubicBezTo>
                  <a:cubicBezTo>
                    <a:pt x="10562" y="7882"/>
                    <a:pt x="10562" y="7882"/>
                    <a:pt x="10562" y="7882"/>
                  </a:cubicBezTo>
                  <a:cubicBezTo>
                    <a:pt x="10657" y="7678"/>
                    <a:pt x="10657" y="7678"/>
                    <a:pt x="10657" y="7678"/>
                  </a:cubicBezTo>
                  <a:cubicBezTo>
                    <a:pt x="10657" y="7473"/>
                    <a:pt x="10657" y="7473"/>
                    <a:pt x="10657" y="7473"/>
                  </a:cubicBezTo>
                  <a:cubicBezTo>
                    <a:pt x="10848" y="7371"/>
                    <a:pt x="10848" y="7371"/>
                    <a:pt x="10848" y="7371"/>
                  </a:cubicBezTo>
                  <a:cubicBezTo>
                    <a:pt x="11133" y="7268"/>
                    <a:pt x="11133" y="7268"/>
                    <a:pt x="11133" y="7268"/>
                  </a:cubicBezTo>
                  <a:cubicBezTo>
                    <a:pt x="11514" y="7166"/>
                    <a:pt x="11514" y="7166"/>
                    <a:pt x="11514" y="7166"/>
                  </a:cubicBezTo>
                  <a:cubicBezTo>
                    <a:pt x="11514" y="7166"/>
                    <a:pt x="11799" y="7268"/>
                    <a:pt x="11894" y="7268"/>
                  </a:cubicBezTo>
                  <a:cubicBezTo>
                    <a:pt x="11894" y="7268"/>
                    <a:pt x="11989" y="7268"/>
                    <a:pt x="11989" y="7268"/>
                  </a:cubicBezTo>
                  <a:cubicBezTo>
                    <a:pt x="12180" y="6961"/>
                    <a:pt x="12180" y="6961"/>
                    <a:pt x="12180" y="6961"/>
                  </a:cubicBezTo>
                  <a:cubicBezTo>
                    <a:pt x="12180" y="6961"/>
                    <a:pt x="12180" y="6961"/>
                    <a:pt x="12180" y="6961"/>
                  </a:cubicBezTo>
                  <a:cubicBezTo>
                    <a:pt x="12275" y="6756"/>
                    <a:pt x="12275" y="6756"/>
                    <a:pt x="12275" y="6756"/>
                  </a:cubicBezTo>
                  <a:cubicBezTo>
                    <a:pt x="12751" y="6961"/>
                    <a:pt x="12751" y="6961"/>
                    <a:pt x="12751" y="6961"/>
                  </a:cubicBezTo>
                  <a:cubicBezTo>
                    <a:pt x="12941" y="7166"/>
                    <a:pt x="12941" y="7166"/>
                    <a:pt x="12941" y="7166"/>
                  </a:cubicBezTo>
                  <a:cubicBezTo>
                    <a:pt x="13417" y="7268"/>
                    <a:pt x="13417" y="7268"/>
                    <a:pt x="13417" y="7268"/>
                  </a:cubicBezTo>
                  <a:cubicBezTo>
                    <a:pt x="13417" y="7268"/>
                    <a:pt x="13417" y="7268"/>
                    <a:pt x="13417" y="7268"/>
                  </a:cubicBezTo>
                  <a:cubicBezTo>
                    <a:pt x="13607" y="7268"/>
                    <a:pt x="13607" y="7268"/>
                    <a:pt x="13607" y="7268"/>
                  </a:cubicBezTo>
                  <a:cubicBezTo>
                    <a:pt x="13607" y="7166"/>
                    <a:pt x="13607" y="7166"/>
                    <a:pt x="13607" y="7166"/>
                  </a:cubicBezTo>
                  <a:cubicBezTo>
                    <a:pt x="13988" y="7166"/>
                    <a:pt x="13988" y="7166"/>
                    <a:pt x="13988" y="7166"/>
                  </a:cubicBezTo>
                  <a:cubicBezTo>
                    <a:pt x="14463" y="7268"/>
                    <a:pt x="14463" y="7268"/>
                    <a:pt x="14463" y="7268"/>
                  </a:cubicBezTo>
                  <a:cubicBezTo>
                    <a:pt x="14749" y="7268"/>
                    <a:pt x="14749" y="7268"/>
                    <a:pt x="14749" y="7268"/>
                  </a:cubicBezTo>
                  <a:cubicBezTo>
                    <a:pt x="15225" y="7268"/>
                    <a:pt x="15225" y="7268"/>
                    <a:pt x="15225" y="7268"/>
                  </a:cubicBezTo>
                  <a:cubicBezTo>
                    <a:pt x="15510" y="7371"/>
                    <a:pt x="15510" y="7371"/>
                    <a:pt x="15510" y="7371"/>
                  </a:cubicBezTo>
                  <a:cubicBezTo>
                    <a:pt x="15700" y="7473"/>
                    <a:pt x="15700" y="7473"/>
                    <a:pt x="15700" y="7473"/>
                  </a:cubicBezTo>
                  <a:cubicBezTo>
                    <a:pt x="15700" y="7473"/>
                    <a:pt x="15700" y="7473"/>
                    <a:pt x="15796" y="7371"/>
                  </a:cubicBezTo>
                  <a:cubicBezTo>
                    <a:pt x="15796" y="7371"/>
                    <a:pt x="16081" y="7371"/>
                    <a:pt x="16081" y="7371"/>
                  </a:cubicBezTo>
                  <a:cubicBezTo>
                    <a:pt x="16176" y="7064"/>
                    <a:pt x="16176" y="7064"/>
                    <a:pt x="16176" y="7064"/>
                  </a:cubicBezTo>
                  <a:cubicBezTo>
                    <a:pt x="16271" y="7268"/>
                    <a:pt x="16271" y="7268"/>
                    <a:pt x="16271" y="7268"/>
                  </a:cubicBezTo>
                  <a:cubicBezTo>
                    <a:pt x="16367" y="7268"/>
                    <a:pt x="16557" y="7268"/>
                    <a:pt x="16557" y="7268"/>
                  </a:cubicBezTo>
                  <a:cubicBezTo>
                    <a:pt x="16652" y="6961"/>
                    <a:pt x="16652" y="6961"/>
                    <a:pt x="16652" y="6961"/>
                  </a:cubicBezTo>
                  <a:cubicBezTo>
                    <a:pt x="16747" y="7064"/>
                    <a:pt x="16747" y="7064"/>
                    <a:pt x="16747" y="7064"/>
                  </a:cubicBezTo>
                  <a:cubicBezTo>
                    <a:pt x="16842" y="7064"/>
                    <a:pt x="16842" y="7064"/>
                    <a:pt x="16937" y="7064"/>
                  </a:cubicBezTo>
                  <a:cubicBezTo>
                    <a:pt x="17033" y="7064"/>
                    <a:pt x="17128" y="6961"/>
                    <a:pt x="17128" y="6961"/>
                  </a:cubicBezTo>
                  <a:cubicBezTo>
                    <a:pt x="17128" y="6961"/>
                    <a:pt x="17223" y="7064"/>
                    <a:pt x="17223" y="7064"/>
                  </a:cubicBezTo>
                  <a:cubicBezTo>
                    <a:pt x="17223" y="7064"/>
                    <a:pt x="17318" y="6961"/>
                    <a:pt x="17413" y="6961"/>
                  </a:cubicBezTo>
                  <a:cubicBezTo>
                    <a:pt x="17604" y="6961"/>
                    <a:pt x="17699" y="6859"/>
                    <a:pt x="17699" y="6859"/>
                  </a:cubicBezTo>
                  <a:cubicBezTo>
                    <a:pt x="17699" y="6859"/>
                    <a:pt x="17794" y="7064"/>
                    <a:pt x="17984" y="7166"/>
                  </a:cubicBezTo>
                  <a:cubicBezTo>
                    <a:pt x="17984" y="7166"/>
                    <a:pt x="17984" y="7166"/>
                    <a:pt x="17984" y="7166"/>
                  </a:cubicBezTo>
                  <a:cubicBezTo>
                    <a:pt x="18174" y="7166"/>
                    <a:pt x="18174" y="7166"/>
                    <a:pt x="18174" y="7166"/>
                  </a:cubicBezTo>
                  <a:cubicBezTo>
                    <a:pt x="18174" y="7166"/>
                    <a:pt x="18174" y="7166"/>
                    <a:pt x="18174" y="7166"/>
                  </a:cubicBezTo>
                  <a:cubicBezTo>
                    <a:pt x="18174" y="7166"/>
                    <a:pt x="18270" y="7064"/>
                    <a:pt x="18365" y="7064"/>
                  </a:cubicBezTo>
                  <a:cubicBezTo>
                    <a:pt x="18555" y="7064"/>
                    <a:pt x="18650" y="7064"/>
                    <a:pt x="18745" y="7064"/>
                  </a:cubicBezTo>
                  <a:cubicBezTo>
                    <a:pt x="18936" y="7064"/>
                    <a:pt x="19031" y="7268"/>
                    <a:pt x="19031" y="7268"/>
                  </a:cubicBezTo>
                  <a:cubicBezTo>
                    <a:pt x="19316" y="7575"/>
                    <a:pt x="19316" y="7575"/>
                    <a:pt x="19316" y="7575"/>
                  </a:cubicBezTo>
                  <a:cubicBezTo>
                    <a:pt x="19316" y="7575"/>
                    <a:pt x="19411" y="7780"/>
                    <a:pt x="19411" y="7882"/>
                  </a:cubicBezTo>
                  <a:cubicBezTo>
                    <a:pt x="19507" y="7985"/>
                    <a:pt x="19507" y="8087"/>
                    <a:pt x="19507" y="8087"/>
                  </a:cubicBezTo>
                  <a:cubicBezTo>
                    <a:pt x="19507" y="8087"/>
                    <a:pt x="20268" y="8394"/>
                    <a:pt x="20363" y="8394"/>
                  </a:cubicBezTo>
                  <a:cubicBezTo>
                    <a:pt x="20363" y="8394"/>
                    <a:pt x="20458" y="8394"/>
                    <a:pt x="20458" y="8394"/>
                  </a:cubicBezTo>
                  <a:close/>
                  <a:moveTo>
                    <a:pt x="16652" y="19553"/>
                  </a:moveTo>
                  <a:cubicBezTo>
                    <a:pt x="16652" y="19553"/>
                    <a:pt x="16652" y="19553"/>
                    <a:pt x="16652" y="19553"/>
                  </a:cubicBezTo>
                  <a:cubicBezTo>
                    <a:pt x="16747" y="19553"/>
                    <a:pt x="16747" y="19450"/>
                    <a:pt x="16747" y="19450"/>
                  </a:cubicBezTo>
                  <a:cubicBezTo>
                    <a:pt x="17033" y="19450"/>
                    <a:pt x="17033" y="19450"/>
                    <a:pt x="17033" y="19450"/>
                  </a:cubicBezTo>
                  <a:cubicBezTo>
                    <a:pt x="17033" y="19450"/>
                    <a:pt x="17033" y="19450"/>
                    <a:pt x="17033" y="19450"/>
                  </a:cubicBezTo>
                  <a:cubicBezTo>
                    <a:pt x="17318" y="19553"/>
                    <a:pt x="17318" y="19553"/>
                    <a:pt x="17318" y="19553"/>
                  </a:cubicBezTo>
                  <a:cubicBezTo>
                    <a:pt x="17508" y="19757"/>
                    <a:pt x="17508" y="19757"/>
                    <a:pt x="17508" y="19757"/>
                  </a:cubicBezTo>
                  <a:cubicBezTo>
                    <a:pt x="17604" y="19962"/>
                    <a:pt x="17604" y="19962"/>
                    <a:pt x="17604" y="19962"/>
                  </a:cubicBezTo>
                  <a:cubicBezTo>
                    <a:pt x="17794" y="20167"/>
                    <a:pt x="17794" y="20167"/>
                    <a:pt x="17794" y="20167"/>
                  </a:cubicBezTo>
                  <a:cubicBezTo>
                    <a:pt x="18270" y="20474"/>
                    <a:pt x="18270" y="20474"/>
                    <a:pt x="18270" y="20474"/>
                  </a:cubicBezTo>
                  <a:cubicBezTo>
                    <a:pt x="18841" y="20781"/>
                    <a:pt x="18841" y="20781"/>
                    <a:pt x="18841" y="20781"/>
                  </a:cubicBezTo>
                  <a:cubicBezTo>
                    <a:pt x="18841" y="20781"/>
                    <a:pt x="19221" y="20986"/>
                    <a:pt x="19316" y="20986"/>
                  </a:cubicBezTo>
                  <a:cubicBezTo>
                    <a:pt x="19316" y="20986"/>
                    <a:pt x="19316" y="21088"/>
                    <a:pt x="19411" y="21088"/>
                  </a:cubicBezTo>
                  <a:cubicBezTo>
                    <a:pt x="19411" y="21191"/>
                    <a:pt x="19602" y="21498"/>
                    <a:pt x="19602" y="21498"/>
                  </a:cubicBezTo>
                  <a:cubicBezTo>
                    <a:pt x="19697" y="21600"/>
                    <a:pt x="19411" y="21395"/>
                    <a:pt x="19411" y="21395"/>
                  </a:cubicBezTo>
                  <a:cubicBezTo>
                    <a:pt x="19411" y="21395"/>
                    <a:pt x="19316" y="21191"/>
                    <a:pt x="19221" y="21088"/>
                  </a:cubicBezTo>
                  <a:cubicBezTo>
                    <a:pt x="19031" y="21088"/>
                    <a:pt x="18841" y="21088"/>
                    <a:pt x="18745" y="20986"/>
                  </a:cubicBezTo>
                  <a:cubicBezTo>
                    <a:pt x="18650" y="20883"/>
                    <a:pt x="18650" y="20781"/>
                    <a:pt x="18650" y="20781"/>
                  </a:cubicBezTo>
                  <a:cubicBezTo>
                    <a:pt x="18555" y="20781"/>
                    <a:pt x="18555" y="20576"/>
                    <a:pt x="18270" y="20576"/>
                  </a:cubicBezTo>
                  <a:cubicBezTo>
                    <a:pt x="17984" y="20474"/>
                    <a:pt x="17984" y="20576"/>
                    <a:pt x="17889" y="20372"/>
                  </a:cubicBezTo>
                  <a:cubicBezTo>
                    <a:pt x="17794" y="20064"/>
                    <a:pt x="17794" y="20269"/>
                    <a:pt x="17699" y="20064"/>
                  </a:cubicBezTo>
                  <a:cubicBezTo>
                    <a:pt x="17508" y="19962"/>
                    <a:pt x="17604" y="20064"/>
                    <a:pt x="17223" y="19962"/>
                  </a:cubicBezTo>
                  <a:cubicBezTo>
                    <a:pt x="16937" y="19757"/>
                    <a:pt x="17128" y="19860"/>
                    <a:pt x="17128" y="19757"/>
                  </a:cubicBezTo>
                  <a:cubicBezTo>
                    <a:pt x="17033" y="19553"/>
                    <a:pt x="17128" y="19655"/>
                    <a:pt x="16937" y="19655"/>
                  </a:cubicBezTo>
                  <a:cubicBezTo>
                    <a:pt x="16842" y="19553"/>
                    <a:pt x="16937" y="19553"/>
                    <a:pt x="16842" y="19553"/>
                  </a:cubicBezTo>
                  <a:cubicBezTo>
                    <a:pt x="16842" y="19553"/>
                    <a:pt x="16747" y="19655"/>
                    <a:pt x="16652" y="19655"/>
                  </a:cubicBezTo>
                  <a:cubicBezTo>
                    <a:pt x="16652" y="19553"/>
                    <a:pt x="16652" y="19553"/>
                    <a:pt x="16652" y="19553"/>
                  </a:cubicBezTo>
                  <a:close/>
                  <a:moveTo>
                    <a:pt x="16081" y="20269"/>
                  </a:moveTo>
                  <a:cubicBezTo>
                    <a:pt x="16081" y="20269"/>
                    <a:pt x="16081" y="20269"/>
                    <a:pt x="16081" y="20269"/>
                  </a:cubicBezTo>
                  <a:cubicBezTo>
                    <a:pt x="16081" y="20269"/>
                    <a:pt x="15891" y="20269"/>
                    <a:pt x="15796" y="20269"/>
                  </a:cubicBezTo>
                  <a:cubicBezTo>
                    <a:pt x="15796" y="20269"/>
                    <a:pt x="15700" y="20167"/>
                    <a:pt x="15605" y="20167"/>
                  </a:cubicBezTo>
                  <a:cubicBezTo>
                    <a:pt x="15510" y="20167"/>
                    <a:pt x="15320" y="20167"/>
                    <a:pt x="15320" y="20167"/>
                  </a:cubicBezTo>
                  <a:cubicBezTo>
                    <a:pt x="15225" y="20167"/>
                    <a:pt x="15130" y="20064"/>
                    <a:pt x="15130" y="20064"/>
                  </a:cubicBezTo>
                  <a:cubicBezTo>
                    <a:pt x="15130" y="20064"/>
                    <a:pt x="15130" y="19962"/>
                    <a:pt x="15130" y="19962"/>
                  </a:cubicBezTo>
                  <a:cubicBezTo>
                    <a:pt x="15130" y="19962"/>
                    <a:pt x="15320" y="19860"/>
                    <a:pt x="15320" y="19860"/>
                  </a:cubicBezTo>
                  <a:cubicBezTo>
                    <a:pt x="15320" y="19962"/>
                    <a:pt x="15891" y="20064"/>
                    <a:pt x="15891" y="20064"/>
                  </a:cubicBezTo>
                  <a:cubicBezTo>
                    <a:pt x="16271" y="20064"/>
                    <a:pt x="16271" y="20064"/>
                    <a:pt x="16271" y="20064"/>
                  </a:cubicBezTo>
                  <a:cubicBezTo>
                    <a:pt x="16271" y="20064"/>
                    <a:pt x="16367" y="20064"/>
                    <a:pt x="16367" y="20064"/>
                  </a:cubicBezTo>
                  <a:cubicBezTo>
                    <a:pt x="16367" y="20064"/>
                    <a:pt x="16462" y="20064"/>
                    <a:pt x="16557" y="20167"/>
                  </a:cubicBezTo>
                  <a:cubicBezTo>
                    <a:pt x="16652" y="20167"/>
                    <a:pt x="16652" y="20167"/>
                    <a:pt x="16652" y="20269"/>
                  </a:cubicBezTo>
                  <a:cubicBezTo>
                    <a:pt x="16652" y="20269"/>
                    <a:pt x="16747" y="20372"/>
                    <a:pt x="16652" y="20372"/>
                  </a:cubicBezTo>
                  <a:cubicBezTo>
                    <a:pt x="16652" y="20372"/>
                    <a:pt x="16557" y="20372"/>
                    <a:pt x="16557" y="20372"/>
                  </a:cubicBezTo>
                  <a:cubicBezTo>
                    <a:pt x="16557" y="20372"/>
                    <a:pt x="16367" y="20269"/>
                    <a:pt x="16367" y="20269"/>
                  </a:cubicBezTo>
                  <a:cubicBezTo>
                    <a:pt x="16176" y="20269"/>
                    <a:pt x="16176" y="20269"/>
                    <a:pt x="16176" y="20269"/>
                  </a:cubicBezTo>
                  <a:cubicBezTo>
                    <a:pt x="16081" y="20269"/>
                    <a:pt x="16081" y="20269"/>
                    <a:pt x="16081" y="20269"/>
                  </a:cubicBezTo>
                  <a:close/>
                  <a:moveTo>
                    <a:pt x="13131" y="20372"/>
                  </a:moveTo>
                  <a:cubicBezTo>
                    <a:pt x="13131" y="20372"/>
                    <a:pt x="13131" y="20372"/>
                    <a:pt x="13131" y="20372"/>
                  </a:cubicBezTo>
                  <a:cubicBezTo>
                    <a:pt x="13131" y="20372"/>
                    <a:pt x="13512" y="20269"/>
                    <a:pt x="13512" y="20269"/>
                  </a:cubicBezTo>
                  <a:cubicBezTo>
                    <a:pt x="13702" y="20372"/>
                    <a:pt x="13702" y="20372"/>
                    <a:pt x="13702" y="20372"/>
                  </a:cubicBezTo>
                  <a:cubicBezTo>
                    <a:pt x="13702" y="20372"/>
                    <a:pt x="13702" y="20474"/>
                    <a:pt x="13607" y="20474"/>
                  </a:cubicBezTo>
                  <a:cubicBezTo>
                    <a:pt x="13607" y="20474"/>
                    <a:pt x="13417" y="20679"/>
                    <a:pt x="13417" y="20679"/>
                  </a:cubicBezTo>
                  <a:cubicBezTo>
                    <a:pt x="13131" y="20474"/>
                    <a:pt x="13131" y="20474"/>
                    <a:pt x="13131" y="20474"/>
                  </a:cubicBezTo>
                  <a:cubicBezTo>
                    <a:pt x="13131" y="20372"/>
                    <a:pt x="13131" y="20372"/>
                    <a:pt x="13131" y="20372"/>
                  </a:cubicBezTo>
                  <a:close/>
                  <a:moveTo>
                    <a:pt x="10181" y="19860"/>
                  </a:moveTo>
                  <a:cubicBezTo>
                    <a:pt x="10181" y="19860"/>
                    <a:pt x="10181" y="19860"/>
                    <a:pt x="10181" y="19860"/>
                  </a:cubicBezTo>
                  <a:cubicBezTo>
                    <a:pt x="10277" y="19860"/>
                    <a:pt x="10372" y="19757"/>
                    <a:pt x="10372" y="19860"/>
                  </a:cubicBezTo>
                  <a:cubicBezTo>
                    <a:pt x="10372" y="19962"/>
                    <a:pt x="10277" y="20064"/>
                    <a:pt x="10277" y="20064"/>
                  </a:cubicBezTo>
                  <a:cubicBezTo>
                    <a:pt x="10277" y="20064"/>
                    <a:pt x="10181" y="20064"/>
                    <a:pt x="10181" y="20064"/>
                  </a:cubicBezTo>
                  <a:cubicBezTo>
                    <a:pt x="10181" y="19962"/>
                    <a:pt x="10181" y="19860"/>
                    <a:pt x="10181" y="19860"/>
                  </a:cubicBezTo>
                  <a:close/>
                  <a:moveTo>
                    <a:pt x="10752" y="19348"/>
                  </a:moveTo>
                  <a:cubicBezTo>
                    <a:pt x="10752" y="19348"/>
                    <a:pt x="10752" y="19348"/>
                    <a:pt x="10752" y="19348"/>
                  </a:cubicBezTo>
                  <a:cubicBezTo>
                    <a:pt x="10752" y="19348"/>
                    <a:pt x="10943" y="19245"/>
                    <a:pt x="10943" y="19245"/>
                  </a:cubicBezTo>
                  <a:cubicBezTo>
                    <a:pt x="11038" y="19348"/>
                    <a:pt x="11133" y="19348"/>
                    <a:pt x="11038" y="19450"/>
                  </a:cubicBezTo>
                  <a:cubicBezTo>
                    <a:pt x="11038" y="19450"/>
                    <a:pt x="11038" y="19450"/>
                    <a:pt x="10943" y="19553"/>
                  </a:cubicBezTo>
                  <a:cubicBezTo>
                    <a:pt x="10848" y="19655"/>
                    <a:pt x="10657" y="19757"/>
                    <a:pt x="10657" y="19757"/>
                  </a:cubicBezTo>
                  <a:cubicBezTo>
                    <a:pt x="10657" y="19757"/>
                    <a:pt x="10657" y="19757"/>
                    <a:pt x="10562" y="19757"/>
                  </a:cubicBezTo>
                  <a:cubicBezTo>
                    <a:pt x="10372" y="19655"/>
                    <a:pt x="10277" y="19553"/>
                    <a:pt x="10277" y="19553"/>
                  </a:cubicBezTo>
                  <a:cubicBezTo>
                    <a:pt x="10277" y="19553"/>
                    <a:pt x="10181" y="19450"/>
                    <a:pt x="10372" y="19450"/>
                  </a:cubicBezTo>
                  <a:cubicBezTo>
                    <a:pt x="10467" y="19348"/>
                    <a:pt x="10562" y="19348"/>
                    <a:pt x="10562" y="19348"/>
                  </a:cubicBezTo>
                  <a:cubicBezTo>
                    <a:pt x="10657" y="19348"/>
                    <a:pt x="10752" y="19348"/>
                    <a:pt x="10752" y="19348"/>
                  </a:cubicBezTo>
                  <a:close/>
                  <a:moveTo>
                    <a:pt x="11799" y="18222"/>
                  </a:moveTo>
                  <a:cubicBezTo>
                    <a:pt x="11799" y="18222"/>
                    <a:pt x="11799" y="18222"/>
                    <a:pt x="11799" y="18222"/>
                  </a:cubicBezTo>
                  <a:cubicBezTo>
                    <a:pt x="11799" y="18222"/>
                    <a:pt x="11989" y="18119"/>
                    <a:pt x="11989" y="18119"/>
                  </a:cubicBezTo>
                  <a:cubicBezTo>
                    <a:pt x="11989" y="18119"/>
                    <a:pt x="11989" y="18119"/>
                    <a:pt x="12085" y="18119"/>
                  </a:cubicBezTo>
                  <a:cubicBezTo>
                    <a:pt x="12085" y="18119"/>
                    <a:pt x="12085" y="18119"/>
                    <a:pt x="12180" y="18119"/>
                  </a:cubicBezTo>
                  <a:cubicBezTo>
                    <a:pt x="12180" y="18119"/>
                    <a:pt x="12275" y="18017"/>
                    <a:pt x="12370" y="18119"/>
                  </a:cubicBezTo>
                  <a:cubicBezTo>
                    <a:pt x="12465" y="18119"/>
                    <a:pt x="12465" y="18222"/>
                    <a:pt x="12560" y="18222"/>
                  </a:cubicBezTo>
                  <a:cubicBezTo>
                    <a:pt x="12560" y="18222"/>
                    <a:pt x="12656" y="18222"/>
                    <a:pt x="12656" y="18222"/>
                  </a:cubicBezTo>
                  <a:cubicBezTo>
                    <a:pt x="12751" y="18222"/>
                    <a:pt x="12751" y="18222"/>
                    <a:pt x="12941" y="18222"/>
                  </a:cubicBezTo>
                  <a:cubicBezTo>
                    <a:pt x="13131" y="18222"/>
                    <a:pt x="13417" y="18222"/>
                    <a:pt x="13417" y="18222"/>
                  </a:cubicBezTo>
                  <a:cubicBezTo>
                    <a:pt x="13417" y="18324"/>
                    <a:pt x="13512" y="18222"/>
                    <a:pt x="13607" y="18222"/>
                  </a:cubicBezTo>
                  <a:cubicBezTo>
                    <a:pt x="13797" y="18324"/>
                    <a:pt x="13797" y="18324"/>
                    <a:pt x="13797" y="18324"/>
                  </a:cubicBezTo>
                  <a:cubicBezTo>
                    <a:pt x="13893" y="18324"/>
                    <a:pt x="13797" y="18427"/>
                    <a:pt x="13988" y="18324"/>
                  </a:cubicBezTo>
                  <a:cubicBezTo>
                    <a:pt x="14083" y="18324"/>
                    <a:pt x="14083" y="18324"/>
                    <a:pt x="14083" y="18324"/>
                  </a:cubicBezTo>
                  <a:cubicBezTo>
                    <a:pt x="14083" y="18324"/>
                    <a:pt x="14083" y="18324"/>
                    <a:pt x="14178" y="18222"/>
                  </a:cubicBezTo>
                  <a:cubicBezTo>
                    <a:pt x="14273" y="18222"/>
                    <a:pt x="14368" y="18119"/>
                    <a:pt x="14368" y="18119"/>
                  </a:cubicBezTo>
                  <a:cubicBezTo>
                    <a:pt x="14463" y="18119"/>
                    <a:pt x="14463" y="18119"/>
                    <a:pt x="14463" y="18119"/>
                  </a:cubicBezTo>
                  <a:cubicBezTo>
                    <a:pt x="14463" y="18427"/>
                    <a:pt x="14463" y="18427"/>
                    <a:pt x="14463" y="18427"/>
                  </a:cubicBezTo>
                  <a:cubicBezTo>
                    <a:pt x="14463" y="18427"/>
                    <a:pt x="14463" y="18427"/>
                    <a:pt x="14463" y="18529"/>
                  </a:cubicBezTo>
                  <a:cubicBezTo>
                    <a:pt x="14463" y="18529"/>
                    <a:pt x="14368" y="18631"/>
                    <a:pt x="14273" y="18631"/>
                  </a:cubicBezTo>
                  <a:cubicBezTo>
                    <a:pt x="14273" y="18631"/>
                    <a:pt x="14178" y="18529"/>
                    <a:pt x="14178" y="18529"/>
                  </a:cubicBezTo>
                  <a:cubicBezTo>
                    <a:pt x="14178" y="18427"/>
                    <a:pt x="14083" y="18427"/>
                    <a:pt x="14083" y="18427"/>
                  </a:cubicBezTo>
                  <a:cubicBezTo>
                    <a:pt x="13988" y="18427"/>
                    <a:pt x="13893" y="18529"/>
                    <a:pt x="13797" y="18529"/>
                  </a:cubicBezTo>
                  <a:cubicBezTo>
                    <a:pt x="13797" y="18529"/>
                    <a:pt x="13702" y="18427"/>
                    <a:pt x="13702" y="18427"/>
                  </a:cubicBezTo>
                  <a:cubicBezTo>
                    <a:pt x="13702" y="18427"/>
                    <a:pt x="13512" y="18427"/>
                    <a:pt x="13417" y="18427"/>
                  </a:cubicBezTo>
                  <a:cubicBezTo>
                    <a:pt x="13417" y="18427"/>
                    <a:pt x="13322" y="18427"/>
                    <a:pt x="13226" y="18427"/>
                  </a:cubicBezTo>
                  <a:cubicBezTo>
                    <a:pt x="13131" y="18427"/>
                    <a:pt x="13036" y="18427"/>
                    <a:pt x="12941" y="18427"/>
                  </a:cubicBezTo>
                  <a:cubicBezTo>
                    <a:pt x="12846" y="18529"/>
                    <a:pt x="12656" y="18427"/>
                    <a:pt x="12656" y="18529"/>
                  </a:cubicBezTo>
                  <a:cubicBezTo>
                    <a:pt x="12656" y="18529"/>
                    <a:pt x="12656" y="18631"/>
                    <a:pt x="12656" y="18631"/>
                  </a:cubicBezTo>
                  <a:cubicBezTo>
                    <a:pt x="12656" y="18631"/>
                    <a:pt x="12751" y="18734"/>
                    <a:pt x="12656" y="18734"/>
                  </a:cubicBezTo>
                  <a:cubicBezTo>
                    <a:pt x="12465" y="18734"/>
                    <a:pt x="12465" y="18734"/>
                    <a:pt x="12465" y="18631"/>
                  </a:cubicBezTo>
                  <a:cubicBezTo>
                    <a:pt x="12370" y="18529"/>
                    <a:pt x="12560" y="18427"/>
                    <a:pt x="12275" y="18529"/>
                  </a:cubicBezTo>
                  <a:cubicBezTo>
                    <a:pt x="12085" y="18529"/>
                    <a:pt x="12085" y="18427"/>
                    <a:pt x="11989" y="18427"/>
                  </a:cubicBezTo>
                  <a:cubicBezTo>
                    <a:pt x="11989" y="18529"/>
                    <a:pt x="11799" y="18324"/>
                    <a:pt x="11704" y="18427"/>
                  </a:cubicBezTo>
                  <a:cubicBezTo>
                    <a:pt x="11704" y="18427"/>
                    <a:pt x="11609" y="18529"/>
                    <a:pt x="11609" y="18529"/>
                  </a:cubicBezTo>
                  <a:cubicBezTo>
                    <a:pt x="11609" y="18529"/>
                    <a:pt x="11323" y="18529"/>
                    <a:pt x="11323" y="18529"/>
                  </a:cubicBezTo>
                  <a:cubicBezTo>
                    <a:pt x="11323" y="18529"/>
                    <a:pt x="11419" y="18222"/>
                    <a:pt x="11419" y="18222"/>
                  </a:cubicBezTo>
                  <a:cubicBezTo>
                    <a:pt x="11419" y="18222"/>
                    <a:pt x="11419" y="18222"/>
                    <a:pt x="11514" y="18222"/>
                  </a:cubicBezTo>
                  <a:cubicBezTo>
                    <a:pt x="11609" y="18222"/>
                    <a:pt x="11704" y="18222"/>
                    <a:pt x="11704" y="18222"/>
                  </a:cubicBezTo>
                  <a:cubicBezTo>
                    <a:pt x="11799" y="18222"/>
                    <a:pt x="11799" y="18222"/>
                    <a:pt x="11799" y="18222"/>
                  </a:cubicBezTo>
                  <a:close/>
                  <a:moveTo>
                    <a:pt x="11419" y="17608"/>
                  </a:moveTo>
                  <a:cubicBezTo>
                    <a:pt x="11419" y="17608"/>
                    <a:pt x="11419" y="17608"/>
                    <a:pt x="11419" y="17608"/>
                  </a:cubicBezTo>
                  <a:cubicBezTo>
                    <a:pt x="11419" y="17608"/>
                    <a:pt x="11038" y="17403"/>
                    <a:pt x="11038" y="17403"/>
                  </a:cubicBezTo>
                  <a:cubicBezTo>
                    <a:pt x="10943" y="17403"/>
                    <a:pt x="10848" y="17403"/>
                    <a:pt x="10752" y="17403"/>
                  </a:cubicBezTo>
                  <a:cubicBezTo>
                    <a:pt x="10752" y="17403"/>
                    <a:pt x="10562" y="17300"/>
                    <a:pt x="10657" y="17198"/>
                  </a:cubicBezTo>
                  <a:cubicBezTo>
                    <a:pt x="10657" y="17198"/>
                    <a:pt x="10752" y="17096"/>
                    <a:pt x="10848" y="17198"/>
                  </a:cubicBezTo>
                  <a:cubicBezTo>
                    <a:pt x="10943" y="17300"/>
                    <a:pt x="11038" y="17300"/>
                    <a:pt x="11038" y="17403"/>
                  </a:cubicBezTo>
                  <a:cubicBezTo>
                    <a:pt x="11133" y="17403"/>
                    <a:pt x="11323" y="17505"/>
                    <a:pt x="11323" y="17505"/>
                  </a:cubicBezTo>
                  <a:cubicBezTo>
                    <a:pt x="11419" y="17505"/>
                    <a:pt x="11419" y="17608"/>
                    <a:pt x="11419" y="17505"/>
                  </a:cubicBezTo>
                  <a:cubicBezTo>
                    <a:pt x="11514" y="17505"/>
                    <a:pt x="11514" y="17300"/>
                    <a:pt x="11514" y="17300"/>
                  </a:cubicBezTo>
                  <a:cubicBezTo>
                    <a:pt x="11514" y="17198"/>
                    <a:pt x="11419" y="17198"/>
                    <a:pt x="11419" y="17198"/>
                  </a:cubicBezTo>
                  <a:cubicBezTo>
                    <a:pt x="11514" y="17198"/>
                    <a:pt x="11704" y="17096"/>
                    <a:pt x="11704" y="17096"/>
                  </a:cubicBezTo>
                  <a:cubicBezTo>
                    <a:pt x="11799" y="17198"/>
                    <a:pt x="11894" y="17198"/>
                    <a:pt x="11989" y="17198"/>
                  </a:cubicBezTo>
                  <a:cubicBezTo>
                    <a:pt x="11989" y="17198"/>
                    <a:pt x="11894" y="17198"/>
                    <a:pt x="12275" y="17198"/>
                  </a:cubicBezTo>
                  <a:cubicBezTo>
                    <a:pt x="12560" y="17198"/>
                    <a:pt x="12465" y="17198"/>
                    <a:pt x="12656" y="17198"/>
                  </a:cubicBezTo>
                  <a:cubicBezTo>
                    <a:pt x="12751" y="17198"/>
                    <a:pt x="12941" y="17198"/>
                    <a:pt x="12941" y="17198"/>
                  </a:cubicBezTo>
                  <a:cubicBezTo>
                    <a:pt x="12941" y="17300"/>
                    <a:pt x="13131" y="17403"/>
                    <a:pt x="13131" y="17403"/>
                  </a:cubicBezTo>
                  <a:cubicBezTo>
                    <a:pt x="13131" y="17505"/>
                    <a:pt x="13226" y="17505"/>
                    <a:pt x="13131" y="17608"/>
                  </a:cubicBezTo>
                  <a:cubicBezTo>
                    <a:pt x="12941" y="17710"/>
                    <a:pt x="12941" y="17710"/>
                    <a:pt x="12751" y="17710"/>
                  </a:cubicBezTo>
                  <a:cubicBezTo>
                    <a:pt x="12656" y="17710"/>
                    <a:pt x="12751" y="17710"/>
                    <a:pt x="12560" y="17812"/>
                  </a:cubicBezTo>
                  <a:cubicBezTo>
                    <a:pt x="12275" y="17812"/>
                    <a:pt x="12085" y="17812"/>
                    <a:pt x="12085" y="17812"/>
                  </a:cubicBezTo>
                  <a:cubicBezTo>
                    <a:pt x="12085" y="17812"/>
                    <a:pt x="12180" y="17812"/>
                    <a:pt x="11894" y="17812"/>
                  </a:cubicBezTo>
                  <a:cubicBezTo>
                    <a:pt x="11704" y="17710"/>
                    <a:pt x="11609" y="17812"/>
                    <a:pt x="11514" y="17710"/>
                  </a:cubicBezTo>
                  <a:cubicBezTo>
                    <a:pt x="11514" y="17710"/>
                    <a:pt x="11419" y="17608"/>
                    <a:pt x="11419" y="17608"/>
                  </a:cubicBezTo>
                  <a:close/>
                  <a:moveTo>
                    <a:pt x="4758" y="9623"/>
                  </a:moveTo>
                  <a:cubicBezTo>
                    <a:pt x="4758" y="9623"/>
                    <a:pt x="4758" y="9623"/>
                    <a:pt x="4758" y="9623"/>
                  </a:cubicBezTo>
                  <a:cubicBezTo>
                    <a:pt x="4758" y="9623"/>
                    <a:pt x="4758" y="9520"/>
                    <a:pt x="4758" y="9520"/>
                  </a:cubicBezTo>
                  <a:cubicBezTo>
                    <a:pt x="4758" y="9520"/>
                    <a:pt x="4758" y="9520"/>
                    <a:pt x="4758" y="9520"/>
                  </a:cubicBezTo>
                  <a:cubicBezTo>
                    <a:pt x="4758" y="9520"/>
                    <a:pt x="4853" y="9520"/>
                    <a:pt x="4853" y="9520"/>
                  </a:cubicBezTo>
                  <a:cubicBezTo>
                    <a:pt x="4853" y="9623"/>
                    <a:pt x="4853" y="9623"/>
                    <a:pt x="4948" y="9623"/>
                  </a:cubicBezTo>
                  <a:cubicBezTo>
                    <a:pt x="4948" y="9623"/>
                    <a:pt x="4948" y="9623"/>
                    <a:pt x="5043" y="9623"/>
                  </a:cubicBezTo>
                  <a:cubicBezTo>
                    <a:pt x="5043" y="9725"/>
                    <a:pt x="5043" y="9725"/>
                    <a:pt x="5043" y="9725"/>
                  </a:cubicBezTo>
                  <a:cubicBezTo>
                    <a:pt x="5043" y="9725"/>
                    <a:pt x="5043" y="9930"/>
                    <a:pt x="4948" y="9827"/>
                  </a:cubicBezTo>
                  <a:cubicBezTo>
                    <a:pt x="4853" y="9827"/>
                    <a:pt x="4758" y="9827"/>
                    <a:pt x="4758" y="9725"/>
                  </a:cubicBezTo>
                  <a:cubicBezTo>
                    <a:pt x="4758" y="9725"/>
                    <a:pt x="4758" y="9623"/>
                    <a:pt x="4758" y="9623"/>
                  </a:cubicBezTo>
                  <a:close/>
                  <a:moveTo>
                    <a:pt x="4853" y="10544"/>
                  </a:moveTo>
                  <a:cubicBezTo>
                    <a:pt x="4853" y="10544"/>
                    <a:pt x="4853" y="10544"/>
                    <a:pt x="4853" y="10544"/>
                  </a:cubicBezTo>
                  <a:cubicBezTo>
                    <a:pt x="4853" y="10544"/>
                    <a:pt x="4758" y="10544"/>
                    <a:pt x="4758" y="10544"/>
                  </a:cubicBezTo>
                  <a:cubicBezTo>
                    <a:pt x="4758" y="10544"/>
                    <a:pt x="4567" y="10442"/>
                    <a:pt x="4472" y="10442"/>
                  </a:cubicBezTo>
                  <a:cubicBezTo>
                    <a:pt x="4472" y="10339"/>
                    <a:pt x="4472" y="10339"/>
                    <a:pt x="4567" y="10339"/>
                  </a:cubicBezTo>
                  <a:cubicBezTo>
                    <a:pt x="4567" y="10237"/>
                    <a:pt x="4567" y="10135"/>
                    <a:pt x="4567" y="10135"/>
                  </a:cubicBezTo>
                  <a:cubicBezTo>
                    <a:pt x="4567" y="10135"/>
                    <a:pt x="4663" y="10032"/>
                    <a:pt x="4663" y="10032"/>
                  </a:cubicBezTo>
                  <a:cubicBezTo>
                    <a:pt x="4758" y="10032"/>
                    <a:pt x="4758" y="10032"/>
                    <a:pt x="4758" y="10032"/>
                  </a:cubicBezTo>
                  <a:cubicBezTo>
                    <a:pt x="4758" y="10032"/>
                    <a:pt x="4758" y="9930"/>
                    <a:pt x="4758" y="9930"/>
                  </a:cubicBezTo>
                  <a:cubicBezTo>
                    <a:pt x="4758" y="9827"/>
                    <a:pt x="4853" y="9827"/>
                    <a:pt x="4853" y="9827"/>
                  </a:cubicBezTo>
                  <a:cubicBezTo>
                    <a:pt x="4853" y="9827"/>
                    <a:pt x="5043" y="10032"/>
                    <a:pt x="5043" y="10135"/>
                  </a:cubicBezTo>
                  <a:cubicBezTo>
                    <a:pt x="5043" y="10135"/>
                    <a:pt x="4758" y="10135"/>
                    <a:pt x="4758" y="10135"/>
                  </a:cubicBezTo>
                  <a:cubicBezTo>
                    <a:pt x="4758" y="10135"/>
                    <a:pt x="4758" y="10135"/>
                    <a:pt x="4853" y="10339"/>
                  </a:cubicBezTo>
                  <a:cubicBezTo>
                    <a:pt x="4948" y="10442"/>
                    <a:pt x="4948" y="10339"/>
                    <a:pt x="4948" y="10339"/>
                  </a:cubicBezTo>
                  <a:cubicBezTo>
                    <a:pt x="4948" y="10442"/>
                    <a:pt x="4948" y="10442"/>
                    <a:pt x="5138" y="10442"/>
                  </a:cubicBezTo>
                  <a:cubicBezTo>
                    <a:pt x="5233" y="10544"/>
                    <a:pt x="5138" y="10544"/>
                    <a:pt x="5233" y="10646"/>
                  </a:cubicBezTo>
                  <a:cubicBezTo>
                    <a:pt x="5233" y="10646"/>
                    <a:pt x="5138" y="10749"/>
                    <a:pt x="5138" y="10749"/>
                  </a:cubicBezTo>
                  <a:cubicBezTo>
                    <a:pt x="5043" y="10851"/>
                    <a:pt x="5043" y="10749"/>
                    <a:pt x="5043" y="10749"/>
                  </a:cubicBezTo>
                  <a:cubicBezTo>
                    <a:pt x="5043" y="10749"/>
                    <a:pt x="4948" y="10544"/>
                    <a:pt x="4853" y="10544"/>
                  </a:cubicBezTo>
                  <a:close/>
                  <a:moveTo>
                    <a:pt x="5233" y="11977"/>
                  </a:moveTo>
                  <a:cubicBezTo>
                    <a:pt x="5233" y="11977"/>
                    <a:pt x="5233" y="11977"/>
                    <a:pt x="5233" y="11977"/>
                  </a:cubicBezTo>
                  <a:cubicBezTo>
                    <a:pt x="5233" y="11977"/>
                    <a:pt x="5329" y="11875"/>
                    <a:pt x="5329" y="11977"/>
                  </a:cubicBezTo>
                  <a:cubicBezTo>
                    <a:pt x="5424" y="11977"/>
                    <a:pt x="5424" y="12080"/>
                    <a:pt x="5424" y="12080"/>
                  </a:cubicBezTo>
                  <a:cubicBezTo>
                    <a:pt x="5519" y="12182"/>
                    <a:pt x="5614" y="12182"/>
                    <a:pt x="5709" y="12182"/>
                  </a:cubicBezTo>
                  <a:cubicBezTo>
                    <a:pt x="5709" y="12284"/>
                    <a:pt x="5709" y="12387"/>
                    <a:pt x="5709" y="12387"/>
                  </a:cubicBezTo>
                  <a:cubicBezTo>
                    <a:pt x="5709" y="12387"/>
                    <a:pt x="5614" y="12489"/>
                    <a:pt x="5614" y="12387"/>
                  </a:cubicBezTo>
                  <a:cubicBezTo>
                    <a:pt x="5519" y="12284"/>
                    <a:pt x="5519" y="12284"/>
                    <a:pt x="5519" y="12284"/>
                  </a:cubicBezTo>
                  <a:cubicBezTo>
                    <a:pt x="5519" y="12284"/>
                    <a:pt x="5424" y="12182"/>
                    <a:pt x="5424" y="12182"/>
                  </a:cubicBezTo>
                  <a:cubicBezTo>
                    <a:pt x="5424" y="12182"/>
                    <a:pt x="5233" y="11977"/>
                    <a:pt x="5233" y="11977"/>
                  </a:cubicBezTo>
                  <a:close/>
                  <a:moveTo>
                    <a:pt x="5043" y="12387"/>
                  </a:moveTo>
                  <a:cubicBezTo>
                    <a:pt x="5043" y="12387"/>
                    <a:pt x="5043" y="12387"/>
                    <a:pt x="5043" y="12387"/>
                  </a:cubicBezTo>
                  <a:cubicBezTo>
                    <a:pt x="5043" y="12387"/>
                    <a:pt x="5043" y="12284"/>
                    <a:pt x="5043" y="12284"/>
                  </a:cubicBezTo>
                  <a:cubicBezTo>
                    <a:pt x="5043" y="12284"/>
                    <a:pt x="5138" y="12284"/>
                    <a:pt x="5138" y="12387"/>
                  </a:cubicBezTo>
                  <a:cubicBezTo>
                    <a:pt x="5138" y="12387"/>
                    <a:pt x="5233" y="12489"/>
                    <a:pt x="5233" y="12489"/>
                  </a:cubicBezTo>
                  <a:cubicBezTo>
                    <a:pt x="5233" y="12591"/>
                    <a:pt x="5138" y="12591"/>
                    <a:pt x="5138" y="12591"/>
                  </a:cubicBezTo>
                  <a:cubicBezTo>
                    <a:pt x="5138" y="12694"/>
                    <a:pt x="5233" y="12694"/>
                    <a:pt x="5138" y="12694"/>
                  </a:cubicBezTo>
                  <a:cubicBezTo>
                    <a:pt x="5043" y="12694"/>
                    <a:pt x="5043" y="12694"/>
                    <a:pt x="5043" y="12694"/>
                  </a:cubicBezTo>
                  <a:cubicBezTo>
                    <a:pt x="5043" y="12694"/>
                    <a:pt x="5043" y="12591"/>
                    <a:pt x="5043" y="12591"/>
                  </a:cubicBezTo>
                  <a:cubicBezTo>
                    <a:pt x="5043" y="12489"/>
                    <a:pt x="5043" y="12387"/>
                    <a:pt x="5043" y="12387"/>
                  </a:cubicBezTo>
                  <a:close/>
                  <a:moveTo>
                    <a:pt x="4663" y="12387"/>
                  </a:moveTo>
                  <a:cubicBezTo>
                    <a:pt x="4663" y="12387"/>
                    <a:pt x="4663" y="12387"/>
                    <a:pt x="4663" y="12387"/>
                  </a:cubicBezTo>
                  <a:cubicBezTo>
                    <a:pt x="4663" y="12387"/>
                    <a:pt x="4758" y="12387"/>
                    <a:pt x="4758" y="12489"/>
                  </a:cubicBezTo>
                  <a:cubicBezTo>
                    <a:pt x="4758" y="12489"/>
                    <a:pt x="4853" y="12489"/>
                    <a:pt x="4853" y="12591"/>
                  </a:cubicBezTo>
                  <a:cubicBezTo>
                    <a:pt x="4853" y="12591"/>
                    <a:pt x="4853" y="12591"/>
                    <a:pt x="4853" y="12694"/>
                  </a:cubicBezTo>
                  <a:cubicBezTo>
                    <a:pt x="4853" y="12796"/>
                    <a:pt x="4948" y="12796"/>
                    <a:pt x="4853" y="12796"/>
                  </a:cubicBezTo>
                  <a:cubicBezTo>
                    <a:pt x="4758" y="12694"/>
                    <a:pt x="4758" y="12694"/>
                    <a:pt x="4758" y="12694"/>
                  </a:cubicBezTo>
                  <a:cubicBezTo>
                    <a:pt x="4663" y="12591"/>
                    <a:pt x="4663" y="12591"/>
                    <a:pt x="4663" y="12591"/>
                  </a:cubicBezTo>
                  <a:cubicBezTo>
                    <a:pt x="4663" y="12489"/>
                    <a:pt x="4663" y="12489"/>
                    <a:pt x="4663" y="12489"/>
                  </a:cubicBezTo>
                  <a:cubicBezTo>
                    <a:pt x="4663" y="12387"/>
                    <a:pt x="4663" y="12387"/>
                    <a:pt x="4663" y="12387"/>
                  </a:cubicBezTo>
                  <a:close/>
                  <a:moveTo>
                    <a:pt x="3235" y="11875"/>
                  </a:moveTo>
                  <a:cubicBezTo>
                    <a:pt x="3235" y="11875"/>
                    <a:pt x="3235" y="11875"/>
                    <a:pt x="3235" y="11875"/>
                  </a:cubicBezTo>
                  <a:cubicBezTo>
                    <a:pt x="3235" y="11875"/>
                    <a:pt x="3330" y="11875"/>
                    <a:pt x="3330" y="11875"/>
                  </a:cubicBezTo>
                  <a:cubicBezTo>
                    <a:pt x="3426" y="11977"/>
                    <a:pt x="3330" y="11977"/>
                    <a:pt x="3426" y="12080"/>
                  </a:cubicBezTo>
                  <a:cubicBezTo>
                    <a:pt x="3426" y="12080"/>
                    <a:pt x="3330" y="12182"/>
                    <a:pt x="3330" y="12182"/>
                  </a:cubicBezTo>
                  <a:cubicBezTo>
                    <a:pt x="3235" y="12080"/>
                    <a:pt x="3235" y="12080"/>
                    <a:pt x="3235" y="12080"/>
                  </a:cubicBezTo>
                  <a:cubicBezTo>
                    <a:pt x="3235" y="11875"/>
                    <a:pt x="3235" y="11875"/>
                    <a:pt x="3235" y="11875"/>
                  </a:cubicBezTo>
                  <a:close/>
                  <a:moveTo>
                    <a:pt x="3235" y="11465"/>
                  </a:moveTo>
                  <a:cubicBezTo>
                    <a:pt x="3235" y="11465"/>
                    <a:pt x="3235" y="11465"/>
                    <a:pt x="3235" y="11465"/>
                  </a:cubicBezTo>
                  <a:cubicBezTo>
                    <a:pt x="3235" y="11465"/>
                    <a:pt x="3045" y="11465"/>
                    <a:pt x="3045" y="11465"/>
                  </a:cubicBezTo>
                  <a:cubicBezTo>
                    <a:pt x="3045" y="11465"/>
                    <a:pt x="2950" y="11465"/>
                    <a:pt x="2950" y="11363"/>
                  </a:cubicBezTo>
                  <a:cubicBezTo>
                    <a:pt x="2950" y="11363"/>
                    <a:pt x="2950" y="11261"/>
                    <a:pt x="3045" y="11261"/>
                  </a:cubicBezTo>
                  <a:cubicBezTo>
                    <a:pt x="3045" y="11261"/>
                    <a:pt x="3045" y="11158"/>
                    <a:pt x="3045" y="11056"/>
                  </a:cubicBezTo>
                  <a:cubicBezTo>
                    <a:pt x="3045" y="11056"/>
                    <a:pt x="3140" y="11056"/>
                    <a:pt x="3140" y="11056"/>
                  </a:cubicBezTo>
                  <a:cubicBezTo>
                    <a:pt x="3140" y="11056"/>
                    <a:pt x="3235" y="11158"/>
                    <a:pt x="3235" y="11158"/>
                  </a:cubicBezTo>
                  <a:cubicBezTo>
                    <a:pt x="3235" y="11158"/>
                    <a:pt x="3235" y="11363"/>
                    <a:pt x="3235" y="11465"/>
                  </a:cubicBezTo>
                  <a:close/>
                  <a:moveTo>
                    <a:pt x="3235" y="9111"/>
                  </a:moveTo>
                  <a:cubicBezTo>
                    <a:pt x="3235" y="9111"/>
                    <a:pt x="3235" y="9111"/>
                    <a:pt x="3235" y="9111"/>
                  </a:cubicBezTo>
                  <a:cubicBezTo>
                    <a:pt x="3235" y="9111"/>
                    <a:pt x="3426" y="9111"/>
                    <a:pt x="3426" y="9111"/>
                  </a:cubicBezTo>
                  <a:cubicBezTo>
                    <a:pt x="3426" y="9111"/>
                    <a:pt x="3426" y="9213"/>
                    <a:pt x="3426" y="9316"/>
                  </a:cubicBezTo>
                  <a:cubicBezTo>
                    <a:pt x="3521" y="9316"/>
                    <a:pt x="3521" y="9418"/>
                    <a:pt x="3521" y="9418"/>
                  </a:cubicBezTo>
                  <a:cubicBezTo>
                    <a:pt x="3616" y="9418"/>
                    <a:pt x="3616" y="9418"/>
                    <a:pt x="3616" y="9418"/>
                  </a:cubicBezTo>
                  <a:cubicBezTo>
                    <a:pt x="3616" y="9418"/>
                    <a:pt x="3711" y="9316"/>
                    <a:pt x="3711" y="9418"/>
                  </a:cubicBezTo>
                  <a:cubicBezTo>
                    <a:pt x="3806" y="9418"/>
                    <a:pt x="3901" y="9316"/>
                    <a:pt x="3901" y="9316"/>
                  </a:cubicBezTo>
                  <a:cubicBezTo>
                    <a:pt x="3901" y="9316"/>
                    <a:pt x="3996" y="9418"/>
                    <a:pt x="3996" y="9418"/>
                  </a:cubicBezTo>
                  <a:cubicBezTo>
                    <a:pt x="3996" y="9520"/>
                    <a:pt x="3901" y="9623"/>
                    <a:pt x="3901" y="9623"/>
                  </a:cubicBezTo>
                  <a:cubicBezTo>
                    <a:pt x="3806" y="9623"/>
                    <a:pt x="3711" y="9520"/>
                    <a:pt x="3711" y="9520"/>
                  </a:cubicBezTo>
                  <a:cubicBezTo>
                    <a:pt x="3711" y="9520"/>
                    <a:pt x="3616" y="9418"/>
                    <a:pt x="3616" y="9520"/>
                  </a:cubicBezTo>
                  <a:cubicBezTo>
                    <a:pt x="3616" y="9520"/>
                    <a:pt x="3616" y="9623"/>
                    <a:pt x="3616" y="9725"/>
                  </a:cubicBezTo>
                  <a:cubicBezTo>
                    <a:pt x="3711" y="9725"/>
                    <a:pt x="3711" y="9725"/>
                    <a:pt x="3711" y="9827"/>
                  </a:cubicBezTo>
                  <a:cubicBezTo>
                    <a:pt x="3616" y="9827"/>
                    <a:pt x="3616" y="9930"/>
                    <a:pt x="3616" y="9930"/>
                  </a:cubicBezTo>
                  <a:cubicBezTo>
                    <a:pt x="3616" y="10032"/>
                    <a:pt x="3711" y="10135"/>
                    <a:pt x="3711" y="10135"/>
                  </a:cubicBezTo>
                  <a:cubicBezTo>
                    <a:pt x="3711" y="10135"/>
                    <a:pt x="3711" y="10135"/>
                    <a:pt x="3711" y="10237"/>
                  </a:cubicBezTo>
                  <a:cubicBezTo>
                    <a:pt x="3711" y="10237"/>
                    <a:pt x="3806" y="10339"/>
                    <a:pt x="3806" y="10339"/>
                  </a:cubicBezTo>
                  <a:cubicBezTo>
                    <a:pt x="3806" y="10442"/>
                    <a:pt x="3806" y="10544"/>
                    <a:pt x="3806" y="10544"/>
                  </a:cubicBezTo>
                  <a:cubicBezTo>
                    <a:pt x="3901" y="10646"/>
                    <a:pt x="3901" y="10646"/>
                    <a:pt x="3901" y="10646"/>
                  </a:cubicBezTo>
                  <a:cubicBezTo>
                    <a:pt x="3806" y="10851"/>
                    <a:pt x="3806" y="10851"/>
                    <a:pt x="3806" y="10851"/>
                  </a:cubicBezTo>
                  <a:cubicBezTo>
                    <a:pt x="3806" y="10851"/>
                    <a:pt x="3901" y="10954"/>
                    <a:pt x="3901" y="10954"/>
                  </a:cubicBezTo>
                  <a:cubicBezTo>
                    <a:pt x="3901" y="11056"/>
                    <a:pt x="4092" y="11158"/>
                    <a:pt x="4092" y="11261"/>
                  </a:cubicBezTo>
                  <a:cubicBezTo>
                    <a:pt x="4092" y="11261"/>
                    <a:pt x="4092" y="11465"/>
                    <a:pt x="3996" y="11465"/>
                  </a:cubicBezTo>
                  <a:cubicBezTo>
                    <a:pt x="3996" y="11465"/>
                    <a:pt x="3901" y="11568"/>
                    <a:pt x="3901" y="11465"/>
                  </a:cubicBezTo>
                  <a:cubicBezTo>
                    <a:pt x="3806" y="11363"/>
                    <a:pt x="3711" y="11158"/>
                    <a:pt x="3711" y="11158"/>
                  </a:cubicBezTo>
                  <a:cubicBezTo>
                    <a:pt x="3711" y="11158"/>
                    <a:pt x="3711" y="11158"/>
                    <a:pt x="3711" y="11158"/>
                  </a:cubicBezTo>
                  <a:cubicBezTo>
                    <a:pt x="3711" y="11261"/>
                    <a:pt x="3616" y="11363"/>
                    <a:pt x="3616" y="11363"/>
                  </a:cubicBezTo>
                  <a:cubicBezTo>
                    <a:pt x="3616" y="11465"/>
                    <a:pt x="3806" y="11568"/>
                    <a:pt x="3806" y="11568"/>
                  </a:cubicBezTo>
                  <a:cubicBezTo>
                    <a:pt x="3806" y="11568"/>
                    <a:pt x="3711" y="11363"/>
                    <a:pt x="3806" y="11568"/>
                  </a:cubicBezTo>
                  <a:cubicBezTo>
                    <a:pt x="3901" y="11773"/>
                    <a:pt x="3996" y="11875"/>
                    <a:pt x="3996" y="11875"/>
                  </a:cubicBezTo>
                  <a:cubicBezTo>
                    <a:pt x="3996" y="11875"/>
                    <a:pt x="4092" y="11977"/>
                    <a:pt x="4187" y="11977"/>
                  </a:cubicBezTo>
                  <a:cubicBezTo>
                    <a:pt x="4187" y="12080"/>
                    <a:pt x="4187" y="12080"/>
                    <a:pt x="4282" y="12182"/>
                  </a:cubicBezTo>
                  <a:cubicBezTo>
                    <a:pt x="4282" y="12182"/>
                    <a:pt x="4377" y="12284"/>
                    <a:pt x="4282" y="12284"/>
                  </a:cubicBezTo>
                  <a:cubicBezTo>
                    <a:pt x="4187" y="12387"/>
                    <a:pt x="4282" y="12387"/>
                    <a:pt x="4187" y="12387"/>
                  </a:cubicBezTo>
                  <a:cubicBezTo>
                    <a:pt x="4187" y="12284"/>
                    <a:pt x="4092" y="12284"/>
                    <a:pt x="4092" y="12182"/>
                  </a:cubicBezTo>
                  <a:cubicBezTo>
                    <a:pt x="4092" y="12080"/>
                    <a:pt x="3996" y="11977"/>
                    <a:pt x="3996" y="11875"/>
                  </a:cubicBezTo>
                  <a:cubicBezTo>
                    <a:pt x="3901" y="11875"/>
                    <a:pt x="3806" y="11773"/>
                    <a:pt x="3806" y="11773"/>
                  </a:cubicBezTo>
                  <a:cubicBezTo>
                    <a:pt x="3711" y="11773"/>
                    <a:pt x="3711" y="11670"/>
                    <a:pt x="3711" y="11670"/>
                  </a:cubicBezTo>
                  <a:cubicBezTo>
                    <a:pt x="3711" y="11670"/>
                    <a:pt x="3616" y="11670"/>
                    <a:pt x="3616" y="11670"/>
                  </a:cubicBezTo>
                  <a:cubicBezTo>
                    <a:pt x="3616" y="11670"/>
                    <a:pt x="3426" y="11670"/>
                    <a:pt x="3426" y="11670"/>
                  </a:cubicBezTo>
                  <a:cubicBezTo>
                    <a:pt x="3426" y="11568"/>
                    <a:pt x="3426" y="11568"/>
                    <a:pt x="3521" y="11465"/>
                  </a:cubicBezTo>
                  <a:cubicBezTo>
                    <a:pt x="3521" y="11465"/>
                    <a:pt x="3616" y="11465"/>
                    <a:pt x="3616" y="11465"/>
                  </a:cubicBezTo>
                  <a:cubicBezTo>
                    <a:pt x="3616" y="11465"/>
                    <a:pt x="3521" y="11363"/>
                    <a:pt x="3521" y="11363"/>
                  </a:cubicBezTo>
                  <a:cubicBezTo>
                    <a:pt x="3521" y="11363"/>
                    <a:pt x="3521" y="11261"/>
                    <a:pt x="3521" y="11261"/>
                  </a:cubicBezTo>
                  <a:cubicBezTo>
                    <a:pt x="3426" y="11261"/>
                    <a:pt x="3426" y="11363"/>
                    <a:pt x="3426" y="11261"/>
                  </a:cubicBezTo>
                  <a:cubicBezTo>
                    <a:pt x="3426" y="11158"/>
                    <a:pt x="3426" y="11158"/>
                    <a:pt x="3426" y="11056"/>
                  </a:cubicBezTo>
                  <a:cubicBezTo>
                    <a:pt x="3426" y="11056"/>
                    <a:pt x="3426" y="10851"/>
                    <a:pt x="3426" y="10851"/>
                  </a:cubicBezTo>
                  <a:cubicBezTo>
                    <a:pt x="3521" y="10954"/>
                    <a:pt x="3521" y="10954"/>
                    <a:pt x="3521" y="10954"/>
                  </a:cubicBezTo>
                  <a:cubicBezTo>
                    <a:pt x="3616" y="10749"/>
                    <a:pt x="3616" y="10749"/>
                    <a:pt x="3616" y="10749"/>
                  </a:cubicBezTo>
                  <a:cubicBezTo>
                    <a:pt x="3616" y="10749"/>
                    <a:pt x="3616" y="10749"/>
                    <a:pt x="3521" y="10749"/>
                  </a:cubicBezTo>
                  <a:cubicBezTo>
                    <a:pt x="3426" y="10749"/>
                    <a:pt x="3426" y="10544"/>
                    <a:pt x="3426" y="10544"/>
                  </a:cubicBezTo>
                  <a:cubicBezTo>
                    <a:pt x="3426" y="10544"/>
                    <a:pt x="3426" y="10442"/>
                    <a:pt x="3426" y="10442"/>
                  </a:cubicBezTo>
                  <a:cubicBezTo>
                    <a:pt x="3426" y="10442"/>
                    <a:pt x="3330" y="10442"/>
                    <a:pt x="3330" y="10339"/>
                  </a:cubicBezTo>
                  <a:cubicBezTo>
                    <a:pt x="3235" y="10237"/>
                    <a:pt x="3235" y="10135"/>
                    <a:pt x="3235" y="10135"/>
                  </a:cubicBezTo>
                  <a:cubicBezTo>
                    <a:pt x="3235" y="10135"/>
                    <a:pt x="3330" y="10135"/>
                    <a:pt x="3235" y="10032"/>
                  </a:cubicBezTo>
                  <a:cubicBezTo>
                    <a:pt x="3235" y="9930"/>
                    <a:pt x="3235" y="9930"/>
                    <a:pt x="3140" y="9930"/>
                  </a:cubicBezTo>
                  <a:cubicBezTo>
                    <a:pt x="3140" y="9827"/>
                    <a:pt x="3140" y="9725"/>
                    <a:pt x="3235" y="9725"/>
                  </a:cubicBezTo>
                  <a:cubicBezTo>
                    <a:pt x="3235" y="9725"/>
                    <a:pt x="3235" y="9725"/>
                    <a:pt x="3330" y="9725"/>
                  </a:cubicBezTo>
                  <a:cubicBezTo>
                    <a:pt x="3330" y="9827"/>
                    <a:pt x="3426" y="9827"/>
                    <a:pt x="3426" y="9827"/>
                  </a:cubicBezTo>
                  <a:cubicBezTo>
                    <a:pt x="3426" y="9725"/>
                    <a:pt x="3521" y="9623"/>
                    <a:pt x="3426" y="9623"/>
                  </a:cubicBezTo>
                  <a:cubicBezTo>
                    <a:pt x="3426" y="9520"/>
                    <a:pt x="3330" y="9418"/>
                    <a:pt x="3330" y="9418"/>
                  </a:cubicBezTo>
                  <a:cubicBezTo>
                    <a:pt x="3235" y="9316"/>
                    <a:pt x="3235" y="9316"/>
                    <a:pt x="3235" y="9316"/>
                  </a:cubicBezTo>
                  <a:cubicBezTo>
                    <a:pt x="3235" y="9316"/>
                    <a:pt x="3235" y="9316"/>
                    <a:pt x="3235" y="9213"/>
                  </a:cubicBezTo>
                  <a:cubicBezTo>
                    <a:pt x="3235" y="9213"/>
                    <a:pt x="3235" y="9111"/>
                    <a:pt x="3235" y="9111"/>
                  </a:cubicBezTo>
                  <a:close/>
                  <a:moveTo>
                    <a:pt x="3140" y="9111"/>
                  </a:moveTo>
                  <a:cubicBezTo>
                    <a:pt x="3140" y="9111"/>
                    <a:pt x="3140" y="9111"/>
                    <a:pt x="3140" y="9111"/>
                  </a:cubicBezTo>
                  <a:cubicBezTo>
                    <a:pt x="3140" y="9111"/>
                    <a:pt x="3045" y="9009"/>
                    <a:pt x="3045" y="8906"/>
                  </a:cubicBezTo>
                  <a:cubicBezTo>
                    <a:pt x="3045" y="8906"/>
                    <a:pt x="3045" y="8906"/>
                    <a:pt x="3045" y="8804"/>
                  </a:cubicBezTo>
                  <a:cubicBezTo>
                    <a:pt x="3045" y="8701"/>
                    <a:pt x="2950" y="8701"/>
                    <a:pt x="2950" y="8599"/>
                  </a:cubicBezTo>
                  <a:cubicBezTo>
                    <a:pt x="3045" y="8599"/>
                    <a:pt x="3045" y="8497"/>
                    <a:pt x="3045" y="8497"/>
                  </a:cubicBezTo>
                  <a:cubicBezTo>
                    <a:pt x="3140" y="8394"/>
                    <a:pt x="3235" y="8394"/>
                    <a:pt x="3235" y="8497"/>
                  </a:cubicBezTo>
                  <a:cubicBezTo>
                    <a:pt x="3235" y="8497"/>
                    <a:pt x="3235" y="8599"/>
                    <a:pt x="3235" y="8701"/>
                  </a:cubicBezTo>
                  <a:cubicBezTo>
                    <a:pt x="3235" y="8701"/>
                    <a:pt x="3235" y="8804"/>
                    <a:pt x="3235" y="8804"/>
                  </a:cubicBezTo>
                  <a:cubicBezTo>
                    <a:pt x="3235" y="8906"/>
                    <a:pt x="3330" y="8906"/>
                    <a:pt x="3330" y="8906"/>
                  </a:cubicBezTo>
                  <a:cubicBezTo>
                    <a:pt x="3330" y="9009"/>
                    <a:pt x="3330" y="9111"/>
                    <a:pt x="3330" y="9111"/>
                  </a:cubicBezTo>
                  <a:lnTo>
                    <a:pt x="3140" y="911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9" name="Shape 2232">
              <a:extLst>
                <a:ext uri="{FF2B5EF4-FFF2-40B4-BE49-F238E27FC236}">
                  <a16:creationId xmlns:a16="http://schemas.microsoft.com/office/drawing/2014/main" id="{DF95BC8D-DD2D-507C-4A9F-503EC41876AB}"/>
                </a:ext>
              </a:extLst>
            </p:cNvPr>
            <p:cNvSpPr/>
            <p:nvPr/>
          </p:nvSpPr>
          <p:spPr>
            <a:xfrm>
              <a:off x="7842174" y="7684919"/>
              <a:ext cx="388398" cy="211197"/>
            </a:xfrm>
            <a:custGeom>
              <a:avLst/>
              <a:gdLst/>
              <a:ahLst/>
              <a:cxnLst>
                <a:cxn ang="0">
                  <a:pos x="wd2" y="hd2"/>
                </a:cxn>
                <a:cxn ang="5400000">
                  <a:pos x="wd2" y="hd2"/>
                </a:cxn>
                <a:cxn ang="10800000">
                  <a:pos x="wd2" y="hd2"/>
                </a:cxn>
                <a:cxn ang="16200000">
                  <a:pos x="wd2" y="hd2"/>
                </a:cxn>
              </a:cxnLst>
              <a:rect l="0" t="0" r="r" b="b"/>
              <a:pathLst>
                <a:path w="21417" h="20762" extrusionOk="0">
                  <a:moveTo>
                    <a:pt x="455" y="15078"/>
                  </a:moveTo>
                  <a:cubicBezTo>
                    <a:pt x="455" y="15078"/>
                    <a:pt x="455" y="14686"/>
                    <a:pt x="455" y="13900"/>
                  </a:cubicBezTo>
                  <a:cubicBezTo>
                    <a:pt x="227" y="13115"/>
                    <a:pt x="0" y="11937"/>
                    <a:pt x="0" y="11937"/>
                  </a:cubicBezTo>
                  <a:cubicBezTo>
                    <a:pt x="0" y="11937"/>
                    <a:pt x="227" y="11544"/>
                    <a:pt x="455" y="11937"/>
                  </a:cubicBezTo>
                  <a:cubicBezTo>
                    <a:pt x="682" y="12329"/>
                    <a:pt x="909" y="13115"/>
                    <a:pt x="1592" y="12329"/>
                  </a:cubicBezTo>
                  <a:cubicBezTo>
                    <a:pt x="1819" y="12329"/>
                    <a:pt x="2046" y="12329"/>
                    <a:pt x="2046" y="11937"/>
                  </a:cubicBezTo>
                  <a:cubicBezTo>
                    <a:pt x="2501" y="11151"/>
                    <a:pt x="2501" y="10366"/>
                    <a:pt x="2728" y="10366"/>
                  </a:cubicBezTo>
                  <a:cubicBezTo>
                    <a:pt x="2956" y="9973"/>
                    <a:pt x="2956" y="10366"/>
                    <a:pt x="3411" y="10366"/>
                  </a:cubicBezTo>
                  <a:cubicBezTo>
                    <a:pt x="3411" y="10366"/>
                    <a:pt x="3638" y="9973"/>
                    <a:pt x="3638" y="9973"/>
                  </a:cubicBezTo>
                  <a:cubicBezTo>
                    <a:pt x="3865" y="9973"/>
                    <a:pt x="3865" y="10366"/>
                    <a:pt x="4093" y="10366"/>
                  </a:cubicBezTo>
                  <a:cubicBezTo>
                    <a:pt x="4320" y="10366"/>
                    <a:pt x="4320" y="9973"/>
                    <a:pt x="4547" y="10366"/>
                  </a:cubicBezTo>
                  <a:cubicBezTo>
                    <a:pt x="4775" y="10366"/>
                    <a:pt x="5002" y="10758"/>
                    <a:pt x="5229" y="10758"/>
                  </a:cubicBezTo>
                  <a:cubicBezTo>
                    <a:pt x="5457" y="10758"/>
                    <a:pt x="5912" y="10758"/>
                    <a:pt x="5912" y="9973"/>
                  </a:cubicBezTo>
                  <a:cubicBezTo>
                    <a:pt x="6139" y="9580"/>
                    <a:pt x="6366" y="8795"/>
                    <a:pt x="6366" y="7617"/>
                  </a:cubicBezTo>
                  <a:cubicBezTo>
                    <a:pt x="6366" y="6438"/>
                    <a:pt x="6139" y="5653"/>
                    <a:pt x="6366" y="6046"/>
                  </a:cubicBezTo>
                  <a:cubicBezTo>
                    <a:pt x="6366" y="6046"/>
                    <a:pt x="7048" y="6438"/>
                    <a:pt x="7503" y="6831"/>
                  </a:cubicBezTo>
                  <a:cubicBezTo>
                    <a:pt x="7958" y="6831"/>
                    <a:pt x="7731" y="6438"/>
                    <a:pt x="8185" y="6831"/>
                  </a:cubicBezTo>
                  <a:cubicBezTo>
                    <a:pt x="8640" y="6831"/>
                    <a:pt x="9549" y="7224"/>
                    <a:pt x="10004" y="7224"/>
                  </a:cubicBezTo>
                  <a:cubicBezTo>
                    <a:pt x="10914" y="7224"/>
                    <a:pt x="12051" y="7224"/>
                    <a:pt x="13187" y="6831"/>
                  </a:cubicBezTo>
                  <a:cubicBezTo>
                    <a:pt x="13187" y="6438"/>
                    <a:pt x="13642" y="6046"/>
                    <a:pt x="13869" y="6046"/>
                  </a:cubicBezTo>
                  <a:cubicBezTo>
                    <a:pt x="14097" y="5653"/>
                    <a:pt x="14552" y="6046"/>
                    <a:pt x="15006" y="5653"/>
                  </a:cubicBezTo>
                  <a:cubicBezTo>
                    <a:pt x="15234" y="5653"/>
                    <a:pt x="15688" y="5260"/>
                    <a:pt x="15916" y="4867"/>
                  </a:cubicBezTo>
                  <a:cubicBezTo>
                    <a:pt x="16371" y="4475"/>
                    <a:pt x="16825" y="4082"/>
                    <a:pt x="17280" y="3689"/>
                  </a:cubicBezTo>
                  <a:cubicBezTo>
                    <a:pt x="17507" y="3689"/>
                    <a:pt x="17507" y="3297"/>
                    <a:pt x="17735" y="2904"/>
                  </a:cubicBezTo>
                  <a:cubicBezTo>
                    <a:pt x="17962" y="2904"/>
                    <a:pt x="17962" y="2904"/>
                    <a:pt x="18189" y="2904"/>
                  </a:cubicBezTo>
                  <a:cubicBezTo>
                    <a:pt x="18417" y="2904"/>
                    <a:pt x="18644" y="2511"/>
                    <a:pt x="18872" y="2511"/>
                  </a:cubicBezTo>
                  <a:cubicBezTo>
                    <a:pt x="19326" y="2118"/>
                    <a:pt x="19554" y="1726"/>
                    <a:pt x="20236" y="940"/>
                  </a:cubicBezTo>
                  <a:cubicBezTo>
                    <a:pt x="20918" y="-238"/>
                    <a:pt x="21600" y="-238"/>
                    <a:pt x="21373" y="547"/>
                  </a:cubicBezTo>
                  <a:cubicBezTo>
                    <a:pt x="21373" y="940"/>
                    <a:pt x="20463" y="1726"/>
                    <a:pt x="20236" y="2118"/>
                  </a:cubicBezTo>
                  <a:cubicBezTo>
                    <a:pt x="19781" y="2904"/>
                    <a:pt x="19326" y="3689"/>
                    <a:pt x="18872" y="4082"/>
                  </a:cubicBezTo>
                  <a:cubicBezTo>
                    <a:pt x="18417" y="4082"/>
                    <a:pt x="17735" y="4867"/>
                    <a:pt x="17280" y="5653"/>
                  </a:cubicBezTo>
                  <a:cubicBezTo>
                    <a:pt x="16825" y="6046"/>
                    <a:pt x="16825" y="6831"/>
                    <a:pt x="16598" y="7224"/>
                  </a:cubicBezTo>
                  <a:cubicBezTo>
                    <a:pt x="15916" y="8009"/>
                    <a:pt x="15688" y="7224"/>
                    <a:pt x="15461" y="7617"/>
                  </a:cubicBezTo>
                  <a:cubicBezTo>
                    <a:pt x="15461" y="8402"/>
                    <a:pt x="15234" y="9580"/>
                    <a:pt x="15234" y="10366"/>
                  </a:cubicBezTo>
                  <a:cubicBezTo>
                    <a:pt x="15461" y="11544"/>
                    <a:pt x="16143" y="12329"/>
                    <a:pt x="16598" y="13115"/>
                  </a:cubicBezTo>
                  <a:cubicBezTo>
                    <a:pt x="16598" y="13115"/>
                    <a:pt x="17280" y="14293"/>
                    <a:pt x="16825" y="14686"/>
                  </a:cubicBezTo>
                  <a:cubicBezTo>
                    <a:pt x="16598" y="14686"/>
                    <a:pt x="16371" y="13900"/>
                    <a:pt x="15916" y="13900"/>
                  </a:cubicBezTo>
                  <a:cubicBezTo>
                    <a:pt x="15461" y="13900"/>
                    <a:pt x="14779" y="13900"/>
                    <a:pt x="14324" y="14293"/>
                  </a:cubicBezTo>
                  <a:cubicBezTo>
                    <a:pt x="14097" y="14293"/>
                    <a:pt x="13869" y="13900"/>
                    <a:pt x="13415" y="13900"/>
                  </a:cubicBezTo>
                  <a:cubicBezTo>
                    <a:pt x="12960" y="14293"/>
                    <a:pt x="12505" y="15864"/>
                    <a:pt x="12505" y="16649"/>
                  </a:cubicBezTo>
                  <a:cubicBezTo>
                    <a:pt x="12505" y="17042"/>
                    <a:pt x="12051" y="17042"/>
                    <a:pt x="11823" y="17827"/>
                  </a:cubicBezTo>
                  <a:cubicBezTo>
                    <a:pt x="11368" y="18220"/>
                    <a:pt x="11141" y="17827"/>
                    <a:pt x="10686" y="18220"/>
                  </a:cubicBezTo>
                  <a:cubicBezTo>
                    <a:pt x="10232" y="18613"/>
                    <a:pt x="10232" y="19006"/>
                    <a:pt x="9777" y="19006"/>
                  </a:cubicBezTo>
                  <a:cubicBezTo>
                    <a:pt x="9095" y="19006"/>
                    <a:pt x="8413" y="19398"/>
                    <a:pt x="8185" y="19398"/>
                  </a:cubicBezTo>
                  <a:cubicBezTo>
                    <a:pt x="6821" y="19398"/>
                    <a:pt x="7503" y="21362"/>
                    <a:pt x="6594" y="20577"/>
                  </a:cubicBezTo>
                  <a:cubicBezTo>
                    <a:pt x="6139" y="20577"/>
                    <a:pt x="5912" y="19791"/>
                    <a:pt x="5457" y="19398"/>
                  </a:cubicBezTo>
                  <a:cubicBezTo>
                    <a:pt x="5229" y="19398"/>
                    <a:pt x="4775" y="20184"/>
                    <a:pt x="4320" y="20577"/>
                  </a:cubicBezTo>
                  <a:cubicBezTo>
                    <a:pt x="3865" y="20969"/>
                    <a:pt x="3183" y="19791"/>
                    <a:pt x="2728" y="19398"/>
                  </a:cubicBezTo>
                  <a:cubicBezTo>
                    <a:pt x="2274" y="19006"/>
                    <a:pt x="2046" y="19791"/>
                    <a:pt x="1819" y="19398"/>
                  </a:cubicBezTo>
                  <a:cubicBezTo>
                    <a:pt x="1364" y="18613"/>
                    <a:pt x="1592" y="17827"/>
                    <a:pt x="1137" y="17435"/>
                  </a:cubicBezTo>
                  <a:cubicBezTo>
                    <a:pt x="909" y="16649"/>
                    <a:pt x="455" y="15864"/>
                    <a:pt x="455" y="15078"/>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0" name="Shape 2233">
              <a:extLst>
                <a:ext uri="{FF2B5EF4-FFF2-40B4-BE49-F238E27FC236}">
                  <a16:creationId xmlns:a16="http://schemas.microsoft.com/office/drawing/2014/main" id="{2314C11E-3ACE-4038-F1F7-6656F710917F}"/>
                </a:ext>
              </a:extLst>
            </p:cNvPr>
            <p:cNvSpPr/>
            <p:nvPr/>
          </p:nvSpPr>
          <p:spPr>
            <a:xfrm>
              <a:off x="5090256" y="5963283"/>
              <a:ext cx="767516" cy="792151"/>
            </a:xfrm>
            <a:custGeom>
              <a:avLst/>
              <a:gdLst/>
              <a:ahLst/>
              <a:cxnLst>
                <a:cxn ang="0">
                  <a:pos x="wd2" y="hd2"/>
                </a:cxn>
                <a:cxn ang="5400000">
                  <a:pos x="wd2" y="hd2"/>
                </a:cxn>
                <a:cxn ang="10800000">
                  <a:pos x="wd2" y="hd2"/>
                </a:cxn>
                <a:cxn ang="16200000">
                  <a:pos x="wd2" y="hd2"/>
                </a:cxn>
              </a:cxnLst>
              <a:rect l="0" t="0" r="r" b="b"/>
              <a:pathLst>
                <a:path w="21600" h="21600" extrusionOk="0">
                  <a:moveTo>
                    <a:pt x="1277" y="1527"/>
                  </a:moveTo>
                  <a:cubicBezTo>
                    <a:pt x="1277" y="1527"/>
                    <a:pt x="1277" y="1527"/>
                    <a:pt x="1277" y="1527"/>
                  </a:cubicBezTo>
                  <a:cubicBezTo>
                    <a:pt x="1277" y="1527"/>
                    <a:pt x="1277" y="1527"/>
                    <a:pt x="1277" y="1527"/>
                  </a:cubicBezTo>
                  <a:cubicBezTo>
                    <a:pt x="1394" y="1527"/>
                    <a:pt x="1394" y="1527"/>
                    <a:pt x="1510" y="1527"/>
                  </a:cubicBezTo>
                  <a:cubicBezTo>
                    <a:pt x="1742" y="1527"/>
                    <a:pt x="1858" y="1527"/>
                    <a:pt x="1858" y="1527"/>
                  </a:cubicBezTo>
                  <a:cubicBezTo>
                    <a:pt x="1974" y="1200"/>
                    <a:pt x="1974" y="1200"/>
                    <a:pt x="1974" y="1200"/>
                  </a:cubicBezTo>
                  <a:cubicBezTo>
                    <a:pt x="2206" y="1091"/>
                    <a:pt x="2206" y="1091"/>
                    <a:pt x="2206" y="1091"/>
                  </a:cubicBezTo>
                  <a:cubicBezTo>
                    <a:pt x="2206" y="1091"/>
                    <a:pt x="2555" y="655"/>
                    <a:pt x="2671" y="655"/>
                  </a:cubicBezTo>
                  <a:cubicBezTo>
                    <a:pt x="2903" y="655"/>
                    <a:pt x="2671" y="436"/>
                    <a:pt x="2671" y="436"/>
                  </a:cubicBezTo>
                  <a:cubicBezTo>
                    <a:pt x="2671" y="436"/>
                    <a:pt x="3252" y="218"/>
                    <a:pt x="3484" y="218"/>
                  </a:cubicBezTo>
                  <a:cubicBezTo>
                    <a:pt x="3484" y="218"/>
                    <a:pt x="3484" y="218"/>
                    <a:pt x="3600" y="218"/>
                  </a:cubicBezTo>
                  <a:cubicBezTo>
                    <a:pt x="3716" y="218"/>
                    <a:pt x="3716" y="327"/>
                    <a:pt x="3716" y="327"/>
                  </a:cubicBezTo>
                  <a:cubicBezTo>
                    <a:pt x="4181" y="109"/>
                    <a:pt x="4181" y="109"/>
                    <a:pt x="4181" y="109"/>
                  </a:cubicBezTo>
                  <a:cubicBezTo>
                    <a:pt x="4181" y="109"/>
                    <a:pt x="4877" y="0"/>
                    <a:pt x="4994" y="0"/>
                  </a:cubicBezTo>
                  <a:cubicBezTo>
                    <a:pt x="5110" y="0"/>
                    <a:pt x="5342" y="109"/>
                    <a:pt x="5342" y="109"/>
                  </a:cubicBezTo>
                  <a:cubicBezTo>
                    <a:pt x="5574" y="109"/>
                    <a:pt x="5574" y="109"/>
                    <a:pt x="5574" y="109"/>
                  </a:cubicBezTo>
                  <a:cubicBezTo>
                    <a:pt x="5574" y="109"/>
                    <a:pt x="5690" y="218"/>
                    <a:pt x="5806" y="218"/>
                  </a:cubicBezTo>
                  <a:cubicBezTo>
                    <a:pt x="6039" y="327"/>
                    <a:pt x="6155" y="655"/>
                    <a:pt x="6271" y="655"/>
                  </a:cubicBezTo>
                  <a:cubicBezTo>
                    <a:pt x="6503" y="764"/>
                    <a:pt x="6735" y="764"/>
                    <a:pt x="6852" y="764"/>
                  </a:cubicBezTo>
                  <a:cubicBezTo>
                    <a:pt x="6968" y="873"/>
                    <a:pt x="7200" y="982"/>
                    <a:pt x="7200" y="982"/>
                  </a:cubicBezTo>
                  <a:cubicBezTo>
                    <a:pt x="7200" y="982"/>
                    <a:pt x="7781" y="1527"/>
                    <a:pt x="7897" y="1527"/>
                  </a:cubicBezTo>
                  <a:cubicBezTo>
                    <a:pt x="8013" y="1527"/>
                    <a:pt x="8013" y="1527"/>
                    <a:pt x="8129" y="1745"/>
                  </a:cubicBezTo>
                  <a:cubicBezTo>
                    <a:pt x="8245" y="1855"/>
                    <a:pt x="8594" y="1745"/>
                    <a:pt x="8594" y="1745"/>
                  </a:cubicBezTo>
                  <a:cubicBezTo>
                    <a:pt x="8594" y="1745"/>
                    <a:pt x="8710" y="2073"/>
                    <a:pt x="8594" y="2182"/>
                  </a:cubicBezTo>
                  <a:cubicBezTo>
                    <a:pt x="8594" y="2291"/>
                    <a:pt x="8594" y="2618"/>
                    <a:pt x="8594" y="2618"/>
                  </a:cubicBezTo>
                  <a:cubicBezTo>
                    <a:pt x="8594" y="2618"/>
                    <a:pt x="8594" y="2727"/>
                    <a:pt x="8594" y="2836"/>
                  </a:cubicBezTo>
                  <a:cubicBezTo>
                    <a:pt x="8710" y="3055"/>
                    <a:pt x="8826" y="3055"/>
                    <a:pt x="8826" y="3273"/>
                  </a:cubicBezTo>
                  <a:cubicBezTo>
                    <a:pt x="8942" y="3382"/>
                    <a:pt x="8826" y="3382"/>
                    <a:pt x="8942" y="3491"/>
                  </a:cubicBezTo>
                  <a:cubicBezTo>
                    <a:pt x="9058" y="3600"/>
                    <a:pt x="9174" y="3818"/>
                    <a:pt x="9290" y="3818"/>
                  </a:cubicBezTo>
                  <a:cubicBezTo>
                    <a:pt x="9406" y="3818"/>
                    <a:pt x="9523" y="3818"/>
                    <a:pt x="9871" y="3927"/>
                  </a:cubicBezTo>
                  <a:cubicBezTo>
                    <a:pt x="10219" y="4145"/>
                    <a:pt x="10335" y="4145"/>
                    <a:pt x="10452" y="4255"/>
                  </a:cubicBezTo>
                  <a:cubicBezTo>
                    <a:pt x="10684" y="4364"/>
                    <a:pt x="10568" y="4255"/>
                    <a:pt x="10916" y="4364"/>
                  </a:cubicBezTo>
                  <a:cubicBezTo>
                    <a:pt x="11381" y="4473"/>
                    <a:pt x="11265" y="4364"/>
                    <a:pt x="11381" y="4473"/>
                  </a:cubicBezTo>
                  <a:cubicBezTo>
                    <a:pt x="11497" y="4473"/>
                    <a:pt x="11381" y="4364"/>
                    <a:pt x="11613" y="4473"/>
                  </a:cubicBezTo>
                  <a:cubicBezTo>
                    <a:pt x="11961" y="4473"/>
                    <a:pt x="12194" y="4582"/>
                    <a:pt x="12194" y="4582"/>
                  </a:cubicBezTo>
                  <a:cubicBezTo>
                    <a:pt x="12194" y="4800"/>
                    <a:pt x="12194" y="4800"/>
                    <a:pt x="12194" y="4800"/>
                  </a:cubicBezTo>
                  <a:cubicBezTo>
                    <a:pt x="11961" y="5236"/>
                    <a:pt x="11961" y="5236"/>
                    <a:pt x="11961" y="5236"/>
                  </a:cubicBezTo>
                  <a:cubicBezTo>
                    <a:pt x="11961" y="5564"/>
                    <a:pt x="11961" y="5564"/>
                    <a:pt x="11961" y="5564"/>
                  </a:cubicBezTo>
                  <a:cubicBezTo>
                    <a:pt x="11961" y="5564"/>
                    <a:pt x="11729" y="5564"/>
                    <a:pt x="11961" y="5673"/>
                  </a:cubicBezTo>
                  <a:cubicBezTo>
                    <a:pt x="12194" y="5782"/>
                    <a:pt x="12658" y="5891"/>
                    <a:pt x="12658" y="5891"/>
                  </a:cubicBezTo>
                  <a:cubicBezTo>
                    <a:pt x="13006" y="6109"/>
                    <a:pt x="13006" y="6109"/>
                    <a:pt x="13006" y="6109"/>
                  </a:cubicBezTo>
                  <a:cubicBezTo>
                    <a:pt x="13006" y="6109"/>
                    <a:pt x="12774" y="6436"/>
                    <a:pt x="12658" y="6545"/>
                  </a:cubicBezTo>
                  <a:cubicBezTo>
                    <a:pt x="12542" y="6545"/>
                    <a:pt x="12194" y="6545"/>
                    <a:pt x="12194" y="6545"/>
                  </a:cubicBezTo>
                  <a:cubicBezTo>
                    <a:pt x="12194" y="6545"/>
                    <a:pt x="12077" y="6873"/>
                    <a:pt x="12310" y="6873"/>
                  </a:cubicBezTo>
                  <a:cubicBezTo>
                    <a:pt x="12426" y="6982"/>
                    <a:pt x="12658" y="6982"/>
                    <a:pt x="12774" y="6982"/>
                  </a:cubicBezTo>
                  <a:cubicBezTo>
                    <a:pt x="12890" y="6982"/>
                    <a:pt x="13123" y="7091"/>
                    <a:pt x="13123" y="7091"/>
                  </a:cubicBezTo>
                  <a:cubicBezTo>
                    <a:pt x="13123" y="7091"/>
                    <a:pt x="13239" y="7091"/>
                    <a:pt x="13355" y="7200"/>
                  </a:cubicBezTo>
                  <a:cubicBezTo>
                    <a:pt x="13355" y="7418"/>
                    <a:pt x="13471" y="7527"/>
                    <a:pt x="13587" y="7527"/>
                  </a:cubicBezTo>
                  <a:cubicBezTo>
                    <a:pt x="13703" y="7527"/>
                    <a:pt x="13935" y="7527"/>
                    <a:pt x="14052" y="7527"/>
                  </a:cubicBezTo>
                  <a:cubicBezTo>
                    <a:pt x="14168" y="7527"/>
                    <a:pt x="14168" y="7418"/>
                    <a:pt x="14284" y="7418"/>
                  </a:cubicBezTo>
                  <a:cubicBezTo>
                    <a:pt x="14400" y="7527"/>
                    <a:pt x="15097" y="7418"/>
                    <a:pt x="15097" y="7418"/>
                  </a:cubicBezTo>
                  <a:cubicBezTo>
                    <a:pt x="15097" y="7418"/>
                    <a:pt x="15097" y="7418"/>
                    <a:pt x="15213" y="7636"/>
                  </a:cubicBezTo>
                  <a:cubicBezTo>
                    <a:pt x="15445" y="7964"/>
                    <a:pt x="15794" y="8073"/>
                    <a:pt x="15794" y="8073"/>
                  </a:cubicBezTo>
                  <a:cubicBezTo>
                    <a:pt x="15794" y="8073"/>
                    <a:pt x="15910" y="8182"/>
                    <a:pt x="15910" y="8073"/>
                  </a:cubicBezTo>
                  <a:cubicBezTo>
                    <a:pt x="15910" y="7964"/>
                    <a:pt x="16026" y="7855"/>
                    <a:pt x="16026" y="7855"/>
                  </a:cubicBezTo>
                  <a:cubicBezTo>
                    <a:pt x="16026" y="7855"/>
                    <a:pt x="16258" y="7527"/>
                    <a:pt x="16258" y="7418"/>
                  </a:cubicBezTo>
                  <a:cubicBezTo>
                    <a:pt x="16374" y="7309"/>
                    <a:pt x="16490" y="6982"/>
                    <a:pt x="16606" y="6982"/>
                  </a:cubicBezTo>
                  <a:cubicBezTo>
                    <a:pt x="16723" y="6873"/>
                    <a:pt x="17071" y="6655"/>
                    <a:pt x="17071" y="6655"/>
                  </a:cubicBezTo>
                  <a:cubicBezTo>
                    <a:pt x="17071" y="6655"/>
                    <a:pt x="17071" y="6545"/>
                    <a:pt x="17303" y="6655"/>
                  </a:cubicBezTo>
                  <a:cubicBezTo>
                    <a:pt x="17419" y="6873"/>
                    <a:pt x="17768" y="7091"/>
                    <a:pt x="17768" y="7091"/>
                  </a:cubicBezTo>
                  <a:cubicBezTo>
                    <a:pt x="18348" y="7091"/>
                    <a:pt x="18348" y="7091"/>
                    <a:pt x="18348" y="7091"/>
                  </a:cubicBezTo>
                  <a:cubicBezTo>
                    <a:pt x="18348" y="7091"/>
                    <a:pt x="18697" y="7200"/>
                    <a:pt x="18697" y="7309"/>
                  </a:cubicBezTo>
                  <a:cubicBezTo>
                    <a:pt x="18697" y="7418"/>
                    <a:pt x="18581" y="7418"/>
                    <a:pt x="18348" y="7527"/>
                  </a:cubicBezTo>
                  <a:cubicBezTo>
                    <a:pt x="18232" y="7527"/>
                    <a:pt x="17884" y="7200"/>
                    <a:pt x="17884" y="7309"/>
                  </a:cubicBezTo>
                  <a:cubicBezTo>
                    <a:pt x="17768" y="7418"/>
                    <a:pt x="17768" y="7636"/>
                    <a:pt x="17768" y="7636"/>
                  </a:cubicBezTo>
                  <a:cubicBezTo>
                    <a:pt x="17303" y="7855"/>
                    <a:pt x="17303" y="7855"/>
                    <a:pt x="17303" y="7855"/>
                  </a:cubicBezTo>
                  <a:cubicBezTo>
                    <a:pt x="17419" y="8073"/>
                    <a:pt x="17419" y="8073"/>
                    <a:pt x="17419" y="8073"/>
                  </a:cubicBezTo>
                  <a:cubicBezTo>
                    <a:pt x="17419" y="8073"/>
                    <a:pt x="18000" y="8291"/>
                    <a:pt x="18000" y="8400"/>
                  </a:cubicBezTo>
                  <a:cubicBezTo>
                    <a:pt x="18000" y="8509"/>
                    <a:pt x="18000" y="8727"/>
                    <a:pt x="18000" y="8727"/>
                  </a:cubicBezTo>
                  <a:cubicBezTo>
                    <a:pt x="18348" y="8836"/>
                    <a:pt x="18348" y="8836"/>
                    <a:pt x="18348" y="8836"/>
                  </a:cubicBezTo>
                  <a:cubicBezTo>
                    <a:pt x="18581" y="8727"/>
                    <a:pt x="18581" y="8727"/>
                    <a:pt x="18581" y="8727"/>
                  </a:cubicBezTo>
                  <a:cubicBezTo>
                    <a:pt x="18581" y="9164"/>
                    <a:pt x="18581" y="9164"/>
                    <a:pt x="18581" y="9164"/>
                  </a:cubicBezTo>
                  <a:cubicBezTo>
                    <a:pt x="18581" y="9600"/>
                    <a:pt x="18581" y="9600"/>
                    <a:pt x="18581" y="9600"/>
                  </a:cubicBezTo>
                  <a:cubicBezTo>
                    <a:pt x="18581" y="9927"/>
                    <a:pt x="18581" y="9927"/>
                    <a:pt x="18581" y="9927"/>
                  </a:cubicBezTo>
                  <a:cubicBezTo>
                    <a:pt x="18581" y="9927"/>
                    <a:pt x="18697" y="10255"/>
                    <a:pt x="18581" y="10255"/>
                  </a:cubicBezTo>
                  <a:cubicBezTo>
                    <a:pt x="18465" y="10255"/>
                    <a:pt x="18116" y="10473"/>
                    <a:pt x="18116" y="10473"/>
                  </a:cubicBezTo>
                  <a:cubicBezTo>
                    <a:pt x="17884" y="10800"/>
                    <a:pt x="17884" y="10800"/>
                    <a:pt x="17884" y="10800"/>
                  </a:cubicBezTo>
                  <a:cubicBezTo>
                    <a:pt x="17884" y="10800"/>
                    <a:pt x="17884" y="11236"/>
                    <a:pt x="17884" y="11345"/>
                  </a:cubicBezTo>
                  <a:cubicBezTo>
                    <a:pt x="18000" y="11564"/>
                    <a:pt x="17884" y="11891"/>
                    <a:pt x="17884" y="11891"/>
                  </a:cubicBezTo>
                  <a:cubicBezTo>
                    <a:pt x="17884" y="11891"/>
                    <a:pt x="17884" y="12109"/>
                    <a:pt x="18000" y="12218"/>
                  </a:cubicBezTo>
                  <a:cubicBezTo>
                    <a:pt x="18116" y="12327"/>
                    <a:pt x="18232" y="12545"/>
                    <a:pt x="18232" y="12545"/>
                  </a:cubicBezTo>
                  <a:cubicBezTo>
                    <a:pt x="18232" y="12545"/>
                    <a:pt x="18348" y="12655"/>
                    <a:pt x="18465" y="12873"/>
                  </a:cubicBezTo>
                  <a:cubicBezTo>
                    <a:pt x="18581" y="13091"/>
                    <a:pt x="19045" y="13636"/>
                    <a:pt x="19045" y="13636"/>
                  </a:cubicBezTo>
                  <a:cubicBezTo>
                    <a:pt x="19045" y="13636"/>
                    <a:pt x="19394" y="13745"/>
                    <a:pt x="19510" y="13745"/>
                  </a:cubicBezTo>
                  <a:cubicBezTo>
                    <a:pt x="19510" y="13745"/>
                    <a:pt x="19974" y="13964"/>
                    <a:pt x="19974" y="13964"/>
                  </a:cubicBezTo>
                  <a:cubicBezTo>
                    <a:pt x="19974" y="13964"/>
                    <a:pt x="20206" y="13964"/>
                    <a:pt x="20206" y="14073"/>
                  </a:cubicBezTo>
                  <a:cubicBezTo>
                    <a:pt x="20206" y="14073"/>
                    <a:pt x="20671" y="14727"/>
                    <a:pt x="20671" y="14727"/>
                  </a:cubicBezTo>
                  <a:cubicBezTo>
                    <a:pt x="21135" y="14836"/>
                    <a:pt x="21135" y="14836"/>
                    <a:pt x="21135" y="14836"/>
                  </a:cubicBezTo>
                  <a:cubicBezTo>
                    <a:pt x="21600" y="14836"/>
                    <a:pt x="21600" y="14836"/>
                    <a:pt x="21600" y="14836"/>
                  </a:cubicBezTo>
                  <a:cubicBezTo>
                    <a:pt x="21600" y="14836"/>
                    <a:pt x="21484" y="15382"/>
                    <a:pt x="21368" y="15491"/>
                  </a:cubicBezTo>
                  <a:cubicBezTo>
                    <a:pt x="21252" y="15600"/>
                    <a:pt x="20903" y="16036"/>
                    <a:pt x="20903" y="16036"/>
                  </a:cubicBezTo>
                  <a:cubicBezTo>
                    <a:pt x="20903" y="16036"/>
                    <a:pt x="20671" y="16255"/>
                    <a:pt x="20671" y="16473"/>
                  </a:cubicBezTo>
                  <a:cubicBezTo>
                    <a:pt x="20787" y="16582"/>
                    <a:pt x="20787" y="16909"/>
                    <a:pt x="20787" y="16909"/>
                  </a:cubicBezTo>
                  <a:cubicBezTo>
                    <a:pt x="20787" y="16909"/>
                    <a:pt x="20555" y="17127"/>
                    <a:pt x="20439" y="17127"/>
                  </a:cubicBezTo>
                  <a:cubicBezTo>
                    <a:pt x="20323" y="17127"/>
                    <a:pt x="20090" y="17127"/>
                    <a:pt x="19974" y="17236"/>
                  </a:cubicBezTo>
                  <a:cubicBezTo>
                    <a:pt x="19858" y="17236"/>
                    <a:pt x="19742" y="17345"/>
                    <a:pt x="19742" y="17345"/>
                  </a:cubicBezTo>
                  <a:cubicBezTo>
                    <a:pt x="19626" y="17455"/>
                    <a:pt x="19394" y="17673"/>
                    <a:pt x="19394" y="17673"/>
                  </a:cubicBezTo>
                  <a:cubicBezTo>
                    <a:pt x="19626" y="18000"/>
                    <a:pt x="19626" y="18000"/>
                    <a:pt x="19626" y="18000"/>
                  </a:cubicBezTo>
                  <a:cubicBezTo>
                    <a:pt x="19742" y="18545"/>
                    <a:pt x="19742" y="18545"/>
                    <a:pt x="19742" y="18545"/>
                  </a:cubicBezTo>
                  <a:cubicBezTo>
                    <a:pt x="19742" y="19091"/>
                    <a:pt x="19742" y="19091"/>
                    <a:pt x="19742" y="19091"/>
                  </a:cubicBezTo>
                  <a:cubicBezTo>
                    <a:pt x="19742" y="19091"/>
                    <a:pt x="20090" y="19200"/>
                    <a:pt x="20090" y="19309"/>
                  </a:cubicBezTo>
                  <a:cubicBezTo>
                    <a:pt x="20206" y="19309"/>
                    <a:pt x="20323" y="19636"/>
                    <a:pt x="20323" y="19636"/>
                  </a:cubicBezTo>
                  <a:cubicBezTo>
                    <a:pt x="20206" y="19855"/>
                    <a:pt x="20206" y="19855"/>
                    <a:pt x="20206" y="19855"/>
                  </a:cubicBezTo>
                  <a:cubicBezTo>
                    <a:pt x="20090" y="20182"/>
                    <a:pt x="20090" y="20182"/>
                    <a:pt x="20090" y="20182"/>
                  </a:cubicBezTo>
                  <a:cubicBezTo>
                    <a:pt x="20090" y="20182"/>
                    <a:pt x="19974" y="20400"/>
                    <a:pt x="19858" y="20509"/>
                  </a:cubicBezTo>
                  <a:cubicBezTo>
                    <a:pt x="19626" y="20509"/>
                    <a:pt x="19277" y="20509"/>
                    <a:pt x="19277" y="20509"/>
                  </a:cubicBezTo>
                  <a:cubicBezTo>
                    <a:pt x="19277" y="20509"/>
                    <a:pt x="19277" y="20400"/>
                    <a:pt x="19045" y="20509"/>
                  </a:cubicBezTo>
                  <a:cubicBezTo>
                    <a:pt x="18813" y="20509"/>
                    <a:pt x="18581" y="20727"/>
                    <a:pt x="18581" y="20727"/>
                  </a:cubicBezTo>
                  <a:cubicBezTo>
                    <a:pt x="18581" y="20727"/>
                    <a:pt x="18581" y="20727"/>
                    <a:pt x="18465" y="20836"/>
                  </a:cubicBezTo>
                  <a:cubicBezTo>
                    <a:pt x="18232" y="20836"/>
                    <a:pt x="18116" y="20836"/>
                    <a:pt x="18000" y="20836"/>
                  </a:cubicBezTo>
                  <a:cubicBezTo>
                    <a:pt x="17884" y="20836"/>
                    <a:pt x="17652" y="20727"/>
                    <a:pt x="17652" y="20727"/>
                  </a:cubicBezTo>
                  <a:cubicBezTo>
                    <a:pt x="17419" y="21055"/>
                    <a:pt x="17419" y="21055"/>
                    <a:pt x="17419" y="21055"/>
                  </a:cubicBezTo>
                  <a:cubicBezTo>
                    <a:pt x="17419" y="21055"/>
                    <a:pt x="17187" y="21164"/>
                    <a:pt x="17071" y="21164"/>
                  </a:cubicBezTo>
                  <a:cubicBezTo>
                    <a:pt x="17071" y="21164"/>
                    <a:pt x="16723" y="21600"/>
                    <a:pt x="16723" y="21600"/>
                  </a:cubicBezTo>
                  <a:cubicBezTo>
                    <a:pt x="16723" y="21600"/>
                    <a:pt x="16723" y="21600"/>
                    <a:pt x="16606" y="21600"/>
                  </a:cubicBezTo>
                  <a:cubicBezTo>
                    <a:pt x="16374" y="21600"/>
                    <a:pt x="16142" y="21491"/>
                    <a:pt x="16142" y="21491"/>
                  </a:cubicBezTo>
                  <a:cubicBezTo>
                    <a:pt x="15794" y="21164"/>
                    <a:pt x="15794" y="21164"/>
                    <a:pt x="15794" y="21164"/>
                  </a:cubicBezTo>
                  <a:cubicBezTo>
                    <a:pt x="15794" y="21164"/>
                    <a:pt x="15910" y="21164"/>
                    <a:pt x="16142" y="20945"/>
                  </a:cubicBezTo>
                  <a:cubicBezTo>
                    <a:pt x="16258" y="20836"/>
                    <a:pt x="16258" y="20836"/>
                    <a:pt x="16258" y="20727"/>
                  </a:cubicBezTo>
                  <a:cubicBezTo>
                    <a:pt x="16142" y="20509"/>
                    <a:pt x="16026" y="20291"/>
                    <a:pt x="16142" y="20291"/>
                  </a:cubicBezTo>
                  <a:cubicBezTo>
                    <a:pt x="16258" y="20182"/>
                    <a:pt x="16374" y="20291"/>
                    <a:pt x="16490" y="20073"/>
                  </a:cubicBezTo>
                  <a:cubicBezTo>
                    <a:pt x="16490" y="19964"/>
                    <a:pt x="16490" y="19855"/>
                    <a:pt x="16490" y="19636"/>
                  </a:cubicBezTo>
                  <a:cubicBezTo>
                    <a:pt x="16490" y="19527"/>
                    <a:pt x="16490" y="19309"/>
                    <a:pt x="16606" y="19309"/>
                  </a:cubicBezTo>
                  <a:cubicBezTo>
                    <a:pt x="16723" y="19200"/>
                    <a:pt x="16723" y="19091"/>
                    <a:pt x="16723" y="19091"/>
                  </a:cubicBezTo>
                  <a:cubicBezTo>
                    <a:pt x="16142" y="18982"/>
                    <a:pt x="16142" y="18982"/>
                    <a:pt x="16142" y="18982"/>
                  </a:cubicBezTo>
                  <a:cubicBezTo>
                    <a:pt x="15794" y="19091"/>
                    <a:pt x="15794" y="19091"/>
                    <a:pt x="15794" y="19091"/>
                  </a:cubicBezTo>
                  <a:cubicBezTo>
                    <a:pt x="15794" y="19091"/>
                    <a:pt x="15794" y="18873"/>
                    <a:pt x="15561" y="18873"/>
                  </a:cubicBezTo>
                  <a:cubicBezTo>
                    <a:pt x="15329" y="18764"/>
                    <a:pt x="14865" y="18764"/>
                    <a:pt x="14865" y="18764"/>
                  </a:cubicBezTo>
                  <a:cubicBezTo>
                    <a:pt x="14748" y="18327"/>
                    <a:pt x="14748" y="18327"/>
                    <a:pt x="14748" y="18327"/>
                  </a:cubicBezTo>
                  <a:cubicBezTo>
                    <a:pt x="13819" y="18109"/>
                    <a:pt x="13819" y="18109"/>
                    <a:pt x="13819" y="18109"/>
                  </a:cubicBezTo>
                  <a:cubicBezTo>
                    <a:pt x="13819" y="18109"/>
                    <a:pt x="13703" y="17673"/>
                    <a:pt x="13587" y="17564"/>
                  </a:cubicBezTo>
                  <a:cubicBezTo>
                    <a:pt x="13471" y="17455"/>
                    <a:pt x="13471" y="17455"/>
                    <a:pt x="13471" y="17455"/>
                  </a:cubicBezTo>
                  <a:cubicBezTo>
                    <a:pt x="12890" y="17018"/>
                    <a:pt x="12890" y="17018"/>
                    <a:pt x="12890" y="17018"/>
                  </a:cubicBezTo>
                  <a:cubicBezTo>
                    <a:pt x="12542" y="17018"/>
                    <a:pt x="12542" y="17018"/>
                    <a:pt x="12542" y="17018"/>
                  </a:cubicBezTo>
                  <a:cubicBezTo>
                    <a:pt x="12542" y="17018"/>
                    <a:pt x="12426" y="17018"/>
                    <a:pt x="12194" y="16909"/>
                  </a:cubicBezTo>
                  <a:cubicBezTo>
                    <a:pt x="11845" y="16800"/>
                    <a:pt x="11729" y="16473"/>
                    <a:pt x="11729" y="16473"/>
                  </a:cubicBezTo>
                  <a:cubicBezTo>
                    <a:pt x="11729" y="16473"/>
                    <a:pt x="11729" y="16255"/>
                    <a:pt x="11497" y="16364"/>
                  </a:cubicBezTo>
                  <a:cubicBezTo>
                    <a:pt x="11265" y="16582"/>
                    <a:pt x="11032" y="16582"/>
                    <a:pt x="10916" y="16691"/>
                  </a:cubicBezTo>
                  <a:cubicBezTo>
                    <a:pt x="10916" y="16691"/>
                    <a:pt x="10800" y="16691"/>
                    <a:pt x="10684" y="16800"/>
                  </a:cubicBezTo>
                  <a:cubicBezTo>
                    <a:pt x="10684" y="16909"/>
                    <a:pt x="10568" y="16909"/>
                    <a:pt x="10800" y="17127"/>
                  </a:cubicBezTo>
                  <a:cubicBezTo>
                    <a:pt x="10916" y="17236"/>
                    <a:pt x="11032" y="17345"/>
                    <a:pt x="11032" y="17345"/>
                  </a:cubicBezTo>
                  <a:cubicBezTo>
                    <a:pt x="10916" y="17891"/>
                    <a:pt x="10916" y="17891"/>
                    <a:pt x="10916" y="17891"/>
                  </a:cubicBezTo>
                  <a:cubicBezTo>
                    <a:pt x="10219" y="18545"/>
                    <a:pt x="10219" y="18545"/>
                    <a:pt x="10219" y="18545"/>
                  </a:cubicBezTo>
                  <a:cubicBezTo>
                    <a:pt x="10335" y="18873"/>
                    <a:pt x="10335" y="18873"/>
                    <a:pt x="10335" y="18873"/>
                  </a:cubicBezTo>
                  <a:cubicBezTo>
                    <a:pt x="10335" y="18873"/>
                    <a:pt x="10568" y="18873"/>
                    <a:pt x="10219" y="18982"/>
                  </a:cubicBezTo>
                  <a:cubicBezTo>
                    <a:pt x="9987" y="19091"/>
                    <a:pt x="9987" y="19200"/>
                    <a:pt x="9871" y="19200"/>
                  </a:cubicBezTo>
                  <a:cubicBezTo>
                    <a:pt x="9871" y="19091"/>
                    <a:pt x="9755" y="18982"/>
                    <a:pt x="9523" y="18873"/>
                  </a:cubicBezTo>
                  <a:cubicBezTo>
                    <a:pt x="9406" y="18764"/>
                    <a:pt x="9406" y="18764"/>
                    <a:pt x="9406" y="18764"/>
                  </a:cubicBezTo>
                  <a:cubicBezTo>
                    <a:pt x="9406" y="18764"/>
                    <a:pt x="9406" y="18764"/>
                    <a:pt x="9290" y="18655"/>
                  </a:cubicBezTo>
                  <a:cubicBezTo>
                    <a:pt x="9290" y="18655"/>
                    <a:pt x="9290" y="18655"/>
                    <a:pt x="9290" y="18655"/>
                  </a:cubicBezTo>
                  <a:cubicBezTo>
                    <a:pt x="9290" y="18655"/>
                    <a:pt x="9290" y="18545"/>
                    <a:pt x="9058" y="18545"/>
                  </a:cubicBezTo>
                  <a:cubicBezTo>
                    <a:pt x="8942" y="18545"/>
                    <a:pt x="8710" y="18327"/>
                    <a:pt x="8710" y="18327"/>
                  </a:cubicBezTo>
                  <a:cubicBezTo>
                    <a:pt x="8361" y="18327"/>
                    <a:pt x="8361" y="18327"/>
                    <a:pt x="8361" y="18327"/>
                  </a:cubicBezTo>
                  <a:cubicBezTo>
                    <a:pt x="8361" y="18327"/>
                    <a:pt x="8013" y="18000"/>
                    <a:pt x="8013" y="18000"/>
                  </a:cubicBezTo>
                  <a:cubicBezTo>
                    <a:pt x="7897" y="18000"/>
                    <a:pt x="7548" y="17891"/>
                    <a:pt x="7548" y="17891"/>
                  </a:cubicBezTo>
                  <a:cubicBezTo>
                    <a:pt x="7548" y="17673"/>
                    <a:pt x="7548" y="17673"/>
                    <a:pt x="7548" y="17673"/>
                  </a:cubicBezTo>
                  <a:cubicBezTo>
                    <a:pt x="7548" y="17673"/>
                    <a:pt x="7432" y="17673"/>
                    <a:pt x="7432" y="17673"/>
                  </a:cubicBezTo>
                  <a:cubicBezTo>
                    <a:pt x="7316" y="17673"/>
                    <a:pt x="7200" y="17782"/>
                    <a:pt x="7200" y="17782"/>
                  </a:cubicBezTo>
                  <a:cubicBezTo>
                    <a:pt x="6852" y="17891"/>
                    <a:pt x="6852" y="17891"/>
                    <a:pt x="6852" y="17891"/>
                  </a:cubicBezTo>
                  <a:cubicBezTo>
                    <a:pt x="6852" y="17891"/>
                    <a:pt x="6619" y="17891"/>
                    <a:pt x="6619" y="17891"/>
                  </a:cubicBezTo>
                  <a:cubicBezTo>
                    <a:pt x="6503" y="17782"/>
                    <a:pt x="6387" y="17564"/>
                    <a:pt x="6387" y="17564"/>
                  </a:cubicBezTo>
                  <a:cubicBezTo>
                    <a:pt x="6387" y="17564"/>
                    <a:pt x="6387" y="17564"/>
                    <a:pt x="6271" y="17564"/>
                  </a:cubicBezTo>
                  <a:cubicBezTo>
                    <a:pt x="6155" y="17673"/>
                    <a:pt x="6387" y="17782"/>
                    <a:pt x="6155" y="17673"/>
                  </a:cubicBezTo>
                  <a:cubicBezTo>
                    <a:pt x="5806" y="17564"/>
                    <a:pt x="5806" y="17564"/>
                    <a:pt x="5806" y="17564"/>
                  </a:cubicBezTo>
                  <a:cubicBezTo>
                    <a:pt x="5574" y="17345"/>
                    <a:pt x="5574" y="17345"/>
                    <a:pt x="5574" y="17345"/>
                  </a:cubicBezTo>
                  <a:cubicBezTo>
                    <a:pt x="5458" y="17345"/>
                    <a:pt x="5458" y="17345"/>
                    <a:pt x="5458" y="17345"/>
                  </a:cubicBezTo>
                  <a:cubicBezTo>
                    <a:pt x="5342" y="17345"/>
                    <a:pt x="5342" y="17345"/>
                    <a:pt x="5342" y="17345"/>
                  </a:cubicBezTo>
                  <a:cubicBezTo>
                    <a:pt x="5342" y="17345"/>
                    <a:pt x="5226" y="17127"/>
                    <a:pt x="5226" y="17127"/>
                  </a:cubicBezTo>
                  <a:cubicBezTo>
                    <a:pt x="5226" y="17127"/>
                    <a:pt x="5226" y="16909"/>
                    <a:pt x="5226" y="16909"/>
                  </a:cubicBezTo>
                  <a:cubicBezTo>
                    <a:pt x="5110" y="16909"/>
                    <a:pt x="4761" y="16800"/>
                    <a:pt x="4761" y="16800"/>
                  </a:cubicBezTo>
                  <a:cubicBezTo>
                    <a:pt x="4645" y="16582"/>
                    <a:pt x="4645" y="16582"/>
                    <a:pt x="4645" y="16582"/>
                  </a:cubicBezTo>
                  <a:cubicBezTo>
                    <a:pt x="4645" y="16582"/>
                    <a:pt x="4645" y="16582"/>
                    <a:pt x="4645" y="16582"/>
                  </a:cubicBezTo>
                  <a:cubicBezTo>
                    <a:pt x="4529" y="16582"/>
                    <a:pt x="4297" y="16473"/>
                    <a:pt x="4297" y="16473"/>
                  </a:cubicBezTo>
                  <a:cubicBezTo>
                    <a:pt x="4181" y="16364"/>
                    <a:pt x="4181" y="16364"/>
                    <a:pt x="4181" y="16364"/>
                  </a:cubicBezTo>
                  <a:cubicBezTo>
                    <a:pt x="3832" y="16364"/>
                    <a:pt x="3832" y="16364"/>
                    <a:pt x="3832" y="16364"/>
                  </a:cubicBezTo>
                  <a:cubicBezTo>
                    <a:pt x="3716" y="16145"/>
                    <a:pt x="3716" y="16145"/>
                    <a:pt x="3716" y="16145"/>
                  </a:cubicBezTo>
                  <a:cubicBezTo>
                    <a:pt x="3716" y="16145"/>
                    <a:pt x="3600" y="16036"/>
                    <a:pt x="3600" y="16036"/>
                  </a:cubicBezTo>
                  <a:cubicBezTo>
                    <a:pt x="3716" y="16036"/>
                    <a:pt x="3716" y="15818"/>
                    <a:pt x="3716" y="15818"/>
                  </a:cubicBezTo>
                  <a:cubicBezTo>
                    <a:pt x="3600" y="15818"/>
                    <a:pt x="3600" y="15818"/>
                    <a:pt x="3600" y="15818"/>
                  </a:cubicBezTo>
                  <a:cubicBezTo>
                    <a:pt x="3716" y="15709"/>
                    <a:pt x="3948" y="15709"/>
                    <a:pt x="3948" y="15709"/>
                  </a:cubicBezTo>
                  <a:cubicBezTo>
                    <a:pt x="4181" y="15382"/>
                    <a:pt x="4181" y="15382"/>
                    <a:pt x="4181" y="15382"/>
                  </a:cubicBezTo>
                  <a:cubicBezTo>
                    <a:pt x="4181" y="15382"/>
                    <a:pt x="4181" y="15382"/>
                    <a:pt x="4297" y="15382"/>
                  </a:cubicBezTo>
                  <a:cubicBezTo>
                    <a:pt x="4529" y="15491"/>
                    <a:pt x="4645" y="15491"/>
                    <a:pt x="4761" y="15491"/>
                  </a:cubicBezTo>
                  <a:cubicBezTo>
                    <a:pt x="4877" y="15491"/>
                    <a:pt x="4994" y="15709"/>
                    <a:pt x="4994" y="15273"/>
                  </a:cubicBezTo>
                  <a:cubicBezTo>
                    <a:pt x="4994" y="14945"/>
                    <a:pt x="4994" y="14836"/>
                    <a:pt x="4994" y="14836"/>
                  </a:cubicBezTo>
                  <a:cubicBezTo>
                    <a:pt x="4413" y="14400"/>
                    <a:pt x="4413" y="14400"/>
                    <a:pt x="4413" y="14400"/>
                  </a:cubicBezTo>
                  <a:cubicBezTo>
                    <a:pt x="4413" y="14400"/>
                    <a:pt x="4413" y="14291"/>
                    <a:pt x="4297" y="14073"/>
                  </a:cubicBezTo>
                  <a:cubicBezTo>
                    <a:pt x="4181" y="13964"/>
                    <a:pt x="4065" y="13855"/>
                    <a:pt x="4065" y="13855"/>
                  </a:cubicBezTo>
                  <a:cubicBezTo>
                    <a:pt x="3948" y="13855"/>
                    <a:pt x="3716" y="13636"/>
                    <a:pt x="3716" y="13636"/>
                  </a:cubicBezTo>
                  <a:cubicBezTo>
                    <a:pt x="3600" y="13527"/>
                    <a:pt x="3484" y="13418"/>
                    <a:pt x="3484" y="13418"/>
                  </a:cubicBezTo>
                  <a:cubicBezTo>
                    <a:pt x="3484" y="13418"/>
                    <a:pt x="3484" y="13200"/>
                    <a:pt x="3484" y="13091"/>
                  </a:cubicBezTo>
                  <a:cubicBezTo>
                    <a:pt x="3600" y="13091"/>
                    <a:pt x="3600" y="13091"/>
                    <a:pt x="3716" y="13091"/>
                  </a:cubicBezTo>
                  <a:cubicBezTo>
                    <a:pt x="3832" y="13200"/>
                    <a:pt x="3948" y="13200"/>
                    <a:pt x="4065" y="13200"/>
                  </a:cubicBezTo>
                  <a:cubicBezTo>
                    <a:pt x="4181" y="13200"/>
                    <a:pt x="4297" y="13200"/>
                    <a:pt x="4413" y="13200"/>
                  </a:cubicBezTo>
                  <a:cubicBezTo>
                    <a:pt x="4413" y="13200"/>
                    <a:pt x="4761" y="13091"/>
                    <a:pt x="4761" y="13091"/>
                  </a:cubicBezTo>
                  <a:cubicBezTo>
                    <a:pt x="4877" y="13091"/>
                    <a:pt x="4877" y="12873"/>
                    <a:pt x="4994" y="12873"/>
                  </a:cubicBezTo>
                  <a:cubicBezTo>
                    <a:pt x="4994" y="12873"/>
                    <a:pt x="5110" y="12764"/>
                    <a:pt x="4994" y="12655"/>
                  </a:cubicBezTo>
                  <a:cubicBezTo>
                    <a:pt x="4994" y="12655"/>
                    <a:pt x="4761" y="12545"/>
                    <a:pt x="4761" y="12545"/>
                  </a:cubicBezTo>
                  <a:cubicBezTo>
                    <a:pt x="4645" y="12545"/>
                    <a:pt x="4529" y="12436"/>
                    <a:pt x="4529" y="12327"/>
                  </a:cubicBezTo>
                  <a:cubicBezTo>
                    <a:pt x="4413" y="12327"/>
                    <a:pt x="4297" y="12218"/>
                    <a:pt x="4297" y="12109"/>
                  </a:cubicBezTo>
                  <a:cubicBezTo>
                    <a:pt x="4181" y="12109"/>
                    <a:pt x="4181" y="12218"/>
                    <a:pt x="4065" y="12218"/>
                  </a:cubicBezTo>
                  <a:cubicBezTo>
                    <a:pt x="3948" y="12109"/>
                    <a:pt x="3832" y="12000"/>
                    <a:pt x="3716" y="11891"/>
                  </a:cubicBezTo>
                  <a:cubicBezTo>
                    <a:pt x="3716" y="11782"/>
                    <a:pt x="3716" y="11782"/>
                    <a:pt x="3600" y="11673"/>
                  </a:cubicBezTo>
                  <a:cubicBezTo>
                    <a:pt x="3484" y="11673"/>
                    <a:pt x="3368" y="11564"/>
                    <a:pt x="3252" y="11564"/>
                  </a:cubicBezTo>
                  <a:cubicBezTo>
                    <a:pt x="3135" y="11564"/>
                    <a:pt x="3135" y="11673"/>
                    <a:pt x="2903" y="11564"/>
                  </a:cubicBezTo>
                  <a:cubicBezTo>
                    <a:pt x="2671" y="11564"/>
                    <a:pt x="2439" y="11455"/>
                    <a:pt x="2439" y="11345"/>
                  </a:cubicBezTo>
                  <a:cubicBezTo>
                    <a:pt x="2555" y="11236"/>
                    <a:pt x="2439" y="11236"/>
                    <a:pt x="2555" y="11127"/>
                  </a:cubicBezTo>
                  <a:cubicBezTo>
                    <a:pt x="2555" y="11018"/>
                    <a:pt x="2555" y="10800"/>
                    <a:pt x="2555" y="10691"/>
                  </a:cubicBezTo>
                  <a:cubicBezTo>
                    <a:pt x="2555" y="10582"/>
                    <a:pt x="2439" y="10691"/>
                    <a:pt x="2439" y="10364"/>
                  </a:cubicBezTo>
                  <a:cubicBezTo>
                    <a:pt x="2323" y="10036"/>
                    <a:pt x="2555" y="10145"/>
                    <a:pt x="2555" y="10145"/>
                  </a:cubicBezTo>
                  <a:cubicBezTo>
                    <a:pt x="2555" y="10145"/>
                    <a:pt x="2671" y="9927"/>
                    <a:pt x="2671" y="9818"/>
                  </a:cubicBezTo>
                  <a:cubicBezTo>
                    <a:pt x="2671" y="9818"/>
                    <a:pt x="2787" y="9491"/>
                    <a:pt x="2787" y="9491"/>
                  </a:cubicBezTo>
                  <a:cubicBezTo>
                    <a:pt x="3135" y="9055"/>
                    <a:pt x="3135" y="9055"/>
                    <a:pt x="3135" y="9055"/>
                  </a:cubicBezTo>
                  <a:cubicBezTo>
                    <a:pt x="3135" y="8727"/>
                    <a:pt x="3135" y="8727"/>
                    <a:pt x="3135" y="8727"/>
                  </a:cubicBezTo>
                  <a:cubicBezTo>
                    <a:pt x="3135" y="8291"/>
                    <a:pt x="3135" y="8291"/>
                    <a:pt x="3135" y="8291"/>
                  </a:cubicBezTo>
                  <a:cubicBezTo>
                    <a:pt x="3135" y="7964"/>
                    <a:pt x="3135" y="7964"/>
                    <a:pt x="3135" y="7964"/>
                  </a:cubicBezTo>
                  <a:cubicBezTo>
                    <a:pt x="2787" y="7855"/>
                    <a:pt x="2787" y="7855"/>
                    <a:pt x="2787" y="7855"/>
                  </a:cubicBezTo>
                  <a:cubicBezTo>
                    <a:pt x="2090" y="7745"/>
                    <a:pt x="2090" y="7745"/>
                    <a:pt x="2090" y="7745"/>
                  </a:cubicBezTo>
                  <a:cubicBezTo>
                    <a:pt x="2090" y="7745"/>
                    <a:pt x="2090" y="7964"/>
                    <a:pt x="1974" y="7964"/>
                  </a:cubicBezTo>
                  <a:cubicBezTo>
                    <a:pt x="1974" y="7964"/>
                    <a:pt x="1858" y="8073"/>
                    <a:pt x="1742" y="8073"/>
                  </a:cubicBezTo>
                  <a:cubicBezTo>
                    <a:pt x="1626" y="7964"/>
                    <a:pt x="1626" y="7964"/>
                    <a:pt x="1626" y="7964"/>
                  </a:cubicBezTo>
                  <a:cubicBezTo>
                    <a:pt x="1858" y="7745"/>
                    <a:pt x="1858" y="7745"/>
                    <a:pt x="1858" y="7745"/>
                  </a:cubicBezTo>
                  <a:cubicBezTo>
                    <a:pt x="1858" y="7309"/>
                    <a:pt x="1858" y="7309"/>
                    <a:pt x="1858" y="7309"/>
                  </a:cubicBezTo>
                  <a:cubicBezTo>
                    <a:pt x="1858" y="7309"/>
                    <a:pt x="1742" y="7091"/>
                    <a:pt x="1626" y="6873"/>
                  </a:cubicBezTo>
                  <a:cubicBezTo>
                    <a:pt x="1510" y="6764"/>
                    <a:pt x="1394" y="6655"/>
                    <a:pt x="1394" y="6655"/>
                  </a:cubicBezTo>
                  <a:cubicBezTo>
                    <a:pt x="1742" y="6436"/>
                    <a:pt x="1742" y="6436"/>
                    <a:pt x="1742" y="6436"/>
                  </a:cubicBezTo>
                  <a:cubicBezTo>
                    <a:pt x="1858" y="6327"/>
                    <a:pt x="1858" y="6327"/>
                    <a:pt x="1858" y="6327"/>
                  </a:cubicBezTo>
                  <a:cubicBezTo>
                    <a:pt x="1858" y="6218"/>
                    <a:pt x="1858" y="6218"/>
                    <a:pt x="1858" y="6218"/>
                  </a:cubicBezTo>
                  <a:cubicBezTo>
                    <a:pt x="1858" y="6218"/>
                    <a:pt x="2090" y="6436"/>
                    <a:pt x="2323" y="6436"/>
                  </a:cubicBezTo>
                  <a:cubicBezTo>
                    <a:pt x="2439" y="6436"/>
                    <a:pt x="2323" y="6436"/>
                    <a:pt x="2555" y="6327"/>
                  </a:cubicBezTo>
                  <a:cubicBezTo>
                    <a:pt x="2787" y="6327"/>
                    <a:pt x="3135" y="6000"/>
                    <a:pt x="3135" y="6000"/>
                  </a:cubicBezTo>
                  <a:cubicBezTo>
                    <a:pt x="3135" y="6000"/>
                    <a:pt x="2903" y="5782"/>
                    <a:pt x="2787" y="5782"/>
                  </a:cubicBezTo>
                  <a:cubicBezTo>
                    <a:pt x="2671" y="5891"/>
                    <a:pt x="2787" y="5891"/>
                    <a:pt x="2439" y="5891"/>
                  </a:cubicBezTo>
                  <a:cubicBezTo>
                    <a:pt x="2090" y="5782"/>
                    <a:pt x="1974" y="5673"/>
                    <a:pt x="1974" y="5673"/>
                  </a:cubicBezTo>
                  <a:cubicBezTo>
                    <a:pt x="1974" y="5673"/>
                    <a:pt x="1858" y="5673"/>
                    <a:pt x="1742" y="5673"/>
                  </a:cubicBezTo>
                  <a:cubicBezTo>
                    <a:pt x="1626" y="5673"/>
                    <a:pt x="1626" y="5673"/>
                    <a:pt x="1510" y="5564"/>
                  </a:cubicBezTo>
                  <a:cubicBezTo>
                    <a:pt x="1277" y="5345"/>
                    <a:pt x="1045" y="5127"/>
                    <a:pt x="1045" y="5127"/>
                  </a:cubicBezTo>
                  <a:cubicBezTo>
                    <a:pt x="1045" y="5127"/>
                    <a:pt x="813" y="5236"/>
                    <a:pt x="813" y="5127"/>
                  </a:cubicBezTo>
                  <a:cubicBezTo>
                    <a:pt x="813" y="5018"/>
                    <a:pt x="929" y="4909"/>
                    <a:pt x="929" y="4909"/>
                  </a:cubicBezTo>
                  <a:cubicBezTo>
                    <a:pt x="813" y="4691"/>
                    <a:pt x="813" y="4691"/>
                    <a:pt x="813" y="4691"/>
                  </a:cubicBezTo>
                  <a:cubicBezTo>
                    <a:pt x="813" y="4691"/>
                    <a:pt x="1045" y="4691"/>
                    <a:pt x="1161" y="4582"/>
                  </a:cubicBezTo>
                  <a:cubicBezTo>
                    <a:pt x="1277" y="4582"/>
                    <a:pt x="1277" y="4255"/>
                    <a:pt x="1161" y="4255"/>
                  </a:cubicBezTo>
                  <a:cubicBezTo>
                    <a:pt x="1045" y="4255"/>
                    <a:pt x="929" y="4145"/>
                    <a:pt x="813" y="4255"/>
                  </a:cubicBezTo>
                  <a:cubicBezTo>
                    <a:pt x="697" y="4255"/>
                    <a:pt x="581" y="4364"/>
                    <a:pt x="581" y="4364"/>
                  </a:cubicBezTo>
                  <a:cubicBezTo>
                    <a:pt x="465" y="4364"/>
                    <a:pt x="232" y="4255"/>
                    <a:pt x="232" y="4145"/>
                  </a:cubicBezTo>
                  <a:cubicBezTo>
                    <a:pt x="232" y="4036"/>
                    <a:pt x="116" y="4036"/>
                    <a:pt x="348" y="3927"/>
                  </a:cubicBezTo>
                  <a:cubicBezTo>
                    <a:pt x="465" y="3927"/>
                    <a:pt x="581" y="3709"/>
                    <a:pt x="581" y="3709"/>
                  </a:cubicBezTo>
                  <a:cubicBezTo>
                    <a:pt x="348" y="3382"/>
                    <a:pt x="348" y="3382"/>
                    <a:pt x="348" y="3382"/>
                  </a:cubicBezTo>
                  <a:cubicBezTo>
                    <a:pt x="465" y="2727"/>
                    <a:pt x="465" y="2727"/>
                    <a:pt x="465" y="2727"/>
                  </a:cubicBezTo>
                  <a:cubicBezTo>
                    <a:pt x="0" y="2618"/>
                    <a:pt x="0" y="2618"/>
                    <a:pt x="0" y="2618"/>
                  </a:cubicBezTo>
                  <a:cubicBezTo>
                    <a:pt x="0" y="2400"/>
                    <a:pt x="0" y="2400"/>
                    <a:pt x="0" y="2400"/>
                  </a:cubicBezTo>
                  <a:cubicBezTo>
                    <a:pt x="465" y="2182"/>
                    <a:pt x="465" y="2182"/>
                    <a:pt x="465" y="2182"/>
                  </a:cubicBezTo>
                  <a:cubicBezTo>
                    <a:pt x="929" y="1527"/>
                    <a:pt x="929" y="1527"/>
                    <a:pt x="929" y="1527"/>
                  </a:cubicBezTo>
                  <a:cubicBezTo>
                    <a:pt x="1045" y="1636"/>
                    <a:pt x="1045" y="1636"/>
                    <a:pt x="1045" y="1636"/>
                  </a:cubicBezTo>
                  <a:cubicBezTo>
                    <a:pt x="1045" y="1636"/>
                    <a:pt x="1161" y="1636"/>
                    <a:pt x="1277" y="1527"/>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1" name="Shape 2234">
              <a:extLst>
                <a:ext uri="{FF2B5EF4-FFF2-40B4-BE49-F238E27FC236}">
                  <a16:creationId xmlns:a16="http://schemas.microsoft.com/office/drawing/2014/main" id="{2174537A-08DB-549B-7EA7-F40EB1E9F29F}"/>
                </a:ext>
              </a:extLst>
            </p:cNvPr>
            <p:cNvSpPr/>
            <p:nvPr/>
          </p:nvSpPr>
          <p:spPr>
            <a:xfrm>
              <a:off x="3078013" y="5722363"/>
              <a:ext cx="711537" cy="435588"/>
            </a:xfrm>
            <a:custGeom>
              <a:avLst/>
              <a:gdLst/>
              <a:ahLst/>
              <a:cxnLst>
                <a:cxn ang="0">
                  <a:pos x="wd2" y="hd2"/>
                </a:cxn>
                <a:cxn ang="5400000">
                  <a:pos x="wd2" y="hd2"/>
                </a:cxn>
                <a:cxn ang="10800000">
                  <a:pos x="wd2" y="hd2"/>
                </a:cxn>
                <a:cxn ang="16200000">
                  <a:pos x="wd2" y="hd2"/>
                </a:cxn>
              </a:cxnLst>
              <a:rect l="0" t="0" r="r" b="b"/>
              <a:pathLst>
                <a:path w="21531" h="21600" extrusionOk="0">
                  <a:moveTo>
                    <a:pt x="3871" y="14862"/>
                  </a:moveTo>
                  <a:cubicBezTo>
                    <a:pt x="4120" y="15061"/>
                    <a:pt x="4120" y="15061"/>
                    <a:pt x="4120" y="15061"/>
                  </a:cubicBezTo>
                  <a:cubicBezTo>
                    <a:pt x="4120" y="15457"/>
                    <a:pt x="4120" y="15457"/>
                    <a:pt x="4120" y="15457"/>
                  </a:cubicBezTo>
                  <a:cubicBezTo>
                    <a:pt x="4120" y="15457"/>
                    <a:pt x="4120" y="15259"/>
                    <a:pt x="3995" y="15655"/>
                  </a:cubicBezTo>
                  <a:cubicBezTo>
                    <a:pt x="3871" y="15853"/>
                    <a:pt x="3871" y="15853"/>
                    <a:pt x="3871" y="15853"/>
                  </a:cubicBezTo>
                  <a:cubicBezTo>
                    <a:pt x="3995" y="15853"/>
                    <a:pt x="4120" y="16051"/>
                    <a:pt x="4120" y="16051"/>
                  </a:cubicBezTo>
                  <a:cubicBezTo>
                    <a:pt x="4120" y="16051"/>
                    <a:pt x="4245" y="16051"/>
                    <a:pt x="4120" y="16250"/>
                  </a:cubicBezTo>
                  <a:cubicBezTo>
                    <a:pt x="4120" y="16646"/>
                    <a:pt x="4120" y="16844"/>
                    <a:pt x="4120" y="16844"/>
                  </a:cubicBezTo>
                  <a:cubicBezTo>
                    <a:pt x="4120" y="16844"/>
                    <a:pt x="4120" y="17042"/>
                    <a:pt x="4120" y="17240"/>
                  </a:cubicBezTo>
                  <a:cubicBezTo>
                    <a:pt x="3995" y="17240"/>
                    <a:pt x="3871" y="17835"/>
                    <a:pt x="3871" y="17835"/>
                  </a:cubicBezTo>
                  <a:cubicBezTo>
                    <a:pt x="3871" y="17835"/>
                    <a:pt x="3871" y="17835"/>
                    <a:pt x="3871" y="18033"/>
                  </a:cubicBezTo>
                  <a:cubicBezTo>
                    <a:pt x="3995" y="18033"/>
                    <a:pt x="4370" y="18033"/>
                    <a:pt x="4370" y="18033"/>
                  </a:cubicBezTo>
                  <a:cubicBezTo>
                    <a:pt x="4370" y="18033"/>
                    <a:pt x="4370" y="18429"/>
                    <a:pt x="4370" y="18628"/>
                  </a:cubicBezTo>
                  <a:cubicBezTo>
                    <a:pt x="4245" y="18628"/>
                    <a:pt x="4120" y="19024"/>
                    <a:pt x="4245" y="19024"/>
                  </a:cubicBezTo>
                  <a:cubicBezTo>
                    <a:pt x="4370" y="19024"/>
                    <a:pt x="4495" y="19222"/>
                    <a:pt x="4495" y="19222"/>
                  </a:cubicBezTo>
                  <a:cubicBezTo>
                    <a:pt x="4495" y="19222"/>
                    <a:pt x="4620" y="19420"/>
                    <a:pt x="4620" y="19420"/>
                  </a:cubicBezTo>
                  <a:cubicBezTo>
                    <a:pt x="4745" y="19420"/>
                    <a:pt x="4869" y="19618"/>
                    <a:pt x="4869" y="19618"/>
                  </a:cubicBezTo>
                  <a:cubicBezTo>
                    <a:pt x="4869" y="19618"/>
                    <a:pt x="5119" y="20015"/>
                    <a:pt x="5119" y="20015"/>
                  </a:cubicBezTo>
                  <a:cubicBezTo>
                    <a:pt x="5119" y="20213"/>
                    <a:pt x="4994" y="20411"/>
                    <a:pt x="4994" y="20411"/>
                  </a:cubicBezTo>
                  <a:cubicBezTo>
                    <a:pt x="4994" y="20411"/>
                    <a:pt x="5244" y="20807"/>
                    <a:pt x="5244" y="20807"/>
                  </a:cubicBezTo>
                  <a:cubicBezTo>
                    <a:pt x="5244" y="20807"/>
                    <a:pt x="5244" y="21006"/>
                    <a:pt x="5369" y="21006"/>
                  </a:cubicBezTo>
                  <a:cubicBezTo>
                    <a:pt x="5494" y="21006"/>
                    <a:pt x="5618" y="20807"/>
                    <a:pt x="5618" y="20807"/>
                  </a:cubicBezTo>
                  <a:cubicBezTo>
                    <a:pt x="5618" y="20807"/>
                    <a:pt x="5868" y="20609"/>
                    <a:pt x="5868" y="20609"/>
                  </a:cubicBezTo>
                  <a:cubicBezTo>
                    <a:pt x="5868" y="20609"/>
                    <a:pt x="5993" y="20411"/>
                    <a:pt x="6118" y="20411"/>
                  </a:cubicBezTo>
                  <a:cubicBezTo>
                    <a:pt x="6243" y="20411"/>
                    <a:pt x="6368" y="20609"/>
                    <a:pt x="6492" y="20609"/>
                  </a:cubicBezTo>
                  <a:cubicBezTo>
                    <a:pt x="6617" y="20609"/>
                    <a:pt x="6992" y="20609"/>
                    <a:pt x="6992" y="20609"/>
                  </a:cubicBezTo>
                  <a:cubicBezTo>
                    <a:pt x="6992" y="20213"/>
                    <a:pt x="6992" y="20213"/>
                    <a:pt x="6992" y="20213"/>
                  </a:cubicBezTo>
                  <a:cubicBezTo>
                    <a:pt x="6992" y="20213"/>
                    <a:pt x="6992" y="20015"/>
                    <a:pt x="7117" y="20015"/>
                  </a:cubicBezTo>
                  <a:cubicBezTo>
                    <a:pt x="7242" y="20015"/>
                    <a:pt x="7366" y="20015"/>
                    <a:pt x="7366" y="20015"/>
                  </a:cubicBezTo>
                  <a:cubicBezTo>
                    <a:pt x="7366" y="20015"/>
                    <a:pt x="7242" y="19817"/>
                    <a:pt x="7366" y="19817"/>
                  </a:cubicBezTo>
                  <a:cubicBezTo>
                    <a:pt x="7366" y="19817"/>
                    <a:pt x="7616" y="19817"/>
                    <a:pt x="7741" y="20015"/>
                  </a:cubicBezTo>
                  <a:cubicBezTo>
                    <a:pt x="7741" y="20015"/>
                    <a:pt x="7991" y="19817"/>
                    <a:pt x="7991" y="20015"/>
                  </a:cubicBezTo>
                  <a:cubicBezTo>
                    <a:pt x="7991" y="20015"/>
                    <a:pt x="8116" y="20213"/>
                    <a:pt x="8116" y="20213"/>
                  </a:cubicBezTo>
                  <a:cubicBezTo>
                    <a:pt x="8116" y="20213"/>
                    <a:pt x="8240" y="20609"/>
                    <a:pt x="8240" y="20411"/>
                  </a:cubicBezTo>
                  <a:cubicBezTo>
                    <a:pt x="8365" y="20411"/>
                    <a:pt x="8365" y="20411"/>
                    <a:pt x="8490" y="20411"/>
                  </a:cubicBezTo>
                  <a:cubicBezTo>
                    <a:pt x="8490" y="20609"/>
                    <a:pt x="8740" y="20609"/>
                    <a:pt x="8865" y="20609"/>
                  </a:cubicBezTo>
                  <a:cubicBezTo>
                    <a:pt x="8865" y="20411"/>
                    <a:pt x="8865" y="20411"/>
                    <a:pt x="8865" y="20411"/>
                  </a:cubicBezTo>
                  <a:cubicBezTo>
                    <a:pt x="8865" y="20213"/>
                    <a:pt x="8740" y="20015"/>
                    <a:pt x="8990" y="20015"/>
                  </a:cubicBezTo>
                  <a:cubicBezTo>
                    <a:pt x="9114" y="20015"/>
                    <a:pt x="9114" y="19817"/>
                    <a:pt x="9239" y="19817"/>
                  </a:cubicBezTo>
                  <a:cubicBezTo>
                    <a:pt x="9364" y="19817"/>
                    <a:pt x="9489" y="19817"/>
                    <a:pt x="9489" y="19817"/>
                  </a:cubicBezTo>
                  <a:cubicBezTo>
                    <a:pt x="9489" y="19817"/>
                    <a:pt x="9489" y="19817"/>
                    <a:pt x="9614" y="19618"/>
                  </a:cubicBezTo>
                  <a:cubicBezTo>
                    <a:pt x="9739" y="19420"/>
                    <a:pt x="9739" y="19222"/>
                    <a:pt x="9739" y="19222"/>
                  </a:cubicBezTo>
                  <a:cubicBezTo>
                    <a:pt x="9739" y="19024"/>
                    <a:pt x="9739" y="18826"/>
                    <a:pt x="9739" y="18826"/>
                  </a:cubicBezTo>
                  <a:cubicBezTo>
                    <a:pt x="9864" y="18628"/>
                    <a:pt x="9864" y="18628"/>
                    <a:pt x="9864" y="18628"/>
                  </a:cubicBezTo>
                  <a:cubicBezTo>
                    <a:pt x="9988" y="18429"/>
                    <a:pt x="9988" y="18429"/>
                    <a:pt x="9988" y="18429"/>
                  </a:cubicBezTo>
                  <a:cubicBezTo>
                    <a:pt x="9988" y="18429"/>
                    <a:pt x="9988" y="18429"/>
                    <a:pt x="10113" y="18033"/>
                  </a:cubicBezTo>
                  <a:cubicBezTo>
                    <a:pt x="10113" y="17835"/>
                    <a:pt x="10113" y="17835"/>
                    <a:pt x="10113" y="17835"/>
                  </a:cubicBezTo>
                  <a:cubicBezTo>
                    <a:pt x="10238" y="17439"/>
                    <a:pt x="10238" y="17439"/>
                    <a:pt x="10238" y="17439"/>
                  </a:cubicBezTo>
                  <a:cubicBezTo>
                    <a:pt x="10113" y="16844"/>
                    <a:pt x="10113" y="16844"/>
                    <a:pt x="10113" y="16844"/>
                  </a:cubicBezTo>
                  <a:cubicBezTo>
                    <a:pt x="9988" y="16646"/>
                    <a:pt x="9988" y="16646"/>
                    <a:pt x="9988" y="16646"/>
                  </a:cubicBezTo>
                  <a:cubicBezTo>
                    <a:pt x="10113" y="16448"/>
                    <a:pt x="10113" y="16448"/>
                    <a:pt x="10113" y="16448"/>
                  </a:cubicBezTo>
                  <a:cubicBezTo>
                    <a:pt x="10113" y="16448"/>
                    <a:pt x="10238" y="16250"/>
                    <a:pt x="10363" y="16250"/>
                  </a:cubicBezTo>
                  <a:cubicBezTo>
                    <a:pt x="10488" y="16250"/>
                    <a:pt x="10488" y="16250"/>
                    <a:pt x="10488" y="16051"/>
                  </a:cubicBezTo>
                  <a:cubicBezTo>
                    <a:pt x="10613" y="16051"/>
                    <a:pt x="10862" y="15655"/>
                    <a:pt x="10862" y="15655"/>
                  </a:cubicBezTo>
                  <a:cubicBezTo>
                    <a:pt x="10862" y="15655"/>
                    <a:pt x="10862" y="15655"/>
                    <a:pt x="10987" y="15655"/>
                  </a:cubicBezTo>
                  <a:cubicBezTo>
                    <a:pt x="10987" y="15457"/>
                    <a:pt x="10987" y="15259"/>
                    <a:pt x="10987" y="15259"/>
                  </a:cubicBezTo>
                  <a:cubicBezTo>
                    <a:pt x="10987" y="15259"/>
                    <a:pt x="10987" y="15061"/>
                    <a:pt x="11112" y="15061"/>
                  </a:cubicBezTo>
                  <a:cubicBezTo>
                    <a:pt x="11237" y="14862"/>
                    <a:pt x="11736" y="14664"/>
                    <a:pt x="11736" y="14664"/>
                  </a:cubicBezTo>
                  <a:cubicBezTo>
                    <a:pt x="11736" y="14664"/>
                    <a:pt x="11612" y="15061"/>
                    <a:pt x="11612" y="15259"/>
                  </a:cubicBezTo>
                  <a:cubicBezTo>
                    <a:pt x="11612" y="15457"/>
                    <a:pt x="11736" y="15853"/>
                    <a:pt x="11736" y="15853"/>
                  </a:cubicBezTo>
                  <a:cubicBezTo>
                    <a:pt x="11736" y="15853"/>
                    <a:pt x="11612" y="16250"/>
                    <a:pt x="11612" y="16250"/>
                  </a:cubicBezTo>
                  <a:cubicBezTo>
                    <a:pt x="11612" y="16448"/>
                    <a:pt x="11612" y="16646"/>
                    <a:pt x="11612" y="16646"/>
                  </a:cubicBezTo>
                  <a:cubicBezTo>
                    <a:pt x="11736" y="16844"/>
                    <a:pt x="11736" y="16844"/>
                    <a:pt x="11736" y="16844"/>
                  </a:cubicBezTo>
                  <a:cubicBezTo>
                    <a:pt x="11736" y="16844"/>
                    <a:pt x="11736" y="17042"/>
                    <a:pt x="11736" y="17042"/>
                  </a:cubicBezTo>
                  <a:cubicBezTo>
                    <a:pt x="11861" y="17042"/>
                    <a:pt x="11986" y="17439"/>
                    <a:pt x="11986" y="17439"/>
                  </a:cubicBezTo>
                  <a:cubicBezTo>
                    <a:pt x="12111" y="17439"/>
                    <a:pt x="12111" y="17439"/>
                    <a:pt x="12111" y="17439"/>
                  </a:cubicBezTo>
                  <a:cubicBezTo>
                    <a:pt x="12111" y="17439"/>
                    <a:pt x="12236" y="17637"/>
                    <a:pt x="12236" y="17835"/>
                  </a:cubicBezTo>
                  <a:cubicBezTo>
                    <a:pt x="12236" y="17835"/>
                    <a:pt x="12361" y="18033"/>
                    <a:pt x="12486" y="18231"/>
                  </a:cubicBezTo>
                  <a:cubicBezTo>
                    <a:pt x="12486" y="18231"/>
                    <a:pt x="12610" y="18231"/>
                    <a:pt x="12610" y="18231"/>
                  </a:cubicBezTo>
                  <a:cubicBezTo>
                    <a:pt x="12735" y="18231"/>
                    <a:pt x="12860" y="18231"/>
                    <a:pt x="12860" y="18231"/>
                  </a:cubicBezTo>
                  <a:cubicBezTo>
                    <a:pt x="12860" y="18429"/>
                    <a:pt x="13110" y="18429"/>
                    <a:pt x="13235" y="18429"/>
                  </a:cubicBezTo>
                  <a:cubicBezTo>
                    <a:pt x="13235" y="18628"/>
                    <a:pt x="13484" y="18429"/>
                    <a:pt x="13484" y="18429"/>
                  </a:cubicBezTo>
                  <a:cubicBezTo>
                    <a:pt x="13609" y="18628"/>
                    <a:pt x="13609" y="18628"/>
                    <a:pt x="13609" y="18628"/>
                  </a:cubicBezTo>
                  <a:cubicBezTo>
                    <a:pt x="13734" y="18628"/>
                    <a:pt x="13734" y="18628"/>
                    <a:pt x="13734" y="18628"/>
                  </a:cubicBezTo>
                  <a:cubicBezTo>
                    <a:pt x="13734" y="18628"/>
                    <a:pt x="13859" y="18628"/>
                    <a:pt x="13859" y="18826"/>
                  </a:cubicBezTo>
                  <a:cubicBezTo>
                    <a:pt x="13734" y="19024"/>
                    <a:pt x="13734" y="19024"/>
                    <a:pt x="13734" y="19024"/>
                  </a:cubicBezTo>
                  <a:cubicBezTo>
                    <a:pt x="13734" y="19024"/>
                    <a:pt x="13734" y="19024"/>
                    <a:pt x="13734" y="19024"/>
                  </a:cubicBezTo>
                  <a:cubicBezTo>
                    <a:pt x="13609" y="19222"/>
                    <a:pt x="13484" y="19618"/>
                    <a:pt x="13484" y="19618"/>
                  </a:cubicBezTo>
                  <a:cubicBezTo>
                    <a:pt x="13859" y="20015"/>
                    <a:pt x="13859" y="20015"/>
                    <a:pt x="13859" y="20015"/>
                  </a:cubicBezTo>
                  <a:cubicBezTo>
                    <a:pt x="13859" y="20015"/>
                    <a:pt x="13984" y="20015"/>
                    <a:pt x="13984" y="20213"/>
                  </a:cubicBezTo>
                  <a:cubicBezTo>
                    <a:pt x="14109" y="20411"/>
                    <a:pt x="14109" y="20609"/>
                    <a:pt x="14109" y="20609"/>
                  </a:cubicBezTo>
                  <a:cubicBezTo>
                    <a:pt x="14109" y="20609"/>
                    <a:pt x="14109" y="20609"/>
                    <a:pt x="14109" y="20609"/>
                  </a:cubicBezTo>
                  <a:cubicBezTo>
                    <a:pt x="14109" y="20807"/>
                    <a:pt x="14109" y="21204"/>
                    <a:pt x="14109" y="21204"/>
                  </a:cubicBezTo>
                  <a:cubicBezTo>
                    <a:pt x="14109" y="21204"/>
                    <a:pt x="13859" y="21402"/>
                    <a:pt x="14109" y="21402"/>
                  </a:cubicBezTo>
                  <a:cubicBezTo>
                    <a:pt x="14358" y="21402"/>
                    <a:pt x="14358" y="21402"/>
                    <a:pt x="14358" y="21402"/>
                  </a:cubicBezTo>
                  <a:cubicBezTo>
                    <a:pt x="14483" y="21402"/>
                    <a:pt x="14608" y="21600"/>
                    <a:pt x="14608" y="21600"/>
                  </a:cubicBezTo>
                  <a:cubicBezTo>
                    <a:pt x="14733" y="21402"/>
                    <a:pt x="14733" y="21402"/>
                    <a:pt x="14733" y="21402"/>
                  </a:cubicBezTo>
                  <a:cubicBezTo>
                    <a:pt x="14733" y="21402"/>
                    <a:pt x="14608" y="21006"/>
                    <a:pt x="14858" y="20807"/>
                  </a:cubicBezTo>
                  <a:cubicBezTo>
                    <a:pt x="14983" y="20609"/>
                    <a:pt x="14983" y="20609"/>
                    <a:pt x="14983" y="20609"/>
                  </a:cubicBezTo>
                  <a:cubicBezTo>
                    <a:pt x="14983" y="20609"/>
                    <a:pt x="14608" y="20411"/>
                    <a:pt x="14608" y="20213"/>
                  </a:cubicBezTo>
                  <a:cubicBezTo>
                    <a:pt x="14608" y="20213"/>
                    <a:pt x="14483" y="20213"/>
                    <a:pt x="14608" y="20015"/>
                  </a:cubicBezTo>
                  <a:cubicBezTo>
                    <a:pt x="14608" y="19817"/>
                    <a:pt x="14483" y="19817"/>
                    <a:pt x="14608" y="19618"/>
                  </a:cubicBezTo>
                  <a:cubicBezTo>
                    <a:pt x="14608" y="19618"/>
                    <a:pt x="14733" y="19618"/>
                    <a:pt x="14733" y="19420"/>
                  </a:cubicBezTo>
                  <a:cubicBezTo>
                    <a:pt x="14733" y="19420"/>
                    <a:pt x="14608" y="19024"/>
                    <a:pt x="14608" y="19024"/>
                  </a:cubicBezTo>
                  <a:cubicBezTo>
                    <a:pt x="14858" y="18826"/>
                    <a:pt x="14858" y="18826"/>
                    <a:pt x="14858" y="18826"/>
                  </a:cubicBezTo>
                  <a:cubicBezTo>
                    <a:pt x="14858" y="18826"/>
                    <a:pt x="14858" y="18628"/>
                    <a:pt x="14858" y="18628"/>
                  </a:cubicBezTo>
                  <a:cubicBezTo>
                    <a:pt x="14858" y="18429"/>
                    <a:pt x="14858" y="18033"/>
                    <a:pt x="14858" y="18033"/>
                  </a:cubicBezTo>
                  <a:cubicBezTo>
                    <a:pt x="14983" y="18033"/>
                    <a:pt x="15108" y="17637"/>
                    <a:pt x="15108" y="17637"/>
                  </a:cubicBezTo>
                  <a:cubicBezTo>
                    <a:pt x="15108" y="17637"/>
                    <a:pt x="15357" y="17637"/>
                    <a:pt x="15357" y="17637"/>
                  </a:cubicBezTo>
                  <a:cubicBezTo>
                    <a:pt x="15357" y="17439"/>
                    <a:pt x="15482" y="17240"/>
                    <a:pt x="15482" y="17240"/>
                  </a:cubicBezTo>
                  <a:cubicBezTo>
                    <a:pt x="15482" y="17240"/>
                    <a:pt x="15482" y="17240"/>
                    <a:pt x="15607" y="17042"/>
                  </a:cubicBezTo>
                  <a:cubicBezTo>
                    <a:pt x="15607" y="16844"/>
                    <a:pt x="15607" y="16646"/>
                    <a:pt x="15607" y="16646"/>
                  </a:cubicBezTo>
                  <a:cubicBezTo>
                    <a:pt x="15607" y="16448"/>
                    <a:pt x="15732" y="16250"/>
                    <a:pt x="15732" y="16250"/>
                  </a:cubicBezTo>
                  <a:cubicBezTo>
                    <a:pt x="15732" y="16051"/>
                    <a:pt x="15732" y="16051"/>
                    <a:pt x="15732" y="16051"/>
                  </a:cubicBezTo>
                  <a:cubicBezTo>
                    <a:pt x="15732" y="16051"/>
                    <a:pt x="15732" y="15853"/>
                    <a:pt x="15732" y="15853"/>
                  </a:cubicBezTo>
                  <a:cubicBezTo>
                    <a:pt x="15732" y="15655"/>
                    <a:pt x="15732" y="15457"/>
                    <a:pt x="15732" y="15457"/>
                  </a:cubicBezTo>
                  <a:cubicBezTo>
                    <a:pt x="15732" y="15061"/>
                    <a:pt x="15732" y="15061"/>
                    <a:pt x="15732" y="15061"/>
                  </a:cubicBezTo>
                  <a:cubicBezTo>
                    <a:pt x="15607" y="14664"/>
                    <a:pt x="15607" y="14664"/>
                    <a:pt x="15607" y="14664"/>
                  </a:cubicBezTo>
                  <a:cubicBezTo>
                    <a:pt x="15607" y="14466"/>
                    <a:pt x="15607" y="14466"/>
                    <a:pt x="15607" y="14466"/>
                  </a:cubicBezTo>
                  <a:cubicBezTo>
                    <a:pt x="15857" y="14070"/>
                    <a:pt x="15857" y="14070"/>
                    <a:pt x="15857" y="14070"/>
                  </a:cubicBezTo>
                  <a:cubicBezTo>
                    <a:pt x="15857" y="14070"/>
                    <a:pt x="15982" y="13872"/>
                    <a:pt x="15982" y="14070"/>
                  </a:cubicBezTo>
                  <a:cubicBezTo>
                    <a:pt x="16106" y="14070"/>
                    <a:pt x="16231" y="14268"/>
                    <a:pt x="16231" y="14268"/>
                  </a:cubicBezTo>
                  <a:cubicBezTo>
                    <a:pt x="16356" y="14268"/>
                    <a:pt x="16356" y="14268"/>
                    <a:pt x="16356" y="14268"/>
                  </a:cubicBezTo>
                  <a:cubicBezTo>
                    <a:pt x="16606" y="14070"/>
                    <a:pt x="16606" y="14070"/>
                    <a:pt x="16606" y="14070"/>
                  </a:cubicBezTo>
                  <a:cubicBezTo>
                    <a:pt x="16606" y="14070"/>
                    <a:pt x="16731" y="14070"/>
                    <a:pt x="16731" y="14268"/>
                  </a:cubicBezTo>
                  <a:cubicBezTo>
                    <a:pt x="16606" y="14268"/>
                    <a:pt x="16481" y="14466"/>
                    <a:pt x="16606" y="14664"/>
                  </a:cubicBezTo>
                  <a:cubicBezTo>
                    <a:pt x="16606" y="14664"/>
                    <a:pt x="16731" y="14862"/>
                    <a:pt x="16731" y="15061"/>
                  </a:cubicBezTo>
                  <a:cubicBezTo>
                    <a:pt x="16731" y="15259"/>
                    <a:pt x="16731" y="15259"/>
                    <a:pt x="16731" y="15655"/>
                  </a:cubicBezTo>
                  <a:cubicBezTo>
                    <a:pt x="16731" y="15853"/>
                    <a:pt x="16980" y="15853"/>
                    <a:pt x="16980" y="16051"/>
                  </a:cubicBezTo>
                  <a:cubicBezTo>
                    <a:pt x="17105" y="16051"/>
                    <a:pt x="16855" y="16250"/>
                    <a:pt x="17230" y="16250"/>
                  </a:cubicBezTo>
                  <a:cubicBezTo>
                    <a:pt x="17480" y="16250"/>
                    <a:pt x="17729" y="16448"/>
                    <a:pt x="17729" y="16250"/>
                  </a:cubicBezTo>
                  <a:cubicBezTo>
                    <a:pt x="17854" y="16250"/>
                    <a:pt x="17854" y="16250"/>
                    <a:pt x="17854" y="16051"/>
                  </a:cubicBezTo>
                  <a:cubicBezTo>
                    <a:pt x="17729" y="15853"/>
                    <a:pt x="17854" y="15655"/>
                    <a:pt x="17854" y="15655"/>
                  </a:cubicBezTo>
                  <a:cubicBezTo>
                    <a:pt x="17854" y="15655"/>
                    <a:pt x="17979" y="15655"/>
                    <a:pt x="17979" y="15655"/>
                  </a:cubicBezTo>
                  <a:cubicBezTo>
                    <a:pt x="18104" y="15655"/>
                    <a:pt x="18104" y="15853"/>
                    <a:pt x="18229" y="15655"/>
                  </a:cubicBezTo>
                  <a:cubicBezTo>
                    <a:pt x="18229" y="15655"/>
                    <a:pt x="18354" y="15457"/>
                    <a:pt x="18354" y="15457"/>
                  </a:cubicBezTo>
                  <a:cubicBezTo>
                    <a:pt x="18603" y="15457"/>
                    <a:pt x="18603" y="15457"/>
                    <a:pt x="18603" y="15457"/>
                  </a:cubicBezTo>
                  <a:cubicBezTo>
                    <a:pt x="18603" y="15457"/>
                    <a:pt x="18479" y="15259"/>
                    <a:pt x="18728" y="15259"/>
                  </a:cubicBezTo>
                  <a:cubicBezTo>
                    <a:pt x="18853" y="15259"/>
                    <a:pt x="19103" y="15259"/>
                    <a:pt x="19103" y="15259"/>
                  </a:cubicBezTo>
                  <a:cubicBezTo>
                    <a:pt x="19103" y="15259"/>
                    <a:pt x="19103" y="15457"/>
                    <a:pt x="19103" y="15655"/>
                  </a:cubicBezTo>
                  <a:cubicBezTo>
                    <a:pt x="19228" y="15853"/>
                    <a:pt x="19228" y="15853"/>
                    <a:pt x="19228" y="15853"/>
                  </a:cubicBezTo>
                  <a:cubicBezTo>
                    <a:pt x="19228" y="15853"/>
                    <a:pt x="19103" y="15853"/>
                    <a:pt x="19228" y="16250"/>
                  </a:cubicBezTo>
                  <a:cubicBezTo>
                    <a:pt x="19353" y="16448"/>
                    <a:pt x="19477" y="16448"/>
                    <a:pt x="19477" y="16646"/>
                  </a:cubicBezTo>
                  <a:cubicBezTo>
                    <a:pt x="19602" y="16646"/>
                    <a:pt x="19477" y="17042"/>
                    <a:pt x="19477" y="17042"/>
                  </a:cubicBezTo>
                  <a:cubicBezTo>
                    <a:pt x="19477" y="17042"/>
                    <a:pt x="19727" y="17042"/>
                    <a:pt x="19727" y="17042"/>
                  </a:cubicBezTo>
                  <a:cubicBezTo>
                    <a:pt x="19727" y="16844"/>
                    <a:pt x="19727" y="16844"/>
                    <a:pt x="19852" y="16844"/>
                  </a:cubicBezTo>
                  <a:cubicBezTo>
                    <a:pt x="19852" y="16844"/>
                    <a:pt x="19852" y="16844"/>
                    <a:pt x="19852" y="16844"/>
                  </a:cubicBezTo>
                  <a:cubicBezTo>
                    <a:pt x="19852" y="16844"/>
                    <a:pt x="19977" y="16646"/>
                    <a:pt x="19977" y="16448"/>
                  </a:cubicBezTo>
                  <a:cubicBezTo>
                    <a:pt x="19977" y="16448"/>
                    <a:pt x="19977" y="15853"/>
                    <a:pt x="19852" y="15853"/>
                  </a:cubicBezTo>
                  <a:cubicBezTo>
                    <a:pt x="19852" y="15853"/>
                    <a:pt x="19727" y="15853"/>
                    <a:pt x="19727" y="15655"/>
                  </a:cubicBezTo>
                  <a:cubicBezTo>
                    <a:pt x="19602" y="15457"/>
                    <a:pt x="19602" y="15457"/>
                    <a:pt x="19727" y="15457"/>
                  </a:cubicBezTo>
                  <a:cubicBezTo>
                    <a:pt x="19727" y="15457"/>
                    <a:pt x="19852" y="15259"/>
                    <a:pt x="19852" y="15259"/>
                  </a:cubicBezTo>
                  <a:cubicBezTo>
                    <a:pt x="19852" y="15259"/>
                    <a:pt x="19977" y="15061"/>
                    <a:pt x="19852" y="15061"/>
                  </a:cubicBezTo>
                  <a:cubicBezTo>
                    <a:pt x="19852" y="14862"/>
                    <a:pt x="19727" y="14664"/>
                    <a:pt x="19727" y="14664"/>
                  </a:cubicBezTo>
                  <a:cubicBezTo>
                    <a:pt x="19727" y="14664"/>
                    <a:pt x="19602" y="14862"/>
                    <a:pt x="19477" y="14664"/>
                  </a:cubicBezTo>
                  <a:cubicBezTo>
                    <a:pt x="19477" y="14664"/>
                    <a:pt x="19477" y="14664"/>
                    <a:pt x="19477" y="14466"/>
                  </a:cubicBezTo>
                  <a:cubicBezTo>
                    <a:pt x="19477" y="14466"/>
                    <a:pt x="19477" y="14070"/>
                    <a:pt x="19477" y="14070"/>
                  </a:cubicBezTo>
                  <a:cubicBezTo>
                    <a:pt x="19353" y="14070"/>
                    <a:pt x="19353" y="14070"/>
                    <a:pt x="19353" y="14070"/>
                  </a:cubicBezTo>
                  <a:cubicBezTo>
                    <a:pt x="19477" y="13673"/>
                    <a:pt x="19477" y="13673"/>
                    <a:pt x="19477" y="13673"/>
                  </a:cubicBezTo>
                  <a:cubicBezTo>
                    <a:pt x="19477" y="13475"/>
                    <a:pt x="19477" y="13475"/>
                    <a:pt x="19477" y="13475"/>
                  </a:cubicBezTo>
                  <a:cubicBezTo>
                    <a:pt x="19477" y="13475"/>
                    <a:pt x="19477" y="13277"/>
                    <a:pt x="19602" y="13277"/>
                  </a:cubicBezTo>
                  <a:cubicBezTo>
                    <a:pt x="19602" y="13079"/>
                    <a:pt x="19602" y="13079"/>
                    <a:pt x="19602" y="12881"/>
                  </a:cubicBezTo>
                  <a:cubicBezTo>
                    <a:pt x="19727" y="12881"/>
                    <a:pt x="19727" y="12683"/>
                    <a:pt x="19727" y="12683"/>
                  </a:cubicBezTo>
                  <a:cubicBezTo>
                    <a:pt x="19852" y="12683"/>
                    <a:pt x="19977" y="12683"/>
                    <a:pt x="20102" y="12683"/>
                  </a:cubicBezTo>
                  <a:cubicBezTo>
                    <a:pt x="20102" y="12683"/>
                    <a:pt x="20102" y="12484"/>
                    <a:pt x="20227" y="12484"/>
                  </a:cubicBezTo>
                  <a:cubicBezTo>
                    <a:pt x="20227" y="12484"/>
                    <a:pt x="20351" y="12683"/>
                    <a:pt x="20351" y="12683"/>
                  </a:cubicBezTo>
                  <a:cubicBezTo>
                    <a:pt x="20351" y="12683"/>
                    <a:pt x="20351" y="12683"/>
                    <a:pt x="20351" y="12881"/>
                  </a:cubicBezTo>
                  <a:cubicBezTo>
                    <a:pt x="20351" y="12881"/>
                    <a:pt x="20726" y="13277"/>
                    <a:pt x="20726" y="13277"/>
                  </a:cubicBezTo>
                  <a:cubicBezTo>
                    <a:pt x="20726" y="13277"/>
                    <a:pt x="20726" y="13277"/>
                    <a:pt x="20851" y="13277"/>
                  </a:cubicBezTo>
                  <a:cubicBezTo>
                    <a:pt x="20851" y="13277"/>
                    <a:pt x="20726" y="13277"/>
                    <a:pt x="20851" y="13277"/>
                  </a:cubicBezTo>
                  <a:cubicBezTo>
                    <a:pt x="20851" y="13475"/>
                    <a:pt x="21225" y="13277"/>
                    <a:pt x="21225" y="13277"/>
                  </a:cubicBezTo>
                  <a:cubicBezTo>
                    <a:pt x="21350" y="13277"/>
                    <a:pt x="21350" y="13277"/>
                    <a:pt x="21350" y="13277"/>
                  </a:cubicBezTo>
                  <a:cubicBezTo>
                    <a:pt x="21350" y="13277"/>
                    <a:pt x="21350" y="13277"/>
                    <a:pt x="21350" y="13079"/>
                  </a:cubicBezTo>
                  <a:cubicBezTo>
                    <a:pt x="21475" y="13079"/>
                    <a:pt x="21475" y="12881"/>
                    <a:pt x="21475" y="12683"/>
                  </a:cubicBezTo>
                  <a:cubicBezTo>
                    <a:pt x="21475" y="12683"/>
                    <a:pt x="21600" y="12683"/>
                    <a:pt x="21475" y="12484"/>
                  </a:cubicBezTo>
                  <a:cubicBezTo>
                    <a:pt x="21225" y="12286"/>
                    <a:pt x="21101" y="12286"/>
                    <a:pt x="21101" y="12286"/>
                  </a:cubicBezTo>
                  <a:cubicBezTo>
                    <a:pt x="21101" y="12286"/>
                    <a:pt x="20851" y="11890"/>
                    <a:pt x="20976" y="11890"/>
                  </a:cubicBezTo>
                  <a:cubicBezTo>
                    <a:pt x="21101" y="11692"/>
                    <a:pt x="21225" y="11494"/>
                    <a:pt x="21225" y="11494"/>
                  </a:cubicBezTo>
                  <a:cubicBezTo>
                    <a:pt x="21101" y="11097"/>
                    <a:pt x="21101" y="11097"/>
                    <a:pt x="21101" y="11097"/>
                  </a:cubicBezTo>
                  <a:cubicBezTo>
                    <a:pt x="21225" y="10899"/>
                    <a:pt x="21225" y="10899"/>
                    <a:pt x="21225" y="10899"/>
                  </a:cubicBezTo>
                  <a:cubicBezTo>
                    <a:pt x="21101" y="10503"/>
                    <a:pt x="21101" y="10503"/>
                    <a:pt x="21101" y="10503"/>
                  </a:cubicBezTo>
                  <a:cubicBezTo>
                    <a:pt x="21101" y="10503"/>
                    <a:pt x="21225" y="10305"/>
                    <a:pt x="21225" y="10305"/>
                  </a:cubicBezTo>
                  <a:cubicBezTo>
                    <a:pt x="21225" y="10106"/>
                    <a:pt x="21350" y="9512"/>
                    <a:pt x="21350" y="9512"/>
                  </a:cubicBezTo>
                  <a:cubicBezTo>
                    <a:pt x="21350" y="9512"/>
                    <a:pt x="21350" y="9314"/>
                    <a:pt x="21350" y="9116"/>
                  </a:cubicBezTo>
                  <a:cubicBezTo>
                    <a:pt x="21350" y="9116"/>
                    <a:pt x="21225" y="8917"/>
                    <a:pt x="21225" y="8917"/>
                  </a:cubicBezTo>
                  <a:cubicBezTo>
                    <a:pt x="21101" y="8719"/>
                    <a:pt x="21101" y="8719"/>
                    <a:pt x="21101" y="8719"/>
                  </a:cubicBezTo>
                  <a:cubicBezTo>
                    <a:pt x="21101" y="8719"/>
                    <a:pt x="20976" y="8323"/>
                    <a:pt x="20976" y="8323"/>
                  </a:cubicBezTo>
                  <a:cubicBezTo>
                    <a:pt x="20851" y="8521"/>
                    <a:pt x="20726" y="8521"/>
                    <a:pt x="20726" y="8521"/>
                  </a:cubicBezTo>
                  <a:cubicBezTo>
                    <a:pt x="20726" y="8521"/>
                    <a:pt x="20726" y="8917"/>
                    <a:pt x="20726" y="8917"/>
                  </a:cubicBezTo>
                  <a:cubicBezTo>
                    <a:pt x="20601" y="9116"/>
                    <a:pt x="20476" y="9116"/>
                    <a:pt x="20476" y="9116"/>
                  </a:cubicBezTo>
                  <a:cubicBezTo>
                    <a:pt x="20476" y="9116"/>
                    <a:pt x="20476" y="9116"/>
                    <a:pt x="20476" y="9116"/>
                  </a:cubicBezTo>
                  <a:cubicBezTo>
                    <a:pt x="20351" y="9116"/>
                    <a:pt x="20351" y="9116"/>
                    <a:pt x="20351" y="9116"/>
                  </a:cubicBezTo>
                  <a:cubicBezTo>
                    <a:pt x="20227" y="9512"/>
                    <a:pt x="20227" y="9512"/>
                    <a:pt x="20227" y="9512"/>
                  </a:cubicBezTo>
                  <a:cubicBezTo>
                    <a:pt x="20102" y="9710"/>
                    <a:pt x="20102" y="9710"/>
                    <a:pt x="20102" y="9710"/>
                  </a:cubicBezTo>
                  <a:cubicBezTo>
                    <a:pt x="20102" y="9710"/>
                    <a:pt x="19852" y="9908"/>
                    <a:pt x="19727" y="9908"/>
                  </a:cubicBezTo>
                  <a:cubicBezTo>
                    <a:pt x="19727" y="9908"/>
                    <a:pt x="19477" y="9908"/>
                    <a:pt x="19477" y="9908"/>
                  </a:cubicBezTo>
                  <a:cubicBezTo>
                    <a:pt x="19353" y="9710"/>
                    <a:pt x="19353" y="9710"/>
                    <a:pt x="19353" y="9710"/>
                  </a:cubicBezTo>
                  <a:cubicBezTo>
                    <a:pt x="18978" y="9512"/>
                    <a:pt x="18978" y="9512"/>
                    <a:pt x="18978" y="9512"/>
                  </a:cubicBezTo>
                  <a:cubicBezTo>
                    <a:pt x="18978" y="9512"/>
                    <a:pt x="18978" y="9512"/>
                    <a:pt x="18978" y="9512"/>
                  </a:cubicBezTo>
                  <a:cubicBezTo>
                    <a:pt x="18728" y="9314"/>
                    <a:pt x="18728" y="9314"/>
                    <a:pt x="18728" y="9314"/>
                  </a:cubicBezTo>
                  <a:cubicBezTo>
                    <a:pt x="18603" y="9116"/>
                    <a:pt x="18603" y="9116"/>
                    <a:pt x="18603" y="9116"/>
                  </a:cubicBezTo>
                  <a:cubicBezTo>
                    <a:pt x="18603" y="8719"/>
                    <a:pt x="18603" y="8719"/>
                    <a:pt x="18603" y="8719"/>
                  </a:cubicBezTo>
                  <a:cubicBezTo>
                    <a:pt x="18354" y="8323"/>
                    <a:pt x="18354" y="8323"/>
                    <a:pt x="18354" y="8323"/>
                  </a:cubicBezTo>
                  <a:cubicBezTo>
                    <a:pt x="17854" y="8125"/>
                    <a:pt x="17854" y="8125"/>
                    <a:pt x="17854" y="8125"/>
                  </a:cubicBezTo>
                  <a:cubicBezTo>
                    <a:pt x="17480" y="7927"/>
                    <a:pt x="17480" y="7927"/>
                    <a:pt x="17480" y="7927"/>
                  </a:cubicBezTo>
                  <a:cubicBezTo>
                    <a:pt x="17230" y="7927"/>
                    <a:pt x="17230" y="7927"/>
                    <a:pt x="17230" y="7927"/>
                  </a:cubicBezTo>
                  <a:cubicBezTo>
                    <a:pt x="17230" y="7927"/>
                    <a:pt x="16731" y="7927"/>
                    <a:pt x="16731" y="7927"/>
                  </a:cubicBezTo>
                  <a:cubicBezTo>
                    <a:pt x="16731" y="7927"/>
                    <a:pt x="16606" y="7927"/>
                    <a:pt x="16606" y="7927"/>
                  </a:cubicBezTo>
                  <a:cubicBezTo>
                    <a:pt x="16606" y="7927"/>
                    <a:pt x="16606" y="7927"/>
                    <a:pt x="16606" y="7927"/>
                  </a:cubicBezTo>
                  <a:cubicBezTo>
                    <a:pt x="16606" y="7927"/>
                    <a:pt x="16606" y="7927"/>
                    <a:pt x="16606" y="7927"/>
                  </a:cubicBezTo>
                  <a:cubicBezTo>
                    <a:pt x="16606" y="7927"/>
                    <a:pt x="16606" y="7927"/>
                    <a:pt x="16606" y="7927"/>
                  </a:cubicBezTo>
                  <a:cubicBezTo>
                    <a:pt x="16606" y="7927"/>
                    <a:pt x="16606" y="7927"/>
                    <a:pt x="16606" y="7927"/>
                  </a:cubicBezTo>
                  <a:cubicBezTo>
                    <a:pt x="16606" y="7927"/>
                    <a:pt x="16606" y="7927"/>
                    <a:pt x="16606" y="7927"/>
                  </a:cubicBezTo>
                  <a:cubicBezTo>
                    <a:pt x="16481" y="7927"/>
                    <a:pt x="16481" y="7927"/>
                    <a:pt x="16481" y="7927"/>
                  </a:cubicBezTo>
                  <a:cubicBezTo>
                    <a:pt x="16606" y="7530"/>
                    <a:pt x="16606" y="7530"/>
                    <a:pt x="16606" y="7530"/>
                  </a:cubicBezTo>
                  <a:cubicBezTo>
                    <a:pt x="16731" y="7530"/>
                    <a:pt x="16731" y="7530"/>
                    <a:pt x="16731" y="7530"/>
                  </a:cubicBezTo>
                  <a:cubicBezTo>
                    <a:pt x="16731" y="7332"/>
                    <a:pt x="16731" y="7332"/>
                    <a:pt x="16731" y="7332"/>
                  </a:cubicBezTo>
                  <a:cubicBezTo>
                    <a:pt x="16731" y="7332"/>
                    <a:pt x="16606" y="7134"/>
                    <a:pt x="16606" y="7134"/>
                  </a:cubicBezTo>
                  <a:cubicBezTo>
                    <a:pt x="16606" y="7134"/>
                    <a:pt x="16606" y="6936"/>
                    <a:pt x="16606" y="6936"/>
                  </a:cubicBezTo>
                  <a:cubicBezTo>
                    <a:pt x="16606" y="6936"/>
                    <a:pt x="16606" y="6936"/>
                    <a:pt x="16606" y="6936"/>
                  </a:cubicBezTo>
                  <a:cubicBezTo>
                    <a:pt x="16606" y="6936"/>
                    <a:pt x="16606" y="6738"/>
                    <a:pt x="16606" y="6738"/>
                  </a:cubicBezTo>
                  <a:cubicBezTo>
                    <a:pt x="16606" y="6738"/>
                    <a:pt x="16606" y="6738"/>
                    <a:pt x="16606" y="6738"/>
                  </a:cubicBezTo>
                  <a:cubicBezTo>
                    <a:pt x="16606" y="6539"/>
                    <a:pt x="16606" y="6539"/>
                    <a:pt x="16606" y="6539"/>
                  </a:cubicBezTo>
                  <a:cubicBezTo>
                    <a:pt x="16731" y="5945"/>
                    <a:pt x="16731" y="5945"/>
                    <a:pt x="16731" y="5945"/>
                  </a:cubicBezTo>
                  <a:cubicBezTo>
                    <a:pt x="16980" y="5549"/>
                    <a:pt x="16980" y="5549"/>
                    <a:pt x="16980" y="5549"/>
                  </a:cubicBezTo>
                  <a:cubicBezTo>
                    <a:pt x="16980" y="5549"/>
                    <a:pt x="16980" y="5152"/>
                    <a:pt x="17105" y="5152"/>
                  </a:cubicBezTo>
                  <a:cubicBezTo>
                    <a:pt x="17105" y="4954"/>
                    <a:pt x="17105" y="4756"/>
                    <a:pt x="17105" y="4756"/>
                  </a:cubicBezTo>
                  <a:cubicBezTo>
                    <a:pt x="17355" y="4558"/>
                    <a:pt x="17355" y="4558"/>
                    <a:pt x="17355" y="4558"/>
                  </a:cubicBezTo>
                  <a:cubicBezTo>
                    <a:pt x="17355" y="4558"/>
                    <a:pt x="17480" y="4360"/>
                    <a:pt x="17480" y="4360"/>
                  </a:cubicBezTo>
                  <a:cubicBezTo>
                    <a:pt x="17480" y="4161"/>
                    <a:pt x="17355" y="3963"/>
                    <a:pt x="17355" y="3963"/>
                  </a:cubicBezTo>
                  <a:cubicBezTo>
                    <a:pt x="17355" y="3765"/>
                    <a:pt x="17480" y="3567"/>
                    <a:pt x="17480" y="3567"/>
                  </a:cubicBezTo>
                  <a:cubicBezTo>
                    <a:pt x="17355" y="3567"/>
                    <a:pt x="17355" y="3369"/>
                    <a:pt x="17230" y="3369"/>
                  </a:cubicBezTo>
                  <a:cubicBezTo>
                    <a:pt x="17230" y="3369"/>
                    <a:pt x="17105" y="3369"/>
                    <a:pt x="17105" y="3171"/>
                  </a:cubicBezTo>
                  <a:cubicBezTo>
                    <a:pt x="17105" y="3171"/>
                    <a:pt x="16980" y="2972"/>
                    <a:pt x="16980" y="2972"/>
                  </a:cubicBezTo>
                  <a:cubicBezTo>
                    <a:pt x="16980" y="2972"/>
                    <a:pt x="16980" y="2576"/>
                    <a:pt x="16855" y="2576"/>
                  </a:cubicBezTo>
                  <a:cubicBezTo>
                    <a:pt x="16855" y="2576"/>
                    <a:pt x="16731" y="2576"/>
                    <a:pt x="16606" y="2378"/>
                  </a:cubicBezTo>
                  <a:cubicBezTo>
                    <a:pt x="16481" y="2378"/>
                    <a:pt x="16356" y="2180"/>
                    <a:pt x="16356" y="2180"/>
                  </a:cubicBezTo>
                  <a:cubicBezTo>
                    <a:pt x="16231" y="2180"/>
                    <a:pt x="15982" y="1783"/>
                    <a:pt x="15982" y="1783"/>
                  </a:cubicBezTo>
                  <a:cubicBezTo>
                    <a:pt x="15982" y="1783"/>
                    <a:pt x="15982" y="1783"/>
                    <a:pt x="15857" y="1783"/>
                  </a:cubicBezTo>
                  <a:cubicBezTo>
                    <a:pt x="15857" y="1783"/>
                    <a:pt x="15732" y="1585"/>
                    <a:pt x="15732" y="1585"/>
                  </a:cubicBezTo>
                  <a:cubicBezTo>
                    <a:pt x="15607" y="1585"/>
                    <a:pt x="15607" y="1585"/>
                    <a:pt x="15607" y="1585"/>
                  </a:cubicBezTo>
                  <a:cubicBezTo>
                    <a:pt x="15607" y="1585"/>
                    <a:pt x="15607" y="1585"/>
                    <a:pt x="15607" y="1585"/>
                  </a:cubicBezTo>
                  <a:cubicBezTo>
                    <a:pt x="15482" y="1585"/>
                    <a:pt x="15482" y="1585"/>
                    <a:pt x="15357" y="1387"/>
                  </a:cubicBezTo>
                  <a:cubicBezTo>
                    <a:pt x="15108" y="1387"/>
                    <a:pt x="15232" y="1387"/>
                    <a:pt x="14983" y="1387"/>
                  </a:cubicBezTo>
                  <a:cubicBezTo>
                    <a:pt x="14858" y="1387"/>
                    <a:pt x="14733" y="1387"/>
                    <a:pt x="14733" y="1387"/>
                  </a:cubicBezTo>
                  <a:cubicBezTo>
                    <a:pt x="14733" y="1387"/>
                    <a:pt x="14608" y="1189"/>
                    <a:pt x="14358" y="1189"/>
                  </a:cubicBezTo>
                  <a:cubicBezTo>
                    <a:pt x="14234" y="1387"/>
                    <a:pt x="13984" y="1585"/>
                    <a:pt x="13859" y="1585"/>
                  </a:cubicBezTo>
                  <a:cubicBezTo>
                    <a:pt x="13859" y="1585"/>
                    <a:pt x="13734" y="1387"/>
                    <a:pt x="13734" y="1387"/>
                  </a:cubicBezTo>
                  <a:cubicBezTo>
                    <a:pt x="13734" y="1387"/>
                    <a:pt x="13734" y="1189"/>
                    <a:pt x="13734" y="1189"/>
                  </a:cubicBezTo>
                  <a:cubicBezTo>
                    <a:pt x="13734" y="1189"/>
                    <a:pt x="13609" y="991"/>
                    <a:pt x="13484" y="793"/>
                  </a:cubicBezTo>
                  <a:cubicBezTo>
                    <a:pt x="13484" y="793"/>
                    <a:pt x="13360" y="793"/>
                    <a:pt x="13360" y="793"/>
                  </a:cubicBezTo>
                  <a:cubicBezTo>
                    <a:pt x="13360" y="793"/>
                    <a:pt x="13360" y="793"/>
                    <a:pt x="13360" y="991"/>
                  </a:cubicBezTo>
                  <a:cubicBezTo>
                    <a:pt x="13360" y="1189"/>
                    <a:pt x="13609" y="1189"/>
                    <a:pt x="13360" y="1189"/>
                  </a:cubicBezTo>
                  <a:cubicBezTo>
                    <a:pt x="13235" y="991"/>
                    <a:pt x="13110" y="991"/>
                    <a:pt x="13110" y="991"/>
                  </a:cubicBezTo>
                  <a:cubicBezTo>
                    <a:pt x="12735" y="1189"/>
                    <a:pt x="12735" y="1189"/>
                    <a:pt x="12735" y="1189"/>
                  </a:cubicBezTo>
                  <a:cubicBezTo>
                    <a:pt x="12860" y="991"/>
                    <a:pt x="12860" y="991"/>
                    <a:pt x="12860" y="991"/>
                  </a:cubicBezTo>
                  <a:cubicBezTo>
                    <a:pt x="12860" y="991"/>
                    <a:pt x="12985" y="991"/>
                    <a:pt x="12985" y="991"/>
                  </a:cubicBezTo>
                  <a:cubicBezTo>
                    <a:pt x="12985" y="793"/>
                    <a:pt x="12985" y="793"/>
                    <a:pt x="12985" y="793"/>
                  </a:cubicBezTo>
                  <a:cubicBezTo>
                    <a:pt x="12985" y="793"/>
                    <a:pt x="12985" y="594"/>
                    <a:pt x="12985" y="594"/>
                  </a:cubicBezTo>
                  <a:cubicBezTo>
                    <a:pt x="13110" y="594"/>
                    <a:pt x="13235" y="396"/>
                    <a:pt x="13110" y="396"/>
                  </a:cubicBezTo>
                  <a:cubicBezTo>
                    <a:pt x="12985" y="396"/>
                    <a:pt x="12860" y="396"/>
                    <a:pt x="12860" y="396"/>
                  </a:cubicBezTo>
                  <a:cubicBezTo>
                    <a:pt x="12860" y="198"/>
                    <a:pt x="12860" y="198"/>
                    <a:pt x="12860" y="198"/>
                  </a:cubicBezTo>
                  <a:cubicBezTo>
                    <a:pt x="12860" y="198"/>
                    <a:pt x="12735" y="0"/>
                    <a:pt x="12735" y="0"/>
                  </a:cubicBezTo>
                  <a:cubicBezTo>
                    <a:pt x="12735" y="198"/>
                    <a:pt x="12735" y="396"/>
                    <a:pt x="12735" y="396"/>
                  </a:cubicBezTo>
                  <a:cubicBezTo>
                    <a:pt x="12610" y="396"/>
                    <a:pt x="12610" y="396"/>
                    <a:pt x="12610" y="198"/>
                  </a:cubicBezTo>
                  <a:cubicBezTo>
                    <a:pt x="12610" y="0"/>
                    <a:pt x="12610" y="0"/>
                    <a:pt x="12610" y="0"/>
                  </a:cubicBezTo>
                  <a:cubicBezTo>
                    <a:pt x="12486" y="0"/>
                    <a:pt x="12361" y="0"/>
                    <a:pt x="12361" y="0"/>
                  </a:cubicBezTo>
                  <a:cubicBezTo>
                    <a:pt x="12361" y="0"/>
                    <a:pt x="12486" y="198"/>
                    <a:pt x="12236" y="198"/>
                  </a:cubicBezTo>
                  <a:cubicBezTo>
                    <a:pt x="12111" y="198"/>
                    <a:pt x="11986" y="396"/>
                    <a:pt x="11861" y="396"/>
                  </a:cubicBezTo>
                  <a:cubicBezTo>
                    <a:pt x="11736" y="594"/>
                    <a:pt x="11736" y="793"/>
                    <a:pt x="11736" y="793"/>
                  </a:cubicBezTo>
                  <a:cubicBezTo>
                    <a:pt x="11736" y="991"/>
                    <a:pt x="11487" y="991"/>
                    <a:pt x="11487" y="1189"/>
                  </a:cubicBezTo>
                  <a:cubicBezTo>
                    <a:pt x="11612" y="1189"/>
                    <a:pt x="11487" y="1189"/>
                    <a:pt x="11736" y="1387"/>
                  </a:cubicBezTo>
                  <a:cubicBezTo>
                    <a:pt x="11861" y="1387"/>
                    <a:pt x="11861" y="1387"/>
                    <a:pt x="11986" y="1387"/>
                  </a:cubicBezTo>
                  <a:cubicBezTo>
                    <a:pt x="12111" y="1585"/>
                    <a:pt x="12236" y="1387"/>
                    <a:pt x="12236" y="1387"/>
                  </a:cubicBezTo>
                  <a:cubicBezTo>
                    <a:pt x="12236" y="1387"/>
                    <a:pt x="12236" y="1387"/>
                    <a:pt x="12361" y="1585"/>
                  </a:cubicBezTo>
                  <a:cubicBezTo>
                    <a:pt x="12361" y="1585"/>
                    <a:pt x="12486" y="1387"/>
                    <a:pt x="12486" y="1585"/>
                  </a:cubicBezTo>
                  <a:cubicBezTo>
                    <a:pt x="12486" y="1783"/>
                    <a:pt x="12610" y="1982"/>
                    <a:pt x="12486" y="1982"/>
                  </a:cubicBezTo>
                  <a:cubicBezTo>
                    <a:pt x="12361" y="1982"/>
                    <a:pt x="12236" y="2180"/>
                    <a:pt x="12236" y="1982"/>
                  </a:cubicBezTo>
                  <a:cubicBezTo>
                    <a:pt x="12236" y="1982"/>
                    <a:pt x="12236" y="1783"/>
                    <a:pt x="12111" y="1783"/>
                  </a:cubicBezTo>
                  <a:cubicBezTo>
                    <a:pt x="12111" y="1783"/>
                    <a:pt x="11986" y="1783"/>
                    <a:pt x="11986" y="1783"/>
                  </a:cubicBezTo>
                  <a:cubicBezTo>
                    <a:pt x="11861" y="2180"/>
                    <a:pt x="11861" y="2180"/>
                    <a:pt x="11861" y="2180"/>
                  </a:cubicBezTo>
                  <a:cubicBezTo>
                    <a:pt x="11861" y="2180"/>
                    <a:pt x="11861" y="2378"/>
                    <a:pt x="11736" y="2378"/>
                  </a:cubicBezTo>
                  <a:cubicBezTo>
                    <a:pt x="11612" y="2378"/>
                    <a:pt x="11736" y="2378"/>
                    <a:pt x="11487" y="2378"/>
                  </a:cubicBezTo>
                  <a:cubicBezTo>
                    <a:pt x="11237" y="2378"/>
                    <a:pt x="11237" y="2180"/>
                    <a:pt x="11112" y="2180"/>
                  </a:cubicBezTo>
                  <a:cubicBezTo>
                    <a:pt x="11112" y="2180"/>
                    <a:pt x="11112" y="2180"/>
                    <a:pt x="10987" y="2180"/>
                  </a:cubicBezTo>
                  <a:cubicBezTo>
                    <a:pt x="10987" y="2180"/>
                    <a:pt x="10738" y="1783"/>
                    <a:pt x="10613" y="2180"/>
                  </a:cubicBezTo>
                  <a:cubicBezTo>
                    <a:pt x="10488" y="2378"/>
                    <a:pt x="10363" y="2576"/>
                    <a:pt x="10363" y="2576"/>
                  </a:cubicBezTo>
                  <a:cubicBezTo>
                    <a:pt x="9988" y="2576"/>
                    <a:pt x="9988" y="2576"/>
                    <a:pt x="9988" y="2576"/>
                  </a:cubicBezTo>
                  <a:cubicBezTo>
                    <a:pt x="9988" y="2576"/>
                    <a:pt x="9864" y="2576"/>
                    <a:pt x="9739" y="2576"/>
                  </a:cubicBezTo>
                  <a:cubicBezTo>
                    <a:pt x="9614" y="2576"/>
                    <a:pt x="9489" y="2576"/>
                    <a:pt x="9489" y="2576"/>
                  </a:cubicBezTo>
                  <a:cubicBezTo>
                    <a:pt x="9364" y="2774"/>
                    <a:pt x="9239" y="2180"/>
                    <a:pt x="9239" y="2180"/>
                  </a:cubicBezTo>
                  <a:cubicBezTo>
                    <a:pt x="9239" y="2180"/>
                    <a:pt x="9364" y="1783"/>
                    <a:pt x="8990" y="2180"/>
                  </a:cubicBezTo>
                  <a:cubicBezTo>
                    <a:pt x="8615" y="2576"/>
                    <a:pt x="8490" y="2576"/>
                    <a:pt x="8490" y="2576"/>
                  </a:cubicBezTo>
                  <a:cubicBezTo>
                    <a:pt x="8365" y="2576"/>
                    <a:pt x="8240" y="2774"/>
                    <a:pt x="8240" y="2774"/>
                  </a:cubicBezTo>
                  <a:cubicBezTo>
                    <a:pt x="8116" y="2576"/>
                    <a:pt x="8116" y="2576"/>
                    <a:pt x="8116" y="2576"/>
                  </a:cubicBezTo>
                  <a:cubicBezTo>
                    <a:pt x="8116" y="2576"/>
                    <a:pt x="8116" y="2576"/>
                    <a:pt x="8116" y="2576"/>
                  </a:cubicBezTo>
                  <a:cubicBezTo>
                    <a:pt x="8116" y="2576"/>
                    <a:pt x="8116" y="2576"/>
                    <a:pt x="8116" y="2576"/>
                  </a:cubicBezTo>
                  <a:cubicBezTo>
                    <a:pt x="8240" y="2576"/>
                    <a:pt x="8240" y="2378"/>
                    <a:pt x="8240" y="2378"/>
                  </a:cubicBezTo>
                  <a:cubicBezTo>
                    <a:pt x="8116" y="2180"/>
                    <a:pt x="8116" y="2180"/>
                    <a:pt x="8116" y="2180"/>
                  </a:cubicBezTo>
                  <a:cubicBezTo>
                    <a:pt x="7741" y="2378"/>
                    <a:pt x="7741" y="2378"/>
                    <a:pt x="7741" y="2378"/>
                  </a:cubicBezTo>
                  <a:cubicBezTo>
                    <a:pt x="7741" y="2378"/>
                    <a:pt x="7866" y="2378"/>
                    <a:pt x="7741" y="2378"/>
                  </a:cubicBezTo>
                  <a:cubicBezTo>
                    <a:pt x="7741" y="2378"/>
                    <a:pt x="7491" y="2378"/>
                    <a:pt x="7491" y="2378"/>
                  </a:cubicBezTo>
                  <a:cubicBezTo>
                    <a:pt x="7491" y="2774"/>
                    <a:pt x="7491" y="2774"/>
                    <a:pt x="7491" y="2774"/>
                  </a:cubicBezTo>
                  <a:cubicBezTo>
                    <a:pt x="7491" y="2774"/>
                    <a:pt x="7366" y="2774"/>
                    <a:pt x="7366" y="2774"/>
                  </a:cubicBezTo>
                  <a:cubicBezTo>
                    <a:pt x="7366" y="2774"/>
                    <a:pt x="7366" y="2972"/>
                    <a:pt x="7366" y="2972"/>
                  </a:cubicBezTo>
                  <a:cubicBezTo>
                    <a:pt x="7366" y="2972"/>
                    <a:pt x="7366" y="3171"/>
                    <a:pt x="7366" y="3171"/>
                  </a:cubicBezTo>
                  <a:cubicBezTo>
                    <a:pt x="7366" y="3171"/>
                    <a:pt x="7242" y="3171"/>
                    <a:pt x="7242" y="3171"/>
                  </a:cubicBezTo>
                  <a:cubicBezTo>
                    <a:pt x="7242" y="3171"/>
                    <a:pt x="7117" y="3171"/>
                    <a:pt x="7117" y="3171"/>
                  </a:cubicBezTo>
                  <a:cubicBezTo>
                    <a:pt x="7117" y="3171"/>
                    <a:pt x="6992" y="3567"/>
                    <a:pt x="6992" y="3567"/>
                  </a:cubicBezTo>
                  <a:cubicBezTo>
                    <a:pt x="6992" y="3567"/>
                    <a:pt x="6992" y="3765"/>
                    <a:pt x="6992" y="3765"/>
                  </a:cubicBezTo>
                  <a:cubicBezTo>
                    <a:pt x="6992" y="3765"/>
                    <a:pt x="6992" y="3765"/>
                    <a:pt x="6992" y="3963"/>
                  </a:cubicBezTo>
                  <a:cubicBezTo>
                    <a:pt x="6867" y="3963"/>
                    <a:pt x="6742" y="3963"/>
                    <a:pt x="6742" y="3963"/>
                  </a:cubicBezTo>
                  <a:cubicBezTo>
                    <a:pt x="6742" y="3963"/>
                    <a:pt x="6617" y="3963"/>
                    <a:pt x="6492" y="3963"/>
                  </a:cubicBezTo>
                  <a:cubicBezTo>
                    <a:pt x="6492" y="3963"/>
                    <a:pt x="6368" y="3963"/>
                    <a:pt x="6368" y="3963"/>
                  </a:cubicBezTo>
                  <a:cubicBezTo>
                    <a:pt x="6243" y="3963"/>
                    <a:pt x="6243" y="4161"/>
                    <a:pt x="6243" y="4161"/>
                  </a:cubicBezTo>
                  <a:cubicBezTo>
                    <a:pt x="6243" y="4161"/>
                    <a:pt x="5993" y="3963"/>
                    <a:pt x="5993" y="3963"/>
                  </a:cubicBezTo>
                  <a:cubicBezTo>
                    <a:pt x="5868" y="3963"/>
                    <a:pt x="5868" y="3765"/>
                    <a:pt x="5868" y="3567"/>
                  </a:cubicBezTo>
                  <a:cubicBezTo>
                    <a:pt x="5868" y="3567"/>
                    <a:pt x="5743" y="3171"/>
                    <a:pt x="5743" y="3171"/>
                  </a:cubicBezTo>
                  <a:cubicBezTo>
                    <a:pt x="5618" y="3369"/>
                    <a:pt x="5618" y="3369"/>
                    <a:pt x="5618" y="3369"/>
                  </a:cubicBezTo>
                  <a:cubicBezTo>
                    <a:pt x="5244" y="3369"/>
                    <a:pt x="5244" y="3369"/>
                    <a:pt x="5244" y="3369"/>
                  </a:cubicBezTo>
                  <a:cubicBezTo>
                    <a:pt x="4994" y="3171"/>
                    <a:pt x="4994" y="3171"/>
                    <a:pt x="4994" y="3171"/>
                  </a:cubicBezTo>
                  <a:cubicBezTo>
                    <a:pt x="4994" y="3567"/>
                    <a:pt x="4994" y="3567"/>
                    <a:pt x="4994" y="3567"/>
                  </a:cubicBezTo>
                  <a:cubicBezTo>
                    <a:pt x="4994" y="3567"/>
                    <a:pt x="5119" y="3765"/>
                    <a:pt x="5119" y="3765"/>
                  </a:cubicBezTo>
                  <a:cubicBezTo>
                    <a:pt x="5119" y="3765"/>
                    <a:pt x="4994" y="3765"/>
                    <a:pt x="4994" y="3765"/>
                  </a:cubicBezTo>
                  <a:cubicBezTo>
                    <a:pt x="4869" y="3963"/>
                    <a:pt x="4869" y="3963"/>
                    <a:pt x="4869" y="3963"/>
                  </a:cubicBezTo>
                  <a:cubicBezTo>
                    <a:pt x="4745" y="3963"/>
                    <a:pt x="4745" y="3963"/>
                    <a:pt x="4745" y="3963"/>
                  </a:cubicBezTo>
                  <a:cubicBezTo>
                    <a:pt x="4745" y="3963"/>
                    <a:pt x="4620" y="4360"/>
                    <a:pt x="4620" y="4360"/>
                  </a:cubicBezTo>
                  <a:cubicBezTo>
                    <a:pt x="4620" y="4558"/>
                    <a:pt x="4495" y="4558"/>
                    <a:pt x="4495" y="4558"/>
                  </a:cubicBezTo>
                  <a:cubicBezTo>
                    <a:pt x="4495" y="4558"/>
                    <a:pt x="4370" y="4558"/>
                    <a:pt x="4495" y="4756"/>
                  </a:cubicBezTo>
                  <a:cubicBezTo>
                    <a:pt x="4620" y="4756"/>
                    <a:pt x="4745" y="4756"/>
                    <a:pt x="4745" y="4756"/>
                  </a:cubicBezTo>
                  <a:cubicBezTo>
                    <a:pt x="4869" y="4756"/>
                    <a:pt x="4994" y="4756"/>
                    <a:pt x="4994" y="4756"/>
                  </a:cubicBezTo>
                  <a:cubicBezTo>
                    <a:pt x="4994" y="4756"/>
                    <a:pt x="5244" y="4558"/>
                    <a:pt x="5244" y="4558"/>
                  </a:cubicBezTo>
                  <a:cubicBezTo>
                    <a:pt x="5244" y="4756"/>
                    <a:pt x="5244" y="4756"/>
                    <a:pt x="5244" y="4756"/>
                  </a:cubicBezTo>
                  <a:cubicBezTo>
                    <a:pt x="5244" y="5152"/>
                    <a:pt x="5244" y="5152"/>
                    <a:pt x="5244" y="5152"/>
                  </a:cubicBezTo>
                  <a:cubicBezTo>
                    <a:pt x="5119" y="5152"/>
                    <a:pt x="5119" y="5152"/>
                    <a:pt x="5119" y="5152"/>
                  </a:cubicBezTo>
                  <a:cubicBezTo>
                    <a:pt x="5119" y="5152"/>
                    <a:pt x="5119" y="5350"/>
                    <a:pt x="5119" y="5350"/>
                  </a:cubicBezTo>
                  <a:cubicBezTo>
                    <a:pt x="4994" y="5549"/>
                    <a:pt x="4869" y="5549"/>
                    <a:pt x="4869" y="5549"/>
                  </a:cubicBezTo>
                  <a:cubicBezTo>
                    <a:pt x="4745" y="5747"/>
                    <a:pt x="4745" y="5747"/>
                    <a:pt x="4745" y="5945"/>
                  </a:cubicBezTo>
                  <a:cubicBezTo>
                    <a:pt x="4745" y="6143"/>
                    <a:pt x="4620" y="6539"/>
                    <a:pt x="4620" y="6539"/>
                  </a:cubicBezTo>
                  <a:cubicBezTo>
                    <a:pt x="4370" y="6738"/>
                    <a:pt x="4370" y="6738"/>
                    <a:pt x="4370" y="6738"/>
                  </a:cubicBezTo>
                  <a:cubicBezTo>
                    <a:pt x="4120" y="7134"/>
                    <a:pt x="4120" y="7134"/>
                    <a:pt x="4120" y="7134"/>
                  </a:cubicBezTo>
                  <a:cubicBezTo>
                    <a:pt x="3995" y="7134"/>
                    <a:pt x="3995" y="7134"/>
                    <a:pt x="3995" y="7134"/>
                  </a:cubicBezTo>
                  <a:cubicBezTo>
                    <a:pt x="3871" y="7332"/>
                    <a:pt x="3871" y="7332"/>
                    <a:pt x="3871" y="7332"/>
                  </a:cubicBezTo>
                  <a:cubicBezTo>
                    <a:pt x="3871" y="7530"/>
                    <a:pt x="3871" y="7530"/>
                    <a:pt x="3871" y="7530"/>
                  </a:cubicBezTo>
                  <a:cubicBezTo>
                    <a:pt x="3621" y="7728"/>
                    <a:pt x="3621" y="7728"/>
                    <a:pt x="3621" y="7728"/>
                  </a:cubicBezTo>
                  <a:cubicBezTo>
                    <a:pt x="3621" y="8125"/>
                    <a:pt x="3621" y="8125"/>
                    <a:pt x="3621" y="8125"/>
                  </a:cubicBezTo>
                  <a:cubicBezTo>
                    <a:pt x="3496" y="8323"/>
                    <a:pt x="3496" y="8323"/>
                    <a:pt x="3496" y="8323"/>
                  </a:cubicBezTo>
                  <a:cubicBezTo>
                    <a:pt x="3371" y="8323"/>
                    <a:pt x="3371" y="8323"/>
                    <a:pt x="3371" y="8323"/>
                  </a:cubicBezTo>
                  <a:cubicBezTo>
                    <a:pt x="3246" y="8719"/>
                    <a:pt x="3246" y="8719"/>
                    <a:pt x="3246" y="8719"/>
                  </a:cubicBezTo>
                  <a:cubicBezTo>
                    <a:pt x="3246" y="8719"/>
                    <a:pt x="3121" y="8917"/>
                    <a:pt x="3121" y="8917"/>
                  </a:cubicBezTo>
                  <a:cubicBezTo>
                    <a:pt x="2997" y="8917"/>
                    <a:pt x="2872" y="9116"/>
                    <a:pt x="2872" y="9116"/>
                  </a:cubicBezTo>
                  <a:cubicBezTo>
                    <a:pt x="2622" y="9116"/>
                    <a:pt x="2622" y="9116"/>
                    <a:pt x="2622" y="9116"/>
                  </a:cubicBezTo>
                  <a:cubicBezTo>
                    <a:pt x="2622" y="9116"/>
                    <a:pt x="2497" y="9116"/>
                    <a:pt x="2372" y="9314"/>
                  </a:cubicBezTo>
                  <a:cubicBezTo>
                    <a:pt x="2372" y="9512"/>
                    <a:pt x="2372" y="9512"/>
                    <a:pt x="2372" y="9512"/>
                  </a:cubicBezTo>
                  <a:cubicBezTo>
                    <a:pt x="2372" y="9710"/>
                    <a:pt x="2497" y="9908"/>
                    <a:pt x="2497" y="9908"/>
                  </a:cubicBezTo>
                  <a:cubicBezTo>
                    <a:pt x="2497" y="10305"/>
                    <a:pt x="2497" y="10305"/>
                    <a:pt x="2497" y="10305"/>
                  </a:cubicBezTo>
                  <a:cubicBezTo>
                    <a:pt x="2497" y="10305"/>
                    <a:pt x="2372" y="10305"/>
                    <a:pt x="2372" y="10503"/>
                  </a:cubicBezTo>
                  <a:cubicBezTo>
                    <a:pt x="2372" y="10503"/>
                    <a:pt x="2372" y="10701"/>
                    <a:pt x="2372" y="10701"/>
                  </a:cubicBezTo>
                  <a:cubicBezTo>
                    <a:pt x="2372" y="10701"/>
                    <a:pt x="2372" y="10899"/>
                    <a:pt x="2372" y="10899"/>
                  </a:cubicBezTo>
                  <a:cubicBezTo>
                    <a:pt x="2372" y="10899"/>
                    <a:pt x="2372" y="11097"/>
                    <a:pt x="2372" y="11097"/>
                  </a:cubicBezTo>
                  <a:cubicBezTo>
                    <a:pt x="2372" y="11097"/>
                    <a:pt x="2372" y="11295"/>
                    <a:pt x="2247" y="11494"/>
                  </a:cubicBezTo>
                  <a:cubicBezTo>
                    <a:pt x="2247" y="11494"/>
                    <a:pt x="2123" y="11692"/>
                    <a:pt x="2123" y="11692"/>
                  </a:cubicBezTo>
                  <a:cubicBezTo>
                    <a:pt x="2123" y="11692"/>
                    <a:pt x="1873" y="11692"/>
                    <a:pt x="1873" y="11692"/>
                  </a:cubicBezTo>
                  <a:cubicBezTo>
                    <a:pt x="1873" y="11890"/>
                    <a:pt x="1623" y="11890"/>
                    <a:pt x="1623" y="11890"/>
                  </a:cubicBezTo>
                  <a:cubicBezTo>
                    <a:pt x="1373" y="12286"/>
                    <a:pt x="1373" y="12286"/>
                    <a:pt x="1373" y="12286"/>
                  </a:cubicBezTo>
                  <a:cubicBezTo>
                    <a:pt x="874" y="13079"/>
                    <a:pt x="874" y="13079"/>
                    <a:pt x="874" y="13079"/>
                  </a:cubicBezTo>
                  <a:cubicBezTo>
                    <a:pt x="874" y="13079"/>
                    <a:pt x="874" y="13277"/>
                    <a:pt x="874" y="13277"/>
                  </a:cubicBezTo>
                  <a:cubicBezTo>
                    <a:pt x="874" y="13277"/>
                    <a:pt x="874" y="13673"/>
                    <a:pt x="874" y="13673"/>
                  </a:cubicBezTo>
                  <a:cubicBezTo>
                    <a:pt x="874" y="13872"/>
                    <a:pt x="749" y="14070"/>
                    <a:pt x="749" y="14070"/>
                  </a:cubicBezTo>
                  <a:cubicBezTo>
                    <a:pt x="624" y="14268"/>
                    <a:pt x="624" y="14268"/>
                    <a:pt x="624" y="14268"/>
                  </a:cubicBezTo>
                  <a:cubicBezTo>
                    <a:pt x="624" y="14664"/>
                    <a:pt x="624" y="14664"/>
                    <a:pt x="624" y="14664"/>
                  </a:cubicBezTo>
                  <a:cubicBezTo>
                    <a:pt x="624" y="14862"/>
                    <a:pt x="624" y="14862"/>
                    <a:pt x="624" y="14862"/>
                  </a:cubicBezTo>
                  <a:cubicBezTo>
                    <a:pt x="749" y="15061"/>
                    <a:pt x="749" y="15061"/>
                    <a:pt x="749" y="15061"/>
                  </a:cubicBezTo>
                  <a:cubicBezTo>
                    <a:pt x="874" y="15259"/>
                    <a:pt x="874" y="15259"/>
                    <a:pt x="874" y="15259"/>
                  </a:cubicBezTo>
                  <a:cubicBezTo>
                    <a:pt x="874" y="15853"/>
                    <a:pt x="874" y="15853"/>
                    <a:pt x="874" y="15853"/>
                  </a:cubicBezTo>
                  <a:cubicBezTo>
                    <a:pt x="749" y="16250"/>
                    <a:pt x="749" y="16250"/>
                    <a:pt x="749" y="16250"/>
                  </a:cubicBezTo>
                  <a:cubicBezTo>
                    <a:pt x="749" y="16646"/>
                    <a:pt x="749" y="16646"/>
                    <a:pt x="749" y="16646"/>
                  </a:cubicBezTo>
                  <a:cubicBezTo>
                    <a:pt x="499" y="16646"/>
                    <a:pt x="499" y="16646"/>
                    <a:pt x="499" y="16646"/>
                  </a:cubicBezTo>
                  <a:cubicBezTo>
                    <a:pt x="499" y="16646"/>
                    <a:pt x="375" y="16844"/>
                    <a:pt x="250" y="16844"/>
                  </a:cubicBezTo>
                  <a:cubicBezTo>
                    <a:pt x="250" y="16844"/>
                    <a:pt x="125" y="17042"/>
                    <a:pt x="125" y="17042"/>
                  </a:cubicBezTo>
                  <a:cubicBezTo>
                    <a:pt x="0" y="17240"/>
                    <a:pt x="0" y="17240"/>
                    <a:pt x="0" y="17240"/>
                  </a:cubicBezTo>
                  <a:cubicBezTo>
                    <a:pt x="125" y="17439"/>
                    <a:pt x="125" y="17439"/>
                    <a:pt x="125" y="17439"/>
                  </a:cubicBezTo>
                  <a:cubicBezTo>
                    <a:pt x="125" y="17835"/>
                    <a:pt x="125" y="17835"/>
                    <a:pt x="125" y="17835"/>
                  </a:cubicBezTo>
                  <a:cubicBezTo>
                    <a:pt x="250" y="17835"/>
                    <a:pt x="250" y="17835"/>
                    <a:pt x="250" y="17835"/>
                  </a:cubicBezTo>
                  <a:cubicBezTo>
                    <a:pt x="499" y="17637"/>
                    <a:pt x="499" y="17637"/>
                    <a:pt x="499" y="17637"/>
                  </a:cubicBezTo>
                  <a:cubicBezTo>
                    <a:pt x="749" y="17835"/>
                    <a:pt x="749" y="17835"/>
                    <a:pt x="749" y="17835"/>
                  </a:cubicBezTo>
                  <a:cubicBezTo>
                    <a:pt x="1124" y="17637"/>
                    <a:pt x="1124" y="17637"/>
                    <a:pt x="1124" y="17637"/>
                  </a:cubicBezTo>
                  <a:cubicBezTo>
                    <a:pt x="1124" y="17637"/>
                    <a:pt x="1124" y="17439"/>
                    <a:pt x="1249" y="17240"/>
                  </a:cubicBezTo>
                  <a:cubicBezTo>
                    <a:pt x="1373" y="17042"/>
                    <a:pt x="1498" y="17042"/>
                    <a:pt x="1498" y="17042"/>
                  </a:cubicBezTo>
                  <a:cubicBezTo>
                    <a:pt x="1623" y="16646"/>
                    <a:pt x="1623" y="16646"/>
                    <a:pt x="1623" y="16646"/>
                  </a:cubicBezTo>
                  <a:cubicBezTo>
                    <a:pt x="1498" y="16646"/>
                    <a:pt x="1498" y="16646"/>
                    <a:pt x="1498" y="16646"/>
                  </a:cubicBezTo>
                  <a:cubicBezTo>
                    <a:pt x="1498" y="16250"/>
                    <a:pt x="1498" y="16250"/>
                    <a:pt x="1498" y="16250"/>
                  </a:cubicBezTo>
                  <a:cubicBezTo>
                    <a:pt x="1249" y="16051"/>
                    <a:pt x="1249" y="16051"/>
                    <a:pt x="1249" y="16051"/>
                  </a:cubicBezTo>
                  <a:cubicBezTo>
                    <a:pt x="1249" y="16051"/>
                    <a:pt x="1249" y="15853"/>
                    <a:pt x="1249" y="15853"/>
                  </a:cubicBezTo>
                  <a:cubicBezTo>
                    <a:pt x="1373" y="15655"/>
                    <a:pt x="1498" y="15259"/>
                    <a:pt x="1498" y="15259"/>
                  </a:cubicBezTo>
                  <a:cubicBezTo>
                    <a:pt x="1873" y="15061"/>
                    <a:pt x="1873" y="15061"/>
                    <a:pt x="1873" y="15061"/>
                  </a:cubicBezTo>
                  <a:cubicBezTo>
                    <a:pt x="2247" y="14862"/>
                    <a:pt x="2247" y="14862"/>
                    <a:pt x="2247" y="14862"/>
                  </a:cubicBezTo>
                  <a:cubicBezTo>
                    <a:pt x="2372" y="14664"/>
                    <a:pt x="2372" y="14664"/>
                    <a:pt x="2372" y="14664"/>
                  </a:cubicBezTo>
                  <a:cubicBezTo>
                    <a:pt x="2622" y="14466"/>
                    <a:pt x="2622" y="14466"/>
                    <a:pt x="2622" y="14466"/>
                  </a:cubicBezTo>
                  <a:cubicBezTo>
                    <a:pt x="2622" y="14466"/>
                    <a:pt x="2997" y="14466"/>
                    <a:pt x="2997" y="14466"/>
                  </a:cubicBezTo>
                  <a:cubicBezTo>
                    <a:pt x="2997" y="14466"/>
                    <a:pt x="3496" y="14466"/>
                    <a:pt x="3496" y="14466"/>
                  </a:cubicBezTo>
                  <a:lnTo>
                    <a:pt x="3871" y="14862"/>
                  </a:ln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2" name="Shape 2235">
              <a:extLst>
                <a:ext uri="{FF2B5EF4-FFF2-40B4-BE49-F238E27FC236}">
                  <a16:creationId xmlns:a16="http://schemas.microsoft.com/office/drawing/2014/main" id="{A1DCBF57-AB3A-535A-E348-489B648A5A70}"/>
                </a:ext>
              </a:extLst>
            </p:cNvPr>
            <p:cNvSpPr/>
            <p:nvPr/>
          </p:nvSpPr>
          <p:spPr>
            <a:xfrm>
              <a:off x="5016686" y="3315076"/>
              <a:ext cx="894773" cy="535810"/>
            </a:xfrm>
            <a:custGeom>
              <a:avLst/>
              <a:gdLst/>
              <a:ahLst/>
              <a:cxnLst>
                <a:cxn ang="0">
                  <a:pos x="wd2" y="hd2"/>
                </a:cxn>
                <a:cxn ang="5400000">
                  <a:pos x="wd2" y="hd2"/>
                </a:cxn>
                <a:cxn ang="10800000">
                  <a:pos x="wd2" y="hd2"/>
                </a:cxn>
                <a:cxn ang="16200000">
                  <a:pos x="wd2" y="hd2"/>
                </a:cxn>
              </a:cxnLst>
              <a:rect l="0" t="0" r="r" b="b"/>
              <a:pathLst>
                <a:path w="21600" h="21600" extrusionOk="0">
                  <a:moveTo>
                    <a:pt x="1891" y="7254"/>
                  </a:moveTo>
                  <a:cubicBezTo>
                    <a:pt x="2389" y="6448"/>
                    <a:pt x="2389" y="6448"/>
                    <a:pt x="2389" y="6448"/>
                  </a:cubicBezTo>
                  <a:cubicBezTo>
                    <a:pt x="2389" y="6448"/>
                    <a:pt x="2986" y="5642"/>
                    <a:pt x="3086" y="5642"/>
                  </a:cubicBezTo>
                  <a:cubicBezTo>
                    <a:pt x="3285" y="5481"/>
                    <a:pt x="3583" y="5158"/>
                    <a:pt x="3583" y="5319"/>
                  </a:cubicBezTo>
                  <a:cubicBezTo>
                    <a:pt x="3583" y="5481"/>
                    <a:pt x="3683" y="6609"/>
                    <a:pt x="3683" y="6609"/>
                  </a:cubicBezTo>
                  <a:cubicBezTo>
                    <a:pt x="4181" y="6931"/>
                    <a:pt x="4181" y="6931"/>
                    <a:pt x="4181" y="6931"/>
                  </a:cubicBezTo>
                  <a:cubicBezTo>
                    <a:pt x="4579" y="7415"/>
                    <a:pt x="4579" y="7415"/>
                    <a:pt x="4579" y="7415"/>
                  </a:cubicBezTo>
                  <a:cubicBezTo>
                    <a:pt x="5375" y="8060"/>
                    <a:pt x="5375" y="8060"/>
                    <a:pt x="5375" y="8060"/>
                  </a:cubicBezTo>
                  <a:cubicBezTo>
                    <a:pt x="5475" y="8543"/>
                    <a:pt x="5475" y="8543"/>
                    <a:pt x="5475" y="8543"/>
                  </a:cubicBezTo>
                  <a:cubicBezTo>
                    <a:pt x="5475" y="8543"/>
                    <a:pt x="5375" y="8866"/>
                    <a:pt x="5574" y="9349"/>
                  </a:cubicBezTo>
                  <a:cubicBezTo>
                    <a:pt x="5873" y="9833"/>
                    <a:pt x="5972" y="9833"/>
                    <a:pt x="6072" y="10316"/>
                  </a:cubicBezTo>
                  <a:cubicBezTo>
                    <a:pt x="6171" y="10639"/>
                    <a:pt x="6570" y="10961"/>
                    <a:pt x="6570" y="10961"/>
                  </a:cubicBezTo>
                  <a:cubicBezTo>
                    <a:pt x="7067" y="11122"/>
                    <a:pt x="7067" y="11122"/>
                    <a:pt x="7067" y="11122"/>
                  </a:cubicBezTo>
                  <a:cubicBezTo>
                    <a:pt x="7067" y="11122"/>
                    <a:pt x="7565" y="11445"/>
                    <a:pt x="7665" y="11284"/>
                  </a:cubicBezTo>
                  <a:cubicBezTo>
                    <a:pt x="7764" y="11122"/>
                    <a:pt x="8262" y="10478"/>
                    <a:pt x="8262" y="10316"/>
                  </a:cubicBezTo>
                  <a:cubicBezTo>
                    <a:pt x="8361" y="10155"/>
                    <a:pt x="8660" y="9510"/>
                    <a:pt x="8759" y="9349"/>
                  </a:cubicBezTo>
                  <a:cubicBezTo>
                    <a:pt x="8859" y="9188"/>
                    <a:pt x="9158" y="8060"/>
                    <a:pt x="9158" y="7899"/>
                  </a:cubicBezTo>
                  <a:cubicBezTo>
                    <a:pt x="9158" y="7576"/>
                    <a:pt x="8759" y="6287"/>
                    <a:pt x="8660" y="5964"/>
                  </a:cubicBezTo>
                  <a:cubicBezTo>
                    <a:pt x="8660" y="5642"/>
                    <a:pt x="8560" y="4675"/>
                    <a:pt x="8560" y="4675"/>
                  </a:cubicBezTo>
                  <a:cubicBezTo>
                    <a:pt x="8162" y="3385"/>
                    <a:pt x="8162" y="3385"/>
                    <a:pt x="8162" y="3385"/>
                  </a:cubicBezTo>
                  <a:cubicBezTo>
                    <a:pt x="8162" y="3385"/>
                    <a:pt x="8162" y="2579"/>
                    <a:pt x="8262" y="2579"/>
                  </a:cubicBezTo>
                  <a:cubicBezTo>
                    <a:pt x="8361" y="2418"/>
                    <a:pt x="8859" y="1773"/>
                    <a:pt x="8859" y="1773"/>
                  </a:cubicBezTo>
                  <a:cubicBezTo>
                    <a:pt x="9357" y="967"/>
                    <a:pt x="9357" y="967"/>
                    <a:pt x="9357" y="967"/>
                  </a:cubicBezTo>
                  <a:cubicBezTo>
                    <a:pt x="9854" y="484"/>
                    <a:pt x="9854" y="484"/>
                    <a:pt x="9854" y="484"/>
                  </a:cubicBezTo>
                  <a:cubicBezTo>
                    <a:pt x="10253" y="0"/>
                    <a:pt x="10253" y="0"/>
                    <a:pt x="10253" y="0"/>
                  </a:cubicBezTo>
                  <a:cubicBezTo>
                    <a:pt x="10750" y="322"/>
                    <a:pt x="10750" y="322"/>
                    <a:pt x="10750" y="322"/>
                  </a:cubicBezTo>
                  <a:cubicBezTo>
                    <a:pt x="11148" y="322"/>
                    <a:pt x="11148" y="322"/>
                    <a:pt x="11148" y="322"/>
                  </a:cubicBezTo>
                  <a:cubicBezTo>
                    <a:pt x="11547" y="645"/>
                    <a:pt x="11547" y="645"/>
                    <a:pt x="11547" y="645"/>
                  </a:cubicBezTo>
                  <a:cubicBezTo>
                    <a:pt x="12044" y="645"/>
                    <a:pt x="12044" y="645"/>
                    <a:pt x="12044" y="645"/>
                  </a:cubicBezTo>
                  <a:cubicBezTo>
                    <a:pt x="12442" y="806"/>
                    <a:pt x="12442" y="806"/>
                    <a:pt x="12442" y="806"/>
                  </a:cubicBezTo>
                  <a:cubicBezTo>
                    <a:pt x="12940" y="1128"/>
                    <a:pt x="12940" y="1128"/>
                    <a:pt x="12940" y="1128"/>
                  </a:cubicBezTo>
                  <a:cubicBezTo>
                    <a:pt x="13836" y="2096"/>
                    <a:pt x="13836" y="2096"/>
                    <a:pt x="13836" y="2096"/>
                  </a:cubicBezTo>
                  <a:cubicBezTo>
                    <a:pt x="14135" y="2740"/>
                    <a:pt x="14135" y="2740"/>
                    <a:pt x="14135" y="2740"/>
                  </a:cubicBezTo>
                  <a:cubicBezTo>
                    <a:pt x="14433" y="2901"/>
                    <a:pt x="14433" y="2901"/>
                    <a:pt x="14433" y="2901"/>
                  </a:cubicBezTo>
                  <a:cubicBezTo>
                    <a:pt x="14433" y="2901"/>
                    <a:pt x="14632" y="3224"/>
                    <a:pt x="14831" y="3063"/>
                  </a:cubicBezTo>
                  <a:cubicBezTo>
                    <a:pt x="14931" y="3063"/>
                    <a:pt x="15030" y="2901"/>
                    <a:pt x="15130" y="2740"/>
                  </a:cubicBezTo>
                  <a:cubicBezTo>
                    <a:pt x="15329" y="2579"/>
                    <a:pt x="15429" y="2257"/>
                    <a:pt x="15429" y="2257"/>
                  </a:cubicBezTo>
                  <a:cubicBezTo>
                    <a:pt x="15628" y="2257"/>
                    <a:pt x="15628" y="2257"/>
                    <a:pt x="15628" y="2257"/>
                  </a:cubicBezTo>
                  <a:cubicBezTo>
                    <a:pt x="15827" y="1773"/>
                    <a:pt x="15827" y="1773"/>
                    <a:pt x="15827" y="1773"/>
                  </a:cubicBezTo>
                  <a:cubicBezTo>
                    <a:pt x="16623" y="2096"/>
                    <a:pt x="16623" y="2096"/>
                    <a:pt x="16623" y="2096"/>
                  </a:cubicBezTo>
                  <a:cubicBezTo>
                    <a:pt x="17021" y="2096"/>
                    <a:pt x="17021" y="2096"/>
                    <a:pt x="17021" y="2096"/>
                  </a:cubicBezTo>
                  <a:cubicBezTo>
                    <a:pt x="17618" y="1773"/>
                    <a:pt x="17618" y="1773"/>
                    <a:pt x="17618" y="1773"/>
                  </a:cubicBezTo>
                  <a:cubicBezTo>
                    <a:pt x="17917" y="2257"/>
                    <a:pt x="17917" y="2257"/>
                    <a:pt x="17917" y="2257"/>
                  </a:cubicBezTo>
                  <a:cubicBezTo>
                    <a:pt x="17917" y="2740"/>
                    <a:pt x="17917" y="2740"/>
                    <a:pt x="17917" y="2740"/>
                  </a:cubicBezTo>
                  <a:cubicBezTo>
                    <a:pt x="18315" y="2901"/>
                    <a:pt x="18315" y="2901"/>
                    <a:pt x="18315" y="2901"/>
                  </a:cubicBezTo>
                  <a:cubicBezTo>
                    <a:pt x="18315" y="2901"/>
                    <a:pt x="18614" y="3224"/>
                    <a:pt x="18713" y="3224"/>
                  </a:cubicBezTo>
                  <a:cubicBezTo>
                    <a:pt x="18813" y="3224"/>
                    <a:pt x="19012" y="3385"/>
                    <a:pt x="19012" y="3385"/>
                  </a:cubicBezTo>
                  <a:cubicBezTo>
                    <a:pt x="19112" y="4997"/>
                    <a:pt x="19112" y="4997"/>
                    <a:pt x="19112" y="4997"/>
                  </a:cubicBezTo>
                  <a:cubicBezTo>
                    <a:pt x="18912" y="5481"/>
                    <a:pt x="18912" y="5481"/>
                    <a:pt x="18912" y="5481"/>
                  </a:cubicBezTo>
                  <a:cubicBezTo>
                    <a:pt x="19112" y="6770"/>
                    <a:pt x="19112" y="6770"/>
                    <a:pt x="19112" y="6770"/>
                  </a:cubicBezTo>
                  <a:cubicBezTo>
                    <a:pt x="19112" y="7415"/>
                    <a:pt x="19112" y="7415"/>
                    <a:pt x="19112" y="7415"/>
                  </a:cubicBezTo>
                  <a:cubicBezTo>
                    <a:pt x="19510" y="6931"/>
                    <a:pt x="19510" y="6931"/>
                    <a:pt x="19510" y="6931"/>
                  </a:cubicBezTo>
                  <a:cubicBezTo>
                    <a:pt x="19908" y="7415"/>
                    <a:pt x="19908" y="7415"/>
                    <a:pt x="19908" y="7415"/>
                  </a:cubicBezTo>
                  <a:cubicBezTo>
                    <a:pt x="19709" y="7899"/>
                    <a:pt x="19709" y="7899"/>
                    <a:pt x="19709" y="7899"/>
                  </a:cubicBezTo>
                  <a:cubicBezTo>
                    <a:pt x="20206" y="8543"/>
                    <a:pt x="20206" y="8543"/>
                    <a:pt x="20206" y="8543"/>
                  </a:cubicBezTo>
                  <a:cubicBezTo>
                    <a:pt x="20605" y="8866"/>
                    <a:pt x="20605" y="8866"/>
                    <a:pt x="20605" y="8866"/>
                  </a:cubicBezTo>
                  <a:cubicBezTo>
                    <a:pt x="20505" y="9349"/>
                    <a:pt x="20505" y="9349"/>
                    <a:pt x="20505" y="9349"/>
                  </a:cubicBezTo>
                  <a:cubicBezTo>
                    <a:pt x="20505" y="9349"/>
                    <a:pt x="20605" y="9510"/>
                    <a:pt x="20704" y="9510"/>
                  </a:cubicBezTo>
                  <a:cubicBezTo>
                    <a:pt x="20804" y="9672"/>
                    <a:pt x="21003" y="9833"/>
                    <a:pt x="21003" y="9833"/>
                  </a:cubicBezTo>
                  <a:cubicBezTo>
                    <a:pt x="21003" y="9833"/>
                    <a:pt x="21102" y="10316"/>
                    <a:pt x="21102" y="10639"/>
                  </a:cubicBezTo>
                  <a:cubicBezTo>
                    <a:pt x="21202" y="10800"/>
                    <a:pt x="21600" y="11284"/>
                    <a:pt x="21600" y="11284"/>
                  </a:cubicBezTo>
                  <a:cubicBezTo>
                    <a:pt x="21500" y="12090"/>
                    <a:pt x="21500" y="12090"/>
                    <a:pt x="21500" y="12090"/>
                  </a:cubicBezTo>
                  <a:cubicBezTo>
                    <a:pt x="21500" y="12090"/>
                    <a:pt x="21500" y="12412"/>
                    <a:pt x="21500" y="12573"/>
                  </a:cubicBezTo>
                  <a:cubicBezTo>
                    <a:pt x="21500" y="12734"/>
                    <a:pt x="21500" y="12896"/>
                    <a:pt x="21500" y="13057"/>
                  </a:cubicBezTo>
                  <a:cubicBezTo>
                    <a:pt x="21500" y="12896"/>
                    <a:pt x="21500" y="12896"/>
                    <a:pt x="21500" y="12896"/>
                  </a:cubicBezTo>
                  <a:cubicBezTo>
                    <a:pt x="21003" y="13379"/>
                    <a:pt x="21003" y="13379"/>
                    <a:pt x="21003" y="13379"/>
                  </a:cubicBezTo>
                  <a:cubicBezTo>
                    <a:pt x="20903" y="14507"/>
                    <a:pt x="20903" y="14507"/>
                    <a:pt x="20903" y="14507"/>
                  </a:cubicBezTo>
                  <a:cubicBezTo>
                    <a:pt x="20406" y="15313"/>
                    <a:pt x="20406" y="15313"/>
                    <a:pt x="20406" y="15313"/>
                  </a:cubicBezTo>
                  <a:cubicBezTo>
                    <a:pt x="20605" y="16119"/>
                    <a:pt x="20605" y="16119"/>
                    <a:pt x="20605" y="16119"/>
                  </a:cubicBezTo>
                  <a:cubicBezTo>
                    <a:pt x="20406" y="16603"/>
                    <a:pt x="20406" y="16603"/>
                    <a:pt x="20406" y="16603"/>
                  </a:cubicBezTo>
                  <a:cubicBezTo>
                    <a:pt x="19609" y="16603"/>
                    <a:pt x="19609" y="16603"/>
                    <a:pt x="19609" y="16603"/>
                  </a:cubicBezTo>
                  <a:cubicBezTo>
                    <a:pt x="19609" y="16603"/>
                    <a:pt x="19510" y="16603"/>
                    <a:pt x="19112" y="16603"/>
                  </a:cubicBezTo>
                  <a:cubicBezTo>
                    <a:pt x="18713" y="16603"/>
                    <a:pt x="18813" y="16603"/>
                    <a:pt x="18813" y="16603"/>
                  </a:cubicBezTo>
                  <a:cubicBezTo>
                    <a:pt x="18514" y="17087"/>
                    <a:pt x="18514" y="17087"/>
                    <a:pt x="18514" y="17087"/>
                  </a:cubicBezTo>
                  <a:cubicBezTo>
                    <a:pt x="18415" y="18054"/>
                    <a:pt x="18415" y="18054"/>
                    <a:pt x="18415" y="18054"/>
                  </a:cubicBezTo>
                  <a:cubicBezTo>
                    <a:pt x="18415" y="18054"/>
                    <a:pt x="18216" y="18054"/>
                    <a:pt x="17818" y="18215"/>
                  </a:cubicBezTo>
                  <a:cubicBezTo>
                    <a:pt x="17618" y="18376"/>
                    <a:pt x="17618" y="18537"/>
                    <a:pt x="17618" y="18537"/>
                  </a:cubicBezTo>
                  <a:cubicBezTo>
                    <a:pt x="17618" y="18537"/>
                    <a:pt x="17618" y="18537"/>
                    <a:pt x="17618" y="18537"/>
                  </a:cubicBezTo>
                  <a:cubicBezTo>
                    <a:pt x="17320" y="18537"/>
                    <a:pt x="17320" y="18537"/>
                    <a:pt x="17320" y="18537"/>
                  </a:cubicBezTo>
                  <a:cubicBezTo>
                    <a:pt x="16822" y="18376"/>
                    <a:pt x="16822" y="18376"/>
                    <a:pt x="16822" y="18376"/>
                  </a:cubicBezTo>
                  <a:cubicBezTo>
                    <a:pt x="16424" y="18376"/>
                    <a:pt x="16424" y="18376"/>
                    <a:pt x="16424" y="18376"/>
                  </a:cubicBezTo>
                  <a:cubicBezTo>
                    <a:pt x="16225" y="17731"/>
                    <a:pt x="16225" y="17731"/>
                    <a:pt x="16225" y="17731"/>
                  </a:cubicBezTo>
                  <a:cubicBezTo>
                    <a:pt x="15926" y="17570"/>
                    <a:pt x="15926" y="17570"/>
                    <a:pt x="15926" y="17570"/>
                  </a:cubicBezTo>
                  <a:cubicBezTo>
                    <a:pt x="15628" y="16925"/>
                    <a:pt x="15628" y="16925"/>
                    <a:pt x="15628" y="16925"/>
                  </a:cubicBezTo>
                  <a:cubicBezTo>
                    <a:pt x="15229" y="16764"/>
                    <a:pt x="15229" y="16764"/>
                    <a:pt x="15229" y="16764"/>
                  </a:cubicBezTo>
                  <a:cubicBezTo>
                    <a:pt x="15030" y="16281"/>
                    <a:pt x="15030" y="16281"/>
                    <a:pt x="15030" y="16281"/>
                  </a:cubicBezTo>
                  <a:cubicBezTo>
                    <a:pt x="14533" y="16281"/>
                    <a:pt x="14533" y="16281"/>
                    <a:pt x="14533" y="16281"/>
                  </a:cubicBezTo>
                  <a:cubicBezTo>
                    <a:pt x="14234" y="15958"/>
                    <a:pt x="14234" y="15958"/>
                    <a:pt x="14234" y="15958"/>
                  </a:cubicBezTo>
                  <a:cubicBezTo>
                    <a:pt x="14135" y="15636"/>
                    <a:pt x="14135" y="15636"/>
                    <a:pt x="14135" y="15636"/>
                  </a:cubicBezTo>
                  <a:cubicBezTo>
                    <a:pt x="13836" y="15636"/>
                    <a:pt x="13836" y="15636"/>
                    <a:pt x="13836" y="15636"/>
                  </a:cubicBezTo>
                  <a:cubicBezTo>
                    <a:pt x="13438" y="15797"/>
                    <a:pt x="13438" y="15797"/>
                    <a:pt x="13438" y="15797"/>
                  </a:cubicBezTo>
                  <a:cubicBezTo>
                    <a:pt x="12741" y="16119"/>
                    <a:pt x="12741" y="16119"/>
                    <a:pt x="12741" y="16119"/>
                  </a:cubicBezTo>
                  <a:cubicBezTo>
                    <a:pt x="12343" y="15636"/>
                    <a:pt x="12343" y="15636"/>
                    <a:pt x="12343" y="15636"/>
                  </a:cubicBezTo>
                  <a:cubicBezTo>
                    <a:pt x="12243" y="15475"/>
                    <a:pt x="12243" y="15475"/>
                    <a:pt x="12243" y="15475"/>
                  </a:cubicBezTo>
                  <a:cubicBezTo>
                    <a:pt x="11845" y="14991"/>
                    <a:pt x="11845" y="14991"/>
                    <a:pt x="11845" y="14991"/>
                  </a:cubicBezTo>
                  <a:cubicBezTo>
                    <a:pt x="11646" y="14024"/>
                    <a:pt x="11646" y="14024"/>
                    <a:pt x="11646" y="14024"/>
                  </a:cubicBezTo>
                  <a:cubicBezTo>
                    <a:pt x="11646" y="14024"/>
                    <a:pt x="11248" y="14507"/>
                    <a:pt x="11148" y="14507"/>
                  </a:cubicBezTo>
                  <a:cubicBezTo>
                    <a:pt x="11148" y="14507"/>
                    <a:pt x="10850" y="15313"/>
                    <a:pt x="10850" y="15313"/>
                  </a:cubicBezTo>
                  <a:cubicBezTo>
                    <a:pt x="10750" y="15958"/>
                    <a:pt x="10750" y="15958"/>
                    <a:pt x="10750" y="15958"/>
                  </a:cubicBezTo>
                  <a:cubicBezTo>
                    <a:pt x="10153" y="15636"/>
                    <a:pt x="10153" y="15636"/>
                    <a:pt x="10153" y="15636"/>
                  </a:cubicBezTo>
                  <a:cubicBezTo>
                    <a:pt x="10153" y="15636"/>
                    <a:pt x="9854" y="16281"/>
                    <a:pt x="9854" y="16442"/>
                  </a:cubicBezTo>
                  <a:cubicBezTo>
                    <a:pt x="9755" y="16442"/>
                    <a:pt x="9357" y="16119"/>
                    <a:pt x="9357" y="16119"/>
                  </a:cubicBezTo>
                  <a:cubicBezTo>
                    <a:pt x="8759" y="16119"/>
                    <a:pt x="8759" y="16119"/>
                    <a:pt x="8759" y="16119"/>
                  </a:cubicBezTo>
                  <a:cubicBezTo>
                    <a:pt x="8759" y="16119"/>
                    <a:pt x="8162" y="16119"/>
                    <a:pt x="8063" y="15958"/>
                  </a:cubicBezTo>
                  <a:cubicBezTo>
                    <a:pt x="7963" y="15958"/>
                    <a:pt x="7963" y="16119"/>
                    <a:pt x="7963" y="16119"/>
                  </a:cubicBezTo>
                  <a:cubicBezTo>
                    <a:pt x="7465" y="16281"/>
                    <a:pt x="7465" y="16281"/>
                    <a:pt x="7465" y="16281"/>
                  </a:cubicBezTo>
                  <a:cubicBezTo>
                    <a:pt x="6868" y="16442"/>
                    <a:pt x="6868" y="16442"/>
                    <a:pt x="6868" y="16442"/>
                  </a:cubicBezTo>
                  <a:cubicBezTo>
                    <a:pt x="6868" y="16442"/>
                    <a:pt x="6769" y="17087"/>
                    <a:pt x="6669" y="17248"/>
                  </a:cubicBezTo>
                  <a:cubicBezTo>
                    <a:pt x="6570" y="17248"/>
                    <a:pt x="6271" y="16764"/>
                    <a:pt x="6171" y="16603"/>
                  </a:cubicBezTo>
                  <a:cubicBezTo>
                    <a:pt x="6171" y="16442"/>
                    <a:pt x="5873" y="16281"/>
                    <a:pt x="5873" y="16281"/>
                  </a:cubicBezTo>
                  <a:cubicBezTo>
                    <a:pt x="5475" y="16764"/>
                    <a:pt x="5475" y="16764"/>
                    <a:pt x="5475" y="16764"/>
                  </a:cubicBezTo>
                  <a:cubicBezTo>
                    <a:pt x="5475" y="16764"/>
                    <a:pt x="4778" y="16925"/>
                    <a:pt x="4678" y="16925"/>
                  </a:cubicBezTo>
                  <a:cubicBezTo>
                    <a:pt x="4579" y="16925"/>
                    <a:pt x="4081" y="17248"/>
                    <a:pt x="4081" y="17248"/>
                  </a:cubicBezTo>
                  <a:cubicBezTo>
                    <a:pt x="3384" y="17087"/>
                    <a:pt x="3384" y="17087"/>
                    <a:pt x="3384" y="17087"/>
                  </a:cubicBezTo>
                  <a:cubicBezTo>
                    <a:pt x="3086" y="17570"/>
                    <a:pt x="3086" y="17570"/>
                    <a:pt x="3086" y="17570"/>
                  </a:cubicBezTo>
                  <a:cubicBezTo>
                    <a:pt x="2488" y="18215"/>
                    <a:pt x="2488" y="18215"/>
                    <a:pt x="2488" y="18215"/>
                  </a:cubicBezTo>
                  <a:cubicBezTo>
                    <a:pt x="2090" y="18215"/>
                    <a:pt x="2090" y="18215"/>
                    <a:pt x="2090" y="18215"/>
                  </a:cubicBezTo>
                  <a:cubicBezTo>
                    <a:pt x="1891" y="19021"/>
                    <a:pt x="1891" y="19021"/>
                    <a:pt x="1891" y="19021"/>
                  </a:cubicBezTo>
                  <a:cubicBezTo>
                    <a:pt x="1493" y="19343"/>
                    <a:pt x="1493" y="19343"/>
                    <a:pt x="1493" y="19343"/>
                  </a:cubicBezTo>
                  <a:cubicBezTo>
                    <a:pt x="1394" y="19666"/>
                    <a:pt x="1394" y="19666"/>
                    <a:pt x="1394" y="19666"/>
                  </a:cubicBezTo>
                  <a:cubicBezTo>
                    <a:pt x="1294" y="20633"/>
                    <a:pt x="1294" y="20633"/>
                    <a:pt x="1294" y="20633"/>
                  </a:cubicBezTo>
                  <a:cubicBezTo>
                    <a:pt x="1294" y="20633"/>
                    <a:pt x="995" y="20794"/>
                    <a:pt x="796" y="20794"/>
                  </a:cubicBezTo>
                  <a:cubicBezTo>
                    <a:pt x="697" y="20955"/>
                    <a:pt x="896" y="21116"/>
                    <a:pt x="896" y="21116"/>
                  </a:cubicBezTo>
                  <a:cubicBezTo>
                    <a:pt x="796" y="21600"/>
                    <a:pt x="796" y="21600"/>
                    <a:pt x="796" y="21600"/>
                  </a:cubicBezTo>
                  <a:cubicBezTo>
                    <a:pt x="796" y="21600"/>
                    <a:pt x="697" y="21439"/>
                    <a:pt x="697" y="21439"/>
                  </a:cubicBezTo>
                  <a:cubicBezTo>
                    <a:pt x="697" y="21439"/>
                    <a:pt x="597" y="20955"/>
                    <a:pt x="498" y="20633"/>
                  </a:cubicBezTo>
                  <a:cubicBezTo>
                    <a:pt x="299" y="20310"/>
                    <a:pt x="100" y="18860"/>
                    <a:pt x="100" y="18860"/>
                  </a:cubicBezTo>
                  <a:cubicBezTo>
                    <a:pt x="299" y="18215"/>
                    <a:pt x="299" y="18215"/>
                    <a:pt x="299" y="18215"/>
                  </a:cubicBezTo>
                  <a:cubicBezTo>
                    <a:pt x="299" y="18215"/>
                    <a:pt x="299" y="17570"/>
                    <a:pt x="299" y="17409"/>
                  </a:cubicBezTo>
                  <a:cubicBezTo>
                    <a:pt x="199" y="17087"/>
                    <a:pt x="100" y="15636"/>
                    <a:pt x="100" y="15636"/>
                  </a:cubicBezTo>
                  <a:cubicBezTo>
                    <a:pt x="100" y="15636"/>
                    <a:pt x="0" y="14991"/>
                    <a:pt x="0" y="14830"/>
                  </a:cubicBezTo>
                  <a:cubicBezTo>
                    <a:pt x="0" y="14669"/>
                    <a:pt x="697" y="13379"/>
                    <a:pt x="697" y="13379"/>
                  </a:cubicBezTo>
                  <a:cubicBezTo>
                    <a:pt x="697" y="13218"/>
                    <a:pt x="796" y="11928"/>
                    <a:pt x="796" y="11928"/>
                  </a:cubicBezTo>
                  <a:cubicBezTo>
                    <a:pt x="597" y="10961"/>
                    <a:pt x="597" y="10961"/>
                    <a:pt x="597" y="10961"/>
                  </a:cubicBezTo>
                  <a:cubicBezTo>
                    <a:pt x="796" y="9672"/>
                    <a:pt x="796" y="9672"/>
                    <a:pt x="796" y="9672"/>
                  </a:cubicBezTo>
                  <a:cubicBezTo>
                    <a:pt x="995" y="8221"/>
                    <a:pt x="995" y="8221"/>
                    <a:pt x="995" y="8221"/>
                  </a:cubicBezTo>
                  <a:cubicBezTo>
                    <a:pt x="995" y="8221"/>
                    <a:pt x="1095" y="7576"/>
                    <a:pt x="1194" y="7576"/>
                  </a:cubicBezTo>
                  <a:cubicBezTo>
                    <a:pt x="1294" y="7415"/>
                    <a:pt x="1891" y="7254"/>
                    <a:pt x="1891" y="7254"/>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3" name="Shape 2236">
              <a:extLst>
                <a:ext uri="{FF2B5EF4-FFF2-40B4-BE49-F238E27FC236}">
                  <a16:creationId xmlns:a16="http://schemas.microsoft.com/office/drawing/2014/main" id="{0ADFF188-ED83-A2E5-128D-B1825E53D7EB}"/>
                </a:ext>
              </a:extLst>
            </p:cNvPr>
            <p:cNvSpPr/>
            <p:nvPr/>
          </p:nvSpPr>
          <p:spPr>
            <a:xfrm>
              <a:off x="4620997" y="6209988"/>
              <a:ext cx="647916" cy="557011"/>
            </a:xfrm>
            <a:custGeom>
              <a:avLst/>
              <a:gdLst/>
              <a:ahLst/>
              <a:cxnLst>
                <a:cxn ang="0">
                  <a:pos x="wd2" y="hd2"/>
                </a:cxn>
                <a:cxn ang="5400000">
                  <a:pos x="wd2" y="hd2"/>
                </a:cxn>
                <a:cxn ang="10800000">
                  <a:pos x="wd2" y="hd2"/>
                </a:cxn>
                <a:cxn ang="16200000">
                  <a:pos x="wd2" y="hd2"/>
                </a:cxn>
              </a:cxnLst>
              <a:rect l="0" t="0" r="r" b="b"/>
              <a:pathLst>
                <a:path w="21524" h="21600" extrusionOk="0">
                  <a:moveTo>
                    <a:pt x="19823" y="12898"/>
                  </a:moveTo>
                  <a:cubicBezTo>
                    <a:pt x="19959" y="12898"/>
                    <a:pt x="19959" y="12898"/>
                    <a:pt x="19959" y="12898"/>
                  </a:cubicBezTo>
                  <a:cubicBezTo>
                    <a:pt x="19959" y="12898"/>
                    <a:pt x="19959" y="12898"/>
                    <a:pt x="19959" y="12898"/>
                  </a:cubicBezTo>
                  <a:cubicBezTo>
                    <a:pt x="19823" y="12898"/>
                    <a:pt x="19823" y="12898"/>
                    <a:pt x="19823" y="12898"/>
                  </a:cubicBezTo>
                  <a:close/>
                  <a:moveTo>
                    <a:pt x="18046" y="1399"/>
                  </a:moveTo>
                  <a:cubicBezTo>
                    <a:pt x="18046" y="1399"/>
                    <a:pt x="18046" y="1399"/>
                    <a:pt x="18046" y="1399"/>
                  </a:cubicBezTo>
                  <a:cubicBezTo>
                    <a:pt x="18866" y="1554"/>
                    <a:pt x="18866" y="1554"/>
                    <a:pt x="18866" y="1554"/>
                  </a:cubicBezTo>
                  <a:cubicBezTo>
                    <a:pt x="19276" y="1709"/>
                    <a:pt x="19276" y="1709"/>
                    <a:pt x="19276" y="1709"/>
                  </a:cubicBezTo>
                  <a:cubicBezTo>
                    <a:pt x="19276" y="2176"/>
                    <a:pt x="19276" y="2176"/>
                    <a:pt x="19276" y="2176"/>
                  </a:cubicBezTo>
                  <a:cubicBezTo>
                    <a:pt x="19276" y="2797"/>
                    <a:pt x="19276" y="2797"/>
                    <a:pt x="19276" y="2797"/>
                  </a:cubicBezTo>
                  <a:cubicBezTo>
                    <a:pt x="19276" y="3263"/>
                    <a:pt x="19276" y="3263"/>
                    <a:pt x="19276" y="3263"/>
                  </a:cubicBezTo>
                  <a:cubicBezTo>
                    <a:pt x="18866" y="3885"/>
                    <a:pt x="18866" y="3885"/>
                    <a:pt x="18866" y="3885"/>
                  </a:cubicBezTo>
                  <a:cubicBezTo>
                    <a:pt x="18866" y="3885"/>
                    <a:pt x="18729" y="4351"/>
                    <a:pt x="18729" y="4351"/>
                  </a:cubicBezTo>
                  <a:cubicBezTo>
                    <a:pt x="18729" y="4506"/>
                    <a:pt x="18592" y="4817"/>
                    <a:pt x="18592" y="4817"/>
                  </a:cubicBezTo>
                  <a:cubicBezTo>
                    <a:pt x="18592" y="4817"/>
                    <a:pt x="18319" y="4662"/>
                    <a:pt x="18456" y="5128"/>
                  </a:cubicBezTo>
                  <a:cubicBezTo>
                    <a:pt x="18456" y="5594"/>
                    <a:pt x="18592" y="5439"/>
                    <a:pt x="18592" y="5594"/>
                  </a:cubicBezTo>
                  <a:cubicBezTo>
                    <a:pt x="18592" y="5750"/>
                    <a:pt x="18592" y="6060"/>
                    <a:pt x="18592" y="6216"/>
                  </a:cubicBezTo>
                  <a:cubicBezTo>
                    <a:pt x="18456" y="6371"/>
                    <a:pt x="18592" y="6371"/>
                    <a:pt x="18456" y="6527"/>
                  </a:cubicBezTo>
                  <a:cubicBezTo>
                    <a:pt x="18456" y="6682"/>
                    <a:pt x="18729" y="6837"/>
                    <a:pt x="19003" y="6837"/>
                  </a:cubicBezTo>
                  <a:cubicBezTo>
                    <a:pt x="19276" y="6993"/>
                    <a:pt x="19276" y="6837"/>
                    <a:pt x="19413" y="6837"/>
                  </a:cubicBezTo>
                  <a:cubicBezTo>
                    <a:pt x="19549" y="6837"/>
                    <a:pt x="19686" y="6993"/>
                    <a:pt x="19823" y="6993"/>
                  </a:cubicBezTo>
                  <a:cubicBezTo>
                    <a:pt x="19959" y="7148"/>
                    <a:pt x="19959" y="7148"/>
                    <a:pt x="19959" y="7304"/>
                  </a:cubicBezTo>
                  <a:cubicBezTo>
                    <a:pt x="20096" y="7459"/>
                    <a:pt x="20233" y="7614"/>
                    <a:pt x="20370" y="7770"/>
                  </a:cubicBezTo>
                  <a:cubicBezTo>
                    <a:pt x="20506" y="7770"/>
                    <a:pt x="20506" y="7614"/>
                    <a:pt x="20643" y="7614"/>
                  </a:cubicBezTo>
                  <a:cubicBezTo>
                    <a:pt x="20643" y="7770"/>
                    <a:pt x="20780" y="7925"/>
                    <a:pt x="20916" y="7925"/>
                  </a:cubicBezTo>
                  <a:cubicBezTo>
                    <a:pt x="20916" y="8081"/>
                    <a:pt x="21053" y="8236"/>
                    <a:pt x="21190" y="8236"/>
                  </a:cubicBezTo>
                  <a:cubicBezTo>
                    <a:pt x="21190" y="8236"/>
                    <a:pt x="21463" y="8391"/>
                    <a:pt x="21463" y="8391"/>
                  </a:cubicBezTo>
                  <a:cubicBezTo>
                    <a:pt x="21600" y="8547"/>
                    <a:pt x="21463" y="8702"/>
                    <a:pt x="21463" y="8702"/>
                  </a:cubicBezTo>
                  <a:cubicBezTo>
                    <a:pt x="21327" y="8702"/>
                    <a:pt x="21327" y="9013"/>
                    <a:pt x="21190" y="9013"/>
                  </a:cubicBezTo>
                  <a:cubicBezTo>
                    <a:pt x="21190" y="9013"/>
                    <a:pt x="20780" y="9168"/>
                    <a:pt x="20780" y="9168"/>
                  </a:cubicBezTo>
                  <a:cubicBezTo>
                    <a:pt x="20643" y="9168"/>
                    <a:pt x="20506" y="9168"/>
                    <a:pt x="20370" y="9168"/>
                  </a:cubicBezTo>
                  <a:cubicBezTo>
                    <a:pt x="20233" y="9168"/>
                    <a:pt x="20096" y="9168"/>
                    <a:pt x="19959" y="9013"/>
                  </a:cubicBezTo>
                  <a:cubicBezTo>
                    <a:pt x="19823" y="9013"/>
                    <a:pt x="19823" y="9013"/>
                    <a:pt x="19686" y="9013"/>
                  </a:cubicBezTo>
                  <a:cubicBezTo>
                    <a:pt x="19686" y="9168"/>
                    <a:pt x="19686" y="9479"/>
                    <a:pt x="19686" y="9479"/>
                  </a:cubicBezTo>
                  <a:cubicBezTo>
                    <a:pt x="19686" y="9479"/>
                    <a:pt x="19823" y="9635"/>
                    <a:pt x="19959" y="9790"/>
                  </a:cubicBezTo>
                  <a:cubicBezTo>
                    <a:pt x="19959" y="9790"/>
                    <a:pt x="20233" y="10101"/>
                    <a:pt x="20370" y="10101"/>
                  </a:cubicBezTo>
                  <a:cubicBezTo>
                    <a:pt x="20370" y="10101"/>
                    <a:pt x="20506" y="10256"/>
                    <a:pt x="20643" y="10412"/>
                  </a:cubicBezTo>
                  <a:cubicBezTo>
                    <a:pt x="20780" y="10722"/>
                    <a:pt x="20780" y="10878"/>
                    <a:pt x="20780" y="10878"/>
                  </a:cubicBezTo>
                  <a:cubicBezTo>
                    <a:pt x="21463" y="11499"/>
                    <a:pt x="21463" y="11499"/>
                    <a:pt x="21463" y="11499"/>
                  </a:cubicBezTo>
                  <a:cubicBezTo>
                    <a:pt x="21463" y="11499"/>
                    <a:pt x="21463" y="11655"/>
                    <a:pt x="21463" y="12121"/>
                  </a:cubicBezTo>
                  <a:cubicBezTo>
                    <a:pt x="21463" y="12742"/>
                    <a:pt x="21327" y="12432"/>
                    <a:pt x="21190" y="12432"/>
                  </a:cubicBezTo>
                  <a:cubicBezTo>
                    <a:pt x="21053" y="12432"/>
                    <a:pt x="20916" y="12432"/>
                    <a:pt x="20643" y="12276"/>
                  </a:cubicBezTo>
                  <a:cubicBezTo>
                    <a:pt x="20506" y="12276"/>
                    <a:pt x="20506" y="12276"/>
                    <a:pt x="20506" y="12276"/>
                  </a:cubicBezTo>
                  <a:cubicBezTo>
                    <a:pt x="20233" y="12742"/>
                    <a:pt x="20233" y="12742"/>
                    <a:pt x="20233" y="12742"/>
                  </a:cubicBezTo>
                  <a:cubicBezTo>
                    <a:pt x="20233" y="12742"/>
                    <a:pt x="19959" y="12742"/>
                    <a:pt x="19823" y="12898"/>
                  </a:cubicBezTo>
                  <a:cubicBezTo>
                    <a:pt x="19686" y="12898"/>
                    <a:pt x="19686" y="12898"/>
                    <a:pt x="19686" y="12898"/>
                  </a:cubicBezTo>
                  <a:cubicBezTo>
                    <a:pt x="19686" y="12898"/>
                    <a:pt x="19413" y="13053"/>
                    <a:pt x="19413" y="13053"/>
                  </a:cubicBezTo>
                  <a:cubicBezTo>
                    <a:pt x="19413" y="13053"/>
                    <a:pt x="19276" y="13209"/>
                    <a:pt x="19276" y="13209"/>
                  </a:cubicBezTo>
                  <a:cubicBezTo>
                    <a:pt x="19139" y="13209"/>
                    <a:pt x="19139" y="13209"/>
                    <a:pt x="19139" y="13209"/>
                  </a:cubicBezTo>
                  <a:cubicBezTo>
                    <a:pt x="19003" y="13053"/>
                    <a:pt x="19003" y="13053"/>
                    <a:pt x="19003" y="13053"/>
                  </a:cubicBezTo>
                  <a:cubicBezTo>
                    <a:pt x="18866" y="12898"/>
                    <a:pt x="18866" y="12898"/>
                    <a:pt x="18866" y="12898"/>
                  </a:cubicBezTo>
                  <a:cubicBezTo>
                    <a:pt x="18592" y="13209"/>
                    <a:pt x="18592" y="13209"/>
                    <a:pt x="18592" y="13209"/>
                  </a:cubicBezTo>
                  <a:cubicBezTo>
                    <a:pt x="18456" y="13364"/>
                    <a:pt x="18456" y="13364"/>
                    <a:pt x="18456" y="13364"/>
                  </a:cubicBezTo>
                  <a:cubicBezTo>
                    <a:pt x="18456" y="13364"/>
                    <a:pt x="18456" y="13519"/>
                    <a:pt x="18456" y="13519"/>
                  </a:cubicBezTo>
                  <a:cubicBezTo>
                    <a:pt x="18456" y="13519"/>
                    <a:pt x="18729" y="13519"/>
                    <a:pt x="18729" y="13519"/>
                  </a:cubicBezTo>
                  <a:cubicBezTo>
                    <a:pt x="18729" y="13830"/>
                    <a:pt x="18729" y="13830"/>
                    <a:pt x="18729" y="13830"/>
                  </a:cubicBezTo>
                  <a:cubicBezTo>
                    <a:pt x="18729" y="13830"/>
                    <a:pt x="18729" y="13830"/>
                    <a:pt x="18866" y="13830"/>
                  </a:cubicBezTo>
                  <a:cubicBezTo>
                    <a:pt x="18866" y="13830"/>
                    <a:pt x="19003" y="13986"/>
                    <a:pt x="19003" y="13986"/>
                  </a:cubicBezTo>
                  <a:cubicBezTo>
                    <a:pt x="19139" y="14141"/>
                    <a:pt x="19139" y="14141"/>
                    <a:pt x="19139" y="14141"/>
                  </a:cubicBezTo>
                  <a:cubicBezTo>
                    <a:pt x="19139" y="14452"/>
                    <a:pt x="19139" y="14452"/>
                    <a:pt x="19139" y="14452"/>
                  </a:cubicBezTo>
                  <a:cubicBezTo>
                    <a:pt x="19413" y="14607"/>
                    <a:pt x="19413" y="14607"/>
                    <a:pt x="19413" y="14607"/>
                  </a:cubicBezTo>
                  <a:cubicBezTo>
                    <a:pt x="19413" y="14918"/>
                    <a:pt x="19413" y="14918"/>
                    <a:pt x="19413" y="14918"/>
                  </a:cubicBezTo>
                  <a:cubicBezTo>
                    <a:pt x="19276" y="15073"/>
                    <a:pt x="19276" y="15073"/>
                    <a:pt x="19276" y="15073"/>
                  </a:cubicBezTo>
                  <a:cubicBezTo>
                    <a:pt x="19139" y="15229"/>
                    <a:pt x="19139" y="15229"/>
                    <a:pt x="19139" y="15229"/>
                  </a:cubicBezTo>
                  <a:cubicBezTo>
                    <a:pt x="18866" y="15229"/>
                    <a:pt x="18866" y="15229"/>
                    <a:pt x="18866" y="15229"/>
                  </a:cubicBezTo>
                  <a:cubicBezTo>
                    <a:pt x="18866" y="15073"/>
                    <a:pt x="18866" y="15073"/>
                    <a:pt x="18866" y="15073"/>
                  </a:cubicBezTo>
                  <a:cubicBezTo>
                    <a:pt x="18729" y="14763"/>
                    <a:pt x="18729" y="14763"/>
                    <a:pt x="18729" y="14763"/>
                  </a:cubicBezTo>
                  <a:cubicBezTo>
                    <a:pt x="18592" y="14607"/>
                    <a:pt x="18592" y="14607"/>
                    <a:pt x="18592" y="14607"/>
                  </a:cubicBezTo>
                  <a:cubicBezTo>
                    <a:pt x="18182" y="14763"/>
                    <a:pt x="18182" y="14763"/>
                    <a:pt x="18182" y="14763"/>
                  </a:cubicBezTo>
                  <a:cubicBezTo>
                    <a:pt x="18182" y="15073"/>
                    <a:pt x="18182" y="15073"/>
                    <a:pt x="18182" y="15073"/>
                  </a:cubicBezTo>
                  <a:cubicBezTo>
                    <a:pt x="17499" y="15695"/>
                    <a:pt x="17499" y="15695"/>
                    <a:pt x="17499" y="15695"/>
                  </a:cubicBezTo>
                  <a:cubicBezTo>
                    <a:pt x="17635" y="16006"/>
                    <a:pt x="17635" y="16006"/>
                    <a:pt x="17635" y="16006"/>
                  </a:cubicBezTo>
                  <a:cubicBezTo>
                    <a:pt x="17362" y="16317"/>
                    <a:pt x="17362" y="16317"/>
                    <a:pt x="17362" y="16317"/>
                  </a:cubicBezTo>
                  <a:cubicBezTo>
                    <a:pt x="17362" y="16783"/>
                    <a:pt x="17362" y="16783"/>
                    <a:pt x="17362" y="16783"/>
                  </a:cubicBezTo>
                  <a:cubicBezTo>
                    <a:pt x="17499" y="17249"/>
                    <a:pt x="17499" y="17249"/>
                    <a:pt x="17499" y="17249"/>
                  </a:cubicBezTo>
                  <a:cubicBezTo>
                    <a:pt x="17499" y="17560"/>
                    <a:pt x="17499" y="17560"/>
                    <a:pt x="17499" y="17560"/>
                  </a:cubicBezTo>
                  <a:cubicBezTo>
                    <a:pt x="16952" y="17715"/>
                    <a:pt x="16952" y="17715"/>
                    <a:pt x="16952" y="17715"/>
                  </a:cubicBezTo>
                  <a:cubicBezTo>
                    <a:pt x="16542" y="17871"/>
                    <a:pt x="16542" y="17871"/>
                    <a:pt x="16542" y="17871"/>
                  </a:cubicBezTo>
                  <a:cubicBezTo>
                    <a:pt x="16542" y="18337"/>
                    <a:pt x="16542" y="18337"/>
                    <a:pt x="16542" y="18337"/>
                  </a:cubicBezTo>
                  <a:cubicBezTo>
                    <a:pt x="16542" y="18492"/>
                    <a:pt x="16542" y="18492"/>
                    <a:pt x="16542" y="18492"/>
                  </a:cubicBezTo>
                  <a:cubicBezTo>
                    <a:pt x="16952" y="19114"/>
                    <a:pt x="16952" y="19114"/>
                    <a:pt x="16952" y="19114"/>
                  </a:cubicBezTo>
                  <a:cubicBezTo>
                    <a:pt x="16815" y="19269"/>
                    <a:pt x="16815" y="19269"/>
                    <a:pt x="16815" y="19269"/>
                  </a:cubicBezTo>
                  <a:cubicBezTo>
                    <a:pt x="16678" y="19424"/>
                    <a:pt x="16678" y="19424"/>
                    <a:pt x="16678" y="19424"/>
                  </a:cubicBezTo>
                  <a:cubicBezTo>
                    <a:pt x="17089" y="20046"/>
                    <a:pt x="17089" y="20046"/>
                    <a:pt x="17089" y="20046"/>
                  </a:cubicBezTo>
                  <a:cubicBezTo>
                    <a:pt x="17225" y="20201"/>
                    <a:pt x="17225" y="20201"/>
                    <a:pt x="17225" y="20201"/>
                  </a:cubicBezTo>
                  <a:cubicBezTo>
                    <a:pt x="17499" y="20201"/>
                    <a:pt x="17499" y="20201"/>
                    <a:pt x="17499" y="20201"/>
                  </a:cubicBezTo>
                  <a:cubicBezTo>
                    <a:pt x="17499" y="20512"/>
                    <a:pt x="17499" y="20512"/>
                    <a:pt x="17499" y="20512"/>
                  </a:cubicBezTo>
                  <a:cubicBezTo>
                    <a:pt x="17499" y="20668"/>
                    <a:pt x="17499" y="20668"/>
                    <a:pt x="17499" y="20668"/>
                  </a:cubicBezTo>
                  <a:cubicBezTo>
                    <a:pt x="17499" y="20978"/>
                    <a:pt x="17499" y="20978"/>
                    <a:pt x="17499" y="20978"/>
                  </a:cubicBezTo>
                  <a:cubicBezTo>
                    <a:pt x="17225" y="21289"/>
                    <a:pt x="17225" y="21289"/>
                    <a:pt x="17225" y="21289"/>
                  </a:cubicBezTo>
                  <a:cubicBezTo>
                    <a:pt x="17362" y="21600"/>
                    <a:pt x="17362" y="21600"/>
                    <a:pt x="17362" y="21600"/>
                  </a:cubicBezTo>
                  <a:cubicBezTo>
                    <a:pt x="17089" y="21445"/>
                    <a:pt x="17089" y="21445"/>
                    <a:pt x="17089" y="21445"/>
                  </a:cubicBezTo>
                  <a:cubicBezTo>
                    <a:pt x="16952" y="21600"/>
                    <a:pt x="16952" y="21600"/>
                    <a:pt x="16952" y="21600"/>
                  </a:cubicBezTo>
                  <a:cubicBezTo>
                    <a:pt x="16952" y="21600"/>
                    <a:pt x="16952" y="21600"/>
                    <a:pt x="16952" y="21600"/>
                  </a:cubicBezTo>
                  <a:cubicBezTo>
                    <a:pt x="16542" y="21445"/>
                    <a:pt x="16542" y="21445"/>
                    <a:pt x="16542" y="21445"/>
                  </a:cubicBezTo>
                  <a:cubicBezTo>
                    <a:pt x="16542" y="21445"/>
                    <a:pt x="16268" y="21600"/>
                    <a:pt x="16132" y="21600"/>
                  </a:cubicBezTo>
                  <a:cubicBezTo>
                    <a:pt x="16132" y="21600"/>
                    <a:pt x="15995" y="21600"/>
                    <a:pt x="15995" y="21600"/>
                  </a:cubicBezTo>
                  <a:cubicBezTo>
                    <a:pt x="15995" y="21600"/>
                    <a:pt x="15722" y="21445"/>
                    <a:pt x="15585" y="21445"/>
                  </a:cubicBezTo>
                  <a:cubicBezTo>
                    <a:pt x="15585" y="21445"/>
                    <a:pt x="15585" y="21445"/>
                    <a:pt x="15585" y="21445"/>
                  </a:cubicBezTo>
                  <a:cubicBezTo>
                    <a:pt x="15585" y="21445"/>
                    <a:pt x="15585" y="21445"/>
                    <a:pt x="15585" y="21445"/>
                  </a:cubicBezTo>
                  <a:cubicBezTo>
                    <a:pt x="15585" y="21445"/>
                    <a:pt x="15585" y="21445"/>
                    <a:pt x="15585" y="21445"/>
                  </a:cubicBezTo>
                  <a:cubicBezTo>
                    <a:pt x="15585" y="21445"/>
                    <a:pt x="15585" y="21445"/>
                    <a:pt x="15585" y="21445"/>
                  </a:cubicBezTo>
                  <a:cubicBezTo>
                    <a:pt x="15585" y="21445"/>
                    <a:pt x="15585" y="21445"/>
                    <a:pt x="15585" y="21445"/>
                  </a:cubicBezTo>
                  <a:cubicBezTo>
                    <a:pt x="15585" y="21289"/>
                    <a:pt x="15585" y="21289"/>
                    <a:pt x="15585" y="21289"/>
                  </a:cubicBezTo>
                  <a:cubicBezTo>
                    <a:pt x="15585" y="21289"/>
                    <a:pt x="15585" y="21289"/>
                    <a:pt x="15585" y="21289"/>
                  </a:cubicBezTo>
                  <a:cubicBezTo>
                    <a:pt x="15585" y="21289"/>
                    <a:pt x="15585" y="21289"/>
                    <a:pt x="15585" y="21289"/>
                  </a:cubicBezTo>
                  <a:cubicBezTo>
                    <a:pt x="15585" y="21289"/>
                    <a:pt x="15585" y="21289"/>
                    <a:pt x="15585"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4491" y="20823"/>
                    <a:pt x="14491" y="20823"/>
                    <a:pt x="14491" y="20823"/>
                  </a:cubicBezTo>
                  <a:cubicBezTo>
                    <a:pt x="13808" y="20357"/>
                    <a:pt x="13808" y="20357"/>
                    <a:pt x="13808" y="20357"/>
                  </a:cubicBezTo>
                  <a:cubicBezTo>
                    <a:pt x="13534" y="20046"/>
                    <a:pt x="13534" y="20046"/>
                    <a:pt x="13534" y="20046"/>
                  </a:cubicBezTo>
                  <a:cubicBezTo>
                    <a:pt x="13397" y="19424"/>
                    <a:pt x="13397" y="19424"/>
                    <a:pt x="13397" y="19424"/>
                  </a:cubicBezTo>
                  <a:cubicBezTo>
                    <a:pt x="12714" y="19269"/>
                    <a:pt x="12714" y="19269"/>
                    <a:pt x="12714" y="19269"/>
                  </a:cubicBezTo>
                  <a:cubicBezTo>
                    <a:pt x="12714" y="18803"/>
                    <a:pt x="11894" y="19580"/>
                    <a:pt x="12167" y="18647"/>
                  </a:cubicBezTo>
                  <a:cubicBezTo>
                    <a:pt x="12167" y="18647"/>
                    <a:pt x="12167" y="18492"/>
                    <a:pt x="12167" y="18492"/>
                  </a:cubicBezTo>
                  <a:cubicBezTo>
                    <a:pt x="12167" y="18492"/>
                    <a:pt x="12167" y="18492"/>
                    <a:pt x="12167" y="18492"/>
                  </a:cubicBezTo>
                  <a:cubicBezTo>
                    <a:pt x="12167" y="18337"/>
                    <a:pt x="11894" y="18026"/>
                    <a:pt x="11894" y="18026"/>
                  </a:cubicBezTo>
                  <a:cubicBezTo>
                    <a:pt x="11073" y="17560"/>
                    <a:pt x="10937" y="17094"/>
                    <a:pt x="10527" y="16938"/>
                  </a:cubicBezTo>
                  <a:cubicBezTo>
                    <a:pt x="10390" y="16938"/>
                    <a:pt x="10390" y="16938"/>
                    <a:pt x="10390" y="16938"/>
                  </a:cubicBezTo>
                  <a:cubicBezTo>
                    <a:pt x="9843" y="16317"/>
                    <a:pt x="9843" y="16317"/>
                    <a:pt x="9843" y="16317"/>
                  </a:cubicBezTo>
                  <a:cubicBezTo>
                    <a:pt x="9570" y="16161"/>
                    <a:pt x="9570" y="16161"/>
                    <a:pt x="9570" y="16161"/>
                  </a:cubicBezTo>
                  <a:cubicBezTo>
                    <a:pt x="9296" y="15850"/>
                    <a:pt x="9296" y="15850"/>
                    <a:pt x="9296" y="15850"/>
                  </a:cubicBezTo>
                  <a:cubicBezTo>
                    <a:pt x="9296" y="15540"/>
                    <a:pt x="9296" y="15540"/>
                    <a:pt x="9296" y="15540"/>
                  </a:cubicBezTo>
                  <a:cubicBezTo>
                    <a:pt x="9159" y="14918"/>
                    <a:pt x="9159" y="14918"/>
                    <a:pt x="9159" y="14918"/>
                  </a:cubicBezTo>
                  <a:cubicBezTo>
                    <a:pt x="9159" y="14918"/>
                    <a:pt x="9159" y="14918"/>
                    <a:pt x="9159" y="14918"/>
                  </a:cubicBezTo>
                  <a:cubicBezTo>
                    <a:pt x="9159" y="14918"/>
                    <a:pt x="8613" y="14763"/>
                    <a:pt x="8339" y="14607"/>
                  </a:cubicBezTo>
                  <a:cubicBezTo>
                    <a:pt x="8066" y="14452"/>
                    <a:pt x="8066" y="14452"/>
                    <a:pt x="8066" y="14452"/>
                  </a:cubicBezTo>
                  <a:cubicBezTo>
                    <a:pt x="7792" y="13986"/>
                    <a:pt x="7792" y="13986"/>
                    <a:pt x="7792" y="13986"/>
                  </a:cubicBezTo>
                  <a:cubicBezTo>
                    <a:pt x="7656" y="13830"/>
                    <a:pt x="7656" y="13830"/>
                    <a:pt x="7656" y="13830"/>
                  </a:cubicBezTo>
                  <a:cubicBezTo>
                    <a:pt x="7246" y="13364"/>
                    <a:pt x="7246" y="13364"/>
                    <a:pt x="7246" y="13364"/>
                  </a:cubicBezTo>
                  <a:cubicBezTo>
                    <a:pt x="7109" y="13364"/>
                    <a:pt x="7109" y="13364"/>
                    <a:pt x="7109" y="13364"/>
                  </a:cubicBezTo>
                  <a:cubicBezTo>
                    <a:pt x="6425" y="13053"/>
                    <a:pt x="6425" y="13053"/>
                    <a:pt x="6425" y="13053"/>
                  </a:cubicBezTo>
                  <a:cubicBezTo>
                    <a:pt x="6289" y="12742"/>
                    <a:pt x="6289" y="12742"/>
                    <a:pt x="6289" y="12742"/>
                  </a:cubicBezTo>
                  <a:cubicBezTo>
                    <a:pt x="6015" y="12587"/>
                    <a:pt x="6015" y="12587"/>
                    <a:pt x="6015" y="12587"/>
                  </a:cubicBezTo>
                  <a:cubicBezTo>
                    <a:pt x="5878" y="12276"/>
                    <a:pt x="5878" y="12276"/>
                    <a:pt x="5878" y="12276"/>
                  </a:cubicBezTo>
                  <a:cubicBezTo>
                    <a:pt x="5468" y="12121"/>
                    <a:pt x="5468" y="12121"/>
                    <a:pt x="5468" y="12121"/>
                  </a:cubicBezTo>
                  <a:cubicBezTo>
                    <a:pt x="5332" y="11810"/>
                    <a:pt x="5332" y="11810"/>
                    <a:pt x="5332" y="11810"/>
                  </a:cubicBezTo>
                  <a:cubicBezTo>
                    <a:pt x="5195" y="11655"/>
                    <a:pt x="5195" y="11655"/>
                    <a:pt x="5195" y="11655"/>
                  </a:cubicBezTo>
                  <a:cubicBezTo>
                    <a:pt x="4785" y="11033"/>
                    <a:pt x="4785" y="11033"/>
                    <a:pt x="4785" y="11033"/>
                  </a:cubicBezTo>
                  <a:cubicBezTo>
                    <a:pt x="4375" y="10722"/>
                    <a:pt x="4375" y="10722"/>
                    <a:pt x="4375" y="10722"/>
                  </a:cubicBezTo>
                  <a:cubicBezTo>
                    <a:pt x="4238" y="10567"/>
                    <a:pt x="4238" y="10567"/>
                    <a:pt x="4238" y="10567"/>
                  </a:cubicBezTo>
                  <a:cubicBezTo>
                    <a:pt x="4101" y="10412"/>
                    <a:pt x="4101" y="10412"/>
                    <a:pt x="4101" y="10412"/>
                  </a:cubicBezTo>
                  <a:cubicBezTo>
                    <a:pt x="3828" y="9945"/>
                    <a:pt x="3828" y="9945"/>
                    <a:pt x="3828" y="9945"/>
                  </a:cubicBezTo>
                  <a:cubicBezTo>
                    <a:pt x="3418" y="9479"/>
                    <a:pt x="3418" y="9479"/>
                    <a:pt x="3418" y="9479"/>
                  </a:cubicBezTo>
                  <a:cubicBezTo>
                    <a:pt x="3144" y="9168"/>
                    <a:pt x="3144" y="9168"/>
                    <a:pt x="3144" y="9168"/>
                  </a:cubicBezTo>
                  <a:cubicBezTo>
                    <a:pt x="2871" y="8702"/>
                    <a:pt x="2871" y="8702"/>
                    <a:pt x="2871" y="8702"/>
                  </a:cubicBezTo>
                  <a:cubicBezTo>
                    <a:pt x="3144" y="8391"/>
                    <a:pt x="3144" y="8391"/>
                    <a:pt x="3144" y="8391"/>
                  </a:cubicBezTo>
                  <a:cubicBezTo>
                    <a:pt x="3008" y="8236"/>
                    <a:pt x="2871" y="8236"/>
                    <a:pt x="2871" y="8081"/>
                  </a:cubicBezTo>
                  <a:cubicBezTo>
                    <a:pt x="2734" y="8081"/>
                    <a:pt x="2461" y="7925"/>
                    <a:pt x="2597" y="7770"/>
                  </a:cubicBezTo>
                  <a:cubicBezTo>
                    <a:pt x="2597" y="7614"/>
                    <a:pt x="2461" y="7459"/>
                    <a:pt x="2461" y="7148"/>
                  </a:cubicBezTo>
                  <a:cubicBezTo>
                    <a:pt x="2461" y="6993"/>
                    <a:pt x="2461" y="6837"/>
                    <a:pt x="2324" y="6837"/>
                  </a:cubicBezTo>
                  <a:cubicBezTo>
                    <a:pt x="2187" y="6682"/>
                    <a:pt x="2187" y="6682"/>
                    <a:pt x="2187" y="6682"/>
                  </a:cubicBezTo>
                  <a:cubicBezTo>
                    <a:pt x="2051" y="6682"/>
                    <a:pt x="1914" y="6682"/>
                    <a:pt x="1914" y="6682"/>
                  </a:cubicBezTo>
                  <a:cubicBezTo>
                    <a:pt x="1777" y="6682"/>
                    <a:pt x="1777" y="6682"/>
                    <a:pt x="1777" y="6682"/>
                  </a:cubicBezTo>
                  <a:cubicBezTo>
                    <a:pt x="1777" y="6682"/>
                    <a:pt x="1914" y="6371"/>
                    <a:pt x="1914" y="6060"/>
                  </a:cubicBezTo>
                  <a:cubicBezTo>
                    <a:pt x="1367" y="5905"/>
                    <a:pt x="1367" y="5905"/>
                    <a:pt x="1367" y="5905"/>
                  </a:cubicBezTo>
                  <a:cubicBezTo>
                    <a:pt x="1367" y="5905"/>
                    <a:pt x="1367" y="5439"/>
                    <a:pt x="1094" y="5283"/>
                  </a:cubicBezTo>
                  <a:cubicBezTo>
                    <a:pt x="820" y="5283"/>
                    <a:pt x="820" y="5283"/>
                    <a:pt x="820" y="5283"/>
                  </a:cubicBezTo>
                  <a:cubicBezTo>
                    <a:pt x="684" y="5439"/>
                    <a:pt x="684" y="5594"/>
                    <a:pt x="684" y="5594"/>
                  </a:cubicBezTo>
                  <a:cubicBezTo>
                    <a:pt x="137" y="4973"/>
                    <a:pt x="137" y="4973"/>
                    <a:pt x="137" y="4973"/>
                  </a:cubicBezTo>
                  <a:cubicBezTo>
                    <a:pt x="137" y="4973"/>
                    <a:pt x="137" y="4817"/>
                    <a:pt x="273" y="4506"/>
                  </a:cubicBezTo>
                  <a:cubicBezTo>
                    <a:pt x="547" y="4196"/>
                    <a:pt x="273" y="4040"/>
                    <a:pt x="273" y="4040"/>
                  </a:cubicBezTo>
                  <a:cubicBezTo>
                    <a:pt x="137" y="3574"/>
                    <a:pt x="137" y="3574"/>
                    <a:pt x="137" y="3574"/>
                  </a:cubicBezTo>
                  <a:cubicBezTo>
                    <a:pt x="273" y="3263"/>
                    <a:pt x="273" y="3263"/>
                    <a:pt x="273" y="3263"/>
                  </a:cubicBezTo>
                  <a:cubicBezTo>
                    <a:pt x="137" y="3108"/>
                    <a:pt x="137" y="3108"/>
                    <a:pt x="137" y="3108"/>
                  </a:cubicBezTo>
                  <a:cubicBezTo>
                    <a:pt x="0" y="2953"/>
                    <a:pt x="0" y="2953"/>
                    <a:pt x="0" y="2953"/>
                  </a:cubicBezTo>
                  <a:cubicBezTo>
                    <a:pt x="0" y="2953"/>
                    <a:pt x="0" y="2953"/>
                    <a:pt x="0" y="2953"/>
                  </a:cubicBezTo>
                  <a:cubicBezTo>
                    <a:pt x="0" y="2953"/>
                    <a:pt x="0" y="2953"/>
                    <a:pt x="0" y="2953"/>
                  </a:cubicBezTo>
                  <a:cubicBezTo>
                    <a:pt x="273" y="2331"/>
                    <a:pt x="273" y="2331"/>
                    <a:pt x="273" y="2331"/>
                  </a:cubicBezTo>
                  <a:cubicBezTo>
                    <a:pt x="273" y="2331"/>
                    <a:pt x="137" y="2020"/>
                    <a:pt x="137" y="1709"/>
                  </a:cubicBezTo>
                  <a:cubicBezTo>
                    <a:pt x="137" y="1709"/>
                    <a:pt x="273" y="1554"/>
                    <a:pt x="273" y="1554"/>
                  </a:cubicBezTo>
                  <a:cubicBezTo>
                    <a:pt x="273" y="1554"/>
                    <a:pt x="273" y="1554"/>
                    <a:pt x="273" y="1554"/>
                  </a:cubicBezTo>
                  <a:cubicBezTo>
                    <a:pt x="273" y="1399"/>
                    <a:pt x="273" y="1399"/>
                    <a:pt x="273" y="1399"/>
                  </a:cubicBezTo>
                  <a:cubicBezTo>
                    <a:pt x="273" y="1399"/>
                    <a:pt x="273" y="1399"/>
                    <a:pt x="273" y="1399"/>
                  </a:cubicBezTo>
                  <a:cubicBezTo>
                    <a:pt x="410" y="1399"/>
                    <a:pt x="410" y="1399"/>
                    <a:pt x="410" y="1399"/>
                  </a:cubicBezTo>
                  <a:cubicBezTo>
                    <a:pt x="410" y="1399"/>
                    <a:pt x="410" y="1399"/>
                    <a:pt x="410" y="1399"/>
                  </a:cubicBezTo>
                  <a:cubicBezTo>
                    <a:pt x="410" y="1243"/>
                    <a:pt x="1094" y="1088"/>
                    <a:pt x="1094" y="1088"/>
                  </a:cubicBezTo>
                  <a:cubicBezTo>
                    <a:pt x="1367" y="932"/>
                    <a:pt x="1367" y="932"/>
                    <a:pt x="1367" y="932"/>
                  </a:cubicBezTo>
                  <a:cubicBezTo>
                    <a:pt x="1914" y="1709"/>
                    <a:pt x="1914" y="1709"/>
                    <a:pt x="1914" y="1709"/>
                  </a:cubicBezTo>
                  <a:cubicBezTo>
                    <a:pt x="2461" y="2331"/>
                    <a:pt x="2461" y="2331"/>
                    <a:pt x="2461" y="2331"/>
                  </a:cubicBezTo>
                  <a:cubicBezTo>
                    <a:pt x="2871" y="2642"/>
                    <a:pt x="2871" y="2642"/>
                    <a:pt x="2871" y="2642"/>
                  </a:cubicBezTo>
                  <a:cubicBezTo>
                    <a:pt x="2871" y="2642"/>
                    <a:pt x="3008" y="2486"/>
                    <a:pt x="3144" y="2486"/>
                  </a:cubicBezTo>
                  <a:cubicBezTo>
                    <a:pt x="3144" y="2331"/>
                    <a:pt x="3144" y="2020"/>
                    <a:pt x="3144" y="2020"/>
                  </a:cubicBezTo>
                  <a:cubicBezTo>
                    <a:pt x="3418" y="1709"/>
                    <a:pt x="3418" y="1709"/>
                    <a:pt x="3418" y="1709"/>
                  </a:cubicBezTo>
                  <a:cubicBezTo>
                    <a:pt x="3554" y="1399"/>
                    <a:pt x="3554" y="1399"/>
                    <a:pt x="3554" y="1399"/>
                  </a:cubicBezTo>
                  <a:cubicBezTo>
                    <a:pt x="3554" y="1088"/>
                    <a:pt x="3554" y="1088"/>
                    <a:pt x="3554" y="1088"/>
                  </a:cubicBezTo>
                  <a:cubicBezTo>
                    <a:pt x="3828" y="932"/>
                    <a:pt x="3828" y="932"/>
                    <a:pt x="3828" y="932"/>
                  </a:cubicBezTo>
                  <a:cubicBezTo>
                    <a:pt x="4238" y="777"/>
                    <a:pt x="4238" y="777"/>
                    <a:pt x="4238" y="777"/>
                  </a:cubicBezTo>
                  <a:cubicBezTo>
                    <a:pt x="4785" y="622"/>
                    <a:pt x="4785" y="622"/>
                    <a:pt x="4785" y="622"/>
                  </a:cubicBezTo>
                  <a:cubicBezTo>
                    <a:pt x="4785" y="622"/>
                    <a:pt x="5195" y="777"/>
                    <a:pt x="5332" y="777"/>
                  </a:cubicBezTo>
                  <a:cubicBezTo>
                    <a:pt x="5332" y="777"/>
                    <a:pt x="5468" y="777"/>
                    <a:pt x="5468" y="777"/>
                  </a:cubicBezTo>
                  <a:cubicBezTo>
                    <a:pt x="5742" y="311"/>
                    <a:pt x="5742" y="311"/>
                    <a:pt x="5742" y="311"/>
                  </a:cubicBezTo>
                  <a:cubicBezTo>
                    <a:pt x="5742" y="311"/>
                    <a:pt x="5742" y="311"/>
                    <a:pt x="5742" y="311"/>
                  </a:cubicBezTo>
                  <a:cubicBezTo>
                    <a:pt x="5878" y="0"/>
                    <a:pt x="5878" y="0"/>
                    <a:pt x="5878" y="0"/>
                  </a:cubicBezTo>
                  <a:cubicBezTo>
                    <a:pt x="6562" y="311"/>
                    <a:pt x="6562" y="311"/>
                    <a:pt x="6562" y="311"/>
                  </a:cubicBezTo>
                  <a:cubicBezTo>
                    <a:pt x="6835" y="622"/>
                    <a:pt x="6835" y="622"/>
                    <a:pt x="6835" y="622"/>
                  </a:cubicBezTo>
                  <a:cubicBezTo>
                    <a:pt x="7519" y="777"/>
                    <a:pt x="7519" y="777"/>
                    <a:pt x="7519" y="777"/>
                  </a:cubicBezTo>
                  <a:cubicBezTo>
                    <a:pt x="7519" y="777"/>
                    <a:pt x="7519" y="777"/>
                    <a:pt x="7519" y="777"/>
                  </a:cubicBezTo>
                  <a:cubicBezTo>
                    <a:pt x="7792" y="777"/>
                    <a:pt x="7792" y="777"/>
                    <a:pt x="7792" y="777"/>
                  </a:cubicBezTo>
                  <a:cubicBezTo>
                    <a:pt x="7792" y="622"/>
                    <a:pt x="7792" y="622"/>
                    <a:pt x="7792" y="622"/>
                  </a:cubicBezTo>
                  <a:cubicBezTo>
                    <a:pt x="8339" y="622"/>
                    <a:pt x="8339" y="622"/>
                    <a:pt x="8339" y="622"/>
                  </a:cubicBezTo>
                  <a:cubicBezTo>
                    <a:pt x="9023" y="777"/>
                    <a:pt x="9023" y="777"/>
                    <a:pt x="9023" y="777"/>
                  </a:cubicBezTo>
                  <a:cubicBezTo>
                    <a:pt x="9433" y="777"/>
                    <a:pt x="9433" y="777"/>
                    <a:pt x="9433" y="777"/>
                  </a:cubicBezTo>
                  <a:cubicBezTo>
                    <a:pt x="10116" y="777"/>
                    <a:pt x="10116" y="777"/>
                    <a:pt x="10116" y="777"/>
                  </a:cubicBezTo>
                  <a:cubicBezTo>
                    <a:pt x="10527" y="932"/>
                    <a:pt x="10527" y="932"/>
                    <a:pt x="10527" y="932"/>
                  </a:cubicBezTo>
                  <a:cubicBezTo>
                    <a:pt x="10800" y="1088"/>
                    <a:pt x="10800" y="1088"/>
                    <a:pt x="10800" y="1088"/>
                  </a:cubicBezTo>
                  <a:cubicBezTo>
                    <a:pt x="10800" y="1088"/>
                    <a:pt x="10800" y="1088"/>
                    <a:pt x="10937" y="932"/>
                  </a:cubicBezTo>
                  <a:cubicBezTo>
                    <a:pt x="10937" y="932"/>
                    <a:pt x="11347" y="932"/>
                    <a:pt x="11347" y="932"/>
                  </a:cubicBezTo>
                  <a:cubicBezTo>
                    <a:pt x="11484" y="466"/>
                    <a:pt x="11484" y="466"/>
                    <a:pt x="11484" y="466"/>
                  </a:cubicBezTo>
                  <a:cubicBezTo>
                    <a:pt x="11620" y="777"/>
                    <a:pt x="11620" y="777"/>
                    <a:pt x="11620" y="777"/>
                  </a:cubicBezTo>
                  <a:cubicBezTo>
                    <a:pt x="11757" y="777"/>
                    <a:pt x="12030" y="777"/>
                    <a:pt x="12030" y="777"/>
                  </a:cubicBezTo>
                  <a:cubicBezTo>
                    <a:pt x="12167" y="311"/>
                    <a:pt x="12167" y="311"/>
                    <a:pt x="12167" y="311"/>
                  </a:cubicBezTo>
                  <a:cubicBezTo>
                    <a:pt x="12304" y="466"/>
                    <a:pt x="12304" y="466"/>
                    <a:pt x="12304" y="466"/>
                  </a:cubicBezTo>
                  <a:cubicBezTo>
                    <a:pt x="12441" y="466"/>
                    <a:pt x="12441" y="466"/>
                    <a:pt x="12577" y="466"/>
                  </a:cubicBezTo>
                  <a:cubicBezTo>
                    <a:pt x="12714" y="466"/>
                    <a:pt x="12851" y="311"/>
                    <a:pt x="12851" y="311"/>
                  </a:cubicBezTo>
                  <a:cubicBezTo>
                    <a:pt x="12851" y="311"/>
                    <a:pt x="12987" y="466"/>
                    <a:pt x="12987" y="466"/>
                  </a:cubicBezTo>
                  <a:cubicBezTo>
                    <a:pt x="12987" y="466"/>
                    <a:pt x="13124" y="311"/>
                    <a:pt x="13261" y="311"/>
                  </a:cubicBezTo>
                  <a:cubicBezTo>
                    <a:pt x="13261" y="311"/>
                    <a:pt x="13261" y="311"/>
                    <a:pt x="13261" y="311"/>
                  </a:cubicBezTo>
                  <a:cubicBezTo>
                    <a:pt x="13261" y="311"/>
                    <a:pt x="13261" y="311"/>
                    <a:pt x="13261"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155"/>
                    <a:pt x="13534" y="155"/>
                    <a:pt x="13534" y="155"/>
                  </a:cubicBezTo>
                  <a:cubicBezTo>
                    <a:pt x="13534" y="155"/>
                    <a:pt x="13534" y="155"/>
                    <a:pt x="13534" y="155"/>
                  </a:cubicBezTo>
                  <a:cubicBezTo>
                    <a:pt x="13534" y="155"/>
                    <a:pt x="13534" y="155"/>
                    <a:pt x="13534" y="155"/>
                  </a:cubicBezTo>
                  <a:cubicBezTo>
                    <a:pt x="13534" y="155"/>
                    <a:pt x="13534" y="155"/>
                    <a:pt x="13534" y="155"/>
                  </a:cubicBezTo>
                  <a:cubicBezTo>
                    <a:pt x="13534" y="155"/>
                    <a:pt x="13534" y="155"/>
                    <a:pt x="13534"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808" y="466"/>
                    <a:pt x="14081" y="622"/>
                  </a:cubicBezTo>
                  <a:cubicBezTo>
                    <a:pt x="14081" y="622"/>
                    <a:pt x="14081" y="622"/>
                    <a:pt x="14081" y="622"/>
                  </a:cubicBezTo>
                  <a:cubicBezTo>
                    <a:pt x="14354" y="622"/>
                    <a:pt x="14354" y="622"/>
                    <a:pt x="14354" y="622"/>
                  </a:cubicBezTo>
                  <a:cubicBezTo>
                    <a:pt x="14354" y="622"/>
                    <a:pt x="14354" y="622"/>
                    <a:pt x="14354" y="622"/>
                  </a:cubicBezTo>
                  <a:cubicBezTo>
                    <a:pt x="14354" y="622"/>
                    <a:pt x="14491" y="466"/>
                    <a:pt x="14628" y="466"/>
                  </a:cubicBezTo>
                  <a:cubicBezTo>
                    <a:pt x="14901" y="466"/>
                    <a:pt x="15038" y="466"/>
                    <a:pt x="15175" y="466"/>
                  </a:cubicBezTo>
                  <a:cubicBezTo>
                    <a:pt x="15448" y="466"/>
                    <a:pt x="15585" y="777"/>
                    <a:pt x="15585" y="777"/>
                  </a:cubicBezTo>
                  <a:cubicBezTo>
                    <a:pt x="15995" y="1243"/>
                    <a:pt x="15995" y="1243"/>
                    <a:pt x="15995" y="1243"/>
                  </a:cubicBezTo>
                  <a:cubicBezTo>
                    <a:pt x="15995" y="1243"/>
                    <a:pt x="16132" y="1554"/>
                    <a:pt x="16132" y="1709"/>
                  </a:cubicBezTo>
                  <a:cubicBezTo>
                    <a:pt x="16268" y="1865"/>
                    <a:pt x="16268" y="2020"/>
                    <a:pt x="16268" y="2020"/>
                  </a:cubicBezTo>
                  <a:cubicBezTo>
                    <a:pt x="16268" y="2020"/>
                    <a:pt x="16268" y="2020"/>
                    <a:pt x="16268" y="2020"/>
                  </a:cubicBezTo>
                  <a:cubicBezTo>
                    <a:pt x="16405" y="2020"/>
                    <a:pt x="17362" y="2486"/>
                    <a:pt x="17499" y="2486"/>
                  </a:cubicBezTo>
                  <a:cubicBezTo>
                    <a:pt x="17499" y="2486"/>
                    <a:pt x="17635" y="2486"/>
                    <a:pt x="17635" y="2486"/>
                  </a:cubicBezTo>
                  <a:cubicBezTo>
                    <a:pt x="17635" y="2176"/>
                    <a:pt x="17499" y="2020"/>
                    <a:pt x="17772" y="1865"/>
                  </a:cubicBezTo>
                  <a:cubicBezTo>
                    <a:pt x="17909" y="1865"/>
                    <a:pt x="18046" y="2176"/>
                    <a:pt x="18046" y="1865"/>
                  </a:cubicBezTo>
                  <a:cubicBezTo>
                    <a:pt x="18046" y="1554"/>
                    <a:pt x="18182" y="1709"/>
                    <a:pt x="18046" y="1399"/>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4" name="Shape 2237">
              <a:extLst>
                <a:ext uri="{FF2B5EF4-FFF2-40B4-BE49-F238E27FC236}">
                  <a16:creationId xmlns:a16="http://schemas.microsoft.com/office/drawing/2014/main" id="{225E869B-DB4E-495A-7123-30299243A9D5}"/>
                </a:ext>
              </a:extLst>
            </p:cNvPr>
            <p:cNvSpPr/>
            <p:nvPr/>
          </p:nvSpPr>
          <p:spPr>
            <a:xfrm>
              <a:off x="3431945" y="3582982"/>
              <a:ext cx="582597" cy="668799"/>
            </a:xfrm>
            <a:custGeom>
              <a:avLst/>
              <a:gdLst/>
              <a:ahLst/>
              <a:cxnLst>
                <a:cxn ang="0">
                  <a:pos x="wd2" y="hd2"/>
                </a:cxn>
                <a:cxn ang="5400000">
                  <a:pos x="wd2" y="hd2"/>
                </a:cxn>
                <a:cxn ang="10800000">
                  <a:pos x="wd2" y="hd2"/>
                </a:cxn>
                <a:cxn ang="16200000">
                  <a:pos x="wd2" y="hd2"/>
                </a:cxn>
              </a:cxnLst>
              <a:rect l="0" t="0" r="r" b="b"/>
              <a:pathLst>
                <a:path w="21600" h="21600" extrusionOk="0">
                  <a:moveTo>
                    <a:pt x="5821" y="4268"/>
                  </a:moveTo>
                  <a:cubicBezTo>
                    <a:pt x="6740" y="3880"/>
                    <a:pt x="6740" y="3880"/>
                    <a:pt x="6740" y="3880"/>
                  </a:cubicBezTo>
                  <a:cubicBezTo>
                    <a:pt x="7200" y="3104"/>
                    <a:pt x="7200" y="3104"/>
                    <a:pt x="7200" y="3104"/>
                  </a:cubicBezTo>
                  <a:cubicBezTo>
                    <a:pt x="7813" y="2199"/>
                    <a:pt x="7813" y="2199"/>
                    <a:pt x="7813" y="2199"/>
                  </a:cubicBezTo>
                  <a:cubicBezTo>
                    <a:pt x="8119" y="1811"/>
                    <a:pt x="8119" y="1811"/>
                    <a:pt x="8119" y="1811"/>
                  </a:cubicBezTo>
                  <a:cubicBezTo>
                    <a:pt x="8426" y="1164"/>
                    <a:pt x="8426" y="1164"/>
                    <a:pt x="8426" y="1164"/>
                  </a:cubicBezTo>
                  <a:cubicBezTo>
                    <a:pt x="9345" y="905"/>
                    <a:pt x="9345" y="905"/>
                    <a:pt x="9345" y="905"/>
                  </a:cubicBezTo>
                  <a:cubicBezTo>
                    <a:pt x="9345" y="905"/>
                    <a:pt x="9957" y="776"/>
                    <a:pt x="10111" y="776"/>
                  </a:cubicBezTo>
                  <a:cubicBezTo>
                    <a:pt x="10264" y="647"/>
                    <a:pt x="11183" y="0"/>
                    <a:pt x="11183" y="0"/>
                  </a:cubicBezTo>
                  <a:cubicBezTo>
                    <a:pt x="11336" y="0"/>
                    <a:pt x="11336" y="0"/>
                    <a:pt x="11336" y="0"/>
                  </a:cubicBezTo>
                  <a:cubicBezTo>
                    <a:pt x="10877" y="647"/>
                    <a:pt x="10877" y="647"/>
                    <a:pt x="10877" y="647"/>
                  </a:cubicBezTo>
                  <a:cubicBezTo>
                    <a:pt x="10877" y="1035"/>
                    <a:pt x="10877" y="1035"/>
                    <a:pt x="10877" y="1035"/>
                  </a:cubicBezTo>
                  <a:cubicBezTo>
                    <a:pt x="10877" y="1293"/>
                    <a:pt x="10877" y="1293"/>
                    <a:pt x="10877" y="1293"/>
                  </a:cubicBezTo>
                  <a:cubicBezTo>
                    <a:pt x="11030" y="1811"/>
                    <a:pt x="11030" y="1811"/>
                    <a:pt x="11030" y="1811"/>
                  </a:cubicBezTo>
                  <a:cubicBezTo>
                    <a:pt x="11183" y="1940"/>
                    <a:pt x="11183" y="1940"/>
                    <a:pt x="11183" y="1940"/>
                  </a:cubicBezTo>
                  <a:cubicBezTo>
                    <a:pt x="11183" y="2457"/>
                    <a:pt x="11183" y="2457"/>
                    <a:pt x="11183" y="2457"/>
                  </a:cubicBezTo>
                  <a:cubicBezTo>
                    <a:pt x="11183" y="2975"/>
                    <a:pt x="11183" y="2975"/>
                    <a:pt x="11183" y="2975"/>
                  </a:cubicBezTo>
                  <a:cubicBezTo>
                    <a:pt x="11183" y="2975"/>
                    <a:pt x="11643" y="3234"/>
                    <a:pt x="11489" y="3363"/>
                  </a:cubicBezTo>
                  <a:cubicBezTo>
                    <a:pt x="11183" y="3492"/>
                    <a:pt x="10877" y="3880"/>
                    <a:pt x="10877" y="3880"/>
                  </a:cubicBezTo>
                  <a:cubicBezTo>
                    <a:pt x="10723" y="4656"/>
                    <a:pt x="10723" y="4656"/>
                    <a:pt x="10723" y="4656"/>
                  </a:cubicBezTo>
                  <a:cubicBezTo>
                    <a:pt x="10111" y="5303"/>
                    <a:pt x="10111" y="5303"/>
                    <a:pt x="10111" y="5303"/>
                  </a:cubicBezTo>
                  <a:cubicBezTo>
                    <a:pt x="10264" y="6079"/>
                    <a:pt x="10264" y="6079"/>
                    <a:pt x="10264" y="6079"/>
                  </a:cubicBezTo>
                  <a:cubicBezTo>
                    <a:pt x="10417" y="6726"/>
                    <a:pt x="10417" y="6726"/>
                    <a:pt x="10417" y="6726"/>
                  </a:cubicBezTo>
                  <a:cubicBezTo>
                    <a:pt x="10264" y="7243"/>
                    <a:pt x="10264" y="7243"/>
                    <a:pt x="10264" y="7243"/>
                  </a:cubicBezTo>
                  <a:cubicBezTo>
                    <a:pt x="10723" y="7631"/>
                    <a:pt x="10723" y="7631"/>
                    <a:pt x="10723" y="7631"/>
                  </a:cubicBezTo>
                  <a:cubicBezTo>
                    <a:pt x="10570" y="7890"/>
                    <a:pt x="10570" y="7890"/>
                    <a:pt x="10570" y="7890"/>
                  </a:cubicBezTo>
                  <a:cubicBezTo>
                    <a:pt x="10723" y="8278"/>
                    <a:pt x="10723" y="8278"/>
                    <a:pt x="10723" y="8278"/>
                  </a:cubicBezTo>
                  <a:cubicBezTo>
                    <a:pt x="11183" y="8537"/>
                    <a:pt x="11183" y="8537"/>
                    <a:pt x="11183" y="8537"/>
                  </a:cubicBezTo>
                  <a:cubicBezTo>
                    <a:pt x="11183" y="8537"/>
                    <a:pt x="11489" y="8537"/>
                    <a:pt x="11643" y="8537"/>
                  </a:cubicBezTo>
                  <a:cubicBezTo>
                    <a:pt x="11796" y="8537"/>
                    <a:pt x="12255" y="8407"/>
                    <a:pt x="12409" y="8407"/>
                  </a:cubicBezTo>
                  <a:cubicBezTo>
                    <a:pt x="12562" y="8407"/>
                    <a:pt x="12868" y="8537"/>
                    <a:pt x="12868" y="8537"/>
                  </a:cubicBezTo>
                  <a:cubicBezTo>
                    <a:pt x="13328" y="9054"/>
                    <a:pt x="13328" y="9054"/>
                    <a:pt x="13328" y="9054"/>
                  </a:cubicBezTo>
                  <a:cubicBezTo>
                    <a:pt x="13328" y="9442"/>
                    <a:pt x="13328" y="9442"/>
                    <a:pt x="13328" y="9442"/>
                  </a:cubicBezTo>
                  <a:cubicBezTo>
                    <a:pt x="13328" y="9442"/>
                    <a:pt x="13174" y="9701"/>
                    <a:pt x="13174" y="9830"/>
                  </a:cubicBezTo>
                  <a:cubicBezTo>
                    <a:pt x="13021" y="9959"/>
                    <a:pt x="12868" y="10218"/>
                    <a:pt x="12868" y="10218"/>
                  </a:cubicBezTo>
                  <a:cubicBezTo>
                    <a:pt x="12562" y="10477"/>
                    <a:pt x="12562" y="10477"/>
                    <a:pt x="12562" y="10477"/>
                  </a:cubicBezTo>
                  <a:cubicBezTo>
                    <a:pt x="12409" y="10865"/>
                    <a:pt x="12409" y="10865"/>
                    <a:pt x="12409" y="10865"/>
                  </a:cubicBezTo>
                  <a:cubicBezTo>
                    <a:pt x="12255" y="11123"/>
                    <a:pt x="12255" y="11123"/>
                    <a:pt x="12255" y="11123"/>
                  </a:cubicBezTo>
                  <a:cubicBezTo>
                    <a:pt x="12255" y="11123"/>
                    <a:pt x="12255" y="11123"/>
                    <a:pt x="12255" y="11123"/>
                  </a:cubicBezTo>
                  <a:cubicBezTo>
                    <a:pt x="11949" y="10865"/>
                    <a:pt x="11949" y="10865"/>
                    <a:pt x="11949" y="10865"/>
                  </a:cubicBezTo>
                  <a:cubicBezTo>
                    <a:pt x="11949" y="10865"/>
                    <a:pt x="11949" y="10477"/>
                    <a:pt x="11796" y="10606"/>
                  </a:cubicBezTo>
                  <a:cubicBezTo>
                    <a:pt x="11643" y="10606"/>
                    <a:pt x="11489" y="10865"/>
                    <a:pt x="11489" y="10865"/>
                  </a:cubicBezTo>
                  <a:cubicBezTo>
                    <a:pt x="11643" y="11123"/>
                    <a:pt x="11643" y="11123"/>
                    <a:pt x="11643" y="11123"/>
                  </a:cubicBezTo>
                  <a:cubicBezTo>
                    <a:pt x="11643" y="11123"/>
                    <a:pt x="11796" y="11511"/>
                    <a:pt x="11643" y="11511"/>
                  </a:cubicBezTo>
                  <a:cubicBezTo>
                    <a:pt x="11489" y="11511"/>
                    <a:pt x="11336" y="11511"/>
                    <a:pt x="11336" y="11511"/>
                  </a:cubicBezTo>
                  <a:cubicBezTo>
                    <a:pt x="11183" y="10994"/>
                    <a:pt x="11183" y="10994"/>
                    <a:pt x="11183" y="10994"/>
                  </a:cubicBezTo>
                  <a:cubicBezTo>
                    <a:pt x="10723" y="10865"/>
                    <a:pt x="10723" y="10865"/>
                    <a:pt x="10723" y="10865"/>
                  </a:cubicBezTo>
                  <a:cubicBezTo>
                    <a:pt x="11030" y="10347"/>
                    <a:pt x="11030" y="10347"/>
                    <a:pt x="11030" y="10347"/>
                  </a:cubicBezTo>
                  <a:cubicBezTo>
                    <a:pt x="10723" y="10218"/>
                    <a:pt x="10723" y="10218"/>
                    <a:pt x="10723" y="10218"/>
                  </a:cubicBezTo>
                  <a:cubicBezTo>
                    <a:pt x="10723" y="10218"/>
                    <a:pt x="10570" y="10218"/>
                    <a:pt x="10417" y="10347"/>
                  </a:cubicBezTo>
                  <a:cubicBezTo>
                    <a:pt x="10417" y="10477"/>
                    <a:pt x="10264" y="10994"/>
                    <a:pt x="10264" y="10994"/>
                  </a:cubicBezTo>
                  <a:cubicBezTo>
                    <a:pt x="10111" y="11511"/>
                    <a:pt x="10111" y="11511"/>
                    <a:pt x="10111" y="11511"/>
                  </a:cubicBezTo>
                  <a:cubicBezTo>
                    <a:pt x="10111" y="11511"/>
                    <a:pt x="10264" y="11641"/>
                    <a:pt x="10264" y="11770"/>
                  </a:cubicBezTo>
                  <a:cubicBezTo>
                    <a:pt x="10264" y="11899"/>
                    <a:pt x="10111" y="12029"/>
                    <a:pt x="10111" y="12029"/>
                  </a:cubicBezTo>
                  <a:cubicBezTo>
                    <a:pt x="10111" y="12029"/>
                    <a:pt x="10111" y="12158"/>
                    <a:pt x="10111" y="12287"/>
                  </a:cubicBezTo>
                  <a:cubicBezTo>
                    <a:pt x="10111" y="12287"/>
                    <a:pt x="10264" y="12546"/>
                    <a:pt x="10264" y="12675"/>
                  </a:cubicBezTo>
                  <a:cubicBezTo>
                    <a:pt x="10264" y="12675"/>
                    <a:pt x="10264" y="12805"/>
                    <a:pt x="10111" y="12805"/>
                  </a:cubicBezTo>
                  <a:cubicBezTo>
                    <a:pt x="10111" y="12934"/>
                    <a:pt x="10111" y="12934"/>
                    <a:pt x="10111" y="13063"/>
                  </a:cubicBezTo>
                  <a:cubicBezTo>
                    <a:pt x="9957" y="13063"/>
                    <a:pt x="9804" y="13193"/>
                    <a:pt x="9804" y="13193"/>
                  </a:cubicBezTo>
                  <a:cubicBezTo>
                    <a:pt x="9804" y="13193"/>
                    <a:pt x="9498" y="13322"/>
                    <a:pt x="9498" y="13322"/>
                  </a:cubicBezTo>
                  <a:cubicBezTo>
                    <a:pt x="9498" y="13322"/>
                    <a:pt x="9345" y="13193"/>
                    <a:pt x="9191" y="13193"/>
                  </a:cubicBezTo>
                  <a:cubicBezTo>
                    <a:pt x="9038" y="13193"/>
                    <a:pt x="9038" y="13063"/>
                    <a:pt x="8885" y="13193"/>
                  </a:cubicBezTo>
                  <a:cubicBezTo>
                    <a:pt x="8732" y="13322"/>
                    <a:pt x="8732" y="13322"/>
                    <a:pt x="8732" y="13322"/>
                  </a:cubicBezTo>
                  <a:cubicBezTo>
                    <a:pt x="8885" y="13451"/>
                    <a:pt x="8885" y="13451"/>
                    <a:pt x="8885" y="13451"/>
                  </a:cubicBezTo>
                  <a:cubicBezTo>
                    <a:pt x="9191" y="13451"/>
                    <a:pt x="9191" y="13451"/>
                    <a:pt x="9191" y="13451"/>
                  </a:cubicBezTo>
                  <a:cubicBezTo>
                    <a:pt x="9191" y="13710"/>
                    <a:pt x="9191" y="13710"/>
                    <a:pt x="9191" y="13710"/>
                  </a:cubicBezTo>
                  <a:cubicBezTo>
                    <a:pt x="9191" y="13710"/>
                    <a:pt x="9345" y="13710"/>
                    <a:pt x="9345" y="13840"/>
                  </a:cubicBezTo>
                  <a:cubicBezTo>
                    <a:pt x="9191" y="13969"/>
                    <a:pt x="9038" y="14098"/>
                    <a:pt x="9038" y="14098"/>
                  </a:cubicBezTo>
                  <a:cubicBezTo>
                    <a:pt x="8732" y="14357"/>
                    <a:pt x="8732" y="14357"/>
                    <a:pt x="8732" y="14357"/>
                  </a:cubicBezTo>
                  <a:cubicBezTo>
                    <a:pt x="8426" y="14486"/>
                    <a:pt x="8426" y="14486"/>
                    <a:pt x="8426" y="14486"/>
                  </a:cubicBezTo>
                  <a:cubicBezTo>
                    <a:pt x="8426" y="14486"/>
                    <a:pt x="8119" y="14357"/>
                    <a:pt x="8119" y="14486"/>
                  </a:cubicBezTo>
                  <a:cubicBezTo>
                    <a:pt x="7966" y="14486"/>
                    <a:pt x="7813" y="14486"/>
                    <a:pt x="7813" y="14486"/>
                  </a:cubicBezTo>
                  <a:cubicBezTo>
                    <a:pt x="7813" y="14616"/>
                    <a:pt x="8119" y="14874"/>
                    <a:pt x="8119" y="14874"/>
                  </a:cubicBezTo>
                  <a:cubicBezTo>
                    <a:pt x="7506" y="14357"/>
                    <a:pt x="7506" y="14357"/>
                    <a:pt x="7506" y="14357"/>
                  </a:cubicBezTo>
                  <a:cubicBezTo>
                    <a:pt x="7200" y="14357"/>
                    <a:pt x="7200" y="14357"/>
                    <a:pt x="7200" y="14357"/>
                  </a:cubicBezTo>
                  <a:cubicBezTo>
                    <a:pt x="7660" y="14616"/>
                    <a:pt x="7660" y="14616"/>
                    <a:pt x="7660" y="14616"/>
                  </a:cubicBezTo>
                  <a:cubicBezTo>
                    <a:pt x="7813" y="14874"/>
                    <a:pt x="7813" y="14874"/>
                    <a:pt x="7813" y="14874"/>
                  </a:cubicBezTo>
                  <a:cubicBezTo>
                    <a:pt x="8119" y="15004"/>
                    <a:pt x="8119" y="15004"/>
                    <a:pt x="8119" y="15004"/>
                  </a:cubicBezTo>
                  <a:cubicBezTo>
                    <a:pt x="7966" y="15133"/>
                    <a:pt x="7966" y="15133"/>
                    <a:pt x="7966" y="15133"/>
                  </a:cubicBezTo>
                  <a:cubicBezTo>
                    <a:pt x="7813" y="15262"/>
                    <a:pt x="7813" y="15262"/>
                    <a:pt x="7813" y="15262"/>
                  </a:cubicBezTo>
                  <a:cubicBezTo>
                    <a:pt x="7506" y="15521"/>
                    <a:pt x="7506" y="15521"/>
                    <a:pt x="7506" y="15521"/>
                  </a:cubicBezTo>
                  <a:cubicBezTo>
                    <a:pt x="7506" y="15521"/>
                    <a:pt x="7353" y="15650"/>
                    <a:pt x="7200" y="15650"/>
                  </a:cubicBezTo>
                  <a:cubicBezTo>
                    <a:pt x="7200" y="15650"/>
                    <a:pt x="6740" y="15650"/>
                    <a:pt x="6740" y="15650"/>
                  </a:cubicBezTo>
                  <a:cubicBezTo>
                    <a:pt x="6894" y="15780"/>
                    <a:pt x="6894" y="15780"/>
                    <a:pt x="6894" y="15780"/>
                  </a:cubicBezTo>
                  <a:cubicBezTo>
                    <a:pt x="7200" y="15909"/>
                    <a:pt x="7200" y="15909"/>
                    <a:pt x="7200" y="15909"/>
                  </a:cubicBezTo>
                  <a:cubicBezTo>
                    <a:pt x="7200" y="15909"/>
                    <a:pt x="7353" y="15780"/>
                    <a:pt x="7353" y="15909"/>
                  </a:cubicBezTo>
                  <a:cubicBezTo>
                    <a:pt x="7200" y="15909"/>
                    <a:pt x="7200" y="15909"/>
                    <a:pt x="7200" y="16038"/>
                  </a:cubicBezTo>
                  <a:cubicBezTo>
                    <a:pt x="7200" y="16297"/>
                    <a:pt x="7200" y="16685"/>
                    <a:pt x="7200" y="16685"/>
                  </a:cubicBezTo>
                  <a:cubicBezTo>
                    <a:pt x="7506" y="17073"/>
                    <a:pt x="7506" y="17073"/>
                    <a:pt x="7506" y="17073"/>
                  </a:cubicBezTo>
                  <a:cubicBezTo>
                    <a:pt x="7660" y="17202"/>
                    <a:pt x="7660" y="17202"/>
                    <a:pt x="7660" y="17202"/>
                  </a:cubicBezTo>
                  <a:cubicBezTo>
                    <a:pt x="7660" y="17202"/>
                    <a:pt x="7660" y="17202"/>
                    <a:pt x="7660" y="17332"/>
                  </a:cubicBezTo>
                  <a:cubicBezTo>
                    <a:pt x="7660" y="17332"/>
                    <a:pt x="7660" y="17461"/>
                    <a:pt x="7660" y="17461"/>
                  </a:cubicBezTo>
                  <a:cubicBezTo>
                    <a:pt x="7660" y="17720"/>
                    <a:pt x="7660" y="17720"/>
                    <a:pt x="7660" y="17720"/>
                  </a:cubicBezTo>
                  <a:cubicBezTo>
                    <a:pt x="7660" y="17720"/>
                    <a:pt x="7506" y="17849"/>
                    <a:pt x="7353" y="17849"/>
                  </a:cubicBezTo>
                  <a:cubicBezTo>
                    <a:pt x="7353" y="17849"/>
                    <a:pt x="6740" y="17978"/>
                    <a:pt x="6740" y="17978"/>
                  </a:cubicBezTo>
                  <a:cubicBezTo>
                    <a:pt x="6587" y="18237"/>
                    <a:pt x="6587" y="18237"/>
                    <a:pt x="6587" y="18237"/>
                  </a:cubicBezTo>
                  <a:cubicBezTo>
                    <a:pt x="6894" y="18366"/>
                    <a:pt x="6894" y="18366"/>
                    <a:pt x="6894" y="18366"/>
                  </a:cubicBezTo>
                  <a:cubicBezTo>
                    <a:pt x="6894" y="18366"/>
                    <a:pt x="6894" y="18625"/>
                    <a:pt x="6894" y="18625"/>
                  </a:cubicBezTo>
                  <a:cubicBezTo>
                    <a:pt x="6894" y="18754"/>
                    <a:pt x="6740" y="18884"/>
                    <a:pt x="6740" y="18884"/>
                  </a:cubicBezTo>
                  <a:cubicBezTo>
                    <a:pt x="7047" y="18884"/>
                    <a:pt x="7047" y="18884"/>
                    <a:pt x="7047" y="18884"/>
                  </a:cubicBezTo>
                  <a:cubicBezTo>
                    <a:pt x="7506" y="19013"/>
                    <a:pt x="7506" y="19013"/>
                    <a:pt x="7506" y="19013"/>
                  </a:cubicBezTo>
                  <a:cubicBezTo>
                    <a:pt x="8119" y="19660"/>
                    <a:pt x="8119" y="19660"/>
                    <a:pt x="8119" y="19660"/>
                  </a:cubicBezTo>
                  <a:cubicBezTo>
                    <a:pt x="7966" y="20177"/>
                    <a:pt x="7966" y="20177"/>
                    <a:pt x="7966" y="20177"/>
                  </a:cubicBezTo>
                  <a:cubicBezTo>
                    <a:pt x="7660" y="20436"/>
                    <a:pt x="7660" y="20436"/>
                    <a:pt x="7660" y="20436"/>
                  </a:cubicBezTo>
                  <a:cubicBezTo>
                    <a:pt x="7353" y="19919"/>
                    <a:pt x="7353" y="19919"/>
                    <a:pt x="7353" y="19919"/>
                  </a:cubicBezTo>
                  <a:cubicBezTo>
                    <a:pt x="7353" y="19919"/>
                    <a:pt x="7200" y="19919"/>
                    <a:pt x="7200" y="20048"/>
                  </a:cubicBezTo>
                  <a:cubicBezTo>
                    <a:pt x="7047" y="20048"/>
                    <a:pt x="6587" y="20307"/>
                    <a:pt x="6587" y="20307"/>
                  </a:cubicBezTo>
                  <a:cubicBezTo>
                    <a:pt x="6587" y="20307"/>
                    <a:pt x="6281" y="20436"/>
                    <a:pt x="6128" y="20436"/>
                  </a:cubicBezTo>
                  <a:cubicBezTo>
                    <a:pt x="6128" y="20436"/>
                    <a:pt x="5974" y="20436"/>
                    <a:pt x="5974" y="20436"/>
                  </a:cubicBezTo>
                  <a:cubicBezTo>
                    <a:pt x="5515" y="20307"/>
                    <a:pt x="5515" y="20307"/>
                    <a:pt x="5515" y="20307"/>
                  </a:cubicBezTo>
                  <a:cubicBezTo>
                    <a:pt x="4902" y="20048"/>
                    <a:pt x="4902" y="20048"/>
                    <a:pt x="4902" y="20048"/>
                  </a:cubicBezTo>
                  <a:cubicBezTo>
                    <a:pt x="4902" y="20048"/>
                    <a:pt x="4596" y="19919"/>
                    <a:pt x="4443" y="19919"/>
                  </a:cubicBezTo>
                  <a:cubicBezTo>
                    <a:pt x="4289" y="19919"/>
                    <a:pt x="3523" y="19660"/>
                    <a:pt x="3523" y="19660"/>
                  </a:cubicBezTo>
                  <a:cubicBezTo>
                    <a:pt x="3217" y="19789"/>
                    <a:pt x="3217" y="19789"/>
                    <a:pt x="3217" y="19789"/>
                  </a:cubicBezTo>
                  <a:cubicBezTo>
                    <a:pt x="2757" y="19789"/>
                    <a:pt x="2757" y="19789"/>
                    <a:pt x="2757" y="19789"/>
                  </a:cubicBezTo>
                  <a:cubicBezTo>
                    <a:pt x="2451" y="19660"/>
                    <a:pt x="2451" y="19660"/>
                    <a:pt x="2451" y="19660"/>
                  </a:cubicBezTo>
                  <a:cubicBezTo>
                    <a:pt x="2145" y="19272"/>
                    <a:pt x="2145" y="19272"/>
                    <a:pt x="2145" y="19272"/>
                  </a:cubicBezTo>
                  <a:cubicBezTo>
                    <a:pt x="2145" y="19272"/>
                    <a:pt x="1991" y="19013"/>
                    <a:pt x="1991" y="19013"/>
                  </a:cubicBezTo>
                  <a:cubicBezTo>
                    <a:pt x="1991" y="19013"/>
                    <a:pt x="2451" y="18754"/>
                    <a:pt x="2451" y="18754"/>
                  </a:cubicBezTo>
                  <a:cubicBezTo>
                    <a:pt x="2604" y="18754"/>
                    <a:pt x="2604" y="18625"/>
                    <a:pt x="2604" y="18625"/>
                  </a:cubicBezTo>
                  <a:cubicBezTo>
                    <a:pt x="2604" y="18108"/>
                    <a:pt x="2604" y="18108"/>
                    <a:pt x="2604" y="18108"/>
                  </a:cubicBezTo>
                  <a:cubicBezTo>
                    <a:pt x="2604" y="18108"/>
                    <a:pt x="2604" y="17849"/>
                    <a:pt x="2604" y="17849"/>
                  </a:cubicBezTo>
                  <a:cubicBezTo>
                    <a:pt x="2604" y="17720"/>
                    <a:pt x="2757" y="17590"/>
                    <a:pt x="2757" y="17590"/>
                  </a:cubicBezTo>
                  <a:cubicBezTo>
                    <a:pt x="2757" y="17590"/>
                    <a:pt x="2757" y="17202"/>
                    <a:pt x="2604" y="17073"/>
                  </a:cubicBezTo>
                  <a:cubicBezTo>
                    <a:pt x="2604" y="16814"/>
                    <a:pt x="2604" y="16556"/>
                    <a:pt x="2604" y="16556"/>
                  </a:cubicBezTo>
                  <a:cubicBezTo>
                    <a:pt x="2298" y="16168"/>
                    <a:pt x="2298" y="16168"/>
                    <a:pt x="2298" y="16168"/>
                  </a:cubicBezTo>
                  <a:cubicBezTo>
                    <a:pt x="2298" y="16168"/>
                    <a:pt x="2145" y="16168"/>
                    <a:pt x="1838" y="16038"/>
                  </a:cubicBezTo>
                  <a:cubicBezTo>
                    <a:pt x="1532" y="15909"/>
                    <a:pt x="1072" y="15780"/>
                    <a:pt x="1072" y="15780"/>
                  </a:cubicBezTo>
                  <a:cubicBezTo>
                    <a:pt x="1072" y="15392"/>
                    <a:pt x="1072" y="15392"/>
                    <a:pt x="1072" y="15392"/>
                  </a:cubicBezTo>
                  <a:cubicBezTo>
                    <a:pt x="919" y="15262"/>
                    <a:pt x="919" y="15262"/>
                    <a:pt x="919" y="15262"/>
                  </a:cubicBezTo>
                  <a:cubicBezTo>
                    <a:pt x="919" y="15262"/>
                    <a:pt x="613" y="15262"/>
                    <a:pt x="613" y="15392"/>
                  </a:cubicBezTo>
                  <a:cubicBezTo>
                    <a:pt x="613" y="15392"/>
                    <a:pt x="613" y="15521"/>
                    <a:pt x="613" y="15521"/>
                  </a:cubicBezTo>
                  <a:cubicBezTo>
                    <a:pt x="306" y="15392"/>
                    <a:pt x="306" y="15392"/>
                    <a:pt x="306" y="15392"/>
                  </a:cubicBezTo>
                  <a:cubicBezTo>
                    <a:pt x="306" y="15392"/>
                    <a:pt x="0" y="15004"/>
                    <a:pt x="0" y="14874"/>
                  </a:cubicBezTo>
                  <a:cubicBezTo>
                    <a:pt x="153" y="14874"/>
                    <a:pt x="306" y="14745"/>
                    <a:pt x="306" y="14616"/>
                  </a:cubicBezTo>
                  <a:cubicBezTo>
                    <a:pt x="460" y="14486"/>
                    <a:pt x="613" y="14228"/>
                    <a:pt x="613" y="14098"/>
                  </a:cubicBezTo>
                  <a:cubicBezTo>
                    <a:pt x="613" y="14098"/>
                    <a:pt x="613" y="13581"/>
                    <a:pt x="613" y="13581"/>
                  </a:cubicBezTo>
                  <a:cubicBezTo>
                    <a:pt x="613" y="13581"/>
                    <a:pt x="460" y="13451"/>
                    <a:pt x="613" y="13451"/>
                  </a:cubicBezTo>
                  <a:cubicBezTo>
                    <a:pt x="766" y="13451"/>
                    <a:pt x="613" y="13451"/>
                    <a:pt x="766" y="13451"/>
                  </a:cubicBezTo>
                  <a:cubicBezTo>
                    <a:pt x="919" y="13322"/>
                    <a:pt x="1379" y="13063"/>
                    <a:pt x="1379" y="13063"/>
                  </a:cubicBezTo>
                  <a:cubicBezTo>
                    <a:pt x="1379" y="12805"/>
                    <a:pt x="1379" y="12805"/>
                    <a:pt x="1379" y="12805"/>
                  </a:cubicBezTo>
                  <a:cubicBezTo>
                    <a:pt x="1379" y="12805"/>
                    <a:pt x="1226" y="12546"/>
                    <a:pt x="1226" y="12417"/>
                  </a:cubicBezTo>
                  <a:cubicBezTo>
                    <a:pt x="1226" y="12417"/>
                    <a:pt x="1226" y="12417"/>
                    <a:pt x="1226" y="12287"/>
                  </a:cubicBezTo>
                  <a:cubicBezTo>
                    <a:pt x="1226" y="12029"/>
                    <a:pt x="613" y="11511"/>
                    <a:pt x="613" y="11511"/>
                  </a:cubicBezTo>
                  <a:cubicBezTo>
                    <a:pt x="306" y="11511"/>
                    <a:pt x="306" y="11511"/>
                    <a:pt x="306" y="11511"/>
                  </a:cubicBezTo>
                  <a:cubicBezTo>
                    <a:pt x="306" y="11511"/>
                    <a:pt x="306" y="11382"/>
                    <a:pt x="306" y="11253"/>
                  </a:cubicBezTo>
                  <a:cubicBezTo>
                    <a:pt x="306" y="11253"/>
                    <a:pt x="306" y="10865"/>
                    <a:pt x="306" y="10865"/>
                  </a:cubicBezTo>
                  <a:cubicBezTo>
                    <a:pt x="460" y="10347"/>
                    <a:pt x="460" y="10347"/>
                    <a:pt x="460" y="10347"/>
                  </a:cubicBezTo>
                  <a:cubicBezTo>
                    <a:pt x="306" y="9442"/>
                    <a:pt x="306" y="9442"/>
                    <a:pt x="306" y="9442"/>
                  </a:cubicBezTo>
                  <a:cubicBezTo>
                    <a:pt x="306" y="8795"/>
                    <a:pt x="306" y="8795"/>
                    <a:pt x="306" y="8795"/>
                  </a:cubicBezTo>
                  <a:cubicBezTo>
                    <a:pt x="306" y="8795"/>
                    <a:pt x="306" y="8278"/>
                    <a:pt x="306" y="8149"/>
                  </a:cubicBezTo>
                  <a:cubicBezTo>
                    <a:pt x="306" y="8149"/>
                    <a:pt x="613" y="7631"/>
                    <a:pt x="613" y="7631"/>
                  </a:cubicBezTo>
                  <a:cubicBezTo>
                    <a:pt x="766" y="7372"/>
                    <a:pt x="766" y="7372"/>
                    <a:pt x="766" y="7372"/>
                  </a:cubicBezTo>
                  <a:cubicBezTo>
                    <a:pt x="919" y="7760"/>
                    <a:pt x="919" y="7760"/>
                    <a:pt x="919" y="7760"/>
                  </a:cubicBezTo>
                  <a:cubicBezTo>
                    <a:pt x="919" y="7760"/>
                    <a:pt x="766" y="7890"/>
                    <a:pt x="919" y="8019"/>
                  </a:cubicBezTo>
                  <a:cubicBezTo>
                    <a:pt x="1072" y="8019"/>
                    <a:pt x="1226" y="8019"/>
                    <a:pt x="1379" y="8019"/>
                  </a:cubicBezTo>
                  <a:cubicBezTo>
                    <a:pt x="1379" y="8019"/>
                    <a:pt x="1532" y="8149"/>
                    <a:pt x="1532" y="8149"/>
                  </a:cubicBezTo>
                  <a:cubicBezTo>
                    <a:pt x="1991" y="8407"/>
                    <a:pt x="1991" y="8407"/>
                    <a:pt x="1991" y="8407"/>
                  </a:cubicBezTo>
                  <a:cubicBezTo>
                    <a:pt x="2298" y="8666"/>
                    <a:pt x="2298" y="8666"/>
                    <a:pt x="2298" y="8666"/>
                  </a:cubicBezTo>
                  <a:cubicBezTo>
                    <a:pt x="2604" y="8795"/>
                    <a:pt x="2604" y="8795"/>
                    <a:pt x="2604" y="8795"/>
                  </a:cubicBezTo>
                  <a:cubicBezTo>
                    <a:pt x="2911" y="8795"/>
                    <a:pt x="2911" y="8795"/>
                    <a:pt x="2911" y="8795"/>
                  </a:cubicBezTo>
                  <a:cubicBezTo>
                    <a:pt x="3064" y="8666"/>
                    <a:pt x="3064" y="8666"/>
                    <a:pt x="3064" y="8666"/>
                  </a:cubicBezTo>
                  <a:cubicBezTo>
                    <a:pt x="3064" y="8666"/>
                    <a:pt x="3064" y="8537"/>
                    <a:pt x="3064" y="8537"/>
                  </a:cubicBezTo>
                  <a:cubicBezTo>
                    <a:pt x="3064" y="8537"/>
                    <a:pt x="2911" y="8278"/>
                    <a:pt x="2911" y="8278"/>
                  </a:cubicBezTo>
                  <a:cubicBezTo>
                    <a:pt x="2911" y="8149"/>
                    <a:pt x="2757" y="8019"/>
                    <a:pt x="2757" y="8019"/>
                  </a:cubicBezTo>
                  <a:cubicBezTo>
                    <a:pt x="3217" y="7760"/>
                    <a:pt x="3217" y="7760"/>
                    <a:pt x="3217" y="7760"/>
                  </a:cubicBezTo>
                  <a:cubicBezTo>
                    <a:pt x="3370" y="7502"/>
                    <a:pt x="3370" y="7502"/>
                    <a:pt x="3370" y="7502"/>
                  </a:cubicBezTo>
                  <a:cubicBezTo>
                    <a:pt x="3370" y="7502"/>
                    <a:pt x="3370" y="7372"/>
                    <a:pt x="3217" y="7372"/>
                  </a:cubicBezTo>
                  <a:cubicBezTo>
                    <a:pt x="3064" y="7372"/>
                    <a:pt x="2757" y="7372"/>
                    <a:pt x="2757" y="7372"/>
                  </a:cubicBezTo>
                  <a:cubicBezTo>
                    <a:pt x="2757" y="7372"/>
                    <a:pt x="2604" y="7243"/>
                    <a:pt x="2604" y="7243"/>
                  </a:cubicBezTo>
                  <a:cubicBezTo>
                    <a:pt x="2604" y="7243"/>
                    <a:pt x="2451" y="6984"/>
                    <a:pt x="2451" y="6984"/>
                  </a:cubicBezTo>
                  <a:cubicBezTo>
                    <a:pt x="2451" y="6984"/>
                    <a:pt x="2451" y="6726"/>
                    <a:pt x="2604" y="6726"/>
                  </a:cubicBezTo>
                  <a:cubicBezTo>
                    <a:pt x="2604" y="6596"/>
                    <a:pt x="2757" y="6208"/>
                    <a:pt x="2757" y="6208"/>
                  </a:cubicBezTo>
                  <a:cubicBezTo>
                    <a:pt x="2757" y="6208"/>
                    <a:pt x="2604" y="5950"/>
                    <a:pt x="2911" y="5950"/>
                  </a:cubicBezTo>
                  <a:cubicBezTo>
                    <a:pt x="3217" y="5950"/>
                    <a:pt x="3370" y="5950"/>
                    <a:pt x="3370" y="5950"/>
                  </a:cubicBezTo>
                  <a:cubicBezTo>
                    <a:pt x="3370" y="5950"/>
                    <a:pt x="3523" y="5691"/>
                    <a:pt x="3677" y="5691"/>
                  </a:cubicBezTo>
                  <a:cubicBezTo>
                    <a:pt x="3677" y="5691"/>
                    <a:pt x="3830" y="5562"/>
                    <a:pt x="3830" y="5691"/>
                  </a:cubicBezTo>
                  <a:cubicBezTo>
                    <a:pt x="3983" y="5691"/>
                    <a:pt x="3830" y="6079"/>
                    <a:pt x="3830" y="6079"/>
                  </a:cubicBezTo>
                  <a:cubicBezTo>
                    <a:pt x="3523" y="6338"/>
                    <a:pt x="3523" y="6338"/>
                    <a:pt x="3523" y="6338"/>
                  </a:cubicBezTo>
                  <a:cubicBezTo>
                    <a:pt x="3523" y="6338"/>
                    <a:pt x="3677" y="6467"/>
                    <a:pt x="3677" y="6596"/>
                  </a:cubicBezTo>
                  <a:cubicBezTo>
                    <a:pt x="3677" y="6726"/>
                    <a:pt x="3677" y="6855"/>
                    <a:pt x="3677" y="6855"/>
                  </a:cubicBezTo>
                  <a:cubicBezTo>
                    <a:pt x="3370" y="7243"/>
                    <a:pt x="3370" y="7243"/>
                    <a:pt x="3370" y="7243"/>
                  </a:cubicBezTo>
                  <a:cubicBezTo>
                    <a:pt x="3370" y="7243"/>
                    <a:pt x="3523" y="7243"/>
                    <a:pt x="3523" y="7243"/>
                  </a:cubicBezTo>
                  <a:cubicBezTo>
                    <a:pt x="3523" y="7372"/>
                    <a:pt x="3523" y="7502"/>
                    <a:pt x="3523" y="7502"/>
                  </a:cubicBezTo>
                  <a:cubicBezTo>
                    <a:pt x="3983" y="7372"/>
                    <a:pt x="3983" y="7372"/>
                    <a:pt x="3983" y="7372"/>
                  </a:cubicBezTo>
                  <a:cubicBezTo>
                    <a:pt x="3983" y="7372"/>
                    <a:pt x="3830" y="7243"/>
                    <a:pt x="3830" y="7243"/>
                  </a:cubicBezTo>
                  <a:cubicBezTo>
                    <a:pt x="3830" y="7243"/>
                    <a:pt x="3677" y="7114"/>
                    <a:pt x="3830" y="6984"/>
                  </a:cubicBezTo>
                  <a:cubicBezTo>
                    <a:pt x="3983" y="6855"/>
                    <a:pt x="3983" y="6726"/>
                    <a:pt x="4136" y="6726"/>
                  </a:cubicBezTo>
                  <a:cubicBezTo>
                    <a:pt x="4136" y="6596"/>
                    <a:pt x="4136" y="6596"/>
                    <a:pt x="4443" y="6596"/>
                  </a:cubicBezTo>
                  <a:cubicBezTo>
                    <a:pt x="4596" y="6596"/>
                    <a:pt x="4902" y="6855"/>
                    <a:pt x="4902" y="6855"/>
                  </a:cubicBezTo>
                  <a:cubicBezTo>
                    <a:pt x="4902" y="6855"/>
                    <a:pt x="5055" y="6984"/>
                    <a:pt x="4902" y="6984"/>
                  </a:cubicBezTo>
                  <a:cubicBezTo>
                    <a:pt x="4902" y="7114"/>
                    <a:pt x="4749" y="7243"/>
                    <a:pt x="4749" y="7243"/>
                  </a:cubicBezTo>
                  <a:cubicBezTo>
                    <a:pt x="5055" y="7631"/>
                    <a:pt x="5055" y="7631"/>
                    <a:pt x="5055" y="7631"/>
                  </a:cubicBezTo>
                  <a:cubicBezTo>
                    <a:pt x="5055" y="7631"/>
                    <a:pt x="4902" y="7631"/>
                    <a:pt x="4749" y="7760"/>
                  </a:cubicBezTo>
                  <a:cubicBezTo>
                    <a:pt x="4749" y="7760"/>
                    <a:pt x="4749" y="7890"/>
                    <a:pt x="4749" y="7890"/>
                  </a:cubicBezTo>
                  <a:cubicBezTo>
                    <a:pt x="4749" y="8019"/>
                    <a:pt x="4289" y="8149"/>
                    <a:pt x="4749" y="8149"/>
                  </a:cubicBezTo>
                  <a:cubicBezTo>
                    <a:pt x="5055" y="8149"/>
                    <a:pt x="5055" y="8149"/>
                    <a:pt x="5055" y="8019"/>
                  </a:cubicBezTo>
                  <a:cubicBezTo>
                    <a:pt x="5055" y="8019"/>
                    <a:pt x="5055" y="7760"/>
                    <a:pt x="5055" y="7760"/>
                  </a:cubicBezTo>
                  <a:cubicBezTo>
                    <a:pt x="5055" y="7760"/>
                    <a:pt x="5209" y="7760"/>
                    <a:pt x="5209" y="7760"/>
                  </a:cubicBezTo>
                  <a:cubicBezTo>
                    <a:pt x="5362" y="7760"/>
                    <a:pt x="5515" y="7760"/>
                    <a:pt x="5515" y="7760"/>
                  </a:cubicBezTo>
                  <a:cubicBezTo>
                    <a:pt x="5668" y="7890"/>
                    <a:pt x="5668" y="7890"/>
                    <a:pt x="5668" y="7890"/>
                  </a:cubicBezTo>
                  <a:cubicBezTo>
                    <a:pt x="5668" y="7890"/>
                    <a:pt x="5668" y="8019"/>
                    <a:pt x="5668" y="8149"/>
                  </a:cubicBezTo>
                  <a:cubicBezTo>
                    <a:pt x="5668" y="8149"/>
                    <a:pt x="5668" y="8278"/>
                    <a:pt x="5668" y="8278"/>
                  </a:cubicBezTo>
                  <a:cubicBezTo>
                    <a:pt x="5668" y="8278"/>
                    <a:pt x="5974" y="8537"/>
                    <a:pt x="5974" y="8407"/>
                  </a:cubicBezTo>
                  <a:cubicBezTo>
                    <a:pt x="5974" y="8278"/>
                    <a:pt x="6128" y="8407"/>
                    <a:pt x="5974" y="8149"/>
                  </a:cubicBezTo>
                  <a:cubicBezTo>
                    <a:pt x="5821" y="8019"/>
                    <a:pt x="5821" y="7760"/>
                    <a:pt x="5821" y="7760"/>
                  </a:cubicBezTo>
                  <a:cubicBezTo>
                    <a:pt x="5821" y="7760"/>
                    <a:pt x="5821" y="7760"/>
                    <a:pt x="5821" y="7631"/>
                  </a:cubicBezTo>
                  <a:cubicBezTo>
                    <a:pt x="5821" y="7631"/>
                    <a:pt x="5821" y="7502"/>
                    <a:pt x="5821" y="7502"/>
                  </a:cubicBezTo>
                  <a:cubicBezTo>
                    <a:pt x="5668" y="7372"/>
                    <a:pt x="5515" y="7372"/>
                    <a:pt x="5515" y="7243"/>
                  </a:cubicBezTo>
                  <a:cubicBezTo>
                    <a:pt x="5515" y="7243"/>
                    <a:pt x="5055" y="6855"/>
                    <a:pt x="5055" y="6855"/>
                  </a:cubicBezTo>
                  <a:cubicBezTo>
                    <a:pt x="5055" y="6855"/>
                    <a:pt x="5055" y="6726"/>
                    <a:pt x="5055" y="6596"/>
                  </a:cubicBezTo>
                  <a:cubicBezTo>
                    <a:pt x="5055" y="6338"/>
                    <a:pt x="5055" y="6208"/>
                    <a:pt x="5055" y="6079"/>
                  </a:cubicBezTo>
                  <a:cubicBezTo>
                    <a:pt x="5055" y="6079"/>
                    <a:pt x="5209" y="5820"/>
                    <a:pt x="5209" y="5820"/>
                  </a:cubicBezTo>
                  <a:cubicBezTo>
                    <a:pt x="5209" y="5820"/>
                    <a:pt x="5209" y="5562"/>
                    <a:pt x="5362" y="5432"/>
                  </a:cubicBezTo>
                  <a:cubicBezTo>
                    <a:pt x="5515" y="5432"/>
                    <a:pt x="5362" y="5303"/>
                    <a:pt x="5515" y="5303"/>
                  </a:cubicBezTo>
                  <a:cubicBezTo>
                    <a:pt x="5821" y="5174"/>
                    <a:pt x="5668" y="5174"/>
                    <a:pt x="5974" y="5174"/>
                  </a:cubicBezTo>
                  <a:cubicBezTo>
                    <a:pt x="6128" y="5174"/>
                    <a:pt x="6434" y="5303"/>
                    <a:pt x="6587" y="5303"/>
                  </a:cubicBezTo>
                  <a:cubicBezTo>
                    <a:pt x="6587" y="5303"/>
                    <a:pt x="7047" y="5432"/>
                    <a:pt x="7047" y="5432"/>
                  </a:cubicBezTo>
                  <a:cubicBezTo>
                    <a:pt x="7047" y="5432"/>
                    <a:pt x="7047" y="5303"/>
                    <a:pt x="7047" y="5303"/>
                  </a:cubicBezTo>
                  <a:cubicBezTo>
                    <a:pt x="7200" y="5303"/>
                    <a:pt x="7200" y="5044"/>
                    <a:pt x="7200" y="5174"/>
                  </a:cubicBezTo>
                  <a:cubicBezTo>
                    <a:pt x="7353" y="5174"/>
                    <a:pt x="7353" y="5303"/>
                    <a:pt x="7506" y="5174"/>
                  </a:cubicBezTo>
                  <a:cubicBezTo>
                    <a:pt x="7660" y="5044"/>
                    <a:pt x="7660" y="4915"/>
                    <a:pt x="7660" y="4915"/>
                  </a:cubicBezTo>
                  <a:cubicBezTo>
                    <a:pt x="7660" y="4915"/>
                    <a:pt x="7813" y="4915"/>
                    <a:pt x="7966" y="4786"/>
                  </a:cubicBezTo>
                  <a:cubicBezTo>
                    <a:pt x="7966" y="4786"/>
                    <a:pt x="7813" y="4656"/>
                    <a:pt x="7660" y="4656"/>
                  </a:cubicBezTo>
                  <a:cubicBezTo>
                    <a:pt x="7660" y="4656"/>
                    <a:pt x="7353" y="4656"/>
                    <a:pt x="7200" y="4786"/>
                  </a:cubicBezTo>
                  <a:cubicBezTo>
                    <a:pt x="7047" y="4786"/>
                    <a:pt x="7200" y="4786"/>
                    <a:pt x="6894" y="4786"/>
                  </a:cubicBezTo>
                  <a:cubicBezTo>
                    <a:pt x="6740" y="4915"/>
                    <a:pt x="6740" y="4915"/>
                    <a:pt x="6434" y="4915"/>
                  </a:cubicBezTo>
                  <a:cubicBezTo>
                    <a:pt x="6128" y="4915"/>
                    <a:pt x="6128" y="4915"/>
                    <a:pt x="5974" y="5044"/>
                  </a:cubicBezTo>
                  <a:cubicBezTo>
                    <a:pt x="5821" y="5174"/>
                    <a:pt x="5668" y="5174"/>
                    <a:pt x="5668" y="5174"/>
                  </a:cubicBezTo>
                  <a:cubicBezTo>
                    <a:pt x="5515" y="5174"/>
                    <a:pt x="5515" y="5174"/>
                    <a:pt x="5515" y="5174"/>
                  </a:cubicBezTo>
                  <a:cubicBezTo>
                    <a:pt x="5515" y="5174"/>
                    <a:pt x="5362" y="5174"/>
                    <a:pt x="5209" y="5174"/>
                  </a:cubicBezTo>
                  <a:cubicBezTo>
                    <a:pt x="5209" y="5174"/>
                    <a:pt x="5055" y="5044"/>
                    <a:pt x="5055" y="5044"/>
                  </a:cubicBezTo>
                  <a:cubicBezTo>
                    <a:pt x="5055" y="5044"/>
                    <a:pt x="5055" y="5044"/>
                    <a:pt x="4902" y="5044"/>
                  </a:cubicBezTo>
                  <a:cubicBezTo>
                    <a:pt x="4749" y="5044"/>
                    <a:pt x="4596" y="5174"/>
                    <a:pt x="4596" y="5174"/>
                  </a:cubicBezTo>
                  <a:cubicBezTo>
                    <a:pt x="4289" y="5174"/>
                    <a:pt x="4289" y="5174"/>
                    <a:pt x="4289" y="5174"/>
                  </a:cubicBezTo>
                  <a:cubicBezTo>
                    <a:pt x="4289" y="5174"/>
                    <a:pt x="4136" y="5174"/>
                    <a:pt x="3983" y="5174"/>
                  </a:cubicBezTo>
                  <a:cubicBezTo>
                    <a:pt x="3983" y="5303"/>
                    <a:pt x="3677" y="5303"/>
                    <a:pt x="3677" y="5303"/>
                  </a:cubicBezTo>
                  <a:cubicBezTo>
                    <a:pt x="3677" y="5303"/>
                    <a:pt x="3677" y="5303"/>
                    <a:pt x="3523" y="5303"/>
                  </a:cubicBezTo>
                  <a:cubicBezTo>
                    <a:pt x="3523" y="5432"/>
                    <a:pt x="3677" y="5432"/>
                    <a:pt x="3523" y="5562"/>
                  </a:cubicBezTo>
                  <a:cubicBezTo>
                    <a:pt x="3370" y="5562"/>
                    <a:pt x="3064" y="5562"/>
                    <a:pt x="3064" y="5562"/>
                  </a:cubicBezTo>
                  <a:cubicBezTo>
                    <a:pt x="2911" y="5691"/>
                    <a:pt x="2911" y="5691"/>
                    <a:pt x="2911" y="5691"/>
                  </a:cubicBezTo>
                  <a:cubicBezTo>
                    <a:pt x="2757" y="5950"/>
                    <a:pt x="2757" y="5950"/>
                    <a:pt x="2757" y="5950"/>
                  </a:cubicBezTo>
                  <a:cubicBezTo>
                    <a:pt x="2604" y="5950"/>
                    <a:pt x="2604" y="5950"/>
                    <a:pt x="2604" y="5950"/>
                  </a:cubicBezTo>
                  <a:cubicBezTo>
                    <a:pt x="2451" y="6338"/>
                    <a:pt x="2451" y="6338"/>
                    <a:pt x="2451" y="6338"/>
                  </a:cubicBezTo>
                  <a:cubicBezTo>
                    <a:pt x="2451" y="6467"/>
                    <a:pt x="2451" y="6467"/>
                    <a:pt x="2451" y="6467"/>
                  </a:cubicBezTo>
                  <a:cubicBezTo>
                    <a:pt x="2145" y="6726"/>
                    <a:pt x="2145" y="6726"/>
                    <a:pt x="2145" y="6726"/>
                  </a:cubicBezTo>
                  <a:cubicBezTo>
                    <a:pt x="1991" y="6855"/>
                    <a:pt x="1991" y="6855"/>
                    <a:pt x="1991" y="6855"/>
                  </a:cubicBezTo>
                  <a:cubicBezTo>
                    <a:pt x="1991" y="6855"/>
                    <a:pt x="1991" y="6855"/>
                    <a:pt x="2145" y="6984"/>
                  </a:cubicBezTo>
                  <a:cubicBezTo>
                    <a:pt x="2145" y="6984"/>
                    <a:pt x="2145" y="7114"/>
                    <a:pt x="2145" y="7114"/>
                  </a:cubicBezTo>
                  <a:cubicBezTo>
                    <a:pt x="1991" y="7243"/>
                    <a:pt x="1991" y="7243"/>
                    <a:pt x="1991" y="7243"/>
                  </a:cubicBezTo>
                  <a:cubicBezTo>
                    <a:pt x="2145" y="7502"/>
                    <a:pt x="2145" y="7502"/>
                    <a:pt x="2145" y="7502"/>
                  </a:cubicBezTo>
                  <a:cubicBezTo>
                    <a:pt x="2451" y="7372"/>
                    <a:pt x="2451" y="7372"/>
                    <a:pt x="2451" y="7372"/>
                  </a:cubicBezTo>
                  <a:cubicBezTo>
                    <a:pt x="2604" y="7631"/>
                    <a:pt x="2604" y="7631"/>
                    <a:pt x="2604" y="7631"/>
                  </a:cubicBezTo>
                  <a:cubicBezTo>
                    <a:pt x="2451" y="7890"/>
                    <a:pt x="2451" y="7890"/>
                    <a:pt x="2451" y="7890"/>
                  </a:cubicBezTo>
                  <a:cubicBezTo>
                    <a:pt x="2451" y="7890"/>
                    <a:pt x="2298" y="8019"/>
                    <a:pt x="2145" y="8019"/>
                  </a:cubicBezTo>
                  <a:cubicBezTo>
                    <a:pt x="2145" y="8019"/>
                    <a:pt x="1991" y="7890"/>
                    <a:pt x="1991" y="7890"/>
                  </a:cubicBezTo>
                  <a:cubicBezTo>
                    <a:pt x="1838" y="7631"/>
                    <a:pt x="1838" y="7631"/>
                    <a:pt x="1838" y="7631"/>
                  </a:cubicBezTo>
                  <a:cubicBezTo>
                    <a:pt x="1838" y="7502"/>
                    <a:pt x="1838" y="7502"/>
                    <a:pt x="1838" y="7502"/>
                  </a:cubicBezTo>
                  <a:cubicBezTo>
                    <a:pt x="1838" y="7372"/>
                    <a:pt x="1838" y="7372"/>
                    <a:pt x="1838" y="7372"/>
                  </a:cubicBezTo>
                  <a:cubicBezTo>
                    <a:pt x="1379" y="7502"/>
                    <a:pt x="1379" y="7502"/>
                    <a:pt x="1379" y="7502"/>
                  </a:cubicBezTo>
                  <a:cubicBezTo>
                    <a:pt x="1379" y="7372"/>
                    <a:pt x="1379" y="7372"/>
                    <a:pt x="1379" y="7372"/>
                  </a:cubicBezTo>
                  <a:cubicBezTo>
                    <a:pt x="1379" y="7372"/>
                    <a:pt x="1226" y="7243"/>
                    <a:pt x="1226" y="7243"/>
                  </a:cubicBezTo>
                  <a:cubicBezTo>
                    <a:pt x="1226" y="7114"/>
                    <a:pt x="1072" y="6984"/>
                    <a:pt x="1072" y="6984"/>
                  </a:cubicBezTo>
                  <a:cubicBezTo>
                    <a:pt x="766" y="6596"/>
                    <a:pt x="766" y="6596"/>
                    <a:pt x="766" y="6596"/>
                  </a:cubicBezTo>
                  <a:cubicBezTo>
                    <a:pt x="766" y="6596"/>
                    <a:pt x="766" y="6596"/>
                    <a:pt x="919" y="6596"/>
                  </a:cubicBezTo>
                  <a:cubicBezTo>
                    <a:pt x="919" y="6467"/>
                    <a:pt x="919" y="6467"/>
                    <a:pt x="1072" y="6338"/>
                  </a:cubicBezTo>
                  <a:cubicBezTo>
                    <a:pt x="1072" y="6208"/>
                    <a:pt x="1379" y="5950"/>
                    <a:pt x="1379" y="5950"/>
                  </a:cubicBezTo>
                  <a:cubicBezTo>
                    <a:pt x="1532" y="5562"/>
                    <a:pt x="1532" y="5562"/>
                    <a:pt x="1532" y="5562"/>
                  </a:cubicBezTo>
                  <a:cubicBezTo>
                    <a:pt x="1838" y="5303"/>
                    <a:pt x="1838" y="5303"/>
                    <a:pt x="1838" y="5303"/>
                  </a:cubicBezTo>
                  <a:cubicBezTo>
                    <a:pt x="1991" y="5044"/>
                    <a:pt x="1991" y="5044"/>
                    <a:pt x="1991" y="5044"/>
                  </a:cubicBezTo>
                  <a:cubicBezTo>
                    <a:pt x="2298" y="4656"/>
                    <a:pt x="2298" y="4656"/>
                    <a:pt x="2298" y="4656"/>
                  </a:cubicBezTo>
                  <a:cubicBezTo>
                    <a:pt x="2604" y="4398"/>
                    <a:pt x="2604" y="4398"/>
                    <a:pt x="2604" y="4398"/>
                  </a:cubicBezTo>
                  <a:cubicBezTo>
                    <a:pt x="3064" y="4398"/>
                    <a:pt x="3064" y="4398"/>
                    <a:pt x="3064" y="4398"/>
                  </a:cubicBezTo>
                  <a:cubicBezTo>
                    <a:pt x="3064" y="4398"/>
                    <a:pt x="3370" y="4527"/>
                    <a:pt x="3370" y="4527"/>
                  </a:cubicBezTo>
                  <a:cubicBezTo>
                    <a:pt x="3523" y="4398"/>
                    <a:pt x="3677" y="4268"/>
                    <a:pt x="3677" y="4268"/>
                  </a:cubicBezTo>
                  <a:cubicBezTo>
                    <a:pt x="4289" y="4139"/>
                    <a:pt x="4289" y="4139"/>
                    <a:pt x="4289" y="4139"/>
                  </a:cubicBezTo>
                  <a:cubicBezTo>
                    <a:pt x="4443" y="4139"/>
                    <a:pt x="4443" y="4139"/>
                    <a:pt x="4443" y="4139"/>
                  </a:cubicBezTo>
                  <a:cubicBezTo>
                    <a:pt x="4902" y="4268"/>
                    <a:pt x="4902" y="4268"/>
                    <a:pt x="4902" y="4268"/>
                  </a:cubicBezTo>
                  <a:cubicBezTo>
                    <a:pt x="5209" y="4268"/>
                    <a:pt x="5209" y="4268"/>
                    <a:pt x="5209" y="4268"/>
                  </a:cubicBezTo>
                  <a:cubicBezTo>
                    <a:pt x="5821" y="4268"/>
                    <a:pt x="5821" y="4268"/>
                    <a:pt x="5821" y="4268"/>
                  </a:cubicBezTo>
                  <a:close/>
                  <a:moveTo>
                    <a:pt x="2451" y="17978"/>
                  </a:moveTo>
                  <a:cubicBezTo>
                    <a:pt x="2451" y="17978"/>
                    <a:pt x="2451" y="17978"/>
                    <a:pt x="2451" y="17978"/>
                  </a:cubicBezTo>
                  <a:cubicBezTo>
                    <a:pt x="2451" y="17978"/>
                    <a:pt x="2145" y="17849"/>
                    <a:pt x="2145" y="17849"/>
                  </a:cubicBezTo>
                  <a:cubicBezTo>
                    <a:pt x="2145" y="17978"/>
                    <a:pt x="1991" y="18108"/>
                    <a:pt x="1991" y="18108"/>
                  </a:cubicBezTo>
                  <a:cubicBezTo>
                    <a:pt x="1838" y="18496"/>
                    <a:pt x="1838" y="18496"/>
                    <a:pt x="1838" y="18496"/>
                  </a:cubicBezTo>
                  <a:cubicBezTo>
                    <a:pt x="1685" y="18625"/>
                    <a:pt x="1685" y="18625"/>
                    <a:pt x="1685" y="18625"/>
                  </a:cubicBezTo>
                  <a:cubicBezTo>
                    <a:pt x="1685" y="18884"/>
                    <a:pt x="1685" y="18884"/>
                    <a:pt x="1685" y="18884"/>
                  </a:cubicBezTo>
                  <a:cubicBezTo>
                    <a:pt x="1226" y="19013"/>
                    <a:pt x="1226" y="19013"/>
                    <a:pt x="1226" y="19013"/>
                  </a:cubicBezTo>
                  <a:cubicBezTo>
                    <a:pt x="1226" y="19013"/>
                    <a:pt x="1226" y="19143"/>
                    <a:pt x="1379" y="19143"/>
                  </a:cubicBezTo>
                  <a:cubicBezTo>
                    <a:pt x="1532" y="19143"/>
                    <a:pt x="1685" y="19143"/>
                    <a:pt x="1685" y="19143"/>
                  </a:cubicBezTo>
                  <a:cubicBezTo>
                    <a:pt x="1685" y="19013"/>
                    <a:pt x="1838" y="18884"/>
                    <a:pt x="1838" y="18884"/>
                  </a:cubicBezTo>
                  <a:cubicBezTo>
                    <a:pt x="1838" y="18884"/>
                    <a:pt x="1991" y="18754"/>
                    <a:pt x="1991" y="18754"/>
                  </a:cubicBezTo>
                  <a:cubicBezTo>
                    <a:pt x="2145" y="18754"/>
                    <a:pt x="2451" y="18754"/>
                    <a:pt x="2451" y="18625"/>
                  </a:cubicBezTo>
                  <a:cubicBezTo>
                    <a:pt x="2451" y="18496"/>
                    <a:pt x="2451" y="18366"/>
                    <a:pt x="2451" y="18366"/>
                  </a:cubicBezTo>
                  <a:cubicBezTo>
                    <a:pt x="2451" y="18237"/>
                    <a:pt x="2451" y="18237"/>
                    <a:pt x="2451" y="18237"/>
                  </a:cubicBezTo>
                  <a:cubicBezTo>
                    <a:pt x="2451" y="17978"/>
                    <a:pt x="2451" y="17978"/>
                    <a:pt x="2451" y="17978"/>
                  </a:cubicBezTo>
                  <a:close/>
                  <a:moveTo>
                    <a:pt x="10417" y="14486"/>
                  </a:moveTo>
                  <a:cubicBezTo>
                    <a:pt x="10417" y="14486"/>
                    <a:pt x="10417" y="14486"/>
                    <a:pt x="10417" y="14486"/>
                  </a:cubicBezTo>
                  <a:cubicBezTo>
                    <a:pt x="10417" y="14486"/>
                    <a:pt x="10417" y="14486"/>
                    <a:pt x="10417" y="14486"/>
                  </a:cubicBezTo>
                  <a:cubicBezTo>
                    <a:pt x="10417" y="14486"/>
                    <a:pt x="10570" y="14357"/>
                    <a:pt x="10570" y="14357"/>
                  </a:cubicBezTo>
                  <a:cubicBezTo>
                    <a:pt x="10570" y="14228"/>
                    <a:pt x="10417" y="14098"/>
                    <a:pt x="10417" y="14098"/>
                  </a:cubicBezTo>
                  <a:cubicBezTo>
                    <a:pt x="10417" y="13969"/>
                    <a:pt x="10570" y="13969"/>
                    <a:pt x="10570" y="13969"/>
                  </a:cubicBezTo>
                  <a:cubicBezTo>
                    <a:pt x="10570" y="13969"/>
                    <a:pt x="10570" y="13840"/>
                    <a:pt x="10570" y="13840"/>
                  </a:cubicBezTo>
                  <a:cubicBezTo>
                    <a:pt x="10570" y="13840"/>
                    <a:pt x="10417" y="13840"/>
                    <a:pt x="10417" y="13840"/>
                  </a:cubicBezTo>
                  <a:cubicBezTo>
                    <a:pt x="10264" y="13840"/>
                    <a:pt x="10264" y="13969"/>
                    <a:pt x="10264" y="13969"/>
                  </a:cubicBezTo>
                  <a:cubicBezTo>
                    <a:pt x="10264" y="13969"/>
                    <a:pt x="10264" y="14098"/>
                    <a:pt x="10264" y="14098"/>
                  </a:cubicBezTo>
                  <a:cubicBezTo>
                    <a:pt x="10264" y="14098"/>
                    <a:pt x="10264" y="14228"/>
                    <a:pt x="10264" y="14228"/>
                  </a:cubicBezTo>
                  <a:cubicBezTo>
                    <a:pt x="10264" y="14228"/>
                    <a:pt x="10417" y="14486"/>
                    <a:pt x="10417" y="14486"/>
                  </a:cubicBezTo>
                  <a:close/>
                  <a:moveTo>
                    <a:pt x="14553" y="17978"/>
                  </a:moveTo>
                  <a:cubicBezTo>
                    <a:pt x="14553" y="17978"/>
                    <a:pt x="14553" y="17978"/>
                    <a:pt x="14553" y="17978"/>
                  </a:cubicBezTo>
                  <a:cubicBezTo>
                    <a:pt x="14706" y="17849"/>
                    <a:pt x="14706" y="17849"/>
                    <a:pt x="14706" y="17849"/>
                  </a:cubicBezTo>
                  <a:cubicBezTo>
                    <a:pt x="14860" y="17978"/>
                    <a:pt x="14860" y="17978"/>
                    <a:pt x="14860" y="17978"/>
                  </a:cubicBezTo>
                  <a:cubicBezTo>
                    <a:pt x="14860" y="17978"/>
                    <a:pt x="14706" y="18108"/>
                    <a:pt x="14706" y="18108"/>
                  </a:cubicBezTo>
                  <a:cubicBezTo>
                    <a:pt x="14706" y="18108"/>
                    <a:pt x="14553" y="17978"/>
                    <a:pt x="14553" y="17978"/>
                  </a:cubicBezTo>
                  <a:cubicBezTo>
                    <a:pt x="14553" y="17978"/>
                    <a:pt x="14553" y="17978"/>
                    <a:pt x="14553" y="17978"/>
                  </a:cubicBezTo>
                  <a:close/>
                  <a:moveTo>
                    <a:pt x="16238" y="19660"/>
                  </a:moveTo>
                  <a:cubicBezTo>
                    <a:pt x="16238" y="19660"/>
                    <a:pt x="16238" y="19660"/>
                    <a:pt x="16238" y="19660"/>
                  </a:cubicBezTo>
                  <a:cubicBezTo>
                    <a:pt x="16391" y="19660"/>
                    <a:pt x="16391" y="19660"/>
                    <a:pt x="16391" y="19660"/>
                  </a:cubicBezTo>
                  <a:cubicBezTo>
                    <a:pt x="16391" y="19789"/>
                    <a:pt x="16391" y="19789"/>
                    <a:pt x="16391" y="19789"/>
                  </a:cubicBezTo>
                  <a:cubicBezTo>
                    <a:pt x="16238" y="19919"/>
                    <a:pt x="16238" y="19919"/>
                    <a:pt x="16238" y="19919"/>
                  </a:cubicBezTo>
                  <a:cubicBezTo>
                    <a:pt x="16238" y="19789"/>
                    <a:pt x="16238" y="19789"/>
                    <a:pt x="16238" y="19789"/>
                  </a:cubicBezTo>
                  <a:cubicBezTo>
                    <a:pt x="16238" y="19660"/>
                    <a:pt x="16238" y="19660"/>
                    <a:pt x="16238" y="19660"/>
                  </a:cubicBezTo>
                  <a:close/>
                  <a:moveTo>
                    <a:pt x="15779" y="19401"/>
                  </a:moveTo>
                  <a:cubicBezTo>
                    <a:pt x="15779" y="19401"/>
                    <a:pt x="15779" y="19401"/>
                    <a:pt x="15779" y="19401"/>
                  </a:cubicBezTo>
                  <a:cubicBezTo>
                    <a:pt x="15626" y="19272"/>
                    <a:pt x="15626" y="19272"/>
                    <a:pt x="15626" y="19272"/>
                  </a:cubicBezTo>
                  <a:cubicBezTo>
                    <a:pt x="15932" y="19272"/>
                    <a:pt x="15932" y="19272"/>
                    <a:pt x="15932" y="19272"/>
                  </a:cubicBezTo>
                  <a:cubicBezTo>
                    <a:pt x="15932" y="19272"/>
                    <a:pt x="15932" y="19272"/>
                    <a:pt x="16085" y="19272"/>
                  </a:cubicBezTo>
                  <a:cubicBezTo>
                    <a:pt x="16085" y="19272"/>
                    <a:pt x="16238" y="19401"/>
                    <a:pt x="16238" y="19401"/>
                  </a:cubicBezTo>
                  <a:cubicBezTo>
                    <a:pt x="16238" y="19401"/>
                    <a:pt x="16238" y="19401"/>
                    <a:pt x="16238" y="19401"/>
                  </a:cubicBezTo>
                  <a:cubicBezTo>
                    <a:pt x="16085" y="19401"/>
                    <a:pt x="16085" y="19531"/>
                    <a:pt x="16085" y="19531"/>
                  </a:cubicBezTo>
                  <a:cubicBezTo>
                    <a:pt x="15932" y="19531"/>
                    <a:pt x="15779" y="19401"/>
                    <a:pt x="15779" y="19401"/>
                  </a:cubicBezTo>
                  <a:close/>
                  <a:moveTo>
                    <a:pt x="16545" y="19401"/>
                  </a:moveTo>
                  <a:cubicBezTo>
                    <a:pt x="16545" y="19401"/>
                    <a:pt x="16545" y="19401"/>
                    <a:pt x="16545" y="19401"/>
                  </a:cubicBezTo>
                  <a:cubicBezTo>
                    <a:pt x="16391" y="19143"/>
                    <a:pt x="16391" y="19143"/>
                    <a:pt x="16391" y="19143"/>
                  </a:cubicBezTo>
                  <a:cubicBezTo>
                    <a:pt x="16545" y="19013"/>
                    <a:pt x="16545" y="19013"/>
                    <a:pt x="16545" y="19013"/>
                  </a:cubicBezTo>
                  <a:cubicBezTo>
                    <a:pt x="16545" y="19013"/>
                    <a:pt x="16698" y="19143"/>
                    <a:pt x="16698" y="19143"/>
                  </a:cubicBezTo>
                  <a:cubicBezTo>
                    <a:pt x="16698" y="19143"/>
                    <a:pt x="16545" y="19272"/>
                    <a:pt x="16545" y="19272"/>
                  </a:cubicBezTo>
                  <a:cubicBezTo>
                    <a:pt x="16545" y="19401"/>
                    <a:pt x="16545" y="19401"/>
                    <a:pt x="16545" y="19401"/>
                  </a:cubicBezTo>
                  <a:close/>
                  <a:moveTo>
                    <a:pt x="19762" y="18625"/>
                  </a:moveTo>
                  <a:cubicBezTo>
                    <a:pt x="19762" y="18625"/>
                    <a:pt x="19762" y="18625"/>
                    <a:pt x="19762" y="18625"/>
                  </a:cubicBezTo>
                  <a:cubicBezTo>
                    <a:pt x="19609" y="18496"/>
                    <a:pt x="19609" y="18496"/>
                    <a:pt x="19609" y="18496"/>
                  </a:cubicBezTo>
                  <a:cubicBezTo>
                    <a:pt x="19609" y="18496"/>
                    <a:pt x="19762" y="18366"/>
                    <a:pt x="19762" y="18366"/>
                  </a:cubicBezTo>
                  <a:cubicBezTo>
                    <a:pt x="19915" y="18366"/>
                    <a:pt x="20068" y="18366"/>
                    <a:pt x="20068" y="18366"/>
                  </a:cubicBezTo>
                  <a:cubicBezTo>
                    <a:pt x="19762" y="18625"/>
                    <a:pt x="19762" y="18625"/>
                    <a:pt x="19762" y="18625"/>
                  </a:cubicBezTo>
                  <a:close/>
                  <a:moveTo>
                    <a:pt x="19455" y="18754"/>
                  </a:moveTo>
                  <a:cubicBezTo>
                    <a:pt x="19455" y="18754"/>
                    <a:pt x="19455" y="18754"/>
                    <a:pt x="19455" y="18754"/>
                  </a:cubicBezTo>
                  <a:cubicBezTo>
                    <a:pt x="19455" y="18366"/>
                    <a:pt x="19455" y="18366"/>
                    <a:pt x="19455" y="18366"/>
                  </a:cubicBezTo>
                  <a:cubicBezTo>
                    <a:pt x="19609" y="18237"/>
                    <a:pt x="19609" y="18237"/>
                    <a:pt x="19609" y="18237"/>
                  </a:cubicBezTo>
                  <a:cubicBezTo>
                    <a:pt x="19455" y="18108"/>
                    <a:pt x="19455" y="18108"/>
                    <a:pt x="19455" y="18108"/>
                  </a:cubicBezTo>
                  <a:cubicBezTo>
                    <a:pt x="19302" y="18108"/>
                    <a:pt x="19302" y="18108"/>
                    <a:pt x="19302" y="18108"/>
                  </a:cubicBezTo>
                  <a:cubicBezTo>
                    <a:pt x="19302" y="18108"/>
                    <a:pt x="19149" y="17849"/>
                    <a:pt x="19149" y="17849"/>
                  </a:cubicBezTo>
                  <a:cubicBezTo>
                    <a:pt x="19149" y="17849"/>
                    <a:pt x="18996" y="17849"/>
                    <a:pt x="18996" y="17849"/>
                  </a:cubicBezTo>
                  <a:cubicBezTo>
                    <a:pt x="18996" y="17849"/>
                    <a:pt x="18843" y="17849"/>
                    <a:pt x="18843" y="17849"/>
                  </a:cubicBezTo>
                  <a:cubicBezTo>
                    <a:pt x="18843" y="17849"/>
                    <a:pt x="18996" y="17720"/>
                    <a:pt x="18996" y="17720"/>
                  </a:cubicBezTo>
                  <a:cubicBezTo>
                    <a:pt x="18996" y="17720"/>
                    <a:pt x="18996" y="17720"/>
                    <a:pt x="19149" y="17720"/>
                  </a:cubicBezTo>
                  <a:cubicBezTo>
                    <a:pt x="19302" y="17590"/>
                    <a:pt x="19302" y="17590"/>
                    <a:pt x="19302" y="17590"/>
                  </a:cubicBezTo>
                  <a:cubicBezTo>
                    <a:pt x="19302" y="17590"/>
                    <a:pt x="19609" y="17202"/>
                    <a:pt x="19915" y="17202"/>
                  </a:cubicBezTo>
                  <a:cubicBezTo>
                    <a:pt x="20068" y="17202"/>
                    <a:pt x="20374" y="17202"/>
                    <a:pt x="20374" y="17202"/>
                  </a:cubicBezTo>
                  <a:cubicBezTo>
                    <a:pt x="20681" y="16944"/>
                    <a:pt x="20681" y="16944"/>
                    <a:pt x="20681" y="16944"/>
                  </a:cubicBezTo>
                  <a:cubicBezTo>
                    <a:pt x="20681" y="16944"/>
                    <a:pt x="20681" y="16814"/>
                    <a:pt x="20681" y="16814"/>
                  </a:cubicBezTo>
                  <a:cubicBezTo>
                    <a:pt x="20834" y="16814"/>
                    <a:pt x="20681" y="16556"/>
                    <a:pt x="20681" y="16556"/>
                  </a:cubicBezTo>
                  <a:cubicBezTo>
                    <a:pt x="20681" y="16297"/>
                    <a:pt x="20681" y="16297"/>
                    <a:pt x="20681" y="16297"/>
                  </a:cubicBezTo>
                  <a:cubicBezTo>
                    <a:pt x="20681" y="16297"/>
                    <a:pt x="20221" y="16038"/>
                    <a:pt x="20221" y="16038"/>
                  </a:cubicBezTo>
                  <a:cubicBezTo>
                    <a:pt x="20221" y="16038"/>
                    <a:pt x="19609" y="15780"/>
                    <a:pt x="19609" y="15780"/>
                  </a:cubicBezTo>
                  <a:cubicBezTo>
                    <a:pt x="19609" y="15780"/>
                    <a:pt x="19609" y="15521"/>
                    <a:pt x="19455" y="15521"/>
                  </a:cubicBezTo>
                  <a:cubicBezTo>
                    <a:pt x="19455" y="15521"/>
                    <a:pt x="19609" y="15262"/>
                    <a:pt x="19609" y="15262"/>
                  </a:cubicBezTo>
                  <a:cubicBezTo>
                    <a:pt x="19609" y="15262"/>
                    <a:pt x="19915" y="14874"/>
                    <a:pt x="20221" y="14745"/>
                  </a:cubicBezTo>
                  <a:cubicBezTo>
                    <a:pt x="20374" y="14616"/>
                    <a:pt x="20528" y="14616"/>
                    <a:pt x="20528" y="14616"/>
                  </a:cubicBezTo>
                  <a:cubicBezTo>
                    <a:pt x="20681" y="14616"/>
                    <a:pt x="20834" y="14745"/>
                    <a:pt x="20987" y="14874"/>
                  </a:cubicBezTo>
                  <a:cubicBezTo>
                    <a:pt x="20987" y="14874"/>
                    <a:pt x="21140" y="14874"/>
                    <a:pt x="21294" y="14874"/>
                  </a:cubicBezTo>
                  <a:cubicBezTo>
                    <a:pt x="21447" y="14874"/>
                    <a:pt x="21600" y="14874"/>
                    <a:pt x="21600" y="14874"/>
                  </a:cubicBezTo>
                  <a:cubicBezTo>
                    <a:pt x="21600" y="14874"/>
                    <a:pt x="21600" y="14616"/>
                    <a:pt x="21600" y="14486"/>
                  </a:cubicBezTo>
                  <a:cubicBezTo>
                    <a:pt x="21600" y="14357"/>
                    <a:pt x="21600" y="14486"/>
                    <a:pt x="21447" y="14357"/>
                  </a:cubicBezTo>
                  <a:cubicBezTo>
                    <a:pt x="21447" y="14357"/>
                    <a:pt x="21294" y="14228"/>
                    <a:pt x="21294" y="14228"/>
                  </a:cubicBezTo>
                  <a:cubicBezTo>
                    <a:pt x="21294" y="14228"/>
                    <a:pt x="21294" y="14098"/>
                    <a:pt x="21294" y="14098"/>
                  </a:cubicBezTo>
                  <a:cubicBezTo>
                    <a:pt x="21294" y="14098"/>
                    <a:pt x="21294" y="13969"/>
                    <a:pt x="21294" y="13840"/>
                  </a:cubicBezTo>
                  <a:cubicBezTo>
                    <a:pt x="21294" y="13840"/>
                    <a:pt x="21294" y="13451"/>
                    <a:pt x="21294" y="13451"/>
                  </a:cubicBezTo>
                  <a:cubicBezTo>
                    <a:pt x="21294" y="13322"/>
                    <a:pt x="21140" y="13063"/>
                    <a:pt x="21140" y="13063"/>
                  </a:cubicBezTo>
                  <a:cubicBezTo>
                    <a:pt x="21140" y="12934"/>
                    <a:pt x="20987" y="12805"/>
                    <a:pt x="20987" y="12805"/>
                  </a:cubicBezTo>
                  <a:cubicBezTo>
                    <a:pt x="20834" y="12546"/>
                    <a:pt x="20834" y="12546"/>
                    <a:pt x="20834" y="12546"/>
                  </a:cubicBezTo>
                  <a:cubicBezTo>
                    <a:pt x="20834" y="12546"/>
                    <a:pt x="20834" y="12546"/>
                    <a:pt x="20834" y="12417"/>
                  </a:cubicBezTo>
                  <a:cubicBezTo>
                    <a:pt x="20834" y="12158"/>
                    <a:pt x="20987" y="11899"/>
                    <a:pt x="20987" y="11899"/>
                  </a:cubicBezTo>
                  <a:cubicBezTo>
                    <a:pt x="21140" y="11770"/>
                    <a:pt x="21140" y="11511"/>
                    <a:pt x="21140" y="11511"/>
                  </a:cubicBezTo>
                  <a:cubicBezTo>
                    <a:pt x="20987" y="11382"/>
                    <a:pt x="20987" y="11382"/>
                    <a:pt x="20987" y="11382"/>
                  </a:cubicBezTo>
                  <a:cubicBezTo>
                    <a:pt x="20987" y="11382"/>
                    <a:pt x="20374" y="11253"/>
                    <a:pt x="20374" y="11253"/>
                  </a:cubicBezTo>
                  <a:cubicBezTo>
                    <a:pt x="20374" y="11253"/>
                    <a:pt x="20221" y="11123"/>
                    <a:pt x="20221" y="11123"/>
                  </a:cubicBezTo>
                  <a:cubicBezTo>
                    <a:pt x="20221" y="10994"/>
                    <a:pt x="20068" y="10994"/>
                    <a:pt x="20068" y="10994"/>
                  </a:cubicBezTo>
                  <a:cubicBezTo>
                    <a:pt x="20068" y="10994"/>
                    <a:pt x="19455" y="11123"/>
                    <a:pt x="19455" y="11123"/>
                  </a:cubicBezTo>
                  <a:cubicBezTo>
                    <a:pt x="19455" y="11123"/>
                    <a:pt x="19149" y="11253"/>
                    <a:pt x="18996" y="11382"/>
                  </a:cubicBezTo>
                  <a:cubicBezTo>
                    <a:pt x="18689" y="11382"/>
                    <a:pt x="18689" y="11382"/>
                    <a:pt x="18536" y="11511"/>
                  </a:cubicBezTo>
                  <a:cubicBezTo>
                    <a:pt x="18230" y="11641"/>
                    <a:pt x="18230" y="11770"/>
                    <a:pt x="18077" y="11899"/>
                  </a:cubicBezTo>
                  <a:cubicBezTo>
                    <a:pt x="17923" y="11899"/>
                    <a:pt x="17770" y="12158"/>
                    <a:pt x="17770" y="12158"/>
                  </a:cubicBezTo>
                  <a:cubicBezTo>
                    <a:pt x="17617" y="12287"/>
                    <a:pt x="17617" y="12287"/>
                    <a:pt x="17770" y="12417"/>
                  </a:cubicBezTo>
                  <a:cubicBezTo>
                    <a:pt x="17770" y="12546"/>
                    <a:pt x="17923" y="12417"/>
                    <a:pt x="17923" y="12417"/>
                  </a:cubicBezTo>
                  <a:cubicBezTo>
                    <a:pt x="17923" y="12417"/>
                    <a:pt x="18077" y="12417"/>
                    <a:pt x="18230" y="12417"/>
                  </a:cubicBezTo>
                  <a:cubicBezTo>
                    <a:pt x="18383" y="12417"/>
                    <a:pt x="18383" y="12546"/>
                    <a:pt x="18230" y="12546"/>
                  </a:cubicBezTo>
                  <a:cubicBezTo>
                    <a:pt x="18230" y="12546"/>
                    <a:pt x="18230" y="12675"/>
                    <a:pt x="18230" y="12675"/>
                  </a:cubicBezTo>
                  <a:cubicBezTo>
                    <a:pt x="18230" y="12675"/>
                    <a:pt x="18230" y="12675"/>
                    <a:pt x="18077" y="12805"/>
                  </a:cubicBezTo>
                  <a:cubicBezTo>
                    <a:pt x="18077" y="12805"/>
                    <a:pt x="18077" y="12934"/>
                    <a:pt x="18077" y="13063"/>
                  </a:cubicBezTo>
                  <a:cubicBezTo>
                    <a:pt x="18077" y="13193"/>
                    <a:pt x="17923" y="13193"/>
                    <a:pt x="17923" y="13193"/>
                  </a:cubicBezTo>
                  <a:cubicBezTo>
                    <a:pt x="17770" y="13322"/>
                    <a:pt x="17770" y="13322"/>
                    <a:pt x="17617" y="13451"/>
                  </a:cubicBezTo>
                  <a:cubicBezTo>
                    <a:pt x="17464" y="13451"/>
                    <a:pt x="17464" y="13581"/>
                    <a:pt x="17464" y="13581"/>
                  </a:cubicBezTo>
                  <a:cubicBezTo>
                    <a:pt x="17464" y="13710"/>
                    <a:pt x="17464" y="13710"/>
                    <a:pt x="17617" y="13840"/>
                  </a:cubicBezTo>
                  <a:cubicBezTo>
                    <a:pt x="17617" y="13969"/>
                    <a:pt x="17617" y="13969"/>
                    <a:pt x="17617" y="13969"/>
                  </a:cubicBezTo>
                  <a:cubicBezTo>
                    <a:pt x="17617" y="14098"/>
                    <a:pt x="17464" y="14228"/>
                    <a:pt x="17464" y="14098"/>
                  </a:cubicBezTo>
                  <a:cubicBezTo>
                    <a:pt x="17464" y="14098"/>
                    <a:pt x="17464" y="13969"/>
                    <a:pt x="17464" y="13969"/>
                  </a:cubicBezTo>
                  <a:cubicBezTo>
                    <a:pt x="17004" y="13969"/>
                    <a:pt x="17004" y="13969"/>
                    <a:pt x="17004" y="13969"/>
                  </a:cubicBezTo>
                  <a:cubicBezTo>
                    <a:pt x="17004" y="13969"/>
                    <a:pt x="17004" y="13969"/>
                    <a:pt x="16851" y="13969"/>
                  </a:cubicBezTo>
                  <a:cubicBezTo>
                    <a:pt x="16851" y="13969"/>
                    <a:pt x="17157" y="13710"/>
                    <a:pt x="17157" y="13710"/>
                  </a:cubicBezTo>
                  <a:cubicBezTo>
                    <a:pt x="17311" y="13581"/>
                    <a:pt x="17311" y="13581"/>
                    <a:pt x="17311" y="13581"/>
                  </a:cubicBezTo>
                  <a:cubicBezTo>
                    <a:pt x="17311" y="13451"/>
                    <a:pt x="17311" y="13451"/>
                    <a:pt x="17311" y="13451"/>
                  </a:cubicBezTo>
                  <a:cubicBezTo>
                    <a:pt x="16851" y="13451"/>
                    <a:pt x="16851" y="13451"/>
                    <a:pt x="16851" y="13451"/>
                  </a:cubicBezTo>
                  <a:cubicBezTo>
                    <a:pt x="16698" y="13451"/>
                    <a:pt x="16698" y="13451"/>
                    <a:pt x="16698" y="13451"/>
                  </a:cubicBezTo>
                  <a:cubicBezTo>
                    <a:pt x="16851" y="13322"/>
                    <a:pt x="16851" y="13322"/>
                    <a:pt x="16851" y="13322"/>
                  </a:cubicBezTo>
                  <a:cubicBezTo>
                    <a:pt x="16851" y="13063"/>
                    <a:pt x="16851" y="13063"/>
                    <a:pt x="16851" y="13063"/>
                  </a:cubicBezTo>
                  <a:cubicBezTo>
                    <a:pt x="17004" y="12805"/>
                    <a:pt x="17004" y="12805"/>
                    <a:pt x="17004" y="12805"/>
                  </a:cubicBezTo>
                  <a:cubicBezTo>
                    <a:pt x="17004" y="12805"/>
                    <a:pt x="17004" y="12546"/>
                    <a:pt x="17157" y="12546"/>
                  </a:cubicBezTo>
                  <a:cubicBezTo>
                    <a:pt x="17157" y="12546"/>
                    <a:pt x="17311" y="12417"/>
                    <a:pt x="17311" y="12287"/>
                  </a:cubicBezTo>
                  <a:cubicBezTo>
                    <a:pt x="17464" y="12287"/>
                    <a:pt x="17311" y="12158"/>
                    <a:pt x="17311" y="12158"/>
                  </a:cubicBezTo>
                  <a:cubicBezTo>
                    <a:pt x="17004" y="12158"/>
                    <a:pt x="17004" y="12158"/>
                    <a:pt x="17004" y="12158"/>
                  </a:cubicBezTo>
                  <a:cubicBezTo>
                    <a:pt x="16698" y="12287"/>
                    <a:pt x="16698" y="12287"/>
                    <a:pt x="16698" y="12287"/>
                  </a:cubicBezTo>
                  <a:cubicBezTo>
                    <a:pt x="16698" y="12287"/>
                    <a:pt x="16238" y="12417"/>
                    <a:pt x="16085" y="12417"/>
                  </a:cubicBezTo>
                  <a:cubicBezTo>
                    <a:pt x="15932" y="12417"/>
                    <a:pt x="16085" y="12417"/>
                    <a:pt x="15932" y="12417"/>
                  </a:cubicBezTo>
                  <a:cubicBezTo>
                    <a:pt x="15932" y="12287"/>
                    <a:pt x="15779" y="12287"/>
                    <a:pt x="15779" y="12287"/>
                  </a:cubicBezTo>
                  <a:cubicBezTo>
                    <a:pt x="15779" y="12287"/>
                    <a:pt x="15472" y="12287"/>
                    <a:pt x="15472" y="12287"/>
                  </a:cubicBezTo>
                  <a:cubicBezTo>
                    <a:pt x="15319" y="12287"/>
                    <a:pt x="15319" y="12417"/>
                    <a:pt x="15319" y="12417"/>
                  </a:cubicBezTo>
                  <a:cubicBezTo>
                    <a:pt x="15319" y="12417"/>
                    <a:pt x="15779" y="12546"/>
                    <a:pt x="15932" y="12675"/>
                  </a:cubicBezTo>
                  <a:cubicBezTo>
                    <a:pt x="15932" y="12675"/>
                    <a:pt x="16085" y="12675"/>
                    <a:pt x="16085" y="12675"/>
                  </a:cubicBezTo>
                  <a:cubicBezTo>
                    <a:pt x="16085" y="12805"/>
                    <a:pt x="16085" y="12805"/>
                    <a:pt x="16085" y="12805"/>
                  </a:cubicBezTo>
                  <a:cubicBezTo>
                    <a:pt x="16085" y="12805"/>
                    <a:pt x="15932" y="13063"/>
                    <a:pt x="15779" y="13063"/>
                  </a:cubicBezTo>
                  <a:cubicBezTo>
                    <a:pt x="15779" y="13193"/>
                    <a:pt x="15626" y="13193"/>
                    <a:pt x="15626" y="13193"/>
                  </a:cubicBezTo>
                  <a:cubicBezTo>
                    <a:pt x="15319" y="13322"/>
                    <a:pt x="15319" y="13322"/>
                    <a:pt x="15319" y="13322"/>
                  </a:cubicBezTo>
                  <a:cubicBezTo>
                    <a:pt x="15319" y="13322"/>
                    <a:pt x="15472" y="13581"/>
                    <a:pt x="15472" y="13581"/>
                  </a:cubicBezTo>
                  <a:cubicBezTo>
                    <a:pt x="15472" y="13581"/>
                    <a:pt x="15472" y="13840"/>
                    <a:pt x="15472" y="13840"/>
                  </a:cubicBezTo>
                  <a:cubicBezTo>
                    <a:pt x="15166" y="13710"/>
                    <a:pt x="15166" y="13710"/>
                    <a:pt x="15166" y="13710"/>
                  </a:cubicBezTo>
                  <a:cubicBezTo>
                    <a:pt x="14706" y="13969"/>
                    <a:pt x="14706" y="13969"/>
                    <a:pt x="14706" y="13969"/>
                  </a:cubicBezTo>
                  <a:cubicBezTo>
                    <a:pt x="14706" y="13969"/>
                    <a:pt x="14553" y="13969"/>
                    <a:pt x="14553" y="13969"/>
                  </a:cubicBezTo>
                  <a:cubicBezTo>
                    <a:pt x="14400" y="13969"/>
                    <a:pt x="14400" y="13840"/>
                    <a:pt x="14400" y="13840"/>
                  </a:cubicBezTo>
                  <a:cubicBezTo>
                    <a:pt x="14247" y="14098"/>
                    <a:pt x="14247" y="14098"/>
                    <a:pt x="14247" y="14098"/>
                  </a:cubicBezTo>
                  <a:cubicBezTo>
                    <a:pt x="14247" y="14098"/>
                    <a:pt x="13634" y="13969"/>
                    <a:pt x="13481" y="13969"/>
                  </a:cubicBezTo>
                  <a:cubicBezTo>
                    <a:pt x="13481" y="13969"/>
                    <a:pt x="13481" y="14228"/>
                    <a:pt x="13481" y="14228"/>
                  </a:cubicBezTo>
                  <a:cubicBezTo>
                    <a:pt x="13787" y="14357"/>
                    <a:pt x="13787" y="14357"/>
                    <a:pt x="13787" y="14357"/>
                  </a:cubicBezTo>
                  <a:cubicBezTo>
                    <a:pt x="13481" y="14486"/>
                    <a:pt x="13481" y="14486"/>
                    <a:pt x="13481" y="14486"/>
                  </a:cubicBezTo>
                  <a:cubicBezTo>
                    <a:pt x="14094" y="14745"/>
                    <a:pt x="14094" y="14745"/>
                    <a:pt x="14094" y="14745"/>
                  </a:cubicBezTo>
                  <a:cubicBezTo>
                    <a:pt x="14247" y="14874"/>
                    <a:pt x="14247" y="14874"/>
                    <a:pt x="14247" y="14874"/>
                  </a:cubicBezTo>
                  <a:cubicBezTo>
                    <a:pt x="14400" y="15262"/>
                    <a:pt x="14400" y="15262"/>
                    <a:pt x="14400" y="15262"/>
                  </a:cubicBezTo>
                  <a:cubicBezTo>
                    <a:pt x="14247" y="15392"/>
                    <a:pt x="14247" y="15392"/>
                    <a:pt x="14247" y="15392"/>
                  </a:cubicBezTo>
                  <a:cubicBezTo>
                    <a:pt x="14553" y="15650"/>
                    <a:pt x="14553" y="15650"/>
                    <a:pt x="14553" y="15650"/>
                  </a:cubicBezTo>
                  <a:cubicBezTo>
                    <a:pt x="14553" y="15650"/>
                    <a:pt x="14553" y="15780"/>
                    <a:pt x="14706" y="15909"/>
                  </a:cubicBezTo>
                  <a:cubicBezTo>
                    <a:pt x="14706" y="15909"/>
                    <a:pt x="14706" y="16168"/>
                    <a:pt x="14706" y="16168"/>
                  </a:cubicBezTo>
                  <a:cubicBezTo>
                    <a:pt x="14706" y="16426"/>
                    <a:pt x="14706" y="16426"/>
                    <a:pt x="14706" y="16426"/>
                  </a:cubicBezTo>
                  <a:cubicBezTo>
                    <a:pt x="14706" y="16556"/>
                    <a:pt x="14706" y="16556"/>
                    <a:pt x="14706" y="16556"/>
                  </a:cubicBezTo>
                  <a:cubicBezTo>
                    <a:pt x="14706" y="16556"/>
                    <a:pt x="14400" y="16685"/>
                    <a:pt x="14400" y="16814"/>
                  </a:cubicBezTo>
                  <a:cubicBezTo>
                    <a:pt x="14400" y="16814"/>
                    <a:pt x="14553" y="16814"/>
                    <a:pt x="14553" y="16814"/>
                  </a:cubicBezTo>
                  <a:cubicBezTo>
                    <a:pt x="14860" y="17073"/>
                    <a:pt x="14860" y="17073"/>
                    <a:pt x="14860" y="17073"/>
                  </a:cubicBezTo>
                  <a:cubicBezTo>
                    <a:pt x="15013" y="17332"/>
                    <a:pt x="15013" y="17332"/>
                    <a:pt x="15013" y="17332"/>
                  </a:cubicBezTo>
                  <a:cubicBezTo>
                    <a:pt x="15013" y="17332"/>
                    <a:pt x="14860" y="17461"/>
                    <a:pt x="14860" y="17590"/>
                  </a:cubicBezTo>
                  <a:cubicBezTo>
                    <a:pt x="14860" y="17590"/>
                    <a:pt x="15166" y="17720"/>
                    <a:pt x="15166" y="17720"/>
                  </a:cubicBezTo>
                  <a:cubicBezTo>
                    <a:pt x="15779" y="17720"/>
                    <a:pt x="15779" y="17720"/>
                    <a:pt x="15779" y="17720"/>
                  </a:cubicBezTo>
                  <a:cubicBezTo>
                    <a:pt x="16085" y="17720"/>
                    <a:pt x="16085" y="17720"/>
                    <a:pt x="16085" y="17720"/>
                  </a:cubicBezTo>
                  <a:cubicBezTo>
                    <a:pt x="16085" y="17720"/>
                    <a:pt x="16545" y="17720"/>
                    <a:pt x="16698" y="17720"/>
                  </a:cubicBezTo>
                  <a:cubicBezTo>
                    <a:pt x="16698" y="17720"/>
                    <a:pt x="17157" y="17590"/>
                    <a:pt x="17157" y="17590"/>
                  </a:cubicBezTo>
                  <a:cubicBezTo>
                    <a:pt x="17157" y="17590"/>
                    <a:pt x="17464" y="17849"/>
                    <a:pt x="17617" y="17849"/>
                  </a:cubicBezTo>
                  <a:cubicBezTo>
                    <a:pt x="17770" y="17978"/>
                    <a:pt x="17617" y="18108"/>
                    <a:pt x="17617" y="18108"/>
                  </a:cubicBezTo>
                  <a:cubicBezTo>
                    <a:pt x="17617" y="18237"/>
                    <a:pt x="17464" y="18237"/>
                    <a:pt x="17464" y="18237"/>
                  </a:cubicBezTo>
                  <a:cubicBezTo>
                    <a:pt x="17464" y="18237"/>
                    <a:pt x="17617" y="18625"/>
                    <a:pt x="17617" y="18625"/>
                  </a:cubicBezTo>
                  <a:cubicBezTo>
                    <a:pt x="17770" y="18754"/>
                    <a:pt x="17770" y="18625"/>
                    <a:pt x="17770" y="18625"/>
                  </a:cubicBezTo>
                  <a:cubicBezTo>
                    <a:pt x="17770" y="18625"/>
                    <a:pt x="17923" y="18754"/>
                    <a:pt x="18077" y="18884"/>
                  </a:cubicBezTo>
                  <a:cubicBezTo>
                    <a:pt x="18077" y="19013"/>
                    <a:pt x="18230" y="19013"/>
                    <a:pt x="18230" y="19013"/>
                  </a:cubicBezTo>
                  <a:cubicBezTo>
                    <a:pt x="18383" y="19013"/>
                    <a:pt x="18383" y="19013"/>
                    <a:pt x="18383" y="19013"/>
                  </a:cubicBezTo>
                  <a:cubicBezTo>
                    <a:pt x="18383" y="19013"/>
                    <a:pt x="18536" y="19013"/>
                    <a:pt x="18536" y="19143"/>
                  </a:cubicBezTo>
                  <a:cubicBezTo>
                    <a:pt x="18689" y="19143"/>
                    <a:pt x="18843" y="19143"/>
                    <a:pt x="18996" y="19143"/>
                  </a:cubicBezTo>
                  <a:cubicBezTo>
                    <a:pt x="18996" y="19143"/>
                    <a:pt x="19149" y="19143"/>
                    <a:pt x="19149" y="19013"/>
                  </a:cubicBezTo>
                  <a:cubicBezTo>
                    <a:pt x="19149" y="19013"/>
                    <a:pt x="19302" y="19013"/>
                    <a:pt x="19455" y="19013"/>
                  </a:cubicBezTo>
                  <a:cubicBezTo>
                    <a:pt x="19455" y="18884"/>
                    <a:pt x="19455" y="18754"/>
                    <a:pt x="19455" y="18754"/>
                  </a:cubicBezTo>
                  <a:cubicBezTo>
                    <a:pt x="19455" y="18754"/>
                    <a:pt x="19455" y="18754"/>
                    <a:pt x="19455" y="18754"/>
                  </a:cubicBezTo>
                  <a:close/>
                  <a:moveTo>
                    <a:pt x="19455" y="19401"/>
                  </a:moveTo>
                  <a:cubicBezTo>
                    <a:pt x="19455" y="19401"/>
                    <a:pt x="19455" y="19401"/>
                    <a:pt x="19455" y="19401"/>
                  </a:cubicBezTo>
                  <a:cubicBezTo>
                    <a:pt x="19302" y="19531"/>
                    <a:pt x="19302" y="19531"/>
                    <a:pt x="19302" y="19531"/>
                  </a:cubicBezTo>
                  <a:cubicBezTo>
                    <a:pt x="19455" y="19531"/>
                    <a:pt x="19455" y="19531"/>
                    <a:pt x="19455" y="19531"/>
                  </a:cubicBezTo>
                  <a:cubicBezTo>
                    <a:pt x="19455" y="19531"/>
                    <a:pt x="19762" y="19660"/>
                    <a:pt x="19762" y="19660"/>
                  </a:cubicBezTo>
                  <a:cubicBezTo>
                    <a:pt x="19915" y="19660"/>
                    <a:pt x="19915" y="19660"/>
                    <a:pt x="19915" y="19660"/>
                  </a:cubicBezTo>
                  <a:cubicBezTo>
                    <a:pt x="20068" y="19531"/>
                    <a:pt x="20068" y="19531"/>
                    <a:pt x="20068" y="19531"/>
                  </a:cubicBezTo>
                  <a:cubicBezTo>
                    <a:pt x="20221" y="19272"/>
                    <a:pt x="20221" y="19272"/>
                    <a:pt x="20221" y="19272"/>
                  </a:cubicBezTo>
                  <a:cubicBezTo>
                    <a:pt x="20681" y="19143"/>
                    <a:pt x="20681" y="19143"/>
                    <a:pt x="20681" y="19143"/>
                  </a:cubicBezTo>
                  <a:cubicBezTo>
                    <a:pt x="20681" y="19143"/>
                    <a:pt x="21140" y="19143"/>
                    <a:pt x="21140" y="19143"/>
                  </a:cubicBezTo>
                  <a:cubicBezTo>
                    <a:pt x="21140" y="19143"/>
                    <a:pt x="21294" y="19013"/>
                    <a:pt x="21294" y="19013"/>
                  </a:cubicBezTo>
                  <a:cubicBezTo>
                    <a:pt x="21294" y="18884"/>
                    <a:pt x="21294" y="18884"/>
                    <a:pt x="21294" y="18884"/>
                  </a:cubicBezTo>
                  <a:cubicBezTo>
                    <a:pt x="20987" y="18625"/>
                    <a:pt x="20987" y="18625"/>
                    <a:pt x="20987" y="18625"/>
                  </a:cubicBezTo>
                  <a:cubicBezTo>
                    <a:pt x="20681" y="18625"/>
                    <a:pt x="20681" y="18625"/>
                    <a:pt x="20681" y="18625"/>
                  </a:cubicBezTo>
                  <a:cubicBezTo>
                    <a:pt x="20681" y="18625"/>
                    <a:pt x="20374" y="18625"/>
                    <a:pt x="20221" y="18625"/>
                  </a:cubicBezTo>
                  <a:cubicBezTo>
                    <a:pt x="20221" y="18625"/>
                    <a:pt x="20068" y="18625"/>
                    <a:pt x="20068" y="18625"/>
                  </a:cubicBezTo>
                  <a:cubicBezTo>
                    <a:pt x="20068" y="18625"/>
                    <a:pt x="20068" y="18754"/>
                    <a:pt x="20068" y="18884"/>
                  </a:cubicBezTo>
                  <a:cubicBezTo>
                    <a:pt x="19915" y="19013"/>
                    <a:pt x="19915" y="19013"/>
                    <a:pt x="19762" y="19013"/>
                  </a:cubicBezTo>
                  <a:cubicBezTo>
                    <a:pt x="19762" y="19013"/>
                    <a:pt x="19609" y="19013"/>
                    <a:pt x="19609" y="19013"/>
                  </a:cubicBezTo>
                  <a:cubicBezTo>
                    <a:pt x="19455" y="19401"/>
                    <a:pt x="19455" y="19401"/>
                    <a:pt x="19455" y="19401"/>
                  </a:cubicBezTo>
                  <a:close/>
                  <a:moveTo>
                    <a:pt x="17770" y="20953"/>
                  </a:moveTo>
                  <a:cubicBezTo>
                    <a:pt x="17770" y="20953"/>
                    <a:pt x="17770" y="20953"/>
                    <a:pt x="17770" y="20953"/>
                  </a:cubicBezTo>
                  <a:cubicBezTo>
                    <a:pt x="17923" y="20953"/>
                    <a:pt x="17923" y="20953"/>
                    <a:pt x="17923" y="20953"/>
                  </a:cubicBezTo>
                  <a:cubicBezTo>
                    <a:pt x="18077" y="20824"/>
                    <a:pt x="18077" y="20824"/>
                    <a:pt x="18077" y="20824"/>
                  </a:cubicBezTo>
                  <a:cubicBezTo>
                    <a:pt x="17923" y="20565"/>
                    <a:pt x="17923" y="20565"/>
                    <a:pt x="17923" y="20565"/>
                  </a:cubicBezTo>
                  <a:cubicBezTo>
                    <a:pt x="17770" y="20436"/>
                    <a:pt x="17770" y="20436"/>
                    <a:pt x="17770" y="20436"/>
                  </a:cubicBezTo>
                  <a:cubicBezTo>
                    <a:pt x="17617" y="20048"/>
                    <a:pt x="17617" y="20048"/>
                    <a:pt x="17617" y="20048"/>
                  </a:cubicBezTo>
                  <a:cubicBezTo>
                    <a:pt x="17311" y="19789"/>
                    <a:pt x="17311" y="19789"/>
                    <a:pt x="17311" y="19789"/>
                  </a:cubicBezTo>
                  <a:cubicBezTo>
                    <a:pt x="17157" y="19660"/>
                    <a:pt x="17157" y="19660"/>
                    <a:pt x="17157" y="19660"/>
                  </a:cubicBezTo>
                  <a:cubicBezTo>
                    <a:pt x="17004" y="19919"/>
                    <a:pt x="17004" y="19919"/>
                    <a:pt x="17004" y="19919"/>
                  </a:cubicBezTo>
                  <a:cubicBezTo>
                    <a:pt x="16851" y="20048"/>
                    <a:pt x="16851" y="20048"/>
                    <a:pt x="16851" y="20048"/>
                  </a:cubicBezTo>
                  <a:cubicBezTo>
                    <a:pt x="16698" y="20177"/>
                    <a:pt x="16698" y="20177"/>
                    <a:pt x="16698" y="20177"/>
                  </a:cubicBezTo>
                  <a:cubicBezTo>
                    <a:pt x="16698" y="20177"/>
                    <a:pt x="16238" y="20048"/>
                    <a:pt x="16085" y="19919"/>
                  </a:cubicBezTo>
                  <a:cubicBezTo>
                    <a:pt x="15779" y="19789"/>
                    <a:pt x="15779" y="19789"/>
                    <a:pt x="15779" y="19789"/>
                  </a:cubicBezTo>
                  <a:cubicBezTo>
                    <a:pt x="15779" y="19789"/>
                    <a:pt x="15626" y="19789"/>
                    <a:pt x="15472" y="19660"/>
                  </a:cubicBezTo>
                  <a:cubicBezTo>
                    <a:pt x="15472" y="19660"/>
                    <a:pt x="15319" y="19531"/>
                    <a:pt x="15319" y="19531"/>
                  </a:cubicBezTo>
                  <a:cubicBezTo>
                    <a:pt x="15319" y="19531"/>
                    <a:pt x="15319" y="19401"/>
                    <a:pt x="15166" y="19401"/>
                  </a:cubicBezTo>
                  <a:cubicBezTo>
                    <a:pt x="15166" y="19272"/>
                    <a:pt x="15013" y="19401"/>
                    <a:pt x="14860" y="19401"/>
                  </a:cubicBezTo>
                  <a:cubicBezTo>
                    <a:pt x="14553" y="19401"/>
                    <a:pt x="14553" y="19401"/>
                    <a:pt x="14400" y="19401"/>
                  </a:cubicBezTo>
                  <a:cubicBezTo>
                    <a:pt x="14400" y="19531"/>
                    <a:pt x="14247" y="19531"/>
                    <a:pt x="14247" y="19531"/>
                  </a:cubicBezTo>
                  <a:cubicBezTo>
                    <a:pt x="14094" y="19660"/>
                    <a:pt x="14247" y="19919"/>
                    <a:pt x="14247" y="19919"/>
                  </a:cubicBezTo>
                  <a:cubicBezTo>
                    <a:pt x="14247" y="20048"/>
                    <a:pt x="14247" y="20048"/>
                    <a:pt x="14247" y="20048"/>
                  </a:cubicBezTo>
                  <a:cubicBezTo>
                    <a:pt x="14400" y="20307"/>
                    <a:pt x="14400" y="20307"/>
                    <a:pt x="14400" y="20307"/>
                  </a:cubicBezTo>
                  <a:cubicBezTo>
                    <a:pt x="14094" y="20307"/>
                    <a:pt x="14094" y="20307"/>
                    <a:pt x="14094" y="20307"/>
                  </a:cubicBezTo>
                  <a:cubicBezTo>
                    <a:pt x="13940" y="20307"/>
                    <a:pt x="13940" y="20307"/>
                    <a:pt x="13940" y="20307"/>
                  </a:cubicBezTo>
                  <a:cubicBezTo>
                    <a:pt x="14094" y="20565"/>
                    <a:pt x="14094" y="20565"/>
                    <a:pt x="14094" y="20565"/>
                  </a:cubicBezTo>
                  <a:cubicBezTo>
                    <a:pt x="14094" y="20565"/>
                    <a:pt x="14094" y="20695"/>
                    <a:pt x="14247" y="20824"/>
                  </a:cubicBezTo>
                  <a:cubicBezTo>
                    <a:pt x="14247" y="20824"/>
                    <a:pt x="14400" y="20953"/>
                    <a:pt x="14400" y="20953"/>
                  </a:cubicBezTo>
                  <a:cubicBezTo>
                    <a:pt x="14400" y="20953"/>
                    <a:pt x="15166" y="21083"/>
                    <a:pt x="15166" y="21083"/>
                  </a:cubicBezTo>
                  <a:cubicBezTo>
                    <a:pt x="15319" y="21083"/>
                    <a:pt x="15319" y="21083"/>
                    <a:pt x="15319" y="21083"/>
                  </a:cubicBezTo>
                  <a:cubicBezTo>
                    <a:pt x="15319" y="21083"/>
                    <a:pt x="15626" y="21212"/>
                    <a:pt x="15932" y="21341"/>
                  </a:cubicBezTo>
                  <a:cubicBezTo>
                    <a:pt x="16085" y="21471"/>
                    <a:pt x="16238" y="21600"/>
                    <a:pt x="16238" y="21600"/>
                  </a:cubicBezTo>
                  <a:cubicBezTo>
                    <a:pt x="16238" y="21600"/>
                    <a:pt x="16545" y="21600"/>
                    <a:pt x="16545" y="21600"/>
                  </a:cubicBezTo>
                  <a:cubicBezTo>
                    <a:pt x="16698" y="21471"/>
                    <a:pt x="16698" y="21471"/>
                    <a:pt x="16698" y="21471"/>
                  </a:cubicBezTo>
                  <a:cubicBezTo>
                    <a:pt x="17157" y="21341"/>
                    <a:pt x="17157" y="21341"/>
                    <a:pt x="17157" y="21341"/>
                  </a:cubicBezTo>
                  <a:cubicBezTo>
                    <a:pt x="17464" y="21341"/>
                    <a:pt x="17464" y="21341"/>
                    <a:pt x="17464" y="21341"/>
                  </a:cubicBezTo>
                  <a:cubicBezTo>
                    <a:pt x="17923" y="21471"/>
                    <a:pt x="17923" y="21471"/>
                    <a:pt x="17923" y="21471"/>
                  </a:cubicBezTo>
                  <a:cubicBezTo>
                    <a:pt x="18077" y="21471"/>
                    <a:pt x="18077" y="21471"/>
                    <a:pt x="18077" y="21471"/>
                  </a:cubicBezTo>
                  <a:cubicBezTo>
                    <a:pt x="18077" y="21212"/>
                    <a:pt x="18077" y="21212"/>
                    <a:pt x="18077" y="21212"/>
                  </a:cubicBezTo>
                  <a:cubicBezTo>
                    <a:pt x="18077" y="21083"/>
                    <a:pt x="18077" y="21083"/>
                    <a:pt x="18077" y="21083"/>
                  </a:cubicBezTo>
                  <a:cubicBezTo>
                    <a:pt x="17770" y="20953"/>
                    <a:pt x="17770" y="20953"/>
                    <a:pt x="17770" y="20953"/>
                  </a:cubicBezTo>
                  <a:close/>
                  <a:moveTo>
                    <a:pt x="11796" y="15650"/>
                  </a:moveTo>
                  <a:cubicBezTo>
                    <a:pt x="11796" y="15650"/>
                    <a:pt x="11796" y="15650"/>
                    <a:pt x="11796" y="15650"/>
                  </a:cubicBezTo>
                  <a:cubicBezTo>
                    <a:pt x="11489" y="15521"/>
                    <a:pt x="11489" y="15521"/>
                    <a:pt x="11489" y="15521"/>
                  </a:cubicBezTo>
                  <a:cubicBezTo>
                    <a:pt x="11183" y="15133"/>
                    <a:pt x="11183" y="15133"/>
                    <a:pt x="11183" y="15133"/>
                  </a:cubicBezTo>
                  <a:cubicBezTo>
                    <a:pt x="10723" y="15004"/>
                    <a:pt x="10723" y="15004"/>
                    <a:pt x="10723" y="15004"/>
                  </a:cubicBezTo>
                  <a:cubicBezTo>
                    <a:pt x="10723" y="15004"/>
                    <a:pt x="10570" y="14616"/>
                    <a:pt x="10570" y="14616"/>
                  </a:cubicBezTo>
                  <a:cubicBezTo>
                    <a:pt x="10417" y="14486"/>
                    <a:pt x="10417" y="14616"/>
                    <a:pt x="10417" y="14616"/>
                  </a:cubicBezTo>
                  <a:cubicBezTo>
                    <a:pt x="10417" y="14616"/>
                    <a:pt x="10417" y="14874"/>
                    <a:pt x="10264" y="15004"/>
                  </a:cubicBezTo>
                  <a:cubicBezTo>
                    <a:pt x="10111" y="15004"/>
                    <a:pt x="9957" y="15004"/>
                    <a:pt x="9957" y="15004"/>
                  </a:cubicBezTo>
                  <a:cubicBezTo>
                    <a:pt x="9651" y="15262"/>
                    <a:pt x="9651" y="15262"/>
                    <a:pt x="9651" y="15262"/>
                  </a:cubicBezTo>
                  <a:cubicBezTo>
                    <a:pt x="9651" y="15262"/>
                    <a:pt x="9191" y="15392"/>
                    <a:pt x="9038" y="15392"/>
                  </a:cubicBezTo>
                  <a:cubicBezTo>
                    <a:pt x="9038" y="15392"/>
                    <a:pt x="8885" y="15521"/>
                    <a:pt x="8885" y="15521"/>
                  </a:cubicBezTo>
                  <a:cubicBezTo>
                    <a:pt x="7966" y="15392"/>
                    <a:pt x="7966" y="15392"/>
                    <a:pt x="7966" y="15392"/>
                  </a:cubicBezTo>
                  <a:cubicBezTo>
                    <a:pt x="7660" y="15650"/>
                    <a:pt x="7660" y="15650"/>
                    <a:pt x="7660" y="15650"/>
                  </a:cubicBezTo>
                  <a:cubicBezTo>
                    <a:pt x="7660" y="15780"/>
                    <a:pt x="7660" y="15780"/>
                    <a:pt x="7660" y="15780"/>
                  </a:cubicBezTo>
                  <a:cubicBezTo>
                    <a:pt x="7813" y="16038"/>
                    <a:pt x="7813" y="16038"/>
                    <a:pt x="7813" y="16038"/>
                  </a:cubicBezTo>
                  <a:cubicBezTo>
                    <a:pt x="7966" y="16168"/>
                    <a:pt x="7966" y="16168"/>
                    <a:pt x="7966" y="16168"/>
                  </a:cubicBezTo>
                  <a:cubicBezTo>
                    <a:pt x="8119" y="16168"/>
                    <a:pt x="8119" y="16168"/>
                    <a:pt x="8119" y="16168"/>
                  </a:cubicBezTo>
                  <a:cubicBezTo>
                    <a:pt x="8119" y="16426"/>
                    <a:pt x="8119" y="16426"/>
                    <a:pt x="8119" y="16426"/>
                  </a:cubicBezTo>
                  <a:cubicBezTo>
                    <a:pt x="8272" y="16685"/>
                    <a:pt x="8272" y="16685"/>
                    <a:pt x="8272" y="16685"/>
                  </a:cubicBezTo>
                  <a:cubicBezTo>
                    <a:pt x="8272" y="16685"/>
                    <a:pt x="8426" y="16814"/>
                    <a:pt x="8579" y="17073"/>
                  </a:cubicBezTo>
                  <a:cubicBezTo>
                    <a:pt x="8732" y="17332"/>
                    <a:pt x="8579" y="17461"/>
                    <a:pt x="8579" y="17461"/>
                  </a:cubicBezTo>
                  <a:cubicBezTo>
                    <a:pt x="9038" y="17849"/>
                    <a:pt x="9038" y="17849"/>
                    <a:pt x="9038" y="17849"/>
                  </a:cubicBezTo>
                  <a:cubicBezTo>
                    <a:pt x="9345" y="17978"/>
                    <a:pt x="9345" y="17978"/>
                    <a:pt x="9345" y="17978"/>
                  </a:cubicBezTo>
                  <a:cubicBezTo>
                    <a:pt x="9345" y="17978"/>
                    <a:pt x="9498" y="18108"/>
                    <a:pt x="9651" y="18108"/>
                  </a:cubicBezTo>
                  <a:cubicBezTo>
                    <a:pt x="9651" y="18108"/>
                    <a:pt x="9651" y="18237"/>
                    <a:pt x="9651" y="18237"/>
                  </a:cubicBezTo>
                  <a:cubicBezTo>
                    <a:pt x="9651" y="18496"/>
                    <a:pt x="9651" y="18496"/>
                    <a:pt x="9651" y="18496"/>
                  </a:cubicBezTo>
                  <a:cubicBezTo>
                    <a:pt x="9804" y="18754"/>
                    <a:pt x="9804" y="18754"/>
                    <a:pt x="9804" y="18754"/>
                  </a:cubicBezTo>
                  <a:cubicBezTo>
                    <a:pt x="9957" y="18625"/>
                    <a:pt x="9957" y="18625"/>
                    <a:pt x="9957" y="18625"/>
                  </a:cubicBezTo>
                  <a:cubicBezTo>
                    <a:pt x="10111" y="18496"/>
                    <a:pt x="10111" y="18496"/>
                    <a:pt x="10111" y="18496"/>
                  </a:cubicBezTo>
                  <a:cubicBezTo>
                    <a:pt x="10877" y="18754"/>
                    <a:pt x="10877" y="18754"/>
                    <a:pt x="10877" y="18754"/>
                  </a:cubicBezTo>
                  <a:cubicBezTo>
                    <a:pt x="10877" y="18754"/>
                    <a:pt x="11489" y="19013"/>
                    <a:pt x="11643" y="19013"/>
                  </a:cubicBezTo>
                  <a:cubicBezTo>
                    <a:pt x="11643" y="19013"/>
                    <a:pt x="11949" y="18754"/>
                    <a:pt x="11949" y="18754"/>
                  </a:cubicBezTo>
                  <a:cubicBezTo>
                    <a:pt x="12102" y="18625"/>
                    <a:pt x="12562" y="18625"/>
                    <a:pt x="12562" y="18625"/>
                  </a:cubicBezTo>
                  <a:cubicBezTo>
                    <a:pt x="12715" y="18625"/>
                    <a:pt x="12715" y="18496"/>
                    <a:pt x="12715" y="18496"/>
                  </a:cubicBezTo>
                  <a:cubicBezTo>
                    <a:pt x="12715" y="18366"/>
                    <a:pt x="12868" y="18237"/>
                    <a:pt x="12868" y="18108"/>
                  </a:cubicBezTo>
                  <a:cubicBezTo>
                    <a:pt x="12868" y="17978"/>
                    <a:pt x="13021" y="17849"/>
                    <a:pt x="13021" y="17849"/>
                  </a:cubicBezTo>
                  <a:cubicBezTo>
                    <a:pt x="13021" y="17590"/>
                    <a:pt x="13021" y="17590"/>
                    <a:pt x="13021" y="17590"/>
                  </a:cubicBezTo>
                  <a:cubicBezTo>
                    <a:pt x="12868" y="17202"/>
                    <a:pt x="12868" y="17202"/>
                    <a:pt x="12868" y="17202"/>
                  </a:cubicBezTo>
                  <a:cubicBezTo>
                    <a:pt x="13021" y="16685"/>
                    <a:pt x="13021" y="16685"/>
                    <a:pt x="13021" y="16685"/>
                  </a:cubicBezTo>
                  <a:cubicBezTo>
                    <a:pt x="12715" y="16426"/>
                    <a:pt x="12715" y="16426"/>
                    <a:pt x="12715" y="16426"/>
                  </a:cubicBezTo>
                  <a:cubicBezTo>
                    <a:pt x="12562" y="16297"/>
                    <a:pt x="12562" y="16297"/>
                    <a:pt x="12562" y="16297"/>
                  </a:cubicBezTo>
                  <a:cubicBezTo>
                    <a:pt x="12562" y="16168"/>
                    <a:pt x="12562" y="16168"/>
                    <a:pt x="12562" y="16168"/>
                  </a:cubicBezTo>
                  <a:cubicBezTo>
                    <a:pt x="12562" y="16038"/>
                    <a:pt x="12562" y="16038"/>
                    <a:pt x="12562" y="16038"/>
                  </a:cubicBezTo>
                  <a:cubicBezTo>
                    <a:pt x="12868" y="15909"/>
                    <a:pt x="12868" y="15909"/>
                    <a:pt x="12868" y="15909"/>
                  </a:cubicBezTo>
                  <a:cubicBezTo>
                    <a:pt x="12868" y="15521"/>
                    <a:pt x="12868" y="15521"/>
                    <a:pt x="12868" y="15521"/>
                  </a:cubicBezTo>
                  <a:cubicBezTo>
                    <a:pt x="13328" y="15262"/>
                    <a:pt x="13328" y="15262"/>
                    <a:pt x="13328" y="15262"/>
                  </a:cubicBezTo>
                  <a:cubicBezTo>
                    <a:pt x="13481" y="14874"/>
                    <a:pt x="13481" y="14874"/>
                    <a:pt x="13481" y="14874"/>
                  </a:cubicBezTo>
                  <a:cubicBezTo>
                    <a:pt x="13481" y="14874"/>
                    <a:pt x="12868" y="14745"/>
                    <a:pt x="12715" y="14745"/>
                  </a:cubicBezTo>
                  <a:cubicBezTo>
                    <a:pt x="12409" y="14745"/>
                    <a:pt x="12562" y="14745"/>
                    <a:pt x="12562" y="14616"/>
                  </a:cubicBezTo>
                  <a:cubicBezTo>
                    <a:pt x="12562" y="14616"/>
                    <a:pt x="12409" y="14486"/>
                    <a:pt x="12409" y="14486"/>
                  </a:cubicBezTo>
                  <a:cubicBezTo>
                    <a:pt x="12409" y="14486"/>
                    <a:pt x="12102" y="14616"/>
                    <a:pt x="12102" y="14616"/>
                  </a:cubicBezTo>
                  <a:cubicBezTo>
                    <a:pt x="11949" y="14616"/>
                    <a:pt x="11949" y="14357"/>
                    <a:pt x="11949" y="14357"/>
                  </a:cubicBezTo>
                  <a:cubicBezTo>
                    <a:pt x="11949" y="14357"/>
                    <a:pt x="11643" y="14486"/>
                    <a:pt x="11643" y="14486"/>
                  </a:cubicBezTo>
                  <a:cubicBezTo>
                    <a:pt x="11489" y="14486"/>
                    <a:pt x="11183" y="14486"/>
                    <a:pt x="11183" y="14486"/>
                  </a:cubicBezTo>
                  <a:cubicBezTo>
                    <a:pt x="11183" y="14486"/>
                    <a:pt x="11183" y="14616"/>
                    <a:pt x="11183" y="14616"/>
                  </a:cubicBezTo>
                  <a:cubicBezTo>
                    <a:pt x="11030" y="14745"/>
                    <a:pt x="11183" y="14874"/>
                    <a:pt x="11336" y="14874"/>
                  </a:cubicBezTo>
                  <a:cubicBezTo>
                    <a:pt x="11336" y="15004"/>
                    <a:pt x="11489" y="15262"/>
                    <a:pt x="11489" y="15262"/>
                  </a:cubicBezTo>
                  <a:cubicBezTo>
                    <a:pt x="11643" y="15521"/>
                    <a:pt x="11643" y="15521"/>
                    <a:pt x="11643" y="15521"/>
                  </a:cubicBezTo>
                  <a:cubicBezTo>
                    <a:pt x="11796" y="15650"/>
                    <a:pt x="11796" y="15650"/>
                    <a:pt x="11796" y="15650"/>
                  </a:cubicBezTo>
                  <a:close/>
                  <a:moveTo>
                    <a:pt x="11489" y="13840"/>
                  </a:moveTo>
                  <a:cubicBezTo>
                    <a:pt x="11489" y="13840"/>
                    <a:pt x="11489" y="13840"/>
                    <a:pt x="11489" y="13840"/>
                  </a:cubicBezTo>
                  <a:cubicBezTo>
                    <a:pt x="11796" y="13840"/>
                    <a:pt x="11796" y="13840"/>
                    <a:pt x="11796" y="13840"/>
                  </a:cubicBezTo>
                  <a:cubicBezTo>
                    <a:pt x="11949" y="13581"/>
                    <a:pt x="11949" y="13581"/>
                    <a:pt x="11949" y="13581"/>
                  </a:cubicBezTo>
                  <a:cubicBezTo>
                    <a:pt x="11949" y="13581"/>
                    <a:pt x="12102" y="13451"/>
                    <a:pt x="12102" y="13322"/>
                  </a:cubicBezTo>
                  <a:cubicBezTo>
                    <a:pt x="12102" y="13322"/>
                    <a:pt x="12102" y="13193"/>
                    <a:pt x="12102" y="13193"/>
                  </a:cubicBezTo>
                  <a:cubicBezTo>
                    <a:pt x="12102" y="12934"/>
                    <a:pt x="12102" y="12934"/>
                    <a:pt x="12102" y="12934"/>
                  </a:cubicBezTo>
                  <a:cubicBezTo>
                    <a:pt x="11949" y="12805"/>
                    <a:pt x="11949" y="12805"/>
                    <a:pt x="11949" y="12805"/>
                  </a:cubicBezTo>
                  <a:cubicBezTo>
                    <a:pt x="11796" y="12546"/>
                    <a:pt x="11796" y="12546"/>
                    <a:pt x="11796" y="12546"/>
                  </a:cubicBezTo>
                  <a:cubicBezTo>
                    <a:pt x="11643" y="12158"/>
                    <a:pt x="11643" y="12158"/>
                    <a:pt x="11643" y="12158"/>
                  </a:cubicBezTo>
                  <a:cubicBezTo>
                    <a:pt x="11336" y="12158"/>
                    <a:pt x="11336" y="12158"/>
                    <a:pt x="11336" y="12158"/>
                  </a:cubicBezTo>
                  <a:cubicBezTo>
                    <a:pt x="11336" y="12158"/>
                    <a:pt x="11336" y="12417"/>
                    <a:pt x="11336" y="12417"/>
                  </a:cubicBezTo>
                  <a:cubicBezTo>
                    <a:pt x="11336" y="12546"/>
                    <a:pt x="11489" y="12675"/>
                    <a:pt x="11489" y="12675"/>
                  </a:cubicBezTo>
                  <a:cubicBezTo>
                    <a:pt x="11643" y="12805"/>
                    <a:pt x="11643" y="12805"/>
                    <a:pt x="11643" y="12805"/>
                  </a:cubicBezTo>
                  <a:cubicBezTo>
                    <a:pt x="11643" y="12934"/>
                    <a:pt x="11643" y="12934"/>
                    <a:pt x="11643" y="12934"/>
                  </a:cubicBezTo>
                  <a:cubicBezTo>
                    <a:pt x="11489" y="13063"/>
                    <a:pt x="11489" y="13063"/>
                    <a:pt x="11489" y="13063"/>
                  </a:cubicBezTo>
                  <a:cubicBezTo>
                    <a:pt x="11336" y="13322"/>
                    <a:pt x="11336" y="13322"/>
                    <a:pt x="11336" y="13322"/>
                  </a:cubicBezTo>
                  <a:cubicBezTo>
                    <a:pt x="11489" y="13581"/>
                    <a:pt x="11489" y="13581"/>
                    <a:pt x="11489" y="13581"/>
                  </a:cubicBezTo>
                  <a:cubicBezTo>
                    <a:pt x="11489" y="13840"/>
                    <a:pt x="11489" y="13840"/>
                    <a:pt x="11489" y="13840"/>
                  </a:cubicBezTo>
                  <a:close/>
                  <a:moveTo>
                    <a:pt x="12255" y="20307"/>
                  </a:moveTo>
                  <a:cubicBezTo>
                    <a:pt x="12255" y="20307"/>
                    <a:pt x="12255" y="20307"/>
                    <a:pt x="12255" y="20307"/>
                  </a:cubicBezTo>
                  <a:cubicBezTo>
                    <a:pt x="12409" y="20695"/>
                    <a:pt x="12409" y="20695"/>
                    <a:pt x="12409" y="20695"/>
                  </a:cubicBezTo>
                  <a:cubicBezTo>
                    <a:pt x="12562" y="20953"/>
                    <a:pt x="12562" y="20953"/>
                    <a:pt x="12562" y="20953"/>
                  </a:cubicBezTo>
                  <a:cubicBezTo>
                    <a:pt x="12562" y="20953"/>
                    <a:pt x="12868" y="21083"/>
                    <a:pt x="12868" y="20953"/>
                  </a:cubicBezTo>
                  <a:cubicBezTo>
                    <a:pt x="12868" y="20824"/>
                    <a:pt x="12715" y="20695"/>
                    <a:pt x="12868" y="20565"/>
                  </a:cubicBezTo>
                  <a:cubicBezTo>
                    <a:pt x="12868" y="20436"/>
                    <a:pt x="13021" y="20177"/>
                    <a:pt x="13021" y="20048"/>
                  </a:cubicBezTo>
                  <a:cubicBezTo>
                    <a:pt x="13021" y="19919"/>
                    <a:pt x="13174" y="19789"/>
                    <a:pt x="13174" y="19660"/>
                  </a:cubicBezTo>
                  <a:cubicBezTo>
                    <a:pt x="13328" y="19531"/>
                    <a:pt x="13481" y="19272"/>
                    <a:pt x="13481" y="19143"/>
                  </a:cubicBezTo>
                  <a:cubicBezTo>
                    <a:pt x="13481" y="19143"/>
                    <a:pt x="13634" y="18884"/>
                    <a:pt x="13634" y="18754"/>
                  </a:cubicBezTo>
                  <a:cubicBezTo>
                    <a:pt x="13634" y="18754"/>
                    <a:pt x="13634" y="18366"/>
                    <a:pt x="13634" y="18366"/>
                  </a:cubicBezTo>
                  <a:cubicBezTo>
                    <a:pt x="13634" y="18366"/>
                    <a:pt x="13481" y="17978"/>
                    <a:pt x="13481" y="17978"/>
                  </a:cubicBezTo>
                  <a:cubicBezTo>
                    <a:pt x="13328" y="18237"/>
                    <a:pt x="13328" y="18237"/>
                    <a:pt x="13328" y="18237"/>
                  </a:cubicBezTo>
                  <a:cubicBezTo>
                    <a:pt x="13328" y="18496"/>
                    <a:pt x="13328" y="18496"/>
                    <a:pt x="13328" y="18496"/>
                  </a:cubicBezTo>
                  <a:cubicBezTo>
                    <a:pt x="13021" y="19013"/>
                    <a:pt x="13021" y="19013"/>
                    <a:pt x="13021" y="19013"/>
                  </a:cubicBezTo>
                  <a:cubicBezTo>
                    <a:pt x="12868" y="19272"/>
                    <a:pt x="12868" y="19272"/>
                    <a:pt x="12868" y="19272"/>
                  </a:cubicBezTo>
                  <a:cubicBezTo>
                    <a:pt x="12562" y="19531"/>
                    <a:pt x="12562" y="19531"/>
                    <a:pt x="12562" y="19531"/>
                  </a:cubicBezTo>
                  <a:cubicBezTo>
                    <a:pt x="12562" y="19660"/>
                    <a:pt x="12562" y="19660"/>
                    <a:pt x="12562" y="19660"/>
                  </a:cubicBezTo>
                  <a:cubicBezTo>
                    <a:pt x="12562" y="19919"/>
                    <a:pt x="12562" y="19919"/>
                    <a:pt x="12562" y="19919"/>
                  </a:cubicBezTo>
                  <a:cubicBezTo>
                    <a:pt x="12409" y="20048"/>
                    <a:pt x="12409" y="20048"/>
                    <a:pt x="12409" y="20048"/>
                  </a:cubicBezTo>
                  <a:cubicBezTo>
                    <a:pt x="12409" y="20177"/>
                    <a:pt x="12409" y="20177"/>
                    <a:pt x="12409" y="20177"/>
                  </a:cubicBezTo>
                  <a:cubicBezTo>
                    <a:pt x="12255" y="20307"/>
                    <a:pt x="12255" y="20307"/>
                    <a:pt x="12255" y="20307"/>
                  </a:cubicBezTo>
                  <a:close/>
                  <a:moveTo>
                    <a:pt x="11489" y="19143"/>
                  </a:moveTo>
                  <a:cubicBezTo>
                    <a:pt x="11489" y="19143"/>
                    <a:pt x="11489" y="19143"/>
                    <a:pt x="11489" y="19143"/>
                  </a:cubicBezTo>
                  <a:cubicBezTo>
                    <a:pt x="11643" y="19272"/>
                    <a:pt x="11643" y="19272"/>
                    <a:pt x="11643" y="19272"/>
                  </a:cubicBezTo>
                  <a:cubicBezTo>
                    <a:pt x="11643" y="19272"/>
                    <a:pt x="11796" y="19660"/>
                    <a:pt x="11949" y="19660"/>
                  </a:cubicBezTo>
                  <a:cubicBezTo>
                    <a:pt x="11949" y="19660"/>
                    <a:pt x="12409" y="19272"/>
                    <a:pt x="12409" y="19272"/>
                  </a:cubicBezTo>
                  <a:cubicBezTo>
                    <a:pt x="12409" y="19013"/>
                    <a:pt x="12409" y="19013"/>
                    <a:pt x="12409" y="19013"/>
                  </a:cubicBezTo>
                  <a:cubicBezTo>
                    <a:pt x="12562" y="18754"/>
                    <a:pt x="12562" y="18754"/>
                    <a:pt x="12562" y="18754"/>
                  </a:cubicBezTo>
                  <a:cubicBezTo>
                    <a:pt x="12102" y="18884"/>
                    <a:pt x="12102" y="18884"/>
                    <a:pt x="12102" y="18884"/>
                  </a:cubicBezTo>
                  <a:cubicBezTo>
                    <a:pt x="11796" y="19143"/>
                    <a:pt x="11796" y="19143"/>
                    <a:pt x="11796" y="19143"/>
                  </a:cubicBezTo>
                  <a:cubicBezTo>
                    <a:pt x="11489" y="19143"/>
                    <a:pt x="11489" y="19143"/>
                    <a:pt x="11489" y="19143"/>
                  </a:cubicBezTo>
                  <a:close/>
                  <a:moveTo>
                    <a:pt x="10111" y="19401"/>
                  </a:moveTo>
                  <a:cubicBezTo>
                    <a:pt x="10111" y="19401"/>
                    <a:pt x="10111" y="19401"/>
                    <a:pt x="10111" y="19401"/>
                  </a:cubicBezTo>
                  <a:cubicBezTo>
                    <a:pt x="10111" y="19401"/>
                    <a:pt x="10264" y="19789"/>
                    <a:pt x="10264" y="19789"/>
                  </a:cubicBezTo>
                  <a:cubicBezTo>
                    <a:pt x="10417" y="19789"/>
                    <a:pt x="10570" y="19919"/>
                    <a:pt x="10570" y="19919"/>
                  </a:cubicBezTo>
                  <a:cubicBezTo>
                    <a:pt x="10877" y="20177"/>
                    <a:pt x="10877" y="20177"/>
                    <a:pt x="10877" y="20177"/>
                  </a:cubicBezTo>
                  <a:cubicBezTo>
                    <a:pt x="10877" y="20177"/>
                    <a:pt x="10877" y="20307"/>
                    <a:pt x="11030" y="20307"/>
                  </a:cubicBezTo>
                  <a:cubicBezTo>
                    <a:pt x="11030" y="20307"/>
                    <a:pt x="11336" y="20177"/>
                    <a:pt x="11336" y="20177"/>
                  </a:cubicBezTo>
                  <a:cubicBezTo>
                    <a:pt x="11489" y="19919"/>
                    <a:pt x="11489" y="19919"/>
                    <a:pt x="11489" y="19919"/>
                  </a:cubicBezTo>
                  <a:cubicBezTo>
                    <a:pt x="11489" y="19919"/>
                    <a:pt x="11183" y="19919"/>
                    <a:pt x="11183" y="19919"/>
                  </a:cubicBezTo>
                  <a:cubicBezTo>
                    <a:pt x="11030" y="19919"/>
                    <a:pt x="10877" y="19660"/>
                    <a:pt x="10877" y="19660"/>
                  </a:cubicBezTo>
                  <a:cubicBezTo>
                    <a:pt x="10877" y="19660"/>
                    <a:pt x="10723" y="19660"/>
                    <a:pt x="10723" y="19660"/>
                  </a:cubicBezTo>
                  <a:cubicBezTo>
                    <a:pt x="10570" y="19660"/>
                    <a:pt x="10264" y="19401"/>
                    <a:pt x="10264" y="19401"/>
                  </a:cubicBezTo>
                  <a:cubicBezTo>
                    <a:pt x="10111" y="19401"/>
                    <a:pt x="10111" y="19401"/>
                    <a:pt x="10111" y="19401"/>
                  </a:cubicBezTo>
                  <a:close/>
                  <a:moveTo>
                    <a:pt x="7660" y="19013"/>
                  </a:moveTo>
                  <a:cubicBezTo>
                    <a:pt x="7660" y="19013"/>
                    <a:pt x="7660" y="19013"/>
                    <a:pt x="7660" y="19013"/>
                  </a:cubicBezTo>
                  <a:cubicBezTo>
                    <a:pt x="7966" y="19143"/>
                    <a:pt x="7966" y="19143"/>
                    <a:pt x="7966" y="19143"/>
                  </a:cubicBezTo>
                  <a:cubicBezTo>
                    <a:pt x="8119" y="19272"/>
                    <a:pt x="8119" y="19272"/>
                    <a:pt x="8119" y="19272"/>
                  </a:cubicBezTo>
                  <a:cubicBezTo>
                    <a:pt x="8426" y="19401"/>
                    <a:pt x="8426" y="19401"/>
                    <a:pt x="8426" y="19401"/>
                  </a:cubicBezTo>
                  <a:cubicBezTo>
                    <a:pt x="8119" y="19660"/>
                    <a:pt x="8119" y="19660"/>
                    <a:pt x="8119" y="19660"/>
                  </a:cubicBezTo>
                  <a:cubicBezTo>
                    <a:pt x="8119" y="19660"/>
                    <a:pt x="8272" y="19919"/>
                    <a:pt x="8426" y="19789"/>
                  </a:cubicBezTo>
                  <a:cubicBezTo>
                    <a:pt x="8579" y="19789"/>
                    <a:pt x="8579" y="19789"/>
                    <a:pt x="8579" y="19789"/>
                  </a:cubicBezTo>
                  <a:cubicBezTo>
                    <a:pt x="8579" y="19789"/>
                    <a:pt x="8885" y="19919"/>
                    <a:pt x="8885" y="19919"/>
                  </a:cubicBezTo>
                  <a:cubicBezTo>
                    <a:pt x="9038" y="20048"/>
                    <a:pt x="9191" y="20048"/>
                    <a:pt x="9345" y="20048"/>
                  </a:cubicBezTo>
                  <a:cubicBezTo>
                    <a:pt x="9498" y="20048"/>
                    <a:pt x="9498" y="19919"/>
                    <a:pt x="9498" y="19919"/>
                  </a:cubicBezTo>
                  <a:cubicBezTo>
                    <a:pt x="9498" y="19789"/>
                    <a:pt x="9498" y="19660"/>
                    <a:pt x="9498" y="19660"/>
                  </a:cubicBezTo>
                  <a:cubicBezTo>
                    <a:pt x="9345" y="19401"/>
                    <a:pt x="9345" y="19401"/>
                    <a:pt x="9345" y="19401"/>
                  </a:cubicBezTo>
                  <a:cubicBezTo>
                    <a:pt x="9191" y="19143"/>
                    <a:pt x="9191" y="19143"/>
                    <a:pt x="9191" y="19143"/>
                  </a:cubicBezTo>
                  <a:cubicBezTo>
                    <a:pt x="8579" y="19013"/>
                    <a:pt x="8579" y="19013"/>
                    <a:pt x="8579" y="19013"/>
                  </a:cubicBezTo>
                  <a:cubicBezTo>
                    <a:pt x="8272" y="18754"/>
                    <a:pt x="8272" y="18754"/>
                    <a:pt x="8272" y="18754"/>
                  </a:cubicBezTo>
                  <a:cubicBezTo>
                    <a:pt x="7813" y="18625"/>
                    <a:pt x="7813" y="18625"/>
                    <a:pt x="7813" y="18625"/>
                  </a:cubicBezTo>
                  <a:cubicBezTo>
                    <a:pt x="7660" y="18625"/>
                    <a:pt x="7660" y="18625"/>
                    <a:pt x="7660" y="18625"/>
                  </a:cubicBezTo>
                  <a:cubicBezTo>
                    <a:pt x="7660" y="19013"/>
                    <a:pt x="7660" y="19013"/>
                    <a:pt x="7660" y="19013"/>
                  </a:cubicBezTo>
                  <a:close/>
                  <a:moveTo>
                    <a:pt x="12715" y="3234"/>
                  </a:moveTo>
                  <a:cubicBezTo>
                    <a:pt x="12715" y="3234"/>
                    <a:pt x="12715" y="3234"/>
                    <a:pt x="12715" y="3234"/>
                  </a:cubicBezTo>
                  <a:cubicBezTo>
                    <a:pt x="12715" y="3363"/>
                    <a:pt x="12715" y="3363"/>
                    <a:pt x="12715" y="3363"/>
                  </a:cubicBezTo>
                  <a:cubicBezTo>
                    <a:pt x="12715" y="3363"/>
                    <a:pt x="12868" y="3363"/>
                    <a:pt x="12868" y="3363"/>
                  </a:cubicBezTo>
                  <a:cubicBezTo>
                    <a:pt x="12868" y="3363"/>
                    <a:pt x="13021" y="3363"/>
                    <a:pt x="13021" y="3363"/>
                  </a:cubicBezTo>
                  <a:cubicBezTo>
                    <a:pt x="13021" y="3363"/>
                    <a:pt x="13328" y="3492"/>
                    <a:pt x="13328" y="3492"/>
                  </a:cubicBezTo>
                  <a:cubicBezTo>
                    <a:pt x="13328" y="3622"/>
                    <a:pt x="13481" y="3492"/>
                    <a:pt x="13481" y="3492"/>
                  </a:cubicBezTo>
                  <a:cubicBezTo>
                    <a:pt x="13634" y="3492"/>
                    <a:pt x="13634" y="3363"/>
                    <a:pt x="13634" y="3234"/>
                  </a:cubicBezTo>
                  <a:cubicBezTo>
                    <a:pt x="13634" y="3234"/>
                    <a:pt x="13787" y="3104"/>
                    <a:pt x="13787" y="3104"/>
                  </a:cubicBezTo>
                  <a:cubicBezTo>
                    <a:pt x="13787" y="3104"/>
                    <a:pt x="14247" y="2846"/>
                    <a:pt x="14247" y="2846"/>
                  </a:cubicBezTo>
                  <a:cubicBezTo>
                    <a:pt x="14247" y="2716"/>
                    <a:pt x="13940" y="2716"/>
                    <a:pt x="13940" y="2716"/>
                  </a:cubicBezTo>
                  <a:cubicBezTo>
                    <a:pt x="13940" y="2716"/>
                    <a:pt x="13481" y="2846"/>
                    <a:pt x="13481" y="2846"/>
                  </a:cubicBezTo>
                  <a:cubicBezTo>
                    <a:pt x="13481" y="2846"/>
                    <a:pt x="13021" y="2975"/>
                    <a:pt x="13021" y="2975"/>
                  </a:cubicBezTo>
                  <a:lnTo>
                    <a:pt x="12715" y="3234"/>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5" name="Shape 2238">
              <a:extLst>
                <a:ext uri="{FF2B5EF4-FFF2-40B4-BE49-F238E27FC236}">
                  <a16:creationId xmlns:a16="http://schemas.microsoft.com/office/drawing/2014/main" id="{3777C53D-46B8-F2C6-E6EE-49F93295B383}"/>
                </a:ext>
              </a:extLst>
            </p:cNvPr>
            <p:cNvSpPr/>
            <p:nvPr/>
          </p:nvSpPr>
          <p:spPr>
            <a:xfrm>
              <a:off x="2781744" y="4442588"/>
              <a:ext cx="558434" cy="636034"/>
            </a:xfrm>
            <a:custGeom>
              <a:avLst/>
              <a:gdLst/>
              <a:ahLst/>
              <a:cxnLst>
                <a:cxn ang="0">
                  <a:pos x="wd2" y="hd2"/>
                </a:cxn>
                <a:cxn ang="5400000">
                  <a:pos x="wd2" y="hd2"/>
                </a:cxn>
                <a:cxn ang="10800000">
                  <a:pos x="wd2" y="hd2"/>
                </a:cxn>
                <a:cxn ang="16200000">
                  <a:pos x="wd2" y="hd2"/>
                </a:cxn>
              </a:cxnLst>
              <a:rect l="0" t="0" r="r" b="b"/>
              <a:pathLst>
                <a:path w="21512" h="21600" extrusionOk="0">
                  <a:moveTo>
                    <a:pt x="11435" y="4755"/>
                  </a:moveTo>
                  <a:cubicBezTo>
                    <a:pt x="11276" y="4483"/>
                    <a:pt x="11276" y="4483"/>
                    <a:pt x="11276" y="4483"/>
                  </a:cubicBezTo>
                  <a:cubicBezTo>
                    <a:pt x="10959" y="4483"/>
                    <a:pt x="10959" y="4483"/>
                    <a:pt x="10959" y="4483"/>
                  </a:cubicBezTo>
                  <a:cubicBezTo>
                    <a:pt x="10482" y="4755"/>
                    <a:pt x="10482" y="4755"/>
                    <a:pt x="10482" y="4755"/>
                  </a:cubicBezTo>
                  <a:cubicBezTo>
                    <a:pt x="10482" y="4483"/>
                    <a:pt x="10482" y="4483"/>
                    <a:pt x="10482" y="4483"/>
                  </a:cubicBezTo>
                  <a:cubicBezTo>
                    <a:pt x="11118" y="4211"/>
                    <a:pt x="11118" y="4211"/>
                    <a:pt x="11118" y="4211"/>
                  </a:cubicBezTo>
                  <a:cubicBezTo>
                    <a:pt x="11435" y="4075"/>
                    <a:pt x="11435" y="4075"/>
                    <a:pt x="11435" y="4075"/>
                  </a:cubicBezTo>
                  <a:cubicBezTo>
                    <a:pt x="11594" y="3804"/>
                    <a:pt x="11594" y="3804"/>
                    <a:pt x="11594" y="3804"/>
                  </a:cubicBezTo>
                  <a:cubicBezTo>
                    <a:pt x="11912" y="3396"/>
                    <a:pt x="11912" y="3396"/>
                    <a:pt x="11912" y="3396"/>
                  </a:cubicBezTo>
                  <a:cubicBezTo>
                    <a:pt x="11912" y="3396"/>
                    <a:pt x="12229" y="3125"/>
                    <a:pt x="12388" y="2989"/>
                  </a:cubicBezTo>
                  <a:cubicBezTo>
                    <a:pt x="12547" y="2989"/>
                    <a:pt x="13182" y="2717"/>
                    <a:pt x="13182" y="2717"/>
                  </a:cubicBezTo>
                  <a:cubicBezTo>
                    <a:pt x="13182" y="2717"/>
                    <a:pt x="13818" y="2445"/>
                    <a:pt x="13976" y="2445"/>
                  </a:cubicBezTo>
                  <a:cubicBezTo>
                    <a:pt x="14135" y="2445"/>
                    <a:pt x="15247" y="2309"/>
                    <a:pt x="15247" y="2309"/>
                  </a:cubicBezTo>
                  <a:cubicBezTo>
                    <a:pt x="16359" y="2581"/>
                    <a:pt x="16359" y="2581"/>
                    <a:pt x="16359" y="2581"/>
                  </a:cubicBezTo>
                  <a:cubicBezTo>
                    <a:pt x="16359" y="2581"/>
                    <a:pt x="16676" y="2309"/>
                    <a:pt x="16994" y="2309"/>
                  </a:cubicBezTo>
                  <a:cubicBezTo>
                    <a:pt x="16994" y="2309"/>
                    <a:pt x="17312" y="2445"/>
                    <a:pt x="17471" y="2445"/>
                  </a:cubicBezTo>
                  <a:cubicBezTo>
                    <a:pt x="17629" y="2445"/>
                    <a:pt x="17947" y="2309"/>
                    <a:pt x="17947" y="2309"/>
                  </a:cubicBezTo>
                  <a:cubicBezTo>
                    <a:pt x="18582" y="2309"/>
                    <a:pt x="18582" y="2309"/>
                    <a:pt x="18582" y="2309"/>
                  </a:cubicBezTo>
                  <a:cubicBezTo>
                    <a:pt x="19059" y="2853"/>
                    <a:pt x="19059" y="2853"/>
                    <a:pt x="19059" y="2853"/>
                  </a:cubicBezTo>
                  <a:cubicBezTo>
                    <a:pt x="19218" y="3396"/>
                    <a:pt x="19218" y="3396"/>
                    <a:pt x="19218" y="3396"/>
                  </a:cubicBezTo>
                  <a:cubicBezTo>
                    <a:pt x="20012" y="3532"/>
                    <a:pt x="20012" y="3532"/>
                    <a:pt x="20012" y="3532"/>
                  </a:cubicBezTo>
                  <a:cubicBezTo>
                    <a:pt x="20012" y="3532"/>
                    <a:pt x="19853" y="3804"/>
                    <a:pt x="19853" y="3940"/>
                  </a:cubicBezTo>
                  <a:cubicBezTo>
                    <a:pt x="20012" y="3940"/>
                    <a:pt x="20488" y="4075"/>
                    <a:pt x="20488" y="4075"/>
                  </a:cubicBezTo>
                  <a:cubicBezTo>
                    <a:pt x="20488" y="4211"/>
                    <a:pt x="20488" y="4211"/>
                    <a:pt x="20488" y="4211"/>
                  </a:cubicBezTo>
                  <a:cubicBezTo>
                    <a:pt x="20488" y="4211"/>
                    <a:pt x="20488" y="4755"/>
                    <a:pt x="20488" y="4891"/>
                  </a:cubicBezTo>
                  <a:cubicBezTo>
                    <a:pt x="20488" y="5026"/>
                    <a:pt x="20488" y="5842"/>
                    <a:pt x="20488" y="5842"/>
                  </a:cubicBezTo>
                  <a:cubicBezTo>
                    <a:pt x="20488" y="5842"/>
                    <a:pt x="20012" y="6657"/>
                    <a:pt x="19853" y="6657"/>
                  </a:cubicBezTo>
                  <a:cubicBezTo>
                    <a:pt x="19694" y="6792"/>
                    <a:pt x="19853" y="7336"/>
                    <a:pt x="19853" y="7336"/>
                  </a:cubicBezTo>
                  <a:cubicBezTo>
                    <a:pt x="19694" y="8015"/>
                    <a:pt x="19694" y="8015"/>
                    <a:pt x="19694" y="8015"/>
                  </a:cubicBezTo>
                  <a:cubicBezTo>
                    <a:pt x="19694" y="8015"/>
                    <a:pt x="19694" y="8558"/>
                    <a:pt x="19535" y="8423"/>
                  </a:cubicBezTo>
                  <a:cubicBezTo>
                    <a:pt x="19376" y="8423"/>
                    <a:pt x="18582" y="8151"/>
                    <a:pt x="18582" y="8151"/>
                  </a:cubicBezTo>
                  <a:cubicBezTo>
                    <a:pt x="17947" y="8287"/>
                    <a:pt x="17947" y="8287"/>
                    <a:pt x="17947" y="8287"/>
                  </a:cubicBezTo>
                  <a:cubicBezTo>
                    <a:pt x="17947" y="8694"/>
                    <a:pt x="17947" y="8694"/>
                    <a:pt x="17947" y="8694"/>
                  </a:cubicBezTo>
                  <a:cubicBezTo>
                    <a:pt x="18265" y="8830"/>
                    <a:pt x="18265" y="8830"/>
                    <a:pt x="18265" y="8830"/>
                  </a:cubicBezTo>
                  <a:cubicBezTo>
                    <a:pt x="17788" y="8830"/>
                    <a:pt x="17788" y="8830"/>
                    <a:pt x="17788" y="8830"/>
                  </a:cubicBezTo>
                  <a:cubicBezTo>
                    <a:pt x="17788" y="9102"/>
                    <a:pt x="17788" y="9102"/>
                    <a:pt x="17788" y="9102"/>
                  </a:cubicBezTo>
                  <a:cubicBezTo>
                    <a:pt x="17788" y="9102"/>
                    <a:pt x="17947" y="9374"/>
                    <a:pt x="18106" y="9509"/>
                  </a:cubicBezTo>
                  <a:cubicBezTo>
                    <a:pt x="18106" y="9645"/>
                    <a:pt x="18582" y="9645"/>
                    <a:pt x="18582" y="9645"/>
                  </a:cubicBezTo>
                  <a:cubicBezTo>
                    <a:pt x="18900" y="9917"/>
                    <a:pt x="18900" y="9917"/>
                    <a:pt x="18900" y="9917"/>
                  </a:cubicBezTo>
                  <a:cubicBezTo>
                    <a:pt x="19376" y="9781"/>
                    <a:pt x="19376" y="9781"/>
                    <a:pt x="19376" y="9781"/>
                  </a:cubicBezTo>
                  <a:cubicBezTo>
                    <a:pt x="19694" y="10325"/>
                    <a:pt x="19694" y="10325"/>
                    <a:pt x="19694" y="10325"/>
                  </a:cubicBezTo>
                  <a:cubicBezTo>
                    <a:pt x="19535" y="10596"/>
                    <a:pt x="19535" y="10596"/>
                    <a:pt x="19535" y="10596"/>
                  </a:cubicBezTo>
                  <a:cubicBezTo>
                    <a:pt x="19535" y="10596"/>
                    <a:pt x="19535" y="10868"/>
                    <a:pt x="19535" y="11004"/>
                  </a:cubicBezTo>
                  <a:cubicBezTo>
                    <a:pt x="19535" y="11140"/>
                    <a:pt x="19694" y="11275"/>
                    <a:pt x="19535" y="11275"/>
                  </a:cubicBezTo>
                  <a:cubicBezTo>
                    <a:pt x="19535" y="11275"/>
                    <a:pt x="19218" y="11411"/>
                    <a:pt x="19218" y="11411"/>
                  </a:cubicBezTo>
                  <a:cubicBezTo>
                    <a:pt x="19059" y="11683"/>
                    <a:pt x="19059" y="11683"/>
                    <a:pt x="19059" y="11683"/>
                  </a:cubicBezTo>
                  <a:cubicBezTo>
                    <a:pt x="19059" y="11683"/>
                    <a:pt x="18741" y="11819"/>
                    <a:pt x="18582" y="11819"/>
                  </a:cubicBezTo>
                  <a:cubicBezTo>
                    <a:pt x="18424" y="11955"/>
                    <a:pt x="18424" y="11955"/>
                    <a:pt x="18424" y="12091"/>
                  </a:cubicBezTo>
                  <a:cubicBezTo>
                    <a:pt x="18424" y="12091"/>
                    <a:pt x="17788" y="11955"/>
                    <a:pt x="17788" y="11955"/>
                  </a:cubicBezTo>
                  <a:cubicBezTo>
                    <a:pt x="17788" y="12362"/>
                    <a:pt x="17788" y="12362"/>
                    <a:pt x="17788" y="12362"/>
                  </a:cubicBezTo>
                  <a:cubicBezTo>
                    <a:pt x="17471" y="12362"/>
                    <a:pt x="17471" y="12362"/>
                    <a:pt x="17471" y="12362"/>
                  </a:cubicBezTo>
                  <a:cubicBezTo>
                    <a:pt x="17788" y="12770"/>
                    <a:pt x="17788" y="12770"/>
                    <a:pt x="17788" y="12770"/>
                  </a:cubicBezTo>
                  <a:cubicBezTo>
                    <a:pt x="18265" y="13042"/>
                    <a:pt x="18265" y="13042"/>
                    <a:pt x="18265" y="13042"/>
                  </a:cubicBezTo>
                  <a:cubicBezTo>
                    <a:pt x="18106" y="13177"/>
                    <a:pt x="18106" y="13177"/>
                    <a:pt x="18106" y="13177"/>
                  </a:cubicBezTo>
                  <a:cubicBezTo>
                    <a:pt x="17788" y="13313"/>
                    <a:pt x="17788" y="13313"/>
                    <a:pt x="17788" y="13313"/>
                  </a:cubicBezTo>
                  <a:cubicBezTo>
                    <a:pt x="17629" y="13585"/>
                    <a:pt x="17629" y="13585"/>
                    <a:pt x="17629" y="13585"/>
                  </a:cubicBezTo>
                  <a:cubicBezTo>
                    <a:pt x="17153" y="13585"/>
                    <a:pt x="17153" y="13585"/>
                    <a:pt x="17153" y="13585"/>
                  </a:cubicBezTo>
                  <a:cubicBezTo>
                    <a:pt x="16676" y="13721"/>
                    <a:pt x="16676" y="13721"/>
                    <a:pt x="16676" y="13721"/>
                  </a:cubicBezTo>
                  <a:cubicBezTo>
                    <a:pt x="16518" y="13721"/>
                    <a:pt x="16518" y="13721"/>
                    <a:pt x="16518" y="13721"/>
                  </a:cubicBezTo>
                  <a:cubicBezTo>
                    <a:pt x="16041" y="13721"/>
                    <a:pt x="16041" y="13721"/>
                    <a:pt x="16041" y="13721"/>
                  </a:cubicBezTo>
                  <a:cubicBezTo>
                    <a:pt x="15882" y="13992"/>
                    <a:pt x="15882" y="13992"/>
                    <a:pt x="15882" y="13992"/>
                  </a:cubicBezTo>
                  <a:cubicBezTo>
                    <a:pt x="15724" y="13721"/>
                    <a:pt x="15724" y="13721"/>
                    <a:pt x="15724" y="13721"/>
                  </a:cubicBezTo>
                  <a:cubicBezTo>
                    <a:pt x="15247" y="13585"/>
                    <a:pt x="15247" y="13585"/>
                    <a:pt x="15247" y="13585"/>
                  </a:cubicBezTo>
                  <a:cubicBezTo>
                    <a:pt x="14929" y="13313"/>
                    <a:pt x="14929" y="13313"/>
                    <a:pt x="14929" y="13313"/>
                  </a:cubicBezTo>
                  <a:cubicBezTo>
                    <a:pt x="14453" y="13449"/>
                    <a:pt x="14453" y="13449"/>
                    <a:pt x="14453" y="13449"/>
                  </a:cubicBezTo>
                  <a:cubicBezTo>
                    <a:pt x="14929" y="13721"/>
                    <a:pt x="14929" y="13721"/>
                    <a:pt x="14929" y="13721"/>
                  </a:cubicBezTo>
                  <a:cubicBezTo>
                    <a:pt x="14612" y="13721"/>
                    <a:pt x="14612" y="13721"/>
                    <a:pt x="14612" y="13721"/>
                  </a:cubicBezTo>
                  <a:cubicBezTo>
                    <a:pt x="13818" y="13585"/>
                    <a:pt x="13818" y="13585"/>
                    <a:pt x="13818" y="13585"/>
                  </a:cubicBezTo>
                  <a:cubicBezTo>
                    <a:pt x="13818" y="13992"/>
                    <a:pt x="13818" y="13992"/>
                    <a:pt x="13818" y="13992"/>
                  </a:cubicBezTo>
                  <a:cubicBezTo>
                    <a:pt x="13818" y="14264"/>
                    <a:pt x="13818" y="14264"/>
                    <a:pt x="13818" y="14264"/>
                  </a:cubicBezTo>
                  <a:cubicBezTo>
                    <a:pt x="13818" y="14264"/>
                    <a:pt x="13659" y="14400"/>
                    <a:pt x="13818" y="14400"/>
                  </a:cubicBezTo>
                  <a:cubicBezTo>
                    <a:pt x="13976" y="14400"/>
                    <a:pt x="14294" y="14672"/>
                    <a:pt x="14294" y="14672"/>
                  </a:cubicBezTo>
                  <a:cubicBezTo>
                    <a:pt x="14294" y="14943"/>
                    <a:pt x="14294" y="14943"/>
                    <a:pt x="14294" y="14943"/>
                  </a:cubicBezTo>
                  <a:cubicBezTo>
                    <a:pt x="14453" y="15215"/>
                    <a:pt x="14453" y="15215"/>
                    <a:pt x="14453" y="15215"/>
                  </a:cubicBezTo>
                  <a:cubicBezTo>
                    <a:pt x="14453" y="15351"/>
                    <a:pt x="14453" y="15351"/>
                    <a:pt x="14453" y="15351"/>
                  </a:cubicBezTo>
                  <a:cubicBezTo>
                    <a:pt x="14771" y="15758"/>
                    <a:pt x="14771" y="15758"/>
                    <a:pt x="14771" y="15758"/>
                  </a:cubicBezTo>
                  <a:cubicBezTo>
                    <a:pt x="14771" y="16166"/>
                    <a:pt x="14771" y="16166"/>
                    <a:pt x="14771" y="16166"/>
                  </a:cubicBezTo>
                  <a:cubicBezTo>
                    <a:pt x="15088" y="16574"/>
                    <a:pt x="15088" y="16574"/>
                    <a:pt x="15088" y="16574"/>
                  </a:cubicBezTo>
                  <a:cubicBezTo>
                    <a:pt x="14929" y="16981"/>
                    <a:pt x="14929" y="16981"/>
                    <a:pt x="14929" y="16981"/>
                  </a:cubicBezTo>
                  <a:cubicBezTo>
                    <a:pt x="14929" y="16981"/>
                    <a:pt x="15088" y="17253"/>
                    <a:pt x="14929" y="17389"/>
                  </a:cubicBezTo>
                  <a:cubicBezTo>
                    <a:pt x="14929" y="17389"/>
                    <a:pt x="14612" y="17660"/>
                    <a:pt x="14612" y="17660"/>
                  </a:cubicBezTo>
                  <a:cubicBezTo>
                    <a:pt x="14453" y="17932"/>
                    <a:pt x="14453" y="17932"/>
                    <a:pt x="14453" y="17932"/>
                  </a:cubicBezTo>
                  <a:cubicBezTo>
                    <a:pt x="14135" y="18068"/>
                    <a:pt x="14135" y="18068"/>
                    <a:pt x="14135" y="18068"/>
                  </a:cubicBezTo>
                  <a:cubicBezTo>
                    <a:pt x="14135" y="18340"/>
                    <a:pt x="14135" y="18340"/>
                    <a:pt x="14135" y="18340"/>
                  </a:cubicBezTo>
                  <a:cubicBezTo>
                    <a:pt x="14135" y="18340"/>
                    <a:pt x="14135" y="18747"/>
                    <a:pt x="14294" y="18747"/>
                  </a:cubicBezTo>
                  <a:cubicBezTo>
                    <a:pt x="14294" y="18747"/>
                    <a:pt x="14612" y="18475"/>
                    <a:pt x="14612" y="18475"/>
                  </a:cubicBezTo>
                  <a:cubicBezTo>
                    <a:pt x="14612" y="18475"/>
                    <a:pt x="14929" y="18747"/>
                    <a:pt x="14771" y="18883"/>
                  </a:cubicBezTo>
                  <a:cubicBezTo>
                    <a:pt x="14771" y="18883"/>
                    <a:pt x="14135" y="18883"/>
                    <a:pt x="14135" y="18883"/>
                  </a:cubicBezTo>
                  <a:cubicBezTo>
                    <a:pt x="13818" y="18883"/>
                    <a:pt x="13818" y="18883"/>
                    <a:pt x="13818" y="18883"/>
                  </a:cubicBezTo>
                  <a:cubicBezTo>
                    <a:pt x="13818" y="18883"/>
                    <a:pt x="13659" y="19155"/>
                    <a:pt x="13500" y="19155"/>
                  </a:cubicBezTo>
                  <a:cubicBezTo>
                    <a:pt x="13500" y="19291"/>
                    <a:pt x="13500" y="19426"/>
                    <a:pt x="13500" y="19426"/>
                  </a:cubicBezTo>
                  <a:cubicBezTo>
                    <a:pt x="13182" y="19155"/>
                    <a:pt x="13182" y="19155"/>
                    <a:pt x="13182" y="19155"/>
                  </a:cubicBezTo>
                  <a:cubicBezTo>
                    <a:pt x="13024" y="19291"/>
                    <a:pt x="13024" y="19291"/>
                    <a:pt x="13024" y="19291"/>
                  </a:cubicBezTo>
                  <a:cubicBezTo>
                    <a:pt x="13182" y="19562"/>
                    <a:pt x="13182" y="19562"/>
                    <a:pt x="13182" y="19562"/>
                  </a:cubicBezTo>
                  <a:cubicBezTo>
                    <a:pt x="13182" y="19834"/>
                    <a:pt x="13182" y="19834"/>
                    <a:pt x="13182" y="19834"/>
                  </a:cubicBezTo>
                  <a:cubicBezTo>
                    <a:pt x="13182" y="19834"/>
                    <a:pt x="13500" y="19834"/>
                    <a:pt x="13500" y="19834"/>
                  </a:cubicBezTo>
                  <a:cubicBezTo>
                    <a:pt x="13500" y="19834"/>
                    <a:pt x="13818" y="19970"/>
                    <a:pt x="13818" y="19970"/>
                  </a:cubicBezTo>
                  <a:cubicBezTo>
                    <a:pt x="13818" y="19970"/>
                    <a:pt x="13659" y="20106"/>
                    <a:pt x="13818" y="20106"/>
                  </a:cubicBezTo>
                  <a:cubicBezTo>
                    <a:pt x="13818" y="20242"/>
                    <a:pt x="13818" y="20242"/>
                    <a:pt x="13976" y="20242"/>
                  </a:cubicBezTo>
                  <a:cubicBezTo>
                    <a:pt x="14135" y="20377"/>
                    <a:pt x="14135" y="20377"/>
                    <a:pt x="14135" y="20377"/>
                  </a:cubicBezTo>
                  <a:cubicBezTo>
                    <a:pt x="14135" y="20377"/>
                    <a:pt x="14135" y="20649"/>
                    <a:pt x="14135" y="20785"/>
                  </a:cubicBezTo>
                  <a:cubicBezTo>
                    <a:pt x="13976" y="20785"/>
                    <a:pt x="13976" y="20921"/>
                    <a:pt x="13976" y="20921"/>
                  </a:cubicBezTo>
                  <a:cubicBezTo>
                    <a:pt x="13818" y="20921"/>
                    <a:pt x="13818" y="20921"/>
                    <a:pt x="13818" y="20921"/>
                  </a:cubicBezTo>
                  <a:cubicBezTo>
                    <a:pt x="13659" y="21057"/>
                    <a:pt x="13659" y="21192"/>
                    <a:pt x="13659" y="21192"/>
                  </a:cubicBezTo>
                  <a:cubicBezTo>
                    <a:pt x="13659" y="21192"/>
                    <a:pt x="13500" y="21192"/>
                    <a:pt x="13500" y="21192"/>
                  </a:cubicBezTo>
                  <a:cubicBezTo>
                    <a:pt x="13500" y="21328"/>
                    <a:pt x="13659" y="21464"/>
                    <a:pt x="13659" y="21600"/>
                  </a:cubicBezTo>
                  <a:cubicBezTo>
                    <a:pt x="13659" y="21600"/>
                    <a:pt x="13659" y="21600"/>
                    <a:pt x="13500" y="21600"/>
                  </a:cubicBezTo>
                  <a:cubicBezTo>
                    <a:pt x="13500" y="21600"/>
                    <a:pt x="13500" y="21600"/>
                    <a:pt x="13500" y="21600"/>
                  </a:cubicBezTo>
                  <a:cubicBezTo>
                    <a:pt x="13500" y="21600"/>
                    <a:pt x="13182" y="21328"/>
                    <a:pt x="13182" y="21328"/>
                  </a:cubicBezTo>
                  <a:cubicBezTo>
                    <a:pt x="13024" y="21328"/>
                    <a:pt x="12865" y="21464"/>
                    <a:pt x="12547" y="21464"/>
                  </a:cubicBezTo>
                  <a:cubicBezTo>
                    <a:pt x="12388" y="21328"/>
                    <a:pt x="12388" y="21328"/>
                    <a:pt x="12388" y="21328"/>
                  </a:cubicBezTo>
                  <a:cubicBezTo>
                    <a:pt x="11753" y="21464"/>
                    <a:pt x="11753" y="21464"/>
                    <a:pt x="11753" y="21464"/>
                  </a:cubicBezTo>
                  <a:cubicBezTo>
                    <a:pt x="11753" y="21192"/>
                    <a:pt x="11753" y="21192"/>
                    <a:pt x="11753" y="21192"/>
                  </a:cubicBezTo>
                  <a:cubicBezTo>
                    <a:pt x="11594" y="20921"/>
                    <a:pt x="11594" y="20921"/>
                    <a:pt x="11594" y="20921"/>
                  </a:cubicBezTo>
                  <a:cubicBezTo>
                    <a:pt x="11594" y="20921"/>
                    <a:pt x="11594" y="20649"/>
                    <a:pt x="11594" y="20513"/>
                  </a:cubicBezTo>
                  <a:cubicBezTo>
                    <a:pt x="11594" y="20513"/>
                    <a:pt x="11753" y="20377"/>
                    <a:pt x="11753" y="20377"/>
                  </a:cubicBezTo>
                  <a:cubicBezTo>
                    <a:pt x="11912" y="20377"/>
                    <a:pt x="12071" y="20106"/>
                    <a:pt x="12071" y="20106"/>
                  </a:cubicBezTo>
                  <a:cubicBezTo>
                    <a:pt x="12071" y="20106"/>
                    <a:pt x="12229" y="19834"/>
                    <a:pt x="12388" y="19698"/>
                  </a:cubicBezTo>
                  <a:cubicBezTo>
                    <a:pt x="12388" y="19698"/>
                    <a:pt x="12547" y="19291"/>
                    <a:pt x="12547" y="19291"/>
                  </a:cubicBezTo>
                  <a:cubicBezTo>
                    <a:pt x="12547" y="19155"/>
                    <a:pt x="12706" y="19019"/>
                    <a:pt x="12706" y="19019"/>
                  </a:cubicBezTo>
                  <a:cubicBezTo>
                    <a:pt x="12706" y="19019"/>
                    <a:pt x="13024" y="18747"/>
                    <a:pt x="13024" y="18611"/>
                  </a:cubicBezTo>
                  <a:cubicBezTo>
                    <a:pt x="13024" y="18475"/>
                    <a:pt x="12865" y="18475"/>
                    <a:pt x="12706" y="18475"/>
                  </a:cubicBezTo>
                  <a:cubicBezTo>
                    <a:pt x="12706" y="18475"/>
                    <a:pt x="12229" y="18340"/>
                    <a:pt x="12071" y="18204"/>
                  </a:cubicBezTo>
                  <a:cubicBezTo>
                    <a:pt x="11912" y="18204"/>
                    <a:pt x="11594" y="18068"/>
                    <a:pt x="11276" y="18068"/>
                  </a:cubicBezTo>
                  <a:cubicBezTo>
                    <a:pt x="10959" y="17932"/>
                    <a:pt x="11118" y="17932"/>
                    <a:pt x="11276" y="17660"/>
                  </a:cubicBezTo>
                  <a:cubicBezTo>
                    <a:pt x="11276" y="17525"/>
                    <a:pt x="10959" y="17525"/>
                    <a:pt x="10959" y="17389"/>
                  </a:cubicBezTo>
                  <a:cubicBezTo>
                    <a:pt x="10959" y="17389"/>
                    <a:pt x="10800" y="17525"/>
                    <a:pt x="10641" y="17660"/>
                  </a:cubicBezTo>
                  <a:cubicBezTo>
                    <a:pt x="10482" y="17660"/>
                    <a:pt x="10324" y="17525"/>
                    <a:pt x="10165" y="17525"/>
                  </a:cubicBezTo>
                  <a:cubicBezTo>
                    <a:pt x="10165" y="17525"/>
                    <a:pt x="9688" y="17525"/>
                    <a:pt x="9688" y="17525"/>
                  </a:cubicBezTo>
                  <a:cubicBezTo>
                    <a:pt x="9688" y="17525"/>
                    <a:pt x="9688" y="17389"/>
                    <a:pt x="9688" y="17253"/>
                  </a:cubicBezTo>
                  <a:cubicBezTo>
                    <a:pt x="9688" y="17117"/>
                    <a:pt x="9529" y="17117"/>
                    <a:pt x="9529" y="17117"/>
                  </a:cubicBezTo>
                  <a:cubicBezTo>
                    <a:pt x="9529" y="17117"/>
                    <a:pt x="9212" y="17117"/>
                    <a:pt x="9212" y="16981"/>
                  </a:cubicBezTo>
                  <a:cubicBezTo>
                    <a:pt x="9053" y="16981"/>
                    <a:pt x="9212" y="16981"/>
                    <a:pt x="9212" y="16845"/>
                  </a:cubicBezTo>
                  <a:cubicBezTo>
                    <a:pt x="9212" y="16709"/>
                    <a:pt x="9212" y="16845"/>
                    <a:pt x="9053" y="16845"/>
                  </a:cubicBezTo>
                  <a:cubicBezTo>
                    <a:pt x="8894" y="16845"/>
                    <a:pt x="8894" y="16438"/>
                    <a:pt x="8894" y="16438"/>
                  </a:cubicBezTo>
                  <a:cubicBezTo>
                    <a:pt x="8894" y="16438"/>
                    <a:pt x="8735" y="16166"/>
                    <a:pt x="8735" y="16030"/>
                  </a:cubicBezTo>
                  <a:cubicBezTo>
                    <a:pt x="8576" y="15758"/>
                    <a:pt x="8576" y="16030"/>
                    <a:pt x="8576" y="16030"/>
                  </a:cubicBezTo>
                  <a:cubicBezTo>
                    <a:pt x="8259" y="16438"/>
                    <a:pt x="8259" y="16438"/>
                    <a:pt x="8259" y="16438"/>
                  </a:cubicBezTo>
                  <a:cubicBezTo>
                    <a:pt x="8259" y="16438"/>
                    <a:pt x="8100" y="16438"/>
                    <a:pt x="7624" y="16302"/>
                  </a:cubicBezTo>
                  <a:cubicBezTo>
                    <a:pt x="7306" y="16166"/>
                    <a:pt x="7465" y="16166"/>
                    <a:pt x="7465" y="16166"/>
                  </a:cubicBezTo>
                  <a:cubicBezTo>
                    <a:pt x="7782" y="15894"/>
                    <a:pt x="7782" y="15894"/>
                    <a:pt x="7782" y="15894"/>
                  </a:cubicBezTo>
                  <a:cubicBezTo>
                    <a:pt x="7782" y="15894"/>
                    <a:pt x="7465" y="15758"/>
                    <a:pt x="7306" y="15758"/>
                  </a:cubicBezTo>
                  <a:cubicBezTo>
                    <a:pt x="7147" y="15623"/>
                    <a:pt x="7147" y="15623"/>
                    <a:pt x="6988" y="15894"/>
                  </a:cubicBezTo>
                  <a:cubicBezTo>
                    <a:pt x="6829" y="16030"/>
                    <a:pt x="6829" y="16030"/>
                    <a:pt x="6671" y="16166"/>
                  </a:cubicBezTo>
                  <a:cubicBezTo>
                    <a:pt x="6512" y="16302"/>
                    <a:pt x="6512" y="16302"/>
                    <a:pt x="6194" y="16302"/>
                  </a:cubicBezTo>
                  <a:cubicBezTo>
                    <a:pt x="6035" y="16302"/>
                    <a:pt x="6035" y="16166"/>
                    <a:pt x="5876" y="16166"/>
                  </a:cubicBezTo>
                  <a:cubicBezTo>
                    <a:pt x="5876" y="16030"/>
                    <a:pt x="5876" y="16030"/>
                    <a:pt x="5718" y="15894"/>
                  </a:cubicBezTo>
                  <a:cubicBezTo>
                    <a:pt x="5718" y="15758"/>
                    <a:pt x="5559" y="15758"/>
                    <a:pt x="5559" y="15758"/>
                  </a:cubicBezTo>
                  <a:cubicBezTo>
                    <a:pt x="5559" y="15758"/>
                    <a:pt x="5241" y="15894"/>
                    <a:pt x="5241" y="16030"/>
                  </a:cubicBezTo>
                  <a:cubicBezTo>
                    <a:pt x="5082" y="16030"/>
                    <a:pt x="5241" y="16166"/>
                    <a:pt x="5241" y="16302"/>
                  </a:cubicBezTo>
                  <a:cubicBezTo>
                    <a:pt x="5400" y="16438"/>
                    <a:pt x="5241" y="16574"/>
                    <a:pt x="5241" y="16574"/>
                  </a:cubicBezTo>
                  <a:cubicBezTo>
                    <a:pt x="5241" y="16574"/>
                    <a:pt x="4924" y="16574"/>
                    <a:pt x="4765" y="16574"/>
                  </a:cubicBezTo>
                  <a:cubicBezTo>
                    <a:pt x="4606" y="16574"/>
                    <a:pt x="4447" y="16574"/>
                    <a:pt x="4288" y="16438"/>
                  </a:cubicBezTo>
                  <a:cubicBezTo>
                    <a:pt x="3971" y="16302"/>
                    <a:pt x="4129" y="16574"/>
                    <a:pt x="4129" y="16709"/>
                  </a:cubicBezTo>
                  <a:cubicBezTo>
                    <a:pt x="4129" y="16709"/>
                    <a:pt x="3812" y="16981"/>
                    <a:pt x="3812" y="16981"/>
                  </a:cubicBezTo>
                  <a:cubicBezTo>
                    <a:pt x="3812" y="16981"/>
                    <a:pt x="3812" y="16981"/>
                    <a:pt x="3812" y="16981"/>
                  </a:cubicBezTo>
                  <a:cubicBezTo>
                    <a:pt x="3494" y="16981"/>
                    <a:pt x="3176" y="16845"/>
                    <a:pt x="3176" y="16845"/>
                  </a:cubicBezTo>
                  <a:cubicBezTo>
                    <a:pt x="3018" y="16981"/>
                    <a:pt x="3018" y="16981"/>
                    <a:pt x="3018" y="16981"/>
                  </a:cubicBezTo>
                  <a:cubicBezTo>
                    <a:pt x="2541" y="16845"/>
                    <a:pt x="2541" y="16845"/>
                    <a:pt x="2541" y="16845"/>
                  </a:cubicBezTo>
                  <a:cubicBezTo>
                    <a:pt x="2382" y="16845"/>
                    <a:pt x="2382" y="16845"/>
                    <a:pt x="2382" y="16845"/>
                  </a:cubicBezTo>
                  <a:cubicBezTo>
                    <a:pt x="2224" y="16438"/>
                    <a:pt x="2224" y="16438"/>
                    <a:pt x="2224" y="16438"/>
                  </a:cubicBezTo>
                  <a:cubicBezTo>
                    <a:pt x="2065" y="16438"/>
                    <a:pt x="2065" y="16438"/>
                    <a:pt x="2065" y="16438"/>
                  </a:cubicBezTo>
                  <a:cubicBezTo>
                    <a:pt x="1429" y="16166"/>
                    <a:pt x="1429" y="16166"/>
                    <a:pt x="1429" y="16166"/>
                  </a:cubicBezTo>
                  <a:cubicBezTo>
                    <a:pt x="1271" y="16030"/>
                    <a:pt x="1271" y="16030"/>
                    <a:pt x="1271" y="16030"/>
                  </a:cubicBezTo>
                  <a:cubicBezTo>
                    <a:pt x="953" y="16166"/>
                    <a:pt x="953" y="16166"/>
                    <a:pt x="953" y="16166"/>
                  </a:cubicBezTo>
                  <a:cubicBezTo>
                    <a:pt x="794" y="16302"/>
                    <a:pt x="794" y="16302"/>
                    <a:pt x="794" y="16302"/>
                  </a:cubicBezTo>
                  <a:cubicBezTo>
                    <a:pt x="794" y="16302"/>
                    <a:pt x="476" y="16438"/>
                    <a:pt x="318" y="16438"/>
                  </a:cubicBezTo>
                  <a:cubicBezTo>
                    <a:pt x="318" y="16302"/>
                    <a:pt x="0" y="15758"/>
                    <a:pt x="0" y="15758"/>
                  </a:cubicBezTo>
                  <a:cubicBezTo>
                    <a:pt x="159" y="15351"/>
                    <a:pt x="159" y="15351"/>
                    <a:pt x="159" y="15351"/>
                  </a:cubicBezTo>
                  <a:cubicBezTo>
                    <a:pt x="159" y="15351"/>
                    <a:pt x="635" y="15215"/>
                    <a:pt x="635" y="15215"/>
                  </a:cubicBezTo>
                  <a:cubicBezTo>
                    <a:pt x="635" y="15215"/>
                    <a:pt x="953" y="15215"/>
                    <a:pt x="953" y="15215"/>
                  </a:cubicBezTo>
                  <a:cubicBezTo>
                    <a:pt x="953" y="15215"/>
                    <a:pt x="1112" y="15215"/>
                    <a:pt x="1112" y="15351"/>
                  </a:cubicBezTo>
                  <a:cubicBezTo>
                    <a:pt x="1271" y="15351"/>
                    <a:pt x="1588" y="15623"/>
                    <a:pt x="1747" y="15623"/>
                  </a:cubicBezTo>
                  <a:cubicBezTo>
                    <a:pt x="1747" y="15623"/>
                    <a:pt x="2065" y="15758"/>
                    <a:pt x="2065" y="15758"/>
                  </a:cubicBezTo>
                  <a:cubicBezTo>
                    <a:pt x="2224" y="15758"/>
                    <a:pt x="2541" y="15894"/>
                    <a:pt x="2541" y="15894"/>
                  </a:cubicBezTo>
                  <a:cubicBezTo>
                    <a:pt x="2541" y="15894"/>
                    <a:pt x="2859" y="15894"/>
                    <a:pt x="2859" y="15894"/>
                  </a:cubicBezTo>
                  <a:cubicBezTo>
                    <a:pt x="2859" y="15894"/>
                    <a:pt x="3176" y="15758"/>
                    <a:pt x="3176" y="15758"/>
                  </a:cubicBezTo>
                  <a:cubicBezTo>
                    <a:pt x="3176" y="15758"/>
                    <a:pt x="3176" y="15758"/>
                    <a:pt x="3176" y="15758"/>
                  </a:cubicBezTo>
                  <a:cubicBezTo>
                    <a:pt x="3335" y="15623"/>
                    <a:pt x="3335" y="15487"/>
                    <a:pt x="3335" y="15487"/>
                  </a:cubicBezTo>
                  <a:cubicBezTo>
                    <a:pt x="3335" y="15487"/>
                    <a:pt x="3494" y="15487"/>
                    <a:pt x="3494" y="15487"/>
                  </a:cubicBezTo>
                  <a:cubicBezTo>
                    <a:pt x="3494" y="15623"/>
                    <a:pt x="3653" y="15758"/>
                    <a:pt x="3653" y="15758"/>
                  </a:cubicBezTo>
                  <a:cubicBezTo>
                    <a:pt x="3653" y="15758"/>
                    <a:pt x="3812" y="15894"/>
                    <a:pt x="3812" y="15894"/>
                  </a:cubicBezTo>
                  <a:cubicBezTo>
                    <a:pt x="3971" y="16030"/>
                    <a:pt x="4129" y="16030"/>
                    <a:pt x="4129" y="16030"/>
                  </a:cubicBezTo>
                  <a:cubicBezTo>
                    <a:pt x="4129" y="16030"/>
                    <a:pt x="4288" y="15894"/>
                    <a:pt x="4288" y="15894"/>
                  </a:cubicBezTo>
                  <a:cubicBezTo>
                    <a:pt x="4288" y="15894"/>
                    <a:pt x="4447" y="16030"/>
                    <a:pt x="4447" y="15894"/>
                  </a:cubicBezTo>
                  <a:cubicBezTo>
                    <a:pt x="4447" y="15894"/>
                    <a:pt x="4606" y="15894"/>
                    <a:pt x="4606" y="15894"/>
                  </a:cubicBezTo>
                  <a:cubicBezTo>
                    <a:pt x="4606" y="15894"/>
                    <a:pt x="4765" y="15758"/>
                    <a:pt x="4606" y="15758"/>
                  </a:cubicBezTo>
                  <a:cubicBezTo>
                    <a:pt x="4606" y="15758"/>
                    <a:pt x="4606" y="15623"/>
                    <a:pt x="4606" y="15758"/>
                  </a:cubicBezTo>
                  <a:cubicBezTo>
                    <a:pt x="4447" y="15758"/>
                    <a:pt x="4447" y="15758"/>
                    <a:pt x="4288" y="15758"/>
                  </a:cubicBezTo>
                  <a:cubicBezTo>
                    <a:pt x="4129" y="15758"/>
                    <a:pt x="3812" y="15623"/>
                    <a:pt x="3812" y="15623"/>
                  </a:cubicBezTo>
                  <a:cubicBezTo>
                    <a:pt x="3812" y="15487"/>
                    <a:pt x="3653" y="15487"/>
                    <a:pt x="3653" y="15351"/>
                  </a:cubicBezTo>
                  <a:cubicBezTo>
                    <a:pt x="3494" y="15351"/>
                    <a:pt x="3494" y="15215"/>
                    <a:pt x="3335" y="15215"/>
                  </a:cubicBezTo>
                  <a:cubicBezTo>
                    <a:pt x="3176" y="15215"/>
                    <a:pt x="3176" y="15215"/>
                    <a:pt x="3176" y="15215"/>
                  </a:cubicBezTo>
                  <a:cubicBezTo>
                    <a:pt x="3176" y="15215"/>
                    <a:pt x="3018" y="15351"/>
                    <a:pt x="3018" y="15487"/>
                  </a:cubicBezTo>
                  <a:cubicBezTo>
                    <a:pt x="3018" y="15487"/>
                    <a:pt x="3176" y="15623"/>
                    <a:pt x="2859" y="15487"/>
                  </a:cubicBezTo>
                  <a:cubicBezTo>
                    <a:pt x="2541" y="15487"/>
                    <a:pt x="2224" y="15487"/>
                    <a:pt x="2224" y="15487"/>
                  </a:cubicBezTo>
                  <a:cubicBezTo>
                    <a:pt x="1747" y="15079"/>
                    <a:pt x="1747" y="15079"/>
                    <a:pt x="1747" y="15079"/>
                  </a:cubicBezTo>
                  <a:cubicBezTo>
                    <a:pt x="1747" y="15079"/>
                    <a:pt x="1588" y="15079"/>
                    <a:pt x="1429" y="15079"/>
                  </a:cubicBezTo>
                  <a:cubicBezTo>
                    <a:pt x="1429" y="15079"/>
                    <a:pt x="1112" y="14943"/>
                    <a:pt x="1112" y="14808"/>
                  </a:cubicBezTo>
                  <a:cubicBezTo>
                    <a:pt x="1112" y="14808"/>
                    <a:pt x="953" y="14672"/>
                    <a:pt x="953" y="14536"/>
                  </a:cubicBezTo>
                  <a:cubicBezTo>
                    <a:pt x="953" y="14536"/>
                    <a:pt x="794" y="14536"/>
                    <a:pt x="794" y="14400"/>
                  </a:cubicBezTo>
                  <a:cubicBezTo>
                    <a:pt x="794" y="14400"/>
                    <a:pt x="635" y="14264"/>
                    <a:pt x="635" y="14264"/>
                  </a:cubicBezTo>
                  <a:cubicBezTo>
                    <a:pt x="635" y="14264"/>
                    <a:pt x="635" y="14128"/>
                    <a:pt x="794" y="13992"/>
                  </a:cubicBezTo>
                  <a:cubicBezTo>
                    <a:pt x="1112" y="13992"/>
                    <a:pt x="1112" y="13992"/>
                    <a:pt x="1271" y="13992"/>
                  </a:cubicBezTo>
                  <a:cubicBezTo>
                    <a:pt x="1429" y="13992"/>
                    <a:pt x="1271" y="13992"/>
                    <a:pt x="1588" y="13992"/>
                  </a:cubicBezTo>
                  <a:cubicBezTo>
                    <a:pt x="1906" y="13992"/>
                    <a:pt x="1747" y="13992"/>
                    <a:pt x="1906" y="13992"/>
                  </a:cubicBezTo>
                  <a:cubicBezTo>
                    <a:pt x="2065" y="13992"/>
                    <a:pt x="2382" y="13992"/>
                    <a:pt x="2382" y="13992"/>
                  </a:cubicBezTo>
                  <a:cubicBezTo>
                    <a:pt x="2382" y="13992"/>
                    <a:pt x="2065" y="13857"/>
                    <a:pt x="2541" y="13992"/>
                  </a:cubicBezTo>
                  <a:cubicBezTo>
                    <a:pt x="2541" y="13992"/>
                    <a:pt x="3176" y="14128"/>
                    <a:pt x="3018" y="14400"/>
                  </a:cubicBezTo>
                  <a:cubicBezTo>
                    <a:pt x="3018" y="14400"/>
                    <a:pt x="2859" y="14536"/>
                    <a:pt x="2859" y="14536"/>
                  </a:cubicBezTo>
                  <a:cubicBezTo>
                    <a:pt x="2859" y="14536"/>
                    <a:pt x="3176" y="14672"/>
                    <a:pt x="3176" y="14672"/>
                  </a:cubicBezTo>
                  <a:cubicBezTo>
                    <a:pt x="3176" y="14672"/>
                    <a:pt x="3335" y="14536"/>
                    <a:pt x="3335" y="14536"/>
                  </a:cubicBezTo>
                  <a:cubicBezTo>
                    <a:pt x="3494" y="14672"/>
                    <a:pt x="3494" y="14672"/>
                    <a:pt x="3494" y="14672"/>
                  </a:cubicBezTo>
                  <a:cubicBezTo>
                    <a:pt x="3812" y="14943"/>
                    <a:pt x="3812" y="14943"/>
                    <a:pt x="3812" y="14943"/>
                  </a:cubicBezTo>
                  <a:cubicBezTo>
                    <a:pt x="3812" y="14943"/>
                    <a:pt x="4129" y="14943"/>
                    <a:pt x="4129" y="14943"/>
                  </a:cubicBezTo>
                  <a:cubicBezTo>
                    <a:pt x="3971" y="15079"/>
                    <a:pt x="3812" y="14808"/>
                    <a:pt x="3971" y="15079"/>
                  </a:cubicBezTo>
                  <a:cubicBezTo>
                    <a:pt x="4129" y="15351"/>
                    <a:pt x="4288" y="15487"/>
                    <a:pt x="4288" y="15487"/>
                  </a:cubicBezTo>
                  <a:cubicBezTo>
                    <a:pt x="4447" y="15487"/>
                    <a:pt x="4447" y="15487"/>
                    <a:pt x="4447" y="15487"/>
                  </a:cubicBezTo>
                  <a:cubicBezTo>
                    <a:pt x="4447" y="15487"/>
                    <a:pt x="4447" y="15351"/>
                    <a:pt x="4606" y="15351"/>
                  </a:cubicBezTo>
                  <a:cubicBezTo>
                    <a:pt x="4606" y="15487"/>
                    <a:pt x="4924" y="15487"/>
                    <a:pt x="5082" y="15487"/>
                  </a:cubicBezTo>
                  <a:cubicBezTo>
                    <a:pt x="5082" y="15487"/>
                    <a:pt x="5082" y="15351"/>
                    <a:pt x="4924" y="15079"/>
                  </a:cubicBezTo>
                  <a:cubicBezTo>
                    <a:pt x="4765" y="14943"/>
                    <a:pt x="4606" y="14808"/>
                    <a:pt x="4606" y="14808"/>
                  </a:cubicBezTo>
                  <a:cubicBezTo>
                    <a:pt x="4447" y="14808"/>
                    <a:pt x="4606" y="14943"/>
                    <a:pt x="4288" y="14808"/>
                  </a:cubicBezTo>
                  <a:cubicBezTo>
                    <a:pt x="3971" y="14672"/>
                    <a:pt x="3971" y="14808"/>
                    <a:pt x="3812" y="14672"/>
                  </a:cubicBezTo>
                  <a:cubicBezTo>
                    <a:pt x="3653" y="14400"/>
                    <a:pt x="3494" y="14400"/>
                    <a:pt x="3494" y="14264"/>
                  </a:cubicBezTo>
                  <a:cubicBezTo>
                    <a:pt x="3494" y="14264"/>
                    <a:pt x="3653" y="14264"/>
                    <a:pt x="3812" y="14128"/>
                  </a:cubicBezTo>
                  <a:cubicBezTo>
                    <a:pt x="3971" y="14128"/>
                    <a:pt x="3653" y="13992"/>
                    <a:pt x="3971" y="14128"/>
                  </a:cubicBezTo>
                  <a:cubicBezTo>
                    <a:pt x="4447" y="14264"/>
                    <a:pt x="4447" y="14264"/>
                    <a:pt x="4606" y="14264"/>
                  </a:cubicBezTo>
                  <a:cubicBezTo>
                    <a:pt x="4606" y="14264"/>
                    <a:pt x="4924" y="14264"/>
                    <a:pt x="4606" y="14128"/>
                  </a:cubicBezTo>
                  <a:cubicBezTo>
                    <a:pt x="4288" y="14128"/>
                    <a:pt x="4129" y="13992"/>
                    <a:pt x="4129" y="13992"/>
                  </a:cubicBezTo>
                  <a:cubicBezTo>
                    <a:pt x="3812" y="13992"/>
                    <a:pt x="3812" y="13992"/>
                    <a:pt x="3812" y="13992"/>
                  </a:cubicBezTo>
                  <a:cubicBezTo>
                    <a:pt x="3812" y="13992"/>
                    <a:pt x="3812" y="13992"/>
                    <a:pt x="3653" y="13992"/>
                  </a:cubicBezTo>
                  <a:cubicBezTo>
                    <a:pt x="3494" y="13992"/>
                    <a:pt x="3494" y="14128"/>
                    <a:pt x="3494" y="13992"/>
                  </a:cubicBezTo>
                  <a:cubicBezTo>
                    <a:pt x="3335" y="13992"/>
                    <a:pt x="3176" y="13992"/>
                    <a:pt x="3176" y="13857"/>
                  </a:cubicBezTo>
                  <a:cubicBezTo>
                    <a:pt x="3018" y="13857"/>
                    <a:pt x="2859" y="13721"/>
                    <a:pt x="2859" y="13721"/>
                  </a:cubicBezTo>
                  <a:cubicBezTo>
                    <a:pt x="2859" y="13585"/>
                    <a:pt x="2700" y="13449"/>
                    <a:pt x="2700" y="13449"/>
                  </a:cubicBezTo>
                  <a:cubicBezTo>
                    <a:pt x="2700" y="13449"/>
                    <a:pt x="2700" y="13449"/>
                    <a:pt x="2700" y="13449"/>
                  </a:cubicBezTo>
                  <a:cubicBezTo>
                    <a:pt x="2541" y="13449"/>
                    <a:pt x="2382" y="13449"/>
                    <a:pt x="2224" y="13449"/>
                  </a:cubicBezTo>
                  <a:cubicBezTo>
                    <a:pt x="2224" y="13449"/>
                    <a:pt x="2065" y="13449"/>
                    <a:pt x="2065" y="13449"/>
                  </a:cubicBezTo>
                  <a:cubicBezTo>
                    <a:pt x="2065" y="13313"/>
                    <a:pt x="2065" y="13313"/>
                    <a:pt x="2065" y="13177"/>
                  </a:cubicBezTo>
                  <a:cubicBezTo>
                    <a:pt x="2065" y="13177"/>
                    <a:pt x="2065" y="13042"/>
                    <a:pt x="2224" y="13042"/>
                  </a:cubicBezTo>
                  <a:cubicBezTo>
                    <a:pt x="2382" y="13042"/>
                    <a:pt x="2541" y="13042"/>
                    <a:pt x="2700" y="13042"/>
                  </a:cubicBezTo>
                  <a:cubicBezTo>
                    <a:pt x="2859" y="13042"/>
                    <a:pt x="3018" y="13042"/>
                    <a:pt x="3176" y="13042"/>
                  </a:cubicBezTo>
                  <a:cubicBezTo>
                    <a:pt x="3176" y="13042"/>
                    <a:pt x="3335" y="13177"/>
                    <a:pt x="3335" y="13177"/>
                  </a:cubicBezTo>
                  <a:cubicBezTo>
                    <a:pt x="3494" y="13313"/>
                    <a:pt x="3653" y="13313"/>
                    <a:pt x="3653" y="13313"/>
                  </a:cubicBezTo>
                  <a:cubicBezTo>
                    <a:pt x="3653" y="13449"/>
                    <a:pt x="3653" y="13449"/>
                    <a:pt x="3812" y="13449"/>
                  </a:cubicBezTo>
                  <a:cubicBezTo>
                    <a:pt x="3812" y="13585"/>
                    <a:pt x="3971" y="13585"/>
                    <a:pt x="3971" y="13585"/>
                  </a:cubicBezTo>
                  <a:cubicBezTo>
                    <a:pt x="4129" y="13857"/>
                    <a:pt x="4129" y="13857"/>
                    <a:pt x="4129" y="13857"/>
                  </a:cubicBezTo>
                  <a:cubicBezTo>
                    <a:pt x="4129" y="13857"/>
                    <a:pt x="4129" y="13857"/>
                    <a:pt x="4129" y="13857"/>
                  </a:cubicBezTo>
                  <a:cubicBezTo>
                    <a:pt x="4447" y="13992"/>
                    <a:pt x="4447" y="13992"/>
                    <a:pt x="4447" y="13992"/>
                  </a:cubicBezTo>
                  <a:cubicBezTo>
                    <a:pt x="4447" y="13992"/>
                    <a:pt x="4924" y="14128"/>
                    <a:pt x="4924" y="14128"/>
                  </a:cubicBezTo>
                  <a:cubicBezTo>
                    <a:pt x="4924" y="14128"/>
                    <a:pt x="4924" y="14128"/>
                    <a:pt x="5082" y="14128"/>
                  </a:cubicBezTo>
                  <a:cubicBezTo>
                    <a:pt x="5241" y="14128"/>
                    <a:pt x="5241" y="13992"/>
                    <a:pt x="5241" y="13992"/>
                  </a:cubicBezTo>
                  <a:cubicBezTo>
                    <a:pt x="5241" y="13992"/>
                    <a:pt x="5400" y="13992"/>
                    <a:pt x="5400" y="13992"/>
                  </a:cubicBezTo>
                  <a:cubicBezTo>
                    <a:pt x="5400" y="13992"/>
                    <a:pt x="5876" y="13721"/>
                    <a:pt x="5876" y="13721"/>
                  </a:cubicBezTo>
                  <a:cubicBezTo>
                    <a:pt x="5876" y="13857"/>
                    <a:pt x="6035" y="13857"/>
                    <a:pt x="6194" y="13857"/>
                  </a:cubicBezTo>
                  <a:cubicBezTo>
                    <a:pt x="6194" y="13857"/>
                    <a:pt x="6671" y="14128"/>
                    <a:pt x="6671" y="14128"/>
                  </a:cubicBezTo>
                  <a:cubicBezTo>
                    <a:pt x="6671" y="13992"/>
                    <a:pt x="6671" y="13857"/>
                    <a:pt x="6671" y="13857"/>
                  </a:cubicBezTo>
                  <a:cubicBezTo>
                    <a:pt x="6671" y="13857"/>
                    <a:pt x="6829" y="13721"/>
                    <a:pt x="6829" y="13721"/>
                  </a:cubicBezTo>
                  <a:cubicBezTo>
                    <a:pt x="7465" y="13721"/>
                    <a:pt x="7465" y="13721"/>
                    <a:pt x="7465" y="13721"/>
                  </a:cubicBezTo>
                  <a:cubicBezTo>
                    <a:pt x="7465" y="13721"/>
                    <a:pt x="7624" y="13585"/>
                    <a:pt x="7624" y="13585"/>
                  </a:cubicBezTo>
                  <a:cubicBezTo>
                    <a:pt x="7465" y="13585"/>
                    <a:pt x="7306" y="13585"/>
                    <a:pt x="7306" y="13585"/>
                  </a:cubicBezTo>
                  <a:cubicBezTo>
                    <a:pt x="6988" y="13721"/>
                    <a:pt x="6988" y="13721"/>
                    <a:pt x="6988" y="13721"/>
                  </a:cubicBezTo>
                  <a:cubicBezTo>
                    <a:pt x="6671" y="13721"/>
                    <a:pt x="6671" y="13721"/>
                    <a:pt x="6671" y="13721"/>
                  </a:cubicBezTo>
                  <a:cubicBezTo>
                    <a:pt x="6671" y="13721"/>
                    <a:pt x="6512" y="13857"/>
                    <a:pt x="6512" y="13857"/>
                  </a:cubicBezTo>
                  <a:cubicBezTo>
                    <a:pt x="6353" y="13857"/>
                    <a:pt x="6194" y="13721"/>
                    <a:pt x="6194" y="13721"/>
                  </a:cubicBezTo>
                  <a:cubicBezTo>
                    <a:pt x="6035" y="13585"/>
                    <a:pt x="5718" y="13449"/>
                    <a:pt x="5718" y="13449"/>
                  </a:cubicBezTo>
                  <a:cubicBezTo>
                    <a:pt x="5559" y="13449"/>
                    <a:pt x="5718" y="13449"/>
                    <a:pt x="5400" y="13313"/>
                  </a:cubicBezTo>
                  <a:cubicBezTo>
                    <a:pt x="5082" y="13177"/>
                    <a:pt x="4924" y="13042"/>
                    <a:pt x="4924" y="13042"/>
                  </a:cubicBezTo>
                  <a:cubicBezTo>
                    <a:pt x="4765" y="12906"/>
                    <a:pt x="4765" y="12906"/>
                    <a:pt x="4765" y="12906"/>
                  </a:cubicBezTo>
                  <a:cubicBezTo>
                    <a:pt x="4765" y="12906"/>
                    <a:pt x="4765" y="12770"/>
                    <a:pt x="4606" y="12770"/>
                  </a:cubicBezTo>
                  <a:cubicBezTo>
                    <a:pt x="4447" y="12634"/>
                    <a:pt x="3971" y="12498"/>
                    <a:pt x="3971" y="12498"/>
                  </a:cubicBezTo>
                  <a:cubicBezTo>
                    <a:pt x="3971" y="12498"/>
                    <a:pt x="3971" y="12362"/>
                    <a:pt x="3971" y="12362"/>
                  </a:cubicBezTo>
                  <a:cubicBezTo>
                    <a:pt x="3971" y="12362"/>
                    <a:pt x="3971" y="11955"/>
                    <a:pt x="3971" y="11955"/>
                  </a:cubicBezTo>
                  <a:cubicBezTo>
                    <a:pt x="3971" y="11819"/>
                    <a:pt x="3812" y="11547"/>
                    <a:pt x="3812" y="11547"/>
                  </a:cubicBezTo>
                  <a:cubicBezTo>
                    <a:pt x="3812" y="11547"/>
                    <a:pt x="4129" y="11411"/>
                    <a:pt x="4129" y="11411"/>
                  </a:cubicBezTo>
                  <a:cubicBezTo>
                    <a:pt x="4288" y="11411"/>
                    <a:pt x="4447" y="11547"/>
                    <a:pt x="4447" y="11547"/>
                  </a:cubicBezTo>
                  <a:cubicBezTo>
                    <a:pt x="4606" y="11411"/>
                    <a:pt x="4606" y="11411"/>
                    <a:pt x="4606" y="11411"/>
                  </a:cubicBezTo>
                  <a:cubicBezTo>
                    <a:pt x="5876" y="9917"/>
                    <a:pt x="5876" y="9917"/>
                    <a:pt x="5876" y="9917"/>
                  </a:cubicBezTo>
                  <a:cubicBezTo>
                    <a:pt x="6988" y="8558"/>
                    <a:pt x="6988" y="8558"/>
                    <a:pt x="6988" y="8558"/>
                  </a:cubicBezTo>
                  <a:cubicBezTo>
                    <a:pt x="7465" y="6521"/>
                    <a:pt x="7465" y="6521"/>
                    <a:pt x="7465" y="6521"/>
                  </a:cubicBezTo>
                  <a:cubicBezTo>
                    <a:pt x="7782" y="5570"/>
                    <a:pt x="7782" y="5570"/>
                    <a:pt x="7782" y="5570"/>
                  </a:cubicBezTo>
                  <a:cubicBezTo>
                    <a:pt x="8100" y="4755"/>
                    <a:pt x="8100" y="4755"/>
                    <a:pt x="8100" y="4755"/>
                  </a:cubicBezTo>
                  <a:cubicBezTo>
                    <a:pt x="8100" y="4755"/>
                    <a:pt x="8100" y="4619"/>
                    <a:pt x="8259" y="4755"/>
                  </a:cubicBezTo>
                  <a:cubicBezTo>
                    <a:pt x="8259" y="4755"/>
                    <a:pt x="8418" y="5026"/>
                    <a:pt x="8418" y="5026"/>
                  </a:cubicBezTo>
                  <a:cubicBezTo>
                    <a:pt x="8576" y="5162"/>
                    <a:pt x="8576" y="5162"/>
                    <a:pt x="8576" y="5162"/>
                  </a:cubicBezTo>
                  <a:cubicBezTo>
                    <a:pt x="8735" y="5162"/>
                    <a:pt x="8735" y="5162"/>
                    <a:pt x="8735" y="5162"/>
                  </a:cubicBezTo>
                  <a:cubicBezTo>
                    <a:pt x="8735" y="5162"/>
                    <a:pt x="9053" y="5026"/>
                    <a:pt x="9212" y="5026"/>
                  </a:cubicBezTo>
                  <a:cubicBezTo>
                    <a:pt x="9212" y="5026"/>
                    <a:pt x="9847" y="5298"/>
                    <a:pt x="9847" y="5298"/>
                  </a:cubicBezTo>
                  <a:cubicBezTo>
                    <a:pt x="9847" y="5298"/>
                    <a:pt x="9847" y="5570"/>
                    <a:pt x="9847" y="5706"/>
                  </a:cubicBezTo>
                  <a:cubicBezTo>
                    <a:pt x="9847" y="5706"/>
                    <a:pt x="10165" y="5977"/>
                    <a:pt x="10006" y="6113"/>
                  </a:cubicBezTo>
                  <a:cubicBezTo>
                    <a:pt x="10006" y="6113"/>
                    <a:pt x="9847" y="6385"/>
                    <a:pt x="9847" y="6385"/>
                  </a:cubicBezTo>
                  <a:cubicBezTo>
                    <a:pt x="9847" y="6385"/>
                    <a:pt x="10006" y="6521"/>
                    <a:pt x="10006" y="6521"/>
                  </a:cubicBezTo>
                  <a:cubicBezTo>
                    <a:pt x="10165" y="6521"/>
                    <a:pt x="10165" y="6521"/>
                    <a:pt x="10324" y="6521"/>
                  </a:cubicBezTo>
                  <a:cubicBezTo>
                    <a:pt x="10482" y="6521"/>
                    <a:pt x="10641" y="6657"/>
                    <a:pt x="10641" y="6657"/>
                  </a:cubicBezTo>
                  <a:cubicBezTo>
                    <a:pt x="10641" y="6657"/>
                    <a:pt x="10641" y="6792"/>
                    <a:pt x="10641" y="6792"/>
                  </a:cubicBezTo>
                  <a:cubicBezTo>
                    <a:pt x="10641" y="6792"/>
                    <a:pt x="10641" y="7064"/>
                    <a:pt x="10641" y="7064"/>
                  </a:cubicBezTo>
                  <a:cubicBezTo>
                    <a:pt x="10641" y="7200"/>
                    <a:pt x="10324" y="7200"/>
                    <a:pt x="10324" y="7200"/>
                  </a:cubicBezTo>
                  <a:cubicBezTo>
                    <a:pt x="10324" y="7200"/>
                    <a:pt x="10324" y="7336"/>
                    <a:pt x="10324" y="7336"/>
                  </a:cubicBezTo>
                  <a:cubicBezTo>
                    <a:pt x="10165" y="7472"/>
                    <a:pt x="10006" y="7608"/>
                    <a:pt x="9847" y="7608"/>
                  </a:cubicBezTo>
                  <a:cubicBezTo>
                    <a:pt x="9847" y="7608"/>
                    <a:pt x="9529" y="7336"/>
                    <a:pt x="9529" y="7336"/>
                  </a:cubicBezTo>
                  <a:cubicBezTo>
                    <a:pt x="9529" y="7336"/>
                    <a:pt x="9371" y="7472"/>
                    <a:pt x="9371" y="7472"/>
                  </a:cubicBezTo>
                  <a:cubicBezTo>
                    <a:pt x="9529" y="7743"/>
                    <a:pt x="9529" y="7743"/>
                    <a:pt x="9529" y="7743"/>
                  </a:cubicBezTo>
                  <a:cubicBezTo>
                    <a:pt x="9688" y="8151"/>
                    <a:pt x="9688" y="8151"/>
                    <a:pt x="9688" y="8151"/>
                  </a:cubicBezTo>
                  <a:cubicBezTo>
                    <a:pt x="9529" y="8287"/>
                    <a:pt x="9529" y="8287"/>
                    <a:pt x="9529" y="8287"/>
                  </a:cubicBezTo>
                  <a:cubicBezTo>
                    <a:pt x="9688" y="8694"/>
                    <a:pt x="9688" y="8694"/>
                    <a:pt x="9688" y="8694"/>
                  </a:cubicBezTo>
                  <a:cubicBezTo>
                    <a:pt x="9688" y="8966"/>
                    <a:pt x="9688" y="8966"/>
                    <a:pt x="9688" y="8966"/>
                  </a:cubicBezTo>
                  <a:cubicBezTo>
                    <a:pt x="9371" y="9102"/>
                    <a:pt x="9371" y="9102"/>
                    <a:pt x="9371" y="9102"/>
                  </a:cubicBezTo>
                  <a:cubicBezTo>
                    <a:pt x="9371" y="9102"/>
                    <a:pt x="9212" y="9238"/>
                    <a:pt x="9053" y="9238"/>
                  </a:cubicBezTo>
                  <a:cubicBezTo>
                    <a:pt x="9053" y="9238"/>
                    <a:pt x="8894" y="9102"/>
                    <a:pt x="8894" y="9238"/>
                  </a:cubicBezTo>
                  <a:cubicBezTo>
                    <a:pt x="9053" y="9374"/>
                    <a:pt x="9053" y="9509"/>
                    <a:pt x="9212" y="9509"/>
                  </a:cubicBezTo>
                  <a:cubicBezTo>
                    <a:pt x="9371" y="9509"/>
                    <a:pt x="9688" y="9509"/>
                    <a:pt x="9688" y="9509"/>
                  </a:cubicBezTo>
                  <a:cubicBezTo>
                    <a:pt x="10006" y="9917"/>
                    <a:pt x="10006" y="9917"/>
                    <a:pt x="10006" y="9917"/>
                  </a:cubicBezTo>
                  <a:cubicBezTo>
                    <a:pt x="10006" y="9917"/>
                    <a:pt x="10165" y="9917"/>
                    <a:pt x="10324" y="9917"/>
                  </a:cubicBezTo>
                  <a:cubicBezTo>
                    <a:pt x="10324" y="9917"/>
                    <a:pt x="10641" y="10053"/>
                    <a:pt x="10641" y="10053"/>
                  </a:cubicBezTo>
                  <a:cubicBezTo>
                    <a:pt x="10641" y="10053"/>
                    <a:pt x="10641" y="10053"/>
                    <a:pt x="10800" y="10189"/>
                  </a:cubicBezTo>
                  <a:cubicBezTo>
                    <a:pt x="10959" y="10189"/>
                    <a:pt x="11276" y="10325"/>
                    <a:pt x="11276" y="10325"/>
                  </a:cubicBezTo>
                  <a:cubicBezTo>
                    <a:pt x="11276" y="10325"/>
                    <a:pt x="11276" y="10189"/>
                    <a:pt x="11118" y="10189"/>
                  </a:cubicBezTo>
                  <a:cubicBezTo>
                    <a:pt x="11118" y="10189"/>
                    <a:pt x="10959" y="9781"/>
                    <a:pt x="10641" y="9781"/>
                  </a:cubicBezTo>
                  <a:cubicBezTo>
                    <a:pt x="10482" y="9645"/>
                    <a:pt x="10324" y="9645"/>
                    <a:pt x="10165" y="9645"/>
                  </a:cubicBezTo>
                  <a:cubicBezTo>
                    <a:pt x="10006" y="9645"/>
                    <a:pt x="9688" y="9509"/>
                    <a:pt x="9688" y="9509"/>
                  </a:cubicBezTo>
                  <a:cubicBezTo>
                    <a:pt x="9688" y="9374"/>
                    <a:pt x="9529" y="9238"/>
                    <a:pt x="9688" y="9238"/>
                  </a:cubicBezTo>
                  <a:cubicBezTo>
                    <a:pt x="9688" y="9102"/>
                    <a:pt x="9688" y="8966"/>
                    <a:pt x="10006" y="8966"/>
                  </a:cubicBezTo>
                  <a:cubicBezTo>
                    <a:pt x="10165" y="8966"/>
                    <a:pt x="10324" y="9102"/>
                    <a:pt x="10482" y="8966"/>
                  </a:cubicBezTo>
                  <a:cubicBezTo>
                    <a:pt x="10641" y="8966"/>
                    <a:pt x="10959" y="8558"/>
                    <a:pt x="10959" y="8558"/>
                  </a:cubicBezTo>
                  <a:cubicBezTo>
                    <a:pt x="11276" y="8287"/>
                    <a:pt x="11276" y="8287"/>
                    <a:pt x="11276" y="8287"/>
                  </a:cubicBezTo>
                  <a:cubicBezTo>
                    <a:pt x="11753" y="8151"/>
                    <a:pt x="11753" y="8151"/>
                    <a:pt x="11753" y="8151"/>
                  </a:cubicBezTo>
                  <a:cubicBezTo>
                    <a:pt x="11753" y="8151"/>
                    <a:pt x="12388" y="7879"/>
                    <a:pt x="12388" y="7879"/>
                  </a:cubicBezTo>
                  <a:cubicBezTo>
                    <a:pt x="12388" y="7879"/>
                    <a:pt x="12547" y="7879"/>
                    <a:pt x="12706" y="8015"/>
                  </a:cubicBezTo>
                  <a:cubicBezTo>
                    <a:pt x="12865" y="8151"/>
                    <a:pt x="12865" y="8151"/>
                    <a:pt x="12865" y="8151"/>
                  </a:cubicBezTo>
                  <a:cubicBezTo>
                    <a:pt x="13024" y="8151"/>
                    <a:pt x="13341" y="8287"/>
                    <a:pt x="13341" y="8287"/>
                  </a:cubicBezTo>
                  <a:cubicBezTo>
                    <a:pt x="13341" y="8287"/>
                    <a:pt x="13341" y="8287"/>
                    <a:pt x="13500" y="8423"/>
                  </a:cubicBezTo>
                  <a:cubicBezTo>
                    <a:pt x="13500" y="8423"/>
                    <a:pt x="13659" y="8558"/>
                    <a:pt x="13500" y="8830"/>
                  </a:cubicBezTo>
                  <a:cubicBezTo>
                    <a:pt x="13500" y="8966"/>
                    <a:pt x="13500" y="9102"/>
                    <a:pt x="13500" y="9102"/>
                  </a:cubicBezTo>
                  <a:cubicBezTo>
                    <a:pt x="13500" y="9102"/>
                    <a:pt x="13659" y="8966"/>
                    <a:pt x="13659" y="8830"/>
                  </a:cubicBezTo>
                  <a:cubicBezTo>
                    <a:pt x="13659" y="8558"/>
                    <a:pt x="13659" y="8423"/>
                    <a:pt x="13659" y="8287"/>
                  </a:cubicBezTo>
                  <a:cubicBezTo>
                    <a:pt x="13659" y="8151"/>
                    <a:pt x="13500" y="8015"/>
                    <a:pt x="13500" y="8015"/>
                  </a:cubicBezTo>
                  <a:cubicBezTo>
                    <a:pt x="13500" y="8015"/>
                    <a:pt x="13182" y="8151"/>
                    <a:pt x="12865" y="8015"/>
                  </a:cubicBezTo>
                  <a:cubicBezTo>
                    <a:pt x="12706" y="7879"/>
                    <a:pt x="12706" y="7743"/>
                    <a:pt x="12547" y="7743"/>
                  </a:cubicBezTo>
                  <a:cubicBezTo>
                    <a:pt x="12547" y="7743"/>
                    <a:pt x="12388" y="7608"/>
                    <a:pt x="12229" y="7608"/>
                  </a:cubicBezTo>
                  <a:cubicBezTo>
                    <a:pt x="12229" y="7608"/>
                    <a:pt x="12229" y="7472"/>
                    <a:pt x="12229" y="7336"/>
                  </a:cubicBezTo>
                  <a:cubicBezTo>
                    <a:pt x="12229" y="7200"/>
                    <a:pt x="12229" y="7064"/>
                    <a:pt x="12229" y="6928"/>
                  </a:cubicBezTo>
                  <a:cubicBezTo>
                    <a:pt x="12229" y="6928"/>
                    <a:pt x="12071" y="6792"/>
                    <a:pt x="12229" y="6657"/>
                  </a:cubicBezTo>
                  <a:cubicBezTo>
                    <a:pt x="12388" y="6521"/>
                    <a:pt x="12388" y="6521"/>
                    <a:pt x="12547" y="6521"/>
                  </a:cubicBezTo>
                  <a:cubicBezTo>
                    <a:pt x="12547" y="6385"/>
                    <a:pt x="12865" y="6249"/>
                    <a:pt x="12706" y="6249"/>
                  </a:cubicBezTo>
                  <a:cubicBezTo>
                    <a:pt x="12706" y="6113"/>
                    <a:pt x="12547" y="6113"/>
                    <a:pt x="12388" y="6113"/>
                  </a:cubicBezTo>
                  <a:cubicBezTo>
                    <a:pt x="12229" y="6113"/>
                    <a:pt x="12388" y="6249"/>
                    <a:pt x="12229" y="6249"/>
                  </a:cubicBezTo>
                  <a:cubicBezTo>
                    <a:pt x="11912" y="6249"/>
                    <a:pt x="11912" y="6113"/>
                    <a:pt x="11753" y="5977"/>
                  </a:cubicBezTo>
                  <a:cubicBezTo>
                    <a:pt x="11753" y="5842"/>
                    <a:pt x="11753" y="5842"/>
                    <a:pt x="11594" y="5977"/>
                  </a:cubicBezTo>
                  <a:cubicBezTo>
                    <a:pt x="11435" y="5977"/>
                    <a:pt x="11276" y="5842"/>
                    <a:pt x="11276" y="5842"/>
                  </a:cubicBezTo>
                  <a:cubicBezTo>
                    <a:pt x="11276" y="5842"/>
                    <a:pt x="11118" y="5706"/>
                    <a:pt x="11276" y="5570"/>
                  </a:cubicBezTo>
                  <a:cubicBezTo>
                    <a:pt x="11276" y="5570"/>
                    <a:pt x="11435" y="5298"/>
                    <a:pt x="11435" y="5298"/>
                  </a:cubicBezTo>
                  <a:cubicBezTo>
                    <a:pt x="11435" y="5298"/>
                    <a:pt x="11435" y="4891"/>
                    <a:pt x="11435" y="4891"/>
                  </a:cubicBezTo>
                  <a:cubicBezTo>
                    <a:pt x="11435" y="4755"/>
                    <a:pt x="11435" y="4755"/>
                    <a:pt x="11435" y="4755"/>
                  </a:cubicBezTo>
                  <a:close/>
                  <a:moveTo>
                    <a:pt x="20171" y="136"/>
                  </a:moveTo>
                  <a:cubicBezTo>
                    <a:pt x="20171" y="136"/>
                    <a:pt x="20171" y="136"/>
                    <a:pt x="20171" y="136"/>
                  </a:cubicBezTo>
                  <a:cubicBezTo>
                    <a:pt x="20171" y="136"/>
                    <a:pt x="20171" y="0"/>
                    <a:pt x="20329" y="0"/>
                  </a:cubicBezTo>
                  <a:cubicBezTo>
                    <a:pt x="20488" y="0"/>
                    <a:pt x="20488" y="0"/>
                    <a:pt x="20647" y="0"/>
                  </a:cubicBezTo>
                  <a:cubicBezTo>
                    <a:pt x="20647" y="0"/>
                    <a:pt x="20965" y="0"/>
                    <a:pt x="20965" y="0"/>
                  </a:cubicBezTo>
                  <a:cubicBezTo>
                    <a:pt x="20965" y="0"/>
                    <a:pt x="21124" y="0"/>
                    <a:pt x="21282" y="0"/>
                  </a:cubicBezTo>
                  <a:cubicBezTo>
                    <a:pt x="21282" y="0"/>
                    <a:pt x="21441" y="0"/>
                    <a:pt x="21441" y="0"/>
                  </a:cubicBezTo>
                  <a:cubicBezTo>
                    <a:pt x="21600" y="0"/>
                    <a:pt x="21441" y="136"/>
                    <a:pt x="21441" y="136"/>
                  </a:cubicBezTo>
                  <a:cubicBezTo>
                    <a:pt x="21124" y="136"/>
                    <a:pt x="21124" y="136"/>
                    <a:pt x="21124" y="136"/>
                  </a:cubicBezTo>
                  <a:cubicBezTo>
                    <a:pt x="21124" y="136"/>
                    <a:pt x="20965" y="136"/>
                    <a:pt x="20806" y="136"/>
                  </a:cubicBezTo>
                  <a:cubicBezTo>
                    <a:pt x="20806" y="272"/>
                    <a:pt x="20647" y="272"/>
                    <a:pt x="20647" y="272"/>
                  </a:cubicBezTo>
                  <a:cubicBezTo>
                    <a:pt x="20647" y="272"/>
                    <a:pt x="20488" y="272"/>
                    <a:pt x="20488" y="272"/>
                  </a:cubicBezTo>
                  <a:cubicBezTo>
                    <a:pt x="20329" y="272"/>
                    <a:pt x="20329" y="136"/>
                    <a:pt x="20329" y="272"/>
                  </a:cubicBezTo>
                  <a:cubicBezTo>
                    <a:pt x="20171" y="272"/>
                    <a:pt x="20171" y="136"/>
                    <a:pt x="20171" y="136"/>
                  </a:cubicBezTo>
                  <a:close/>
                  <a:moveTo>
                    <a:pt x="18741" y="815"/>
                  </a:moveTo>
                  <a:cubicBezTo>
                    <a:pt x="18741" y="815"/>
                    <a:pt x="18741" y="815"/>
                    <a:pt x="18741" y="815"/>
                  </a:cubicBezTo>
                  <a:cubicBezTo>
                    <a:pt x="18741" y="815"/>
                    <a:pt x="18741" y="679"/>
                    <a:pt x="18900" y="679"/>
                  </a:cubicBezTo>
                  <a:cubicBezTo>
                    <a:pt x="18900" y="679"/>
                    <a:pt x="18900" y="543"/>
                    <a:pt x="19059" y="679"/>
                  </a:cubicBezTo>
                  <a:cubicBezTo>
                    <a:pt x="19059" y="679"/>
                    <a:pt x="19059" y="951"/>
                    <a:pt x="19059" y="951"/>
                  </a:cubicBezTo>
                  <a:cubicBezTo>
                    <a:pt x="18900" y="951"/>
                    <a:pt x="18900" y="951"/>
                    <a:pt x="18741" y="951"/>
                  </a:cubicBezTo>
                  <a:cubicBezTo>
                    <a:pt x="18741" y="951"/>
                    <a:pt x="18741" y="815"/>
                    <a:pt x="18741" y="815"/>
                  </a:cubicBezTo>
                  <a:close/>
                  <a:moveTo>
                    <a:pt x="17788" y="1223"/>
                  </a:moveTo>
                  <a:cubicBezTo>
                    <a:pt x="17788" y="1223"/>
                    <a:pt x="17788" y="1223"/>
                    <a:pt x="17788" y="1223"/>
                  </a:cubicBezTo>
                  <a:cubicBezTo>
                    <a:pt x="17788" y="1223"/>
                    <a:pt x="17629" y="1087"/>
                    <a:pt x="17629" y="1087"/>
                  </a:cubicBezTo>
                  <a:cubicBezTo>
                    <a:pt x="17629" y="1087"/>
                    <a:pt x="17629" y="951"/>
                    <a:pt x="17788" y="951"/>
                  </a:cubicBezTo>
                  <a:cubicBezTo>
                    <a:pt x="17788" y="951"/>
                    <a:pt x="17947" y="951"/>
                    <a:pt x="17947" y="951"/>
                  </a:cubicBezTo>
                  <a:cubicBezTo>
                    <a:pt x="18106" y="951"/>
                    <a:pt x="18106" y="951"/>
                    <a:pt x="18106" y="951"/>
                  </a:cubicBezTo>
                  <a:cubicBezTo>
                    <a:pt x="18106" y="951"/>
                    <a:pt x="18265" y="815"/>
                    <a:pt x="18265" y="815"/>
                  </a:cubicBezTo>
                  <a:cubicBezTo>
                    <a:pt x="18265" y="815"/>
                    <a:pt x="18424" y="1087"/>
                    <a:pt x="18424" y="1087"/>
                  </a:cubicBezTo>
                  <a:cubicBezTo>
                    <a:pt x="18424" y="1087"/>
                    <a:pt x="18424" y="1087"/>
                    <a:pt x="18265" y="1087"/>
                  </a:cubicBezTo>
                  <a:cubicBezTo>
                    <a:pt x="18265" y="1087"/>
                    <a:pt x="18106" y="1223"/>
                    <a:pt x="18106" y="1223"/>
                  </a:cubicBezTo>
                  <a:cubicBezTo>
                    <a:pt x="17947" y="1358"/>
                    <a:pt x="17947" y="1358"/>
                    <a:pt x="17947" y="1358"/>
                  </a:cubicBezTo>
                  <a:cubicBezTo>
                    <a:pt x="17788" y="1223"/>
                    <a:pt x="17788" y="1223"/>
                    <a:pt x="17788" y="1223"/>
                  </a:cubicBezTo>
                  <a:close/>
                  <a:moveTo>
                    <a:pt x="17153" y="1630"/>
                  </a:moveTo>
                  <a:cubicBezTo>
                    <a:pt x="17153" y="1630"/>
                    <a:pt x="17153" y="1630"/>
                    <a:pt x="17153" y="1630"/>
                  </a:cubicBezTo>
                  <a:cubicBezTo>
                    <a:pt x="17153" y="1494"/>
                    <a:pt x="16994" y="1494"/>
                    <a:pt x="16994" y="1494"/>
                  </a:cubicBezTo>
                  <a:cubicBezTo>
                    <a:pt x="16994" y="1494"/>
                    <a:pt x="16835" y="1358"/>
                    <a:pt x="16835" y="1358"/>
                  </a:cubicBezTo>
                  <a:cubicBezTo>
                    <a:pt x="16835" y="1358"/>
                    <a:pt x="16835" y="1223"/>
                    <a:pt x="16994" y="1223"/>
                  </a:cubicBezTo>
                  <a:cubicBezTo>
                    <a:pt x="16994" y="1223"/>
                    <a:pt x="16994" y="1223"/>
                    <a:pt x="16994" y="1358"/>
                  </a:cubicBezTo>
                  <a:cubicBezTo>
                    <a:pt x="17153" y="1358"/>
                    <a:pt x="17153" y="1494"/>
                    <a:pt x="17153" y="1494"/>
                  </a:cubicBezTo>
                  <a:cubicBezTo>
                    <a:pt x="17153" y="1630"/>
                    <a:pt x="17153" y="1630"/>
                    <a:pt x="17153" y="1630"/>
                  </a:cubicBezTo>
                  <a:close/>
                  <a:moveTo>
                    <a:pt x="15247" y="1630"/>
                  </a:moveTo>
                  <a:cubicBezTo>
                    <a:pt x="15247" y="1630"/>
                    <a:pt x="15247" y="1630"/>
                    <a:pt x="15247" y="1630"/>
                  </a:cubicBezTo>
                  <a:cubicBezTo>
                    <a:pt x="15247" y="1630"/>
                    <a:pt x="15247" y="1630"/>
                    <a:pt x="15406" y="1630"/>
                  </a:cubicBezTo>
                  <a:cubicBezTo>
                    <a:pt x="15565" y="1494"/>
                    <a:pt x="15565" y="1358"/>
                    <a:pt x="15724" y="1494"/>
                  </a:cubicBezTo>
                  <a:cubicBezTo>
                    <a:pt x="15882" y="1494"/>
                    <a:pt x="16200" y="1630"/>
                    <a:pt x="16200" y="1630"/>
                  </a:cubicBezTo>
                  <a:cubicBezTo>
                    <a:pt x="16200" y="1630"/>
                    <a:pt x="16200" y="1494"/>
                    <a:pt x="16200" y="1494"/>
                  </a:cubicBezTo>
                  <a:cubicBezTo>
                    <a:pt x="16359" y="1494"/>
                    <a:pt x="16359" y="1630"/>
                    <a:pt x="16359" y="1630"/>
                  </a:cubicBezTo>
                  <a:cubicBezTo>
                    <a:pt x="16359" y="1630"/>
                    <a:pt x="16200" y="1630"/>
                    <a:pt x="16200" y="1630"/>
                  </a:cubicBezTo>
                  <a:cubicBezTo>
                    <a:pt x="16041" y="1766"/>
                    <a:pt x="16041" y="1766"/>
                    <a:pt x="15882" y="1766"/>
                  </a:cubicBezTo>
                  <a:cubicBezTo>
                    <a:pt x="15724" y="1766"/>
                    <a:pt x="15724" y="1630"/>
                    <a:pt x="15565" y="1766"/>
                  </a:cubicBezTo>
                  <a:cubicBezTo>
                    <a:pt x="15565" y="1766"/>
                    <a:pt x="15565" y="1902"/>
                    <a:pt x="15406" y="1902"/>
                  </a:cubicBezTo>
                  <a:cubicBezTo>
                    <a:pt x="15406" y="1902"/>
                    <a:pt x="15247" y="1902"/>
                    <a:pt x="15247" y="1902"/>
                  </a:cubicBezTo>
                  <a:cubicBezTo>
                    <a:pt x="15247" y="1766"/>
                    <a:pt x="15247" y="1630"/>
                    <a:pt x="15247" y="1630"/>
                  </a:cubicBezTo>
                  <a:close/>
                  <a:moveTo>
                    <a:pt x="14771" y="1766"/>
                  </a:moveTo>
                  <a:cubicBezTo>
                    <a:pt x="14771" y="1766"/>
                    <a:pt x="14771" y="1766"/>
                    <a:pt x="14771" y="1766"/>
                  </a:cubicBezTo>
                  <a:cubicBezTo>
                    <a:pt x="14771" y="1766"/>
                    <a:pt x="14771" y="1630"/>
                    <a:pt x="14929" y="1766"/>
                  </a:cubicBezTo>
                  <a:cubicBezTo>
                    <a:pt x="14929" y="1766"/>
                    <a:pt x="14929" y="1630"/>
                    <a:pt x="14929" y="1766"/>
                  </a:cubicBezTo>
                  <a:cubicBezTo>
                    <a:pt x="15088" y="1902"/>
                    <a:pt x="15088" y="2038"/>
                    <a:pt x="14929" y="2038"/>
                  </a:cubicBezTo>
                  <a:cubicBezTo>
                    <a:pt x="14771" y="1902"/>
                    <a:pt x="14771" y="1766"/>
                    <a:pt x="14771" y="1766"/>
                  </a:cubicBezTo>
                  <a:close/>
                  <a:moveTo>
                    <a:pt x="12865" y="1766"/>
                  </a:moveTo>
                  <a:cubicBezTo>
                    <a:pt x="12865" y="1766"/>
                    <a:pt x="12865" y="1766"/>
                    <a:pt x="12865" y="1766"/>
                  </a:cubicBezTo>
                  <a:cubicBezTo>
                    <a:pt x="12865" y="1766"/>
                    <a:pt x="12865" y="1630"/>
                    <a:pt x="13024" y="1630"/>
                  </a:cubicBezTo>
                  <a:cubicBezTo>
                    <a:pt x="13024" y="1630"/>
                    <a:pt x="13024" y="1630"/>
                    <a:pt x="13182" y="1630"/>
                  </a:cubicBezTo>
                  <a:cubicBezTo>
                    <a:pt x="13182" y="1766"/>
                    <a:pt x="13341" y="1766"/>
                    <a:pt x="13341" y="1766"/>
                  </a:cubicBezTo>
                  <a:cubicBezTo>
                    <a:pt x="13500" y="1766"/>
                    <a:pt x="13500" y="1766"/>
                    <a:pt x="13500" y="1766"/>
                  </a:cubicBezTo>
                  <a:cubicBezTo>
                    <a:pt x="13659" y="1766"/>
                    <a:pt x="13659" y="1630"/>
                    <a:pt x="13818" y="1766"/>
                  </a:cubicBezTo>
                  <a:cubicBezTo>
                    <a:pt x="13976" y="1766"/>
                    <a:pt x="13976" y="1766"/>
                    <a:pt x="14135" y="1766"/>
                  </a:cubicBezTo>
                  <a:cubicBezTo>
                    <a:pt x="14135" y="1766"/>
                    <a:pt x="14453" y="1766"/>
                    <a:pt x="14453" y="1766"/>
                  </a:cubicBezTo>
                  <a:cubicBezTo>
                    <a:pt x="14453" y="1766"/>
                    <a:pt x="14453" y="1902"/>
                    <a:pt x="14453" y="1902"/>
                  </a:cubicBezTo>
                  <a:cubicBezTo>
                    <a:pt x="14294" y="1902"/>
                    <a:pt x="14294" y="1902"/>
                    <a:pt x="14135" y="1902"/>
                  </a:cubicBezTo>
                  <a:cubicBezTo>
                    <a:pt x="14135" y="1902"/>
                    <a:pt x="14294" y="1902"/>
                    <a:pt x="13976" y="1902"/>
                  </a:cubicBezTo>
                  <a:cubicBezTo>
                    <a:pt x="13818" y="1902"/>
                    <a:pt x="13818" y="1902"/>
                    <a:pt x="13659" y="1902"/>
                  </a:cubicBezTo>
                  <a:cubicBezTo>
                    <a:pt x="13659" y="1902"/>
                    <a:pt x="13659" y="1902"/>
                    <a:pt x="13500" y="1902"/>
                  </a:cubicBezTo>
                  <a:cubicBezTo>
                    <a:pt x="13500" y="1902"/>
                    <a:pt x="13500" y="1902"/>
                    <a:pt x="13500" y="1902"/>
                  </a:cubicBezTo>
                  <a:cubicBezTo>
                    <a:pt x="13341" y="1902"/>
                    <a:pt x="13818" y="1766"/>
                    <a:pt x="13341" y="1902"/>
                  </a:cubicBezTo>
                  <a:cubicBezTo>
                    <a:pt x="12865" y="2038"/>
                    <a:pt x="12865" y="2038"/>
                    <a:pt x="12865" y="2038"/>
                  </a:cubicBezTo>
                  <a:cubicBezTo>
                    <a:pt x="12865" y="2038"/>
                    <a:pt x="12865" y="1902"/>
                    <a:pt x="12865" y="1902"/>
                  </a:cubicBezTo>
                  <a:cubicBezTo>
                    <a:pt x="12865" y="1902"/>
                    <a:pt x="12865" y="1766"/>
                    <a:pt x="12865" y="1766"/>
                  </a:cubicBezTo>
                  <a:close/>
                  <a:moveTo>
                    <a:pt x="10800" y="2174"/>
                  </a:moveTo>
                  <a:cubicBezTo>
                    <a:pt x="10800" y="2174"/>
                    <a:pt x="10800" y="2174"/>
                    <a:pt x="10800" y="2174"/>
                  </a:cubicBezTo>
                  <a:cubicBezTo>
                    <a:pt x="10959" y="2174"/>
                    <a:pt x="10959" y="2174"/>
                    <a:pt x="10959" y="2174"/>
                  </a:cubicBezTo>
                  <a:cubicBezTo>
                    <a:pt x="10959" y="2174"/>
                    <a:pt x="11276" y="2174"/>
                    <a:pt x="11276" y="2038"/>
                  </a:cubicBezTo>
                  <a:cubicBezTo>
                    <a:pt x="11435" y="2038"/>
                    <a:pt x="11435" y="2038"/>
                    <a:pt x="11435" y="2038"/>
                  </a:cubicBezTo>
                  <a:cubicBezTo>
                    <a:pt x="11435" y="2038"/>
                    <a:pt x="11753" y="1902"/>
                    <a:pt x="11753" y="1902"/>
                  </a:cubicBezTo>
                  <a:cubicBezTo>
                    <a:pt x="11912" y="1902"/>
                    <a:pt x="12071" y="1766"/>
                    <a:pt x="12071" y="1766"/>
                  </a:cubicBezTo>
                  <a:cubicBezTo>
                    <a:pt x="12071" y="1766"/>
                    <a:pt x="12388" y="1902"/>
                    <a:pt x="12388" y="1902"/>
                  </a:cubicBezTo>
                  <a:cubicBezTo>
                    <a:pt x="12547" y="1902"/>
                    <a:pt x="12547" y="1766"/>
                    <a:pt x="12547" y="1766"/>
                  </a:cubicBezTo>
                  <a:cubicBezTo>
                    <a:pt x="12229" y="1630"/>
                    <a:pt x="12229" y="1630"/>
                    <a:pt x="12229" y="1630"/>
                  </a:cubicBezTo>
                  <a:cubicBezTo>
                    <a:pt x="11594" y="1766"/>
                    <a:pt x="11594" y="1766"/>
                    <a:pt x="11594" y="1766"/>
                  </a:cubicBezTo>
                  <a:cubicBezTo>
                    <a:pt x="11594" y="1766"/>
                    <a:pt x="11118" y="1902"/>
                    <a:pt x="10959" y="1902"/>
                  </a:cubicBezTo>
                  <a:cubicBezTo>
                    <a:pt x="10800" y="1766"/>
                    <a:pt x="10641" y="1902"/>
                    <a:pt x="10641" y="1902"/>
                  </a:cubicBezTo>
                  <a:cubicBezTo>
                    <a:pt x="10482" y="2038"/>
                    <a:pt x="10482" y="2038"/>
                    <a:pt x="10482" y="2038"/>
                  </a:cubicBezTo>
                  <a:cubicBezTo>
                    <a:pt x="10482" y="2038"/>
                    <a:pt x="10641" y="2174"/>
                    <a:pt x="10641" y="2174"/>
                  </a:cubicBezTo>
                  <a:cubicBezTo>
                    <a:pt x="10641" y="2309"/>
                    <a:pt x="10800" y="2174"/>
                    <a:pt x="10800" y="2174"/>
                  </a:cubicBezTo>
                  <a:close/>
                  <a:moveTo>
                    <a:pt x="8894" y="2989"/>
                  </a:moveTo>
                  <a:cubicBezTo>
                    <a:pt x="8894" y="2989"/>
                    <a:pt x="8894" y="2989"/>
                    <a:pt x="8894" y="2989"/>
                  </a:cubicBezTo>
                  <a:cubicBezTo>
                    <a:pt x="8894" y="2989"/>
                    <a:pt x="8894" y="2989"/>
                    <a:pt x="8894" y="2989"/>
                  </a:cubicBezTo>
                  <a:cubicBezTo>
                    <a:pt x="9053" y="3125"/>
                    <a:pt x="9053" y="3125"/>
                    <a:pt x="9053" y="3125"/>
                  </a:cubicBezTo>
                  <a:cubicBezTo>
                    <a:pt x="9053" y="3125"/>
                    <a:pt x="9212" y="2989"/>
                    <a:pt x="9212" y="2989"/>
                  </a:cubicBezTo>
                  <a:cubicBezTo>
                    <a:pt x="9212" y="2853"/>
                    <a:pt x="9371" y="2853"/>
                    <a:pt x="9371" y="2853"/>
                  </a:cubicBezTo>
                  <a:cubicBezTo>
                    <a:pt x="9371" y="2853"/>
                    <a:pt x="9529" y="2717"/>
                    <a:pt x="9688" y="2717"/>
                  </a:cubicBezTo>
                  <a:cubicBezTo>
                    <a:pt x="9688" y="2717"/>
                    <a:pt x="10006" y="2581"/>
                    <a:pt x="10006" y="2581"/>
                  </a:cubicBezTo>
                  <a:cubicBezTo>
                    <a:pt x="10006" y="2445"/>
                    <a:pt x="10006" y="2445"/>
                    <a:pt x="10006" y="2445"/>
                  </a:cubicBezTo>
                  <a:cubicBezTo>
                    <a:pt x="10006" y="2445"/>
                    <a:pt x="9529" y="2445"/>
                    <a:pt x="9529" y="2445"/>
                  </a:cubicBezTo>
                  <a:cubicBezTo>
                    <a:pt x="9529" y="2445"/>
                    <a:pt x="9212" y="2717"/>
                    <a:pt x="9212" y="2717"/>
                  </a:cubicBezTo>
                  <a:cubicBezTo>
                    <a:pt x="9212" y="2717"/>
                    <a:pt x="8894" y="2989"/>
                    <a:pt x="8894" y="2989"/>
                  </a:cubicBezTo>
                  <a:close/>
                  <a:moveTo>
                    <a:pt x="8735" y="4347"/>
                  </a:moveTo>
                  <a:cubicBezTo>
                    <a:pt x="8735" y="4347"/>
                    <a:pt x="8735" y="4347"/>
                    <a:pt x="8735" y="4347"/>
                  </a:cubicBezTo>
                  <a:cubicBezTo>
                    <a:pt x="8735" y="4347"/>
                    <a:pt x="9053" y="4075"/>
                    <a:pt x="9053" y="3940"/>
                  </a:cubicBezTo>
                  <a:cubicBezTo>
                    <a:pt x="9053" y="3940"/>
                    <a:pt x="9053" y="3668"/>
                    <a:pt x="9053" y="3668"/>
                  </a:cubicBezTo>
                  <a:cubicBezTo>
                    <a:pt x="9053" y="3396"/>
                    <a:pt x="9053" y="3396"/>
                    <a:pt x="9053" y="3396"/>
                  </a:cubicBezTo>
                  <a:cubicBezTo>
                    <a:pt x="8735" y="3125"/>
                    <a:pt x="8735" y="3125"/>
                    <a:pt x="8735" y="3125"/>
                  </a:cubicBezTo>
                  <a:cubicBezTo>
                    <a:pt x="8735" y="3125"/>
                    <a:pt x="8576" y="3396"/>
                    <a:pt x="8576" y="3396"/>
                  </a:cubicBezTo>
                  <a:cubicBezTo>
                    <a:pt x="8576" y="3532"/>
                    <a:pt x="8418" y="3532"/>
                    <a:pt x="8259" y="3668"/>
                  </a:cubicBezTo>
                  <a:cubicBezTo>
                    <a:pt x="8100" y="3804"/>
                    <a:pt x="8100" y="3940"/>
                    <a:pt x="8100" y="4075"/>
                  </a:cubicBezTo>
                  <a:cubicBezTo>
                    <a:pt x="8100" y="4075"/>
                    <a:pt x="7941" y="4211"/>
                    <a:pt x="7941" y="4347"/>
                  </a:cubicBezTo>
                  <a:cubicBezTo>
                    <a:pt x="7941" y="4483"/>
                    <a:pt x="8100" y="4483"/>
                    <a:pt x="8259" y="4483"/>
                  </a:cubicBezTo>
                  <a:cubicBezTo>
                    <a:pt x="8418" y="4483"/>
                    <a:pt x="8259" y="4483"/>
                    <a:pt x="8259" y="4483"/>
                  </a:cubicBezTo>
                  <a:cubicBezTo>
                    <a:pt x="8735" y="4347"/>
                    <a:pt x="8735" y="4347"/>
                    <a:pt x="8735" y="4347"/>
                  </a:cubicBezTo>
                  <a:close/>
                  <a:moveTo>
                    <a:pt x="3335" y="12770"/>
                  </a:moveTo>
                  <a:cubicBezTo>
                    <a:pt x="3335" y="12770"/>
                    <a:pt x="3335" y="12770"/>
                    <a:pt x="3335" y="12770"/>
                  </a:cubicBezTo>
                  <a:cubicBezTo>
                    <a:pt x="3335" y="12770"/>
                    <a:pt x="3335" y="12770"/>
                    <a:pt x="3494" y="12770"/>
                  </a:cubicBezTo>
                  <a:cubicBezTo>
                    <a:pt x="3494" y="12770"/>
                    <a:pt x="3494" y="12634"/>
                    <a:pt x="3494" y="12634"/>
                  </a:cubicBezTo>
                  <a:cubicBezTo>
                    <a:pt x="3653" y="12634"/>
                    <a:pt x="3653" y="12770"/>
                    <a:pt x="3653" y="12770"/>
                  </a:cubicBezTo>
                  <a:cubicBezTo>
                    <a:pt x="3812" y="12770"/>
                    <a:pt x="3812" y="12906"/>
                    <a:pt x="3812" y="12906"/>
                  </a:cubicBezTo>
                  <a:cubicBezTo>
                    <a:pt x="3971" y="13177"/>
                    <a:pt x="3971" y="13177"/>
                    <a:pt x="3971" y="13177"/>
                  </a:cubicBezTo>
                  <a:cubicBezTo>
                    <a:pt x="3971" y="13177"/>
                    <a:pt x="3971" y="13313"/>
                    <a:pt x="3971" y="13313"/>
                  </a:cubicBezTo>
                  <a:cubicBezTo>
                    <a:pt x="3971" y="13449"/>
                    <a:pt x="3971" y="13449"/>
                    <a:pt x="3971" y="13449"/>
                  </a:cubicBezTo>
                  <a:cubicBezTo>
                    <a:pt x="3971" y="13449"/>
                    <a:pt x="4129" y="13449"/>
                    <a:pt x="4288" y="13449"/>
                  </a:cubicBezTo>
                  <a:cubicBezTo>
                    <a:pt x="4288" y="13449"/>
                    <a:pt x="4288" y="13585"/>
                    <a:pt x="4447" y="13585"/>
                  </a:cubicBezTo>
                  <a:cubicBezTo>
                    <a:pt x="4606" y="13721"/>
                    <a:pt x="4606" y="13721"/>
                    <a:pt x="4606" y="13721"/>
                  </a:cubicBezTo>
                  <a:cubicBezTo>
                    <a:pt x="4765" y="13857"/>
                    <a:pt x="4765" y="13857"/>
                    <a:pt x="4924" y="13992"/>
                  </a:cubicBezTo>
                  <a:cubicBezTo>
                    <a:pt x="5082" y="13992"/>
                    <a:pt x="5082" y="13992"/>
                    <a:pt x="5241" y="13992"/>
                  </a:cubicBezTo>
                  <a:cubicBezTo>
                    <a:pt x="5241" y="13857"/>
                    <a:pt x="5241" y="13857"/>
                    <a:pt x="5400" y="13857"/>
                  </a:cubicBezTo>
                  <a:cubicBezTo>
                    <a:pt x="5400" y="13857"/>
                    <a:pt x="5400" y="13857"/>
                    <a:pt x="5559" y="13857"/>
                  </a:cubicBezTo>
                  <a:cubicBezTo>
                    <a:pt x="5559" y="13721"/>
                    <a:pt x="5400" y="13721"/>
                    <a:pt x="5400" y="13721"/>
                  </a:cubicBezTo>
                  <a:cubicBezTo>
                    <a:pt x="5400" y="13721"/>
                    <a:pt x="5241" y="13585"/>
                    <a:pt x="5082" y="13449"/>
                  </a:cubicBezTo>
                  <a:cubicBezTo>
                    <a:pt x="5082" y="13449"/>
                    <a:pt x="5082" y="13449"/>
                    <a:pt x="5082" y="13313"/>
                  </a:cubicBezTo>
                  <a:cubicBezTo>
                    <a:pt x="5082" y="13313"/>
                    <a:pt x="5082" y="13313"/>
                    <a:pt x="4924" y="13177"/>
                  </a:cubicBezTo>
                  <a:cubicBezTo>
                    <a:pt x="4765" y="13177"/>
                    <a:pt x="4765" y="13177"/>
                    <a:pt x="4765" y="13177"/>
                  </a:cubicBezTo>
                  <a:cubicBezTo>
                    <a:pt x="4606" y="13042"/>
                    <a:pt x="4606" y="12906"/>
                    <a:pt x="4606" y="12906"/>
                  </a:cubicBezTo>
                  <a:cubicBezTo>
                    <a:pt x="4606" y="12906"/>
                    <a:pt x="4288" y="12906"/>
                    <a:pt x="4288" y="12770"/>
                  </a:cubicBezTo>
                  <a:cubicBezTo>
                    <a:pt x="4288" y="12770"/>
                    <a:pt x="4129" y="12770"/>
                    <a:pt x="4129" y="12770"/>
                  </a:cubicBezTo>
                  <a:cubicBezTo>
                    <a:pt x="4129" y="12770"/>
                    <a:pt x="3812" y="12634"/>
                    <a:pt x="3812" y="12498"/>
                  </a:cubicBezTo>
                  <a:cubicBezTo>
                    <a:pt x="3812" y="12498"/>
                    <a:pt x="3812" y="12362"/>
                    <a:pt x="3812" y="12362"/>
                  </a:cubicBezTo>
                  <a:cubicBezTo>
                    <a:pt x="3812" y="12362"/>
                    <a:pt x="3653" y="12362"/>
                    <a:pt x="3494" y="12362"/>
                  </a:cubicBezTo>
                  <a:cubicBezTo>
                    <a:pt x="3335" y="12498"/>
                    <a:pt x="3176" y="12498"/>
                    <a:pt x="3176" y="12498"/>
                  </a:cubicBezTo>
                  <a:cubicBezTo>
                    <a:pt x="3018" y="12498"/>
                    <a:pt x="3018" y="12634"/>
                    <a:pt x="3018" y="12634"/>
                  </a:cubicBezTo>
                  <a:cubicBezTo>
                    <a:pt x="3018" y="12634"/>
                    <a:pt x="3018" y="12770"/>
                    <a:pt x="3176" y="12770"/>
                  </a:cubicBezTo>
                  <a:cubicBezTo>
                    <a:pt x="3176" y="12906"/>
                    <a:pt x="3335" y="12770"/>
                    <a:pt x="3335" y="12770"/>
                  </a:cubicBezTo>
                  <a:close/>
                  <a:moveTo>
                    <a:pt x="11276" y="10189"/>
                  </a:moveTo>
                  <a:cubicBezTo>
                    <a:pt x="11276" y="10189"/>
                    <a:pt x="11276" y="10189"/>
                    <a:pt x="11276" y="10189"/>
                  </a:cubicBezTo>
                  <a:cubicBezTo>
                    <a:pt x="11276" y="10325"/>
                    <a:pt x="11276" y="10325"/>
                    <a:pt x="11276" y="10325"/>
                  </a:cubicBezTo>
                  <a:cubicBezTo>
                    <a:pt x="11276" y="10325"/>
                    <a:pt x="11276" y="10325"/>
                    <a:pt x="11435" y="10325"/>
                  </a:cubicBezTo>
                  <a:cubicBezTo>
                    <a:pt x="11435" y="10189"/>
                    <a:pt x="11435" y="10325"/>
                    <a:pt x="11594" y="10325"/>
                  </a:cubicBezTo>
                  <a:cubicBezTo>
                    <a:pt x="11594" y="10325"/>
                    <a:pt x="11594" y="10325"/>
                    <a:pt x="11594" y="10325"/>
                  </a:cubicBezTo>
                  <a:cubicBezTo>
                    <a:pt x="11753" y="10325"/>
                    <a:pt x="11912" y="10053"/>
                    <a:pt x="11912" y="10053"/>
                  </a:cubicBezTo>
                  <a:cubicBezTo>
                    <a:pt x="11912" y="10053"/>
                    <a:pt x="11912" y="10053"/>
                    <a:pt x="12071" y="10053"/>
                  </a:cubicBezTo>
                  <a:cubicBezTo>
                    <a:pt x="12071" y="10053"/>
                    <a:pt x="12229" y="10053"/>
                    <a:pt x="12229" y="9917"/>
                  </a:cubicBezTo>
                  <a:cubicBezTo>
                    <a:pt x="12229" y="9917"/>
                    <a:pt x="12229" y="9917"/>
                    <a:pt x="12388" y="9917"/>
                  </a:cubicBezTo>
                  <a:cubicBezTo>
                    <a:pt x="12388" y="9781"/>
                    <a:pt x="12388" y="9781"/>
                    <a:pt x="12388" y="9781"/>
                  </a:cubicBezTo>
                  <a:cubicBezTo>
                    <a:pt x="12547" y="9645"/>
                    <a:pt x="12706" y="9645"/>
                    <a:pt x="12706" y="9645"/>
                  </a:cubicBezTo>
                  <a:cubicBezTo>
                    <a:pt x="12865" y="9509"/>
                    <a:pt x="12865" y="9509"/>
                    <a:pt x="12865" y="9374"/>
                  </a:cubicBezTo>
                  <a:cubicBezTo>
                    <a:pt x="12865" y="9374"/>
                    <a:pt x="12706" y="9374"/>
                    <a:pt x="12706" y="9509"/>
                  </a:cubicBezTo>
                  <a:cubicBezTo>
                    <a:pt x="12547" y="9509"/>
                    <a:pt x="12388" y="9509"/>
                    <a:pt x="12388" y="9509"/>
                  </a:cubicBezTo>
                  <a:cubicBezTo>
                    <a:pt x="12388" y="9645"/>
                    <a:pt x="12229" y="9645"/>
                    <a:pt x="12229" y="9645"/>
                  </a:cubicBezTo>
                  <a:cubicBezTo>
                    <a:pt x="12071" y="9645"/>
                    <a:pt x="11912" y="9781"/>
                    <a:pt x="11753" y="9781"/>
                  </a:cubicBezTo>
                  <a:cubicBezTo>
                    <a:pt x="11753" y="9781"/>
                    <a:pt x="11753" y="9917"/>
                    <a:pt x="11594" y="10053"/>
                  </a:cubicBezTo>
                  <a:cubicBezTo>
                    <a:pt x="11594" y="10053"/>
                    <a:pt x="11594" y="10053"/>
                    <a:pt x="11594" y="10189"/>
                  </a:cubicBezTo>
                  <a:cubicBezTo>
                    <a:pt x="11435" y="10189"/>
                    <a:pt x="11276" y="10189"/>
                    <a:pt x="11276" y="10189"/>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6" name="Shape 2239">
              <a:extLst>
                <a:ext uri="{FF2B5EF4-FFF2-40B4-BE49-F238E27FC236}">
                  <a16:creationId xmlns:a16="http://schemas.microsoft.com/office/drawing/2014/main" id="{6A0A5408-6EB0-A81C-B25B-9AAE1CE5581B}"/>
                </a:ext>
              </a:extLst>
            </p:cNvPr>
            <p:cNvSpPr/>
            <p:nvPr/>
          </p:nvSpPr>
          <p:spPr>
            <a:xfrm>
              <a:off x="9178366" y="5970994"/>
              <a:ext cx="695935" cy="476061"/>
            </a:xfrm>
            <a:custGeom>
              <a:avLst/>
              <a:gdLst/>
              <a:ahLst/>
              <a:cxnLst>
                <a:cxn ang="0">
                  <a:pos x="wd2" y="hd2"/>
                </a:cxn>
                <a:cxn ang="5400000">
                  <a:pos x="wd2" y="hd2"/>
                </a:cxn>
                <a:cxn ang="10800000">
                  <a:pos x="wd2" y="hd2"/>
                </a:cxn>
                <a:cxn ang="16200000">
                  <a:pos x="wd2" y="hd2"/>
                </a:cxn>
              </a:cxnLst>
              <a:rect l="0" t="0" r="r" b="b"/>
              <a:pathLst>
                <a:path w="21600" h="21600" extrusionOk="0">
                  <a:moveTo>
                    <a:pt x="256" y="5990"/>
                  </a:moveTo>
                  <a:cubicBezTo>
                    <a:pt x="0" y="5627"/>
                    <a:pt x="0" y="5627"/>
                    <a:pt x="0" y="5627"/>
                  </a:cubicBezTo>
                  <a:cubicBezTo>
                    <a:pt x="511" y="5082"/>
                    <a:pt x="511" y="5082"/>
                    <a:pt x="511" y="5082"/>
                  </a:cubicBezTo>
                  <a:cubicBezTo>
                    <a:pt x="511" y="5082"/>
                    <a:pt x="767" y="5082"/>
                    <a:pt x="895" y="4901"/>
                  </a:cubicBezTo>
                  <a:cubicBezTo>
                    <a:pt x="1150" y="4901"/>
                    <a:pt x="1917" y="4538"/>
                    <a:pt x="1917" y="4538"/>
                  </a:cubicBezTo>
                  <a:cubicBezTo>
                    <a:pt x="2173" y="4175"/>
                    <a:pt x="2173" y="4175"/>
                    <a:pt x="2173" y="4175"/>
                  </a:cubicBezTo>
                  <a:cubicBezTo>
                    <a:pt x="2173" y="4175"/>
                    <a:pt x="2428" y="3812"/>
                    <a:pt x="2428" y="3812"/>
                  </a:cubicBezTo>
                  <a:cubicBezTo>
                    <a:pt x="2556" y="3812"/>
                    <a:pt x="2812" y="3812"/>
                    <a:pt x="2940" y="3630"/>
                  </a:cubicBezTo>
                  <a:cubicBezTo>
                    <a:pt x="2940" y="3630"/>
                    <a:pt x="3067" y="3449"/>
                    <a:pt x="3067" y="3449"/>
                  </a:cubicBezTo>
                  <a:cubicBezTo>
                    <a:pt x="3067" y="3449"/>
                    <a:pt x="3067" y="3267"/>
                    <a:pt x="3195" y="3267"/>
                  </a:cubicBezTo>
                  <a:cubicBezTo>
                    <a:pt x="3195" y="3267"/>
                    <a:pt x="3323" y="3267"/>
                    <a:pt x="3451" y="3086"/>
                  </a:cubicBezTo>
                  <a:cubicBezTo>
                    <a:pt x="3579" y="3086"/>
                    <a:pt x="3579" y="3086"/>
                    <a:pt x="3707" y="2904"/>
                  </a:cubicBezTo>
                  <a:cubicBezTo>
                    <a:pt x="3707" y="2904"/>
                    <a:pt x="3834" y="2360"/>
                    <a:pt x="3834" y="2360"/>
                  </a:cubicBezTo>
                  <a:cubicBezTo>
                    <a:pt x="3834" y="2360"/>
                    <a:pt x="3834" y="2360"/>
                    <a:pt x="3834" y="2360"/>
                  </a:cubicBezTo>
                  <a:cubicBezTo>
                    <a:pt x="3962" y="2360"/>
                    <a:pt x="4090" y="2541"/>
                    <a:pt x="4090" y="2541"/>
                  </a:cubicBezTo>
                  <a:cubicBezTo>
                    <a:pt x="4090" y="2541"/>
                    <a:pt x="4346" y="2541"/>
                    <a:pt x="4473" y="2541"/>
                  </a:cubicBezTo>
                  <a:cubicBezTo>
                    <a:pt x="4473" y="2541"/>
                    <a:pt x="4729" y="2360"/>
                    <a:pt x="4729" y="2360"/>
                  </a:cubicBezTo>
                  <a:cubicBezTo>
                    <a:pt x="4729" y="2360"/>
                    <a:pt x="4729" y="2178"/>
                    <a:pt x="4857" y="2178"/>
                  </a:cubicBezTo>
                  <a:cubicBezTo>
                    <a:pt x="4985" y="2178"/>
                    <a:pt x="5112" y="2178"/>
                    <a:pt x="5240" y="2178"/>
                  </a:cubicBezTo>
                  <a:cubicBezTo>
                    <a:pt x="5240" y="2178"/>
                    <a:pt x="5496" y="2178"/>
                    <a:pt x="5496" y="2178"/>
                  </a:cubicBezTo>
                  <a:cubicBezTo>
                    <a:pt x="5624" y="1997"/>
                    <a:pt x="5624" y="1997"/>
                    <a:pt x="5624" y="1997"/>
                  </a:cubicBezTo>
                  <a:cubicBezTo>
                    <a:pt x="5751" y="1997"/>
                    <a:pt x="5624" y="1815"/>
                    <a:pt x="5751" y="1997"/>
                  </a:cubicBezTo>
                  <a:cubicBezTo>
                    <a:pt x="5879" y="1997"/>
                    <a:pt x="5751" y="2178"/>
                    <a:pt x="5879" y="1997"/>
                  </a:cubicBezTo>
                  <a:cubicBezTo>
                    <a:pt x="6007" y="1815"/>
                    <a:pt x="6135" y="1452"/>
                    <a:pt x="6135" y="1452"/>
                  </a:cubicBezTo>
                  <a:cubicBezTo>
                    <a:pt x="6135" y="1452"/>
                    <a:pt x="6007" y="1452"/>
                    <a:pt x="6263" y="1452"/>
                  </a:cubicBezTo>
                  <a:cubicBezTo>
                    <a:pt x="6518" y="1452"/>
                    <a:pt x="6518" y="1452"/>
                    <a:pt x="6774" y="1452"/>
                  </a:cubicBezTo>
                  <a:cubicBezTo>
                    <a:pt x="6902" y="1452"/>
                    <a:pt x="7157" y="1271"/>
                    <a:pt x="7157" y="1271"/>
                  </a:cubicBezTo>
                  <a:cubicBezTo>
                    <a:pt x="7285" y="1271"/>
                    <a:pt x="7413" y="1089"/>
                    <a:pt x="7413" y="1089"/>
                  </a:cubicBezTo>
                  <a:cubicBezTo>
                    <a:pt x="7413" y="908"/>
                    <a:pt x="6902" y="545"/>
                    <a:pt x="6902" y="545"/>
                  </a:cubicBezTo>
                  <a:cubicBezTo>
                    <a:pt x="6902" y="545"/>
                    <a:pt x="6646" y="363"/>
                    <a:pt x="7030" y="363"/>
                  </a:cubicBezTo>
                  <a:cubicBezTo>
                    <a:pt x="7413" y="545"/>
                    <a:pt x="7541" y="545"/>
                    <a:pt x="7541" y="545"/>
                  </a:cubicBezTo>
                  <a:cubicBezTo>
                    <a:pt x="7669" y="545"/>
                    <a:pt x="7669" y="363"/>
                    <a:pt x="7796" y="363"/>
                  </a:cubicBezTo>
                  <a:cubicBezTo>
                    <a:pt x="7924" y="182"/>
                    <a:pt x="8052" y="0"/>
                    <a:pt x="8052" y="0"/>
                  </a:cubicBezTo>
                  <a:cubicBezTo>
                    <a:pt x="8180" y="0"/>
                    <a:pt x="8436" y="363"/>
                    <a:pt x="8436" y="363"/>
                  </a:cubicBezTo>
                  <a:cubicBezTo>
                    <a:pt x="8436" y="726"/>
                    <a:pt x="8436" y="726"/>
                    <a:pt x="8436" y="726"/>
                  </a:cubicBezTo>
                  <a:cubicBezTo>
                    <a:pt x="8819" y="726"/>
                    <a:pt x="8819" y="726"/>
                    <a:pt x="8819" y="726"/>
                  </a:cubicBezTo>
                  <a:cubicBezTo>
                    <a:pt x="8819" y="726"/>
                    <a:pt x="8947" y="545"/>
                    <a:pt x="9075" y="726"/>
                  </a:cubicBezTo>
                  <a:cubicBezTo>
                    <a:pt x="9202" y="726"/>
                    <a:pt x="9458" y="1089"/>
                    <a:pt x="9458" y="1089"/>
                  </a:cubicBezTo>
                  <a:cubicBezTo>
                    <a:pt x="9330" y="1452"/>
                    <a:pt x="9330" y="1452"/>
                    <a:pt x="9330" y="1452"/>
                  </a:cubicBezTo>
                  <a:cubicBezTo>
                    <a:pt x="8819" y="1634"/>
                    <a:pt x="8819" y="1634"/>
                    <a:pt x="8819" y="1634"/>
                  </a:cubicBezTo>
                  <a:cubicBezTo>
                    <a:pt x="8819" y="1634"/>
                    <a:pt x="8819" y="1997"/>
                    <a:pt x="8947" y="1997"/>
                  </a:cubicBezTo>
                  <a:cubicBezTo>
                    <a:pt x="8947" y="1997"/>
                    <a:pt x="9075" y="2178"/>
                    <a:pt x="9202" y="1997"/>
                  </a:cubicBezTo>
                  <a:cubicBezTo>
                    <a:pt x="9330" y="1997"/>
                    <a:pt x="9330" y="1815"/>
                    <a:pt x="9330" y="1815"/>
                  </a:cubicBezTo>
                  <a:cubicBezTo>
                    <a:pt x="9330" y="1815"/>
                    <a:pt x="9714" y="1815"/>
                    <a:pt x="9714" y="1997"/>
                  </a:cubicBezTo>
                  <a:cubicBezTo>
                    <a:pt x="9714" y="1997"/>
                    <a:pt x="9969" y="2178"/>
                    <a:pt x="9969" y="2178"/>
                  </a:cubicBezTo>
                  <a:cubicBezTo>
                    <a:pt x="10097" y="1997"/>
                    <a:pt x="10225" y="1997"/>
                    <a:pt x="10353" y="1997"/>
                  </a:cubicBezTo>
                  <a:cubicBezTo>
                    <a:pt x="10353" y="1997"/>
                    <a:pt x="10480" y="2178"/>
                    <a:pt x="10608" y="2178"/>
                  </a:cubicBezTo>
                  <a:cubicBezTo>
                    <a:pt x="10736" y="2178"/>
                    <a:pt x="10864" y="1815"/>
                    <a:pt x="10864" y="1815"/>
                  </a:cubicBezTo>
                  <a:cubicBezTo>
                    <a:pt x="10864" y="1815"/>
                    <a:pt x="10992" y="1815"/>
                    <a:pt x="10992" y="1997"/>
                  </a:cubicBezTo>
                  <a:cubicBezTo>
                    <a:pt x="11120" y="1997"/>
                    <a:pt x="10992" y="1997"/>
                    <a:pt x="11120" y="2178"/>
                  </a:cubicBezTo>
                  <a:cubicBezTo>
                    <a:pt x="11120" y="2360"/>
                    <a:pt x="11120" y="2360"/>
                    <a:pt x="11247" y="2360"/>
                  </a:cubicBezTo>
                  <a:cubicBezTo>
                    <a:pt x="11375" y="2541"/>
                    <a:pt x="11631" y="2541"/>
                    <a:pt x="11631" y="2723"/>
                  </a:cubicBezTo>
                  <a:cubicBezTo>
                    <a:pt x="11631" y="2723"/>
                    <a:pt x="11759" y="3086"/>
                    <a:pt x="11886" y="3086"/>
                  </a:cubicBezTo>
                  <a:cubicBezTo>
                    <a:pt x="12014" y="2904"/>
                    <a:pt x="12014" y="2904"/>
                    <a:pt x="12142" y="2904"/>
                  </a:cubicBezTo>
                  <a:cubicBezTo>
                    <a:pt x="12270" y="3086"/>
                    <a:pt x="12525" y="2904"/>
                    <a:pt x="12525" y="3086"/>
                  </a:cubicBezTo>
                  <a:cubicBezTo>
                    <a:pt x="12398" y="3267"/>
                    <a:pt x="12398" y="3449"/>
                    <a:pt x="12398" y="3630"/>
                  </a:cubicBezTo>
                  <a:cubicBezTo>
                    <a:pt x="12398" y="3630"/>
                    <a:pt x="12270" y="3812"/>
                    <a:pt x="12142" y="3812"/>
                  </a:cubicBezTo>
                  <a:cubicBezTo>
                    <a:pt x="12014" y="3812"/>
                    <a:pt x="11886" y="3993"/>
                    <a:pt x="11886" y="3993"/>
                  </a:cubicBezTo>
                  <a:cubicBezTo>
                    <a:pt x="11886" y="4175"/>
                    <a:pt x="11759" y="4356"/>
                    <a:pt x="11759" y="4538"/>
                  </a:cubicBezTo>
                  <a:cubicBezTo>
                    <a:pt x="11631" y="4719"/>
                    <a:pt x="11631" y="4901"/>
                    <a:pt x="11631" y="4901"/>
                  </a:cubicBezTo>
                  <a:cubicBezTo>
                    <a:pt x="11503" y="5082"/>
                    <a:pt x="11503" y="5082"/>
                    <a:pt x="11503" y="5082"/>
                  </a:cubicBezTo>
                  <a:cubicBezTo>
                    <a:pt x="11503" y="5264"/>
                    <a:pt x="11886" y="5990"/>
                    <a:pt x="11886" y="5990"/>
                  </a:cubicBezTo>
                  <a:cubicBezTo>
                    <a:pt x="12142" y="6171"/>
                    <a:pt x="12142" y="6171"/>
                    <a:pt x="12142" y="6171"/>
                  </a:cubicBezTo>
                  <a:cubicBezTo>
                    <a:pt x="12270" y="6534"/>
                    <a:pt x="12270" y="6534"/>
                    <a:pt x="12270" y="6534"/>
                  </a:cubicBezTo>
                  <a:cubicBezTo>
                    <a:pt x="13037" y="7261"/>
                    <a:pt x="13037" y="7261"/>
                    <a:pt x="13037" y="7261"/>
                  </a:cubicBezTo>
                  <a:cubicBezTo>
                    <a:pt x="13037" y="7261"/>
                    <a:pt x="13292" y="7442"/>
                    <a:pt x="13548" y="7442"/>
                  </a:cubicBezTo>
                  <a:cubicBezTo>
                    <a:pt x="13804" y="7624"/>
                    <a:pt x="14059" y="7624"/>
                    <a:pt x="14059" y="7624"/>
                  </a:cubicBezTo>
                  <a:cubicBezTo>
                    <a:pt x="14443" y="8168"/>
                    <a:pt x="14443" y="8168"/>
                    <a:pt x="14443" y="8168"/>
                  </a:cubicBezTo>
                  <a:cubicBezTo>
                    <a:pt x="14443" y="8168"/>
                    <a:pt x="14698" y="8168"/>
                    <a:pt x="14826" y="8168"/>
                  </a:cubicBezTo>
                  <a:cubicBezTo>
                    <a:pt x="14826" y="8350"/>
                    <a:pt x="15209" y="8350"/>
                    <a:pt x="15209" y="8350"/>
                  </a:cubicBezTo>
                  <a:cubicBezTo>
                    <a:pt x="15465" y="8350"/>
                    <a:pt x="15465" y="8350"/>
                    <a:pt x="15465" y="8350"/>
                  </a:cubicBezTo>
                  <a:cubicBezTo>
                    <a:pt x="15465" y="8350"/>
                    <a:pt x="15593" y="8168"/>
                    <a:pt x="15721" y="8531"/>
                  </a:cubicBezTo>
                  <a:cubicBezTo>
                    <a:pt x="15721" y="8713"/>
                    <a:pt x="15849" y="9076"/>
                    <a:pt x="15849" y="9076"/>
                  </a:cubicBezTo>
                  <a:cubicBezTo>
                    <a:pt x="15849" y="9076"/>
                    <a:pt x="15849" y="9257"/>
                    <a:pt x="15849" y="9439"/>
                  </a:cubicBezTo>
                  <a:cubicBezTo>
                    <a:pt x="15721" y="9439"/>
                    <a:pt x="15721" y="9439"/>
                    <a:pt x="15721" y="9620"/>
                  </a:cubicBezTo>
                  <a:cubicBezTo>
                    <a:pt x="15721" y="9620"/>
                    <a:pt x="15721" y="10346"/>
                    <a:pt x="15721" y="10346"/>
                  </a:cubicBezTo>
                  <a:cubicBezTo>
                    <a:pt x="15721" y="10346"/>
                    <a:pt x="15721" y="10528"/>
                    <a:pt x="15593" y="10528"/>
                  </a:cubicBezTo>
                  <a:cubicBezTo>
                    <a:pt x="15337" y="10709"/>
                    <a:pt x="15337" y="10709"/>
                    <a:pt x="15209" y="10709"/>
                  </a:cubicBezTo>
                  <a:cubicBezTo>
                    <a:pt x="14954" y="10709"/>
                    <a:pt x="14570" y="10891"/>
                    <a:pt x="14443" y="11072"/>
                  </a:cubicBezTo>
                  <a:cubicBezTo>
                    <a:pt x="14443" y="11072"/>
                    <a:pt x="14187" y="11072"/>
                    <a:pt x="14187" y="11072"/>
                  </a:cubicBezTo>
                  <a:cubicBezTo>
                    <a:pt x="14187" y="11254"/>
                    <a:pt x="14059" y="11617"/>
                    <a:pt x="14059" y="11617"/>
                  </a:cubicBezTo>
                  <a:cubicBezTo>
                    <a:pt x="14059" y="11617"/>
                    <a:pt x="14059" y="11980"/>
                    <a:pt x="14315" y="11980"/>
                  </a:cubicBezTo>
                  <a:cubicBezTo>
                    <a:pt x="14698" y="11980"/>
                    <a:pt x="14698" y="11980"/>
                    <a:pt x="14826" y="11980"/>
                  </a:cubicBezTo>
                  <a:cubicBezTo>
                    <a:pt x="14954" y="11980"/>
                    <a:pt x="14954" y="11798"/>
                    <a:pt x="15209" y="11980"/>
                  </a:cubicBezTo>
                  <a:cubicBezTo>
                    <a:pt x="15337" y="11980"/>
                    <a:pt x="15465" y="12343"/>
                    <a:pt x="15465" y="12343"/>
                  </a:cubicBezTo>
                  <a:cubicBezTo>
                    <a:pt x="15721" y="12706"/>
                    <a:pt x="15721" y="12706"/>
                    <a:pt x="15721" y="12706"/>
                  </a:cubicBezTo>
                  <a:cubicBezTo>
                    <a:pt x="15976" y="12887"/>
                    <a:pt x="15976" y="12887"/>
                    <a:pt x="15976" y="12887"/>
                  </a:cubicBezTo>
                  <a:cubicBezTo>
                    <a:pt x="16743" y="12887"/>
                    <a:pt x="16743" y="12887"/>
                    <a:pt x="16743" y="12887"/>
                  </a:cubicBezTo>
                  <a:cubicBezTo>
                    <a:pt x="17254" y="13613"/>
                    <a:pt x="17254" y="13613"/>
                    <a:pt x="17254" y="13613"/>
                  </a:cubicBezTo>
                  <a:cubicBezTo>
                    <a:pt x="17893" y="13795"/>
                    <a:pt x="17893" y="13795"/>
                    <a:pt x="17893" y="13795"/>
                  </a:cubicBezTo>
                  <a:cubicBezTo>
                    <a:pt x="17893" y="13795"/>
                    <a:pt x="17893" y="14339"/>
                    <a:pt x="18021" y="14339"/>
                  </a:cubicBezTo>
                  <a:cubicBezTo>
                    <a:pt x="18277" y="14339"/>
                    <a:pt x="18405" y="14158"/>
                    <a:pt x="18405" y="14158"/>
                  </a:cubicBezTo>
                  <a:cubicBezTo>
                    <a:pt x="18405" y="14158"/>
                    <a:pt x="18660" y="13795"/>
                    <a:pt x="18788" y="13795"/>
                  </a:cubicBezTo>
                  <a:cubicBezTo>
                    <a:pt x="19044" y="13613"/>
                    <a:pt x="18916" y="13432"/>
                    <a:pt x="19172" y="13613"/>
                  </a:cubicBezTo>
                  <a:cubicBezTo>
                    <a:pt x="19427" y="13976"/>
                    <a:pt x="19938" y="13613"/>
                    <a:pt x="19938" y="13613"/>
                  </a:cubicBezTo>
                  <a:cubicBezTo>
                    <a:pt x="20194" y="13613"/>
                    <a:pt x="20194" y="13613"/>
                    <a:pt x="20194" y="13613"/>
                  </a:cubicBezTo>
                  <a:cubicBezTo>
                    <a:pt x="20194" y="14158"/>
                    <a:pt x="20194" y="14158"/>
                    <a:pt x="20194" y="14158"/>
                  </a:cubicBezTo>
                  <a:cubicBezTo>
                    <a:pt x="20194" y="14703"/>
                    <a:pt x="20194" y="14703"/>
                    <a:pt x="20194" y="14703"/>
                  </a:cubicBezTo>
                  <a:cubicBezTo>
                    <a:pt x="19811" y="15066"/>
                    <a:pt x="19811" y="15066"/>
                    <a:pt x="19811" y="15066"/>
                  </a:cubicBezTo>
                  <a:cubicBezTo>
                    <a:pt x="19683" y="15247"/>
                    <a:pt x="19683" y="15247"/>
                    <a:pt x="19683" y="15247"/>
                  </a:cubicBezTo>
                  <a:cubicBezTo>
                    <a:pt x="19683" y="15247"/>
                    <a:pt x="19683" y="15429"/>
                    <a:pt x="19683" y="15610"/>
                  </a:cubicBezTo>
                  <a:cubicBezTo>
                    <a:pt x="19811" y="15610"/>
                    <a:pt x="19938" y="15792"/>
                    <a:pt x="19938" y="15792"/>
                  </a:cubicBezTo>
                  <a:cubicBezTo>
                    <a:pt x="20450" y="15973"/>
                    <a:pt x="20450" y="15973"/>
                    <a:pt x="20450" y="15973"/>
                  </a:cubicBezTo>
                  <a:cubicBezTo>
                    <a:pt x="20833" y="16336"/>
                    <a:pt x="20833" y="16336"/>
                    <a:pt x="20833" y="16336"/>
                  </a:cubicBezTo>
                  <a:cubicBezTo>
                    <a:pt x="20833" y="16336"/>
                    <a:pt x="20833" y="16881"/>
                    <a:pt x="20961" y="16881"/>
                  </a:cubicBezTo>
                  <a:cubicBezTo>
                    <a:pt x="21089" y="16881"/>
                    <a:pt x="21344" y="17062"/>
                    <a:pt x="21344" y="17062"/>
                  </a:cubicBezTo>
                  <a:cubicBezTo>
                    <a:pt x="21344" y="17062"/>
                    <a:pt x="20833" y="17607"/>
                    <a:pt x="20705" y="17607"/>
                  </a:cubicBezTo>
                  <a:cubicBezTo>
                    <a:pt x="20578" y="17607"/>
                    <a:pt x="20194" y="17425"/>
                    <a:pt x="20194" y="17425"/>
                  </a:cubicBezTo>
                  <a:cubicBezTo>
                    <a:pt x="20322" y="18151"/>
                    <a:pt x="20322" y="18151"/>
                    <a:pt x="20322" y="18151"/>
                  </a:cubicBezTo>
                  <a:cubicBezTo>
                    <a:pt x="20833" y="18151"/>
                    <a:pt x="20833" y="18151"/>
                    <a:pt x="20833" y="18151"/>
                  </a:cubicBezTo>
                  <a:cubicBezTo>
                    <a:pt x="20833" y="18151"/>
                    <a:pt x="20833" y="18151"/>
                    <a:pt x="20961" y="18333"/>
                  </a:cubicBezTo>
                  <a:cubicBezTo>
                    <a:pt x="20961" y="18514"/>
                    <a:pt x="21089" y="18696"/>
                    <a:pt x="21089" y="18696"/>
                  </a:cubicBezTo>
                  <a:cubicBezTo>
                    <a:pt x="21089" y="18696"/>
                    <a:pt x="21600" y="18514"/>
                    <a:pt x="21600" y="19240"/>
                  </a:cubicBezTo>
                  <a:cubicBezTo>
                    <a:pt x="21472" y="19422"/>
                    <a:pt x="21344" y="19966"/>
                    <a:pt x="21344" y="20148"/>
                  </a:cubicBezTo>
                  <a:cubicBezTo>
                    <a:pt x="21472" y="20148"/>
                    <a:pt x="21472" y="20329"/>
                    <a:pt x="21472" y="20329"/>
                  </a:cubicBezTo>
                  <a:cubicBezTo>
                    <a:pt x="21217" y="20692"/>
                    <a:pt x="21217" y="20692"/>
                    <a:pt x="21217" y="20692"/>
                  </a:cubicBezTo>
                  <a:cubicBezTo>
                    <a:pt x="20705" y="20692"/>
                    <a:pt x="20705" y="20692"/>
                    <a:pt x="20705" y="20692"/>
                  </a:cubicBezTo>
                  <a:cubicBezTo>
                    <a:pt x="20194" y="21055"/>
                    <a:pt x="20194" y="21055"/>
                    <a:pt x="20194" y="21055"/>
                  </a:cubicBezTo>
                  <a:cubicBezTo>
                    <a:pt x="19938" y="21418"/>
                    <a:pt x="19938" y="21418"/>
                    <a:pt x="19938" y="21418"/>
                  </a:cubicBezTo>
                  <a:cubicBezTo>
                    <a:pt x="19683" y="21600"/>
                    <a:pt x="19683" y="21600"/>
                    <a:pt x="19683" y="21600"/>
                  </a:cubicBezTo>
                  <a:cubicBezTo>
                    <a:pt x="19299" y="20874"/>
                    <a:pt x="19299" y="20874"/>
                    <a:pt x="19299" y="20874"/>
                  </a:cubicBezTo>
                  <a:cubicBezTo>
                    <a:pt x="18533" y="19966"/>
                    <a:pt x="18533" y="19966"/>
                    <a:pt x="18533" y="19966"/>
                  </a:cubicBezTo>
                  <a:cubicBezTo>
                    <a:pt x="18149" y="19422"/>
                    <a:pt x="18149" y="19422"/>
                    <a:pt x="18149" y="19422"/>
                  </a:cubicBezTo>
                  <a:cubicBezTo>
                    <a:pt x="17893" y="18696"/>
                    <a:pt x="17893" y="18696"/>
                    <a:pt x="17893" y="18696"/>
                  </a:cubicBezTo>
                  <a:cubicBezTo>
                    <a:pt x="17893" y="18151"/>
                    <a:pt x="17893" y="18151"/>
                    <a:pt x="17893" y="18151"/>
                  </a:cubicBezTo>
                  <a:cubicBezTo>
                    <a:pt x="17638" y="17788"/>
                    <a:pt x="17638" y="17788"/>
                    <a:pt x="17638" y="17788"/>
                  </a:cubicBezTo>
                  <a:cubicBezTo>
                    <a:pt x="17638" y="17788"/>
                    <a:pt x="17510" y="17788"/>
                    <a:pt x="17254" y="17788"/>
                  </a:cubicBezTo>
                  <a:cubicBezTo>
                    <a:pt x="17127" y="17788"/>
                    <a:pt x="16743" y="17607"/>
                    <a:pt x="16743" y="17607"/>
                  </a:cubicBezTo>
                  <a:cubicBezTo>
                    <a:pt x="16488" y="17607"/>
                    <a:pt x="16488" y="17607"/>
                    <a:pt x="16488" y="17607"/>
                  </a:cubicBezTo>
                  <a:cubicBezTo>
                    <a:pt x="16488" y="16699"/>
                    <a:pt x="16488" y="16699"/>
                    <a:pt x="16488" y="16699"/>
                  </a:cubicBezTo>
                  <a:cubicBezTo>
                    <a:pt x="16488" y="16699"/>
                    <a:pt x="16360" y="15973"/>
                    <a:pt x="16232" y="15973"/>
                  </a:cubicBezTo>
                  <a:cubicBezTo>
                    <a:pt x="16232" y="15792"/>
                    <a:pt x="16104" y="15429"/>
                    <a:pt x="16104" y="15429"/>
                  </a:cubicBezTo>
                  <a:cubicBezTo>
                    <a:pt x="16104" y="15429"/>
                    <a:pt x="15721" y="15610"/>
                    <a:pt x="15465" y="15610"/>
                  </a:cubicBezTo>
                  <a:cubicBezTo>
                    <a:pt x="15337" y="15792"/>
                    <a:pt x="15082" y="15973"/>
                    <a:pt x="14954" y="16155"/>
                  </a:cubicBezTo>
                  <a:cubicBezTo>
                    <a:pt x="14826" y="16336"/>
                    <a:pt x="14570" y="16518"/>
                    <a:pt x="14570" y="16518"/>
                  </a:cubicBezTo>
                  <a:cubicBezTo>
                    <a:pt x="13931" y="16881"/>
                    <a:pt x="13931" y="16881"/>
                    <a:pt x="13931" y="16881"/>
                  </a:cubicBezTo>
                  <a:cubicBezTo>
                    <a:pt x="13548" y="16518"/>
                    <a:pt x="13548" y="16518"/>
                    <a:pt x="13548" y="16518"/>
                  </a:cubicBezTo>
                  <a:cubicBezTo>
                    <a:pt x="12909" y="16336"/>
                    <a:pt x="12909" y="16336"/>
                    <a:pt x="12909" y="16336"/>
                  </a:cubicBezTo>
                  <a:cubicBezTo>
                    <a:pt x="12653" y="17062"/>
                    <a:pt x="12653" y="17062"/>
                    <a:pt x="12653" y="17062"/>
                  </a:cubicBezTo>
                  <a:cubicBezTo>
                    <a:pt x="12653" y="17062"/>
                    <a:pt x="12525" y="16699"/>
                    <a:pt x="12398" y="16518"/>
                  </a:cubicBezTo>
                  <a:cubicBezTo>
                    <a:pt x="12398" y="16155"/>
                    <a:pt x="12270" y="15610"/>
                    <a:pt x="12270" y="15610"/>
                  </a:cubicBezTo>
                  <a:cubicBezTo>
                    <a:pt x="12270" y="15610"/>
                    <a:pt x="12142" y="15429"/>
                    <a:pt x="12014" y="15429"/>
                  </a:cubicBezTo>
                  <a:cubicBezTo>
                    <a:pt x="11886" y="15429"/>
                    <a:pt x="11631" y="15247"/>
                    <a:pt x="11631" y="15247"/>
                  </a:cubicBezTo>
                  <a:cubicBezTo>
                    <a:pt x="11247" y="15247"/>
                    <a:pt x="11247" y="15247"/>
                    <a:pt x="11247" y="15247"/>
                  </a:cubicBezTo>
                  <a:cubicBezTo>
                    <a:pt x="10864" y="15973"/>
                    <a:pt x="10864" y="15973"/>
                    <a:pt x="10864" y="15973"/>
                  </a:cubicBezTo>
                  <a:cubicBezTo>
                    <a:pt x="10225" y="16336"/>
                    <a:pt x="10225" y="16336"/>
                    <a:pt x="10225" y="16336"/>
                  </a:cubicBezTo>
                  <a:cubicBezTo>
                    <a:pt x="9714" y="15973"/>
                    <a:pt x="9714" y="15973"/>
                    <a:pt x="9714" y="15973"/>
                  </a:cubicBezTo>
                  <a:cubicBezTo>
                    <a:pt x="9714" y="15973"/>
                    <a:pt x="9586" y="15610"/>
                    <a:pt x="9458" y="15792"/>
                  </a:cubicBezTo>
                  <a:cubicBezTo>
                    <a:pt x="9330" y="15792"/>
                    <a:pt x="8947" y="15610"/>
                    <a:pt x="8947" y="15610"/>
                  </a:cubicBezTo>
                  <a:cubicBezTo>
                    <a:pt x="8947" y="15610"/>
                    <a:pt x="8819" y="15429"/>
                    <a:pt x="8819" y="15247"/>
                  </a:cubicBezTo>
                  <a:cubicBezTo>
                    <a:pt x="8819" y="15066"/>
                    <a:pt x="8436" y="14703"/>
                    <a:pt x="8436" y="14703"/>
                  </a:cubicBezTo>
                  <a:cubicBezTo>
                    <a:pt x="8436" y="14703"/>
                    <a:pt x="7924" y="14339"/>
                    <a:pt x="7796" y="14339"/>
                  </a:cubicBezTo>
                  <a:cubicBezTo>
                    <a:pt x="7669" y="14521"/>
                    <a:pt x="7285" y="14521"/>
                    <a:pt x="7157" y="14521"/>
                  </a:cubicBezTo>
                  <a:cubicBezTo>
                    <a:pt x="6902" y="14521"/>
                    <a:pt x="6263" y="14339"/>
                    <a:pt x="6263" y="14339"/>
                  </a:cubicBezTo>
                  <a:cubicBezTo>
                    <a:pt x="5751" y="14884"/>
                    <a:pt x="5751" y="14884"/>
                    <a:pt x="5751" y="14884"/>
                  </a:cubicBezTo>
                  <a:cubicBezTo>
                    <a:pt x="5751" y="14884"/>
                    <a:pt x="5496" y="14884"/>
                    <a:pt x="5240" y="15066"/>
                  </a:cubicBezTo>
                  <a:cubicBezTo>
                    <a:pt x="5112" y="15066"/>
                    <a:pt x="4857" y="15247"/>
                    <a:pt x="4857" y="15247"/>
                  </a:cubicBezTo>
                  <a:cubicBezTo>
                    <a:pt x="4857" y="15247"/>
                    <a:pt x="4346" y="15066"/>
                    <a:pt x="4218" y="15066"/>
                  </a:cubicBezTo>
                  <a:cubicBezTo>
                    <a:pt x="4090" y="15066"/>
                    <a:pt x="4090" y="15066"/>
                    <a:pt x="3834" y="15066"/>
                  </a:cubicBezTo>
                  <a:cubicBezTo>
                    <a:pt x="3579" y="15066"/>
                    <a:pt x="2940" y="15066"/>
                    <a:pt x="2940" y="15066"/>
                  </a:cubicBezTo>
                  <a:cubicBezTo>
                    <a:pt x="3323" y="14521"/>
                    <a:pt x="3323" y="14521"/>
                    <a:pt x="3323" y="14521"/>
                  </a:cubicBezTo>
                  <a:cubicBezTo>
                    <a:pt x="3323" y="14521"/>
                    <a:pt x="3451" y="14158"/>
                    <a:pt x="3323" y="13976"/>
                  </a:cubicBezTo>
                  <a:cubicBezTo>
                    <a:pt x="3195" y="13795"/>
                    <a:pt x="3195" y="13613"/>
                    <a:pt x="3067" y="13613"/>
                  </a:cubicBezTo>
                  <a:cubicBezTo>
                    <a:pt x="2940" y="13432"/>
                    <a:pt x="2556" y="13069"/>
                    <a:pt x="2556" y="13069"/>
                  </a:cubicBezTo>
                  <a:cubicBezTo>
                    <a:pt x="2556" y="13069"/>
                    <a:pt x="2556" y="13069"/>
                    <a:pt x="2556" y="12887"/>
                  </a:cubicBezTo>
                  <a:cubicBezTo>
                    <a:pt x="2428" y="12706"/>
                    <a:pt x="2301" y="12161"/>
                    <a:pt x="2301" y="12161"/>
                  </a:cubicBezTo>
                  <a:cubicBezTo>
                    <a:pt x="2173" y="11798"/>
                    <a:pt x="2173" y="11798"/>
                    <a:pt x="2173" y="11798"/>
                  </a:cubicBezTo>
                  <a:cubicBezTo>
                    <a:pt x="2173" y="11798"/>
                    <a:pt x="1789" y="11435"/>
                    <a:pt x="1917" y="11072"/>
                  </a:cubicBezTo>
                  <a:cubicBezTo>
                    <a:pt x="2045" y="10709"/>
                    <a:pt x="2301" y="9802"/>
                    <a:pt x="2301" y="9802"/>
                  </a:cubicBezTo>
                  <a:cubicBezTo>
                    <a:pt x="2428" y="8894"/>
                    <a:pt x="2428" y="8894"/>
                    <a:pt x="2428" y="8894"/>
                  </a:cubicBezTo>
                  <a:cubicBezTo>
                    <a:pt x="2301" y="8350"/>
                    <a:pt x="2301" y="8350"/>
                    <a:pt x="2301" y="8350"/>
                  </a:cubicBezTo>
                  <a:cubicBezTo>
                    <a:pt x="2045" y="7805"/>
                    <a:pt x="2045" y="7805"/>
                    <a:pt x="2045" y="7805"/>
                  </a:cubicBezTo>
                  <a:cubicBezTo>
                    <a:pt x="2045" y="7805"/>
                    <a:pt x="1917" y="7805"/>
                    <a:pt x="1789" y="7442"/>
                  </a:cubicBezTo>
                  <a:cubicBezTo>
                    <a:pt x="1789" y="6897"/>
                    <a:pt x="1789" y="6897"/>
                    <a:pt x="1662" y="6716"/>
                  </a:cubicBezTo>
                  <a:cubicBezTo>
                    <a:pt x="1534" y="6353"/>
                    <a:pt x="1022" y="6171"/>
                    <a:pt x="1022" y="6171"/>
                  </a:cubicBezTo>
                  <a:cubicBezTo>
                    <a:pt x="383" y="6171"/>
                    <a:pt x="383" y="6171"/>
                    <a:pt x="383" y="6171"/>
                  </a:cubicBezTo>
                  <a:lnTo>
                    <a:pt x="256" y="599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7" name="Shape 2240">
              <a:extLst>
                <a:ext uri="{FF2B5EF4-FFF2-40B4-BE49-F238E27FC236}">
                  <a16:creationId xmlns:a16="http://schemas.microsoft.com/office/drawing/2014/main" id="{1FB01216-8891-CA61-1039-F6B1FF01CA73}"/>
                </a:ext>
              </a:extLst>
            </p:cNvPr>
            <p:cNvSpPr/>
            <p:nvPr/>
          </p:nvSpPr>
          <p:spPr>
            <a:xfrm>
              <a:off x="4648834" y="5410129"/>
              <a:ext cx="990214" cy="680363"/>
            </a:xfrm>
            <a:custGeom>
              <a:avLst/>
              <a:gdLst/>
              <a:ahLst/>
              <a:cxnLst>
                <a:cxn ang="0">
                  <a:pos x="wd2" y="hd2"/>
                </a:cxn>
                <a:cxn ang="5400000">
                  <a:pos x="wd2" y="hd2"/>
                </a:cxn>
                <a:cxn ang="10800000">
                  <a:pos x="wd2" y="hd2"/>
                </a:cxn>
                <a:cxn ang="16200000">
                  <a:pos x="wd2" y="hd2"/>
                </a:cxn>
              </a:cxnLst>
              <a:rect l="0" t="0" r="r" b="b"/>
              <a:pathLst>
                <a:path w="21600" h="21600" extrusionOk="0">
                  <a:moveTo>
                    <a:pt x="2520" y="7751"/>
                  </a:moveTo>
                  <a:cubicBezTo>
                    <a:pt x="2520" y="7751"/>
                    <a:pt x="2520" y="7751"/>
                    <a:pt x="2520" y="7751"/>
                  </a:cubicBezTo>
                  <a:cubicBezTo>
                    <a:pt x="2520" y="7751"/>
                    <a:pt x="2520" y="7751"/>
                    <a:pt x="2520" y="7751"/>
                  </a:cubicBezTo>
                  <a:cubicBezTo>
                    <a:pt x="2520" y="7624"/>
                    <a:pt x="2520" y="7624"/>
                    <a:pt x="2520" y="7624"/>
                  </a:cubicBezTo>
                  <a:cubicBezTo>
                    <a:pt x="2520" y="7369"/>
                    <a:pt x="2520" y="7369"/>
                    <a:pt x="2520" y="7369"/>
                  </a:cubicBezTo>
                  <a:cubicBezTo>
                    <a:pt x="2790" y="6861"/>
                    <a:pt x="2790" y="6861"/>
                    <a:pt x="2790" y="6861"/>
                  </a:cubicBezTo>
                  <a:cubicBezTo>
                    <a:pt x="2790" y="6226"/>
                    <a:pt x="2790" y="6226"/>
                    <a:pt x="2790" y="6226"/>
                  </a:cubicBezTo>
                  <a:cubicBezTo>
                    <a:pt x="3510" y="6353"/>
                    <a:pt x="3510" y="6353"/>
                    <a:pt x="3510" y="6353"/>
                  </a:cubicBezTo>
                  <a:cubicBezTo>
                    <a:pt x="3960" y="6988"/>
                    <a:pt x="3960" y="6988"/>
                    <a:pt x="3960" y="6988"/>
                  </a:cubicBezTo>
                  <a:cubicBezTo>
                    <a:pt x="4590" y="7496"/>
                    <a:pt x="4590" y="7496"/>
                    <a:pt x="4590" y="7496"/>
                  </a:cubicBezTo>
                  <a:cubicBezTo>
                    <a:pt x="4950" y="7751"/>
                    <a:pt x="4950" y="7751"/>
                    <a:pt x="4950" y="7751"/>
                  </a:cubicBezTo>
                  <a:cubicBezTo>
                    <a:pt x="5760" y="7496"/>
                    <a:pt x="5760" y="7496"/>
                    <a:pt x="5760" y="7496"/>
                  </a:cubicBezTo>
                  <a:cubicBezTo>
                    <a:pt x="7290" y="7369"/>
                    <a:pt x="7290" y="7369"/>
                    <a:pt x="7290" y="7369"/>
                  </a:cubicBezTo>
                  <a:cubicBezTo>
                    <a:pt x="7290" y="7369"/>
                    <a:pt x="8100" y="7242"/>
                    <a:pt x="8190" y="7115"/>
                  </a:cubicBezTo>
                  <a:cubicBezTo>
                    <a:pt x="8280" y="6988"/>
                    <a:pt x="8820" y="6861"/>
                    <a:pt x="8640" y="6607"/>
                  </a:cubicBezTo>
                  <a:cubicBezTo>
                    <a:pt x="8460" y="6480"/>
                    <a:pt x="8100" y="6099"/>
                    <a:pt x="8100" y="6099"/>
                  </a:cubicBezTo>
                  <a:cubicBezTo>
                    <a:pt x="8100" y="5845"/>
                    <a:pt x="8100" y="5845"/>
                    <a:pt x="8100" y="5845"/>
                  </a:cubicBezTo>
                  <a:cubicBezTo>
                    <a:pt x="8550" y="5209"/>
                    <a:pt x="8550" y="5209"/>
                    <a:pt x="8550" y="5209"/>
                  </a:cubicBezTo>
                  <a:cubicBezTo>
                    <a:pt x="9360" y="4828"/>
                    <a:pt x="9360" y="4828"/>
                    <a:pt x="9360" y="4828"/>
                  </a:cubicBezTo>
                  <a:cubicBezTo>
                    <a:pt x="9990" y="4701"/>
                    <a:pt x="9990" y="4701"/>
                    <a:pt x="9990" y="4701"/>
                  </a:cubicBezTo>
                  <a:cubicBezTo>
                    <a:pt x="10350" y="4574"/>
                    <a:pt x="10350" y="4574"/>
                    <a:pt x="10350" y="4574"/>
                  </a:cubicBezTo>
                  <a:cubicBezTo>
                    <a:pt x="10530" y="3812"/>
                    <a:pt x="10530" y="3812"/>
                    <a:pt x="10530" y="3812"/>
                  </a:cubicBezTo>
                  <a:cubicBezTo>
                    <a:pt x="11070" y="3685"/>
                    <a:pt x="11070" y="3685"/>
                    <a:pt x="11070" y="3685"/>
                  </a:cubicBezTo>
                  <a:cubicBezTo>
                    <a:pt x="11430" y="3812"/>
                    <a:pt x="11430" y="3812"/>
                    <a:pt x="11430" y="3812"/>
                  </a:cubicBezTo>
                  <a:cubicBezTo>
                    <a:pt x="11970" y="3812"/>
                    <a:pt x="11970" y="3812"/>
                    <a:pt x="11970" y="3812"/>
                  </a:cubicBezTo>
                  <a:cubicBezTo>
                    <a:pt x="12240" y="3304"/>
                    <a:pt x="12240" y="3304"/>
                    <a:pt x="12240" y="3304"/>
                  </a:cubicBezTo>
                  <a:cubicBezTo>
                    <a:pt x="12510" y="3049"/>
                    <a:pt x="12510" y="3049"/>
                    <a:pt x="12510" y="3049"/>
                  </a:cubicBezTo>
                  <a:cubicBezTo>
                    <a:pt x="12870" y="2795"/>
                    <a:pt x="12870" y="2795"/>
                    <a:pt x="12870" y="2795"/>
                  </a:cubicBezTo>
                  <a:cubicBezTo>
                    <a:pt x="13140" y="2033"/>
                    <a:pt x="13140" y="2033"/>
                    <a:pt x="13140" y="2033"/>
                  </a:cubicBezTo>
                  <a:cubicBezTo>
                    <a:pt x="13320" y="1144"/>
                    <a:pt x="13320" y="1144"/>
                    <a:pt x="13320" y="1144"/>
                  </a:cubicBezTo>
                  <a:cubicBezTo>
                    <a:pt x="13410" y="762"/>
                    <a:pt x="13410" y="762"/>
                    <a:pt x="13410" y="762"/>
                  </a:cubicBezTo>
                  <a:cubicBezTo>
                    <a:pt x="14670" y="254"/>
                    <a:pt x="14670" y="254"/>
                    <a:pt x="14670" y="254"/>
                  </a:cubicBezTo>
                  <a:cubicBezTo>
                    <a:pt x="15120" y="635"/>
                    <a:pt x="15120" y="635"/>
                    <a:pt x="15120" y="635"/>
                  </a:cubicBezTo>
                  <a:cubicBezTo>
                    <a:pt x="15750" y="508"/>
                    <a:pt x="15750" y="508"/>
                    <a:pt x="15750" y="508"/>
                  </a:cubicBezTo>
                  <a:cubicBezTo>
                    <a:pt x="16200" y="0"/>
                    <a:pt x="16200" y="0"/>
                    <a:pt x="16200" y="0"/>
                  </a:cubicBezTo>
                  <a:cubicBezTo>
                    <a:pt x="16740" y="127"/>
                    <a:pt x="16740" y="127"/>
                    <a:pt x="16740" y="127"/>
                  </a:cubicBezTo>
                  <a:cubicBezTo>
                    <a:pt x="17460" y="1144"/>
                    <a:pt x="17460" y="1144"/>
                    <a:pt x="17460" y="1144"/>
                  </a:cubicBezTo>
                  <a:cubicBezTo>
                    <a:pt x="18180" y="1144"/>
                    <a:pt x="18180" y="1144"/>
                    <a:pt x="18180" y="1144"/>
                  </a:cubicBezTo>
                  <a:cubicBezTo>
                    <a:pt x="18630" y="762"/>
                    <a:pt x="18630" y="762"/>
                    <a:pt x="18630" y="762"/>
                  </a:cubicBezTo>
                  <a:cubicBezTo>
                    <a:pt x="19080" y="508"/>
                    <a:pt x="19080" y="508"/>
                    <a:pt x="19080" y="508"/>
                  </a:cubicBezTo>
                  <a:cubicBezTo>
                    <a:pt x="19350" y="889"/>
                    <a:pt x="19350" y="889"/>
                    <a:pt x="19350" y="889"/>
                  </a:cubicBezTo>
                  <a:cubicBezTo>
                    <a:pt x="19620" y="1398"/>
                    <a:pt x="19620" y="1398"/>
                    <a:pt x="19620" y="1398"/>
                  </a:cubicBezTo>
                  <a:cubicBezTo>
                    <a:pt x="20070" y="1271"/>
                    <a:pt x="20070" y="1271"/>
                    <a:pt x="20070" y="1271"/>
                  </a:cubicBezTo>
                  <a:cubicBezTo>
                    <a:pt x="20340" y="1779"/>
                    <a:pt x="20340" y="1779"/>
                    <a:pt x="20340" y="1779"/>
                  </a:cubicBezTo>
                  <a:cubicBezTo>
                    <a:pt x="20610" y="2160"/>
                    <a:pt x="20610" y="2160"/>
                    <a:pt x="20610" y="2160"/>
                  </a:cubicBezTo>
                  <a:cubicBezTo>
                    <a:pt x="21060" y="2033"/>
                    <a:pt x="21060" y="2033"/>
                    <a:pt x="21060" y="2033"/>
                  </a:cubicBezTo>
                  <a:cubicBezTo>
                    <a:pt x="21510" y="2414"/>
                    <a:pt x="21510" y="2414"/>
                    <a:pt x="21510" y="2414"/>
                  </a:cubicBezTo>
                  <a:cubicBezTo>
                    <a:pt x="21420" y="2922"/>
                    <a:pt x="21420" y="2922"/>
                    <a:pt x="21420" y="2922"/>
                  </a:cubicBezTo>
                  <a:cubicBezTo>
                    <a:pt x="21600" y="3558"/>
                    <a:pt x="21600" y="3558"/>
                    <a:pt x="21600" y="3558"/>
                  </a:cubicBezTo>
                  <a:cubicBezTo>
                    <a:pt x="21330" y="3939"/>
                    <a:pt x="21330" y="3939"/>
                    <a:pt x="21330" y="3939"/>
                  </a:cubicBezTo>
                  <a:cubicBezTo>
                    <a:pt x="21330" y="3939"/>
                    <a:pt x="21240" y="4193"/>
                    <a:pt x="21060" y="4193"/>
                  </a:cubicBezTo>
                  <a:cubicBezTo>
                    <a:pt x="20970" y="4320"/>
                    <a:pt x="20790" y="4447"/>
                    <a:pt x="20790" y="4447"/>
                  </a:cubicBezTo>
                  <a:cubicBezTo>
                    <a:pt x="20520" y="4828"/>
                    <a:pt x="20520" y="4828"/>
                    <a:pt x="20520" y="4828"/>
                  </a:cubicBezTo>
                  <a:cubicBezTo>
                    <a:pt x="20160" y="4955"/>
                    <a:pt x="20160" y="4955"/>
                    <a:pt x="20160" y="4955"/>
                  </a:cubicBezTo>
                  <a:cubicBezTo>
                    <a:pt x="19890" y="5082"/>
                    <a:pt x="19890" y="5082"/>
                    <a:pt x="19890" y="5082"/>
                  </a:cubicBezTo>
                  <a:cubicBezTo>
                    <a:pt x="19710" y="5336"/>
                    <a:pt x="19710" y="5336"/>
                    <a:pt x="19710" y="5336"/>
                  </a:cubicBezTo>
                  <a:cubicBezTo>
                    <a:pt x="19530" y="6099"/>
                    <a:pt x="19530" y="6099"/>
                    <a:pt x="19530" y="6099"/>
                  </a:cubicBezTo>
                  <a:cubicBezTo>
                    <a:pt x="19260" y="6480"/>
                    <a:pt x="19260" y="6480"/>
                    <a:pt x="19260" y="6480"/>
                  </a:cubicBezTo>
                  <a:cubicBezTo>
                    <a:pt x="19170" y="7115"/>
                    <a:pt x="19170" y="7115"/>
                    <a:pt x="19170" y="7115"/>
                  </a:cubicBezTo>
                  <a:cubicBezTo>
                    <a:pt x="19170" y="7115"/>
                    <a:pt x="19350" y="7751"/>
                    <a:pt x="19170" y="7878"/>
                  </a:cubicBezTo>
                  <a:cubicBezTo>
                    <a:pt x="19080" y="7878"/>
                    <a:pt x="18990" y="8005"/>
                    <a:pt x="18990" y="8005"/>
                  </a:cubicBezTo>
                  <a:cubicBezTo>
                    <a:pt x="18900" y="9021"/>
                    <a:pt x="18900" y="9021"/>
                    <a:pt x="18900" y="9021"/>
                  </a:cubicBezTo>
                  <a:cubicBezTo>
                    <a:pt x="18540" y="9529"/>
                    <a:pt x="18540" y="9529"/>
                    <a:pt x="18540" y="9529"/>
                  </a:cubicBezTo>
                  <a:cubicBezTo>
                    <a:pt x="18450" y="10546"/>
                    <a:pt x="18450" y="10546"/>
                    <a:pt x="18450" y="10546"/>
                  </a:cubicBezTo>
                  <a:cubicBezTo>
                    <a:pt x="18450" y="10546"/>
                    <a:pt x="18630" y="11054"/>
                    <a:pt x="18360" y="11054"/>
                  </a:cubicBezTo>
                  <a:cubicBezTo>
                    <a:pt x="18180" y="11181"/>
                    <a:pt x="18090" y="11435"/>
                    <a:pt x="18090" y="11435"/>
                  </a:cubicBezTo>
                  <a:cubicBezTo>
                    <a:pt x="18090" y="12325"/>
                    <a:pt x="18090" y="12325"/>
                    <a:pt x="18090" y="12325"/>
                  </a:cubicBezTo>
                  <a:cubicBezTo>
                    <a:pt x="17820" y="12960"/>
                    <a:pt x="17820" y="12960"/>
                    <a:pt x="17820" y="12960"/>
                  </a:cubicBezTo>
                  <a:cubicBezTo>
                    <a:pt x="17910" y="13468"/>
                    <a:pt x="17910" y="13468"/>
                    <a:pt x="17910" y="13468"/>
                  </a:cubicBezTo>
                  <a:cubicBezTo>
                    <a:pt x="17730" y="13849"/>
                    <a:pt x="17730" y="13849"/>
                    <a:pt x="17730" y="13849"/>
                  </a:cubicBezTo>
                  <a:cubicBezTo>
                    <a:pt x="17820" y="14485"/>
                    <a:pt x="17820" y="14485"/>
                    <a:pt x="17820" y="14485"/>
                  </a:cubicBezTo>
                  <a:cubicBezTo>
                    <a:pt x="17640" y="14866"/>
                    <a:pt x="17640" y="14866"/>
                    <a:pt x="17640" y="14866"/>
                  </a:cubicBezTo>
                  <a:cubicBezTo>
                    <a:pt x="17550" y="14993"/>
                    <a:pt x="17550" y="14993"/>
                    <a:pt x="17550" y="14993"/>
                  </a:cubicBezTo>
                  <a:cubicBezTo>
                    <a:pt x="17460" y="15374"/>
                    <a:pt x="17460" y="15374"/>
                    <a:pt x="17460" y="15374"/>
                  </a:cubicBezTo>
                  <a:cubicBezTo>
                    <a:pt x="17280" y="16009"/>
                    <a:pt x="17280" y="16009"/>
                    <a:pt x="17280" y="16009"/>
                  </a:cubicBezTo>
                  <a:cubicBezTo>
                    <a:pt x="16560" y="16899"/>
                    <a:pt x="16560" y="16899"/>
                    <a:pt x="16560" y="16899"/>
                  </a:cubicBezTo>
                  <a:cubicBezTo>
                    <a:pt x="16200" y="16772"/>
                    <a:pt x="16200" y="16772"/>
                    <a:pt x="16200" y="16772"/>
                  </a:cubicBezTo>
                  <a:cubicBezTo>
                    <a:pt x="15930" y="17153"/>
                    <a:pt x="15930" y="17153"/>
                    <a:pt x="15930" y="17153"/>
                  </a:cubicBezTo>
                  <a:cubicBezTo>
                    <a:pt x="15930" y="17153"/>
                    <a:pt x="16020" y="17153"/>
                    <a:pt x="15840" y="17407"/>
                  </a:cubicBezTo>
                  <a:cubicBezTo>
                    <a:pt x="15660" y="17534"/>
                    <a:pt x="15300" y="17661"/>
                    <a:pt x="15300" y="17661"/>
                  </a:cubicBezTo>
                  <a:cubicBezTo>
                    <a:pt x="15120" y="17661"/>
                    <a:pt x="15120" y="17661"/>
                    <a:pt x="15120" y="17661"/>
                  </a:cubicBezTo>
                  <a:cubicBezTo>
                    <a:pt x="14490" y="17661"/>
                    <a:pt x="14490" y="17661"/>
                    <a:pt x="14490" y="17661"/>
                  </a:cubicBezTo>
                  <a:cubicBezTo>
                    <a:pt x="14490" y="17661"/>
                    <a:pt x="14400" y="17534"/>
                    <a:pt x="14310" y="17661"/>
                  </a:cubicBezTo>
                  <a:cubicBezTo>
                    <a:pt x="14220" y="17661"/>
                    <a:pt x="13770" y="17661"/>
                    <a:pt x="13770" y="17661"/>
                  </a:cubicBezTo>
                  <a:cubicBezTo>
                    <a:pt x="13770" y="17661"/>
                    <a:pt x="13590" y="17534"/>
                    <a:pt x="13500" y="17534"/>
                  </a:cubicBezTo>
                  <a:cubicBezTo>
                    <a:pt x="13410" y="17534"/>
                    <a:pt x="12870" y="17661"/>
                    <a:pt x="12870" y="17661"/>
                  </a:cubicBezTo>
                  <a:cubicBezTo>
                    <a:pt x="12510" y="17915"/>
                    <a:pt x="12510" y="17915"/>
                    <a:pt x="12510" y="17915"/>
                  </a:cubicBezTo>
                  <a:cubicBezTo>
                    <a:pt x="12510" y="17915"/>
                    <a:pt x="12420" y="17661"/>
                    <a:pt x="12330" y="17788"/>
                  </a:cubicBezTo>
                  <a:cubicBezTo>
                    <a:pt x="12150" y="17788"/>
                    <a:pt x="11700" y="18042"/>
                    <a:pt x="11700" y="18042"/>
                  </a:cubicBezTo>
                  <a:cubicBezTo>
                    <a:pt x="11700" y="18042"/>
                    <a:pt x="11880" y="18296"/>
                    <a:pt x="11700" y="18296"/>
                  </a:cubicBezTo>
                  <a:cubicBezTo>
                    <a:pt x="11610" y="18296"/>
                    <a:pt x="11340" y="18805"/>
                    <a:pt x="11340" y="18805"/>
                  </a:cubicBezTo>
                  <a:cubicBezTo>
                    <a:pt x="11160" y="18932"/>
                    <a:pt x="11160" y="18932"/>
                    <a:pt x="11160" y="18932"/>
                  </a:cubicBezTo>
                  <a:cubicBezTo>
                    <a:pt x="11070" y="19313"/>
                    <a:pt x="11070" y="19313"/>
                    <a:pt x="11070" y="19313"/>
                  </a:cubicBezTo>
                  <a:cubicBezTo>
                    <a:pt x="11070" y="19313"/>
                    <a:pt x="10980" y="19313"/>
                    <a:pt x="10800" y="19313"/>
                  </a:cubicBezTo>
                  <a:cubicBezTo>
                    <a:pt x="10710" y="19313"/>
                    <a:pt x="10440" y="19440"/>
                    <a:pt x="10440" y="19440"/>
                  </a:cubicBezTo>
                  <a:cubicBezTo>
                    <a:pt x="10350" y="19313"/>
                    <a:pt x="10350" y="19313"/>
                    <a:pt x="10350" y="19313"/>
                  </a:cubicBezTo>
                  <a:cubicBezTo>
                    <a:pt x="9990" y="20075"/>
                    <a:pt x="9990" y="20075"/>
                    <a:pt x="9990" y="20075"/>
                  </a:cubicBezTo>
                  <a:cubicBezTo>
                    <a:pt x="9630" y="20329"/>
                    <a:pt x="9630" y="20329"/>
                    <a:pt x="9630" y="20329"/>
                  </a:cubicBezTo>
                  <a:cubicBezTo>
                    <a:pt x="9450" y="20202"/>
                    <a:pt x="9450" y="20202"/>
                    <a:pt x="9450" y="20202"/>
                  </a:cubicBezTo>
                  <a:cubicBezTo>
                    <a:pt x="9270" y="20838"/>
                    <a:pt x="9270" y="20838"/>
                    <a:pt x="9270" y="20838"/>
                  </a:cubicBezTo>
                  <a:cubicBezTo>
                    <a:pt x="9270" y="20838"/>
                    <a:pt x="9000" y="20965"/>
                    <a:pt x="9000" y="21092"/>
                  </a:cubicBezTo>
                  <a:cubicBezTo>
                    <a:pt x="8910" y="21219"/>
                    <a:pt x="8460" y="21219"/>
                    <a:pt x="8460" y="21219"/>
                  </a:cubicBezTo>
                  <a:cubicBezTo>
                    <a:pt x="8100" y="21219"/>
                    <a:pt x="8100" y="21219"/>
                    <a:pt x="8100" y="21219"/>
                  </a:cubicBezTo>
                  <a:cubicBezTo>
                    <a:pt x="7470" y="21473"/>
                    <a:pt x="7470" y="21473"/>
                    <a:pt x="7470" y="21473"/>
                  </a:cubicBezTo>
                  <a:cubicBezTo>
                    <a:pt x="7470" y="21473"/>
                    <a:pt x="7290" y="21600"/>
                    <a:pt x="7200" y="21600"/>
                  </a:cubicBezTo>
                  <a:cubicBezTo>
                    <a:pt x="7110" y="21600"/>
                    <a:pt x="6660" y="21473"/>
                    <a:pt x="6660" y="21473"/>
                  </a:cubicBezTo>
                  <a:cubicBezTo>
                    <a:pt x="6390" y="21600"/>
                    <a:pt x="6390" y="21600"/>
                    <a:pt x="6390" y="21600"/>
                  </a:cubicBezTo>
                  <a:cubicBezTo>
                    <a:pt x="5760" y="21346"/>
                    <a:pt x="5760" y="21346"/>
                    <a:pt x="5760" y="21346"/>
                  </a:cubicBezTo>
                  <a:cubicBezTo>
                    <a:pt x="5580" y="20965"/>
                    <a:pt x="5580" y="20965"/>
                    <a:pt x="5580" y="20965"/>
                  </a:cubicBezTo>
                  <a:cubicBezTo>
                    <a:pt x="5040" y="20838"/>
                    <a:pt x="5040" y="20838"/>
                    <a:pt x="5040" y="20838"/>
                  </a:cubicBezTo>
                  <a:cubicBezTo>
                    <a:pt x="4950" y="20584"/>
                    <a:pt x="4950" y="20584"/>
                    <a:pt x="4950" y="20584"/>
                  </a:cubicBezTo>
                  <a:cubicBezTo>
                    <a:pt x="4590" y="20584"/>
                    <a:pt x="4590" y="20584"/>
                    <a:pt x="4590" y="20584"/>
                  </a:cubicBezTo>
                  <a:cubicBezTo>
                    <a:pt x="4230" y="20075"/>
                    <a:pt x="4230" y="20075"/>
                    <a:pt x="4230" y="20075"/>
                  </a:cubicBezTo>
                  <a:cubicBezTo>
                    <a:pt x="3780" y="19313"/>
                    <a:pt x="3780" y="19313"/>
                    <a:pt x="3780" y="19313"/>
                  </a:cubicBezTo>
                  <a:cubicBezTo>
                    <a:pt x="2880" y="18932"/>
                    <a:pt x="2880" y="18932"/>
                    <a:pt x="2880" y="18932"/>
                  </a:cubicBezTo>
                  <a:cubicBezTo>
                    <a:pt x="2610" y="18424"/>
                    <a:pt x="2610" y="18424"/>
                    <a:pt x="2610" y="18424"/>
                  </a:cubicBezTo>
                  <a:cubicBezTo>
                    <a:pt x="2340" y="18169"/>
                    <a:pt x="2340" y="18169"/>
                    <a:pt x="2340" y="18169"/>
                  </a:cubicBezTo>
                  <a:cubicBezTo>
                    <a:pt x="1980" y="17788"/>
                    <a:pt x="1980" y="17788"/>
                    <a:pt x="1980" y="17788"/>
                  </a:cubicBezTo>
                  <a:cubicBezTo>
                    <a:pt x="1620" y="17407"/>
                    <a:pt x="1620" y="17407"/>
                    <a:pt x="1620" y="17407"/>
                  </a:cubicBezTo>
                  <a:cubicBezTo>
                    <a:pt x="1440" y="17153"/>
                    <a:pt x="1440" y="17153"/>
                    <a:pt x="1440" y="17153"/>
                  </a:cubicBezTo>
                  <a:cubicBezTo>
                    <a:pt x="900" y="16136"/>
                    <a:pt x="900" y="16136"/>
                    <a:pt x="900" y="16136"/>
                  </a:cubicBezTo>
                  <a:cubicBezTo>
                    <a:pt x="900" y="15882"/>
                    <a:pt x="900" y="15882"/>
                    <a:pt x="900" y="15882"/>
                  </a:cubicBezTo>
                  <a:cubicBezTo>
                    <a:pt x="630" y="15374"/>
                    <a:pt x="630" y="15374"/>
                    <a:pt x="630" y="15374"/>
                  </a:cubicBezTo>
                  <a:cubicBezTo>
                    <a:pt x="540" y="14866"/>
                    <a:pt x="540" y="14866"/>
                    <a:pt x="540" y="14866"/>
                  </a:cubicBezTo>
                  <a:cubicBezTo>
                    <a:pt x="360" y="14612"/>
                    <a:pt x="360" y="14612"/>
                    <a:pt x="360" y="14612"/>
                  </a:cubicBezTo>
                  <a:cubicBezTo>
                    <a:pt x="0" y="14866"/>
                    <a:pt x="0" y="14866"/>
                    <a:pt x="0" y="14866"/>
                  </a:cubicBezTo>
                  <a:cubicBezTo>
                    <a:pt x="0" y="14866"/>
                    <a:pt x="0" y="14866"/>
                    <a:pt x="0" y="14866"/>
                  </a:cubicBezTo>
                  <a:cubicBezTo>
                    <a:pt x="0" y="14739"/>
                    <a:pt x="0" y="14739"/>
                    <a:pt x="0" y="14739"/>
                  </a:cubicBezTo>
                  <a:cubicBezTo>
                    <a:pt x="270" y="13849"/>
                    <a:pt x="270" y="13849"/>
                    <a:pt x="270" y="13849"/>
                  </a:cubicBezTo>
                  <a:cubicBezTo>
                    <a:pt x="540" y="13722"/>
                    <a:pt x="540" y="13722"/>
                    <a:pt x="540" y="13722"/>
                  </a:cubicBezTo>
                  <a:cubicBezTo>
                    <a:pt x="810" y="13087"/>
                    <a:pt x="810" y="13087"/>
                    <a:pt x="810" y="13087"/>
                  </a:cubicBezTo>
                  <a:cubicBezTo>
                    <a:pt x="720" y="12325"/>
                    <a:pt x="720" y="12325"/>
                    <a:pt x="720" y="12325"/>
                  </a:cubicBezTo>
                  <a:cubicBezTo>
                    <a:pt x="720" y="12071"/>
                    <a:pt x="720" y="12071"/>
                    <a:pt x="720" y="12071"/>
                  </a:cubicBezTo>
                  <a:cubicBezTo>
                    <a:pt x="450" y="11308"/>
                    <a:pt x="450" y="11308"/>
                    <a:pt x="450" y="11308"/>
                  </a:cubicBezTo>
                  <a:cubicBezTo>
                    <a:pt x="450" y="11308"/>
                    <a:pt x="540" y="11181"/>
                    <a:pt x="630" y="11181"/>
                  </a:cubicBezTo>
                  <a:cubicBezTo>
                    <a:pt x="720" y="11181"/>
                    <a:pt x="990" y="10927"/>
                    <a:pt x="990" y="10927"/>
                  </a:cubicBezTo>
                  <a:cubicBezTo>
                    <a:pt x="1530" y="10419"/>
                    <a:pt x="1530" y="10419"/>
                    <a:pt x="1530" y="10419"/>
                  </a:cubicBezTo>
                  <a:cubicBezTo>
                    <a:pt x="1080" y="9402"/>
                    <a:pt x="1080" y="9402"/>
                    <a:pt x="1080" y="9402"/>
                  </a:cubicBezTo>
                  <a:cubicBezTo>
                    <a:pt x="900" y="9402"/>
                    <a:pt x="900" y="9402"/>
                    <a:pt x="900" y="9402"/>
                  </a:cubicBezTo>
                  <a:cubicBezTo>
                    <a:pt x="360" y="9148"/>
                    <a:pt x="360" y="9148"/>
                    <a:pt x="360" y="9148"/>
                  </a:cubicBezTo>
                  <a:cubicBezTo>
                    <a:pt x="720" y="8767"/>
                    <a:pt x="720" y="8767"/>
                    <a:pt x="720" y="8767"/>
                  </a:cubicBezTo>
                  <a:cubicBezTo>
                    <a:pt x="900" y="8513"/>
                    <a:pt x="900" y="8513"/>
                    <a:pt x="900" y="8513"/>
                  </a:cubicBezTo>
                  <a:cubicBezTo>
                    <a:pt x="1620" y="8894"/>
                    <a:pt x="1620" y="8894"/>
                    <a:pt x="1620" y="8894"/>
                  </a:cubicBezTo>
                  <a:cubicBezTo>
                    <a:pt x="1620" y="8894"/>
                    <a:pt x="1890" y="9021"/>
                    <a:pt x="1800" y="8894"/>
                  </a:cubicBezTo>
                  <a:cubicBezTo>
                    <a:pt x="1800" y="8513"/>
                    <a:pt x="1890" y="8767"/>
                    <a:pt x="1890" y="8767"/>
                  </a:cubicBezTo>
                  <a:cubicBezTo>
                    <a:pt x="1980" y="9021"/>
                    <a:pt x="2250" y="8767"/>
                    <a:pt x="2430" y="8767"/>
                  </a:cubicBezTo>
                  <a:cubicBezTo>
                    <a:pt x="2700" y="8640"/>
                    <a:pt x="2520" y="8386"/>
                    <a:pt x="2430" y="8132"/>
                  </a:cubicBezTo>
                  <a:cubicBezTo>
                    <a:pt x="2430" y="8005"/>
                    <a:pt x="2430" y="7878"/>
                    <a:pt x="2520" y="7751"/>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8" name="Shape 2241">
              <a:extLst>
                <a:ext uri="{FF2B5EF4-FFF2-40B4-BE49-F238E27FC236}">
                  <a16:creationId xmlns:a16="http://schemas.microsoft.com/office/drawing/2014/main" id="{2E1FEDA5-951B-1FF5-E1E4-E8B1102073C2}"/>
                </a:ext>
              </a:extLst>
            </p:cNvPr>
            <p:cNvSpPr/>
            <p:nvPr/>
          </p:nvSpPr>
          <p:spPr>
            <a:xfrm>
              <a:off x="5446176" y="3631166"/>
              <a:ext cx="1187065" cy="1079328"/>
            </a:xfrm>
            <a:custGeom>
              <a:avLst/>
              <a:gdLst/>
              <a:ahLst/>
              <a:cxnLst>
                <a:cxn ang="0">
                  <a:pos x="wd2" y="hd2"/>
                </a:cxn>
                <a:cxn ang="5400000">
                  <a:pos x="wd2" y="hd2"/>
                </a:cxn>
                <a:cxn ang="10800000">
                  <a:pos x="wd2" y="hd2"/>
                </a:cxn>
                <a:cxn ang="16200000">
                  <a:pos x="wd2" y="hd2"/>
                </a:cxn>
              </a:cxnLst>
              <a:rect l="0" t="0" r="r" b="b"/>
              <a:pathLst>
                <a:path w="21600" h="21600" extrusionOk="0">
                  <a:moveTo>
                    <a:pt x="6075" y="5280"/>
                  </a:moveTo>
                  <a:cubicBezTo>
                    <a:pt x="6000" y="4880"/>
                    <a:pt x="6000" y="4880"/>
                    <a:pt x="6000" y="4880"/>
                  </a:cubicBezTo>
                  <a:cubicBezTo>
                    <a:pt x="6300" y="4720"/>
                    <a:pt x="6300" y="4720"/>
                    <a:pt x="6300" y="4720"/>
                  </a:cubicBezTo>
                  <a:cubicBezTo>
                    <a:pt x="6225" y="4400"/>
                    <a:pt x="6225" y="4400"/>
                    <a:pt x="6225" y="4400"/>
                  </a:cubicBezTo>
                  <a:cubicBezTo>
                    <a:pt x="5700" y="4480"/>
                    <a:pt x="5700" y="4480"/>
                    <a:pt x="5700" y="4480"/>
                  </a:cubicBezTo>
                  <a:cubicBezTo>
                    <a:pt x="5475" y="4400"/>
                    <a:pt x="5475" y="4400"/>
                    <a:pt x="5475" y="4400"/>
                  </a:cubicBezTo>
                  <a:cubicBezTo>
                    <a:pt x="5475" y="4000"/>
                    <a:pt x="5475" y="4000"/>
                    <a:pt x="5475" y="4000"/>
                  </a:cubicBezTo>
                  <a:cubicBezTo>
                    <a:pt x="5625" y="3600"/>
                    <a:pt x="5625" y="3600"/>
                    <a:pt x="5625" y="3600"/>
                  </a:cubicBezTo>
                  <a:cubicBezTo>
                    <a:pt x="5550" y="2880"/>
                    <a:pt x="5550" y="2880"/>
                    <a:pt x="5550" y="2880"/>
                  </a:cubicBezTo>
                  <a:cubicBezTo>
                    <a:pt x="5550" y="2880"/>
                    <a:pt x="5400" y="2880"/>
                    <a:pt x="5625" y="2720"/>
                  </a:cubicBezTo>
                  <a:cubicBezTo>
                    <a:pt x="5925" y="2640"/>
                    <a:pt x="6075" y="2640"/>
                    <a:pt x="6075" y="2640"/>
                  </a:cubicBezTo>
                  <a:cubicBezTo>
                    <a:pt x="6150" y="2160"/>
                    <a:pt x="6150" y="2160"/>
                    <a:pt x="6150" y="2160"/>
                  </a:cubicBezTo>
                  <a:cubicBezTo>
                    <a:pt x="6375" y="1920"/>
                    <a:pt x="6375" y="1920"/>
                    <a:pt x="6375" y="1920"/>
                  </a:cubicBezTo>
                  <a:cubicBezTo>
                    <a:pt x="6375" y="1920"/>
                    <a:pt x="6300" y="1920"/>
                    <a:pt x="6600" y="1920"/>
                  </a:cubicBezTo>
                  <a:cubicBezTo>
                    <a:pt x="6900" y="1920"/>
                    <a:pt x="6975" y="1920"/>
                    <a:pt x="6975" y="1920"/>
                  </a:cubicBezTo>
                  <a:cubicBezTo>
                    <a:pt x="7575" y="1920"/>
                    <a:pt x="7575" y="1920"/>
                    <a:pt x="7575" y="1920"/>
                  </a:cubicBezTo>
                  <a:cubicBezTo>
                    <a:pt x="7725" y="1680"/>
                    <a:pt x="7725" y="1680"/>
                    <a:pt x="7725" y="1680"/>
                  </a:cubicBezTo>
                  <a:cubicBezTo>
                    <a:pt x="7575" y="1280"/>
                    <a:pt x="7575" y="1280"/>
                    <a:pt x="7575" y="1280"/>
                  </a:cubicBezTo>
                  <a:cubicBezTo>
                    <a:pt x="7950" y="880"/>
                    <a:pt x="7950" y="880"/>
                    <a:pt x="7950" y="880"/>
                  </a:cubicBezTo>
                  <a:cubicBezTo>
                    <a:pt x="8025" y="320"/>
                    <a:pt x="8025" y="320"/>
                    <a:pt x="8025" y="320"/>
                  </a:cubicBezTo>
                  <a:cubicBezTo>
                    <a:pt x="8400" y="80"/>
                    <a:pt x="8400" y="80"/>
                    <a:pt x="8400" y="80"/>
                  </a:cubicBezTo>
                  <a:cubicBezTo>
                    <a:pt x="8400" y="80"/>
                    <a:pt x="8625" y="320"/>
                    <a:pt x="8700" y="320"/>
                  </a:cubicBezTo>
                  <a:cubicBezTo>
                    <a:pt x="8775" y="320"/>
                    <a:pt x="8850" y="400"/>
                    <a:pt x="8925" y="320"/>
                  </a:cubicBezTo>
                  <a:cubicBezTo>
                    <a:pt x="9000" y="320"/>
                    <a:pt x="9075" y="160"/>
                    <a:pt x="9075" y="160"/>
                  </a:cubicBezTo>
                  <a:cubicBezTo>
                    <a:pt x="9450" y="0"/>
                    <a:pt x="9450" y="0"/>
                    <a:pt x="9450" y="0"/>
                  </a:cubicBezTo>
                  <a:cubicBezTo>
                    <a:pt x="9675" y="80"/>
                    <a:pt x="9675" y="80"/>
                    <a:pt x="9675" y="80"/>
                  </a:cubicBezTo>
                  <a:cubicBezTo>
                    <a:pt x="9825" y="400"/>
                    <a:pt x="9825" y="400"/>
                    <a:pt x="9825" y="400"/>
                  </a:cubicBezTo>
                  <a:cubicBezTo>
                    <a:pt x="10200" y="400"/>
                    <a:pt x="10200" y="400"/>
                    <a:pt x="10200" y="400"/>
                  </a:cubicBezTo>
                  <a:cubicBezTo>
                    <a:pt x="10275" y="240"/>
                    <a:pt x="10275" y="240"/>
                    <a:pt x="10275" y="240"/>
                  </a:cubicBezTo>
                  <a:cubicBezTo>
                    <a:pt x="10800" y="80"/>
                    <a:pt x="10800" y="80"/>
                    <a:pt x="10800" y="80"/>
                  </a:cubicBezTo>
                  <a:cubicBezTo>
                    <a:pt x="11400" y="80"/>
                    <a:pt x="11400" y="80"/>
                    <a:pt x="11400" y="80"/>
                  </a:cubicBezTo>
                  <a:cubicBezTo>
                    <a:pt x="11475" y="560"/>
                    <a:pt x="11475" y="560"/>
                    <a:pt x="11475" y="560"/>
                  </a:cubicBezTo>
                  <a:cubicBezTo>
                    <a:pt x="11475" y="800"/>
                    <a:pt x="11475" y="800"/>
                    <a:pt x="11475" y="800"/>
                  </a:cubicBezTo>
                  <a:cubicBezTo>
                    <a:pt x="11475" y="800"/>
                    <a:pt x="11625" y="1040"/>
                    <a:pt x="11775" y="960"/>
                  </a:cubicBezTo>
                  <a:cubicBezTo>
                    <a:pt x="11850" y="960"/>
                    <a:pt x="12150" y="880"/>
                    <a:pt x="12225" y="720"/>
                  </a:cubicBezTo>
                  <a:cubicBezTo>
                    <a:pt x="12225" y="560"/>
                    <a:pt x="12300" y="400"/>
                    <a:pt x="12450" y="320"/>
                  </a:cubicBezTo>
                  <a:cubicBezTo>
                    <a:pt x="12600" y="320"/>
                    <a:pt x="12525" y="240"/>
                    <a:pt x="12750" y="160"/>
                  </a:cubicBezTo>
                  <a:cubicBezTo>
                    <a:pt x="13050" y="80"/>
                    <a:pt x="13275" y="0"/>
                    <a:pt x="13275" y="0"/>
                  </a:cubicBezTo>
                  <a:cubicBezTo>
                    <a:pt x="13950" y="160"/>
                    <a:pt x="13950" y="160"/>
                    <a:pt x="13950" y="160"/>
                  </a:cubicBezTo>
                  <a:cubicBezTo>
                    <a:pt x="14175" y="400"/>
                    <a:pt x="14175" y="400"/>
                    <a:pt x="14175" y="400"/>
                  </a:cubicBezTo>
                  <a:cubicBezTo>
                    <a:pt x="14400" y="560"/>
                    <a:pt x="14400" y="560"/>
                    <a:pt x="14400" y="560"/>
                  </a:cubicBezTo>
                  <a:cubicBezTo>
                    <a:pt x="14625" y="480"/>
                    <a:pt x="14625" y="480"/>
                    <a:pt x="14625" y="480"/>
                  </a:cubicBezTo>
                  <a:cubicBezTo>
                    <a:pt x="14700" y="640"/>
                    <a:pt x="14700" y="640"/>
                    <a:pt x="14700" y="640"/>
                  </a:cubicBezTo>
                  <a:cubicBezTo>
                    <a:pt x="15000" y="480"/>
                    <a:pt x="15000" y="480"/>
                    <a:pt x="15000" y="480"/>
                  </a:cubicBezTo>
                  <a:cubicBezTo>
                    <a:pt x="15150" y="800"/>
                    <a:pt x="15150" y="800"/>
                    <a:pt x="15150" y="800"/>
                  </a:cubicBezTo>
                  <a:cubicBezTo>
                    <a:pt x="15150" y="1440"/>
                    <a:pt x="15150" y="1440"/>
                    <a:pt x="15150" y="1440"/>
                  </a:cubicBezTo>
                  <a:cubicBezTo>
                    <a:pt x="15150" y="1680"/>
                    <a:pt x="15150" y="1680"/>
                    <a:pt x="15150" y="1680"/>
                  </a:cubicBezTo>
                  <a:cubicBezTo>
                    <a:pt x="15150" y="1920"/>
                    <a:pt x="15150" y="1920"/>
                    <a:pt x="15150" y="1920"/>
                  </a:cubicBezTo>
                  <a:cubicBezTo>
                    <a:pt x="15600" y="2240"/>
                    <a:pt x="15600" y="2240"/>
                    <a:pt x="15600" y="2240"/>
                  </a:cubicBezTo>
                  <a:cubicBezTo>
                    <a:pt x="15825" y="2480"/>
                    <a:pt x="15825" y="2480"/>
                    <a:pt x="15825" y="2480"/>
                  </a:cubicBezTo>
                  <a:cubicBezTo>
                    <a:pt x="15750" y="2880"/>
                    <a:pt x="15750" y="2880"/>
                    <a:pt x="15750" y="2880"/>
                  </a:cubicBezTo>
                  <a:cubicBezTo>
                    <a:pt x="15750" y="3120"/>
                    <a:pt x="15750" y="3120"/>
                    <a:pt x="15750" y="3120"/>
                  </a:cubicBezTo>
                  <a:cubicBezTo>
                    <a:pt x="15525" y="3760"/>
                    <a:pt x="15525" y="3760"/>
                    <a:pt x="15525" y="3760"/>
                  </a:cubicBezTo>
                  <a:cubicBezTo>
                    <a:pt x="16050" y="3920"/>
                    <a:pt x="16050" y="3920"/>
                    <a:pt x="16050" y="3920"/>
                  </a:cubicBezTo>
                  <a:cubicBezTo>
                    <a:pt x="16350" y="4240"/>
                    <a:pt x="16350" y="4240"/>
                    <a:pt x="16350" y="4240"/>
                  </a:cubicBezTo>
                  <a:cubicBezTo>
                    <a:pt x="16650" y="4240"/>
                    <a:pt x="16650" y="4240"/>
                    <a:pt x="16650" y="4240"/>
                  </a:cubicBezTo>
                  <a:cubicBezTo>
                    <a:pt x="16650" y="4640"/>
                    <a:pt x="16650" y="4640"/>
                    <a:pt x="16650" y="4640"/>
                  </a:cubicBezTo>
                  <a:cubicBezTo>
                    <a:pt x="16650" y="4640"/>
                    <a:pt x="16500" y="4880"/>
                    <a:pt x="16725" y="4880"/>
                  </a:cubicBezTo>
                  <a:cubicBezTo>
                    <a:pt x="16950" y="4960"/>
                    <a:pt x="17025" y="4960"/>
                    <a:pt x="17025" y="4960"/>
                  </a:cubicBezTo>
                  <a:cubicBezTo>
                    <a:pt x="17100" y="5200"/>
                    <a:pt x="17100" y="5200"/>
                    <a:pt x="17100" y="5200"/>
                  </a:cubicBezTo>
                  <a:cubicBezTo>
                    <a:pt x="17475" y="5760"/>
                    <a:pt x="17475" y="5760"/>
                    <a:pt x="17475" y="5760"/>
                  </a:cubicBezTo>
                  <a:cubicBezTo>
                    <a:pt x="18300" y="5920"/>
                    <a:pt x="18300" y="5920"/>
                    <a:pt x="18300" y="5920"/>
                  </a:cubicBezTo>
                  <a:cubicBezTo>
                    <a:pt x="18675" y="6080"/>
                    <a:pt x="18675" y="6080"/>
                    <a:pt x="18675" y="6080"/>
                  </a:cubicBezTo>
                  <a:cubicBezTo>
                    <a:pt x="18825" y="6400"/>
                    <a:pt x="18825" y="6400"/>
                    <a:pt x="18825" y="6400"/>
                  </a:cubicBezTo>
                  <a:cubicBezTo>
                    <a:pt x="18900" y="7120"/>
                    <a:pt x="18900" y="7120"/>
                    <a:pt x="18900" y="7120"/>
                  </a:cubicBezTo>
                  <a:cubicBezTo>
                    <a:pt x="19275" y="7120"/>
                    <a:pt x="19275" y="7120"/>
                    <a:pt x="19275" y="7120"/>
                  </a:cubicBezTo>
                  <a:cubicBezTo>
                    <a:pt x="19500" y="6880"/>
                    <a:pt x="19500" y="6880"/>
                    <a:pt x="19500" y="6880"/>
                  </a:cubicBezTo>
                  <a:cubicBezTo>
                    <a:pt x="19725" y="6800"/>
                    <a:pt x="19725" y="6800"/>
                    <a:pt x="19725" y="6800"/>
                  </a:cubicBezTo>
                  <a:cubicBezTo>
                    <a:pt x="20025" y="6880"/>
                    <a:pt x="20025" y="6880"/>
                    <a:pt x="20025" y="6880"/>
                  </a:cubicBezTo>
                  <a:cubicBezTo>
                    <a:pt x="20400" y="6960"/>
                    <a:pt x="20400" y="6960"/>
                    <a:pt x="20400" y="6960"/>
                  </a:cubicBezTo>
                  <a:cubicBezTo>
                    <a:pt x="20775" y="6960"/>
                    <a:pt x="20775" y="6960"/>
                    <a:pt x="20775" y="6960"/>
                  </a:cubicBezTo>
                  <a:cubicBezTo>
                    <a:pt x="20625" y="7360"/>
                    <a:pt x="20625" y="7360"/>
                    <a:pt x="20625" y="7360"/>
                  </a:cubicBezTo>
                  <a:cubicBezTo>
                    <a:pt x="20925" y="7600"/>
                    <a:pt x="20925" y="7600"/>
                    <a:pt x="20925" y="7600"/>
                  </a:cubicBezTo>
                  <a:cubicBezTo>
                    <a:pt x="21225" y="7680"/>
                    <a:pt x="21225" y="7680"/>
                    <a:pt x="21225" y="7680"/>
                  </a:cubicBezTo>
                  <a:cubicBezTo>
                    <a:pt x="21600" y="7840"/>
                    <a:pt x="21600" y="7840"/>
                    <a:pt x="21600" y="7840"/>
                  </a:cubicBezTo>
                  <a:cubicBezTo>
                    <a:pt x="21600" y="8320"/>
                    <a:pt x="21600" y="8320"/>
                    <a:pt x="21600" y="8320"/>
                  </a:cubicBezTo>
                  <a:cubicBezTo>
                    <a:pt x="21450" y="8560"/>
                    <a:pt x="21450" y="8560"/>
                    <a:pt x="21450" y="8560"/>
                  </a:cubicBezTo>
                  <a:cubicBezTo>
                    <a:pt x="21150" y="8640"/>
                    <a:pt x="21150" y="8640"/>
                    <a:pt x="21150" y="8640"/>
                  </a:cubicBezTo>
                  <a:cubicBezTo>
                    <a:pt x="21150" y="8640"/>
                    <a:pt x="21300" y="9040"/>
                    <a:pt x="21150" y="9120"/>
                  </a:cubicBezTo>
                  <a:cubicBezTo>
                    <a:pt x="21075" y="9200"/>
                    <a:pt x="20550" y="9680"/>
                    <a:pt x="20550" y="9680"/>
                  </a:cubicBezTo>
                  <a:cubicBezTo>
                    <a:pt x="20025" y="9840"/>
                    <a:pt x="20025" y="9840"/>
                    <a:pt x="20025" y="9840"/>
                  </a:cubicBezTo>
                  <a:cubicBezTo>
                    <a:pt x="19575" y="9680"/>
                    <a:pt x="19575" y="9680"/>
                    <a:pt x="19575" y="9680"/>
                  </a:cubicBezTo>
                  <a:cubicBezTo>
                    <a:pt x="19575" y="9680"/>
                    <a:pt x="19500" y="9600"/>
                    <a:pt x="19200" y="9680"/>
                  </a:cubicBezTo>
                  <a:cubicBezTo>
                    <a:pt x="18900" y="9840"/>
                    <a:pt x="18900" y="9920"/>
                    <a:pt x="18900" y="9920"/>
                  </a:cubicBezTo>
                  <a:cubicBezTo>
                    <a:pt x="18750" y="10480"/>
                    <a:pt x="18750" y="10480"/>
                    <a:pt x="18750" y="10480"/>
                  </a:cubicBezTo>
                  <a:cubicBezTo>
                    <a:pt x="18750" y="10720"/>
                    <a:pt x="18750" y="10720"/>
                    <a:pt x="18750" y="10720"/>
                  </a:cubicBezTo>
                  <a:cubicBezTo>
                    <a:pt x="19050" y="10960"/>
                    <a:pt x="19050" y="10960"/>
                    <a:pt x="19050" y="10960"/>
                  </a:cubicBezTo>
                  <a:cubicBezTo>
                    <a:pt x="19425" y="11040"/>
                    <a:pt x="19425" y="11040"/>
                    <a:pt x="19425" y="11040"/>
                  </a:cubicBezTo>
                  <a:cubicBezTo>
                    <a:pt x="19650" y="11360"/>
                    <a:pt x="19650" y="11360"/>
                    <a:pt x="19650" y="11360"/>
                  </a:cubicBezTo>
                  <a:cubicBezTo>
                    <a:pt x="19800" y="11600"/>
                    <a:pt x="19800" y="11600"/>
                    <a:pt x="19800" y="11600"/>
                  </a:cubicBezTo>
                  <a:cubicBezTo>
                    <a:pt x="19650" y="11920"/>
                    <a:pt x="19650" y="11920"/>
                    <a:pt x="19650" y="11920"/>
                  </a:cubicBezTo>
                  <a:cubicBezTo>
                    <a:pt x="19800" y="12080"/>
                    <a:pt x="19800" y="12080"/>
                    <a:pt x="19800" y="12080"/>
                  </a:cubicBezTo>
                  <a:cubicBezTo>
                    <a:pt x="20100" y="12240"/>
                    <a:pt x="20100" y="12240"/>
                    <a:pt x="20100" y="12240"/>
                  </a:cubicBezTo>
                  <a:cubicBezTo>
                    <a:pt x="19950" y="12400"/>
                    <a:pt x="19950" y="12400"/>
                    <a:pt x="19950" y="12400"/>
                  </a:cubicBezTo>
                  <a:cubicBezTo>
                    <a:pt x="20175" y="12880"/>
                    <a:pt x="20175" y="12880"/>
                    <a:pt x="20175" y="12880"/>
                  </a:cubicBezTo>
                  <a:cubicBezTo>
                    <a:pt x="20325" y="13120"/>
                    <a:pt x="20325" y="13120"/>
                    <a:pt x="20325" y="13120"/>
                  </a:cubicBezTo>
                  <a:cubicBezTo>
                    <a:pt x="20175" y="13280"/>
                    <a:pt x="20175" y="13280"/>
                    <a:pt x="20175" y="13280"/>
                  </a:cubicBezTo>
                  <a:cubicBezTo>
                    <a:pt x="20400" y="13360"/>
                    <a:pt x="20400" y="13360"/>
                    <a:pt x="20400" y="13360"/>
                  </a:cubicBezTo>
                  <a:cubicBezTo>
                    <a:pt x="20700" y="13360"/>
                    <a:pt x="20700" y="13360"/>
                    <a:pt x="20700" y="13360"/>
                  </a:cubicBezTo>
                  <a:cubicBezTo>
                    <a:pt x="20700" y="13600"/>
                    <a:pt x="20700" y="13600"/>
                    <a:pt x="20700" y="13600"/>
                  </a:cubicBezTo>
                  <a:cubicBezTo>
                    <a:pt x="21225" y="13920"/>
                    <a:pt x="21225" y="13920"/>
                    <a:pt x="21225" y="13920"/>
                  </a:cubicBezTo>
                  <a:cubicBezTo>
                    <a:pt x="21075" y="13920"/>
                    <a:pt x="21075" y="13920"/>
                    <a:pt x="21075" y="13920"/>
                  </a:cubicBezTo>
                  <a:cubicBezTo>
                    <a:pt x="20475" y="14080"/>
                    <a:pt x="20475" y="14080"/>
                    <a:pt x="20475" y="14080"/>
                  </a:cubicBezTo>
                  <a:cubicBezTo>
                    <a:pt x="20175" y="14560"/>
                    <a:pt x="20175" y="14560"/>
                    <a:pt x="20175" y="14560"/>
                  </a:cubicBezTo>
                  <a:cubicBezTo>
                    <a:pt x="19275" y="14560"/>
                    <a:pt x="19275" y="14560"/>
                    <a:pt x="19275" y="14560"/>
                  </a:cubicBezTo>
                  <a:cubicBezTo>
                    <a:pt x="19125" y="15520"/>
                    <a:pt x="19125" y="15520"/>
                    <a:pt x="19125" y="15520"/>
                  </a:cubicBezTo>
                  <a:cubicBezTo>
                    <a:pt x="18900" y="16160"/>
                    <a:pt x="18900" y="16160"/>
                    <a:pt x="18900" y="16160"/>
                  </a:cubicBezTo>
                  <a:cubicBezTo>
                    <a:pt x="18675" y="16880"/>
                    <a:pt x="18675" y="16880"/>
                    <a:pt x="18675" y="16880"/>
                  </a:cubicBezTo>
                  <a:cubicBezTo>
                    <a:pt x="18825" y="17280"/>
                    <a:pt x="18825" y="17280"/>
                    <a:pt x="18825" y="17280"/>
                  </a:cubicBezTo>
                  <a:cubicBezTo>
                    <a:pt x="19050" y="17840"/>
                    <a:pt x="19050" y="17840"/>
                    <a:pt x="19050" y="17840"/>
                  </a:cubicBezTo>
                  <a:cubicBezTo>
                    <a:pt x="19500" y="18400"/>
                    <a:pt x="19500" y="18400"/>
                    <a:pt x="19500" y="18400"/>
                  </a:cubicBezTo>
                  <a:cubicBezTo>
                    <a:pt x="19500" y="18400"/>
                    <a:pt x="19500" y="18400"/>
                    <a:pt x="19500" y="18400"/>
                  </a:cubicBezTo>
                  <a:cubicBezTo>
                    <a:pt x="19050" y="18560"/>
                    <a:pt x="19050" y="18560"/>
                    <a:pt x="19050" y="18560"/>
                  </a:cubicBezTo>
                  <a:cubicBezTo>
                    <a:pt x="18750" y="18640"/>
                    <a:pt x="18750" y="18640"/>
                    <a:pt x="18750" y="18640"/>
                  </a:cubicBezTo>
                  <a:cubicBezTo>
                    <a:pt x="18450" y="18160"/>
                    <a:pt x="18450" y="18160"/>
                    <a:pt x="18450" y="18160"/>
                  </a:cubicBezTo>
                  <a:cubicBezTo>
                    <a:pt x="18000" y="18000"/>
                    <a:pt x="18000" y="18000"/>
                    <a:pt x="18000" y="18000"/>
                  </a:cubicBezTo>
                  <a:cubicBezTo>
                    <a:pt x="17475" y="18240"/>
                    <a:pt x="17475" y="18240"/>
                    <a:pt x="17475" y="18240"/>
                  </a:cubicBezTo>
                  <a:cubicBezTo>
                    <a:pt x="16950" y="18400"/>
                    <a:pt x="16950" y="18400"/>
                    <a:pt x="16950" y="18400"/>
                  </a:cubicBezTo>
                  <a:cubicBezTo>
                    <a:pt x="16800" y="18400"/>
                    <a:pt x="16800" y="18400"/>
                    <a:pt x="16800" y="18400"/>
                  </a:cubicBezTo>
                  <a:cubicBezTo>
                    <a:pt x="16650" y="18720"/>
                    <a:pt x="16650" y="18720"/>
                    <a:pt x="16650" y="18720"/>
                  </a:cubicBezTo>
                  <a:cubicBezTo>
                    <a:pt x="16200" y="18960"/>
                    <a:pt x="16200" y="18960"/>
                    <a:pt x="16200" y="18960"/>
                  </a:cubicBezTo>
                  <a:cubicBezTo>
                    <a:pt x="16200" y="18960"/>
                    <a:pt x="16050" y="18800"/>
                    <a:pt x="15975" y="18720"/>
                  </a:cubicBezTo>
                  <a:cubicBezTo>
                    <a:pt x="15900" y="18640"/>
                    <a:pt x="15675" y="18480"/>
                    <a:pt x="15675" y="18480"/>
                  </a:cubicBezTo>
                  <a:cubicBezTo>
                    <a:pt x="15675" y="18480"/>
                    <a:pt x="15600" y="18320"/>
                    <a:pt x="15525" y="18240"/>
                  </a:cubicBezTo>
                  <a:cubicBezTo>
                    <a:pt x="15450" y="18240"/>
                    <a:pt x="15000" y="18560"/>
                    <a:pt x="15000" y="18560"/>
                  </a:cubicBezTo>
                  <a:cubicBezTo>
                    <a:pt x="15000" y="18560"/>
                    <a:pt x="14625" y="18800"/>
                    <a:pt x="14625" y="18880"/>
                  </a:cubicBezTo>
                  <a:cubicBezTo>
                    <a:pt x="14700" y="18880"/>
                    <a:pt x="14625" y="19280"/>
                    <a:pt x="14625" y="19280"/>
                  </a:cubicBezTo>
                  <a:cubicBezTo>
                    <a:pt x="14100" y="18800"/>
                    <a:pt x="14100" y="18800"/>
                    <a:pt x="14100" y="18800"/>
                  </a:cubicBezTo>
                  <a:cubicBezTo>
                    <a:pt x="13725" y="19120"/>
                    <a:pt x="13725" y="19120"/>
                    <a:pt x="13725" y="19120"/>
                  </a:cubicBezTo>
                  <a:cubicBezTo>
                    <a:pt x="13425" y="18880"/>
                    <a:pt x="13425" y="18880"/>
                    <a:pt x="13425" y="18880"/>
                  </a:cubicBezTo>
                  <a:cubicBezTo>
                    <a:pt x="13275" y="18800"/>
                    <a:pt x="13275" y="18800"/>
                    <a:pt x="13275" y="18800"/>
                  </a:cubicBezTo>
                  <a:cubicBezTo>
                    <a:pt x="12825" y="19360"/>
                    <a:pt x="12825" y="19360"/>
                    <a:pt x="12825" y="19360"/>
                  </a:cubicBezTo>
                  <a:cubicBezTo>
                    <a:pt x="12525" y="19200"/>
                    <a:pt x="12525" y="19200"/>
                    <a:pt x="12525" y="19200"/>
                  </a:cubicBezTo>
                  <a:cubicBezTo>
                    <a:pt x="12375" y="19760"/>
                    <a:pt x="12375" y="19760"/>
                    <a:pt x="12375" y="19760"/>
                  </a:cubicBezTo>
                  <a:cubicBezTo>
                    <a:pt x="12000" y="19440"/>
                    <a:pt x="12000" y="19440"/>
                    <a:pt x="12000" y="19440"/>
                  </a:cubicBezTo>
                  <a:cubicBezTo>
                    <a:pt x="12000" y="19440"/>
                    <a:pt x="11625" y="19360"/>
                    <a:pt x="11550" y="19360"/>
                  </a:cubicBezTo>
                  <a:cubicBezTo>
                    <a:pt x="11475" y="19360"/>
                    <a:pt x="11250" y="19680"/>
                    <a:pt x="11250" y="19680"/>
                  </a:cubicBezTo>
                  <a:cubicBezTo>
                    <a:pt x="10875" y="19360"/>
                    <a:pt x="10875" y="19360"/>
                    <a:pt x="10875" y="19360"/>
                  </a:cubicBezTo>
                  <a:cubicBezTo>
                    <a:pt x="10575" y="19120"/>
                    <a:pt x="10575" y="19120"/>
                    <a:pt x="10575" y="19120"/>
                  </a:cubicBezTo>
                  <a:cubicBezTo>
                    <a:pt x="10575" y="19120"/>
                    <a:pt x="9750" y="19200"/>
                    <a:pt x="9675" y="19200"/>
                  </a:cubicBezTo>
                  <a:cubicBezTo>
                    <a:pt x="9600" y="19200"/>
                    <a:pt x="9075" y="19120"/>
                    <a:pt x="9075" y="19120"/>
                  </a:cubicBezTo>
                  <a:cubicBezTo>
                    <a:pt x="8400" y="19280"/>
                    <a:pt x="8400" y="19280"/>
                    <a:pt x="8400" y="19280"/>
                  </a:cubicBezTo>
                  <a:cubicBezTo>
                    <a:pt x="7425" y="19280"/>
                    <a:pt x="7425" y="19280"/>
                    <a:pt x="7425" y="19280"/>
                  </a:cubicBezTo>
                  <a:cubicBezTo>
                    <a:pt x="6525" y="19360"/>
                    <a:pt x="6525" y="19360"/>
                    <a:pt x="6525" y="19360"/>
                  </a:cubicBezTo>
                  <a:cubicBezTo>
                    <a:pt x="5850" y="19360"/>
                    <a:pt x="5850" y="19360"/>
                    <a:pt x="5850" y="19360"/>
                  </a:cubicBezTo>
                  <a:cubicBezTo>
                    <a:pt x="5325" y="19760"/>
                    <a:pt x="5325" y="19760"/>
                    <a:pt x="5325" y="19760"/>
                  </a:cubicBezTo>
                  <a:cubicBezTo>
                    <a:pt x="4800" y="19840"/>
                    <a:pt x="4800" y="19840"/>
                    <a:pt x="4800" y="19840"/>
                  </a:cubicBezTo>
                  <a:cubicBezTo>
                    <a:pt x="4200" y="19920"/>
                    <a:pt x="4200" y="19920"/>
                    <a:pt x="4200" y="19920"/>
                  </a:cubicBezTo>
                  <a:cubicBezTo>
                    <a:pt x="4125" y="19920"/>
                    <a:pt x="4125" y="19920"/>
                    <a:pt x="4125" y="19920"/>
                  </a:cubicBezTo>
                  <a:cubicBezTo>
                    <a:pt x="4050" y="20000"/>
                    <a:pt x="4050" y="20000"/>
                    <a:pt x="4050" y="20000"/>
                  </a:cubicBezTo>
                  <a:cubicBezTo>
                    <a:pt x="3825" y="20160"/>
                    <a:pt x="3825" y="20160"/>
                    <a:pt x="3825" y="20160"/>
                  </a:cubicBezTo>
                  <a:cubicBezTo>
                    <a:pt x="3825" y="20240"/>
                    <a:pt x="3825" y="20240"/>
                    <a:pt x="3825" y="20240"/>
                  </a:cubicBezTo>
                  <a:cubicBezTo>
                    <a:pt x="3675" y="20400"/>
                    <a:pt x="3675" y="20400"/>
                    <a:pt x="3675" y="20400"/>
                  </a:cubicBezTo>
                  <a:cubicBezTo>
                    <a:pt x="3600" y="20800"/>
                    <a:pt x="3600" y="20800"/>
                    <a:pt x="3600" y="20800"/>
                  </a:cubicBezTo>
                  <a:cubicBezTo>
                    <a:pt x="3525" y="20960"/>
                    <a:pt x="3375" y="21120"/>
                    <a:pt x="3300" y="21280"/>
                  </a:cubicBezTo>
                  <a:cubicBezTo>
                    <a:pt x="3300" y="21280"/>
                    <a:pt x="3300" y="21280"/>
                    <a:pt x="3300" y="21280"/>
                  </a:cubicBezTo>
                  <a:cubicBezTo>
                    <a:pt x="3300" y="21280"/>
                    <a:pt x="3075" y="21200"/>
                    <a:pt x="3075" y="21360"/>
                  </a:cubicBezTo>
                  <a:cubicBezTo>
                    <a:pt x="3075" y="21440"/>
                    <a:pt x="3075" y="21440"/>
                    <a:pt x="3075" y="21440"/>
                  </a:cubicBezTo>
                  <a:cubicBezTo>
                    <a:pt x="2850" y="21520"/>
                    <a:pt x="2475" y="21360"/>
                    <a:pt x="2475" y="21360"/>
                  </a:cubicBezTo>
                  <a:cubicBezTo>
                    <a:pt x="2025" y="21600"/>
                    <a:pt x="2025" y="21600"/>
                    <a:pt x="2025" y="21600"/>
                  </a:cubicBezTo>
                  <a:cubicBezTo>
                    <a:pt x="2025" y="21600"/>
                    <a:pt x="2025" y="21600"/>
                    <a:pt x="2025" y="21600"/>
                  </a:cubicBezTo>
                  <a:cubicBezTo>
                    <a:pt x="2025" y="21520"/>
                    <a:pt x="1875" y="21200"/>
                    <a:pt x="1875" y="21200"/>
                  </a:cubicBezTo>
                  <a:cubicBezTo>
                    <a:pt x="1875" y="21200"/>
                    <a:pt x="1950" y="20640"/>
                    <a:pt x="1950" y="20640"/>
                  </a:cubicBezTo>
                  <a:cubicBezTo>
                    <a:pt x="1950" y="20560"/>
                    <a:pt x="1875" y="19920"/>
                    <a:pt x="1875" y="19920"/>
                  </a:cubicBezTo>
                  <a:cubicBezTo>
                    <a:pt x="1875" y="19600"/>
                    <a:pt x="1875" y="19600"/>
                    <a:pt x="1875" y="19600"/>
                  </a:cubicBezTo>
                  <a:cubicBezTo>
                    <a:pt x="1425" y="19280"/>
                    <a:pt x="1425" y="19280"/>
                    <a:pt x="1425" y="19280"/>
                  </a:cubicBezTo>
                  <a:cubicBezTo>
                    <a:pt x="1425" y="19280"/>
                    <a:pt x="900" y="19200"/>
                    <a:pt x="750" y="19200"/>
                  </a:cubicBezTo>
                  <a:cubicBezTo>
                    <a:pt x="675" y="19200"/>
                    <a:pt x="600" y="18960"/>
                    <a:pt x="600" y="18960"/>
                  </a:cubicBezTo>
                  <a:cubicBezTo>
                    <a:pt x="675" y="18720"/>
                    <a:pt x="675" y="18720"/>
                    <a:pt x="675" y="18720"/>
                  </a:cubicBezTo>
                  <a:cubicBezTo>
                    <a:pt x="900" y="18000"/>
                    <a:pt x="900" y="18000"/>
                    <a:pt x="900" y="18000"/>
                  </a:cubicBezTo>
                  <a:cubicBezTo>
                    <a:pt x="1275" y="17440"/>
                    <a:pt x="1275" y="17440"/>
                    <a:pt x="1275" y="17440"/>
                  </a:cubicBezTo>
                  <a:cubicBezTo>
                    <a:pt x="1575" y="17280"/>
                    <a:pt x="1575" y="17280"/>
                    <a:pt x="1575" y="17280"/>
                  </a:cubicBezTo>
                  <a:cubicBezTo>
                    <a:pt x="1575" y="17280"/>
                    <a:pt x="1875" y="16800"/>
                    <a:pt x="1950" y="16720"/>
                  </a:cubicBezTo>
                  <a:cubicBezTo>
                    <a:pt x="2025" y="16720"/>
                    <a:pt x="1950" y="16320"/>
                    <a:pt x="1875" y="16320"/>
                  </a:cubicBezTo>
                  <a:cubicBezTo>
                    <a:pt x="1875" y="16240"/>
                    <a:pt x="1875" y="16000"/>
                    <a:pt x="1875" y="15920"/>
                  </a:cubicBezTo>
                  <a:cubicBezTo>
                    <a:pt x="1875" y="15760"/>
                    <a:pt x="1650" y="15520"/>
                    <a:pt x="1650" y="15520"/>
                  </a:cubicBezTo>
                  <a:cubicBezTo>
                    <a:pt x="1575" y="14880"/>
                    <a:pt x="1575" y="14880"/>
                    <a:pt x="1575" y="14880"/>
                  </a:cubicBezTo>
                  <a:cubicBezTo>
                    <a:pt x="1425" y="14720"/>
                    <a:pt x="1425" y="14720"/>
                    <a:pt x="1425" y="14720"/>
                  </a:cubicBezTo>
                  <a:cubicBezTo>
                    <a:pt x="1425" y="14640"/>
                    <a:pt x="1425" y="14640"/>
                    <a:pt x="1425" y="14640"/>
                  </a:cubicBezTo>
                  <a:cubicBezTo>
                    <a:pt x="975" y="14000"/>
                    <a:pt x="975" y="14000"/>
                    <a:pt x="975" y="14000"/>
                  </a:cubicBezTo>
                  <a:cubicBezTo>
                    <a:pt x="600" y="13120"/>
                    <a:pt x="600" y="13120"/>
                    <a:pt x="600" y="13120"/>
                  </a:cubicBezTo>
                  <a:cubicBezTo>
                    <a:pt x="600" y="13120"/>
                    <a:pt x="150" y="12320"/>
                    <a:pt x="75" y="12000"/>
                  </a:cubicBezTo>
                  <a:cubicBezTo>
                    <a:pt x="0" y="11760"/>
                    <a:pt x="0" y="11760"/>
                    <a:pt x="0" y="11760"/>
                  </a:cubicBezTo>
                  <a:cubicBezTo>
                    <a:pt x="675" y="11600"/>
                    <a:pt x="675" y="11600"/>
                    <a:pt x="675" y="11600"/>
                  </a:cubicBezTo>
                  <a:cubicBezTo>
                    <a:pt x="1425" y="11280"/>
                    <a:pt x="1425" y="11280"/>
                    <a:pt x="1425" y="11280"/>
                  </a:cubicBezTo>
                  <a:cubicBezTo>
                    <a:pt x="1875" y="11360"/>
                    <a:pt x="1875" y="11360"/>
                    <a:pt x="1875" y="11360"/>
                  </a:cubicBezTo>
                  <a:cubicBezTo>
                    <a:pt x="2400" y="11280"/>
                    <a:pt x="2400" y="11280"/>
                    <a:pt x="2400" y="11280"/>
                  </a:cubicBezTo>
                  <a:cubicBezTo>
                    <a:pt x="2700" y="10880"/>
                    <a:pt x="2700" y="10880"/>
                    <a:pt x="2700" y="10880"/>
                  </a:cubicBezTo>
                  <a:cubicBezTo>
                    <a:pt x="3075" y="10880"/>
                    <a:pt x="3075" y="10880"/>
                    <a:pt x="3075" y="10880"/>
                  </a:cubicBezTo>
                  <a:cubicBezTo>
                    <a:pt x="2925" y="10320"/>
                    <a:pt x="2925" y="10320"/>
                    <a:pt x="2925" y="10320"/>
                  </a:cubicBezTo>
                  <a:cubicBezTo>
                    <a:pt x="2925" y="10320"/>
                    <a:pt x="3000" y="10080"/>
                    <a:pt x="3075" y="10160"/>
                  </a:cubicBezTo>
                  <a:cubicBezTo>
                    <a:pt x="3225" y="10160"/>
                    <a:pt x="3525" y="10160"/>
                    <a:pt x="3525" y="10160"/>
                  </a:cubicBezTo>
                  <a:cubicBezTo>
                    <a:pt x="3675" y="9840"/>
                    <a:pt x="3675" y="9840"/>
                    <a:pt x="3675" y="9840"/>
                  </a:cubicBezTo>
                  <a:cubicBezTo>
                    <a:pt x="3675" y="9680"/>
                    <a:pt x="3675" y="9680"/>
                    <a:pt x="3675" y="9680"/>
                  </a:cubicBezTo>
                  <a:cubicBezTo>
                    <a:pt x="4200" y="9520"/>
                    <a:pt x="4200" y="9520"/>
                    <a:pt x="4200" y="9520"/>
                  </a:cubicBezTo>
                  <a:cubicBezTo>
                    <a:pt x="4425" y="9280"/>
                    <a:pt x="4425" y="9280"/>
                    <a:pt x="4425" y="9280"/>
                  </a:cubicBezTo>
                  <a:cubicBezTo>
                    <a:pt x="4575" y="9440"/>
                    <a:pt x="4575" y="9440"/>
                    <a:pt x="4575" y="9440"/>
                  </a:cubicBezTo>
                  <a:cubicBezTo>
                    <a:pt x="4500" y="9760"/>
                    <a:pt x="4500" y="9760"/>
                    <a:pt x="4500" y="9760"/>
                  </a:cubicBezTo>
                  <a:cubicBezTo>
                    <a:pt x="4875" y="9680"/>
                    <a:pt x="4875" y="9680"/>
                    <a:pt x="4875" y="9680"/>
                  </a:cubicBezTo>
                  <a:cubicBezTo>
                    <a:pt x="5025" y="9200"/>
                    <a:pt x="5025" y="9200"/>
                    <a:pt x="5025" y="9200"/>
                  </a:cubicBezTo>
                  <a:cubicBezTo>
                    <a:pt x="4875" y="9120"/>
                    <a:pt x="4875" y="9120"/>
                    <a:pt x="4875" y="9120"/>
                  </a:cubicBezTo>
                  <a:cubicBezTo>
                    <a:pt x="4500" y="8960"/>
                    <a:pt x="4500" y="8960"/>
                    <a:pt x="4500" y="8960"/>
                  </a:cubicBezTo>
                  <a:cubicBezTo>
                    <a:pt x="4500" y="8960"/>
                    <a:pt x="4350" y="9040"/>
                    <a:pt x="4350" y="8880"/>
                  </a:cubicBezTo>
                  <a:cubicBezTo>
                    <a:pt x="4425" y="8640"/>
                    <a:pt x="4575" y="8240"/>
                    <a:pt x="4575" y="8240"/>
                  </a:cubicBezTo>
                  <a:cubicBezTo>
                    <a:pt x="4500" y="7760"/>
                    <a:pt x="4500" y="7760"/>
                    <a:pt x="4500" y="7760"/>
                  </a:cubicBezTo>
                  <a:cubicBezTo>
                    <a:pt x="4425" y="7200"/>
                    <a:pt x="4425" y="7200"/>
                    <a:pt x="4425" y="7200"/>
                  </a:cubicBezTo>
                  <a:cubicBezTo>
                    <a:pt x="4500" y="6880"/>
                    <a:pt x="4500" y="6880"/>
                    <a:pt x="4500" y="6880"/>
                  </a:cubicBezTo>
                  <a:cubicBezTo>
                    <a:pt x="4500" y="6560"/>
                    <a:pt x="4500" y="6560"/>
                    <a:pt x="4500" y="6560"/>
                  </a:cubicBezTo>
                  <a:cubicBezTo>
                    <a:pt x="4650" y="6240"/>
                    <a:pt x="4650" y="6240"/>
                    <a:pt x="4650" y="6240"/>
                  </a:cubicBezTo>
                  <a:cubicBezTo>
                    <a:pt x="5250" y="6000"/>
                    <a:pt x="5250" y="6000"/>
                    <a:pt x="5250" y="6000"/>
                  </a:cubicBezTo>
                  <a:cubicBezTo>
                    <a:pt x="5250" y="5440"/>
                    <a:pt x="5250" y="5440"/>
                    <a:pt x="5250" y="5440"/>
                  </a:cubicBezTo>
                  <a:cubicBezTo>
                    <a:pt x="5475" y="5200"/>
                    <a:pt x="5475" y="5200"/>
                    <a:pt x="5475" y="5200"/>
                  </a:cubicBezTo>
                  <a:lnTo>
                    <a:pt x="6075" y="528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9" name="Shape 2242">
              <a:extLst>
                <a:ext uri="{FF2B5EF4-FFF2-40B4-BE49-F238E27FC236}">
                  <a16:creationId xmlns:a16="http://schemas.microsoft.com/office/drawing/2014/main" id="{1C6365CE-02F3-ADDE-7D06-97E3335F44AE}"/>
                </a:ext>
              </a:extLst>
            </p:cNvPr>
            <p:cNvSpPr/>
            <p:nvPr/>
          </p:nvSpPr>
          <p:spPr>
            <a:xfrm>
              <a:off x="6142109" y="5240940"/>
              <a:ext cx="640260" cy="606703"/>
            </a:xfrm>
            <a:custGeom>
              <a:avLst/>
              <a:gdLst/>
              <a:ahLst/>
              <a:cxnLst>
                <a:cxn ang="0">
                  <a:pos x="wd2" y="hd2"/>
                </a:cxn>
                <a:cxn ang="5400000">
                  <a:pos x="wd2" y="hd2"/>
                </a:cxn>
                <a:cxn ang="10800000">
                  <a:pos x="wd2" y="hd2"/>
                </a:cxn>
                <a:cxn ang="16200000">
                  <a:pos x="wd2" y="hd2"/>
                </a:cxn>
              </a:cxnLst>
              <a:rect l="0" t="0" r="r" b="b"/>
              <a:pathLst>
                <a:path w="21600" h="21517" extrusionOk="0">
                  <a:moveTo>
                    <a:pt x="13796" y="21517"/>
                  </a:moveTo>
                  <a:cubicBezTo>
                    <a:pt x="13935" y="20949"/>
                    <a:pt x="13935" y="20949"/>
                    <a:pt x="13935" y="20949"/>
                  </a:cubicBezTo>
                  <a:cubicBezTo>
                    <a:pt x="13935" y="20949"/>
                    <a:pt x="14354" y="20806"/>
                    <a:pt x="14493" y="20806"/>
                  </a:cubicBezTo>
                  <a:cubicBezTo>
                    <a:pt x="14632" y="20664"/>
                    <a:pt x="14772" y="20806"/>
                    <a:pt x="14911" y="20664"/>
                  </a:cubicBezTo>
                  <a:cubicBezTo>
                    <a:pt x="15050" y="20664"/>
                    <a:pt x="15329" y="20522"/>
                    <a:pt x="15329" y="20522"/>
                  </a:cubicBezTo>
                  <a:cubicBezTo>
                    <a:pt x="15190" y="20522"/>
                    <a:pt x="15190" y="20522"/>
                    <a:pt x="15190" y="20522"/>
                  </a:cubicBezTo>
                  <a:cubicBezTo>
                    <a:pt x="15190" y="20238"/>
                    <a:pt x="15190" y="20238"/>
                    <a:pt x="15190" y="20238"/>
                  </a:cubicBezTo>
                  <a:cubicBezTo>
                    <a:pt x="15329" y="19954"/>
                    <a:pt x="15329" y="19954"/>
                    <a:pt x="15329" y="19954"/>
                  </a:cubicBezTo>
                  <a:cubicBezTo>
                    <a:pt x="14772" y="19670"/>
                    <a:pt x="14772" y="19670"/>
                    <a:pt x="14772" y="19670"/>
                  </a:cubicBezTo>
                  <a:cubicBezTo>
                    <a:pt x="14911" y="19385"/>
                    <a:pt x="14911" y="19385"/>
                    <a:pt x="14911" y="19385"/>
                  </a:cubicBezTo>
                  <a:cubicBezTo>
                    <a:pt x="14911" y="19385"/>
                    <a:pt x="14772" y="19101"/>
                    <a:pt x="14911" y="19101"/>
                  </a:cubicBezTo>
                  <a:cubicBezTo>
                    <a:pt x="15050" y="19101"/>
                    <a:pt x="15050" y="18675"/>
                    <a:pt x="15050" y="18675"/>
                  </a:cubicBezTo>
                  <a:cubicBezTo>
                    <a:pt x="15190" y="18391"/>
                    <a:pt x="15190" y="18391"/>
                    <a:pt x="15190" y="18391"/>
                  </a:cubicBezTo>
                  <a:cubicBezTo>
                    <a:pt x="15468" y="18391"/>
                    <a:pt x="15468" y="18391"/>
                    <a:pt x="15468" y="18391"/>
                  </a:cubicBezTo>
                  <a:cubicBezTo>
                    <a:pt x="15468" y="18391"/>
                    <a:pt x="15468" y="18106"/>
                    <a:pt x="15608" y="17964"/>
                  </a:cubicBezTo>
                  <a:cubicBezTo>
                    <a:pt x="15608" y="17964"/>
                    <a:pt x="15747" y="17822"/>
                    <a:pt x="15747" y="17822"/>
                  </a:cubicBezTo>
                  <a:cubicBezTo>
                    <a:pt x="15608" y="17396"/>
                    <a:pt x="15608" y="17396"/>
                    <a:pt x="15608" y="17396"/>
                  </a:cubicBezTo>
                  <a:cubicBezTo>
                    <a:pt x="15608" y="17396"/>
                    <a:pt x="15329" y="16970"/>
                    <a:pt x="15468" y="16970"/>
                  </a:cubicBezTo>
                  <a:cubicBezTo>
                    <a:pt x="15608" y="16970"/>
                    <a:pt x="15747" y="16828"/>
                    <a:pt x="15747" y="16828"/>
                  </a:cubicBezTo>
                  <a:cubicBezTo>
                    <a:pt x="15747" y="16828"/>
                    <a:pt x="16165" y="16401"/>
                    <a:pt x="16305" y="16401"/>
                  </a:cubicBezTo>
                  <a:cubicBezTo>
                    <a:pt x="16305" y="16401"/>
                    <a:pt x="16583" y="16117"/>
                    <a:pt x="16583" y="15975"/>
                  </a:cubicBezTo>
                  <a:cubicBezTo>
                    <a:pt x="16444" y="15833"/>
                    <a:pt x="16305" y="15691"/>
                    <a:pt x="16305" y="15691"/>
                  </a:cubicBezTo>
                  <a:cubicBezTo>
                    <a:pt x="16444" y="15122"/>
                    <a:pt x="16444" y="15122"/>
                    <a:pt x="16444" y="15122"/>
                  </a:cubicBezTo>
                  <a:cubicBezTo>
                    <a:pt x="16444" y="15122"/>
                    <a:pt x="16583" y="14838"/>
                    <a:pt x="16444" y="14838"/>
                  </a:cubicBezTo>
                  <a:cubicBezTo>
                    <a:pt x="16305" y="14696"/>
                    <a:pt x="16026" y="14696"/>
                    <a:pt x="16026" y="14696"/>
                  </a:cubicBezTo>
                  <a:cubicBezTo>
                    <a:pt x="15747" y="14412"/>
                    <a:pt x="15747" y="14412"/>
                    <a:pt x="15747" y="14412"/>
                  </a:cubicBezTo>
                  <a:cubicBezTo>
                    <a:pt x="15747" y="13985"/>
                    <a:pt x="15747" y="13985"/>
                    <a:pt x="15747" y="13985"/>
                  </a:cubicBezTo>
                  <a:cubicBezTo>
                    <a:pt x="15468" y="13559"/>
                    <a:pt x="15468" y="13559"/>
                    <a:pt x="15468" y="13559"/>
                  </a:cubicBezTo>
                  <a:cubicBezTo>
                    <a:pt x="15468" y="13559"/>
                    <a:pt x="15468" y="13275"/>
                    <a:pt x="15468" y="13133"/>
                  </a:cubicBezTo>
                  <a:cubicBezTo>
                    <a:pt x="15608" y="13133"/>
                    <a:pt x="15886" y="12564"/>
                    <a:pt x="15886" y="12422"/>
                  </a:cubicBezTo>
                  <a:cubicBezTo>
                    <a:pt x="16026" y="12422"/>
                    <a:pt x="16583" y="11854"/>
                    <a:pt x="16583" y="11854"/>
                  </a:cubicBezTo>
                  <a:cubicBezTo>
                    <a:pt x="16862" y="12564"/>
                    <a:pt x="16862" y="12564"/>
                    <a:pt x="16862" y="12564"/>
                  </a:cubicBezTo>
                  <a:cubicBezTo>
                    <a:pt x="16862" y="13133"/>
                    <a:pt x="16862" y="13133"/>
                    <a:pt x="16862" y="13133"/>
                  </a:cubicBezTo>
                  <a:cubicBezTo>
                    <a:pt x="16862" y="13133"/>
                    <a:pt x="16723" y="13417"/>
                    <a:pt x="16862" y="13417"/>
                  </a:cubicBezTo>
                  <a:cubicBezTo>
                    <a:pt x="17141" y="13275"/>
                    <a:pt x="17141" y="12991"/>
                    <a:pt x="17141" y="12991"/>
                  </a:cubicBezTo>
                  <a:cubicBezTo>
                    <a:pt x="17280" y="12849"/>
                    <a:pt x="17280" y="12849"/>
                    <a:pt x="17280" y="12849"/>
                  </a:cubicBezTo>
                  <a:cubicBezTo>
                    <a:pt x="17280" y="12849"/>
                    <a:pt x="17001" y="12422"/>
                    <a:pt x="17141" y="12422"/>
                  </a:cubicBezTo>
                  <a:cubicBezTo>
                    <a:pt x="17280" y="12422"/>
                    <a:pt x="17280" y="12138"/>
                    <a:pt x="17280" y="12422"/>
                  </a:cubicBezTo>
                  <a:cubicBezTo>
                    <a:pt x="17419" y="12564"/>
                    <a:pt x="17419" y="12849"/>
                    <a:pt x="17559" y="12706"/>
                  </a:cubicBezTo>
                  <a:cubicBezTo>
                    <a:pt x="17837" y="12706"/>
                    <a:pt x="17837" y="12849"/>
                    <a:pt x="17837" y="12706"/>
                  </a:cubicBezTo>
                  <a:cubicBezTo>
                    <a:pt x="17977" y="12564"/>
                    <a:pt x="17977" y="12422"/>
                    <a:pt x="17977" y="12422"/>
                  </a:cubicBezTo>
                  <a:cubicBezTo>
                    <a:pt x="18116" y="12280"/>
                    <a:pt x="18116" y="12280"/>
                    <a:pt x="18116" y="12280"/>
                  </a:cubicBezTo>
                  <a:cubicBezTo>
                    <a:pt x="18116" y="12280"/>
                    <a:pt x="18116" y="12564"/>
                    <a:pt x="18255" y="12564"/>
                  </a:cubicBezTo>
                  <a:cubicBezTo>
                    <a:pt x="18395" y="12564"/>
                    <a:pt x="18674" y="12564"/>
                    <a:pt x="18674" y="12564"/>
                  </a:cubicBezTo>
                  <a:cubicBezTo>
                    <a:pt x="18952" y="12706"/>
                    <a:pt x="18952" y="12706"/>
                    <a:pt x="18952" y="12706"/>
                  </a:cubicBezTo>
                  <a:cubicBezTo>
                    <a:pt x="18952" y="12706"/>
                    <a:pt x="19092" y="12706"/>
                    <a:pt x="19092" y="12564"/>
                  </a:cubicBezTo>
                  <a:cubicBezTo>
                    <a:pt x="19092" y="12422"/>
                    <a:pt x="19092" y="12280"/>
                    <a:pt x="19092" y="12280"/>
                  </a:cubicBezTo>
                  <a:cubicBezTo>
                    <a:pt x="19370" y="12138"/>
                    <a:pt x="19370" y="12138"/>
                    <a:pt x="19370" y="12138"/>
                  </a:cubicBezTo>
                  <a:cubicBezTo>
                    <a:pt x="19370" y="11712"/>
                    <a:pt x="19370" y="11712"/>
                    <a:pt x="19370" y="11712"/>
                  </a:cubicBezTo>
                  <a:cubicBezTo>
                    <a:pt x="19928" y="12138"/>
                    <a:pt x="19928" y="12138"/>
                    <a:pt x="19928" y="12138"/>
                  </a:cubicBezTo>
                  <a:cubicBezTo>
                    <a:pt x="20067" y="12564"/>
                    <a:pt x="20067" y="12564"/>
                    <a:pt x="20067" y="12564"/>
                  </a:cubicBezTo>
                  <a:cubicBezTo>
                    <a:pt x="20346" y="12422"/>
                    <a:pt x="20346" y="12422"/>
                    <a:pt x="20346" y="12422"/>
                  </a:cubicBezTo>
                  <a:cubicBezTo>
                    <a:pt x="20485" y="11996"/>
                    <a:pt x="20485" y="11996"/>
                    <a:pt x="20485" y="11996"/>
                  </a:cubicBezTo>
                  <a:cubicBezTo>
                    <a:pt x="20485" y="11996"/>
                    <a:pt x="20903" y="11996"/>
                    <a:pt x="21043" y="11854"/>
                  </a:cubicBezTo>
                  <a:cubicBezTo>
                    <a:pt x="21182" y="11854"/>
                    <a:pt x="21600" y="11712"/>
                    <a:pt x="21600" y="11712"/>
                  </a:cubicBezTo>
                  <a:cubicBezTo>
                    <a:pt x="21600" y="11570"/>
                    <a:pt x="21321" y="11428"/>
                    <a:pt x="21182" y="11570"/>
                  </a:cubicBezTo>
                  <a:cubicBezTo>
                    <a:pt x="21043" y="11570"/>
                    <a:pt x="20764" y="11712"/>
                    <a:pt x="20625" y="11570"/>
                  </a:cubicBezTo>
                  <a:cubicBezTo>
                    <a:pt x="20625" y="11428"/>
                    <a:pt x="20346" y="11143"/>
                    <a:pt x="20346" y="11143"/>
                  </a:cubicBezTo>
                  <a:cubicBezTo>
                    <a:pt x="20067" y="11143"/>
                    <a:pt x="20067" y="11143"/>
                    <a:pt x="20067" y="11143"/>
                  </a:cubicBezTo>
                  <a:cubicBezTo>
                    <a:pt x="20067" y="11143"/>
                    <a:pt x="19788" y="11001"/>
                    <a:pt x="19928" y="10859"/>
                  </a:cubicBezTo>
                  <a:cubicBezTo>
                    <a:pt x="20067" y="10717"/>
                    <a:pt x="20206" y="10717"/>
                    <a:pt x="20206" y="10717"/>
                  </a:cubicBezTo>
                  <a:cubicBezTo>
                    <a:pt x="20206" y="10717"/>
                    <a:pt x="20067" y="10433"/>
                    <a:pt x="20067" y="10291"/>
                  </a:cubicBezTo>
                  <a:cubicBezTo>
                    <a:pt x="20067" y="10149"/>
                    <a:pt x="20067" y="9864"/>
                    <a:pt x="19928" y="9722"/>
                  </a:cubicBezTo>
                  <a:cubicBezTo>
                    <a:pt x="19928" y="9722"/>
                    <a:pt x="19649" y="9154"/>
                    <a:pt x="19649" y="9154"/>
                  </a:cubicBezTo>
                  <a:cubicBezTo>
                    <a:pt x="19649" y="8870"/>
                    <a:pt x="19649" y="8870"/>
                    <a:pt x="19649" y="8870"/>
                  </a:cubicBezTo>
                  <a:cubicBezTo>
                    <a:pt x="19370" y="9012"/>
                    <a:pt x="19370" y="9012"/>
                    <a:pt x="19370" y="9012"/>
                  </a:cubicBezTo>
                  <a:cubicBezTo>
                    <a:pt x="19092" y="8728"/>
                    <a:pt x="19092" y="8728"/>
                    <a:pt x="19092" y="8728"/>
                  </a:cubicBezTo>
                  <a:cubicBezTo>
                    <a:pt x="19092" y="8728"/>
                    <a:pt x="18813" y="8728"/>
                    <a:pt x="18813" y="8870"/>
                  </a:cubicBezTo>
                  <a:cubicBezTo>
                    <a:pt x="18674" y="8870"/>
                    <a:pt x="18534" y="8728"/>
                    <a:pt x="18534" y="8728"/>
                  </a:cubicBezTo>
                  <a:cubicBezTo>
                    <a:pt x="18255" y="8728"/>
                    <a:pt x="18255" y="8728"/>
                    <a:pt x="18255" y="8728"/>
                  </a:cubicBezTo>
                  <a:cubicBezTo>
                    <a:pt x="18255" y="8728"/>
                    <a:pt x="18255" y="8728"/>
                    <a:pt x="17977" y="8728"/>
                  </a:cubicBezTo>
                  <a:cubicBezTo>
                    <a:pt x="17837" y="8728"/>
                    <a:pt x="17559" y="8585"/>
                    <a:pt x="17419" y="8585"/>
                  </a:cubicBezTo>
                  <a:cubicBezTo>
                    <a:pt x="17419" y="8443"/>
                    <a:pt x="17419" y="8301"/>
                    <a:pt x="17419" y="8301"/>
                  </a:cubicBezTo>
                  <a:cubicBezTo>
                    <a:pt x="17559" y="8159"/>
                    <a:pt x="17559" y="8017"/>
                    <a:pt x="17559" y="8017"/>
                  </a:cubicBezTo>
                  <a:cubicBezTo>
                    <a:pt x="17559" y="8017"/>
                    <a:pt x="17559" y="7591"/>
                    <a:pt x="17419" y="7591"/>
                  </a:cubicBezTo>
                  <a:cubicBezTo>
                    <a:pt x="17280" y="7591"/>
                    <a:pt x="17001" y="7591"/>
                    <a:pt x="17001" y="7591"/>
                  </a:cubicBezTo>
                  <a:cubicBezTo>
                    <a:pt x="16723" y="7449"/>
                    <a:pt x="16723" y="7449"/>
                    <a:pt x="16723" y="7449"/>
                  </a:cubicBezTo>
                  <a:cubicBezTo>
                    <a:pt x="17141" y="7306"/>
                    <a:pt x="17141" y="7306"/>
                    <a:pt x="17141" y="7306"/>
                  </a:cubicBezTo>
                  <a:cubicBezTo>
                    <a:pt x="17001" y="7022"/>
                    <a:pt x="17001" y="7022"/>
                    <a:pt x="17001" y="7022"/>
                  </a:cubicBezTo>
                  <a:cubicBezTo>
                    <a:pt x="17001" y="7022"/>
                    <a:pt x="17001" y="6738"/>
                    <a:pt x="17001" y="6738"/>
                  </a:cubicBezTo>
                  <a:cubicBezTo>
                    <a:pt x="17001" y="6596"/>
                    <a:pt x="16862" y="6454"/>
                    <a:pt x="16862" y="6454"/>
                  </a:cubicBezTo>
                  <a:cubicBezTo>
                    <a:pt x="16862" y="5885"/>
                    <a:pt x="16862" y="5885"/>
                    <a:pt x="16862" y="5885"/>
                  </a:cubicBezTo>
                  <a:cubicBezTo>
                    <a:pt x="16583" y="5885"/>
                    <a:pt x="16583" y="5885"/>
                    <a:pt x="16583" y="5885"/>
                  </a:cubicBezTo>
                  <a:cubicBezTo>
                    <a:pt x="16305" y="5743"/>
                    <a:pt x="16305" y="5743"/>
                    <a:pt x="16305" y="5743"/>
                  </a:cubicBezTo>
                  <a:cubicBezTo>
                    <a:pt x="16165" y="6170"/>
                    <a:pt x="16165" y="6170"/>
                    <a:pt x="16165" y="6170"/>
                  </a:cubicBezTo>
                  <a:cubicBezTo>
                    <a:pt x="15886" y="6312"/>
                    <a:pt x="15886" y="6312"/>
                    <a:pt x="15886" y="6312"/>
                  </a:cubicBezTo>
                  <a:cubicBezTo>
                    <a:pt x="15747" y="5885"/>
                    <a:pt x="15747" y="5885"/>
                    <a:pt x="15747" y="5885"/>
                  </a:cubicBezTo>
                  <a:cubicBezTo>
                    <a:pt x="15468" y="5743"/>
                    <a:pt x="15468" y="5743"/>
                    <a:pt x="15468" y="5743"/>
                  </a:cubicBezTo>
                  <a:cubicBezTo>
                    <a:pt x="15329" y="5743"/>
                    <a:pt x="15329" y="5743"/>
                    <a:pt x="15329" y="5743"/>
                  </a:cubicBezTo>
                  <a:cubicBezTo>
                    <a:pt x="15050" y="5317"/>
                    <a:pt x="15050" y="5317"/>
                    <a:pt x="15050" y="5317"/>
                  </a:cubicBezTo>
                  <a:cubicBezTo>
                    <a:pt x="14772" y="5317"/>
                    <a:pt x="14772" y="5317"/>
                    <a:pt x="14772" y="5317"/>
                  </a:cubicBezTo>
                  <a:cubicBezTo>
                    <a:pt x="14772" y="5317"/>
                    <a:pt x="14632" y="5743"/>
                    <a:pt x="14493" y="5459"/>
                  </a:cubicBezTo>
                  <a:cubicBezTo>
                    <a:pt x="14354" y="5317"/>
                    <a:pt x="14354" y="4891"/>
                    <a:pt x="14354" y="4891"/>
                  </a:cubicBezTo>
                  <a:cubicBezTo>
                    <a:pt x="14214" y="4749"/>
                    <a:pt x="14214" y="4749"/>
                    <a:pt x="14214" y="4749"/>
                  </a:cubicBezTo>
                  <a:cubicBezTo>
                    <a:pt x="14354" y="4464"/>
                    <a:pt x="14354" y="4464"/>
                    <a:pt x="14354" y="4464"/>
                  </a:cubicBezTo>
                  <a:cubicBezTo>
                    <a:pt x="14354" y="4038"/>
                    <a:pt x="14354" y="4038"/>
                    <a:pt x="14354" y="4038"/>
                  </a:cubicBezTo>
                  <a:cubicBezTo>
                    <a:pt x="14354" y="4038"/>
                    <a:pt x="14214" y="3754"/>
                    <a:pt x="14214" y="3754"/>
                  </a:cubicBezTo>
                  <a:cubicBezTo>
                    <a:pt x="14214" y="3612"/>
                    <a:pt x="14075" y="3328"/>
                    <a:pt x="14075" y="3328"/>
                  </a:cubicBezTo>
                  <a:cubicBezTo>
                    <a:pt x="14214" y="3043"/>
                    <a:pt x="14214" y="3043"/>
                    <a:pt x="14214" y="3043"/>
                  </a:cubicBezTo>
                  <a:cubicBezTo>
                    <a:pt x="13935" y="2901"/>
                    <a:pt x="13935" y="2901"/>
                    <a:pt x="13935" y="2901"/>
                  </a:cubicBezTo>
                  <a:cubicBezTo>
                    <a:pt x="13935" y="2475"/>
                    <a:pt x="13935" y="2475"/>
                    <a:pt x="13935" y="2475"/>
                  </a:cubicBezTo>
                  <a:cubicBezTo>
                    <a:pt x="13935" y="2333"/>
                    <a:pt x="13935" y="2333"/>
                    <a:pt x="13935" y="2333"/>
                  </a:cubicBezTo>
                  <a:cubicBezTo>
                    <a:pt x="13517" y="2191"/>
                    <a:pt x="13517" y="2191"/>
                    <a:pt x="13517" y="2191"/>
                  </a:cubicBezTo>
                  <a:cubicBezTo>
                    <a:pt x="13517" y="2191"/>
                    <a:pt x="13517" y="2049"/>
                    <a:pt x="13378" y="1906"/>
                  </a:cubicBezTo>
                  <a:cubicBezTo>
                    <a:pt x="13378" y="1906"/>
                    <a:pt x="13099" y="1622"/>
                    <a:pt x="13099" y="1622"/>
                  </a:cubicBezTo>
                  <a:cubicBezTo>
                    <a:pt x="13099" y="1622"/>
                    <a:pt x="12960" y="1622"/>
                    <a:pt x="12960" y="1764"/>
                  </a:cubicBezTo>
                  <a:cubicBezTo>
                    <a:pt x="12821" y="1906"/>
                    <a:pt x="12821" y="2191"/>
                    <a:pt x="12681" y="2191"/>
                  </a:cubicBezTo>
                  <a:cubicBezTo>
                    <a:pt x="12681" y="2191"/>
                    <a:pt x="12821" y="2191"/>
                    <a:pt x="12403" y="2191"/>
                  </a:cubicBezTo>
                  <a:cubicBezTo>
                    <a:pt x="12124" y="2049"/>
                    <a:pt x="12124" y="2049"/>
                    <a:pt x="11985" y="1906"/>
                  </a:cubicBezTo>
                  <a:cubicBezTo>
                    <a:pt x="11845" y="1906"/>
                    <a:pt x="11566" y="1622"/>
                    <a:pt x="11566" y="1622"/>
                  </a:cubicBezTo>
                  <a:cubicBezTo>
                    <a:pt x="11427" y="1054"/>
                    <a:pt x="11427" y="1054"/>
                    <a:pt x="11427" y="1054"/>
                  </a:cubicBezTo>
                  <a:cubicBezTo>
                    <a:pt x="11148" y="1054"/>
                    <a:pt x="11148" y="1054"/>
                    <a:pt x="11148" y="1054"/>
                  </a:cubicBezTo>
                  <a:cubicBezTo>
                    <a:pt x="11148" y="1054"/>
                    <a:pt x="11566" y="1196"/>
                    <a:pt x="11009" y="1196"/>
                  </a:cubicBezTo>
                  <a:cubicBezTo>
                    <a:pt x="10452" y="1196"/>
                    <a:pt x="9894" y="1196"/>
                    <a:pt x="9894" y="1196"/>
                  </a:cubicBezTo>
                  <a:cubicBezTo>
                    <a:pt x="9755" y="1480"/>
                    <a:pt x="9755" y="1480"/>
                    <a:pt x="9755" y="1480"/>
                  </a:cubicBezTo>
                  <a:cubicBezTo>
                    <a:pt x="9755" y="1480"/>
                    <a:pt x="9615" y="1764"/>
                    <a:pt x="9615" y="1906"/>
                  </a:cubicBezTo>
                  <a:cubicBezTo>
                    <a:pt x="9615" y="1906"/>
                    <a:pt x="9755" y="2049"/>
                    <a:pt x="9615" y="1906"/>
                  </a:cubicBezTo>
                  <a:cubicBezTo>
                    <a:pt x="9615" y="1764"/>
                    <a:pt x="9476" y="1764"/>
                    <a:pt x="9476" y="1622"/>
                  </a:cubicBezTo>
                  <a:cubicBezTo>
                    <a:pt x="9476" y="1622"/>
                    <a:pt x="9476" y="1480"/>
                    <a:pt x="9476" y="1480"/>
                  </a:cubicBezTo>
                  <a:cubicBezTo>
                    <a:pt x="9476" y="1338"/>
                    <a:pt x="9197" y="1196"/>
                    <a:pt x="9197" y="1196"/>
                  </a:cubicBezTo>
                  <a:cubicBezTo>
                    <a:pt x="9058" y="1480"/>
                    <a:pt x="9058" y="1480"/>
                    <a:pt x="9058" y="1480"/>
                  </a:cubicBezTo>
                  <a:cubicBezTo>
                    <a:pt x="9058" y="1480"/>
                    <a:pt x="9197" y="1622"/>
                    <a:pt x="8919" y="1622"/>
                  </a:cubicBezTo>
                  <a:cubicBezTo>
                    <a:pt x="8779" y="1764"/>
                    <a:pt x="8779" y="1764"/>
                    <a:pt x="8779" y="1764"/>
                  </a:cubicBezTo>
                  <a:cubicBezTo>
                    <a:pt x="8779" y="1622"/>
                    <a:pt x="8919" y="1480"/>
                    <a:pt x="8919" y="1480"/>
                  </a:cubicBezTo>
                  <a:cubicBezTo>
                    <a:pt x="8919" y="1480"/>
                    <a:pt x="9058" y="1196"/>
                    <a:pt x="9058" y="1196"/>
                  </a:cubicBezTo>
                  <a:cubicBezTo>
                    <a:pt x="9058" y="1196"/>
                    <a:pt x="9058" y="912"/>
                    <a:pt x="8919" y="912"/>
                  </a:cubicBezTo>
                  <a:cubicBezTo>
                    <a:pt x="8919" y="912"/>
                    <a:pt x="8640" y="912"/>
                    <a:pt x="8501" y="912"/>
                  </a:cubicBezTo>
                  <a:cubicBezTo>
                    <a:pt x="8501" y="912"/>
                    <a:pt x="8361" y="1054"/>
                    <a:pt x="8361" y="1054"/>
                  </a:cubicBezTo>
                  <a:cubicBezTo>
                    <a:pt x="8361" y="1054"/>
                    <a:pt x="8501" y="1196"/>
                    <a:pt x="8361" y="1196"/>
                  </a:cubicBezTo>
                  <a:cubicBezTo>
                    <a:pt x="8361" y="1196"/>
                    <a:pt x="8222" y="1196"/>
                    <a:pt x="8222" y="1338"/>
                  </a:cubicBezTo>
                  <a:cubicBezTo>
                    <a:pt x="8083" y="1338"/>
                    <a:pt x="8083" y="1054"/>
                    <a:pt x="8083" y="1054"/>
                  </a:cubicBezTo>
                  <a:cubicBezTo>
                    <a:pt x="8083" y="1054"/>
                    <a:pt x="7943" y="912"/>
                    <a:pt x="7943" y="912"/>
                  </a:cubicBezTo>
                  <a:cubicBezTo>
                    <a:pt x="7943" y="1054"/>
                    <a:pt x="7804" y="1338"/>
                    <a:pt x="7804" y="1338"/>
                  </a:cubicBezTo>
                  <a:cubicBezTo>
                    <a:pt x="7665" y="1338"/>
                    <a:pt x="7665" y="1338"/>
                    <a:pt x="7665" y="1196"/>
                  </a:cubicBezTo>
                  <a:cubicBezTo>
                    <a:pt x="7525" y="1196"/>
                    <a:pt x="7525" y="912"/>
                    <a:pt x="7525" y="912"/>
                  </a:cubicBezTo>
                  <a:cubicBezTo>
                    <a:pt x="7386" y="770"/>
                    <a:pt x="7386" y="770"/>
                    <a:pt x="7386" y="770"/>
                  </a:cubicBezTo>
                  <a:cubicBezTo>
                    <a:pt x="7386" y="770"/>
                    <a:pt x="6968" y="770"/>
                    <a:pt x="6828" y="770"/>
                  </a:cubicBezTo>
                  <a:cubicBezTo>
                    <a:pt x="6828" y="770"/>
                    <a:pt x="6550" y="770"/>
                    <a:pt x="6550" y="628"/>
                  </a:cubicBezTo>
                  <a:cubicBezTo>
                    <a:pt x="6410" y="485"/>
                    <a:pt x="6271" y="485"/>
                    <a:pt x="6271" y="485"/>
                  </a:cubicBezTo>
                  <a:cubicBezTo>
                    <a:pt x="6271" y="485"/>
                    <a:pt x="6271" y="485"/>
                    <a:pt x="6132" y="343"/>
                  </a:cubicBezTo>
                  <a:cubicBezTo>
                    <a:pt x="5992" y="343"/>
                    <a:pt x="5992" y="343"/>
                    <a:pt x="5853" y="343"/>
                  </a:cubicBezTo>
                  <a:cubicBezTo>
                    <a:pt x="5714" y="201"/>
                    <a:pt x="5853" y="201"/>
                    <a:pt x="5574" y="201"/>
                  </a:cubicBezTo>
                  <a:cubicBezTo>
                    <a:pt x="5295" y="201"/>
                    <a:pt x="5295" y="485"/>
                    <a:pt x="5156" y="343"/>
                  </a:cubicBezTo>
                  <a:cubicBezTo>
                    <a:pt x="4877" y="343"/>
                    <a:pt x="4877" y="343"/>
                    <a:pt x="4877" y="343"/>
                  </a:cubicBezTo>
                  <a:cubicBezTo>
                    <a:pt x="4738" y="201"/>
                    <a:pt x="4738" y="201"/>
                    <a:pt x="4738" y="201"/>
                  </a:cubicBezTo>
                  <a:cubicBezTo>
                    <a:pt x="4738" y="59"/>
                    <a:pt x="4599" y="-83"/>
                    <a:pt x="4599" y="59"/>
                  </a:cubicBezTo>
                  <a:cubicBezTo>
                    <a:pt x="4599" y="343"/>
                    <a:pt x="4599" y="201"/>
                    <a:pt x="4459" y="343"/>
                  </a:cubicBezTo>
                  <a:cubicBezTo>
                    <a:pt x="4459" y="485"/>
                    <a:pt x="4181" y="628"/>
                    <a:pt x="4181" y="628"/>
                  </a:cubicBezTo>
                  <a:cubicBezTo>
                    <a:pt x="4181" y="628"/>
                    <a:pt x="4041" y="628"/>
                    <a:pt x="4041" y="770"/>
                  </a:cubicBezTo>
                  <a:cubicBezTo>
                    <a:pt x="4041" y="770"/>
                    <a:pt x="3902" y="912"/>
                    <a:pt x="3902" y="912"/>
                  </a:cubicBezTo>
                  <a:cubicBezTo>
                    <a:pt x="3902" y="912"/>
                    <a:pt x="3902" y="770"/>
                    <a:pt x="3763" y="770"/>
                  </a:cubicBezTo>
                  <a:cubicBezTo>
                    <a:pt x="3763" y="770"/>
                    <a:pt x="3763" y="770"/>
                    <a:pt x="3763" y="770"/>
                  </a:cubicBezTo>
                  <a:cubicBezTo>
                    <a:pt x="3763" y="770"/>
                    <a:pt x="3484" y="770"/>
                    <a:pt x="3484" y="912"/>
                  </a:cubicBezTo>
                  <a:cubicBezTo>
                    <a:pt x="3484" y="912"/>
                    <a:pt x="3484" y="1054"/>
                    <a:pt x="3484" y="1196"/>
                  </a:cubicBezTo>
                  <a:cubicBezTo>
                    <a:pt x="3484" y="1196"/>
                    <a:pt x="3345" y="1338"/>
                    <a:pt x="3345" y="1338"/>
                  </a:cubicBezTo>
                  <a:cubicBezTo>
                    <a:pt x="3066" y="1480"/>
                    <a:pt x="3066" y="1480"/>
                    <a:pt x="3066" y="1480"/>
                  </a:cubicBezTo>
                  <a:cubicBezTo>
                    <a:pt x="3066" y="1480"/>
                    <a:pt x="3066" y="1480"/>
                    <a:pt x="2926" y="1480"/>
                  </a:cubicBezTo>
                  <a:cubicBezTo>
                    <a:pt x="2787" y="1480"/>
                    <a:pt x="2508" y="1480"/>
                    <a:pt x="2508" y="1480"/>
                  </a:cubicBezTo>
                  <a:cubicBezTo>
                    <a:pt x="2369" y="1480"/>
                    <a:pt x="2230" y="1480"/>
                    <a:pt x="2230" y="1480"/>
                  </a:cubicBezTo>
                  <a:cubicBezTo>
                    <a:pt x="2230" y="1622"/>
                    <a:pt x="2230" y="1622"/>
                    <a:pt x="2230" y="1622"/>
                  </a:cubicBezTo>
                  <a:cubicBezTo>
                    <a:pt x="2090" y="1764"/>
                    <a:pt x="2090" y="1764"/>
                    <a:pt x="2090" y="1764"/>
                  </a:cubicBezTo>
                  <a:cubicBezTo>
                    <a:pt x="2090" y="1764"/>
                    <a:pt x="1951" y="2049"/>
                    <a:pt x="1812" y="1906"/>
                  </a:cubicBezTo>
                  <a:cubicBezTo>
                    <a:pt x="1812" y="1906"/>
                    <a:pt x="1672" y="1906"/>
                    <a:pt x="1672" y="1906"/>
                  </a:cubicBezTo>
                  <a:cubicBezTo>
                    <a:pt x="1394" y="1764"/>
                    <a:pt x="1394" y="1764"/>
                    <a:pt x="1394" y="1764"/>
                  </a:cubicBezTo>
                  <a:cubicBezTo>
                    <a:pt x="1394" y="1764"/>
                    <a:pt x="1254" y="1906"/>
                    <a:pt x="1254" y="1906"/>
                  </a:cubicBezTo>
                  <a:cubicBezTo>
                    <a:pt x="1254" y="1906"/>
                    <a:pt x="1115" y="1906"/>
                    <a:pt x="1115" y="1906"/>
                  </a:cubicBezTo>
                  <a:cubicBezTo>
                    <a:pt x="1115" y="1906"/>
                    <a:pt x="1115" y="1906"/>
                    <a:pt x="1115" y="1906"/>
                  </a:cubicBezTo>
                  <a:cubicBezTo>
                    <a:pt x="1115" y="1906"/>
                    <a:pt x="1115" y="2049"/>
                    <a:pt x="1254" y="2191"/>
                  </a:cubicBezTo>
                  <a:cubicBezTo>
                    <a:pt x="1254" y="2191"/>
                    <a:pt x="1254" y="2333"/>
                    <a:pt x="1254" y="2475"/>
                  </a:cubicBezTo>
                  <a:cubicBezTo>
                    <a:pt x="1254" y="2475"/>
                    <a:pt x="1115" y="2617"/>
                    <a:pt x="1115" y="2617"/>
                  </a:cubicBezTo>
                  <a:cubicBezTo>
                    <a:pt x="975" y="2617"/>
                    <a:pt x="836" y="2475"/>
                    <a:pt x="836" y="2475"/>
                  </a:cubicBezTo>
                  <a:cubicBezTo>
                    <a:pt x="836" y="2475"/>
                    <a:pt x="836" y="2333"/>
                    <a:pt x="697" y="2333"/>
                  </a:cubicBezTo>
                  <a:cubicBezTo>
                    <a:pt x="697" y="2475"/>
                    <a:pt x="279" y="2617"/>
                    <a:pt x="279" y="2617"/>
                  </a:cubicBezTo>
                  <a:cubicBezTo>
                    <a:pt x="279" y="2901"/>
                    <a:pt x="279" y="2901"/>
                    <a:pt x="279" y="2901"/>
                  </a:cubicBezTo>
                  <a:cubicBezTo>
                    <a:pt x="0" y="3043"/>
                    <a:pt x="0" y="3043"/>
                    <a:pt x="0" y="3043"/>
                  </a:cubicBezTo>
                  <a:cubicBezTo>
                    <a:pt x="697" y="3043"/>
                    <a:pt x="697" y="3043"/>
                    <a:pt x="697" y="3043"/>
                  </a:cubicBezTo>
                  <a:cubicBezTo>
                    <a:pt x="836" y="3043"/>
                    <a:pt x="836" y="3043"/>
                    <a:pt x="836" y="3043"/>
                  </a:cubicBezTo>
                  <a:cubicBezTo>
                    <a:pt x="1115" y="3043"/>
                    <a:pt x="1115" y="3043"/>
                    <a:pt x="1115" y="3043"/>
                  </a:cubicBezTo>
                  <a:cubicBezTo>
                    <a:pt x="1254" y="2901"/>
                    <a:pt x="1254" y="2901"/>
                    <a:pt x="1254" y="2901"/>
                  </a:cubicBezTo>
                  <a:cubicBezTo>
                    <a:pt x="1254" y="2901"/>
                    <a:pt x="1394" y="2901"/>
                    <a:pt x="1394" y="3043"/>
                  </a:cubicBezTo>
                  <a:cubicBezTo>
                    <a:pt x="1394" y="3043"/>
                    <a:pt x="1672" y="3185"/>
                    <a:pt x="1672" y="3185"/>
                  </a:cubicBezTo>
                  <a:cubicBezTo>
                    <a:pt x="1672" y="3185"/>
                    <a:pt x="1672" y="3185"/>
                    <a:pt x="1672" y="3185"/>
                  </a:cubicBezTo>
                  <a:cubicBezTo>
                    <a:pt x="2090" y="3043"/>
                    <a:pt x="2090" y="3043"/>
                    <a:pt x="2090" y="3043"/>
                  </a:cubicBezTo>
                  <a:cubicBezTo>
                    <a:pt x="2090" y="3185"/>
                    <a:pt x="2090" y="3185"/>
                    <a:pt x="2090" y="3185"/>
                  </a:cubicBezTo>
                  <a:cubicBezTo>
                    <a:pt x="2090" y="3185"/>
                    <a:pt x="2090" y="3328"/>
                    <a:pt x="2230" y="3328"/>
                  </a:cubicBezTo>
                  <a:cubicBezTo>
                    <a:pt x="2369" y="3328"/>
                    <a:pt x="2369" y="3328"/>
                    <a:pt x="2369" y="3328"/>
                  </a:cubicBezTo>
                  <a:cubicBezTo>
                    <a:pt x="2369" y="3612"/>
                    <a:pt x="2369" y="3612"/>
                    <a:pt x="2369" y="3612"/>
                  </a:cubicBezTo>
                  <a:cubicBezTo>
                    <a:pt x="2648" y="3612"/>
                    <a:pt x="2648" y="3612"/>
                    <a:pt x="2648" y="3612"/>
                  </a:cubicBezTo>
                  <a:cubicBezTo>
                    <a:pt x="2648" y="3612"/>
                    <a:pt x="2787" y="3612"/>
                    <a:pt x="2787" y="3612"/>
                  </a:cubicBezTo>
                  <a:cubicBezTo>
                    <a:pt x="2787" y="3612"/>
                    <a:pt x="2787" y="3754"/>
                    <a:pt x="2787" y="3754"/>
                  </a:cubicBezTo>
                  <a:cubicBezTo>
                    <a:pt x="2787" y="3754"/>
                    <a:pt x="2926" y="3896"/>
                    <a:pt x="3066" y="4038"/>
                  </a:cubicBezTo>
                  <a:cubicBezTo>
                    <a:pt x="3066" y="4038"/>
                    <a:pt x="3205" y="4180"/>
                    <a:pt x="3205" y="4180"/>
                  </a:cubicBezTo>
                  <a:cubicBezTo>
                    <a:pt x="3345" y="4322"/>
                    <a:pt x="3345" y="4322"/>
                    <a:pt x="3345" y="4322"/>
                  </a:cubicBezTo>
                  <a:cubicBezTo>
                    <a:pt x="3484" y="4464"/>
                    <a:pt x="3484" y="4464"/>
                    <a:pt x="3484" y="4464"/>
                  </a:cubicBezTo>
                  <a:cubicBezTo>
                    <a:pt x="3623" y="4606"/>
                    <a:pt x="3623" y="4606"/>
                    <a:pt x="3623" y="4606"/>
                  </a:cubicBezTo>
                  <a:cubicBezTo>
                    <a:pt x="3623" y="4606"/>
                    <a:pt x="3623" y="4606"/>
                    <a:pt x="3623" y="4606"/>
                  </a:cubicBezTo>
                  <a:cubicBezTo>
                    <a:pt x="3623" y="4749"/>
                    <a:pt x="3623" y="4891"/>
                    <a:pt x="3763" y="4891"/>
                  </a:cubicBezTo>
                  <a:cubicBezTo>
                    <a:pt x="3763" y="4891"/>
                    <a:pt x="3763" y="4891"/>
                    <a:pt x="3902" y="4891"/>
                  </a:cubicBezTo>
                  <a:cubicBezTo>
                    <a:pt x="3902" y="4891"/>
                    <a:pt x="3902" y="4891"/>
                    <a:pt x="3902" y="5033"/>
                  </a:cubicBezTo>
                  <a:cubicBezTo>
                    <a:pt x="3902" y="5033"/>
                    <a:pt x="3902" y="5033"/>
                    <a:pt x="4041" y="5175"/>
                  </a:cubicBezTo>
                  <a:cubicBezTo>
                    <a:pt x="4041" y="5175"/>
                    <a:pt x="4181" y="5317"/>
                    <a:pt x="4181" y="5317"/>
                  </a:cubicBezTo>
                  <a:cubicBezTo>
                    <a:pt x="4181" y="5317"/>
                    <a:pt x="4181" y="5317"/>
                    <a:pt x="4181" y="5459"/>
                  </a:cubicBezTo>
                  <a:cubicBezTo>
                    <a:pt x="4181" y="5601"/>
                    <a:pt x="4320" y="5743"/>
                    <a:pt x="4320" y="5743"/>
                  </a:cubicBezTo>
                  <a:cubicBezTo>
                    <a:pt x="4320" y="5885"/>
                    <a:pt x="4459" y="5885"/>
                    <a:pt x="4459" y="5885"/>
                  </a:cubicBezTo>
                  <a:cubicBezTo>
                    <a:pt x="4459" y="5885"/>
                    <a:pt x="4459" y="5885"/>
                    <a:pt x="4459" y="5885"/>
                  </a:cubicBezTo>
                  <a:cubicBezTo>
                    <a:pt x="4459" y="5885"/>
                    <a:pt x="4599" y="5885"/>
                    <a:pt x="4599" y="6028"/>
                  </a:cubicBezTo>
                  <a:cubicBezTo>
                    <a:pt x="4599" y="6170"/>
                    <a:pt x="4459" y="6312"/>
                    <a:pt x="4599" y="6312"/>
                  </a:cubicBezTo>
                  <a:cubicBezTo>
                    <a:pt x="4599" y="6312"/>
                    <a:pt x="4738" y="6596"/>
                    <a:pt x="4877" y="6596"/>
                  </a:cubicBezTo>
                  <a:cubicBezTo>
                    <a:pt x="5017" y="6596"/>
                    <a:pt x="5017" y="6596"/>
                    <a:pt x="5017" y="6596"/>
                  </a:cubicBezTo>
                  <a:cubicBezTo>
                    <a:pt x="5156" y="6596"/>
                    <a:pt x="5156" y="6880"/>
                    <a:pt x="5295" y="6880"/>
                  </a:cubicBezTo>
                  <a:cubicBezTo>
                    <a:pt x="5295" y="7022"/>
                    <a:pt x="5295" y="7022"/>
                    <a:pt x="5435" y="7022"/>
                  </a:cubicBezTo>
                  <a:cubicBezTo>
                    <a:pt x="5574" y="7022"/>
                    <a:pt x="5574" y="7022"/>
                    <a:pt x="5574" y="7022"/>
                  </a:cubicBezTo>
                  <a:cubicBezTo>
                    <a:pt x="5574" y="7022"/>
                    <a:pt x="5574" y="7022"/>
                    <a:pt x="5574" y="7164"/>
                  </a:cubicBezTo>
                  <a:cubicBezTo>
                    <a:pt x="5714" y="7164"/>
                    <a:pt x="5992" y="7449"/>
                    <a:pt x="5992" y="7449"/>
                  </a:cubicBezTo>
                  <a:cubicBezTo>
                    <a:pt x="5992" y="7449"/>
                    <a:pt x="6132" y="7591"/>
                    <a:pt x="6132" y="7591"/>
                  </a:cubicBezTo>
                  <a:cubicBezTo>
                    <a:pt x="6132" y="7591"/>
                    <a:pt x="6271" y="7591"/>
                    <a:pt x="6410" y="7591"/>
                  </a:cubicBezTo>
                  <a:cubicBezTo>
                    <a:pt x="6410" y="7591"/>
                    <a:pt x="6550" y="7591"/>
                    <a:pt x="6550" y="7733"/>
                  </a:cubicBezTo>
                  <a:cubicBezTo>
                    <a:pt x="6550" y="7875"/>
                    <a:pt x="6689" y="7875"/>
                    <a:pt x="6689" y="8017"/>
                  </a:cubicBezTo>
                  <a:cubicBezTo>
                    <a:pt x="6689" y="8159"/>
                    <a:pt x="6828" y="8159"/>
                    <a:pt x="6828" y="8301"/>
                  </a:cubicBezTo>
                  <a:cubicBezTo>
                    <a:pt x="6828" y="8301"/>
                    <a:pt x="6968" y="8585"/>
                    <a:pt x="6968" y="8585"/>
                  </a:cubicBezTo>
                  <a:cubicBezTo>
                    <a:pt x="7804" y="8870"/>
                    <a:pt x="7804" y="8870"/>
                    <a:pt x="7804" y="8870"/>
                  </a:cubicBezTo>
                  <a:cubicBezTo>
                    <a:pt x="7943" y="9154"/>
                    <a:pt x="7943" y="9154"/>
                    <a:pt x="7943" y="9154"/>
                  </a:cubicBezTo>
                  <a:cubicBezTo>
                    <a:pt x="7943" y="9154"/>
                    <a:pt x="8083" y="9438"/>
                    <a:pt x="8083" y="9438"/>
                  </a:cubicBezTo>
                  <a:cubicBezTo>
                    <a:pt x="8222" y="9580"/>
                    <a:pt x="8361" y="9580"/>
                    <a:pt x="8361" y="9580"/>
                  </a:cubicBezTo>
                  <a:cubicBezTo>
                    <a:pt x="8779" y="10006"/>
                    <a:pt x="8779" y="10006"/>
                    <a:pt x="8779" y="10006"/>
                  </a:cubicBezTo>
                  <a:cubicBezTo>
                    <a:pt x="9197" y="10149"/>
                    <a:pt x="9197" y="10149"/>
                    <a:pt x="9197" y="10149"/>
                  </a:cubicBezTo>
                  <a:cubicBezTo>
                    <a:pt x="9197" y="10149"/>
                    <a:pt x="9476" y="10291"/>
                    <a:pt x="9615" y="10291"/>
                  </a:cubicBezTo>
                  <a:cubicBezTo>
                    <a:pt x="9615" y="10291"/>
                    <a:pt x="9894" y="10433"/>
                    <a:pt x="10034" y="10433"/>
                  </a:cubicBezTo>
                  <a:cubicBezTo>
                    <a:pt x="10034" y="10575"/>
                    <a:pt x="10173" y="11001"/>
                    <a:pt x="10173" y="11001"/>
                  </a:cubicBezTo>
                  <a:cubicBezTo>
                    <a:pt x="10312" y="11001"/>
                    <a:pt x="10591" y="11285"/>
                    <a:pt x="10591" y="11570"/>
                  </a:cubicBezTo>
                  <a:cubicBezTo>
                    <a:pt x="10730" y="11712"/>
                    <a:pt x="10730" y="11712"/>
                    <a:pt x="10730" y="11996"/>
                  </a:cubicBezTo>
                  <a:cubicBezTo>
                    <a:pt x="10870" y="12138"/>
                    <a:pt x="11148" y="12422"/>
                    <a:pt x="11148" y="12422"/>
                  </a:cubicBezTo>
                  <a:cubicBezTo>
                    <a:pt x="11148" y="12422"/>
                    <a:pt x="11148" y="12422"/>
                    <a:pt x="11288" y="12706"/>
                  </a:cubicBezTo>
                  <a:cubicBezTo>
                    <a:pt x="11427" y="12849"/>
                    <a:pt x="11566" y="12991"/>
                    <a:pt x="11566" y="13133"/>
                  </a:cubicBezTo>
                  <a:cubicBezTo>
                    <a:pt x="11566" y="13133"/>
                    <a:pt x="11566" y="13133"/>
                    <a:pt x="11566" y="13275"/>
                  </a:cubicBezTo>
                  <a:cubicBezTo>
                    <a:pt x="11566" y="13275"/>
                    <a:pt x="11566" y="13417"/>
                    <a:pt x="11566" y="13417"/>
                  </a:cubicBezTo>
                  <a:cubicBezTo>
                    <a:pt x="11566" y="13417"/>
                    <a:pt x="11706" y="13701"/>
                    <a:pt x="11706" y="13843"/>
                  </a:cubicBezTo>
                  <a:cubicBezTo>
                    <a:pt x="11706" y="13843"/>
                    <a:pt x="11845" y="14128"/>
                    <a:pt x="11845" y="14128"/>
                  </a:cubicBezTo>
                  <a:cubicBezTo>
                    <a:pt x="11845" y="14270"/>
                    <a:pt x="11845" y="14270"/>
                    <a:pt x="11845" y="14270"/>
                  </a:cubicBezTo>
                  <a:cubicBezTo>
                    <a:pt x="11985" y="14696"/>
                    <a:pt x="11985" y="14696"/>
                    <a:pt x="11985" y="14696"/>
                  </a:cubicBezTo>
                  <a:cubicBezTo>
                    <a:pt x="11845" y="14980"/>
                    <a:pt x="11845" y="14980"/>
                    <a:pt x="11845" y="14980"/>
                  </a:cubicBezTo>
                  <a:cubicBezTo>
                    <a:pt x="11845" y="14980"/>
                    <a:pt x="11706" y="15122"/>
                    <a:pt x="11845" y="15122"/>
                  </a:cubicBezTo>
                  <a:cubicBezTo>
                    <a:pt x="11985" y="15122"/>
                    <a:pt x="12124" y="15264"/>
                    <a:pt x="11985" y="15406"/>
                  </a:cubicBezTo>
                  <a:cubicBezTo>
                    <a:pt x="11985" y="15406"/>
                    <a:pt x="11845" y="15691"/>
                    <a:pt x="11845" y="15691"/>
                  </a:cubicBezTo>
                  <a:cubicBezTo>
                    <a:pt x="11845" y="15833"/>
                    <a:pt x="11845" y="15833"/>
                    <a:pt x="11845" y="15833"/>
                  </a:cubicBezTo>
                  <a:cubicBezTo>
                    <a:pt x="11706" y="16117"/>
                    <a:pt x="11706" y="16117"/>
                    <a:pt x="11706" y="16117"/>
                  </a:cubicBezTo>
                  <a:cubicBezTo>
                    <a:pt x="11706" y="16117"/>
                    <a:pt x="11985" y="16259"/>
                    <a:pt x="11985" y="16259"/>
                  </a:cubicBezTo>
                  <a:cubicBezTo>
                    <a:pt x="11985" y="16401"/>
                    <a:pt x="12124" y="16543"/>
                    <a:pt x="11985" y="16685"/>
                  </a:cubicBezTo>
                  <a:cubicBezTo>
                    <a:pt x="11985" y="16685"/>
                    <a:pt x="11985" y="16970"/>
                    <a:pt x="11985" y="16970"/>
                  </a:cubicBezTo>
                  <a:cubicBezTo>
                    <a:pt x="11985" y="16970"/>
                    <a:pt x="11985" y="17254"/>
                    <a:pt x="11985" y="17254"/>
                  </a:cubicBezTo>
                  <a:cubicBezTo>
                    <a:pt x="11985" y="17254"/>
                    <a:pt x="12263" y="17396"/>
                    <a:pt x="12124" y="17538"/>
                  </a:cubicBezTo>
                  <a:cubicBezTo>
                    <a:pt x="12124" y="17538"/>
                    <a:pt x="12124" y="17680"/>
                    <a:pt x="12124" y="17822"/>
                  </a:cubicBezTo>
                  <a:cubicBezTo>
                    <a:pt x="12263" y="18106"/>
                    <a:pt x="12542" y="18533"/>
                    <a:pt x="12542" y="18533"/>
                  </a:cubicBezTo>
                  <a:cubicBezTo>
                    <a:pt x="12542" y="18533"/>
                    <a:pt x="12681" y="18817"/>
                    <a:pt x="12681" y="18817"/>
                  </a:cubicBezTo>
                  <a:cubicBezTo>
                    <a:pt x="12681" y="18959"/>
                    <a:pt x="12542" y="18959"/>
                    <a:pt x="12681" y="19101"/>
                  </a:cubicBezTo>
                  <a:cubicBezTo>
                    <a:pt x="12681" y="19101"/>
                    <a:pt x="12542" y="19243"/>
                    <a:pt x="12681" y="19243"/>
                  </a:cubicBezTo>
                  <a:cubicBezTo>
                    <a:pt x="12821" y="19385"/>
                    <a:pt x="12960" y="19670"/>
                    <a:pt x="12960" y="19670"/>
                  </a:cubicBezTo>
                  <a:cubicBezTo>
                    <a:pt x="12960" y="19670"/>
                    <a:pt x="12960" y="19670"/>
                    <a:pt x="13099" y="19812"/>
                  </a:cubicBezTo>
                  <a:cubicBezTo>
                    <a:pt x="13099" y="19954"/>
                    <a:pt x="13099" y="20238"/>
                    <a:pt x="13099" y="20238"/>
                  </a:cubicBezTo>
                  <a:cubicBezTo>
                    <a:pt x="13099" y="20380"/>
                    <a:pt x="13239" y="20380"/>
                    <a:pt x="13099" y="20380"/>
                  </a:cubicBezTo>
                  <a:cubicBezTo>
                    <a:pt x="13099" y="20380"/>
                    <a:pt x="12960" y="20522"/>
                    <a:pt x="12960" y="20522"/>
                  </a:cubicBezTo>
                  <a:cubicBezTo>
                    <a:pt x="12821" y="20806"/>
                    <a:pt x="12821" y="20806"/>
                    <a:pt x="12821" y="20806"/>
                  </a:cubicBezTo>
                  <a:cubicBezTo>
                    <a:pt x="12821" y="20806"/>
                    <a:pt x="12960" y="20949"/>
                    <a:pt x="13099" y="20949"/>
                  </a:cubicBezTo>
                  <a:cubicBezTo>
                    <a:pt x="13099" y="20949"/>
                    <a:pt x="13239" y="20949"/>
                    <a:pt x="13239" y="20949"/>
                  </a:cubicBezTo>
                  <a:cubicBezTo>
                    <a:pt x="13517" y="21233"/>
                    <a:pt x="13517" y="21233"/>
                    <a:pt x="13517" y="21233"/>
                  </a:cubicBezTo>
                  <a:cubicBezTo>
                    <a:pt x="13517" y="21517"/>
                    <a:pt x="13517" y="21517"/>
                    <a:pt x="13517" y="21517"/>
                  </a:cubicBezTo>
                  <a:lnTo>
                    <a:pt x="13796" y="21517"/>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0" name="Shape 2243">
              <a:extLst>
                <a:ext uri="{FF2B5EF4-FFF2-40B4-BE49-F238E27FC236}">
                  <a16:creationId xmlns:a16="http://schemas.microsoft.com/office/drawing/2014/main" id="{324F4177-0F8A-E59C-7454-82DBF85DE43C}"/>
                </a:ext>
              </a:extLst>
            </p:cNvPr>
            <p:cNvSpPr/>
            <p:nvPr/>
          </p:nvSpPr>
          <p:spPr>
            <a:xfrm>
              <a:off x="2652499" y="4904601"/>
              <a:ext cx="532887" cy="434217"/>
            </a:xfrm>
            <a:custGeom>
              <a:avLst/>
              <a:gdLst/>
              <a:ahLst/>
              <a:cxnLst>
                <a:cxn ang="0">
                  <a:pos x="wd2" y="hd2"/>
                </a:cxn>
                <a:cxn ang="5400000">
                  <a:pos x="wd2" y="hd2"/>
                </a:cxn>
                <a:cxn ang="10800000">
                  <a:pos x="wd2" y="hd2"/>
                </a:cxn>
                <a:cxn ang="16200000">
                  <a:pos x="wd2" y="hd2"/>
                </a:cxn>
              </a:cxnLst>
              <a:rect l="0" t="0" r="r" b="b"/>
              <a:pathLst>
                <a:path w="21600" h="21532" extrusionOk="0">
                  <a:moveTo>
                    <a:pt x="167" y="3499"/>
                  </a:moveTo>
                  <a:cubicBezTo>
                    <a:pt x="167" y="3499"/>
                    <a:pt x="3516" y="1121"/>
                    <a:pt x="3516" y="1121"/>
                  </a:cubicBezTo>
                  <a:cubicBezTo>
                    <a:pt x="4521" y="923"/>
                    <a:pt x="4521" y="923"/>
                    <a:pt x="4521" y="923"/>
                  </a:cubicBezTo>
                  <a:cubicBezTo>
                    <a:pt x="5023" y="923"/>
                    <a:pt x="5023" y="923"/>
                    <a:pt x="5023" y="923"/>
                  </a:cubicBezTo>
                  <a:cubicBezTo>
                    <a:pt x="5191" y="725"/>
                    <a:pt x="5191" y="725"/>
                    <a:pt x="5191" y="725"/>
                  </a:cubicBezTo>
                  <a:cubicBezTo>
                    <a:pt x="5191" y="725"/>
                    <a:pt x="5358" y="1319"/>
                    <a:pt x="5526" y="1319"/>
                  </a:cubicBezTo>
                  <a:cubicBezTo>
                    <a:pt x="5526" y="1319"/>
                    <a:pt x="5860" y="1715"/>
                    <a:pt x="5860" y="1517"/>
                  </a:cubicBezTo>
                  <a:cubicBezTo>
                    <a:pt x="6028" y="1319"/>
                    <a:pt x="6028" y="1121"/>
                    <a:pt x="6195" y="1121"/>
                  </a:cubicBezTo>
                  <a:cubicBezTo>
                    <a:pt x="6195" y="923"/>
                    <a:pt x="6363" y="725"/>
                    <a:pt x="6698" y="923"/>
                  </a:cubicBezTo>
                  <a:cubicBezTo>
                    <a:pt x="6865" y="1121"/>
                    <a:pt x="6865" y="1914"/>
                    <a:pt x="6865" y="1914"/>
                  </a:cubicBezTo>
                  <a:cubicBezTo>
                    <a:pt x="8205" y="2310"/>
                    <a:pt x="7367" y="2508"/>
                    <a:pt x="9209" y="1914"/>
                  </a:cubicBezTo>
                  <a:cubicBezTo>
                    <a:pt x="9209" y="1914"/>
                    <a:pt x="9544" y="1517"/>
                    <a:pt x="9544" y="1517"/>
                  </a:cubicBezTo>
                  <a:cubicBezTo>
                    <a:pt x="9544" y="1319"/>
                    <a:pt x="9377" y="923"/>
                    <a:pt x="9712" y="1121"/>
                  </a:cubicBezTo>
                  <a:cubicBezTo>
                    <a:pt x="9879" y="1319"/>
                    <a:pt x="10047" y="1319"/>
                    <a:pt x="10214" y="1319"/>
                  </a:cubicBezTo>
                  <a:cubicBezTo>
                    <a:pt x="10381" y="1319"/>
                    <a:pt x="10716" y="1319"/>
                    <a:pt x="10716" y="1319"/>
                  </a:cubicBezTo>
                  <a:cubicBezTo>
                    <a:pt x="10716" y="1319"/>
                    <a:pt x="10884" y="1121"/>
                    <a:pt x="10716" y="923"/>
                  </a:cubicBezTo>
                  <a:cubicBezTo>
                    <a:pt x="10716" y="725"/>
                    <a:pt x="10549" y="526"/>
                    <a:pt x="10716" y="526"/>
                  </a:cubicBezTo>
                  <a:cubicBezTo>
                    <a:pt x="10716" y="328"/>
                    <a:pt x="11051" y="130"/>
                    <a:pt x="11051" y="130"/>
                  </a:cubicBezTo>
                  <a:cubicBezTo>
                    <a:pt x="11051" y="130"/>
                    <a:pt x="11219" y="130"/>
                    <a:pt x="11219" y="328"/>
                  </a:cubicBezTo>
                  <a:cubicBezTo>
                    <a:pt x="11386" y="526"/>
                    <a:pt x="11386" y="526"/>
                    <a:pt x="11386" y="725"/>
                  </a:cubicBezTo>
                  <a:cubicBezTo>
                    <a:pt x="11553" y="725"/>
                    <a:pt x="11553" y="923"/>
                    <a:pt x="11721" y="923"/>
                  </a:cubicBezTo>
                  <a:cubicBezTo>
                    <a:pt x="12056" y="923"/>
                    <a:pt x="12056" y="923"/>
                    <a:pt x="12223" y="725"/>
                  </a:cubicBezTo>
                  <a:cubicBezTo>
                    <a:pt x="12391" y="526"/>
                    <a:pt x="12391" y="526"/>
                    <a:pt x="12558" y="328"/>
                  </a:cubicBezTo>
                  <a:cubicBezTo>
                    <a:pt x="12726" y="-68"/>
                    <a:pt x="12726" y="-68"/>
                    <a:pt x="12893" y="130"/>
                  </a:cubicBezTo>
                  <a:cubicBezTo>
                    <a:pt x="13060" y="130"/>
                    <a:pt x="13395" y="328"/>
                    <a:pt x="13395" y="328"/>
                  </a:cubicBezTo>
                  <a:cubicBezTo>
                    <a:pt x="13060" y="725"/>
                    <a:pt x="13060" y="725"/>
                    <a:pt x="13060" y="725"/>
                  </a:cubicBezTo>
                  <a:cubicBezTo>
                    <a:pt x="13060" y="725"/>
                    <a:pt x="12893" y="725"/>
                    <a:pt x="13228" y="923"/>
                  </a:cubicBezTo>
                  <a:cubicBezTo>
                    <a:pt x="13730" y="1121"/>
                    <a:pt x="13898" y="1121"/>
                    <a:pt x="13898" y="1121"/>
                  </a:cubicBezTo>
                  <a:cubicBezTo>
                    <a:pt x="14233" y="526"/>
                    <a:pt x="14233" y="526"/>
                    <a:pt x="14233" y="526"/>
                  </a:cubicBezTo>
                  <a:cubicBezTo>
                    <a:pt x="14233" y="526"/>
                    <a:pt x="14233" y="130"/>
                    <a:pt x="14400" y="526"/>
                  </a:cubicBezTo>
                  <a:cubicBezTo>
                    <a:pt x="14400" y="725"/>
                    <a:pt x="14567" y="1121"/>
                    <a:pt x="14567" y="1121"/>
                  </a:cubicBezTo>
                  <a:cubicBezTo>
                    <a:pt x="14567" y="1121"/>
                    <a:pt x="14567" y="1715"/>
                    <a:pt x="14735" y="1715"/>
                  </a:cubicBezTo>
                  <a:cubicBezTo>
                    <a:pt x="14902" y="1715"/>
                    <a:pt x="14902" y="1517"/>
                    <a:pt x="14902" y="1715"/>
                  </a:cubicBezTo>
                  <a:cubicBezTo>
                    <a:pt x="14902" y="1914"/>
                    <a:pt x="14735" y="1914"/>
                    <a:pt x="14902" y="1914"/>
                  </a:cubicBezTo>
                  <a:cubicBezTo>
                    <a:pt x="14902" y="2112"/>
                    <a:pt x="15237" y="2112"/>
                    <a:pt x="15237" y="2112"/>
                  </a:cubicBezTo>
                  <a:cubicBezTo>
                    <a:pt x="15237" y="2112"/>
                    <a:pt x="15405" y="2112"/>
                    <a:pt x="15405" y="2310"/>
                  </a:cubicBezTo>
                  <a:cubicBezTo>
                    <a:pt x="15405" y="2508"/>
                    <a:pt x="15405" y="2706"/>
                    <a:pt x="15405" y="2706"/>
                  </a:cubicBezTo>
                  <a:cubicBezTo>
                    <a:pt x="15405" y="2706"/>
                    <a:pt x="15907" y="2706"/>
                    <a:pt x="15907" y="2706"/>
                  </a:cubicBezTo>
                  <a:cubicBezTo>
                    <a:pt x="16074" y="2706"/>
                    <a:pt x="16242" y="2904"/>
                    <a:pt x="16409" y="2904"/>
                  </a:cubicBezTo>
                  <a:cubicBezTo>
                    <a:pt x="16577" y="2706"/>
                    <a:pt x="16744" y="2508"/>
                    <a:pt x="16744" y="2508"/>
                  </a:cubicBezTo>
                  <a:cubicBezTo>
                    <a:pt x="16744" y="2706"/>
                    <a:pt x="17079" y="2706"/>
                    <a:pt x="17079" y="2904"/>
                  </a:cubicBezTo>
                  <a:cubicBezTo>
                    <a:pt x="16912" y="3301"/>
                    <a:pt x="16744" y="3301"/>
                    <a:pt x="17079" y="3499"/>
                  </a:cubicBezTo>
                  <a:cubicBezTo>
                    <a:pt x="17414" y="3499"/>
                    <a:pt x="17749" y="3697"/>
                    <a:pt x="17916" y="3697"/>
                  </a:cubicBezTo>
                  <a:cubicBezTo>
                    <a:pt x="18084" y="3895"/>
                    <a:pt x="18586" y="4093"/>
                    <a:pt x="18586" y="4093"/>
                  </a:cubicBezTo>
                  <a:cubicBezTo>
                    <a:pt x="18753" y="4093"/>
                    <a:pt x="18921" y="4093"/>
                    <a:pt x="18921" y="4292"/>
                  </a:cubicBezTo>
                  <a:cubicBezTo>
                    <a:pt x="18921" y="4490"/>
                    <a:pt x="18586" y="4886"/>
                    <a:pt x="18586" y="4886"/>
                  </a:cubicBezTo>
                  <a:cubicBezTo>
                    <a:pt x="18586" y="4886"/>
                    <a:pt x="18419" y="5084"/>
                    <a:pt x="18419" y="5282"/>
                  </a:cubicBezTo>
                  <a:cubicBezTo>
                    <a:pt x="18419" y="5282"/>
                    <a:pt x="18251" y="5877"/>
                    <a:pt x="18251" y="5877"/>
                  </a:cubicBezTo>
                  <a:cubicBezTo>
                    <a:pt x="18084" y="6075"/>
                    <a:pt x="17916" y="6471"/>
                    <a:pt x="17916" y="6471"/>
                  </a:cubicBezTo>
                  <a:cubicBezTo>
                    <a:pt x="17916" y="6471"/>
                    <a:pt x="17749" y="6868"/>
                    <a:pt x="17581" y="6868"/>
                  </a:cubicBezTo>
                  <a:cubicBezTo>
                    <a:pt x="17581" y="6868"/>
                    <a:pt x="17414" y="7066"/>
                    <a:pt x="17414" y="7066"/>
                  </a:cubicBezTo>
                  <a:cubicBezTo>
                    <a:pt x="17414" y="7264"/>
                    <a:pt x="17414" y="7660"/>
                    <a:pt x="17414" y="7660"/>
                  </a:cubicBezTo>
                  <a:cubicBezTo>
                    <a:pt x="17581" y="8057"/>
                    <a:pt x="17581" y="8057"/>
                    <a:pt x="17581" y="8057"/>
                  </a:cubicBezTo>
                  <a:cubicBezTo>
                    <a:pt x="17581" y="8453"/>
                    <a:pt x="17581" y="8453"/>
                    <a:pt x="17581" y="8453"/>
                  </a:cubicBezTo>
                  <a:cubicBezTo>
                    <a:pt x="18251" y="8255"/>
                    <a:pt x="18251" y="8255"/>
                    <a:pt x="18251" y="8255"/>
                  </a:cubicBezTo>
                  <a:cubicBezTo>
                    <a:pt x="18251" y="8255"/>
                    <a:pt x="18251" y="8255"/>
                    <a:pt x="18419" y="8453"/>
                  </a:cubicBezTo>
                  <a:cubicBezTo>
                    <a:pt x="18753" y="8453"/>
                    <a:pt x="18921" y="8255"/>
                    <a:pt x="19088" y="8255"/>
                  </a:cubicBezTo>
                  <a:cubicBezTo>
                    <a:pt x="19088" y="8255"/>
                    <a:pt x="19423" y="8651"/>
                    <a:pt x="19423" y="8651"/>
                  </a:cubicBezTo>
                  <a:cubicBezTo>
                    <a:pt x="19423" y="8651"/>
                    <a:pt x="19591" y="8849"/>
                    <a:pt x="19591" y="8849"/>
                  </a:cubicBezTo>
                  <a:cubicBezTo>
                    <a:pt x="19758" y="8849"/>
                    <a:pt x="20093" y="9048"/>
                    <a:pt x="20093" y="9048"/>
                  </a:cubicBezTo>
                  <a:cubicBezTo>
                    <a:pt x="20093" y="9642"/>
                    <a:pt x="20093" y="9642"/>
                    <a:pt x="20093" y="9642"/>
                  </a:cubicBezTo>
                  <a:cubicBezTo>
                    <a:pt x="20093" y="9642"/>
                    <a:pt x="20428" y="9642"/>
                    <a:pt x="20428" y="9642"/>
                  </a:cubicBezTo>
                  <a:cubicBezTo>
                    <a:pt x="20595" y="9642"/>
                    <a:pt x="20763" y="9840"/>
                    <a:pt x="20763" y="9840"/>
                  </a:cubicBezTo>
                  <a:cubicBezTo>
                    <a:pt x="20763" y="9840"/>
                    <a:pt x="20763" y="10435"/>
                    <a:pt x="20595" y="10435"/>
                  </a:cubicBezTo>
                  <a:cubicBezTo>
                    <a:pt x="20595" y="10633"/>
                    <a:pt x="20428" y="10831"/>
                    <a:pt x="20428" y="10831"/>
                  </a:cubicBezTo>
                  <a:cubicBezTo>
                    <a:pt x="20428" y="10831"/>
                    <a:pt x="20595" y="11227"/>
                    <a:pt x="20763" y="11227"/>
                  </a:cubicBezTo>
                  <a:cubicBezTo>
                    <a:pt x="20763" y="11227"/>
                    <a:pt x="21098" y="11227"/>
                    <a:pt x="21098" y="11227"/>
                  </a:cubicBezTo>
                  <a:cubicBezTo>
                    <a:pt x="21265" y="11227"/>
                    <a:pt x="21433" y="11624"/>
                    <a:pt x="21433" y="11624"/>
                  </a:cubicBezTo>
                  <a:cubicBezTo>
                    <a:pt x="21433" y="11624"/>
                    <a:pt x="21600" y="11822"/>
                    <a:pt x="21600" y="12020"/>
                  </a:cubicBezTo>
                  <a:cubicBezTo>
                    <a:pt x="21600" y="12218"/>
                    <a:pt x="21433" y="12615"/>
                    <a:pt x="21433" y="12615"/>
                  </a:cubicBezTo>
                  <a:cubicBezTo>
                    <a:pt x="21433" y="12615"/>
                    <a:pt x="21433" y="12813"/>
                    <a:pt x="21433" y="13011"/>
                  </a:cubicBezTo>
                  <a:cubicBezTo>
                    <a:pt x="21433" y="13011"/>
                    <a:pt x="21265" y="13209"/>
                    <a:pt x="21265" y="13209"/>
                  </a:cubicBezTo>
                  <a:cubicBezTo>
                    <a:pt x="20930" y="13209"/>
                    <a:pt x="20930" y="13209"/>
                    <a:pt x="20930" y="13209"/>
                  </a:cubicBezTo>
                  <a:cubicBezTo>
                    <a:pt x="20930" y="13209"/>
                    <a:pt x="20930" y="13804"/>
                    <a:pt x="20763" y="13804"/>
                  </a:cubicBezTo>
                  <a:cubicBezTo>
                    <a:pt x="20763" y="13804"/>
                    <a:pt x="20595" y="13804"/>
                    <a:pt x="20595" y="13804"/>
                  </a:cubicBezTo>
                  <a:cubicBezTo>
                    <a:pt x="20428" y="13804"/>
                    <a:pt x="20260" y="14002"/>
                    <a:pt x="20260" y="14002"/>
                  </a:cubicBezTo>
                  <a:cubicBezTo>
                    <a:pt x="20260" y="14200"/>
                    <a:pt x="20260" y="14200"/>
                    <a:pt x="20260" y="14200"/>
                  </a:cubicBezTo>
                  <a:cubicBezTo>
                    <a:pt x="20093" y="14596"/>
                    <a:pt x="20093" y="14596"/>
                    <a:pt x="20093" y="14596"/>
                  </a:cubicBezTo>
                  <a:cubicBezTo>
                    <a:pt x="20093" y="14596"/>
                    <a:pt x="20093" y="14596"/>
                    <a:pt x="19926" y="14596"/>
                  </a:cubicBezTo>
                  <a:cubicBezTo>
                    <a:pt x="19926" y="14596"/>
                    <a:pt x="19926" y="14596"/>
                    <a:pt x="19758" y="14596"/>
                  </a:cubicBezTo>
                  <a:cubicBezTo>
                    <a:pt x="19758" y="14794"/>
                    <a:pt x="19591" y="14794"/>
                    <a:pt x="19591" y="14794"/>
                  </a:cubicBezTo>
                  <a:cubicBezTo>
                    <a:pt x="19591" y="14794"/>
                    <a:pt x="19423" y="14596"/>
                    <a:pt x="19256" y="14596"/>
                  </a:cubicBezTo>
                  <a:cubicBezTo>
                    <a:pt x="19256" y="14596"/>
                    <a:pt x="19088" y="14596"/>
                    <a:pt x="19088" y="14794"/>
                  </a:cubicBezTo>
                  <a:cubicBezTo>
                    <a:pt x="18921" y="14993"/>
                    <a:pt x="18921" y="15191"/>
                    <a:pt x="18753" y="15191"/>
                  </a:cubicBezTo>
                  <a:cubicBezTo>
                    <a:pt x="18753" y="15191"/>
                    <a:pt x="18586" y="15389"/>
                    <a:pt x="18586" y="15389"/>
                  </a:cubicBezTo>
                  <a:cubicBezTo>
                    <a:pt x="18586" y="15389"/>
                    <a:pt x="18586" y="15785"/>
                    <a:pt x="18419" y="15785"/>
                  </a:cubicBezTo>
                  <a:cubicBezTo>
                    <a:pt x="18419" y="15983"/>
                    <a:pt x="18251" y="16182"/>
                    <a:pt x="18251" y="16182"/>
                  </a:cubicBezTo>
                  <a:cubicBezTo>
                    <a:pt x="18251" y="16182"/>
                    <a:pt x="18251" y="16380"/>
                    <a:pt x="18251" y="16380"/>
                  </a:cubicBezTo>
                  <a:cubicBezTo>
                    <a:pt x="18251" y="16578"/>
                    <a:pt x="18251" y="16776"/>
                    <a:pt x="18084" y="16974"/>
                  </a:cubicBezTo>
                  <a:cubicBezTo>
                    <a:pt x="17916" y="16974"/>
                    <a:pt x="17581" y="17371"/>
                    <a:pt x="17581" y="17371"/>
                  </a:cubicBezTo>
                  <a:cubicBezTo>
                    <a:pt x="17581" y="17371"/>
                    <a:pt x="17581" y="17371"/>
                    <a:pt x="17581" y="17569"/>
                  </a:cubicBezTo>
                  <a:cubicBezTo>
                    <a:pt x="17749" y="17569"/>
                    <a:pt x="17749" y="17767"/>
                    <a:pt x="17749" y="17767"/>
                  </a:cubicBezTo>
                  <a:cubicBezTo>
                    <a:pt x="17749" y="18163"/>
                    <a:pt x="17749" y="18163"/>
                    <a:pt x="17749" y="18163"/>
                  </a:cubicBezTo>
                  <a:cubicBezTo>
                    <a:pt x="17749" y="18163"/>
                    <a:pt x="17581" y="18361"/>
                    <a:pt x="17581" y="18560"/>
                  </a:cubicBezTo>
                  <a:cubicBezTo>
                    <a:pt x="17749" y="18560"/>
                    <a:pt x="17749" y="18560"/>
                    <a:pt x="17749" y="18560"/>
                  </a:cubicBezTo>
                  <a:cubicBezTo>
                    <a:pt x="17916" y="18956"/>
                    <a:pt x="17916" y="18956"/>
                    <a:pt x="17916" y="18956"/>
                  </a:cubicBezTo>
                  <a:cubicBezTo>
                    <a:pt x="18084" y="19352"/>
                    <a:pt x="18084" y="19352"/>
                    <a:pt x="18084" y="19352"/>
                  </a:cubicBezTo>
                  <a:cubicBezTo>
                    <a:pt x="18251" y="19352"/>
                    <a:pt x="18251" y="19352"/>
                    <a:pt x="18251" y="19352"/>
                  </a:cubicBezTo>
                  <a:cubicBezTo>
                    <a:pt x="18251" y="19352"/>
                    <a:pt x="18419" y="19749"/>
                    <a:pt x="18419" y="19947"/>
                  </a:cubicBezTo>
                  <a:cubicBezTo>
                    <a:pt x="18419" y="19947"/>
                    <a:pt x="18419" y="20343"/>
                    <a:pt x="18419" y="20343"/>
                  </a:cubicBezTo>
                  <a:cubicBezTo>
                    <a:pt x="18084" y="20739"/>
                    <a:pt x="18084" y="20739"/>
                    <a:pt x="18084" y="20739"/>
                  </a:cubicBezTo>
                  <a:cubicBezTo>
                    <a:pt x="17916" y="21136"/>
                    <a:pt x="17916" y="21136"/>
                    <a:pt x="17916" y="21136"/>
                  </a:cubicBezTo>
                  <a:cubicBezTo>
                    <a:pt x="17916" y="21136"/>
                    <a:pt x="17749" y="21136"/>
                    <a:pt x="17749" y="21136"/>
                  </a:cubicBezTo>
                  <a:cubicBezTo>
                    <a:pt x="17581" y="21136"/>
                    <a:pt x="17414" y="21136"/>
                    <a:pt x="17414" y="21136"/>
                  </a:cubicBezTo>
                  <a:cubicBezTo>
                    <a:pt x="17247" y="21334"/>
                    <a:pt x="17247" y="21334"/>
                    <a:pt x="17247" y="21334"/>
                  </a:cubicBezTo>
                  <a:cubicBezTo>
                    <a:pt x="16912" y="21334"/>
                    <a:pt x="16912" y="21334"/>
                    <a:pt x="16912" y="21334"/>
                  </a:cubicBezTo>
                  <a:cubicBezTo>
                    <a:pt x="16577" y="21532"/>
                    <a:pt x="16577" y="21532"/>
                    <a:pt x="16577" y="21532"/>
                  </a:cubicBezTo>
                  <a:cubicBezTo>
                    <a:pt x="16074" y="21532"/>
                    <a:pt x="16074" y="21532"/>
                    <a:pt x="16074" y="21532"/>
                  </a:cubicBezTo>
                  <a:cubicBezTo>
                    <a:pt x="15907" y="21136"/>
                    <a:pt x="15907" y="21136"/>
                    <a:pt x="15907" y="21136"/>
                  </a:cubicBezTo>
                  <a:cubicBezTo>
                    <a:pt x="15740" y="20739"/>
                    <a:pt x="15740" y="20739"/>
                    <a:pt x="15740" y="20739"/>
                  </a:cubicBezTo>
                  <a:cubicBezTo>
                    <a:pt x="15572" y="20541"/>
                    <a:pt x="15572" y="20541"/>
                    <a:pt x="15572" y="20541"/>
                  </a:cubicBezTo>
                  <a:cubicBezTo>
                    <a:pt x="15405" y="20541"/>
                    <a:pt x="15405" y="20541"/>
                    <a:pt x="15405" y="20541"/>
                  </a:cubicBezTo>
                  <a:cubicBezTo>
                    <a:pt x="14902" y="20343"/>
                    <a:pt x="14902" y="20343"/>
                    <a:pt x="14902" y="20343"/>
                  </a:cubicBezTo>
                  <a:cubicBezTo>
                    <a:pt x="15070" y="19947"/>
                    <a:pt x="15070" y="19947"/>
                    <a:pt x="15070" y="19947"/>
                  </a:cubicBezTo>
                  <a:cubicBezTo>
                    <a:pt x="15070" y="19947"/>
                    <a:pt x="14902" y="19550"/>
                    <a:pt x="14902" y="19550"/>
                  </a:cubicBezTo>
                  <a:cubicBezTo>
                    <a:pt x="14735" y="19550"/>
                    <a:pt x="14567" y="19550"/>
                    <a:pt x="14567" y="19550"/>
                  </a:cubicBezTo>
                  <a:cubicBezTo>
                    <a:pt x="14233" y="19154"/>
                    <a:pt x="14233" y="19154"/>
                    <a:pt x="14233" y="19154"/>
                  </a:cubicBezTo>
                  <a:cubicBezTo>
                    <a:pt x="14233" y="19154"/>
                    <a:pt x="14233" y="18956"/>
                    <a:pt x="14065" y="18758"/>
                  </a:cubicBezTo>
                  <a:cubicBezTo>
                    <a:pt x="13898" y="18758"/>
                    <a:pt x="13898" y="18560"/>
                    <a:pt x="13730" y="18560"/>
                  </a:cubicBezTo>
                  <a:cubicBezTo>
                    <a:pt x="13563" y="18560"/>
                    <a:pt x="13228" y="18560"/>
                    <a:pt x="13228" y="18560"/>
                  </a:cubicBezTo>
                  <a:cubicBezTo>
                    <a:pt x="13228" y="18560"/>
                    <a:pt x="13060" y="18163"/>
                    <a:pt x="12893" y="18163"/>
                  </a:cubicBezTo>
                  <a:cubicBezTo>
                    <a:pt x="12893" y="18163"/>
                    <a:pt x="12223" y="18163"/>
                    <a:pt x="12223" y="18163"/>
                  </a:cubicBezTo>
                  <a:cubicBezTo>
                    <a:pt x="12223" y="18163"/>
                    <a:pt x="12391" y="17569"/>
                    <a:pt x="12391" y="17569"/>
                  </a:cubicBezTo>
                  <a:cubicBezTo>
                    <a:pt x="12391" y="17371"/>
                    <a:pt x="12391" y="16776"/>
                    <a:pt x="12391" y="16776"/>
                  </a:cubicBezTo>
                  <a:cubicBezTo>
                    <a:pt x="12391" y="16578"/>
                    <a:pt x="12391" y="16578"/>
                    <a:pt x="12391" y="16578"/>
                  </a:cubicBezTo>
                  <a:cubicBezTo>
                    <a:pt x="12391" y="16578"/>
                    <a:pt x="12223" y="16380"/>
                    <a:pt x="12391" y="15983"/>
                  </a:cubicBezTo>
                  <a:cubicBezTo>
                    <a:pt x="12558" y="15587"/>
                    <a:pt x="12391" y="15785"/>
                    <a:pt x="12558" y="15389"/>
                  </a:cubicBezTo>
                  <a:cubicBezTo>
                    <a:pt x="12726" y="14794"/>
                    <a:pt x="12726" y="14596"/>
                    <a:pt x="12726" y="14596"/>
                  </a:cubicBezTo>
                  <a:cubicBezTo>
                    <a:pt x="12391" y="14398"/>
                    <a:pt x="12391" y="14398"/>
                    <a:pt x="12391" y="14398"/>
                  </a:cubicBezTo>
                  <a:cubicBezTo>
                    <a:pt x="12391" y="14398"/>
                    <a:pt x="12223" y="14200"/>
                    <a:pt x="12056" y="14398"/>
                  </a:cubicBezTo>
                  <a:cubicBezTo>
                    <a:pt x="12056" y="14794"/>
                    <a:pt x="11888" y="14794"/>
                    <a:pt x="11888" y="14794"/>
                  </a:cubicBezTo>
                  <a:cubicBezTo>
                    <a:pt x="11553" y="15389"/>
                    <a:pt x="11553" y="15389"/>
                    <a:pt x="11553" y="15389"/>
                  </a:cubicBezTo>
                  <a:cubicBezTo>
                    <a:pt x="11553" y="15983"/>
                    <a:pt x="11553" y="15983"/>
                    <a:pt x="11553" y="15983"/>
                  </a:cubicBezTo>
                  <a:cubicBezTo>
                    <a:pt x="11553" y="15983"/>
                    <a:pt x="11721" y="16182"/>
                    <a:pt x="11219" y="16182"/>
                  </a:cubicBezTo>
                  <a:cubicBezTo>
                    <a:pt x="10884" y="16182"/>
                    <a:pt x="10549" y="16182"/>
                    <a:pt x="10549" y="16182"/>
                  </a:cubicBezTo>
                  <a:cubicBezTo>
                    <a:pt x="10549" y="16182"/>
                    <a:pt x="10884" y="16578"/>
                    <a:pt x="10549" y="16578"/>
                  </a:cubicBezTo>
                  <a:cubicBezTo>
                    <a:pt x="10047" y="16578"/>
                    <a:pt x="9544" y="16578"/>
                    <a:pt x="9544" y="16578"/>
                  </a:cubicBezTo>
                  <a:cubicBezTo>
                    <a:pt x="9209" y="16182"/>
                    <a:pt x="9209" y="16182"/>
                    <a:pt x="9209" y="16182"/>
                  </a:cubicBezTo>
                  <a:cubicBezTo>
                    <a:pt x="8540" y="16380"/>
                    <a:pt x="8540" y="16380"/>
                    <a:pt x="8540" y="16380"/>
                  </a:cubicBezTo>
                  <a:cubicBezTo>
                    <a:pt x="8540" y="16380"/>
                    <a:pt x="8540" y="16182"/>
                    <a:pt x="8540" y="15785"/>
                  </a:cubicBezTo>
                  <a:cubicBezTo>
                    <a:pt x="8540" y="15587"/>
                    <a:pt x="8372" y="15191"/>
                    <a:pt x="8540" y="15191"/>
                  </a:cubicBezTo>
                  <a:cubicBezTo>
                    <a:pt x="8707" y="15191"/>
                    <a:pt x="8874" y="14993"/>
                    <a:pt x="8874" y="14993"/>
                  </a:cubicBezTo>
                  <a:cubicBezTo>
                    <a:pt x="8707" y="14398"/>
                    <a:pt x="8707" y="14398"/>
                    <a:pt x="8707" y="14398"/>
                  </a:cubicBezTo>
                  <a:cubicBezTo>
                    <a:pt x="8707" y="14398"/>
                    <a:pt x="8707" y="14398"/>
                    <a:pt x="8707" y="14398"/>
                  </a:cubicBezTo>
                  <a:cubicBezTo>
                    <a:pt x="8707" y="14398"/>
                    <a:pt x="8540" y="14398"/>
                    <a:pt x="8540" y="14200"/>
                  </a:cubicBezTo>
                  <a:cubicBezTo>
                    <a:pt x="8540" y="14002"/>
                    <a:pt x="8707" y="13605"/>
                    <a:pt x="8707" y="13605"/>
                  </a:cubicBezTo>
                  <a:cubicBezTo>
                    <a:pt x="8874" y="13407"/>
                    <a:pt x="8874" y="13011"/>
                    <a:pt x="8874" y="13011"/>
                  </a:cubicBezTo>
                  <a:cubicBezTo>
                    <a:pt x="8707" y="13011"/>
                    <a:pt x="8707" y="13011"/>
                    <a:pt x="8707" y="13011"/>
                  </a:cubicBezTo>
                  <a:cubicBezTo>
                    <a:pt x="8707" y="13011"/>
                    <a:pt x="8372" y="13209"/>
                    <a:pt x="8372" y="12813"/>
                  </a:cubicBezTo>
                  <a:cubicBezTo>
                    <a:pt x="8372" y="12615"/>
                    <a:pt x="8205" y="12218"/>
                    <a:pt x="8205" y="12218"/>
                  </a:cubicBezTo>
                  <a:cubicBezTo>
                    <a:pt x="8205" y="12218"/>
                    <a:pt x="7870" y="12020"/>
                    <a:pt x="7870" y="12020"/>
                  </a:cubicBezTo>
                  <a:cubicBezTo>
                    <a:pt x="7702" y="12020"/>
                    <a:pt x="7702" y="12020"/>
                    <a:pt x="7535" y="12218"/>
                  </a:cubicBezTo>
                  <a:cubicBezTo>
                    <a:pt x="7535" y="12218"/>
                    <a:pt x="7033" y="12020"/>
                    <a:pt x="7033" y="12020"/>
                  </a:cubicBezTo>
                  <a:cubicBezTo>
                    <a:pt x="7033" y="12020"/>
                    <a:pt x="6530" y="12020"/>
                    <a:pt x="6530" y="12020"/>
                  </a:cubicBezTo>
                  <a:cubicBezTo>
                    <a:pt x="6363" y="12020"/>
                    <a:pt x="6195" y="12416"/>
                    <a:pt x="6195" y="12416"/>
                  </a:cubicBezTo>
                  <a:cubicBezTo>
                    <a:pt x="5860" y="11822"/>
                    <a:pt x="5860" y="11822"/>
                    <a:pt x="5860" y="11822"/>
                  </a:cubicBezTo>
                  <a:cubicBezTo>
                    <a:pt x="6028" y="11227"/>
                    <a:pt x="6028" y="11227"/>
                    <a:pt x="6028" y="11227"/>
                  </a:cubicBezTo>
                  <a:cubicBezTo>
                    <a:pt x="6028" y="11227"/>
                    <a:pt x="5693" y="10831"/>
                    <a:pt x="5693" y="10633"/>
                  </a:cubicBezTo>
                  <a:cubicBezTo>
                    <a:pt x="5693" y="10633"/>
                    <a:pt x="5526" y="10237"/>
                    <a:pt x="5526" y="10237"/>
                  </a:cubicBezTo>
                  <a:cubicBezTo>
                    <a:pt x="5191" y="10237"/>
                    <a:pt x="5191" y="10237"/>
                    <a:pt x="5191" y="10237"/>
                  </a:cubicBezTo>
                  <a:cubicBezTo>
                    <a:pt x="5023" y="10038"/>
                    <a:pt x="5023" y="10038"/>
                    <a:pt x="5023" y="10038"/>
                  </a:cubicBezTo>
                  <a:cubicBezTo>
                    <a:pt x="5023" y="10038"/>
                    <a:pt x="4688" y="10038"/>
                    <a:pt x="4521" y="10038"/>
                  </a:cubicBezTo>
                  <a:cubicBezTo>
                    <a:pt x="4353" y="10038"/>
                    <a:pt x="4353" y="10038"/>
                    <a:pt x="4186" y="10038"/>
                  </a:cubicBezTo>
                  <a:cubicBezTo>
                    <a:pt x="4186" y="10038"/>
                    <a:pt x="3851" y="9642"/>
                    <a:pt x="3851" y="9642"/>
                  </a:cubicBezTo>
                  <a:cubicBezTo>
                    <a:pt x="3851" y="9444"/>
                    <a:pt x="3851" y="9246"/>
                    <a:pt x="3851" y="9048"/>
                  </a:cubicBezTo>
                  <a:cubicBezTo>
                    <a:pt x="3684" y="8849"/>
                    <a:pt x="3516" y="8453"/>
                    <a:pt x="3516" y="8255"/>
                  </a:cubicBezTo>
                  <a:cubicBezTo>
                    <a:pt x="3516" y="8255"/>
                    <a:pt x="3684" y="7859"/>
                    <a:pt x="3684" y="7859"/>
                  </a:cubicBezTo>
                  <a:cubicBezTo>
                    <a:pt x="3516" y="7660"/>
                    <a:pt x="3181" y="7264"/>
                    <a:pt x="3181" y="7264"/>
                  </a:cubicBezTo>
                  <a:cubicBezTo>
                    <a:pt x="3014" y="6868"/>
                    <a:pt x="3014" y="6868"/>
                    <a:pt x="3014" y="6868"/>
                  </a:cubicBezTo>
                  <a:cubicBezTo>
                    <a:pt x="3014" y="6868"/>
                    <a:pt x="2512" y="7264"/>
                    <a:pt x="2344" y="7264"/>
                  </a:cubicBezTo>
                  <a:cubicBezTo>
                    <a:pt x="2177" y="7264"/>
                    <a:pt x="1842" y="7066"/>
                    <a:pt x="1842" y="7264"/>
                  </a:cubicBezTo>
                  <a:cubicBezTo>
                    <a:pt x="1842" y="7264"/>
                    <a:pt x="2009" y="7660"/>
                    <a:pt x="1842" y="7660"/>
                  </a:cubicBezTo>
                  <a:cubicBezTo>
                    <a:pt x="1674" y="7660"/>
                    <a:pt x="1340" y="7660"/>
                    <a:pt x="1172" y="7462"/>
                  </a:cubicBezTo>
                  <a:cubicBezTo>
                    <a:pt x="1005" y="7264"/>
                    <a:pt x="1005" y="7066"/>
                    <a:pt x="1005" y="6868"/>
                  </a:cubicBezTo>
                  <a:cubicBezTo>
                    <a:pt x="837" y="6868"/>
                    <a:pt x="837" y="6471"/>
                    <a:pt x="670" y="6471"/>
                  </a:cubicBezTo>
                  <a:cubicBezTo>
                    <a:pt x="502" y="6471"/>
                    <a:pt x="335" y="6471"/>
                    <a:pt x="335" y="6273"/>
                  </a:cubicBezTo>
                  <a:cubicBezTo>
                    <a:pt x="335" y="6273"/>
                    <a:pt x="335" y="5679"/>
                    <a:pt x="335" y="5679"/>
                  </a:cubicBezTo>
                  <a:cubicBezTo>
                    <a:pt x="335" y="5282"/>
                    <a:pt x="335" y="5282"/>
                    <a:pt x="335" y="5282"/>
                  </a:cubicBezTo>
                  <a:cubicBezTo>
                    <a:pt x="335" y="5282"/>
                    <a:pt x="335" y="4688"/>
                    <a:pt x="167" y="4688"/>
                  </a:cubicBezTo>
                  <a:cubicBezTo>
                    <a:pt x="167" y="4490"/>
                    <a:pt x="0" y="4292"/>
                    <a:pt x="0" y="4292"/>
                  </a:cubicBezTo>
                  <a:cubicBezTo>
                    <a:pt x="0" y="3697"/>
                    <a:pt x="0" y="3697"/>
                    <a:pt x="0" y="3697"/>
                  </a:cubicBezTo>
                  <a:lnTo>
                    <a:pt x="167" y="3499"/>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1" name="Shape 2244">
              <a:extLst>
                <a:ext uri="{FF2B5EF4-FFF2-40B4-BE49-F238E27FC236}">
                  <a16:creationId xmlns:a16="http://schemas.microsoft.com/office/drawing/2014/main" id="{519F7B8D-B4CB-3490-8E11-5A771F0080B9}"/>
                </a:ext>
              </a:extLst>
            </p:cNvPr>
            <p:cNvSpPr/>
            <p:nvPr/>
          </p:nvSpPr>
          <p:spPr>
            <a:xfrm>
              <a:off x="3992669" y="4999599"/>
              <a:ext cx="990214" cy="531954"/>
            </a:xfrm>
            <a:custGeom>
              <a:avLst/>
              <a:gdLst/>
              <a:ahLst/>
              <a:cxnLst>
                <a:cxn ang="0">
                  <a:pos x="wd2" y="hd2"/>
                </a:cxn>
                <a:cxn ang="5400000">
                  <a:pos x="wd2" y="hd2"/>
                </a:cxn>
                <a:cxn ang="10800000">
                  <a:pos x="wd2" y="hd2"/>
                </a:cxn>
                <a:cxn ang="16200000">
                  <a:pos x="wd2" y="hd2"/>
                </a:cxn>
              </a:cxnLst>
              <a:rect l="0" t="0" r="r" b="b"/>
              <a:pathLst>
                <a:path w="21600" h="21600" extrusionOk="0">
                  <a:moveTo>
                    <a:pt x="3870" y="4385"/>
                  </a:moveTo>
                  <a:cubicBezTo>
                    <a:pt x="3960" y="4385"/>
                    <a:pt x="4500" y="3573"/>
                    <a:pt x="4500" y="3573"/>
                  </a:cubicBezTo>
                  <a:cubicBezTo>
                    <a:pt x="5040" y="3248"/>
                    <a:pt x="5040" y="3248"/>
                    <a:pt x="5040" y="3248"/>
                  </a:cubicBezTo>
                  <a:cubicBezTo>
                    <a:pt x="5220" y="2923"/>
                    <a:pt x="5220" y="2923"/>
                    <a:pt x="5220" y="2923"/>
                  </a:cubicBezTo>
                  <a:cubicBezTo>
                    <a:pt x="5400" y="2274"/>
                    <a:pt x="5400" y="2274"/>
                    <a:pt x="5400" y="2274"/>
                  </a:cubicBezTo>
                  <a:cubicBezTo>
                    <a:pt x="5400" y="2274"/>
                    <a:pt x="5310" y="1949"/>
                    <a:pt x="5580" y="1949"/>
                  </a:cubicBezTo>
                  <a:cubicBezTo>
                    <a:pt x="5850" y="1949"/>
                    <a:pt x="6660" y="1624"/>
                    <a:pt x="6660" y="1624"/>
                  </a:cubicBezTo>
                  <a:cubicBezTo>
                    <a:pt x="6750" y="1299"/>
                    <a:pt x="6750" y="1299"/>
                    <a:pt x="6750" y="1299"/>
                  </a:cubicBezTo>
                  <a:cubicBezTo>
                    <a:pt x="6570" y="812"/>
                    <a:pt x="6570" y="812"/>
                    <a:pt x="6570" y="812"/>
                  </a:cubicBezTo>
                  <a:cubicBezTo>
                    <a:pt x="6570" y="812"/>
                    <a:pt x="6570" y="162"/>
                    <a:pt x="6570" y="162"/>
                  </a:cubicBezTo>
                  <a:cubicBezTo>
                    <a:pt x="6660" y="0"/>
                    <a:pt x="7020" y="0"/>
                    <a:pt x="7200" y="0"/>
                  </a:cubicBezTo>
                  <a:cubicBezTo>
                    <a:pt x="7380" y="162"/>
                    <a:pt x="7560" y="325"/>
                    <a:pt x="7650" y="487"/>
                  </a:cubicBezTo>
                  <a:cubicBezTo>
                    <a:pt x="7650" y="650"/>
                    <a:pt x="7650" y="487"/>
                    <a:pt x="7650" y="812"/>
                  </a:cubicBezTo>
                  <a:cubicBezTo>
                    <a:pt x="7650" y="1137"/>
                    <a:pt x="7650" y="1462"/>
                    <a:pt x="7650" y="1462"/>
                  </a:cubicBezTo>
                  <a:cubicBezTo>
                    <a:pt x="7650" y="1462"/>
                    <a:pt x="7740" y="1624"/>
                    <a:pt x="7830" y="1786"/>
                  </a:cubicBezTo>
                  <a:cubicBezTo>
                    <a:pt x="8010" y="1786"/>
                    <a:pt x="8190" y="2111"/>
                    <a:pt x="8190" y="1949"/>
                  </a:cubicBezTo>
                  <a:cubicBezTo>
                    <a:pt x="8190" y="1949"/>
                    <a:pt x="8280" y="1786"/>
                    <a:pt x="8370" y="1624"/>
                  </a:cubicBezTo>
                  <a:cubicBezTo>
                    <a:pt x="8370" y="1624"/>
                    <a:pt x="8370" y="1624"/>
                    <a:pt x="8370" y="1624"/>
                  </a:cubicBezTo>
                  <a:cubicBezTo>
                    <a:pt x="8370" y="1949"/>
                    <a:pt x="8460" y="1786"/>
                    <a:pt x="8550" y="1786"/>
                  </a:cubicBezTo>
                  <a:cubicBezTo>
                    <a:pt x="8640" y="1786"/>
                    <a:pt x="9000" y="1462"/>
                    <a:pt x="9000" y="1462"/>
                  </a:cubicBezTo>
                  <a:cubicBezTo>
                    <a:pt x="9000" y="1462"/>
                    <a:pt x="8910" y="974"/>
                    <a:pt x="8910" y="974"/>
                  </a:cubicBezTo>
                  <a:cubicBezTo>
                    <a:pt x="8910" y="812"/>
                    <a:pt x="8910" y="650"/>
                    <a:pt x="8910" y="487"/>
                  </a:cubicBezTo>
                  <a:cubicBezTo>
                    <a:pt x="9000" y="325"/>
                    <a:pt x="9000" y="325"/>
                    <a:pt x="9000" y="325"/>
                  </a:cubicBezTo>
                  <a:cubicBezTo>
                    <a:pt x="9090" y="325"/>
                    <a:pt x="9270" y="487"/>
                    <a:pt x="9270" y="487"/>
                  </a:cubicBezTo>
                  <a:cubicBezTo>
                    <a:pt x="9270" y="487"/>
                    <a:pt x="9450" y="650"/>
                    <a:pt x="9540" y="650"/>
                  </a:cubicBezTo>
                  <a:cubicBezTo>
                    <a:pt x="9720" y="650"/>
                    <a:pt x="9630" y="974"/>
                    <a:pt x="9630" y="974"/>
                  </a:cubicBezTo>
                  <a:cubicBezTo>
                    <a:pt x="9630" y="974"/>
                    <a:pt x="9720" y="1462"/>
                    <a:pt x="9900" y="1624"/>
                  </a:cubicBezTo>
                  <a:cubicBezTo>
                    <a:pt x="10080" y="1786"/>
                    <a:pt x="10080" y="1949"/>
                    <a:pt x="10080" y="2111"/>
                  </a:cubicBezTo>
                  <a:cubicBezTo>
                    <a:pt x="10170" y="2111"/>
                    <a:pt x="10350" y="2111"/>
                    <a:pt x="10350" y="2111"/>
                  </a:cubicBezTo>
                  <a:cubicBezTo>
                    <a:pt x="10620" y="1949"/>
                    <a:pt x="10620" y="1949"/>
                    <a:pt x="10620" y="1949"/>
                  </a:cubicBezTo>
                  <a:cubicBezTo>
                    <a:pt x="10620" y="1949"/>
                    <a:pt x="10800" y="2111"/>
                    <a:pt x="10890" y="2436"/>
                  </a:cubicBezTo>
                  <a:cubicBezTo>
                    <a:pt x="10890" y="2598"/>
                    <a:pt x="11160" y="2598"/>
                    <a:pt x="11250" y="2436"/>
                  </a:cubicBezTo>
                  <a:cubicBezTo>
                    <a:pt x="11340" y="2436"/>
                    <a:pt x="11340" y="2436"/>
                    <a:pt x="11340" y="2436"/>
                  </a:cubicBezTo>
                  <a:cubicBezTo>
                    <a:pt x="11430" y="2598"/>
                    <a:pt x="11430" y="2598"/>
                    <a:pt x="11430" y="2598"/>
                  </a:cubicBezTo>
                  <a:cubicBezTo>
                    <a:pt x="11430" y="2598"/>
                    <a:pt x="11610" y="3248"/>
                    <a:pt x="11880" y="2761"/>
                  </a:cubicBezTo>
                  <a:cubicBezTo>
                    <a:pt x="12150" y="2274"/>
                    <a:pt x="11970" y="2761"/>
                    <a:pt x="11970" y="2761"/>
                  </a:cubicBezTo>
                  <a:cubicBezTo>
                    <a:pt x="11970" y="2761"/>
                    <a:pt x="12150" y="3248"/>
                    <a:pt x="12240" y="3248"/>
                  </a:cubicBezTo>
                  <a:cubicBezTo>
                    <a:pt x="12420" y="3248"/>
                    <a:pt x="12420" y="3248"/>
                    <a:pt x="12420" y="3248"/>
                  </a:cubicBezTo>
                  <a:cubicBezTo>
                    <a:pt x="12780" y="2923"/>
                    <a:pt x="12780" y="2923"/>
                    <a:pt x="12780" y="2923"/>
                  </a:cubicBezTo>
                  <a:cubicBezTo>
                    <a:pt x="13050" y="2761"/>
                    <a:pt x="13050" y="2761"/>
                    <a:pt x="13050" y="2761"/>
                  </a:cubicBezTo>
                  <a:cubicBezTo>
                    <a:pt x="13050" y="2761"/>
                    <a:pt x="13320" y="2761"/>
                    <a:pt x="13230" y="3573"/>
                  </a:cubicBezTo>
                  <a:cubicBezTo>
                    <a:pt x="13230" y="4223"/>
                    <a:pt x="13140" y="4060"/>
                    <a:pt x="13140" y="4060"/>
                  </a:cubicBezTo>
                  <a:cubicBezTo>
                    <a:pt x="12960" y="4547"/>
                    <a:pt x="12960" y="4547"/>
                    <a:pt x="12960" y="4547"/>
                  </a:cubicBezTo>
                  <a:cubicBezTo>
                    <a:pt x="12960" y="5035"/>
                    <a:pt x="12960" y="5035"/>
                    <a:pt x="12960" y="5035"/>
                  </a:cubicBezTo>
                  <a:cubicBezTo>
                    <a:pt x="12960" y="5035"/>
                    <a:pt x="13050" y="5035"/>
                    <a:pt x="13140" y="5035"/>
                  </a:cubicBezTo>
                  <a:cubicBezTo>
                    <a:pt x="13230" y="5035"/>
                    <a:pt x="13320" y="5684"/>
                    <a:pt x="13320" y="5684"/>
                  </a:cubicBezTo>
                  <a:cubicBezTo>
                    <a:pt x="13590" y="5847"/>
                    <a:pt x="13590" y="5847"/>
                    <a:pt x="13590" y="5847"/>
                  </a:cubicBezTo>
                  <a:cubicBezTo>
                    <a:pt x="13590" y="5847"/>
                    <a:pt x="13680" y="6009"/>
                    <a:pt x="13860" y="6171"/>
                  </a:cubicBezTo>
                  <a:cubicBezTo>
                    <a:pt x="13950" y="6334"/>
                    <a:pt x="14040" y="6659"/>
                    <a:pt x="14040" y="6659"/>
                  </a:cubicBezTo>
                  <a:cubicBezTo>
                    <a:pt x="14040" y="6659"/>
                    <a:pt x="14130" y="7308"/>
                    <a:pt x="14220" y="7471"/>
                  </a:cubicBezTo>
                  <a:cubicBezTo>
                    <a:pt x="14220" y="7795"/>
                    <a:pt x="14760" y="7146"/>
                    <a:pt x="14760" y="7146"/>
                  </a:cubicBezTo>
                  <a:cubicBezTo>
                    <a:pt x="14850" y="6334"/>
                    <a:pt x="14850" y="6334"/>
                    <a:pt x="14850" y="6334"/>
                  </a:cubicBezTo>
                  <a:cubicBezTo>
                    <a:pt x="15390" y="6009"/>
                    <a:pt x="15390" y="6009"/>
                    <a:pt x="15390" y="6009"/>
                  </a:cubicBezTo>
                  <a:cubicBezTo>
                    <a:pt x="15210" y="5035"/>
                    <a:pt x="15210" y="5035"/>
                    <a:pt x="15210" y="5035"/>
                  </a:cubicBezTo>
                  <a:cubicBezTo>
                    <a:pt x="15030" y="4385"/>
                    <a:pt x="15030" y="4385"/>
                    <a:pt x="15030" y="4385"/>
                  </a:cubicBezTo>
                  <a:cubicBezTo>
                    <a:pt x="15030" y="4385"/>
                    <a:pt x="15390" y="4547"/>
                    <a:pt x="15480" y="4385"/>
                  </a:cubicBezTo>
                  <a:cubicBezTo>
                    <a:pt x="15570" y="4385"/>
                    <a:pt x="15840" y="4547"/>
                    <a:pt x="15840" y="4547"/>
                  </a:cubicBezTo>
                  <a:cubicBezTo>
                    <a:pt x="16830" y="5359"/>
                    <a:pt x="16830" y="5359"/>
                    <a:pt x="16830" y="5359"/>
                  </a:cubicBezTo>
                  <a:cubicBezTo>
                    <a:pt x="16830" y="5359"/>
                    <a:pt x="17100" y="5197"/>
                    <a:pt x="17280" y="5197"/>
                  </a:cubicBezTo>
                  <a:cubicBezTo>
                    <a:pt x="17460" y="5035"/>
                    <a:pt x="17460" y="4710"/>
                    <a:pt x="17460" y="4710"/>
                  </a:cubicBezTo>
                  <a:cubicBezTo>
                    <a:pt x="17460" y="4710"/>
                    <a:pt x="17550" y="4872"/>
                    <a:pt x="17730" y="5197"/>
                  </a:cubicBezTo>
                  <a:cubicBezTo>
                    <a:pt x="17820" y="5684"/>
                    <a:pt x="17640" y="5522"/>
                    <a:pt x="17640" y="5684"/>
                  </a:cubicBezTo>
                  <a:cubicBezTo>
                    <a:pt x="17550" y="5847"/>
                    <a:pt x="17370" y="6334"/>
                    <a:pt x="17370" y="6334"/>
                  </a:cubicBezTo>
                  <a:cubicBezTo>
                    <a:pt x="17370" y="6334"/>
                    <a:pt x="17460" y="6659"/>
                    <a:pt x="17640" y="6659"/>
                  </a:cubicBezTo>
                  <a:cubicBezTo>
                    <a:pt x="17730" y="6659"/>
                    <a:pt x="17640" y="6821"/>
                    <a:pt x="17820" y="7146"/>
                  </a:cubicBezTo>
                  <a:cubicBezTo>
                    <a:pt x="17910" y="7308"/>
                    <a:pt x="18270" y="7471"/>
                    <a:pt x="18270" y="7471"/>
                  </a:cubicBezTo>
                  <a:cubicBezTo>
                    <a:pt x="18540" y="7471"/>
                    <a:pt x="18540" y="7471"/>
                    <a:pt x="18540" y="7471"/>
                  </a:cubicBezTo>
                  <a:cubicBezTo>
                    <a:pt x="18810" y="6983"/>
                    <a:pt x="18810" y="6983"/>
                    <a:pt x="18810" y="6983"/>
                  </a:cubicBezTo>
                  <a:cubicBezTo>
                    <a:pt x="18810" y="6983"/>
                    <a:pt x="19080" y="7146"/>
                    <a:pt x="19170" y="7308"/>
                  </a:cubicBezTo>
                  <a:cubicBezTo>
                    <a:pt x="19260" y="7471"/>
                    <a:pt x="19710" y="7795"/>
                    <a:pt x="19710" y="7795"/>
                  </a:cubicBezTo>
                  <a:cubicBezTo>
                    <a:pt x="20430" y="7471"/>
                    <a:pt x="20430" y="7471"/>
                    <a:pt x="20430" y="7471"/>
                  </a:cubicBezTo>
                  <a:cubicBezTo>
                    <a:pt x="20520" y="8770"/>
                    <a:pt x="20520" y="8770"/>
                    <a:pt x="20520" y="8770"/>
                  </a:cubicBezTo>
                  <a:cubicBezTo>
                    <a:pt x="20520" y="8770"/>
                    <a:pt x="20700" y="8770"/>
                    <a:pt x="20880" y="9257"/>
                  </a:cubicBezTo>
                  <a:cubicBezTo>
                    <a:pt x="21060" y="9582"/>
                    <a:pt x="20970" y="9257"/>
                    <a:pt x="20970" y="9257"/>
                  </a:cubicBezTo>
                  <a:cubicBezTo>
                    <a:pt x="20970" y="9257"/>
                    <a:pt x="21330" y="9582"/>
                    <a:pt x="21330" y="9744"/>
                  </a:cubicBezTo>
                  <a:cubicBezTo>
                    <a:pt x="21330" y="10069"/>
                    <a:pt x="21420" y="10394"/>
                    <a:pt x="21420" y="10394"/>
                  </a:cubicBezTo>
                  <a:cubicBezTo>
                    <a:pt x="21600" y="11044"/>
                    <a:pt x="21600" y="11044"/>
                    <a:pt x="21600" y="11044"/>
                  </a:cubicBezTo>
                  <a:cubicBezTo>
                    <a:pt x="21510" y="11044"/>
                    <a:pt x="21330" y="11044"/>
                    <a:pt x="21240" y="11044"/>
                  </a:cubicBezTo>
                  <a:cubicBezTo>
                    <a:pt x="21240" y="11044"/>
                    <a:pt x="21150" y="11206"/>
                    <a:pt x="21060" y="11206"/>
                  </a:cubicBezTo>
                  <a:cubicBezTo>
                    <a:pt x="20970" y="11206"/>
                    <a:pt x="20880" y="11206"/>
                    <a:pt x="20880" y="11206"/>
                  </a:cubicBezTo>
                  <a:cubicBezTo>
                    <a:pt x="20610" y="11368"/>
                    <a:pt x="20610" y="11368"/>
                    <a:pt x="20610" y="11368"/>
                  </a:cubicBezTo>
                  <a:cubicBezTo>
                    <a:pt x="20430" y="11693"/>
                    <a:pt x="20430" y="11693"/>
                    <a:pt x="20430" y="11693"/>
                  </a:cubicBezTo>
                  <a:cubicBezTo>
                    <a:pt x="20250" y="12018"/>
                    <a:pt x="20250" y="12018"/>
                    <a:pt x="20250" y="12018"/>
                  </a:cubicBezTo>
                  <a:cubicBezTo>
                    <a:pt x="20070" y="12668"/>
                    <a:pt x="20070" y="12668"/>
                    <a:pt x="20070" y="12668"/>
                  </a:cubicBezTo>
                  <a:cubicBezTo>
                    <a:pt x="20070" y="12992"/>
                    <a:pt x="20070" y="12992"/>
                    <a:pt x="20070" y="12992"/>
                  </a:cubicBezTo>
                  <a:cubicBezTo>
                    <a:pt x="19800" y="13480"/>
                    <a:pt x="19800" y="13480"/>
                    <a:pt x="19800" y="13480"/>
                  </a:cubicBezTo>
                  <a:cubicBezTo>
                    <a:pt x="19800" y="13480"/>
                    <a:pt x="19530" y="13805"/>
                    <a:pt x="19440" y="13805"/>
                  </a:cubicBezTo>
                  <a:cubicBezTo>
                    <a:pt x="19350" y="13805"/>
                    <a:pt x="19350" y="14454"/>
                    <a:pt x="19350" y="14454"/>
                  </a:cubicBezTo>
                  <a:cubicBezTo>
                    <a:pt x="19440" y="14941"/>
                    <a:pt x="19440" y="14941"/>
                    <a:pt x="19440" y="14941"/>
                  </a:cubicBezTo>
                  <a:cubicBezTo>
                    <a:pt x="19350" y="15753"/>
                    <a:pt x="19350" y="15753"/>
                    <a:pt x="19350" y="15753"/>
                  </a:cubicBezTo>
                  <a:cubicBezTo>
                    <a:pt x="18900" y="16078"/>
                    <a:pt x="18900" y="16078"/>
                    <a:pt x="18900" y="16078"/>
                  </a:cubicBezTo>
                  <a:cubicBezTo>
                    <a:pt x="18810" y="16565"/>
                    <a:pt x="18810" y="16565"/>
                    <a:pt x="18810" y="16565"/>
                  </a:cubicBezTo>
                  <a:cubicBezTo>
                    <a:pt x="18720" y="16890"/>
                    <a:pt x="18720" y="16890"/>
                    <a:pt x="18720" y="16890"/>
                  </a:cubicBezTo>
                  <a:cubicBezTo>
                    <a:pt x="18720" y="16890"/>
                    <a:pt x="18540" y="17053"/>
                    <a:pt x="18540" y="17053"/>
                  </a:cubicBezTo>
                  <a:cubicBezTo>
                    <a:pt x="18450" y="16890"/>
                    <a:pt x="18450" y="17377"/>
                    <a:pt x="18450" y="17377"/>
                  </a:cubicBezTo>
                  <a:cubicBezTo>
                    <a:pt x="18270" y="17702"/>
                    <a:pt x="18270" y="17702"/>
                    <a:pt x="18270" y="17702"/>
                  </a:cubicBezTo>
                  <a:cubicBezTo>
                    <a:pt x="18180" y="17702"/>
                    <a:pt x="18180" y="17702"/>
                    <a:pt x="18180" y="17702"/>
                  </a:cubicBezTo>
                  <a:cubicBezTo>
                    <a:pt x="18000" y="17865"/>
                    <a:pt x="18000" y="17865"/>
                    <a:pt x="18000" y="17865"/>
                  </a:cubicBezTo>
                  <a:cubicBezTo>
                    <a:pt x="18000" y="17865"/>
                    <a:pt x="17910" y="18027"/>
                    <a:pt x="17820" y="18027"/>
                  </a:cubicBezTo>
                  <a:cubicBezTo>
                    <a:pt x="17820" y="18189"/>
                    <a:pt x="17730" y="18027"/>
                    <a:pt x="17730" y="18027"/>
                  </a:cubicBezTo>
                  <a:cubicBezTo>
                    <a:pt x="17730" y="18027"/>
                    <a:pt x="17550" y="17865"/>
                    <a:pt x="17460" y="17865"/>
                  </a:cubicBezTo>
                  <a:cubicBezTo>
                    <a:pt x="17460" y="17865"/>
                    <a:pt x="17460" y="18027"/>
                    <a:pt x="17370" y="18027"/>
                  </a:cubicBezTo>
                  <a:cubicBezTo>
                    <a:pt x="17370" y="18027"/>
                    <a:pt x="17370" y="18027"/>
                    <a:pt x="17280" y="18189"/>
                  </a:cubicBezTo>
                  <a:cubicBezTo>
                    <a:pt x="17280" y="18189"/>
                    <a:pt x="17190" y="18027"/>
                    <a:pt x="17100" y="18027"/>
                  </a:cubicBezTo>
                  <a:cubicBezTo>
                    <a:pt x="17010" y="18027"/>
                    <a:pt x="17010" y="17865"/>
                    <a:pt x="17010" y="17865"/>
                  </a:cubicBezTo>
                  <a:cubicBezTo>
                    <a:pt x="16920" y="17865"/>
                    <a:pt x="16830" y="17865"/>
                    <a:pt x="16830" y="17865"/>
                  </a:cubicBezTo>
                  <a:cubicBezTo>
                    <a:pt x="16740" y="17865"/>
                    <a:pt x="16650" y="17865"/>
                    <a:pt x="16650" y="17865"/>
                  </a:cubicBezTo>
                  <a:cubicBezTo>
                    <a:pt x="16650" y="17865"/>
                    <a:pt x="16560" y="18027"/>
                    <a:pt x="16560" y="18027"/>
                  </a:cubicBezTo>
                  <a:cubicBezTo>
                    <a:pt x="16380" y="18189"/>
                    <a:pt x="16380" y="18189"/>
                    <a:pt x="16380" y="18189"/>
                  </a:cubicBezTo>
                  <a:cubicBezTo>
                    <a:pt x="16380" y="18189"/>
                    <a:pt x="16380" y="18352"/>
                    <a:pt x="16380" y="18514"/>
                  </a:cubicBezTo>
                  <a:cubicBezTo>
                    <a:pt x="16380" y="18514"/>
                    <a:pt x="16380" y="18677"/>
                    <a:pt x="16290" y="18677"/>
                  </a:cubicBezTo>
                  <a:cubicBezTo>
                    <a:pt x="16290" y="18677"/>
                    <a:pt x="16200" y="19002"/>
                    <a:pt x="16200" y="19002"/>
                  </a:cubicBezTo>
                  <a:cubicBezTo>
                    <a:pt x="16200" y="19002"/>
                    <a:pt x="16200" y="19489"/>
                    <a:pt x="16110" y="19489"/>
                  </a:cubicBezTo>
                  <a:cubicBezTo>
                    <a:pt x="16110" y="19489"/>
                    <a:pt x="16110" y="19651"/>
                    <a:pt x="16110" y="19651"/>
                  </a:cubicBezTo>
                  <a:cubicBezTo>
                    <a:pt x="16110" y="19976"/>
                    <a:pt x="16110" y="19976"/>
                    <a:pt x="16110" y="19976"/>
                  </a:cubicBezTo>
                  <a:cubicBezTo>
                    <a:pt x="16110" y="20138"/>
                    <a:pt x="16110" y="20138"/>
                    <a:pt x="16110" y="20138"/>
                  </a:cubicBezTo>
                  <a:cubicBezTo>
                    <a:pt x="15930" y="19976"/>
                    <a:pt x="15930" y="19976"/>
                    <a:pt x="15930" y="19976"/>
                  </a:cubicBezTo>
                  <a:cubicBezTo>
                    <a:pt x="15750" y="19002"/>
                    <a:pt x="15750" y="19002"/>
                    <a:pt x="15750" y="19002"/>
                  </a:cubicBezTo>
                  <a:cubicBezTo>
                    <a:pt x="15750" y="19002"/>
                    <a:pt x="15480" y="19164"/>
                    <a:pt x="15210" y="19164"/>
                  </a:cubicBezTo>
                  <a:cubicBezTo>
                    <a:pt x="14940" y="19002"/>
                    <a:pt x="14760" y="18677"/>
                    <a:pt x="14670" y="18677"/>
                  </a:cubicBezTo>
                  <a:cubicBezTo>
                    <a:pt x="14670" y="18514"/>
                    <a:pt x="14310" y="18677"/>
                    <a:pt x="14310" y="18677"/>
                  </a:cubicBezTo>
                  <a:cubicBezTo>
                    <a:pt x="14220" y="19326"/>
                    <a:pt x="14220" y="19326"/>
                    <a:pt x="14220" y="19326"/>
                  </a:cubicBezTo>
                  <a:cubicBezTo>
                    <a:pt x="13230" y="19164"/>
                    <a:pt x="13230" y="19164"/>
                    <a:pt x="13230" y="19164"/>
                  </a:cubicBezTo>
                  <a:cubicBezTo>
                    <a:pt x="12870" y="18839"/>
                    <a:pt x="12870" y="18839"/>
                    <a:pt x="12870" y="18839"/>
                  </a:cubicBezTo>
                  <a:cubicBezTo>
                    <a:pt x="12240" y="18352"/>
                    <a:pt x="12240" y="18352"/>
                    <a:pt x="12240" y="18352"/>
                  </a:cubicBezTo>
                  <a:cubicBezTo>
                    <a:pt x="12060" y="18189"/>
                    <a:pt x="12060" y="18189"/>
                    <a:pt x="12060" y="18189"/>
                  </a:cubicBezTo>
                  <a:cubicBezTo>
                    <a:pt x="12060" y="18189"/>
                    <a:pt x="11700" y="18189"/>
                    <a:pt x="11610" y="18189"/>
                  </a:cubicBezTo>
                  <a:cubicBezTo>
                    <a:pt x="11520" y="18189"/>
                    <a:pt x="11160" y="18027"/>
                    <a:pt x="11160" y="18027"/>
                  </a:cubicBezTo>
                  <a:cubicBezTo>
                    <a:pt x="11160" y="18027"/>
                    <a:pt x="10800" y="17865"/>
                    <a:pt x="10710" y="17865"/>
                  </a:cubicBezTo>
                  <a:cubicBezTo>
                    <a:pt x="10620" y="17865"/>
                    <a:pt x="10440" y="17865"/>
                    <a:pt x="10440" y="17865"/>
                  </a:cubicBezTo>
                  <a:cubicBezTo>
                    <a:pt x="9990" y="17702"/>
                    <a:pt x="9990" y="17702"/>
                    <a:pt x="9990" y="17702"/>
                  </a:cubicBezTo>
                  <a:cubicBezTo>
                    <a:pt x="9990" y="17702"/>
                    <a:pt x="9720" y="17377"/>
                    <a:pt x="9540" y="17540"/>
                  </a:cubicBezTo>
                  <a:cubicBezTo>
                    <a:pt x="9450" y="17540"/>
                    <a:pt x="9540" y="18027"/>
                    <a:pt x="9540" y="18027"/>
                  </a:cubicBezTo>
                  <a:cubicBezTo>
                    <a:pt x="9540" y="18027"/>
                    <a:pt x="9450" y="18839"/>
                    <a:pt x="9540" y="19002"/>
                  </a:cubicBezTo>
                  <a:cubicBezTo>
                    <a:pt x="9540" y="19326"/>
                    <a:pt x="9360" y="19651"/>
                    <a:pt x="9360" y="19651"/>
                  </a:cubicBezTo>
                  <a:cubicBezTo>
                    <a:pt x="9090" y="19814"/>
                    <a:pt x="9090" y="19814"/>
                    <a:pt x="9090" y="19814"/>
                  </a:cubicBezTo>
                  <a:cubicBezTo>
                    <a:pt x="9090" y="19814"/>
                    <a:pt x="8910" y="20301"/>
                    <a:pt x="8820" y="20301"/>
                  </a:cubicBezTo>
                  <a:cubicBezTo>
                    <a:pt x="8730" y="20301"/>
                    <a:pt x="8730" y="21275"/>
                    <a:pt x="8730" y="21275"/>
                  </a:cubicBezTo>
                  <a:cubicBezTo>
                    <a:pt x="8370" y="21438"/>
                    <a:pt x="8370" y="21438"/>
                    <a:pt x="8370" y="21438"/>
                  </a:cubicBezTo>
                  <a:cubicBezTo>
                    <a:pt x="8010" y="20950"/>
                    <a:pt x="8010" y="20950"/>
                    <a:pt x="8010" y="20950"/>
                  </a:cubicBezTo>
                  <a:cubicBezTo>
                    <a:pt x="7740" y="21275"/>
                    <a:pt x="7740" y="21275"/>
                    <a:pt x="7740" y="21275"/>
                  </a:cubicBezTo>
                  <a:cubicBezTo>
                    <a:pt x="7650" y="21600"/>
                    <a:pt x="7650" y="21600"/>
                    <a:pt x="7650" y="21600"/>
                  </a:cubicBezTo>
                  <a:cubicBezTo>
                    <a:pt x="7650" y="21600"/>
                    <a:pt x="7200" y="21438"/>
                    <a:pt x="7200" y="21438"/>
                  </a:cubicBezTo>
                  <a:cubicBezTo>
                    <a:pt x="7110" y="21438"/>
                    <a:pt x="6660" y="21275"/>
                    <a:pt x="6660" y="21275"/>
                  </a:cubicBezTo>
                  <a:cubicBezTo>
                    <a:pt x="6660" y="21275"/>
                    <a:pt x="6390" y="20788"/>
                    <a:pt x="6300" y="20626"/>
                  </a:cubicBezTo>
                  <a:cubicBezTo>
                    <a:pt x="6210" y="20463"/>
                    <a:pt x="5850" y="20138"/>
                    <a:pt x="5760" y="19976"/>
                  </a:cubicBezTo>
                  <a:cubicBezTo>
                    <a:pt x="5670" y="19976"/>
                    <a:pt x="5670" y="19814"/>
                    <a:pt x="5670" y="19814"/>
                  </a:cubicBezTo>
                  <a:cubicBezTo>
                    <a:pt x="5490" y="19489"/>
                    <a:pt x="5580" y="19489"/>
                    <a:pt x="5400" y="19326"/>
                  </a:cubicBezTo>
                  <a:cubicBezTo>
                    <a:pt x="5220" y="19164"/>
                    <a:pt x="5040" y="19164"/>
                    <a:pt x="5040" y="19002"/>
                  </a:cubicBezTo>
                  <a:cubicBezTo>
                    <a:pt x="5040" y="18839"/>
                    <a:pt x="5130" y="18514"/>
                    <a:pt x="4950" y="18514"/>
                  </a:cubicBezTo>
                  <a:cubicBezTo>
                    <a:pt x="4680" y="18677"/>
                    <a:pt x="4590" y="18839"/>
                    <a:pt x="4500" y="18677"/>
                  </a:cubicBezTo>
                  <a:cubicBezTo>
                    <a:pt x="4320" y="18352"/>
                    <a:pt x="4320" y="18352"/>
                    <a:pt x="4230" y="18027"/>
                  </a:cubicBezTo>
                  <a:cubicBezTo>
                    <a:pt x="4230" y="17702"/>
                    <a:pt x="4230" y="17377"/>
                    <a:pt x="4050" y="17377"/>
                  </a:cubicBezTo>
                  <a:cubicBezTo>
                    <a:pt x="3870" y="17377"/>
                    <a:pt x="3780" y="17215"/>
                    <a:pt x="3780" y="17215"/>
                  </a:cubicBezTo>
                  <a:cubicBezTo>
                    <a:pt x="3780" y="17215"/>
                    <a:pt x="3690" y="17377"/>
                    <a:pt x="3600" y="17053"/>
                  </a:cubicBezTo>
                  <a:cubicBezTo>
                    <a:pt x="3510" y="16565"/>
                    <a:pt x="3780" y="16890"/>
                    <a:pt x="3510" y="16241"/>
                  </a:cubicBezTo>
                  <a:cubicBezTo>
                    <a:pt x="3150" y="15753"/>
                    <a:pt x="3240" y="15916"/>
                    <a:pt x="3060" y="15591"/>
                  </a:cubicBezTo>
                  <a:cubicBezTo>
                    <a:pt x="2880" y="15266"/>
                    <a:pt x="2340" y="15591"/>
                    <a:pt x="2340" y="15591"/>
                  </a:cubicBezTo>
                  <a:cubicBezTo>
                    <a:pt x="2340" y="15591"/>
                    <a:pt x="2340" y="15429"/>
                    <a:pt x="2160" y="15104"/>
                  </a:cubicBezTo>
                  <a:cubicBezTo>
                    <a:pt x="1980" y="14779"/>
                    <a:pt x="2070" y="14941"/>
                    <a:pt x="1890" y="14617"/>
                  </a:cubicBezTo>
                  <a:cubicBezTo>
                    <a:pt x="1710" y="14129"/>
                    <a:pt x="1710" y="14292"/>
                    <a:pt x="1710" y="13805"/>
                  </a:cubicBezTo>
                  <a:cubicBezTo>
                    <a:pt x="1620" y="13317"/>
                    <a:pt x="1710" y="13155"/>
                    <a:pt x="1530" y="12830"/>
                  </a:cubicBezTo>
                  <a:cubicBezTo>
                    <a:pt x="1350" y="12505"/>
                    <a:pt x="1260" y="12180"/>
                    <a:pt x="1260" y="12180"/>
                  </a:cubicBezTo>
                  <a:cubicBezTo>
                    <a:pt x="1260" y="12180"/>
                    <a:pt x="1080" y="11856"/>
                    <a:pt x="1260" y="11368"/>
                  </a:cubicBezTo>
                  <a:cubicBezTo>
                    <a:pt x="1440" y="11044"/>
                    <a:pt x="1440" y="11044"/>
                    <a:pt x="1440" y="10719"/>
                  </a:cubicBezTo>
                  <a:cubicBezTo>
                    <a:pt x="1440" y="10556"/>
                    <a:pt x="1530" y="10232"/>
                    <a:pt x="1260" y="9907"/>
                  </a:cubicBezTo>
                  <a:cubicBezTo>
                    <a:pt x="990" y="9582"/>
                    <a:pt x="990" y="9582"/>
                    <a:pt x="720" y="9257"/>
                  </a:cubicBezTo>
                  <a:cubicBezTo>
                    <a:pt x="540" y="9095"/>
                    <a:pt x="450" y="9095"/>
                    <a:pt x="360" y="8932"/>
                  </a:cubicBezTo>
                  <a:cubicBezTo>
                    <a:pt x="270" y="8770"/>
                    <a:pt x="90" y="7633"/>
                    <a:pt x="90" y="7633"/>
                  </a:cubicBezTo>
                  <a:cubicBezTo>
                    <a:pt x="0" y="7146"/>
                    <a:pt x="0" y="7146"/>
                    <a:pt x="0" y="7146"/>
                  </a:cubicBezTo>
                  <a:cubicBezTo>
                    <a:pt x="450" y="7146"/>
                    <a:pt x="450" y="7146"/>
                    <a:pt x="450" y="7146"/>
                  </a:cubicBezTo>
                  <a:cubicBezTo>
                    <a:pt x="540" y="7795"/>
                    <a:pt x="540" y="7795"/>
                    <a:pt x="540" y="7795"/>
                  </a:cubicBezTo>
                  <a:cubicBezTo>
                    <a:pt x="630" y="8283"/>
                    <a:pt x="630" y="8283"/>
                    <a:pt x="630" y="8283"/>
                  </a:cubicBezTo>
                  <a:cubicBezTo>
                    <a:pt x="900" y="7308"/>
                    <a:pt x="900" y="7308"/>
                    <a:pt x="900" y="7308"/>
                  </a:cubicBezTo>
                  <a:cubicBezTo>
                    <a:pt x="1260" y="6496"/>
                    <a:pt x="1260" y="6496"/>
                    <a:pt x="1260" y="6496"/>
                  </a:cubicBezTo>
                  <a:cubicBezTo>
                    <a:pt x="1260" y="6496"/>
                    <a:pt x="1260" y="6496"/>
                    <a:pt x="1530" y="6496"/>
                  </a:cubicBezTo>
                  <a:cubicBezTo>
                    <a:pt x="1710" y="6496"/>
                    <a:pt x="1980" y="6171"/>
                    <a:pt x="2070" y="6171"/>
                  </a:cubicBezTo>
                  <a:cubicBezTo>
                    <a:pt x="2250" y="6171"/>
                    <a:pt x="2520" y="6334"/>
                    <a:pt x="2610" y="6334"/>
                  </a:cubicBezTo>
                  <a:cubicBezTo>
                    <a:pt x="2790" y="6171"/>
                    <a:pt x="2880" y="6171"/>
                    <a:pt x="2880" y="5847"/>
                  </a:cubicBezTo>
                  <a:cubicBezTo>
                    <a:pt x="2970" y="5684"/>
                    <a:pt x="2790" y="5359"/>
                    <a:pt x="3150" y="5197"/>
                  </a:cubicBezTo>
                  <a:cubicBezTo>
                    <a:pt x="3420" y="4872"/>
                    <a:pt x="3510" y="4872"/>
                    <a:pt x="3510" y="4872"/>
                  </a:cubicBezTo>
                  <a:lnTo>
                    <a:pt x="3870" y="4385"/>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2" name="Shape 2245">
              <a:extLst>
                <a:ext uri="{FF2B5EF4-FFF2-40B4-BE49-F238E27FC236}">
                  <a16:creationId xmlns:a16="http://schemas.microsoft.com/office/drawing/2014/main" id="{17D45E57-81F0-C392-946D-5D0651DEE580}"/>
                </a:ext>
              </a:extLst>
            </p:cNvPr>
            <p:cNvSpPr/>
            <p:nvPr/>
          </p:nvSpPr>
          <p:spPr>
            <a:xfrm>
              <a:off x="8516660" y="5710798"/>
              <a:ext cx="1193650" cy="424520"/>
            </a:xfrm>
            <a:custGeom>
              <a:avLst/>
              <a:gdLst/>
              <a:ahLst/>
              <a:cxnLst>
                <a:cxn ang="0">
                  <a:pos x="wd2" y="hd2"/>
                </a:cxn>
                <a:cxn ang="5400000">
                  <a:pos x="wd2" y="hd2"/>
                </a:cxn>
                <a:cxn ang="10800000">
                  <a:pos x="wd2" y="hd2"/>
                </a:cxn>
                <a:cxn ang="16200000">
                  <a:pos x="wd2" y="hd2"/>
                </a:cxn>
              </a:cxnLst>
              <a:rect l="0" t="0" r="r" b="b"/>
              <a:pathLst>
                <a:path w="21504" h="21431" extrusionOk="0">
                  <a:moveTo>
                    <a:pt x="17103" y="13929"/>
                  </a:moveTo>
                  <a:cubicBezTo>
                    <a:pt x="17178" y="13929"/>
                    <a:pt x="17178" y="13929"/>
                    <a:pt x="17178" y="13929"/>
                  </a:cubicBezTo>
                  <a:cubicBezTo>
                    <a:pt x="17103" y="13727"/>
                    <a:pt x="17103" y="13727"/>
                    <a:pt x="17103" y="13727"/>
                  </a:cubicBezTo>
                  <a:cubicBezTo>
                    <a:pt x="17103" y="13727"/>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326" y="13525"/>
                    <a:pt x="17326" y="13525"/>
                    <a:pt x="17326" y="13525"/>
                  </a:cubicBezTo>
                  <a:cubicBezTo>
                    <a:pt x="17326" y="13525"/>
                    <a:pt x="17326" y="13525"/>
                    <a:pt x="17326" y="13525"/>
                  </a:cubicBezTo>
                  <a:cubicBezTo>
                    <a:pt x="17400" y="13525"/>
                    <a:pt x="17549" y="13525"/>
                    <a:pt x="17623" y="13525"/>
                  </a:cubicBezTo>
                  <a:cubicBezTo>
                    <a:pt x="17623" y="13525"/>
                    <a:pt x="17623" y="13525"/>
                    <a:pt x="17623" y="13525"/>
                  </a:cubicBezTo>
                  <a:cubicBezTo>
                    <a:pt x="17623" y="13525"/>
                    <a:pt x="17623" y="13525"/>
                    <a:pt x="17623" y="13525"/>
                  </a:cubicBezTo>
                  <a:cubicBezTo>
                    <a:pt x="17623" y="13525"/>
                    <a:pt x="17623" y="13525"/>
                    <a:pt x="17623" y="13525"/>
                  </a:cubicBezTo>
                  <a:cubicBezTo>
                    <a:pt x="17623" y="13525"/>
                    <a:pt x="17623" y="13525"/>
                    <a:pt x="17623" y="13525"/>
                  </a:cubicBezTo>
                  <a:cubicBezTo>
                    <a:pt x="17623" y="13525"/>
                    <a:pt x="17623" y="13525"/>
                    <a:pt x="17623" y="13525"/>
                  </a:cubicBezTo>
                  <a:cubicBezTo>
                    <a:pt x="17697" y="13525"/>
                    <a:pt x="17697" y="13525"/>
                    <a:pt x="17697" y="13525"/>
                  </a:cubicBezTo>
                  <a:cubicBezTo>
                    <a:pt x="17697" y="13525"/>
                    <a:pt x="17697" y="13525"/>
                    <a:pt x="17697" y="13525"/>
                  </a:cubicBezTo>
                  <a:cubicBezTo>
                    <a:pt x="17697" y="13525"/>
                    <a:pt x="17697" y="13525"/>
                    <a:pt x="17697" y="13525"/>
                  </a:cubicBezTo>
                  <a:cubicBezTo>
                    <a:pt x="17697" y="13525"/>
                    <a:pt x="17697" y="13525"/>
                    <a:pt x="17697" y="13525"/>
                  </a:cubicBezTo>
                  <a:cubicBezTo>
                    <a:pt x="17697" y="13525"/>
                    <a:pt x="17697" y="13525"/>
                    <a:pt x="17697" y="13525"/>
                  </a:cubicBezTo>
                  <a:cubicBezTo>
                    <a:pt x="17697" y="13525"/>
                    <a:pt x="17697" y="13525"/>
                    <a:pt x="17697"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920" y="13525"/>
                    <a:pt x="17920" y="13525"/>
                    <a:pt x="17920" y="13525"/>
                  </a:cubicBezTo>
                  <a:cubicBezTo>
                    <a:pt x="17920" y="13525"/>
                    <a:pt x="17920" y="13525"/>
                    <a:pt x="17920" y="13525"/>
                  </a:cubicBezTo>
                  <a:cubicBezTo>
                    <a:pt x="17920" y="13525"/>
                    <a:pt x="17920" y="13525"/>
                    <a:pt x="17920" y="13525"/>
                  </a:cubicBezTo>
                  <a:cubicBezTo>
                    <a:pt x="17920" y="13525"/>
                    <a:pt x="17920" y="13525"/>
                    <a:pt x="17920" y="13525"/>
                  </a:cubicBezTo>
                  <a:cubicBezTo>
                    <a:pt x="17920" y="13525"/>
                    <a:pt x="17920" y="13525"/>
                    <a:pt x="17920" y="13525"/>
                  </a:cubicBezTo>
                  <a:cubicBezTo>
                    <a:pt x="17920" y="13525"/>
                    <a:pt x="17920" y="13525"/>
                    <a:pt x="17920" y="13525"/>
                  </a:cubicBezTo>
                  <a:cubicBezTo>
                    <a:pt x="17994" y="13525"/>
                    <a:pt x="17994" y="13525"/>
                    <a:pt x="17994" y="13525"/>
                  </a:cubicBezTo>
                  <a:cubicBezTo>
                    <a:pt x="17994" y="13525"/>
                    <a:pt x="17994" y="13525"/>
                    <a:pt x="17994" y="13525"/>
                  </a:cubicBezTo>
                  <a:cubicBezTo>
                    <a:pt x="17994" y="13525"/>
                    <a:pt x="17994" y="13525"/>
                    <a:pt x="17994" y="13525"/>
                  </a:cubicBezTo>
                  <a:cubicBezTo>
                    <a:pt x="17994" y="13525"/>
                    <a:pt x="17994" y="13525"/>
                    <a:pt x="17994" y="13525"/>
                  </a:cubicBezTo>
                  <a:cubicBezTo>
                    <a:pt x="17994" y="13525"/>
                    <a:pt x="17994" y="13525"/>
                    <a:pt x="17994" y="13525"/>
                  </a:cubicBezTo>
                  <a:cubicBezTo>
                    <a:pt x="17994" y="13525"/>
                    <a:pt x="17994" y="13525"/>
                    <a:pt x="17994" y="13525"/>
                  </a:cubicBezTo>
                  <a:cubicBezTo>
                    <a:pt x="18068" y="13525"/>
                    <a:pt x="18068" y="13525"/>
                    <a:pt x="18068" y="13525"/>
                  </a:cubicBezTo>
                  <a:cubicBezTo>
                    <a:pt x="18068" y="13525"/>
                    <a:pt x="18068" y="13525"/>
                    <a:pt x="18068" y="13525"/>
                  </a:cubicBezTo>
                  <a:cubicBezTo>
                    <a:pt x="18068" y="13525"/>
                    <a:pt x="18068" y="13525"/>
                    <a:pt x="18068" y="13525"/>
                  </a:cubicBezTo>
                  <a:cubicBezTo>
                    <a:pt x="18068" y="13525"/>
                    <a:pt x="18068" y="13525"/>
                    <a:pt x="18068" y="13525"/>
                  </a:cubicBezTo>
                  <a:cubicBezTo>
                    <a:pt x="18068" y="13525"/>
                    <a:pt x="18068" y="13525"/>
                    <a:pt x="18068" y="13525"/>
                  </a:cubicBezTo>
                  <a:cubicBezTo>
                    <a:pt x="18143" y="13525"/>
                    <a:pt x="18143" y="13525"/>
                    <a:pt x="18143" y="13525"/>
                  </a:cubicBezTo>
                  <a:cubicBezTo>
                    <a:pt x="18143" y="13525"/>
                    <a:pt x="18143" y="13525"/>
                    <a:pt x="18143" y="13525"/>
                  </a:cubicBezTo>
                  <a:cubicBezTo>
                    <a:pt x="18143" y="13525"/>
                    <a:pt x="18143" y="13525"/>
                    <a:pt x="18143" y="13525"/>
                  </a:cubicBezTo>
                  <a:cubicBezTo>
                    <a:pt x="18143" y="13525"/>
                    <a:pt x="18143" y="13525"/>
                    <a:pt x="18143" y="13525"/>
                  </a:cubicBezTo>
                  <a:cubicBezTo>
                    <a:pt x="18143" y="13525"/>
                    <a:pt x="18143" y="13525"/>
                    <a:pt x="18143" y="13525"/>
                  </a:cubicBezTo>
                  <a:cubicBezTo>
                    <a:pt x="18217" y="13525"/>
                    <a:pt x="18217" y="13525"/>
                    <a:pt x="18217" y="13525"/>
                  </a:cubicBezTo>
                  <a:cubicBezTo>
                    <a:pt x="18217" y="13525"/>
                    <a:pt x="18217" y="13525"/>
                    <a:pt x="18217" y="13525"/>
                  </a:cubicBezTo>
                  <a:cubicBezTo>
                    <a:pt x="18217" y="13525"/>
                    <a:pt x="18217" y="13525"/>
                    <a:pt x="18217" y="13525"/>
                  </a:cubicBezTo>
                  <a:cubicBezTo>
                    <a:pt x="18217" y="13525"/>
                    <a:pt x="18217" y="13525"/>
                    <a:pt x="18217" y="13525"/>
                  </a:cubicBezTo>
                  <a:cubicBezTo>
                    <a:pt x="18217" y="13525"/>
                    <a:pt x="18217" y="13525"/>
                    <a:pt x="18217" y="13525"/>
                  </a:cubicBezTo>
                  <a:cubicBezTo>
                    <a:pt x="18217" y="13525"/>
                    <a:pt x="18217" y="13525"/>
                    <a:pt x="18217" y="13525"/>
                  </a:cubicBezTo>
                  <a:cubicBezTo>
                    <a:pt x="18291" y="13525"/>
                    <a:pt x="18291" y="13525"/>
                    <a:pt x="18291" y="13525"/>
                  </a:cubicBezTo>
                  <a:cubicBezTo>
                    <a:pt x="18291" y="13525"/>
                    <a:pt x="18291" y="13525"/>
                    <a:pt x="18291" y="13525"/>
                  </a:cubicBezTo>
                  <a:cubicBezTo>
                    <a:pt x="18291" y="13525"/>
                    <a:pt x="18291" y="13525"/>
                    <a:pt x="18291" y="13525"/>
                  </a:cubicBezTo>
                  <a:cubicBezTo>
                    <a:pt x="18291" y="13525"/>
                    <a:pt x="18291" y="13525"/>
                    <a:pt x="18291" y="13525"/>
                  </a:cubicBezTo>
                  <a:cubicBezTo>
                    <a:pt x="18291" y="13525"/>
                    <a:pt x="18291" y="13525"/>
                    <a:pt x="18291"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439" y="13525"/>
                    <a:pt x="18439" y="13525"/>
                    <a:pt x="18439" y="13525"/>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662" y="14131"/>
                    <a:pt x="18662" y="14131"/>
                    <a:pt x="18662" y="14131"/>
                  </a:cubicBezTo>
                  <a:cubicBezTo>
                    <a:pt x="18662" y="14131"/>
                    <a:pt x="19479" y="14535"/>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7103" y="13929"/>
                    <a:pt x="17103" y="13929"/>
                    <a:pt x="17103" y="13929"/>
                  </a:cubicBezTo>
                  <a:close/>
                  <a:moveTo>
                    <a:pt x="17252" y="13525"/>
                  </a:moveTo>
                  <a:cubicBezTo>
                    <a:pt x="17252" y="13525"/>
                    <a:pt x="17252" y="13525"/>
                    <a:pt x="17252" y="13525"/>
                  </a:cubicBezTo>
                  <a:cubicBezTo>
                    <a:pt x="17252" y="13525"/>
                    <a:pt x="17252" y="13525"/>
                    <a:pt x="17252" y="13525"/>
                  </a:cubicBezTo>
                  <a:cubicBezTo>
                    <a:pt x="17252" y="13525"/>
                    <a:pt x="17252" y="13525"/>
                    <a:pt x="17252" y="13525"/>
                  </a:cubicBezTo>
                  <a:close/>
                  <a:moveTo>
                    <a:pt x="19924" y="14333"/>
                  </a:move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98" y="14333"/>
                    <a:pt x="19998" y="14333"/>
                    <a:pt x="19998" y="14333"/>
                  </a:cubicBezTo>
                  <a:cubicBezTo>
                    <a:pt x="19998" y="14333"/>
                    <a:pt x="19998" y="14333"/>
                    <a:pt x="19998" y="14333"/>
                  </a:cubicBezTo>
                  <a:cubicBezTo>
                    <a:pt x="19998" y="14333"/>
                    <a:pt x="19998" y="14333"/>
                    <a:pt x="19998" y="14333"/>
                  </a:cubicBezTo>
                  <a:cubicBezTo>
                    <a:pt x="19998" y="14333"/>
                    <a:pt x="19998" y="14333"/>
                    <a:pt x="19998" y="14333"/>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147" y="14131"/>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444" y="13929"/>
                    <a:pt x="20444" y="13929"/>
                    <a:pt x="20592" y="14131"/>
                  </a:cubicBezTo>
                  <a:cubicBezTo>
                    <a:pt x="20741" y="14333"/>
                    <a:pt x="20963" y="14535"/>
                    <a:pt x="21112" y="14535"/>
                  </a:cubicBezTo>
                  <a:cubicBezTo>
                    <a:pt x="21409" y="14535"/>
                    <a:pt x="21409" y="14535"/>
                    <a:pt x="21409" y="14535"/>
                  </a:cubicBezTo>
                  <a:cubicBezTo>
                    <a:pt x="21483" y="13929"/>
                    <a:pt x="21483" y="13929"/>
                    <a:pt x="21483" y="13929"/>
                  </a:cubicBezTo>
                  <a:cubicBezTo>
                    <a:pt x="21557" y="14333"/>
                    <a:pt x="21409" y="12314"/>
                    <a:pt x="21483" y="11708"/>
                  </a:cubicBezTo>
                  <a:cubicBezTo>
                    <a:pt x="21409" y="11507"/>
                    <a:pt x="21334" y="11305"/>
                    <a:pt x="21334" y="11103"/>
                  </a:cubicBezTo>
                  <a:cubicBezTo>
                    <a:pt x="21260" y="10901"/>
                    <a:pt x="20889" y="10901"/>
                    <a:pt x="20889" y="10901"/>
                  </a:cubicBezTo>
                  <a:cubicBezTo>
                    <a:pt x="20592" y="10699"/>
                    <a:pt x="20592" y="10699"/>
                    <a:pt x="20592" y="10699"/>
                  </a:cubicBezTo>
                  <a:cubicBezTo>
                    <a:pt x="20369" y="10497"/>
                    <a:pt x="20369" y="10497"/>
                    <a:pt x="20369" y="10497"/>
                  </a:cubicBezTo>
                  <a:cubicBezTo>
                    <a:pt x="20147" y="9488"/>
                    <a:pt x="20147" y="9488"/>
                    <a:pt x="20147" y="9488"/>
                  </a:cubicBezTo>
                  <a:cubicBezTo>
                    <a:pt x="19924" y="9084"/>
                    <a:pt x="19924" y="9084"/>
                    <a:pt x="19924" y="9084"/>
                  </a:cubicBezTo>
                  <a:cubicBezTo>
                    <a:pt x="19701" y="8277"/>
                    <a:pt x="19701" y="8277"/>
                    <a:pt x="19701" y="8277"/>
                  </a:cubicBezTo>
                  <a:cubicBezTo>
                    <a:pt x="19776" y="7873"/>
                    <a:pt x="19776" y="7873"/>
                    <a:pt x="19776" y="7873"/>
                  </a:cubicBezTo>
                  <a:cubicBezTo>
                    <a:pt x="19998" y="7065"/>
                    <a:pt x="19998" y="7065"/>
                    <a:pt x="19998" y="7065"/>
                  </a:cubicBezTo>
                  <a:cubicBezTo>
                    <a:pt x="19998" y="7065"/>
                    <a:pt x="20072" y="7065"/>
                    <a:pt x="20147" y="6662"/>
                  </a:cubicBezTo>
                  <a:cubicBezTo>
                    <a:pt x="20295" y="6056"/>
                    <a:pt x="20147" y="6056"/>
                    <a:pt x="20147" y="6056"/>
                  </a:cubicBezTo>
                  <a:cubicBezTo>
                    <a:pt x="20147" y="6056"/>
                    <a:pt x="19850" y="5652"/>
                    <a:pt x="19701" y="5450"/>
                  </a:cubicBezTo>
                  <a:cubicBezTo>
                    <a:pt x="19553" y="5249"/>
                    <a:pt x="19330" y="5854"/>
                    <a:pt x="19330" y="5854"/>
                  </a:cubicBezTo>
                  <a:cubicBezTo>
                    <a:pt x="18885" y="5652"/>
                    <a:pt x="18885" y="5652"/>
                    <a:pt x="18885" y="5652"/>
                  </a:cubicBezTo>
                  <a:cubicBezTo>
                    <a:pt x="18514" y="5652"/>
                    <a:pt x="18514" y="5652"/>
                    <a:pt x="18514" y="5652"/>
                  </a:cubicBezTo>
                  <a:cubicBezTo>
                    <a:pt x="18217" y="4845"/>
                    <a:pt x="18217" y="4845"/>
                    <a:pt x="18217" y="4845"/>
                  </a:cubicBezTo>
                  <a:cubicBezTo>
                    <a:pt x="17697" y="4441"/>
                    <a:pt x="17697" y="4441"/>
                    <a:pt x="17697" y="4441"/>
                  </a:cubicBezTo>
                  <a:cubicBezTo>
                    <a:pt x="17400" y="4037"/>
                    <a:pt x="17400" y="4037"/>
                    <a:pt x="17400" y="4037"/>
                  </a:cubicBezTo>
                  <a:cubicBezTo>
                    <a:pt x="17400" y="4037"/>
                    <a:pt x="17400" y="2422"/>
                    <a:pt x="17400" y="2221"/>
                  </a:cubicBezTo>
                  <a:cubicBezTo>
                    <a:pt x="17400" y="1817"/>
                    <a:pt x="17400" y="1211"/>
                    <a:pt x="17400" y="1211"/>
                  </a:cubicBezTo>
                  <a:cubicBezTo>
                    <a:pt x="17400" y="1211"/>
                    <a:pt x="16955" y="1009"/>
                    <a:pt x="16732" y="1211"/>
                  </a:cubicBezTo>
                  <a:cubicBezTo>
                    <a:pt x="16584" y="1413"/>
                    <a:pt x="16361" y="1211"/>
                    <a:pt x="16361" y="1211"/>
                  </a:cubicBezTo>
                  <a:cubicBezTo>
                    <a:pt x="16361" y="1211"/>
                    <a:pt x="15767" y="1009"/>
                    <a:pt x="15693" y="606"/>
                  </a:cubicBezTo>
                  <a:cubicBezTo>
                    <a:pt x="15693" y="202"/>
                    <a:pt x="15693" y="404"/>
                    <a:pt x="15619" y="404"/>
                  </a:cubicBezTo>
                  <a:cubicBezTo>
                    <a:pt x="15470" y="404"/>
                    <a:pt x="15025" y="404"/>
                    <a:pt x="15025" y="404"/>
                  </a:cubicBezTo>
                  <a:cubicBezTo>
                    <a:pt x="14580" y="0"/>
                    <a:pt x="14580" y="0"/>
                    <a:pt x="14580" y="0"/>
                  </a:cubicBezTo>
                  <a:cubicBezTo>
                    <a:pt x="14580" y="1817"/>
                    <a:pt x="14580" y="1817"/>
                    <a:pt x="14580" y="1817"/>
                  </a:cubicBezTo>
                  <a:cubicBezTo>
                    <a:pt x="14505" y="1413"/>
                    <a:pt x="14505" y="1413"/>
                    <a:pt x="14505" y="1413"/>
                  </a:cubicBezTo>
                  <a:cubicBezTo>
                    <a:pt x="13763" y="1211"/>
                    <a:pt x="13763" y="1211"/>
                    <a:pt x="13763" y="1211"/>
                  </a:cubicBezTo>
                  <a:cubicBezTo>
                    <a:pt x="13318" y="1817"/>
                    <a:pt x="13318" y="1817"/>
                    <a:pt x="13318" y="1817"/>
                  </a:cubicBezTo>
                  <a:cubicBezTo>
                    <a:pt x="12947" y="2221"/>
                    <a:pt x="12947" y="2221"/>
                    <a:pt x="12947" y="2221"/>
                  </a:cubicBezTo>
                  <a:cubicBezTo>
                    <a:pt x="12947" y="2826"/>
                    <a:pt x="12947" y="2826"/>
                    <a:pt x="12947" y="2826"/>
                  </a:cubicBezTo>
                  <a:cubicBezTo>
                    <a:pt x="12798" y="3432"/>
                    <a:pt x="12798" y="3432"/>
                    <a:pt x="12798" y="3432"/>
                  </a:cubicBezTo>
                  <a:cubicBezTo>
                    <a:pt x="12798" y="3432"/>
                    <a:pt x="12576" y="3634"/>
                    <a:pt x="12427" y="3634"/>
                  </a:cubicBezTo>
                  <a:cubicBezTo>
                    <a:pt x="12427" y="3836"/>
                    <a:pt x="12353" y="4239"/>
                    <a:pt x="12353" y="4441"/>
                  </a:cubicBezTo>
                  <a:cubicBezTo>
                    <a:pt x="12279" y="4643"/>
                    <a:pt x="12130" y="4643"/>
                    <a:pt x="12130" y="4643"/>
                  </a:cubicBezTo>
                  <a:cubicBezTo>
                    <a:pt x="11833" y="4441"/>
                    <a:pt x="11833" y="4441"/>
                    <a:pt x="11833" y="4441"/>
                  </a:cubicBezTo>
                  <a:cubicBezTo>
                    <a:pt x="11611" y="4441"/>
                    <a:pt x="11611" y="4441"/>
                    <a:pt x="11611" y="4441"/>
                  </a:cubicBezTo>
                  <a:cubicBezTo>
                    <a:pt x="11462" y="4037"/>
                    <a:pt x="11462" y="4037"/>
                    <a:pt x="11462" y="4037"/>
                  </a:cubicBezTo>
                  <a:cubicBezTo>
                    <a:pt x="11611" y="3230"/>
                    <a:pt x="11611" y="3230"/>
                    <a:pt x="11611" y="3230"/>
                  </a:cubicBezTo>
                  <a:cubicBezTo>
                    <a:pt x="11611" y="2826"/>
                    <a:pt x="11611" y="2826"/>
                    <a:pt x="11611" y="2826"/>
                  </a:cubicBezTo>
                  <a:cubicBezTo>
                    <a:pt x="11165" y="2826"/>
                    <a:pt x="11165" y="2826"/>
                    <a:pt x="11165" y="2826"/>
                  </a:cubicBezTo>
                  <a:cubicBezTo>
                    <a:pt x="10720" y="2422"/>
                    <a:pt x="10720" y="2422"/>
                    <a:pt x="10720" y="2422"/>
                  </a:cubicBezTo>
                  <a:cubicBezTo>
                    <a:pt x="9755" y="2221"/>
                    <a:pt x="9755" y="2221"/>
                    <a:pt x="9755" y="2221"/>
                  </a:cubicBezTo>
                  <a:cubicBezTo>
                    <a:pt x="9161" y="1817"/>
                    <a:pt x="9161" y="1817"/>
                    <a:pt x="9161" y="1817"/>
                  </a:cubicBezTo>
                  <a:cubicBezTo>
                    <a:pt x="8790" y="807"/>
                    <a:pt x="8790" y="807"/>
                    <a:pt x="8790" y="807"/>
                  </a:cubicBezTo>
                  <a:cubicBezTo>
                    <a:pt x="8196" y="404"/>
                    <a:pt x="8196" y="404"/>
                    <a:pt x="8196" y="404"/>
                  </a:cubicBezTo>
                  <a:cubicBezTo>
                    <a:pt x="7677" y="1413"/>
                    <a:pt x="7677" y="1413"/>
                    <a:pt x="7677" y="1413"/>
                  </a:cubicBezTo>
                  <a:cubicBezTo>
                    <a:pt x="7677" y="1413"/>
                    <a:pt x="7157" y="807"/>
                    <a:pt x="6934" y="807"/>
                  </a:cubicBezTo>
                  <a:cubicBezTo>
                    <a:pt x="6786" y="1009"/>
                    <a:pt x="6489" y="1211"/>
                    <a:pt x="6415" y="1413"/>
                  </a:cubicBezTo>
                  <a:cubicBezTo>
                    <a:pt x="6341" y="1413"/>
                    <a:pt x="6192" y="2019"/>
                    <a:pt x="6118" y="2019"/>
                  </a:cubicBezTo>
                  <a:cubicBezTo>
                    <a:pt x="5969" y="2221"/>
                    <a:pt x="5821" y="2019"/>
                    <a:pt x="5672" y="2019"/>
                  </a:cubicBezTo>
                  <a:cubicBezTo>
                    <a:pt x="5598" y="2221"/>
                    <a:pt x="5524" y="2422"/>
                    <a:pt x="5376" y="2422"/>
                  </a:cubicBezTo>
                  <a:cubicBezTo>
                    <a:pt x="5227" y="2422"/>
                    <a:pt x="5153" y="2221"/>
                    <a:pt x="5004" y="2221"/>
                  </a:cubicBezTo>
                  <a:cubicBezTo>
                    <a:pt x="4930" y="2422"/>
                    <a:pt x="4856" y="2624"/>
                    <a:pt x="4708" y="2624"/>
                  </a:cubicBezTo>
                  <a:cubicBezTo>
                    <a:pt x="4559" y="2624"/>
                    <a:pt x="4485" y="2221"/>
                    <a:pt x="4485" y="2221"/>
                  </a:cubicBezTo>
                  <a:cubicBezTo>
                    <a:pt x="4262" y="2221"/>
                    <a:pt x="4262" y="2221"/>
                    <a:pt x="4262" y="2221"/>
                  </a:cubicBezTo>
                  <a:cubicBezTo>
                    <a:pt x="4039" y="1615"/>
                    <a:pt x="4039" y="1615"/>
                    <a:pt x="4039" y="1615"/>
                  </a:cubicBezTo>
                  <a:cubicBezTo>
                    <a:pt x="4039" y="1615"/>
                    <a:pt x="3965" y="2019"/>
                    <a:pt x="3743" y="2019"/>
                  </a:cubicBezTo>
                  <a:cubicBezTo>
                    <a:pt x="3594" y="1817"/>
                    <a:pt x="3446" y="1615"/>
                    <a:pt x="3297" y="1817"/>
                  </a:cubicBezTo>
                  <a:cubicBezTo>
                    <a:pt x="3149" y="1817"/>
                    <a:pt x="2926" y="2019"/>
                    <a:pt x="2926" y="2019"/>
                  </a:cubicBezTo>
                  <a:cubicBezTo>
                    <a:pt x="2332" y="1413"/>
                    <a:pt x="2332" y="1413"/>
                    <a:pt x="2332" y="1413"/>
                  </a:cubicBezTo>
                  <a:cubicBezTo>
                    <a:pt x="1961" y="1211"/>
                    <a:pt x="1961" y="1211"/>
                    <a:pt x="1961" y="1211"/>
                  </a:cubicBezTo>
                  <a:cubicBezTo>
                    <a:pt x="1664" y="1009"/>
                    <a:pt x="1664" y="1009"/>
                    <a:pt x="1664" y="1009"/>
                  </a:cubicBezTo>
                  <a:cubicBezTo>
                    <a:pt x="1516" y="1615"/>
                    <a:pt x="1516" y="1615"/>
                    <a:pt x="1516" y="1615"/>
                  </a:cubicBezTo>
                  <a:cubicBezTo>
                    <a:pt x="1145" y="1615"/>
                    <a:pt x="1145" y="1615"/>
                    <a:pt x="1145" y="1615"/>
                  </a:cubicBezTo>
                  <a:cubicBezTo>
                    <a:pt x="1145" y="1615"/>
                    <a:pt x="699" y="1211"/>
                    <a:pt x="402" y="1413"/>
                  </a:cubicBezTo>
                  <a:cubicBezTo>
                    <a:pt x="328" y="1413"/>
                    <a:pt x="105" y="2019"/>
                    <a:pt x="31" y="2019"/>
                  </a:cubicBezTo>
                  <a:cubicBezTo>
                    <a:pt x="-43" y="2221"/>
                    <a:pt x="31" y="2221"/>
                    <a:pt x="105" y="2826"/>
                  </a:cubicBezTo>
                  <a:cubicBezTo>
                    <a:pt x="105" y="3230"/>
                    <a:pt x="31" y="4037"/>
                    <a:pt x="31" y="4037"/>
                  </a:cubicBezTo>
                  <a:cubicBezTo>
                    <a:pt x="477" y="4239"/>
                    <a:pt x="477" y="4239"/>
                    <a:pt x="477" y="4239"/>
                  </a:cubicBezTo>
                  <a:cubicBezTo>
                    <a:pt x="848" y="4643"/>
                    <a:pt x="848" y="4643"/>
                    <a:pt x="848" y="4643"/>
                  </a:cubicBezTo>
                  <a:cubicBezTo>
                    <a:pt x="922" y="5450"/>
                    <a:pt x="922" y="5450"/>
                    <a:pt x="922" y="5450"/>
                  </a:cubicBezTo>
                  <a:cubicBezTo>
                    <a:pt x="922" y="5450"/>
                    <a:pt x="1145" y="6056"/>
                    <a:pt x="1219" y="5854"/>
                  </a:cubicBezTo>
                  <a:cubicBezTo>
                    <a:pt x="1293" y="5854"/>
                    <a:pt x="1219" y="5652"/>
                    <a:pt x="1293" y="5450"/>
                  </a:cubicBezTo>
                  <a:cubicBezTo>
                    <a:pt x="1293" y="5450"/>
                    <a:pt x="1367" y="5854"/>
                    <a:pt x="1516" y="5854"/>
                  </a:cubicBezTo>
                  <a:cubicBezTo>
                    <a:pt x="1516" y="5854"/>
                    <a:pt x="1664" y="5652"/>
                    <a:pt x="1738" y="5652"/>
                  </a:cubicBezTo>
                  <a:cubicBezTo>
                    <a:pt x="1887" y="5854"/>
                    <a:pt x="1961" y="6056"/>
                    <a:pt x="2035" y="6056"/>
                  </a:cubicBezTo>
                  <a:cubicBezTo>
                    <a:pt x="2110" y="6056"/>
                    <a:pt x="2258" y="5854"/>
                    <a:pt x="2258" y="5854"/>
                  </a:cubicBezTo>
                  <a:cubicBezTo>
                    <a:pt x="2406" y="5652"/>
                    <a:pt x="2629" y="5450"/>
                    <a:pt x="2852" y="6056"/>
                  </a:cubicBezTo>
                  <a:cubicBezTo>
                    <a:pt x="3000" y="6460"/>
                    <a:pt x="2926" y="6662"/>
                    <a:pt x="3075" y="6662"/>
                  </a:cubicBezTo>
                  <a:cubicBezTo>
                    <a:pt x="3149" y="6662"/>
                    <a:pt x="3149" y="6258"/>
                    <a:pt x="3223" y="6258"/>
                  </a:cubicBezTo>
                  <a:cubicBezTo>
                    <a:pt x="3371" y="6258"/>
                    <a:pt x="3371" y="6460"/>
                    <a:pt x="3446" y="6662"/>
                  </a:cubicBezTo>
                  <a:cubicBezTo>
                    <a:pt x="3594" y="7065"/>
                    <a:pt x="3594" y="7469"/>
                    <a:pt x="3743" y="7671"/>
                  </a:cubicBezTo>
                  <a:cubicBezTo>
                    <a:pt x="3743" y="7873"/>
                    <a:pt x="3817" y="8075"/>
                    <a:pt x="3965" y="8075"/>
                  </a:cubicBezTo>
                  <a:cubicBezTo>
                    <a:pt x="3965" y="8075"/>
                    <a:pt x="4039" y="7873"/>
                    <a:pt x="4039" y="7873"/>
                  </a:cubicBezTo>
                  <a:cubicBezTo>
                    <a:pt x="4188" y="7873"/>
                    <a:pt x="4336" y="7873"/>
                    <a:pt x="4411" y="8075"/>
                  </a:cubicBezTo>
                  <a:cubicBezTo>
                    <a:pt x="4708" y="8075"/>
                    <a:pt x="4782" y="8075"/>
                    <a:pt x="4856" y="8277"/>
                  </a:cubicBezTo>
                  <a:cubicBezTo>
                    <a:pt x="4930" y="8680"/>
                    <a:pt x="5079" y="9286"/>
                    <a:pt x="5153" y="9690"/>
                  </a:cubicBezTo>
                  <a:cubicBezTo>
                    <a:pt x="5227" y="10093"/>
                    <a:pt x="5301" y="10901"/>
                    <a:pt x="5376" y="11103"/>
                  </a:cubicBezTo>
                  <a:cubicBezTo>
                    <a:pt x="5450" y="11507"/>
                    <a:pt x="5672" y="11708"/>
                    <a:pt x="5747" y="12112"/>
                  </a:cubicBezTo>
                  <a:cubicBezTo>
                    <a:pt x="5821" y="12314"/>
                    <a:pt x="5969" y="13525"/>
                    <a:pt x="6044" y="13929"/>
                  </a:cubicBezTo>
                  <a:cubicBezTo>
                    <a:pt x="6044" y="14333"/>
                    <a:pt x="6266" y="14938"/>
                    <a:pt x="6341" y="15746"/>
                  </a:cubicBezTo>
                  <a:cubicBezTo>
                    <a:pt x="6489" y="16553"/>
                    <a:pt x="6489" y="17159"/>
                    <a:pt x="6489" y="17159"/>
                  </a:cubicBezTo>
                  <a:cubicBezTo>
                    <a:pt x="6489" y="17966"/>
                    <a:pt x="6489" y="17966"/>
                    <a:pt x="6489" y="17966"/>
                  </a:cubicBezTo>
                  <a:cubicBezTo>
                    <a:pt x="6489" y="17966"/>
                    <a:pt x="6266" y="19783"/>
                    <a:pt x="6118" y="20187"/>
                  </a:cubicBezTo>
                  <a:cubicBezTo>
                    <a:pt x="5969" y="20591"/>
                    <a:pt x="6192" y="21196"/>
                    <a:pt x="6415" y="21398"/>
                  </a:cubicBezTo>
                  <a:cubicBezTo>
                    <a:pt x="6637" y="21600"/>
                    <a:pt x="7231" y="20793"/>
                    <a:pt x="7231" y="20793"/>
                  </a:cubicBezTo>
                  <a:cubicBezTo>
                    <a:pt x="7602" y="20389"/>
                    <a:pt x="7602" y="20389"/>
                    <a:pt x="7602" y="20389"/>
                  </a:cubicBezTo>
                  <a:cubicBezTo>
                    <a:pt x="7973" y="20187"/>
                    <a:pt x="7973" y="20187"/>
                    <a:pt x="7973" y="20187"/>
                  </a:cubicBezTo>
                  <a:cubicBezTo>
                    <a:pt x="7973" y="20187"/>
                    <a:pt x="8864" y="19985"/>
                    <a:pt x="9013" y="19783"/>
                  </a:cubicBezTo>
                  <a:cubicBezTo>
                    <a:pt x="9235" y="19379"/>
                    <a:pt x="9235" y="18976"/>
                    <a:pt x="9235" y="18976"/>
                  </a:cubicBezTo>
                  <a:cubicBezTo>
                    <a:pt x="9161" y="18370"/>
                    <a:pt x="9161" y="18370"/>
                    <a:pt x="9161" y="18370"/>
                  </a:cubicBezTo>
                  <a:cubicBezTo>
                    <a:pt x="9161" y="18370"/>
                    <a:pt x="9606" y="17764"/>
                    <a:pt x="9829" y="17563"/>
                  </a:cubicBezTo>
                  <a:cubicBezTo>
                    <a:pt x="9978" y="17361"/>
                    <a:pt x="10126" y="17764"/>
                    <a:pt x="10126" y="17764"/>
                  </a:cubicBezTo>
                  <a:cubicBezTo>
                    <a:pt x="10349" y="18370"/>
                    <a:pt x="10349" y="18370"/>
                    <a:pt x="10349" y="18370"/>
                  </a:cubicBezTo>
                  <a:cubicBezTo>
                    <a:pt x="10646" y="19178"/>
                    <a:pt x="10646" y="19178"/>
                    <a:pt x="10646" y="19178"/>
                  </a:cubicBezTo>
                  <a:cubicBezTo>
                    <a:pt x="11017" y="19379"/>
                    <a:pt x="11017" y="19379"/>
                    <a:pt x="11017" y="19379"/>
                  </a:cubicBezTo>
                  <a:cubicBezTo>
                    <a:pt x="11017" y="19379"/>
                    <a:pt x="11239" y="19985"/>
                    <a:pt x="11314" y="20187"/>
                  </a:cubicBezTo>
                  <a:cubicBezTo>
                    <a:pt x="11314" y="20591"/>
                    <a:pt x="11314" y="20591"/>
                    <a:pt x="11314" y="20591"/>
                  </a:cubicBezTo>
                  <a:cubicBezTo>
                    <a:pt x="11759" y="20591"/>
                    <a:pt x="11759" y="20591"/>
                    <a:pt x="11759" y="20591"/>
                  </a:cubicBezTo>
                  <a:cubicBezTo>
                    <a:pt x="12130" y="20187"/>
                    <a:pt x="12130" y="20187"/>
                    <a:pt x="12130" y="20187"/>
                  </a:cubicBezTo>
                  <a:cubicBezTo>
                    <a:pt x="12501" y="20793"/>
                    <a:pt x="12501" y="20793"/>
                    <a:pt x="12501" y="20793"/>
                  </a:cubicBezTo>
                  <a:cubicBezTo>
                    <a:pt x="12872" y="20389"/>
                    <a:pt x="12872" y="20389"/>
                    <a:pt x="12872" y="20389"/>
                  </a:cubicBezTo>
                  <a:cubicBezTo>
                    <a:pt x="12798" y="20187"/>
                    <a:pt x="12501" y="19985"/>
                    <a:pt x="12501" y="19985"/>
                  </a:cubicBezTo>
                  <a:cubicBezTo>
                    <a:pt x="12130" y="19985"/>
                    <a:pt x="12130" y="19985"/>
                    <a:pt x="12130" y="19985"/>
                  </a:cubicBezTo>
                  <a:cubicBezTo>
                    <a:pt x="12056" y="19783"/>
                    <a:pt x="12056" y="19783"/>
                    <a:pt x="12056" y="19783"/>
                  </a:cubicBezTo>
                  <a:cubicBezTo>
                    <a:pt x="11908" y="19379"/>
                    <a:pt x="11908" y="19379"/>
                    <a:pt x="11908" y="19379"/>
                  </a:cubicBezTo>
                  <a:cubicBezTo>
                    <a:pt x="12204" y="18774"/>
                    <a:pt x="12204" y="18774"/>
                    <a:pt x="12204" y="18774"/>
                  </a:cubicBezTo>
                  <a:cubicBezTo>
                    <a:pt x="12204" y="18774"/>
                    <a:pt x="12353" y="18774"/>
                    <a:pt x="12427" y="18572"/>
                  </a:cubicBezTo>
                  <a:cubicBezTo>
                    <a:pt x="12576" y="18572"/>
                    <a:pt x="13021" y="18168"/>
                    <a:pt x="13021" y="18168"/>
                  </a:cubicBezTo>
                  <a:cubicBezTo>
                    <a:pt x="13169" y="17764"/>
                    <a:pt x="13169" y="17764"/>
                    <a:pt x="13169" y="17764"/>
                  </a:cubicBezTo>
                  <a:cubicBezTo>
                    <a:pt x="13169" y="17764"/>
                    <a:pt x="13318" y="17361"/>
                    <a:pt x="13318" y="17361"/>
                  </a:cubicBezTo>
                  <a:cubicBezTo>
                    <a:pt x="13392" y="17361"/>
                    <a:pt x="13541" y="17361"/>
                    <a:pt x="13615" y="17159"/>
                  </a:cubicBezTo>
                  <a:cubicBezTo>
                    <a:pt x="13615" y="17159"/>
                    <a:pt x="13689" y="16957"/>
                    <a:pt x="13689" y="16957"/>
                  </a:cubicBezTo>
                  <a:cubicBezTo>
                    <a:pt x="13689" y="16957"/>
                    <a:pt x="13689" y="16755"/>
                    <a:pt x="13763" y="16755"/>
                  </a:cubicBezTo>
                  <a:cubicBezTo>
                    <a:pt x="13763" y="16755"/>
                    <a:pt x="13837" y="16755"/>
                    <a:pt x="13912" y="16553"/>
                  </a:cubicBezTo>
                  <a:cubicBezTo>
                    <a:pt x="13986" y="16553"/>
                    <a:pt x="13986" y="16553"/>
                    <a:pt x="14060" y="16351"/>
                  </a:cubicBezTo>
                  <a:cubicBezTo>
                    <a:pt x="14060" y="16351"/>
                    <a:pt x="14134" y="15746"/>
                    <a:pt x="14134" y="15746"/>
                  </a:cubicBezTo>
                  <a:cubicBezTo>
                    <a:pt x="14134" y="15746"/>
                    <a:pt x="14134" y="15746"/>
                    <a:pt x="14134" y="15746"/>
                  </a:cubicBezTo>
                  <a:cubicBezTo>
                    <a:pt x="14209" y="15746"/>
                    <a:pt x="14283" y="15948"/>
                    <a:pt x="14283" y="15948"/>
                  </a:cubicBezTo>
                  <a:cubicBezTo>
                    <a:pt x="14283" y="15948"/>
                    <a:pt x="14431" y="15948"/>
                    <a:pt x="14505" y="15948"/>
                  </a:cubicBezTo>
                  <a:cubicBezTo>
                    <a:pt x="14505" y="15948"/>
                    <a:pt x="14654" y="15746"/>
                    <a:pt x="14654" y="15746"/>
                  </a:cubicBezTo>
                  <a:cubicBezTo>
                    <a:pt x="14654" y="15746"/>
                    <a:pt x="14654" y="15544"/>
                    <a:pt x="14728" y="15544"/>
                  </a:cubicBezTo>
                  <a:cubicBezTo>
                    <a:pt x="14802" y="15544"/>
                    <a:pt x="14877" y="15544"/>
                    <a:pt x="14951" y="15544"/>
                  </a:cubicBezTo>
                  <a:cubicBezTo>
                    <a:pt x="14951" y="15544"/>
                    <a:pt x="15099" y="15544"/>
                    <a:pt x="15099" y="15544"/>
                  </a:cubicBezTo>
                  <a:cubicBezTo>
                    <a:pt x="15173" y="15342"/>
                    <a:pt x="15173" y="15342"/>
                    <a:pt x="15173" y="15342"/>
                  </a:cubicBezTo>
                  <a:cubicBezTo>
                    <a:pt x="15248" y="15342"/>
                    <a:pt x="15173" y="15140"/>
                    <a:pt x="15248" y="15342"/>
                  </a:cubicBezTo>
                  <a:cubicBezTo>
                    <a:pt x="15322" y="15342"/>
                    <a:pt x="15248" y="15544"/>
                    <a:pt x="15322" y="15342"/>
                  </a:cubicBezTo>
                  <a:cubicBezTo>
                    <a:pt x="15396" y="15140"/>
                    <a:pt x="15470" y="14736"/>
                    <a:pt x="15470" y="14736"/>
                  </a:cubicBezTo>
                  <a:cubicBezTo>
                    <a:pt x="15470" y="14736"/>
                    <a:pt x="15396" y="14736"/>
                    <a:pt x="15545" y="14736"/>
                  </a:cubicBezTo>
                  <a:cubicBezTo>
                    <a:pt x="15693" y="14736"/>
                    <a:pt x="15693" y="14736"/>
                    <a:pt x="15842" y="14736"/>
                  </a:cubicBezTo>
                  <a:cubicBezTo>
                    <a:pt x="15916" y="14736"/>
                    <a:pt x="16064" y="14535"/>
                    <a:pt x="16064" y="14535"/>
                  </a:cubicBezTo>
                  <a:cubicBezTo>
                    <a:pt x="16138" y="14535"/>
                    <a:pt x="16213" y="14333"/>
                    <a:pt x="16213" y="14333"/>
                  </a:cubicBezTo>
                  <a:cubicBezTo>
                    <a:pt x="16213" y="14131"/>
                    <a:pt x="15916" y="13727"/>
                    <a:pt x="15916" y="13727"/>
                  </a:cubicBezTo>
                  <a:cubicBezTo>
                    <a:pt x="15916" y="13727"/>
                    <a:pt x="15767" y="13525"/>
                    <a:pt x="15990" y="13525"/>
                  </a:cubicBezTo>
                  <a:cubicBezTo>
                    <a:pt x="16213" y="13727"/>
                    <a:pt x="16287" y="13727"/>
                    <a:pt x="16287" y="13727"/>
                  </a:cubicBezTo>
                  <a:cubicBezTo>
                    <a:pt x="16361" y="13727"/>
                    <a:pt x="16361" y="13525"/>
                    <a:pt x="16435" y="13525"/>
                  </a:cubicBezTo>
                  <a:cubicBezTo>
                    <a:pt x="16510" y="13323"/>
                    <a:pt x="16584" y="13121"/>
                    <a:pt x="16584" y="13121"/>
                  </a:cubicBezTo>
                  <a:cubicBezTo>
                    <a:pt x="16658" y="13121"/>
                    <a:pt x="16806" y="13525"/>
                    <a:pt x="16806" y="13525"/>
                  </a:cubicBezTo>
                  <a:cubicBezTo>
                    <a:pt x="16806" y="13929"/>
                    <a:pt x="16806" y="13929"/>
                    <a:pt x="16806" y="13929"/>
                  </a:cubicBezTo>
                  <a:cubicBezTo>
                    <a:pt x="17029" y="13929"/>
                    <a:pt x="17029" y="13929"/>
                    <a:pt x="17029" y="13929"/>
                  </a:cubicBezTo>
                  <a:cubicBezTo>
                    <a:pt x="17029" y="13929"/>
                    <a:pt x="17103" y="13929"/>
                    <a:pt x="17103" y="13929"/>
                  </a:cubicBezTo>
                  <a:cubicBezTo>
                    <a:pt x="19924" y="14333"/>
                    <a:pt x="19924" y="14333"/>
                    <a:pt x="19924" y="14333"/>
                  </a:cubicBezTo>
                  <a:close/>
                  <a:moveTo>
                    <a:pt x="19924" y="14333"/>
                  </a:moveTo>
                  <a:cubicBezTo>
                    <a:pt x="19924" y="14333"/>
                    <a:pt x="19924" y="14333"/>
                    <a:pt x="19924" y="14333"/>
                  </a:cubicBezTo>
                  <a:cubicBezTo>
                    <a:pt x="19924" y="14333"/>
                    <a:pt x="19924" y="14333"/>
                    <a:pt x="19924" y="1433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3" name="Shape 2246">
              <a:extLst>
                <a:ext uri="{FF2B5EF4-FFF2-40B4-BE49-F238E27FC236}">
                  <a16:creationId xmlns:a16="http://schemas.microsoft.com/office/drawing/2014/main" id="{04F26A87-3A55-6A93-3084-FC59A923BBA6}"/>
                </a:ext>
              </a:extLst>
            </p:cNvPr>
            <p:cNvSpPr/>
            <p:nvPr/>
          </p:nvSpPr>
          <p:spPr>
            <a:xfrm>
              <a:off x="5047496" y="3663931"/>
              <a:ext cx="744659" cy="558937"/>
            </a:xfrm>
            <a:custGeom>
              <a:avLst/>
              <a:gdLst/>
              <a:ahLst/>
              <a:cxnLst>
                <a:cxn ang="0">
                  <a:pos x="wd2" y="hd2"/>
                </a:cxn>
                <a:cxn ang="5400000">
                  <a:pos x="wd2" y="hd2"/>
                </a:cxn>
                <a:cxn ang="10800000">
                  <a:pos x="wd2" y="hd2"/>
                </a:cxn>
                <a:cxn ang="16200000">
                  <a:pos x="wd2" y="hd2"/>
                </a:cxn>
              </a:cxnLst>
              <a:rect l="0" t="0" r="r" b="b"/>
              <a:pathLst>
                <a:path w="21514" h="21600" extrusionOk="0">
                  <a:moveTo>
                    <a:pt x="2062" y="4011"/>
                  </a:moveTo>
                  <a:cubicBezTo>
                    <a:pt x="2778" y="3394"/>
                    <a:pt x="2778" y="3394"/>
                    <a:pt x="2778" y="3394"/>
                  </a:cubicBezTo>
                  <a:cubicBezTo>
                    <a:pt x="3136" y="2931"/>
                    <a:pt x="3136" y="2931"/>
                    <a:pt x="3136" y="2931"/>
                  </a:cubicBezTo>
                  <a:cubicBezTo>
                    <a:pt x="3971" y="3086"/>
                    <a:pt x="3971" y="3086"/>
                    <a:pt x="3971" y="3086"/>
                  </a:cubicBezTo>
                  <a:cubicBezTo>
                    <a:pt x="3971" y="3086"/>
                    <a:pt x="4568" y="2777"/>
                    <a:pt x="4687" y="2777"/>
                  </a:cubicBezTo>
                  <a:cubicBezTo>
                    <a:pt x="4807" y="2777"/>
                    <a:pt x="5642" y="2623"/>
                    <a:pt x="5642" y="2623"/>
                  </a:cubicBezTo>
                  <a:cubicBezTo>
                    <a:pt x="6120" y="2160"/>
                    <a:pt x="6120" y="2160"/>
                    <a:pt x="6120" y="2160"/>
                  </a:cubicBezTo>
                  <a:cubicBezTo>
                    <a:pt x="6120" y="2160"/>
                    <a:pt x="6478" y="2314"/>
                    <a:pt x="6478" y="2469"/>
                  </a:cubicBezTo>
                  <a:cubicBezTo>
                    <a:pt x="6597" y="2623"/>
                    <a:pt x="6955" y="3086"/>
                    <a:pt x="7074" y="3086"/>
                  </a:cubicBezTo>
                  <a:cubicBezTo>
                    <a:pt x="7194" y="2931"/>
                    <a:pt x="7313" y="2314"/>
                    <a:pt x="7313" y="2314"/>
                  </a:cubicBezTo>
                  <a:cubicBezTo>
                    <a:pt x="8029" y="2160"/>
                    <a:pt x="8029" y="2160"/>
                    <a:pt x="8029" y="2160"/>
                  </a:cubicBezTo>
                  <a:cubicBezTo>
                    <a:pt x="8626" y="2006"/>
                    <a:pt x="8626" y="2006"/>
                    <a:pt x="8626" y="2006"/>
                  </a:cubicBezTo>
                  <a:cubicBezTo>
                    <a:pt x="8626" y="2006"/>
                    <a:pt x="8626" y="1851"/>
                    <a:pt x="8745" y="1851"/>
                  </a:cubicBezTo>
                  <a:cubicBezTo>
                    <a:pt x="8864" y="2006"/>
                    <a:pt x="9580" y="2006"/>
                    <a:pt x="9580" y="2006"/>
                  </a:cubicBezTo>
                  <a:cubicBezTo>
                    <a:pt x="10296" y="2006"/>
                    <a:pt x="10296" y="2006"/>
                    <a:pt x="10296" y="2006"/>
                  </a:cubicBezTo>
                  <a:cubicBezTo>
                    <a:pt x="10296" y="2006"/>
                    <a:pt x="10774" y="2314"/>
                    <a:pt x="10893" y="2314"/>
                  </a:cubicBezTo>
                  <a:cubicBezTo>
                    <a:pt x="10893" y="2160"/>
                    <a:pt x="11251" y="1543"/>
                    <a:pt x="11251" y="1543"/>
                  </a:cubicBezTo>
                  <a:cubicBezTo>
                    <a:pt x="11967" y="1851"/>
                    <a:pt x="11967" y="1851"/>
                    <a:pt x="11967" y="1851"/>
                  </a:cubicBezTo>
                  <a:cubicBezTo>
                    <a:pt x="12086" y="1234"/>
                    <a:pt x="12086" y="1234"/>
                    <a:pt x="12086" y="1234"/>
                  </a:cubicBezTo>
                  <a:cubicBezTo>
                    <a:pt x="12086" y="1234"/>
                    <a:pt x="12444" y="463"/>
                    <a:pt x="12444" y="463"/>
                  </a:cubicBezTo>
                  <a:cubicBezTo>
                    <a:pt x="12564" y="463"/>
                    <a:pt x="13041" y="0"/>
                    <a:pt x="13041" y="0"/>
                  </a:cubicBezTo>
                  <a:cubicBezTo>
                    <a:pt x="13280" y="926"/>
                    <a:pt x="13280" y="926"/>
                    <a:pt x="13280" y="926"/>
                  </a:cubicBezTo>
                  <a:cubicBezTo>
                    <a:pt x="13757" y="1389"/>
                    <a:pt x="13757" y="1389"/>
                    <a:pt x="13757" y="1389"/>
                  </a:cubicBezTo>
                  <a:cubicBezTo>
                    <a:pt x="13876" y="1543"/>
                    <a:pt x="13876" y="1543"/>
                    <a:pt x="13876" y="1543"/>
                  </a:cubicBezTo>
                  <a:cubicBezTo>
                    <a:pt x="14354" y="2006"/>
                    <a:pt x="14354" y="2006"/>
                    <a:pt x="14354" y="2006"/>
                  </a:cubicBezTo>
                  <a:cubicBezTo>
                    <a:pt x="15189" y="1697"/>
                    <a:pt x="15189" y="1697"/>
                    <a:pt x="15189" y="1697"/>
                  </a:cubicBezTo>
                  <a:cubicBezTo>
                    <a:pt x="15666" y="1543"/>
                    <a:pt x="15666" y="1543"/>
                    <a:pt x="15666" y="1543"/>
                  </a:cubicBezTo>
                  <a:cubicBezTo>
                    <a:pt x="16024" y="1543"/>
                    <a:pt x="16024" y="1543"/>
                    <a:pt x="16024" y="1543"/>
                  </a:cubicBezTo>
                  <a:cubicBezTo>
                    <a:pt x="16144" y="1851"/>
                    <a:pt x="16144" y="1851"/>
                    <a:pt x="16144" y="1851"/>
                  </a:cubicBezTo>
                  <a:cubicBezTo>
                    <a:pt x="16502" y="2160"/>
                    <a:pt x="16502" y="2160"/>
                    <a:pt x="16502" y="2160"/>
                  </a:cubicBezTo>
                  <a:cubicBezTo>
                    <a:pt x="17099" y="2160"/>
                    <a:pt x="17099" y="2160"/>
                    <a:pt x="17099" y="2160"/>
                  </a:cubicBezTo>
                  <a:cubicBezTo>
                    <a:pt x="17337" y="2623"/>
                    <a:pt x="17337" y="2623"/>
                    <a:pt x="17337" y="2623"/>
                  </a:cubicBezTo>
                  <a:cubicBezTo>
                    <a:pt x="17815" y="2777"/>
                    <a:pt x="17815" y="2777"/>
                    <a:pt x="17815" y="2777"/>
                  </a:cubicBezTo>
                  <a:cubicBezTo>
                    <a:pt x="18173" y="3394"/>
                    <a:pt x="18173" y="3394"/>
                    <a:pt x="18173" y="3394"/>
                  </a:cubicBezTo>
                  <a:cubicBezTo>
                    <a:pt x="18531" y="3549"/>
                    <a:pt x="18531" y="3549"/>
                    <a:pt x="18531" y="3549"/>
                  </a:cubicBezTo>
                  <a:cubicBezTo>
                    <a:pt x="18769" y="4166"/>
                    <a:pt x="18769" y="4166"/>
                    <a:pt x="18769" y="4166"/>
                  </a:cubicBezTo>
                  <a:cubicBezTo>
                    <a:pt x="19247" y="4166"/>
                    <a:pt x="19247" y="4166"/>
                    <a:pt x="19247" y="4166"/>
                  </a:cubicBezTo>
                  <a:cubicBezTo>
                    <a:pt x="19843" y="4320"/>
                    <a:pt x="19843" y="4320"/>
                    <a:pt x="19843" y="4320"/>
                  </a:cubicBezTo>
                  <a:cubicBezTo>
                    <a:pt x="20201" y="4320"/>
                    <a:pt x="20201" y="4320"/>
                    <a:pt x="20201" y="4320"/>
                  </a:cubicBezTo>
                  <a:cubicBezTo>
                    <a:pt x="20201" y="4320"/>
                    <a:pt x="20201" y="4320"/>
                    <a:pt x="20201" y="4320"/>
                  </a:cubicBezTo>
                  <a:cubicBezTo>
                    <a:pt x="20321" y="4320"/>
                    <a:pt x="20321" y="4320"/>
                    <a:pt x="20321" y="4320"/>
                  </a:cubicBezTo>
                  <a:cubicBezTo>
                    <a:pt x="20440" y="5709"/>
                    <a:pt x="20440" y="5709"/>
                    <a:pt x="20440" y="5709"/>
                  </a:cubicBezTo>
                  <a:cubicBezTo>
                    <a:pt x="20201" y="6480"/>
                    <a:pt x="20201" y="6480"/>
                    <a:pt x="20201" y="6480"/>
                  </a:cubicBezTo>
                  <a:cubicBezTo>
                    <a:pt x="20201" y="7251"/>
                    <a:pt x="20201" y="7251"/>
                    <a:pt x="20201" y="7251"/>
                  </a:cubicBezTo>
                  <a:cubicBezTo>
                    <a:pt x="20559" y="7406"/>
                    <a:pt x="20559" y="7406"/>
                    <a:pt x="20559" y="7406"/>
                  </a:cubicBezTo>
                  <a:cubicBezTo>
                    <a:pt x="21395" y="7251"/>
                    <a:pt x="21395" y="7251"/>
                    <a:pt x="21395" y="7251"/>
                  </a:cubicBezTo>
                  <a:cubicBezTo>
                    <a:pt x="21514" y="7869"/>
                    <a:pt x="21514" y="7869"/>
                    <a:pt x="21514" y="7869"/>
                  </a:cubicBezTo>
                  <a:cubicBezTo>
                    <a:pt x="21037" y="8177"/>
                    <a:pt x="21037" y="8177"/>
                    <a:pt x="21037" y="8177"/>
                  </a:cubicBezTo>
                  <a:cubicBezTo>
                    <a:pt x="21156" y="8949"/>
                    <a:pt x="21156" y="8949"/>
                    <a:pt x="21156" y="8949"/>
                  </a:cubicBezTo>
                  <a:cubicBezTo>
                    <a:pt x="20201" y="8794"/>
                    <a:pt x="20201" y="8794"/>
                    <a:pt x="20201" y="8794"/>
                  </a:cubicBezTo>
                  <a:cubicBezTo>
                    <a:pt x="19843" y="9257"/>
                    <a:pt x="19843" y="9257"/>
                    <a:pt x="19843" y="9257"/>
                  </a:cubicBezTo>
                  <a:cubicBezTo>
                    <a:pt x="19843" y="10337"/>
                    <a:pt x="19843" y="10337"/>
                    <a:pt x="19843" y="10337"/>
                  </a:cubicBezTo>
                  <a:cubicBezTo>
                    <a:pt x="18889" y="10800"/>
                    <a:pt x="18889" y="10800"/>
                    <a:pt x="18889" y="10800"/>
                  </a:cubicBezTo>
                  <a:cubicBezTo>
                    <a:pt x="18650" y="11417"/>
                    <a:pt x="18650" y="11417"/>
                    <a:pt x="18650" y="11417"/>
                  </a:cubicBezTo>
                  <a:cubicBezTo>
                    <a:pt x="18650" y="12034"/>
                    <a:pt x="18650" y="12034"/>
                    <a:pt x="18650" y="12034"/>
                  </a:cubicBezTo>
                  <a:cubicBezTo>
                    <a:pt x="18531" y="12651"/>
                    <a:pt x="18531" y="12651"/>
                    <a:pt x="18531" y="12651"/>
                  </a:cubicBezTo>
                  <a:cubicBezTo>
                    <a:pt x="18650" y="13731"/>
                    <a:pt x="18650" y="13731"/>
                    <a:pt x="18650" y="13731"/>
                  </a:cubicBezTo>
                  <a:cubicBezTo>
                    <a:pt x="18769" y="14657"/>
                    <a:pt x="18769" y="14657"/>
                    <a:pt x="18769" y="14657"/>
                  </a:cubicBezTo>
                  <a:cubicBezTo>
                    <a:pt x="18769" y="14657"/>
                    <a:pt x="18531" y="15429"/>
                    <a:pt x="18411" y="15891"/>
                  </a:cubicBezTo>
                  <a:cubicBezTo>
                    <a:pt x="18411" y="16200"/>
                    <a:pt x="18650" y="16046"/>
                    <a:pt x="18650" y="16046"/>
                  </a:cubicBezTo>
                  <a:cubicBezTo>
                    <a:pt x="19247" y="16354"/>
                    <a:pt x="19247" y="16354"/>
                    <a:pt x="19247" y="16354"/>
                  </a:cubicBezTo>
                  <a:cubicBezTo>
                    <a:pt x="19485" y="16509"/>
                    <a:pt x="19485" y="16509"/>
                    <a:pt x="19485" y="16509"/>
                  </a:cubicBezTo>
                  <a:cubicBezTo>
                    <a:pt x="19247" y="17434"/>
                    <a:pt x="19247" y="17434"/>
                    <a:pt x="19247" y="17434"/>
                  </a:cubicBezTo>
                  <a:cubicBezTo>
                    <a:pt x="18650" y="17589"/>
                    <a:pt x="18650" y="17589"/>
                    <a:pt x="18650" y="17589"/>
                  </a:cubicBezTo>
                  <a:cubicBezTo>
                    <a:pt x="18769" y="16971"/>
                    <a:pt x="18769" y="16971"/>
                    <a:pt x="18769" y="16971"/>
                  </a:cubicBezTo>
                  <a:cubicBezTo>
                    <a:pt x="18531" y="16663"/>
                    <a:pt x="18531" y="16663"/>
                    <a:pt x="18531" y="16663"/>
                  </a:cubicBezTo>
                  <a:cubicBezTo>
                    <a:pt x="18173" y="17126"/>
                    <a:pt x="18173" y="17126"/>
                    <a:pt x="18173" y="17126"/>
                  </a:cubicBezTo>
                  <a:cubicBezTo>
                    <a:pt x="17337" y="17434"/>
                    <a:pt x="17337" y="17434"/>
                    <a:pt x="17337" y="17434"/>
                  </a:cubicBezTo>
                  <a:cubicBezTo>
                    <a:pt x="17337" y="17743"/>
                    <a:pt x="17337" y="17743"/>
                    <a:pt x="17337" y="17743"/>
                  </a:cubicBezTo>
                  <a:cubicBezTo>
                    <a:pt x="17099" y="18360"/>
                    <a:pt x="17099" y="18360"/>
                    <a:pt x="17099" y="18360"/>
                  </a:cubicBezTo>
                  <a:cubicBezTo>
                    <a:pt x="17099" y="18360"/>
                    <a:pt x="16621" y="18360"/>
                    <a:pt x="16383" y="18360"/>
                  </a:cubicBezTo>
                  <a:cubicBezTo>
                    <a:pt x="16263" y="18206"/>
                    <a:pt x="16144" y="18669"/>
                    <a:pt x="16144" y="18669"/>
                  </a:cubicBezTo>
                  <a:cubicBezTo>
                    <a:pt x="16383" y="19749"/>
                    <a:pt x="16383" y="19749"/>
                    <a:pt x="16383" y="19749"/>
                  </a:cubicBezTo>
                  <a:cubicBezTo>
                    <a:pt x="15786" y="19749"/>
                    <a:pt x="15786" y="19749"/>
                    <a:pt x="15786" y="19749"/>
                  </a:cubicBezTo>
                  <a:cubicBezTo>
                    <a:pt x="15308" y="20520"/>
                    <a:pt x="15308" y="20520"/>
                    <a:pt x="15308" y="20520"/>
                  </a:cubicBezTo>
                  <a:cubicBezTo>
                    <a:pt x="14473" y="20674"/>
                    <a:pt x="14473" y="20674"/>
                    <a:pt x="14473" y="20674"/>
                  </a:cubicBezTo>
                  <a:cubicBezTo>
                    <a:pt x="13757" y="20520"/>
                    <a:pt x="13757" y="20520"/>
                    <a:pt x="13757" y="20520"/>
                  </a:cubicBezTo>
                  <a:cubicBezTo>
                    <a:pt x="12564" y="21137"/>
                    <a:pt x="12564" y="21137"/>
                    <a:pt x="12564" y="21137"/>
                  </a:cubicBezTo>
                  <a:cubicBezTo>
                    <a:pt x="11490" y="21446"/>
                    <a:pt x="11490" y="21446"/>
                    <a:pt x="11490" y="21446"/>
                  </a:cubicBezTo>
                  <a:cubicBezTo>
                    <a:pt x="11490" y="21600"/>
                    <a:pt x="11490" y="21600"/>
                    <a:pt x="11490" y="21600"/>
                  </a:cubicBezTo>
                  <a:cubicBezTo>
                    <a:pt x="11370" y="20674"/>
                    <a:pt x="11370" y="20674"/>
                    <a:pt x="11370" y="20674"/>
                  </a:cubicBezTo>
                  <a:cubicBezTo>
                    <a:pt x="11012" y="20211"/>
                    <a:pt x="11012" y="20211"/>
                    <a:pt x="11012" y="20211"/>
                  </a:cubicBezTo>
                  <a:cubicBezTo>
                    <a:pt x="11012" y="20211"/>
                    <a:pt x="10654" y="19286"/>
                    <a:pt x="10654" y="19131"/>
                  </a:cubicBezTo>
                  <a:cubicBezTo>
                    <a:pt x="10654" y="19131"/>
                    <a:pt x="9342" y="19131"/>
                    <a:pt x="9342" y="19131"/>
                  </a:cubicBezTo>
                  <a:cubicBezTo>
                    <a:pt x="9342" y="19131"/>
                    <a:pt x="9103" y="18669"/>
                    <a:pt x="8984" y="18360"/>
                  </a:cubicBezTo>
                  <a:cubicBezTo>
                    <a:pt x="8984" y="18206"/>
                    <a:pt x="8626" y="18669"/>
                    <a:pt x="8626" y="18669"/>
                  </a:cubicBezTo>
                  <a:cubicBezTo>
                    <a:pt x="8148" y="18823"/>
                    <a:pt x="8148" y="18823"/>
                    <a:pt x="8148" y="18823"/>
                  </a:cubicBezTo>
                  <a:cubicBezTo>
                    <a:pt x="8148" y="18669"/>
                    <a:pt x="8148" y="18669"/>
                    <a:pt x="8148" y="18669"/>
                  </a:cubicBezTo>
                  <a:cubicBezTo>
                    <a:pt x="7790" y="18051"/>
                    <a:pt x="7790" y="18051"/>
                    <a:pt x="7790" y="18051"/>
                  </a:cubicBezTo>
                  <a:cubicBezTo>
                    <a:pt x="7790" y="16509"/>
                    <a:pt x="7790" y="16509"/>
                    <a:pt x="7790" y="16509"/>
                  </a:cubicBezTo>
                  <a:cubicBezTo>
                    <a:pt x="7790" y="16046"/>
                    <a:pt x="7790" y="16046"/>
                    <a:pt x="7790" y="16046"/>
                  </a:cubicBezTo>
                  <a:cubicBezTo>
                    <a:pt x="8029" y="14966"/>
                    <a:pt x="8029" y="14966"/>
                    <a:pt x="8029" y="14966"/>
                  </a:cubicBezTo>
                  <a:cubicBezTo>
                    <a:pt x="8029" y="14966"/>
                    <a:pt x="7790" y="14811"/>
                    <a:pt x="7671" y="14503"/>
                  </a:cubicBezTo>
                  <a:cubicBezTo>
                    <a:pt x="7432" y="14194"/>
                    <a:pt x="7194" y="13886"/>
                    <a:pt x="7194" y="13886"/>
                  </a:cubicBezTo>
                  <a:cubicBezTo>
                    <a:pt x="6955" y="13886"/>
                    <a:pt x="6955" y="13886"/>
                    <a:pt x="6955" y="13886"/>
                  </a:cubicBezTo>
                  <a:cubicBezTo>
                    <a:pt x="6597" y="13269"/>
                    <a:pt x="6597" y="13269"/>
                    <a:pt x="6597" y="13269"/>
                  </a:cubicBezTo>
                  <a:cubicBezTo>
                    <a:pt x="5762" y="13577"/>
                    <a:pt x="5762" y="13577"/>
                    <a:pt x="5762" y="13577"/>
                  </a:cubicBezTo>
                  <a:cubicBezTo>
                    <a:pt x="5284" y="13731"/>
                    <a:pt x="5284" y="13731"/>
                    <a:pt x="5284" y="13731"/>
                  </a:cubicBezTo>
                  <a:cubicBezTo>
                    <a:pt x="5045" y="14040"/>
                    <a:pt x="5045" y="14040"/>
                    <a:pt x="5045" y="14040"/>
                  </a:cubicBezTo>
                  <a:cubicBezTo>
                    <a:pt x="3613" y="13886"/>
                    <a:pt x="3613" y="13886"/>
                    <a:pt x="3613" y="13886"/>
                  </a:cubicBezTo>
                  <a:cubicBezTo>
                    <a:pt x="2897" y="13423"/>
                    <a:pt x="2897" y="13423"/>
                    <a:pt x="2897" y="13423"/>
                  </a:cubicBezTo>
                  <a:cubicBezTo>
                    <a:pt x="2539" y="13269"/>
                    <a:pt x="2539" y="13269"/>
                    <a:pt x="2539" y="13269"/>
                  </a:cubicBezTo>
                  <a:cubicBezTo>
                    <a:pt x="2062" y="12806"/>
                    <a:pt x="2062" y="12806"/>
                    <a:pt x="2062" y="12806"/>
                  </a:cubicBezTo>
                  <a:cubicBezTo>
                    <a:pt x="1465" y="12189"/>
                    <a:pt x="1465" y="12189"/>
                    <a:pt x="1465" y="12189"/>
                  </a:cubicBezTo>
                  <a:cubicBezTo>
                    <a:pt x="1346" y="11263"/>
                    <a:pt x="1346" y="11263"/>
                    <a:pt x="1346" y="11263"/>
                  </a:cubicBezTo>
                  <a:cubicBezTo>
                    <a:pt x="1227" y="10646"/>
                    <a:pt x="1227" y="10646"/>
                    <a:pt x="1227" y="10646"/>
                  </a:cubicBezTo>
                  <a:cubicBezTo>
                    <a:pt x="630" y="9874"/>
                    <a:pt x="630" y="9874"/>
                    <a:pt x="630" y="9874"/>
                  </a:cubicBezTo>
                  <a:cubicBezTo>
                    <a:pt x="391" y="9257"/>
                    <a:pt x="391" y="9257"/>
                    <a:pt x="391" y="9257"/>
                  </a:cubicBezTo>
                  <a:cubicBezTo>
                    <a:pt x="391" y="8331"/>
                    <a:pt x="391" y="8331"/>
                    <a:pt x="391" y="8331"/>
                  </a:cubicBezTo>
                  <a:cubicBezTo>
                    <a:pt x="33" y="7560"/>
                    <a:pt x="33" y="7560"/>
                    <a:pt x="33" y="7560"/>
                  </a:cubicBezTo>
                  <a:cubicBezTo>
                    <a:pt x="153" y="6789"/>
                    <a:pt x="153" y="6789"/>
                    <a:pt x="153" y="6789"/>
                  </a:cubicBezTo>
                  <a:cubicBezTo>
                    <a:pt x="153" y="6789"/>
                    <a:pt x="-86" y="6634"/>
                    <a:pt x="33" y="6480"/>
                  </a:cubicBezTo>
                  <a:cubicBezTo>
                    <a:pt x="272" y="6480"/>
                    <a:pt x="630" y="6326"/>
                    <a:pt x="630" y="6326"/>
                  </a:cubicBezTo>
                  <a:cubicBezTo>
                    <a:pt x="749" y="5400"/>
                    <a:pt x="749" y="5400"/>
                    <a:pt x="749" y="5400"/>
                  </a:cubicBezTo>
                  <a:cubicBezTo>
                    <a:pt x="869" y="5091"/>
                    <a:pt x="869" y="5091"/>
                    <a:pt x="869" y="5091"/>
                  </a:cubicBezTo>
                  <a:cubicBezTo>
                    <a:pt x="1346" y="4783"/>
                    <a:pt x="1346" y="4783"/>
                    <a:pt x="1346" y="4783"/>
                  </a:cubicBezTo>
                  <a:cubicBezTo>
                    <a:pt x="1585" y="4011"/>
                    <a:pt x="1585" y="4011"/>
                    <a:pt x="1585" y="4011"/>
                  </a:cubicBezTo>
                  <a:lnTo>
                    <a:pt x="2062" y="401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4" name="Shape 2247">
              <a:extLst>
                <a:ext uri="{FF2B5EF4-FFF2-40B4-BE49-F238E27FC236}">
                  <a16:creationId xmlns:a16="http://schemas.microsoft.com/office/drawing/2014/main" id="{4599A5D5-18BD-5F49-80BE-34A5B9DA70D3}"/>
                </a:ext>
              </a:extLst>
            </p:cNvPr>
            <p:cNvSpPr/>
            <p:nvPr/>
          </p:nvSpPr>
          <p:spPr>
            <a:xfrm>
              <a:off x="5042837" y="2946950"/>
              <a:ext cx="723469" cy="476917"/>
            </a:xfrm>
            <a:custGeom>
              <a:avLst/>
              <a:gdLst/>
              <a:ahLst/>
              <a:cxnLst>
                <a:cxn ang="0">
                  <a:pos x="wd2" y="hd2"/>
                </a:cxn>
                <a:cxn ang="5400000">
                  <a:pos x="wd2" y="hd2"/>
                </a:cxn>
                <a:cxn ang="10800000">
                  <a:pos x="wd2" y="hd2"/>
                </a:cxn>
                <a:cxn ang="16200000">
                  <a:pos x="wd2" y="hd2"/>
                </a:cxn>
              </a:cxnLst>
              <a:rect l="0" t="0" r="r" b="b"/>
              <a:pathLst>
                <a:path w="21532" h="21465" extrusionOk="0">
                  <a:moveTo>
                    <a:pt x="4718" y="9360"/>
                  </a:moveTo>
                  <a:cubicBezTo>
                    <a:pt x="4841" y="9000"/>
                    <a:pt x="4841" y="9000"/>
                    <a:pt x="4841" y="9000"/>
                  </a:cubicBezTo>
                  <a:cubicBezTo>
                    <a:pt x="4964" y="8640"/>
                    <a:pt x="4964" y="8640"/>
                    <a:pt x="4964" y="8640"/>
                  </a:cubicBezTo>
                  <a:cubicBezTo>
                    <a:pt x="4964" y="8100"/>
                    <a:pt x="4964" y="8100"/>
                    <a:pt x="4964" y="8100"/>
                  </a:cubicBezTo>
                  <a:cubicBezTo>
                    <a:pt x="4718" y="8100"/>
                    <a:pt x="4718" y="8100"/>
                    <a:pt x="4718" y="8100"/>
                  </a:cubicBezTo>
                  <a:cubicBezTo>
                    <a:pt x="4596" y="7560"/>
                    <a:pt x="4596" y="7560"/>
                    <a:pt x="4596" y="7560"/>
                  </a:cubicBezTo>
                  <a:cubicBezTo>
                    <a:pt x="4596" y="7560"/>
                    <a:pt x="4718" y="7380"/>
                    <a:pt x="4841" y="7380"/>
                  </a:cubicBezTo>
                  <a:cubicBezTo>
                    <a:pt x="4841" y="7200"/>
                    <a:pt x="5209" y="7200"/>
                    <a:pt x="5209" y="7200"/>
                  </a:cubicBezTo>
                  <a:cubicBezTo>
                    <a:pt x="5455" y="6840"/>
                    <a:pt x="5455" y="6840"/>
                    <a:pt x="5455" y="6840"/>
                  </a:cubicBezTo>
                  <a:cubicBezTo>
                    <a:pt x="5455" y="6840"/>
                    <a:pt x="5332" y="6480"/>
                    <a:pt x="5577" y="6480"/>
                  </a:cubicBezTo>
                  <a:cubicBezTo>
                    <a:pt x="5700" y="6480"/>
                    <a:pt x="5946" y="6480"/>
                    <a:pt x="6068" y="6480"/>
                  </a:cubicBezTo>
                  <a:cubicBezTo>
                    <a:pt x="6191" y="6480"/>
                    <a:pt x="6314" y="6300"/>
                    <a:pt x="6314" y="6300"/>
                  </a:cubicBezTo>
                  <a:cubicBezTo>
                    <a:pt x="6559" y="6300"/>
                    <a:pt x="6682" y="6480"/>
                    <a:pt x="6559" y="6300"/>
                  </a:cubicBezTo>
                  <a:cubicBezTo>
                    <a:pt x="6559" y="6300"/>
                    <a:pt x="6559" y="6120"/>
                    <a:pt x="6437" y="5940"/>
                  </a:cubicBezTo>
                  <a:cubicBezTo>
                    <a:pt x="6314" y="5760"/>
                    <a:pt x="5946" y="5400"/>
                    <a:pt x="6191" y="5220"/>
                  </a:cubicBezTo>
                  <a:cubicBezTo>
                    <a:pt x="6314" y="5040"/>
                    <a:pt x="6437" y="5040"/>
                    <a:pt x="6559" y="5220"/>
                  </a:cubicBezTo>
                  <a:cubicBezTo>
                    <a:pt x="6682" y="5220"/>
                    <a:pt x="6805" y="5580"/>
                    <a:pt x="6805" y="5580"/>
                  </a:cubicBezTo>
                  <a:cubicBezTo>
                    <a:pt x="6805" y="4860"/>
                    <a:pt x="6805" y="4860"/>
                    <a:pt x="6805" y="4860"/>
                  </a:cubicBezTo>
                  <a:cubicBezTo>
                    <a:pt x="6805" y="4860"/>
                    <a:pt x="7173" y="4860"/>
                    <a:pt x="7296" y="4680"/>
                  </a:cubicBezTo>
                  <a:cubicBezTo>
                    <a:pt x="7296" y="4500"/>
                    <a:pt x="7173" y="4140"/>
                    <a:pt x="7173" y="4140"/>
                  </a:cubicBezTo>
                  <a:cubicBezTo>
                    <a:pt x="7173" y="4140"/>
                    <a:pt x="7173" y="4140"/>
                    <a:pt x="7541" y="4140"/>
                  </a:cubicBezTo>
                  <a:cubicBezTo>
                    <a:pt x="7909" y="3960"/>
                    <a:pt x="7787" y="3960"/>
                    <a:pt x="8032" y="3960"/>
                  </a:cubicBezTo>
                  <a:cubicBezTo>
                    <a:pt x="8155" y="3960"/>
                    <a:pt x="8523" y="3960"/>
                    <a:pt x="8523" y="3960"/>
                  </a:cubicBezTo>
                  <a:cubicBezTo>
                    <a:pt x="8523" y="3960"/>
                    <a:pt x="8768" y="3780"/>
                    <a:pt x="8646" y="3600"/>
                  </a:cubicBezTo>
                  <a:cubicBezTo>
                    <a:pt x="8646" y="3420"/>
                    <a:pt x="8400" y="3060"/>
                    <a:pt x="8400" y="3060"/>
                  </a:cubicBezTo>
                  <a:cubicBezTo>
                    <a:pt x="8400" y="3060"/>
                    <a:pt x="8523" y="2520"/>
                    <a:pt x="8523" y="2700"/>
                  </a:cubicBezTo>
                  <a:cubicBezTo>
                    <a:pt x="8523" y="3060"/>
                    <a:pt x="8891" y="3420"/>
                    <a:pt x="8891" y="3420"/>
                  </a:cubicBezTo>
                  <a:cubicBezTo>
                    <a:pt x="9137" y="3060"/>
                    <a:pt x="9137" y="3060"/>
                    <a:pt x="9137" y="3060"/>
                  </a:cubicBezTo>
                  <a:cubicBezTo>
                    <a:pt x="9505" y="2880"/>
                    <a:pt x="9505" y="2880"/>
                    <a:pt x="9505" y="2880"/>
                  </a:cubicBezTo>
                  <a:cubicBezTo>
                    <a:pt x="9873" y="2700"/>
                    <a:pt x="9873" y="2700"/>
                    <a:pt x="9873" y="2700"/>
                  </a:cubicBezTo>
                  <a:cubicBezTo>
                    <a:pt x="9873" y="2700"/>
                    <a:pt x="10241" y="2700"/>
                    <a:pt x="10487" y="2700"/>
                  </a:cubicBezTo>
                  <a:cubicBezTo>
                    <a:pt x="10609" y="2700"/>
                    <a:pt x="10977" y="2520"/>
                    <a:pt x="10977" y="2520"/>
                  </a:cubicBezTo>
                  <a:cubicBezTo>
                    <a:pt x="11100" y="2160"/>
                    <a:pt x="11100" y="2160"/>
                    <a:pt x="11100" y="2160"/>
                  </a:cubicBezTo>
                  <a:cubicBezTo>
                    <a:pt x="10609" y="1440"/>
                    <a:pt x="10609" y="1440"/>
                    <a:pt x="10609" y="1440"/>
                  </a:cubicBezTo>
                  <a:cubicBezTo>
                    <a:pt x="10609" y="1440"/>
                    <a:pt x="10855" y="900"/>
                    <a:pt x="10855" y="1080"/>
                  </a:cubicBezTo>
                  <a:cubicBezTo>
                    <a:pt x="10977" y="1260"/>
                    <a:pt x="10977" y="1620"/>
                    <a:pt x="11100" y="1620"/>
                  </a:cubicBezTo>
                  <a:cubicBezTo>
                    <a:pt x="11223" y="1620"/>
                    <a:pt x="11346" y="1800"/>
                    <a:pt x="11468" y="1620"/>
                  </a:cubicBezTo>
                  <a:cubicBezTo>
                    <a:pt x="11468" y="1440"/>
                    <a:pt x="11468" y="900"/>
                    <a:pt x="11468" y="900"/>
                  </a:cubicBezTo>
                  <a:cubicBezTo>
                    <a:pt x="11468" y="900"/>
                    <a:pt x="11346" y="720"/>
                    <a:pt x="11468" y="720"/>
                  </a:cubicBezTo>
                  <a:cubicBezTo>
                    <a:pt x="11591" y="900"/>
                    <a:pt x="11837" y="1260"/>
                    <a:pt x="11837" y="1260"/>
                  </a:cubicBezTo>
                  <a:cubicBezTo>
                    <a:pt x="12205" y="1260"/>
                    <a:pt x="12205" y="1260"/>
                    <a:pt x="12205" y="1260"/>
                  </a:cubicBezTo>
                  <a:cubicBezTo>
                    <a:pt x="12573" y="720"/>
                    <a:pt x="12573" y="720"/>
                    <a:pt x="12573" y="720"/>
                  </a:cubicBezTo>
                  <a:cubicBezTo>
                    <a:pt x="12696" y="1080"/>
                    <a:pt x="12696" y="1080"/>
                    <a:pt x="12696" y="1080"/>
                  </a:cubicBezTo>
                  <a:cubicBezTo>
                    <a:pt x="12696" y="1080"/>
                    <a:pt x="12941" y="900"/>
                    <a:pt x="13064" y="900"/>
                  </a:cubicBezTo>
                  <a:cubicBezTo>
                    <a:pt x="13187" y="900"/>
                    <a:pt x="13187" y="720"/>
                    <a:pt x="13309" y="720"/>
                  </a:cubicBezTo>
                  <a:cubicBezTo>
                    <a:pt x="13432" y="720"/>
                    <a:pt x="13677" y="900"/>
                    <a:pt x="13677" y="900"/>
                  </a:cubicBezTo>
                  <a:cubicBezTo>
                    <a:pt x="14291" y="1080"/>
                    <a:pt x="14291" y="1080"/>
                    <a:pt x="14291" y="1080"/>
                  </a:cubicBezTo>
                  <a:cubicBezTo>
                    <a:pt x="14537" y="540"/>
                    <a:pt x="14537" y="540"/>
                    <a:pt x="14537" y="540"/>
                  </a:cubicBezTo>
                  <a:cubicBezTo>
                    <a:pt x="15150" y="900"/>
                    <a:pt x="15150" y="900"/>
                    <a:pt x="15150" y="900"/>
                  </a:cubicBezTo>
                  <a:cubicBezTo>
                    <a:pt x="15641" y="1260"/>
                    <a:pt x="15641" y="1260"/>
                    <a:pt x="15641" y="1260"/>
                  </a:cubicBezTo>
                  <a:cubicBezTo>
                    <a:pt x="16255" y="1260"/>
                    <a:pt x="16255" y="1260"/>
                    <a:pt x="16255" y="1260"/>
                  </a:cubicBezTo>
                  <a:cubicBezTo>
                    <a:pt x="16255" y="1260"/>
                    <a:pt x="16746" y="900"/>
                    <a:pt x="16868" y="900"/>
                  </a:cubicBezTo>
                  <a:cubicBezTo>
                    <a:pt x="17114" y="720"/>
                    <a:pt x="17605" y="720"/>
                    <a:pt x="17605" y="720"/>
                  </a:cubicBezTo>
                  <a:cubicBezTo>
                    <a:pt x="17605" y="720"/>
                    <a:pt x="17727" y="720"/>
                    <a:pt x="17973" y="720"/>
                  </a:cubicBezTo>
                  <a:cubicBezTo>
                    <a:pt x="18218" y="540"/>
                    <a:pt x="18832" y="540"/>
                    <a:pt x="18832" y="540"/>
                  </a:cubicBezTo>
                  <a:cubicBezTo>
                    <a:pt x="19200" y="0"/>
                    <a:pt x="19200" y="0"/>
                    <a:pt x="19200" y="0"/>
                  </a:cubicBezTo>
                  <a:cubicBezTo>
                    <a:pt x="19814" y="360"/>
                    <a:pt x="19814" y="360"/>
                    <a:pt x="19814" y="360"/>
                  </a:cubicBezTo>
                  <a:cubicBezTo>
                    <a:pt x="19814" y="720"/>
                    <a:pt x="19814" y="720"/>
                    <a:pt x="19814" y="720"/>
                  </a:cubicBezTo>
                  <a:cubicBezTo>
                    <a:pt x="19200" y="1440"/>
                    <a:pt x="19200" y="1440"/>
                    <a:pt x="19200" y="1440"/>
                  </a:cubicBezTo>
                  <a:cubicBezTo>
                    <a:pt x="19200" y="2700"/>
                    <a:pt x="19200" y="2700"/>
                    <a:pt x="19200" y="2700"/>
                  </a:cubicBezTo>
                  <a:cubicBezTo>
                    <a:pt x="19077" y="4500"/>
                    <a:pt x="18709" y="5400"/>
                    <a:pt x="18587" y="6480"/>
                  </a:cubicBezTo>
                  <a:cubicBezTo>
                    <a:pt x="18464" y="7020"/>
                    <a:pt x="18218" y="7200"/>
                    <a:pt x="18587" y="8100"/>
                  </a:cubicBezTo>
                  <a:cubicBezTo>
                    <a:pt x="18832" y="8460"/>
                    <a:pt x="18832" y="9720"/>
                    <a:pt x="19323" y="10440"/>
                  </a:cubicBezTo>
                  <a:cubicBezTo>
                    <a:pt x="19568" y="10800"/>
                    <a:pt x="19323" y="11700"/>
                    <a:pt x="19691" y="12060"/>
                  </a:cubicBezTo>
                  <a:cubicBezTo>
                    <a:pt x="19691" y="12060"/>
                    <a:pt x="19691" y="12240"/>
                    <a:pt x="19814" y="12600"/>
                  </a:cubicBezTo>
                  <a:cubicBezTo>
                    <a:pt x="20059" y="12960"/>
                    <a:pt x="20059" y="12780"/>
                    <a:pt x="20182" y="12960"/>
                  </a:cubicBezTo>
                  <a:cubicBezTo>
                    <a:pt x="20182" y="12960"/>
                    <a:pt x="20427" y="13140"/>
                    <a:pt x="20550" y="13320"/>
                  </a:cubicBezTo>
                  <a:cubicBezTo>
                    <a:pt x="20673" y="13500"/>
                    <a:pt x="20673" y="13860"/>
                    <a:pt x="20673" y="14040"/>
                  </a:cubicBezTo>
                  <a:cubicBezTo>
                    <a:pt x="20673" y="14220"/>
                    <a:pt x="20796" y="14400"/>
                    <a:pt x="20796" y="14400"/>
                  </a:cubicBezTo>
                  <a:cubicBezTo>
                    <a:pt x="20796" y="14400"/>
                    <a:pt x="20918" y="14220"/>
                    <a:pt x="20918" y="14400"/>
                  </a:cubicBezTo>
                  <a:cubicBezTo>
                    <a:pt x="20918" y="14580"/>
                    <a:pt x="20796" y="14220"/>
                    <a:pt x="20918" y="14580"/>
                  </a:cubicBezTo>
                  <a:cubicBezTo>
                    <a:pt x="21164" y="14940"/>
                    <a:pt x="21532" y="14940"/>
                    <a:pt x="21532" y="14940"/>
                  </a:cubicBezTo>
                  <a:cubicBezTo>
                    <a:pt x="21409" y="15660"/>
                    <a:pt x="21409" y="15660"/>
                    <a:pt x="21409" y="15660"/>
                  </a:cubicBezTo>
                  <a:cubicBezTo>
                    <a:pt x="21164" y="15840"/>
                    <a:pt x="21164" y="15840"/>
                    <a:pt x="21164" y="15840"/>
                  </a:cubicBezTo>
                  <a:cubicBezTo>
                    <a:pt x="21164" y="15840"/>
                    <a:pt x="20550" y="15840"/>
                    <a:pt x="20550" y="16200"/>
                  </a:cubicBezTo>
                  <a:cubicBezTo>
                    <a:pt x="20550" y="16380"/>
                    <a:pt x="20550" y="17100"/>
                    <a:pt x="20550" y="17100"/>
                  </a:cubicBezTo>
                  <a:cubicBezTo>
                    <a:pt x="20182" y="17640"/>
                    <a:pt x="20182" y="17640"/>
                    <a:pt x="20182" y="17640"/>
                  </a:cubicBezTo>
                  <a:cubicBezTo>
                    <a:pt x="20182" y="17640"/>
                    <a:pt x="20427" y="18360"/>
                    <a:pt x="20427" y="18540"/>
                  </a:cubicBezTo>
                  <a:cubicBezTo>
                    <a:pt x="20427" y="18720"/>
                    <a:pt x="20550" y="18720"/>
                    <a:pt x="20550" y="18720"/>
                  </a:cubicBezTo>
                  <a:cubicBezTo>
                    <a:pt x="20182" y="18900"/>
                    <a:pt x="20182" y="18900"/>
                    <a:pt x="20182" y="18900"/>
                  </a:cubicBezTo>
                  <a:cubicBezTo>
                    <a:pt x="19691" y="18900"/>
                    <a:pt x="19691" y="18900"/>
                    <a:pt x="19691" y="18900"/>
                  </a:cubicBezTo>
                  <a:cubicBezTo>
                    <a:pt x="18709" y="18540"/>
                    <a:pt x="18709" y="18540"/>
                    <a:pt x="18709" y="18540"/>
                  </a:cubicBezTo>
                  <a:cubicBezTo>
                    <a:pt x="18464" y="19080"/>
                    <a:pt x="18464" y="19080"/>
                    <a:pt x="18464" y="19080"/>
                  </a:cubicBezTo>
                  <a:cubicBezTo>
                    <a:pt x="18218" y="19080"/>
                    <a:pt x="18218" y="19080"/>
                    <a:pt x="18218" y="19080"/>
                  </a:cubicBezTo>
                  <a:cubicBezTo>
                    <a:pt x="18218" y="19080"/>
                    <a:pt x="18096" y="19440"/>
                    <a:pt x="17850" y="19620"/>
                  </a:cubicBezTo>
                  <a:cubicBezTo>
                    <a:pt x="17727" y="19800"/>
                    <a:pt x="17605" y="19980"/>
                    <a:pt x="17482" y="19980"/>
                  </a:cubicBezTo>
                  <a:cubicBezTo>
                    <a:pt x="17237" y="20160"/>
                    <a:pt x="16991" y="19800"/>
                    <a:pt x="16991" y="19800"/>
                  </a:cubicBezTo>
                  <a:cubicBezTo>
                    <a:pt x="16623" y="19620"/>
                    <a:pt x="16623" y="19620"/>
                    <a:pt x="16623" y="19620"/>
                  </a:cubicBezTo>
                  <a:cubicBezTo>
                    <a:pt x="16255" y="18900"/>
                    <a:pt x="16255" y="18900"/>
                    <a:pt x="16255" y="18900"/>
                  </a:cubicBezTo>
                  <a:cubicBezTo>
                    <a:pt x="15150" y="17820"/>
                    <a:pt x="15150" y="17820"/>
                    <a:pt x="15150" y="17820"/>
                  </a:cubicBezTo>
                  <a:cubicBezTo>
                    <a:pt x="14537" y="17460"/>
                    <a:pt x="14537" y="17460"/>
                    <a:pt x="14537" y="17460"/>
                  </a:cubicBezTo>
                  <a:cubicBezTo>
                    <a:pt x="14046" y="17280"/>
                    <a:pt x="14046" y="17280"/>
                    <a:pt x="14046" y="17280"/>
                  </a:cubicBezTo>
                  <a:cubicBezTo>
                    <a:pt x="13432" y="17280"/>
                    <a:pt x="13432" y="17280"/>
                    <a:pt x="13432" y="17280"/>
                  </a:cubicBezTo>
                  <a:cubicBezTo>
                    <a:pt x="12941" y="16920"/>
                    <a:pt x="12941" y="16920"/>
                    <a:pt x="12941" y="16920"/>
                  </a:cubicBezTo>
                  <a:cubicBezTo>
                    <a:pt x="12450" y="16920"/>
                    <a:pt x="12450" y="16920"/>
                    <a:pt x="12450" y="16920"/>
                  </a:cubicBezTo>
                  <a:cubicBezTo>
                    <a:pt x="11837" y="16560"/>
                    <a:pt x="11837" y="16560"/>
                    <a:pt x="11837" y="16560"/>
                  </a:cubicBezTo>
                  <a:cubicBezTo>
                    <a:pt x="11346" y="17100"/>
                    <a:pt x="11346" y="17100"/>
                    <a:pt x="11346" y="17100"/>
                  </a:cubicBezTo>
                  <a:cubicBezTo>
                    <a:pt x="10732" y="17640"/>
                    <a:pt x="10732" y="17640"/>
                    <a:pt x="10732" y="17640"/>
                  </a:cubicBezTo>
                  <a:cubicBezTo>
                    <a:pt x="10118" y="18540"/>
                    <a:pt x="10118" y="18540"/>
                    <a:pt x="10118" y="18540"/>
                  </a:cubicBezTo>
                  <a:cubicBezTo>
                    <a:pt x="10118" y="18540"/>
                    <a:pt x="9750" y="19080"/>
                    <a:pt x="9505" y="19260"/>
                  </a:cubicBezTo>
                  <a:cubicBezTo>
                    <a:pt x="9382" y="19080"/>
                    <a:pt x="9382" y="19080"/>
                    <a:pt x="9382" y="19080"/>
                  </a:cubicBezTo>
                  <a:cubicBezTo>
                    <a:pt x="9382" y="19080"/>
                    <a:pt x="9382" y="18540"/>
                    <a:pt x="9505" y="18180"/>
                  </a:cubicBezTo>
                  <a:cubicBezTo>
                    <a:pt x="9627" y="18000"/>
                    <a:pt x="9627" y="17640"/>
                    <a:pt x="9627" y="17460"/>
                  </a:cubicBezTo>
                  <a:cubicBezTo>
                    <a:pt x="9627" y="17280"/>
                    <a:pt x="9627" y="16920"/>
                    <a:pt x="9505" y="16560"/>
                  </a:cubicBezTo>
                  <a:cubicBezTo>
                    <a:pt x="9505" y="16200"/>
                    <a:pt x="9382" y="15660"/>
                    <a:pt x="9382" y="15660"/>
                  </a:cubicBezTo>
                  <a:cubicBezTo>
                    <a:pt x="9750" y="15300"/>
                    <a:pt x="9750" y="15300"/>
                    <a:pt x="9750" y="15300"/>
                  </a:cubicBezTo>
                  <a:cubicBezTo>
                    <a:pt x="9505" y="14400"/>
                    <a:pt x="9505" y="14400"/>
                    <a:pt x="9505" y="14400"/>
                  </a:cubicBezTo>
                  <a:cubicBezTo>
                    <a:pt x="9259" y="14400"/>
                    <a:pt x="9259" y="14400"/>
                    <a:pt x="9259" y="14400"/>
                  </a:cubicBezTo>
                  <a:cubicBezTo>
                    <a:pt x="8891" y="14400"/>
                    <a:pt x="8891" y="14400"/>
                    <a:pt x="8891" y="14400"/>
                  </a:cubicBezTo>
                  <a:cubicBezTo>
                    <a:pt x="8646" y="14940"/>
                    <a:pt x="8646" y="14940"/>
                    <a:pt x="8646" y="14940"/>
                  </a:cubicBezTo>
                  <a:cubicBezTo>
                    <a:pt x="8646" y="14940"/>
                    <a:pt x="8768" y="15300"/>
                    <a:pt x="8768" y="15480"/>
                  </a:cubicBezTo>
                  <a:cubicBezTo>
                    <a:pt x="8646" y="15660"/>
                    <a:pt x="8400" y="15660"/>
                    <a:pt x="8400" y="15660"/>
                  </a:cubicBezTo>
                  <a:cubicBezTo>
                    <a:pt x="8277" y="15840"/>
                    <a:pt x="8277" y="16380"/>
                    <a:pt x="8277" y="16380"/>
                  </a:cubicBezTo>
                  <a:cubicBezTo>
                    <a:pt x="7787" y="15660"/>
                    <a:pt x="7787" y="15660"/>
                    <a:pt x="7787" y="15660"/>
                  </a:cubicBezTo>
                  <a:cubicBezTo>
                    <a:pt x="7787" y="15660"/>
                    <a:pt x="7541" y="15660"/>
                    <a:pt x="7418" y="15480"/>
                  </a:cubicBezTo>
                  <a:cubicBezTo>
                    <a:pt x="7296" y="15480"/>
                    <a:pt x="7050" y="15480"/>
                    <a:pt x="7050" y="15480"/>
                  </a:cubicBezTo>
                  <a:cubicBezTo>
                    <a:pt x="7050" y="15480"/>
                    <a:pt x="7050" y="15480"/>
                    <a:pt x="6927" y="15480"/>
                  </a:cubicBezTo>
                  <a:cubicBezTo>
                    <a:pt x="6682" y="15480"/>
                    <a:pt x="6682" y="15480"/>
                    <a:pt x="6559" y="15120"/>
                  </a:cubicBezTo>
                  <a:cubicBezTo>
                    <a:pt x="6437" y="14760"/>
                    <a:pt x="6068" y="13860"/>
                    <a:pt x="6068" y="13860"/>
                  </a:cubicBezTo>
                  <a:cubicBezTo>
                    <a:pt x="6068" y="13860"/>
                    <a:pt x="5946" y="13500"/>
                    <a:pt x="5823" y="13500"/>
                  </a:cubicBezTo>
                  <a:cubicBezTo>
                    <a:pt x="5823" y="13500"/>
                    <a:pt x="5700" y="13860"/>
                    <a:pt x="5700" y="13860"/>
                  </a:cubicBezTo>
                  <a:cubicBezTo>
                    <a:pt x="5577" y="13860"/>
                    <a:pt x="5577" y="13500"/>
                    <a:pt x="5577" y="13320"/>
                  </a:cubicBezTo>
                  <a:cubicBezTo>
                    <a:pt x="5577" y="13140"/>
                    <a:pt x="5577" y="12960"/>
                    <a:pt x="5577" y="12600"/>
                  </a:cubicBezTo>
                  <a:cubicBezTo>
                    <a:pt x="5577" y="12240"/>
                    <a:pt x="5455" y="11880"/>
                    <a:pt x="5577" y="11880"/>
                  </a:cubicBezTo>
                  <a:cubicBezTo>
                    <a:pt x="5577" y="11880"/>
                    <a:pt x="5700" y="12060"/>
                    <a:pt x="5823" y="12060"/>
                  </a:cubicBezTo>
                  <a:cubicBezTo>
                    <a:pt x="5946" y="12060"/>
                    <a:pt x="5946" y="11700"/>
                    <a:pt x="5946" y="11700"/>
                  </a:cubicBezTo>
                  <a:cubicBezTo>
                    <a:pt x="6068" y="11700"/>
                    <a:pt x="6191" y="11880"/>
                    <a:pt x="6191" y="11880"/>
                  </a:cubicBezTo>
                  <a:cubicBezTo>
                    <a:pt x="6314" y="11880"/>
                    <a:pt x="6437" y="11880"/>
                    <a:pt x="6437" y="11880"/>
                  </a:cubicBezTo>
                  <a:cubicBezTo>
                    <a:pt x="6559" y="11700"/>
                    <a:pt x="6559" y="11700"/>
                    <a:pt x="6559" y="11520"/>
                  </a:cubicBezTo>
                  <a:cubicBezTo>
                    <a:pt x="6559" y="11340"/>
                    <a:pt x="6437" y="11160"/>
                    <a:pt x="6437" y="11160"/>
                  </a:cubicBezTo>
                  <a:cubicBezTo>
                    <a:pt x="6314" y="11160"/>
                    <a:pt x="5577" y="11700"/>
                    <a:pt x="5577" y="11700"/>
                  </a:cubicBezTo>
                  <a:cubicBezTo>
                    <a:pt x="5087" y="11700"/>
                    <a:pt x="5087" y="11700"/>
                    <a:pt x="5087" y="11700"/>
                  </a:cubicBezTo>
                  <a:cubicBezTo>
                    <a:pt x="5332" y="11340"/>
                    <a:pt x="5332" y="11340"/>
                    <a:pt x="5332" y="11340"/>
                  </a:cubicBezTo>
                  <a:cubicBezTo>
                    <a:pt x="5087" y="10980"/>
                    <a:pt x="5087" y="10980"/>
                    <a:pt x="5087" y="10980"/>
                  </a:cubicBezTo>
                  <a:cubicBezTo>
                    <a:pt x="5087" y="10620"/>
                    <a:pt x="5087" y="10620"/>
                    <a:pt x="5087" y="10620"/>
                  </a:cubicBezTo>
                  <a:cubicBezTo>
                    <a:pt x="4841" y="10440"/>
                    <a:pt x="4841" y="10440"/>
                    <a:pt x="4841" y="10440"/>
                  </a:cubicBezTo>
                  <a:cubicBezTo>
                    <a:pt x="4964" y="10080"/>
                    <a:pt x="4964" y="10080"/>
                    <a:pt x="4964" y="10080"/>
                  </a:cubicBezTo>
                  <a:cubicBezTo>
                    <a:pt x="5209" y="10080"/>
                    <a:pt x="5209" y="10080"/>
                    <a:pt x="5209" y="10080"/>
                  </a:cubicBezTo>
                  <a:cubicBezTo>
                    <a:pt x="5455" y="9900"/>
                    <a:pt x="5455" y="9900"/>
                    <a:pt x="5455" y="9900"/>
                  </a:cubicBezTo>
                  <a:cubicBezTo>
                    <a:pt x="5455" y="9180"/>
                    <a:pt x="5455" y="9180"/>
                    <a:pt x="5455" y="9180"/>
                  </a:cubicBezTo>
                  <a:cubicBezTo>
                    <a:pt x="5209" y="9360"/>
                    <a:pt x="5209" y="9360"/>
                    <a:pt x="5209" y="9360"/>
                  </a:cubicBezTo>
                  <a:cubicBezTo>
                    <a:pt x="5332" y="9720"/>
                    <a:pt x="5332" y="9720"/>
                    <a:pt x="5332" y="9720"/>
                  </a:cubicBezTo>
                  <a:cubicBezTo>
                    <a:pt x="4841" y="9720"/>
                    <a:pt x="4841" y="9720"/>
                    <a:pt x="4841" y="9720"/>
                  </a:cubicBezTo>
                  <a:cubicBezTo>
                    <a:pt x="4718" y="9360"/>
                    <a:pt x="4718" y="9360"/>
                    <a:pt x="4718" y="9360"/>
                  </a:cubicBezTo>
                  <a:close/>
                  <a:moveTo>
                    <a:pt x="2755" y="18540"/>
                  </a:moveTo>
                  <a:cubicBezTo>
                    <a:pt x="2755" y="18540"/>
                    <a:pt x="2755" y="18540"/>
                    <a:pt x="2755" y="18540"/>
                  </a:cubicBezTo>
                  <a:cubicBezTo>
                    <a:pt x="2755" y="18540"/>
                    <a:pt x="3000" y="18540"/>
                    <a:pt x="3000" y="18540"/>
                  </a:cubicBezTo>
                  <a:cubicBezTo>
                    <a:pt x="3000" y="18540"/>
                    <a:pt x="3123" y="18720"/>
                    <a:pt x="3000" y="18720"/>
                  </a:cubicBezTo>
                  <a:cubicBezTo>
                    <a:pt x="3000" y="18900"/>
                    <a:pt x="3123" y="18900"/>
                    <a:pt x="3000" y="18900"/>
                  </a:cubicBezTo>
                  <a:cubicBezTo>
                    <a:pt x="2877" y="18900"/>
                    <a:pt x="2632" y="19080"/>
                    <a:pt x="2632" y="18900"/>
                  </a:cubicBezTo>
                  <a:cubicBezTo>
                    <a:pt x="2632" y="18900"/>
                    <a:pt x="2755" y="18720"/>
                    <a:pt x="2755" y="18720"/>
                  </a:cubicBezTo>
                  <a:cubicBezTo>
                    <a:pt x="2755" y="18540"/>
                    <a:pt x="2755" y="18540"/>
                    <a:pt x="2755" y="18540"/>
                  </a:cubicBezTo>
                  <a:close/>
                  <a:moveTo>
                    <a:pt x="7787" y="17100"/>
                  </a:moveTo>
                  <a:cubicBezTo>
                    <a:pt x="7787" y="17100"/>
                    <a:pt x="7787" y="17100"/>
                    <a:pt x="7787" y="17100"/>
                  </a:cubicBezTo>
                  <a:cubicBezTo>
                    <a:pt x="7787" y="17100"/>
                    <a:pt x="7664" y="17640"/>
                    <a:pt x="7787" y="17640"/>
                  </a:cubicBezTo>
                  <a:cubicBezTo>
                    <a:pt x="7787" y="17640"/>
                    <a:pt x="7909" y="17640"/>
                    <a:pt x="8032" y="17640"/>
                  </a:cubicBezTo>
                  <a:cubicBezTo>
                    <a:pt x="8155" y="17460"/>
                    <a:pt x="8155" y="17460"/>
                    <a:pt x="8155" y="17460"/>
                  </a:cubicBezTo>
                  <a:cubicBezTo>
                    <a:pt x="8155" y="17280"/>
                    <a:pt x="8155" y="17100"/>
                    <a:pt x="8155" y="17100"/>
                  </a:cubicBezTo>
                  <a:cubicBezTo>
                    <a:pt x="7787" y="17100"/>
                    <a:pt x="7787" y="17100"/>
                    <a:pt x="7787" y="17100"/>
                  </a:cubicBezTo>
                  <a:close/>
                  <a:moveTo>
                    <a:pt x="1037" y="16380"/>
                  </a:moveTo>
                  <a:cubicBezTo>
                    <a:pt x="1037" y="16380"/>
                    <a:pt x="1037" y="16380"/>
                    <a:pt x="1037" y="16380"/>
                  </a:cubicBezTo>
                  <a:cubicBezTo>
                    <a:pt x="914" y="16560"/>
                    <a:pt x="914" y="16560"/>
                    <a:pt x="914" y="16560"/>
                  </a:cubicBezTo>
                  <a:cubicBezTo>
                    <a:pt x="914" y="16560"/>
                    <a:pt x="791" y="16020"/>
                    <a:pt x="791" y="15840"/>
                  </a:cubicBezTo>
                  <a:cubicBezTo>
                    <a:pt x="791" y="15840"/>
                    <a:pt x="546" y="15660"/>
                    <a:pt x="546" y="15660"/>
                  </a:cubicBezTo>
                  <a:cubicBezTo>
                    <a:pt x="546" y="15660"/>
                    <a:pt x="423" y="15660"/>
                    <a:pt x="423" y="15660"/>
                  </a:cubicBezTo>
                  <a:cubicBezTo>
                    <a:pt x="300" y="15660"/>
                    <a:pt x="300" y="15840"/>
                    <a:pt x="300" y="15840"/>
                  </a:cubicBezTo>
                  <a:cubicBezTo>
                    <a:pt x="177" y="15840"/>
                    <a:pt x="177" y="15840"/>
                    <a:pt x="177" y="15840"/>
                  </a:cubicBezTo>
                  <a:cubicBezTo>
                    <a:pt x="177" y="15840"/>
                    <a:pt x="55" y="15840"/>
                    <a:pt x="55" y="15840"/>
                  </a:cubicBezTo>
                  <a:cubicBezTo>
                    <a:pt x="-68" y="16020"/>
                    <a:pt x="55" y="16200"/>
                    <a:pt x="55" y="16200"/>
                  </a:cubicBezTo>
                  <a:cubicBezTo>
                    <a:pt x="55" y="16200"/>
                    <a:pt x="177" y="16200"/>
                    <a:pt x="300" y="16380"/>
                  </a:cubicBezTo>
                  <a:cubicBezTo>
                    <a:pt x="423" y="16380"/>
                    <a:pt x="423" y="16380"/>
                    <a:pt x="423" y="16380"/>
                  </a:cubicBezTo>
                  <a:cubicBezTo>
                    <a:pt x="423" y="16380"/>
                    <a:pt x="668" y="16740"/>
                    <a:pt x="791" y="16920"/>
                  </a:cubicBezTo>
                  <a:cubicBezTo>
                    <a:pt x="791" y="16920"/>
                    <a:pt x="791" y="17100"/>
                    <a:pt x="791" y="17100"/>
                  </a:cubicBezTo>
                  <a:cubicBezTo>
                    <a:pt x="423" y="17460"/>
                    <a:pt x="423" y="17460"/>
                    <a:pt x="423" y="17460"/>
                  </a:cubicBezTo>
                  <a:cubicBezTo>
                    <a:pt x="423" y="17460"/>
                    <a:pt x="546" y="17640"/>
                    <a:pt x="546" y="17640"/>
                  </a:cubicBezTo>
                  <a:cubicBezTo>
                    <a:pt x="668" y="17640"/>
                    <a:pt x="423" y="17820"/>
                    <a:pt x="423" y="17820"/>
                  </a:cubicBezTo>
                  <a:cubicBezTo>
                    <a:pt x="423" y="17820"/>
                    <a:pt x="423" y="18180"/>
                    <a:pt x="423" y="18180"/>
                  </a:cubicBezTo>
                  <a:cubicBezTo>
                    <a:pt x="423" y="18180"/>
                    <a:pt x="546" y="18360"/>
                    <a:pt x="791" y="18360"/>
                  </a:cubicBezTo>
                  <a:cubicBezTo>
                    <a:pt x="1037" y="18540"/>
                    <a:pt x="1037" y="18360"/>
                    <a:pt x="1037" y="18360"/>
                  </a:cubicBezTo>
                  <a:cubicBezTo>
                    <a:pt x="1159" y="18540"/>
                    <a:pt x="1159" y="18540"/>
                    <a:pt x="1159" y="18540"/>
                  </a:cubicBezTo>
                  <a:cubicBezTo>
                    <a:pt x="1159" y="18720"/>
                    <a:pt x="1159" y="18720"/>
                    <a:pt x="1159" y="18720"/>
                  </a:cubicBezTo>
                  <a:cubicBezTo>
                    <a:pt x="1282" y="18900"/>
                    <a:pt x="1282" y="18900"/>
                    <a:pt x="1282" y="18900"/>
                  </a:cubicBezTo>
                  <a:cubicBezTo>
                    <a:pt x="1650" y="19080"/>
                    <a:pt x="1650" y="19080"/>
                    <a:pt x="1650" y="19080"/>
                  </a:cubicBezTo>
                  <a:cubicBezTo>
                    <a:pt x="1650" y="19260"/>
                    <a:pt x="1650" y="19260"/>
                    <a:pt x="1650" y="19260"/>
                  </a:cubicBezTo>
                  <a:cubicBezTo>
                    <a:pt x="1650" y="19800"/>
                    <a:pt x="1650" y="19800"/>
                    <a:pt x="1650" y="19800"/>
                  </a:cubicBezTo>
                  <a:cubicBezTo>
                    <a:pt x="1650" y="19800"/>
                    <a:pt x="1527" y="19800"/>
                    <a:pt x="1405" y="19800"/>
                  </a:cubicBezTo>
                  <a:cubicBezTo>
                    <a:pt x="1405" y="19980"/>
                    <a:pt x="1405" y="20160"/>
                    <a:pt x="1282" y="20160"/>
                  </a:cubicBezTo>
                  <a:cubicBezTo>
                    <a:pt x="1282" y="20160"/>
                    <a:pt x="1282" y="20520"/>
                    <a:pt x="1159" y="20700"/>
                  </a:cubicBezTo>
                  <a:cubicBezTo>
                    <a:pt x="1159" y="20880"/>
                    <a:pt x="1282" y="21060"/>
                    <a:pt x="1282" y="21240"/>
                  </a:cubicBezTo>
                  <a:cubicBezTo>
                    <a:pt x="1282" y="21600"/>
                    <a:pt x="1405" y="21420"/>
                    <a:pt x="1527" y="21420"/>
                  </a:cubicBezTo>
                  <a:cubicBezTo>
                    <a:pt x="1527" y="21420"/>
                    <a:pt x="1650" y="21240"/>
                    <a:pt x="1650" y="21240"/>
                  </a:cubicBezTo>
                  <a:cubicBezTo>
                    <a:pt x="1773" y="21240"/>
                    <a:pt x="1896" y="20880"/>
                    <a:pt x="2018" y="20700"/>
                  </a:cubicBezTo>
                  <a:cubicBezTo>
                    <a:pt x="2018" y="20520"/>
                    <a:pt x="2018" y="20340"/>
                    <a:pt x="2018" y="20340"/>
                  </a:cubicBezTo>
                  <a:cubicBezTo>
                    <a:pt x="1896" y="20160"/>
                    <a:pt x="2018" y="19800"/>
                    <a:pt x="2018" y="19800"/>
                  </a:cubicBezTo>
                  <a:cubicBezTo>
                    <a:pt x="2018" y="19620"/>
                    <a:pt x="2018" y="19620"/>
                    <a:pt x="2018" y="19620"/>
                  </a:cubicBezTo>
                  <a:cubicBezTo>
                    <a:pt x="1896" y="18900"/>
                    <a:pt x="1896" y="18900"/>
                    <a:pt x="1896" y="18900"/>
                  </a:cubicBezTo>
                  <a:cubicBezTo>
                    <a:pt x="2141" y="18180"/>
                    <a:pt x="2141" y="18180"/>
                    <a:pt x="2141" y="18180"/>
                  </a:cubicBezTo>
                  <a:cubicBezTo>
                    <a:pt x="2387" y="18180"/>
                    <a:pt x="2387" y="18180"/>
                    <a:pt x="2387" y="18180"/>
                  </a:cubicBezTo>
                  <a:cubicBezTo>
                    <a:pt x="2755" y="17820"/>
                    <a:pt x="2755" y="17820"/>
                    <a:pt x="2755" y="17820"/>
                  </a:cubicBezTo>
                  <a:cubicBezTo>
                    <a:pt x="2755" y="17820"/>
                    <a:pt x="2755" y="17820"/>
                    <a:pt x="2755" y="17820"/>
                  </a:cubicBezTo>
                  <a:cubicBezTo>
                    <a:pt x="2755" y="17820"/>
                    <a:pt x="2877" y="17820"/>
                    <a:pt x="3000" y="17640"/>
                  </a:cubicBezTo>
                  <a:cubicBezTo>
                    <a:pt x="3246" y="17640"/>
                    <a:pt x="3123" y="17820"/>
                    <a:pt x="3246" y="17820"/>
                  </a:cubicBezTo>
                  <a:cubicBezTo>
                    <a:pt x="3246" y="18000"/>
                    <a:pt x="3368" y="18000"/>
                    <a:pt x="3491" y="18000"/>
                  </a:cubicBezTo>
                  <a:cubicBezTo>
                    <a:pt x="3491" y="18000"/>
                    <a:pt x="3614" y="17640"/>
                    <a:pt x="3614" y="17640"/>
                  </a:cubicBezTo>
                  <a:cubicBezTo>
                    <a:pt x="3614" y="17460"/>
                    <a:pt x="3491" y="17460"/>
                    <a:pt x="3491" y="17460"/>
                  </a:cubicBezTo>
                  <a:cubicBezTo>
                    <a:pt x="3368" y="17100"/>
                    <a:pt x="3368" y="17100"/>
                    <a:pt x="3368" y="17100"/>
                  </a:cubicBezTo>
                  <a:cubicBezTo>
                    <a:pt x="3737" y="16920"/>
                    <a:pt x="3737" y="16920"/>
                    <a:pt x="3737" y="16920"/>
                  </a:cubicBezTo>
                  <a:cubicBezTo>
                    <a:pt x="3859" y="16740"/>
                    <a:pt x="3859" y="16740"/>
                    <a:pt x="3859" y="16740"/>
                  </a:cubicBezTo>
                  <a:cubicBezTo>
                    <a:pt x="4105" y="16380"/>
                    <a:pt x="4105" y="16380"/>
                    <a:pt x="4105" y="16380"/>
                  </a:cubicBezTo>
                  <a:cubicBezTo>
                    <a:pt x="3982" y="16020"/>
                    <a:pt x="3982" y="16020"/>
                    <a:pt x="3982" y="16020"/>
                  </a:cubicBezTo>
                  <a:cubicBezTo>
                    <a:pt x="3982" y="16020"/>
                    <a:pt x="4227" y="16020"/>
                    <a:pt x="4350" y="16020"/>
                  </a:cubicBezTo>
                  <a:cubicBezTo>
                    <a:pt x="4350" y="16020"/>
                    <a:pt x="4350" y="15840"/>
                    <a:pt x="4350" y="15840"/>
                  </a:cubicBezTo>
                  <a:cubicBezTo>
                    <a:pt x="4227" y="15480"/>
                    <a:pt x="4227" y="15480"/>
                    <a:pt x="4227" y="15480"/>
                  </a:cubicBezTo>
                  <a:cubicBezTo>
                    <a:pt x="4227" y="15480"/>
                    <a:pt x="4473" y="15480"/>
                    <a:pt x="4596" y="15300"/>
                  </a:cubicBezTo>
                  <a:cubicBezTo>
                    <a:pt x="4596" y="15300"/>
                    <a:pt x="4473" y="15120"/>
                    <a:pt x="4473" y="15120"/>
                  </a:cubicBezTo>
                  <a:cubicBezTo>
                    <a:pt x="4473" y="14940"/>
                    <a:pt x="4596" y="14760"/>
                    <a:pt x="4596" y="14760"/>
                  </a:cubicBezTo>
                  <a:cubicBezTo>
                    <a:pt x="4596" y="14760"/>
                    <a:pt x="4841" y="15120"/>
                    <a:pt x="4964" y="15120"/>
                  </a:cubicBezTo>
                  <a:cubicBezTo>
                    <a:pt x="5087" y="15300"/>
                    <a:pt x="5087" y="15120"/>
                    <a:pt x="5209" y="15120"/>
                  </a:cubicBezTo>
                  <a:cubicBezTo>
                    <a:pt x="5209" y="14940"/>
                    <a:pt x="5087" y="14760"/>
                    <a:pt x="5087" y="14760"/>
                  </a:cubicBezTo>
                  <a:cubicBezTo>
                    <a:pt x="4964" y="14580"/>
                    <a:pt x="4964" y="14580"/>
                    <a:pt x="4964" y="14580"/>
                  </a:cubicBezTo>
                  <a:cubicBezTo>
                    <a:pt x="4596" y="14400"/>
                    <a:pt x="4596" y="14400"/>
                    <a:pt x="4596" y="14400"/>
                  </a:cubicBezTo>
                  <a:cubicBezTo>
                    <a:pt x="4105" y="14040"/>
                    <a:pt x="4105" y="14040"/>
                    <a:pt x="4105" y="14040"/>
                  </a:cubicBezTo>
                  <a:cubicBezTo>
                    <a:pt x="4105" y="14040"/>
                    <a:pt x="3737" y="14040"/>
                    <a:pt x="3737" y="13860"/>
                  </a:cubicBezTo>
                  <a:cubicBezTo>
                    <a:pt x="3614" y="13860"/>
                    <a:pt x="3614" y="13860"/>
                    <a:pt x="3614" y="13860"/>
                  </a:cubicBezTo>
                  <a:cubicBezTo>
                    <a:pt x="3614" y="13860"/>
                    <a:pt x="3368" y="13860"/>
                    <a:pt x="3368" y="13860"/>
                  </a:cubicBezTo>
                  <a:cubicBezTo>
                    <a:pt x="3246" y="13860"/>
                    <a:pt x="3123" y="14040"/>
                    <a:pt x="3000" y="14220"/>
                  </a:cubicBezTo>
                  <a:cubicBezTo>
                    <a:pt x="3000" y="14220"/>
                    <a:pt x="2877" y="14400"/>
                    <a:pt x="2755" y="14400"/>
                  </a:cubicBezTo>
                  <a:cubicBezTo>
                    <a:pt x="2755" y="14400"/>
                    <a:pt x="2632" y="14040"/>
                    <a:pt x="2632" y="14040"/>
                  </a:cubicBezTo>
                  <a:cubicBezTo>
                    <a:pt x="2387" y="14040"/>
                    <a:pt x="2387" y="14040"/>
                    <a:pt x="2387" y="14040"/>
                  </a:cubicBezTo>
                  <a:cubicBezTo>
                    <a:pt x="2387" y="14040"/>
                    <a:pt x="2264" y="14400"/>
                    <a:pt x="2264" y="14580"/>
                  </a:cubicBezTo>
                  <a:cubicBezTo>
                    <a:pt x="2264" y="14580"/>
                    <a:pt x="2018" y="14580"/>
                    <a:pt x="1896" y="14580"/>
                  </a:cubicBezTo>
                  <a:cubicBezTo>
                    <a:pt x="1773" y="14760"/>
                    <a:pt x="1650" y="14760"/>
                    <a:pt x="1527" y="14940"/>
                  </a:cubicBezTo>
                  <a:cubicBezTo>
                    <a:pt x="1405" y="14940"/>
                    <a:pt x="1650" y="15120"/>
                    <a:pt x="1650" y="15120"/>
                  </a:cubicBezTo>
                  <a:cubicBezTo>
                    <a:pt x="1650" y="15480"/>
                    <a:pt x="1650" y="15480"/>
                    <a:pt x="1650" y="15480"/>
                  </a:cubicBezTo>
                  <a:cubicBezTo>
                    <a:pt x="1405" y="15480"/>
                    <a:pt x="1405" y="15480"/>
                    <a:pt x="1405" y="15480"/>
                  </a:cubicBezTo>
                  <a:cubicBezTo>
                    <a:pt x="1282" y="15300"/>
                    <a:pt x="1282" y="15300"/>
                    <a:pt x="1282" y="15300"/>
                  </a:cubicBezTo>
                  <a:cubicBezTo>
                    <a:pt x="1037" y="15660"/>
                    <a:pt x="1037" y="15660"/>
                    <a:pt x="1037" y="15660"/>
                  </a:cubicBezTo>
                  <a:cubicBezTo>
                    <a:pt x="914" y="16020"/>
                    <a:pt x="914" y="16020"/>
                    <a:pt x="914" y="16020"/>
                  </a:cubicBezTo>
                  <a:cubicBezTo>
                    <a:pt x="914" y="16020"/>
                    <a:pt x="1037" y="16380"/>
                    <a:pt x="1037" y="16380"/>
                  </a:cubicBezTo>
                  <a:close/>
                  <a:moveTo>
                    <a:pt x="4227" y="13680"/>
                  </a:moveTo>
                  <a:cubicBezTo>
                    <a:pt x="4227" y="13680"/>
                    <a:pt x="4227" y="13680"/>
                    <a:pt x="4227" y="13680"/>
                  </a:cubicBezTo>
                  <a:cubicBezTo>
                    <a:pt x="4350" y="13860"/>
                    <a:pt x="4350" y="13860"/>
                    <a:pt x="4350" y="13860"/>
                  </a:cubicBezTo>
                  <a:cubicBezTo>
                    <a:pt x="4350" y="13860"/>
                    <a:pt x="4473" y="14040"/>
                    <a:pt x="4718" y="14040"/>
                  </a:cubicBezTo>
                  <a:cubicBezTo>
                    <a:pt x="5087" y="14040"/>
                    <a:pt x="5087" y="14400"/>
                    <a:pt x="5332" y="14040"/>
                  </a:cubicBezTo>
                  <a:cubicBezTo>
                    <a:pt x="5332" y="13860"/>
                    <a:pt x="5332" y="13860"/>
                    <a:pt x="5209" y="13680"/>
                  </a:cubicBezTo>
                  <a:cubicBezTo>
                    <a:pt x="5209" y="13500"/>
                    <a:pt x="5087" y="13500"/>
                    <a:pt x="5087" y="13320"/>
                  </a:cubicBezTo>
                  <a:cubicBezTo>
                    <a:pt x="5087" y="13320"/>
                    <a:pt x="5087" y="13320"/>
                    <a:pt x="4841" y="12960"/>
                  </a:cubicBezTo>
                  <a:cubicBezTo>
                    <a:pt x="4718" y="12780"/>
                    <a:pt x="4718" y="12960"/>
                    <a:pt x="4596" y="12960"/>
                  </a:cubicBezTo>
                  <a:cubicBezTo>
                    <a:pt x="4473" y="12960"/>
                    <a:pt x="4350" y="12960"/>
                    <a:pt x="4227" y="12960"/>
                  </a:cubicBezTo>
                  <a:cubicBezTo>
                    <a:pt x="4105" y="13140"/>
                    <a:pt x="4350" y="13320"/>
                    <a:pt x="4350" y="13500"/>
                  </a:cubicBezTo>
                  <a:cubicBezTo>
                    <a:pt x="4350" y="13500"/>
                    <a:pt x="4227" y="13680"/>
                    <a:pt x="4227" y="13680"/>
                  </a:cubicBezTo>
                  <a:close/>
                  <a:moveTo>
                    <a:pt x="2632" y="10260"/>
                  </a:moveTo>
                  <a:cubicBezTo>
                    <a:pt x="2632" y="10260"/>
                    <a:pt x="2632" y="10260"/>
                    <a:pt x="2632" y="10260"/>
                  </a:cubicBezTo>
                  <a:cubicBezTo>
                    <a:pt x="2632" y="10080"/>
                    <a:pt x="2877" y="10080"/>
                    <a:pt x="3000" y="10260"/>
                  </a:cubicBezTo>
                  <a:cubicBezTo>
                    <a:pt x="3000" y="10260"/>
                    <a:pt x="3246" y="10440"/>
                    <a:pt x="3246" y="10620"/>
                  </a:cubicBezTo>
                  <a:cubicBezTo>
                    <a:pt x="3246" y="10620"/>
                    <a:pt x="3368" y="10620"/>
                    <a:pt x="3368" y="10800"/>
                  </a:cubicBezTo>
                  <a:cubicBezTo>
                    <a:pt x="3368" y="10800"/>
                    <a:pt x="3491" y="10980"/>
                    <a:pt x="3491" y="11160"/>
                  </a:cubicBezTo>
                  <a:cubicBezTo>
                    <a:pt x="3614" y="11340"/>
                    <a:pt x="3737" y="11520"/>
                    <a:pt x="3737" y="11520"/>
                  </a:cubicBezTo>
                  <a:cubicBezTo>
                    <a:pt x="3737" y="11520"/>
                    <a:pt x="3859" y="11700"/>
                    <a:pt x="3737" y="11700"/>
                  </a:cubicBezTo>
                  <a:cubicBezTo>
                    <a:pt x="3614" y="11700"/>
                    <a:pt x="3246" y="11700"/>
                    <a:pt x="3246" y="11700"/>
                  </a:cubicBezTo>
                  <a:cubicBezTo>
                    <a:pt x="3246" y="11700"/>
                    <a:pt x="3123" y="11880"/>
                    <a:pt x="3123" y="11880"/>
                  </a:cubicBezTo>
                  <a:cubicBezTo>
                    <a:pt x="3123" y="12060"/>
                    <a:pt x="3368" y="12240"/>
                    <a:pt x="3246" y="12240"/>
                  </a:cubicBezTo>
                  <a:cubicBezTo>
                    <a:pt x="3123" y="12420"/>
                    <a:pt x="3123" y="12420"/>
                    <a:pt x="3000" y="12420"/>
                  </a:cubicBezTo>
                  <a:cubicBezTo>
                    <a:pt x="2877" y="12240"/>
                    <a:pt x="2755" y="11880"/>
                    <a:pt x="2755" y="11880"/>
                  </a:cubicBezTo>
                  <a:cubicBezTo>
                    <a:pt x="2632" y="12060"/>
                    <a:pt x="2632" y="12600"/>
                    <a:pt x="2632" y="12600"/>
                  </a:cubicBezTo>
                  <a:cubicBezTo>
                    <a:pt x="2632" y="12780"/>
                    <a:pt x="2755" y="12960"/>
                    <a:pt x="2632" y="13140"/>
                  </a:cubicBezTo>
                  <a:cubicBezTo>
                    <a:pt x="2632" y="13140"/>
                    <a:pt x="2264" y="13320"/>
                    <a:pt x="2264" y="13320"/>
                  </a:cubicBezTo>
                  <a:cubicBezTo>
                    <a:pt x="2264" y="13320"/>
                    <a:pt x="2141" y="13320"/>
                    <a:pt x="2141" y="13320"/>
                  </a:cubicBezTo>
                  <a:cubicBezTo>
                    <a:pt x="2018" y="13320"/>
                    <a:pt x="1773" y="12960"/>
                    <a:pt x="1650" y="12780"/>
                  </a:cubicBezTo>
                  <a:cubicBezTo>
                    <a:pt x="1650" y="12600"/>
                    <a:pt x="1650" y="12240"/>
                    <a:pt x="1650" y="12240"/>
                  </a:cubicBezTo>
                  <a:cubicBezTo>
                    <a:pt x="1527" y="12060"/>
                    <a:pt x="1405" y="11880"/>
                    <a:pt x="1405" y="11880"/>
                  </a:cubicBezTo>
                  <a:cubicBezTo>
                    <a:pt x="1405" y="11880"/>
                    <a:pt x="1527" y="11700"/>
                    <a:pt x="1282" y="11880"/>
                  </a:cubicBezTo>
                  <a:cubicBezTo>
                    <a:pt x="914" y="11880"/>
                    <a:pt x="1037" y="12060"/>
                    <a:pt x="914" y="12060"/>
                  </a:cubicBezTo>
                  <a:cubicBezTo>
                    <a:pt x="791" y="11880"/>
                    <a:pt x="791" y="11700"/>
                    <a:pt x="546" y="11700"/>
                  </a:cubicBezTo>
                  <a:cubicBezTo>
                    <a:pt x="423" y="11700"/>
                    <a:pt x="300" y="11520"/>
                    <a:pt x="300" y="11520"/>
                  </a:cubicBezTo>
                  <a:cubicBezTo>
                    <a:pt x="300" y="11520"/>
                    <a:pt x="668" y="11160"/>
                    <a:pt x="791" y="11160"/>
                  </a:cubicBezTo>
                  <a:cubicBezTo>
                    <a:pt x="914" y="11160"/>
                    <a:pt x="791" y="11160"/>
                    <a:pt x="1037" y="11160"/>
                  </a:cubicBezTo>
                  <a:cubicBezTo>
                    <a:pt x="1405" y="10980"/>
                    <a:pt x="1527" y="11340"/>
                    <a:pt x="1527" y="10980"/>
                  </a:cubicBezTo>
                  <a:cubicBezTo>
                    <a:pt x="1650" y="10620"/>
                    <a:pt x="1650" y="10440"/>
                    <a:pt x="1773" y="10260"/>
                  </a:cubicBezTo>
                  <a:cubicBezTo>
                    <a:pt x="1773" y="10080"/>
                    <a:pt x="1896" y="9720"/>
                    <a:pt x="1896" y="9720"/>
                  </a:cubicBezTo>
                  <a:cubicBezTo>
                    <a:pt x="1896" y="9540"/>
                    <a:pt x="2264" y="9540"/>
                    <a:pt x="2264" y="9540"/>
                  </a:cubicBezTo>
                  <a:cubicBezTo>
                    <a:pt x="2387" y="10080"/>
                    <a:pt x="2387" y="10080"/>
                    <a:pt x="2387" y="10080"/>
                  </a:cubicBezTo>
                  <a:cubicBezTo>
                    <a:pt x="2387" y="10080"/>
                    <a:pt x="2387" y="10260"/>
                    <a:pt x="2509" y="10260"/>
                  </a:cubicBezTo>
                  <a:cubicBezTo>
                    <a:pt x="2632" y="10260"/>
                    <a:pt x="2632" y="10260"/>
                    <a:pt x="2632" y="10260"/>
                  </a:cubicBezTo>
                  <a:close/>
                  <a:moveTo>
                    <a:pt x="4350" y="9360"/>
                  </a:moveTo>
                  <a:cubicBezTo>
                    <a:pt x="4350" y="9360"/>
                    <a:pt x="4350" y="9360"/>
                    <a:pt x="4350" y="9360"/>
                  </a:cubicBezTo>
                  <a:cubicBezTo>
                    <a:pt x="4227" y="9540"/>
                    <a:pt x="4227" y="9540"/>
                    <a:pt x="4227" y="9540"/>
                  </a:cubicBezTo>
                  <a:cubicBezTo>
                    <a:pt x="3737" y="9540"/>
                    <a:pt x="3737" y="9540"/>
                    <a:pt x="3737" y="9540"/>
                  </a:cubicBezTo>
                  <a:cubicBezTo>
                    <a:pt x="3737" y="9900"/>
                    <a:pt x="3737" y="9900"/>
                    <a:pt x="3737" y="9900"/>
                  </a:cubicBezTo>
                  <a:cubicBezTo>
                    <a:pt x="3982" y="10260"/>
                    <a:pt x="3982" y="10260"/>
                    <a:pt x="3982" y="10260"/>
                  </a:cubicBezTo>
                  <a:cubicBezTo>
                    <a:pt x="3982" y="10260"/>
                    <a:pt x="4105" y="10080"/>
                    <a:pt x="4227" y="10080"/>
                  </a:cubicBezTo>
                  <a:cubicBezTo>
                    <a:pt x="4350" y="10080"/>
                    <a:pt x="4596" y="10080"/>
                    <a:pt x="4596" y="10080"/>
                  </a:cubicBezTo>
                  <a:cubicBezTo>
                    <a:pt x="4718" y="9900"/>
                    <a:pt x="4718" y="9900"/>
                    <a:pt x="4718" y="9900"/>
                  </a:cubicBezTo>
                  <a:cubicBezTo>
                    <a:pt x="4596" y="9360"/>
                    <a:pt x="4596" y="9360"/>
                    <a:pt x="4596" y="9360"/>
                  </a:cubicBezTo>
                  <a:lnTo>
                    <a:pt x="4350" y="936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5" name="Shape 2248">
              <a:extLst>
                <a:ext uri="{FF2B5EF4-FFF2-40B4-BE49-F238E27FC236}">
                  <a16:creationId xmlns:a16="http://schemas.microsoft.com/office/drawing/2014/main" id="{CFA8CA44-7BB3-9B3B-B258-633773A3FBB0}"/>
                </a:ext>
              </a:extLst>
            </p:cNvPr>
            <p:cNvSpPr/>
            <p:nvPr/>
          </p:nvSpPr>
          <p:spPr>
            <a:xfrm>
              <a:off x="5724850" y="6171439"/>
              <a:ext cx="1003832" cy="734329"/>
            </a:xfrm>
            <a:custGeom>
              <a:avLst/>
              <a:gdLst/>
              <a:ahLst/>
              <a:cxnLst>
                <a:cxn ang="0">
                  <a:pos x="wd2" y="hd2"/>
                </a:cxn>
                <a:cxn ang="5400000">
                  <a:pos x="wd2" y="hd2"/>
                </a:cxn>
                <a:cxn ang="10800000">
                  <a:pos x="wd2" y="hd2"/>
                </a:cxn>
                <a:cxn ang="16200000">
                  <a:pos x="wd2" y="hd2"/>
                </a:cxn>
              </a:cxnLst>
              <a:rect l="0" t="0" r="r" b="b"/>
              <a:pathLst>
                <a:path w="21551" h="21600" extrusionOk="0">
                  <a:moveTo>
                    <a:pt x="571" y="4461"/>
                  </a:moveTo>
                  <a:cubicBezTo>
                    <a:pt x="571" y="4226"/>
                    <a:pt x="571" y="4226"/>
                    <a:pt x="571" y="4226"/>
                  </a:cubicBezTo>
                  <a:cubicBezTo>
                    <a:pt x="571" y="4226"/>
                    <a:pt x="571" y="4226"/>
                    <a:pt x="571" y="4226"/>
                  </a:cubicBezTo>
                  <a:cubicBezTo>
                    <a:pt x="1190" y="3991"/>
                    <a:pt x="1721" y="4461"/>
                    <a:pt x="1987" y="4461"/>
                  </a:cubicBezTo>
                  <a:cubicBezTo>
                    <a:pt x="2518" y="4578"/>
                    <a:pt x="1367" y="5400"/>
                    <a:pt x="1544" y="5400"/>
                  </a:cubicBezTo>
                  <a:cubicBezTo>
                    <a:pt x="1721" y="5283"/>
                    <a:pt x="1544" y="5987"/>
                    <a:pt x="1810" y="6104"/>
                  </a:cubicBezTo>
                  <a:cubicBezTo>
                    <a:pt x="2253" y="6222"/>
                    <a:pt x="2607" y="5752"/>
                    <a:pt x="3138" y="5752"/>
                  </a:cubicBezTo>
                  <a:cubicBezTo>
                    <a:pt x="3581" y="5635"/>
                    <a:pt x="4112" y="5987"/>
                    <a:pt x="4289" y="5752"/>
                  </a:cubicBezTo>
                  <a:cubicBezTo>
                    <a:pt x="4643" y="5165"/>
                    <a:pt x="6059" y="6339"/>
                    <a:pt x="6767" y="5752"/>
                  </a:cubicBezTo>
                  <a:cubicBezTo>
                    <a:pt x="7210" y="5283"/>
                    <a:pt x="8981" y="5048"/>
                    <a:pt x="9600" y="5048"/>
                  </a:cubicBezTo>
                  <a:cubicBezTo>
                    <a:pt x="11194" y="4930"/>
                    <a:pt x="11282" y="4930"/>
                    <a:pt x="11990" y="4343"/>
                  </a:cubicBezTo>
                  <a:cubicBezTo>
                    <a:pt x="11990" y="4343"/>
                    <a:pt x="12433" y="3052"/>
                    <a:pt x="12699" y="2465"/>
                  </a:cubicBezTo>
                  <a:cubicBezTo>
                    <a:pt x="12876" y="1996"/>
                    <a:pt x="13407" y="1761"/>
                    <a:pt x="13938" y="1291"/>
                  </a:cubicBezTo>
                  <a:cubicBezTo>
                    <a:pt x="14381" y="822"/>
                    <a:pt x="15531" y="352"/>
                    <a:pt x="15797" y="235"/>
                  </a:cubicBezTo>
                  <a:cubicBezTo>
                    <a:pt x="16062" y="235"/>
                    <a:pt x="17921" y="352"/>
                    <a:pt x="17921" y="352"/>
                  </a:cubicBezTo>
                  <a:cubicBezTo>
                    <a:pt x="18895" y="0"/>
                    <a:pt x="18895" y="0"/>
                    <a:pt x="18895" y="0"/>
                  </a:cubicBezTo>
                  <a:cubicBezTo>
                    <a:pt x="18895" y="0"/>
                    <a:pt x="19072" y="939"/>
                    <a:pt x="19338" y="1057"/>
                  </a:cubicBezTo>
                  <a:cubicBezTo>
                    <a:pt x="20135" y="1174"/>
                    <a:pt x="20754" y="1174"/>
                    <a:pt x="21020" y="939"/>
                  </a:cubicBezTo>
                  <a:cubicBezTo>
                    <a:pt x="21108" y="939"/>
                    <a:pt x="21108" y="1174"/>
                    <a:pt x="21197" y="1291"/>
                  </a:cubicBezTo>
                  <a:cubicBezTo>
                    <a:pt x="21285" y="1526"/>
                    <a:pt x="21374" y="1996"/>
                    <a:pt x="21374" y="1996"/>
                  </a:cubicBezTo>
                  <a:cubicBezTo>
                    <a:pt x="21285" y="2583"/>
                    <a:pt x="21285" y="2583"/>
                    <a:pt x="21285" y="2583"/>
                  </a:cubicBezTo>
                  <a:cubicBezTo>
                    <a:pt x="21197" y="2700"/>
                    <a:pt x="21197" y="2700"/>
                    <a:pt x="21197" y="2700"/>
                  </a:cubicBezTo>
                  <a:cubicBezTo>
                    <a:pt x="20754" y="3052"/>
                    <a:pt x="20754" y="3052"/>
                    <a:pt x="20754" y="3052"/>
                  </a:cubicBezTo>
                  <a:cubicBezTo>
                    <a:pt x="20754" y="3052"/>
                    <a:pt x="20577" y="3052"/>
                    <a:pt x="20489" y="3170"/>
                  </a:cubicBezTo>
                  <a:cubicBezTo>
                    <a:pt x="20400" y="3170"/>
                    <a:pt x="20223" y="3287"/>
                    <a:pt x="20223" y="3287"/>
                  </a:cubicBezTo>
                  <a:cubicBezTo>
                    <a:pt x="20223" y="3287"/>
                    <a:pt x="20046" y="3522"/>
                    <a:pt x="20046" y="3639"/>
                  </a:cubicBezTo>
                  <a:cubicBezTo>
                    <a:pt x="19958" y="3874"/>
                    <a:pt x="19869" y="4226"/>
                    <a:pt x="19869" y="4226"/>
                  </a:cubicBezTo>
                  <a:cubicBezTo>
                    <a:pt x="19692" y="4813"/>
                    <a:pt x="19692" y="4813"/>
                    <a:pt x="19692" y="4813"/>
                  </a:cubicBezTo>
                  <a:cubicBezTo>
                    <a:pt x="19692" y="5635"/>
                    <a:pt x="19692" y="5635"/>
                    <a:pt x="19692" y="5635"/>
                  </a:cubicBezTo>
                  <a:cubicBezTo>
                    <a:pt x="19869" y="6574"/>
                    <a:pt x="19869" y="6574"/>
                    <a:pt x="19869" y="6574"/>
                  </a:cubicBezTo>
                  <a:cubicBezTo>
                    <a:pt x="20046" y="7630"/>
                    <a:pt x="20046" y="7630"/>
                    <a:pt x="20046" y="7630"/>
                  </a:cubicBezTo>
                  <a:cubicBezTo>
                    <a:pt x="20046" y="7630"/>
                    <a:pt x="19781" y="7983"/>
                    <a:pt x="19692" y="7983"/>
                  </a:cubicBezTo>
                  <a:cubicBezTo>
                    <a:pt x="19692" y="7983"/>
                    <a:pt x="19603" y="8100"/>
                    <a:pt x="19603" y="8100"/>
                  </a:cubicBezTo>
                  <a:cubicBezTo>
                    <a:pt x="19603" y="8335"/>
                    <a:pt x="19603" y="8335"/>
                    <a:pt x="19603" y="8335"/>
                  </a:cubicBezTo>
                  <a:cubicBezTo>
                    <a:pt x="19515" y="8687"/>
                    <a:pt x="19515" y="8687"/>
                    <a:pt x="19515" y="8687"/>
                  </a:cubicBezTo>
                  <a:cubicBezTo>
                    <a:pt x="19426" y="8922"/>
                    <a:pt x="19426" y="8922"/>
                    <a:pt x="19426" y="8922"/>
                  </a:cubicBezTo>
                  <a:cubicBezTo>
                    <a:pt x="19426" y="8922"/>
                    <a:pt x="19338" y="9157"/>
                    <a:pt x="19249" y="9157"/>
                  </a:cubicBezTo>
                  <a:cubicBezTo>
                    <a:pt x="19161" y="9274"/>
                    <a:pt x="18984" y="9509"/>
                    <a:pt x="18984" y="9509"/>
                  </a:cubicBezTo>
                  <a:cubicBezTo>
                    <a:pt x="19072" y="9743"/>
                    <a:pt x="19072" y="9743"/>
                    <a:pt x="19072" y="9743"/>
                  </a:cubicBezTo>
                  <a:cubicBezTo>
                    <a:pt x="20046" y="9978"/>
                    <a:pt x="20046" y="9978"/>
                    <a:pt x="20046" y="9978"/>
                  </a:cubicBezTo>
                  <a:cubicBezTo>
                    <a:pt x="20046" y="10213"/>
                    <a:pt x="20046" y="10213"/>
                    <a:pt x="20046" y="10213"/>
                  </a:cubicBezTo>
                  <a:cubicBezTo>
                    <a:pt x="20489" y="10800"/>
                    <a:pt x="20489" y="10800"/>
                    <a:pt x="20489" y="10800"/>
                  </a:cubicBezTo>
                  <a:cubicBezTo>
                    <a:pt x="20754" y="11387"/>
                    <a:pt x="20754" y="11387"/>
                    <a:pt x="20754" y="11387"/>
                  </a:cubicBezTo>
                  <a:cubicBezTo>
                    <a:pt x="21197" y="11622"/>
                    <a:pt x="21197" y="11622"/>
                    <a:pt x="21197" y="11622"/>
                  </a:cubicBezTo>
                  <a:cubicBezTo>
                    <a:pt x="21197" y="11622"/>
                    <a:pt x="21551" y="11974"/>
                    <a:pt x="21551" y="11974"/>
                  </a:cubicBezTo>
                  <a:cubicBezTo>
                    <a:pt x="21462" y="12091"/>
                    <a:pt x="21020" y="12326"/>
                    <a:pt x="21020" y="12326"/>
                  </a:cubicBezTo>
                  <a:cubicBezTo>
                    <a:pt x="20754" y="12561"/>
                    <a:pt x="20754" y="12561"/>
                    <a:pt x="20754" y="12561"/>
                  </a:cubicBezTo>
                  <a:cubicBezTo>
                    <a:pt x="20754" y="12561"/>
                    <a:pt x="20577" y="12561"/>
                    <a:pt x="20400" y="12678"/>
                  </a:cubicBezTo>
                  <a:cubicBezTo>
                    <a:pt x="20312" y="12796"/>
                    <a:pt x="19781" y="13148"/>
                    <a:pt x="19781" y="13148"/>
                  </a:cubicBezTo>
                  <a:cubicBezTo>
                    <a:pt x="19072" y="12561"/>
                    <a:pt x="19072" y="12561"/>
                    <a:pt x="19072" y="12561"/>
                  </a:cubicBezTo>
                  <a:cubicBezTo>
                    <a:pt x="18630" y="12443"/>
                    <a:pt x="18630" y="12443"/>
                    <a:pt x="18630" y="12443"/>
                  </a:cubicBezTo>
                  <a:cubicBezTo>
                    <a:pt x="18453" y="12796"/>
                    <a:pt x="18453" y="12796"/>
                    <a:pt x="18453" y="12796"/>
                  </a:cubicBezTo>
                  <a:cubicBezTo>
                    <a:pt x="18010" y="12913"/>
                    <a:pt x="18010" y="12913"/>
                    <a:pt x="18010" y="12913"/>
                  </a:cubicBezTo>
                  <a:cubicBezTo>
                    <a:pt x="17744" y="13500"/>
                    <a:pt x="17744" y="13500"/>
                    <a:pt x="17744" y="13500"/>
                  </a:cubicBezTo>
                  <a:cubicBezTo>
                    <a:pt x="17744" y="13500"/>
                    <a:pt x="17125" y="13735"/>
                    <a:pt x="16948" y="13852"/>
                  </a:cubicBezTo>
                  <a:cubicBezTo>
                    <a:pt x="16859" y="13970"/>
                    <a:pt x="16505" y="14322"/>
                    <a:pt x="16505" y="14322"/>
                  </a:cubicBezTo>
                  <a:cubicBezTo>
                    <a:pt x="16594" y="14791"/>
                    <a:pt x="16594" y="14791"/>
                    <a:pt x="16594" y="14791"/>
                  </a:cubicBezTo>
                  <a:cubicBezTo>
                    <a:pt x="16240" y="15143"/>
                    <a:pt x="16240" y="15143"/>
                    <a:pt x="16240" y="15143"/>
                  </a:cubicBezTo>
                  <a:cubicBezTo>
                    <a:pt x="16240" y="15143"/>
                    <a:pt x="15974" y="15261"/>
                    <a:pt x="15885" y="15496"/>
                  </a:cubicBezTo>
                  <a:cubicBezTo>
                    <a:pt x="15885" y="15730"/>
                    <a:pt x="15974" y="15848"/>
                    <a:pt x="15974" y="15848"/>
                  </a:cubicBezTo>
                  <a:cubicBezTo>
                    <a:pt x="15797" y="15848"/>
                    <a:pt x="15531" y="15965"/>
                    <a:pt x="15443" y="16083"/>
                  </a:cubicBezTo>
                  <a:cubicBezTo>
                    <a:pt x="15354" y="16083"/>
                    <a:pt x="15354" y="16317"/>
                    <a:pt x="15443" y="16552"/>
                  </a:cubicBezTo>
                  <a:cubicBezTo>
                    <a:pt x="15443" y="16670"/>
                    <a:pt x="15620" y="16904"/>
                    <a:pt x="15797" y="17257"/>
                  </a:cubicBezTo>
                  <a:cubicBezTo>
                    <a:pt x="15885" y="17609"/>
                    <a:pt x="15974" y="17609"/>
                    <a:pt x="15974" y="17726"/>
                  </a:cubicBezTo>
                  <a:cubicBezTo>
                    <a:pt x="15974" y="17843"/>
                    <a:pt x="15885" y="18196"/>
                    <a:pt x="15797" y="18313"/>
                  </a:cubicBezTo>
                  <a:cubicBezTo>
                    <a:pt x="15620" y="18548"/>
                    <a:pt x="15443" y="18548"/>
                    <a:pt x="15354" y="18548"/>
                  </a:cubicBezTo>
                  <a:cubicBezTo>
                    <a:pt x="15266" y="18665"/>
                    <a:pt x="15000" y="18900"/>
                    <a:pt x="14912" y="18900"/>
                  </a:cubicBezTo>
                  <a:cubicBezTo>
                    <a:pt x="14823" y="19017"/>
                    <a:pt x="14381" y="19135"/>
                    <a:pt x="14292" y="19135"/>
                  </a:cubicBezTo>
                  <a:cubicBezTo>
                    <a:pt x="14203" y="19135"/>
                    <a:pt x="13672" y="19370"/>
                    <a:pt x="13672" y="19370"/>
                  </a:cubicBezTo>
                  <a:cubicBezTo>
                    <a:pt x="13230" y="19604"/>
                    <a:pt x="13230" y="19604"/>
                    <a:pt x="13230" y="19604"/>
                  </a:cubicBezTo>
                  <a:cubicBezTo>
                    <a:pt x="12964" y="19839"/>
                    <a:pt x="12964" y="19839"/>
                    <a:pt x="12964" y="19839"/>
                  </a:cubicBezTo>
                  <a:cubicBezTo>
                    <a:pt x="12256" y="19604"/>
                    <a:pt x="12256" y="19604"/>
                    <a:pt x="12256" y="19604"/>
                  </a:cubicBezTo>
                  <a:cubicBezTo>
                    <a:pt x="11371" y="19252"/>
                    <a:pt x="11371" y="19252"/>
                    <a:pt x="11371" y="19252"/>
                  </a:cubicBezTo>
                  <a:cubicBezTo>
                    <a:pt x="11371" y="19252"/>
                    <a:pt x="10928" y="19722"/>
                    <a:pt x="10840" y="19722"/>
                  </a:cubicBezTo>
                  <a:cubicBezTo>
                    <a:pt x="10751" y="19722"/>
                    <a:pt x="10220" y="19252"/>
                    <a:pt x="10220" y="19252"/>
                  </a:cubicBezTo>
                  <a:cubicBezTo>
                    <a:pt x="9954" y="18665"/>
                    <a:pt x="9954" y="18665"/>
                    <a:pt x="9954" y="18665"/>
                  </a:cubicBezTo>
                  <a:cubicBezTo>
                    <a:pt x="9954" y="18665"/>
                    <a:pt x="9423" y="18783"/>
                    <a:pt x="9335" y="18783"/>
                  </a:cubicBezTo>
                  <a:cubicBezTo>
                    <a:pt x="9246" y="18783"/>
                    <a:pt x="9158" y="19017"/>
                    <a:pt x="9158" y="19135"/>
                  </a:cubicBezTo>
                  <a:cubicBezTo>
                    <a:pt x="9069" y="19135"/>
                    <a:pt x="8892" y="19135"/>
                    <a:pt x="8715" y="19135"/>
                  </a:cubicBezTo>
                  <a:cubicBezTo>
                    <a:pt x="8449" y="19135"/>
                    <a:pt x="8272" y="19370"/>
                    <a:pt x="8272" y="19370"/>
                  </a:cubicBezTo>
                  <a:cubicBezTo>
                    <a:pt x="8095" y="19839"/>
                    <a:pt x="8095" y="19839"/>
                    <a:pt x="8095" y="19839"/>
                  </a:cubicBezTo>
                  <a:cubicBezTo>
                    <a:pt x="8095" y="19839"/>
                    <a:pt x="7653" y="20074"/>
                    <a:pt x="7653" y="20074"/>
                  </a:cubicBezTo>
                  <a:cubicBezTo>
                    <a:pt x="7564" y="20191"/>
                    <a:pt x="6767" y="20543"/>
                    <a:pt x="6767" y="20543"/>
                  </a:cubicBezTo>
                  <a:cubicBezTo>
                    <a:pt x="6148" y="20778"/>
                    <a:pt x="6148" y="20778"/>
                    <a:pt x="6148" y="20778"/>
                  </a:cubicBezTo>
                  <a:cubicBezTo>
                    <a:pt x="6148" y="20778"/>
                    <a:pt x="5971" y="20896"/>
                    <a:pt x="5882" y="20778"/>
                  </a:cubicBezTo>
                  <a:cubicBezTo>
                    <a:pt x="5794" y="20778"/>
                    <a:pt x="5528" y="21130"/>
                    <a:pt x="5528" y="21130"/>
                  </a:cubicBezTo>
                  <a:cubicBezTo>
                    <a:pt x="4997" y="21600"/>
                    <a:pt x="4997" y="21600"/>
                    <a:pt x="4997" y="21600"/>
                  </a:cubicBezTo>
                  <a:cubicBezTo>
                    <a:pt x="4466" y="21600"/>
                    <a:pt x="4466" y="21600"/>
                    <a:pt x="4466" y="21600"/>
                  </a:cubicBezTo>
                  <a:cubicBezTo>
                    <a:pt x="4466" y="21600"/>
                    <a:pt x="4466" y="21483"/>
                    <a:pt x="4466" y="21483"/>
                  </a:cubicBezTo>
                  <a:cubicBezTo>
                    <a:pt x="4466" y="21483"/>
                    <a:pt x="4466" y="21483"/>
                    <a:pt x="4466" y="21483"/>
                  </a:cubicBezTo>
                  <a:cubicBezTo>
                    <a:pt x="4466" y="21365"/>
                    <a:pt x="4466" y="21365"/>
                    <a:pt x="4466" y="21365"/>
                  </a:cubicBezTo>
                  <a:cubicBezTo>
                    <a:pt x="4466" y="21248"/>
                    <a:pt x="4377" y="21130"/>
                    <a:pt x="4377" y="20896"/>
                  </a:cubicBezTo>
                  <a:cubicBezTo>
                    <a:pt x="4289" y="20661"/>
                    <a:pt x="4200" y="20426"/>
                    <a:pt x="4200" y="20191"/>
                  </a:cubicBezTo>
                  <a:cubicBezTo>
                    <a:pt x="4200" y="20074"/>
                    <a:pt x="4289" y="19957"/>
                    <a:pt x="4289" y="19839"/>
                  </a:cubicBezTo>
                  <a:cubicBezTo>
                    <a:pt x="4289" y="19839"/>
                    <a:pt x="4289" y="19839"/>
                    <a:pt x="4289" y="19839"/>
                  </a:cubicBezTo>
                  <a:cubicBezTo>
                    <a:pt x="4377" y="19722"/>
                    <a:pt x="4377" y="19604"/>
                    <a:pt x="4377" y="19370"/>
                  </a:cubicBezTo>
                  <a:cubicBezTo>
                    <a:pt x="4289" y="18900"/>
                    <a:pt x="3935" y="18900"/>
                    <a:pt x="3846" y="18430"/>
                  </a:cubicBezTo>
                  <a:cubicBezTo>
                    <a:pt x="3758" y="18078"/>
                    <a:pt x="3403" y="17726"/>
                    <a:pt x="3403" y="17609"/>
                  </a:cubicBezTo>
                  <a:cubicBezTo>
                    <a:pt x="2784" y="17139"/>
                    <a:pt x="2430" y="17257"/>
                    <a:pt x="2076" y="16787"/>
                  </a:cubicBezTo>
                  <a:cubicBezTo>
                    <a:pt x="1987" y="16670"/>
                    <a:pt x="1899" y="16552"/>
                    <a:pt x="1899" y="16435"/>
                  </a:cubicBezTo>
                  <a:cubicBezTo>
                    <a:pt x="1987" y="16317"/>
                    <a:pt x="1987" y="16317"/>
                    <a:pt x="1987" y="16317"/>
                  </a:cubicBezTo>
                  <a:cubicBezTo>
                    <a:pt x="1987" y="16317"/>
                    <a:pt x="1899" y="16317"/>
                    <a:pt x="1810" y="16200"/>
                  </a:cubicBezTo>
                  <a:cubicBezTo>
                    <a:pt x="1721" y="16083"/>
                    <a:pt x="1633" y="15965"/>
                    <a:pt x="1544" y="15848"/>
                  </a:cubicBezTo>
                  <a:cubicBezTo>
                    <a:pt x="1544" y="15848"/>
                    <a:pt x="1544" y="15848"/>
                    <a:pt x="1544" y="15848"/>
                  </a:cubicBezTo>
                  <a:cubicBezTo>
                    <a:pt x="1633" y="15848"/>
                    <a:pt x="1721" y="15613"/>
                    <a:pt x="1721" y="15613"/>
                  </a:cubicBezTo>
                  <a:cubicBezTo>
                    <a:pt x="1810" y="15261"/>
                    <a:pt x="1810" y="15261"/>
                    <a:pt x="1810" y="15261"/>
                  </a:cubicBezTo>
                  <a:cubicBezTo>
                    <a:pt x="1899" y="15026"/>
                    <a:pt x="1899" y="15026"/>
                    <a:pt x="1899" y="15026"/>
                  </a:cubicBezTo>
                  <a:cubicBezTo>
                    <a:pt x="1899" y="15026"/>
                    <a:pt x="1810" y="14674"/>
                    <a:pt x="1721" y="14674"/>
                  </a:cubicBezTo>
                  <a:cubicBezTo>
                    <a:pt x="1721" y="14557"/>
                    <a:pt x="1456" y="14439"/>
                    <a:pt x="1456" y="14439"/>
                  </a:cubicBezTo>
                  <a:cubicBezTo>
                    <a:pt x="1456" y="13852"/>
                    <a:pt x="1456" y="13852"/>
                    <a:pt x="1456" y="13852"/>
                  </a:cubicBezTo>
                  <a:cubicBezTo>
                    <a:pt x="1367" y="13265"/>
                    <a:pt x="1367" y="13265"/>
                    <a:pt x="1367" y="13265"/>
                  </a:cubicBezTo>
                  <a:cubicBezTo>
                    <a:pt x="1190" y="12913"/>
                    <a:pt x="1190" y="12913"/>
                    <a:pt x="1190" y="12913"/>
                  </a:cubicBezTo>
                  <a:cubicBezTo>
                    <a:pt x="1190" y="12913"/>
                    <a:pt x="1367" y="12678"/>
                    <a:pt x="1456" y="12561"/>
                  </a:cubicBezTo>
                  <a:cubicBezTo>
                    <a:pt x="1456" y="12561"/>
                    <a:pt x="1544" y="12443"/>
                    <a:pt x="1633" y="12443"/>
                  </a:cubicBezTo>
                  <a:cubicBezTo>
                    <a:pt x="1721" y="12326"/>
                    <a:pt x="1899" y="12326"/>
                    <a:pt x="1987" y="12326"/>
                  </a:cubicBezTo>
                  <a:cubicBezTo>
                    <a:pt x="2076" y="12326"/>
                    <a:pt x="2253" y="12091"/>
                    <a:pt x="2253" y="12091"/>
                  </a:cubicBezTo>
                  <a:cubicBezTo>
                    <a:pt x="2253" y="12091"/>
                    <a:pt x="2253" y="11739"/>
                    <a:pt x="2164" y="11622"/>
                  </a:cubicBezTo>
                  <a:cubicBezTo>
                    <a:pt x="2164" y="11387"/>
                    <a:pt x="2341" y="11152"/>
                    <a:pt x="2341" y="11152"/>
                  </a:cubicBezTo>
                  <a:cubicBezTo>
                    <a:pt x="2341" y="11152"/>
                    <a:pt x="2607" y="10683"/>
                    <a:pt x="2695" y="10565"/>
                  </a:cubicBezTo>
                  <a:cubicBezTo>
                    <a:pt x="2784" y="10448"/>
                    <a:pt x="2872" y="9861"/>
                    <a:pt x="2872" y="9861"/>
                  </a:cubicBezTo>
                  <a:cubicBezTo>
                    <a:pt x="2518" y="9861"/>
                    <a:pt x="2518" y="9861"/>
                    <a:pt x="2518" y="9861"/>
                  </a:cubicBezTo>
                  <a:cubicBezTo>
                    <a:pt x="2164" y="9743"/>
                    <a:pt x="2164" y="9743"/>
                    <a:pt x="2164" y="9743"/>
                  </a:cubicBezTo>
                  <a:cubicBezTo>
                    <a:pt x="2164" y="9743"/>
                    <a:pt x="1810" y="9039"/>
                    <a:pt x="1810" y="9039"/>
                  </a:cubicBezTo>
                  <a:cubicBezTo>
                    <a:pt x="1810" y="8922"/>
                    <a:pt x="1633" y="8922"/>
                    <a:pt x="1633" y="8922"/>
                  </a:cubicBezTo>
                  <a:cubicBezTo>
                    <a:pt x="1633" y="8922"/>
                    <a:pt x="1279" y="8687"/>
                    <a:pt x="1279" y="8687"/>
                  </a:cubicBezTo>
                  <a:cubicBezTo>
                    <a:pt x="1190" y="8687"/>
                    <a:pt x="925" y="8570"/>
                    <a:pt x="925" y="8570"/>
                  </a:cubicBezTo>
                  <a:cubicBezTo>
                    <a:pt x="925" y="8570"/>
                    <a:pt x="571" y="7983"/>
                    <a:pt x="482" y="7748"/>
                  </a:cubicBezTo>
                  <a:cubicBezTo>
                    <a:pt x="394" y="7513"/>
                    <a:pt x="305" y="7396"/>
                    <a:pt x="305" y="7396"/>
                  </a:cubicBezTo>
                  <a:cubicBezTo>
                    <a:pt x="305" y="7396"/>
                    <a:pt x="217" y="7161"/>
                    <a:pt x="128" y="7043"/>
                  </a:cubicBezTo>
                  <a:cubicBezTo>
                    <a:pt x="40" y="6926"/>
                    <a:pt x="40" y="6691"/>
                    <a:pt x="40" y="6691"/>
                  </a:cubicBezTo>
                  <a:cubicBezTo>
                    <a:pt x="40" y="6691"/>
                    <a:pt x="128" y="6339"/>
                    <a:pt x="40" y="6104"/>
                  </a:cubicBezTo>
                  <a:cubicBezTo>
                    <a:pt x="40" y="5987"/>
                    <a:pt x="-49" y="5517"/>
                    <a:pt x="40" y="5517"/>
                  </a:cubicBezTo>
                  <a:cubicBezTo>
                    <a:pt x="128" y="5283"/>
                    <a:pt x="217" y="5048"/>
                    <a:pt x="394" y="4930"/>
                  </a:cubicBezTo>
                  <a:cubicBezTo>
                    <a:pt x="482" y="4930"/>
                    <a:pt x="482" y="4930"/>
                    <a:pt x="571" y="4930"/>
                  </a:cubicBezTo>
                  <a:cubicBezTo>
                    <a:pt x="659" y="4930"/>
                    <a:pt x="571" y="4578"/>
                    <a:pt x="571" y="4578"/>
                  </a:cubicBezTo>
                  <a:lnTo>
                    <a:pt x="571" y="446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6" name="Shape 2249">
              <a:extLst>
                <a:ext uri="{FF2B5EF4-FFF2-40B4-BE49-F238E27FC236}">
                  <a16:creationId xmlns:a16="http://schemas.microsoft.com/office/drawing/2014/main" id="{107577BE-1487-3448-DE1F-25966951CFCC}"/>
                </a:ext>
              </a:extLst>
            </p:cNvPr>
            <p:cNvSpPr/>
            <p:nvPr/>
          </p:nvSpPr>
          <p:spPr>
            <a:xfrm>
              <a:off x="9462705" y="5706943"/>
              <a:ext cx="1125425" cy="892374"/>
            </a:xfrm>
            <a:custGeom>
              <a:avLst/>
              <a:gdLst/>
              <a:ahLst/>
              <a:cxnLst>
                <a:cxn ang="0">
                  <a:pos x="wd2" y="hd2"/>
                </a:cxn>
                <a:cxn ang="5400000">
                  <a:pos x="wd2" y="hd2"/>
                </a:cxn>
                <a:cxn ang="10800000">
                  <a:pos x="wd2" y="hd2"/>
                </a:cxn>
                <a:cxn ang="16200000">
                  <a:pos x="wd2" y="hd2"/>
                </a:cxn>
              </a:cxnLst>
              <a:rect l="0" t="0" r="r" b="b"/>
              <a:pathLst>
                <a:path w="21600" h="21600" extrusionOk="0">
                  <a:moveTo>
                    <a:pt x="0" y="7265"/>
                  </a:moveTo>
                  <a:cubicBezTo>
                    <a:pt x="79" y="7265"/>
                    <a:pt x="237" y="7168"/>
                    <a:pt x="316" y="7168"/>
                  </a:cubicBezTo>
                  <a:cubicBezTo>
                    <a:pt x="316" y="7071"/>
                    <a:pt x="396" y="7071"/>
                    <a:pt x="396" y="6974"/>
                  </a:cubicBezTo>
                  <a:cubicBezTo>
                    <a:pt x="396" y="6974"/>
                    <a:pt x="158" y="6877"/>
                    <a:pt x="79" y="6683"/>
                  </a:cubicBezTo>
                  <a:cubicBezTo>
                    <a:pt x="79" y="6683"/>
                    <a:pt x="237" y="6587"/>
                    <a:pt x="237" y="6587"/>
                  </a:cubicBezTo>
                  <a:cubicBezTo>
                    <a:pt x="237" y="6587"/>
                    <a:pt x="712" y="6683"/>
                    <a:pt x="870" y="6683"/>
                  </a:cubicBezTo>
                  <a:cubicBezTo>
                    <a:pt x="1029" y="6683"/>
                    <a:pt x="1582" y="6490"/>
                    <a:pt x="1582" y="6490"/>
                  </a:cubicBezTo>
                  <a:cubicBezTo>
                    <a:pt x="1741" y="6877"/>
                    <a:pt x="1741" y="6877"/>
                    <a:pt x="1741" y="6877"/>
                  </a:cubicBezTo>
                  <a:cubicBezTo>
                    <a:pt x="1741" y="6877"/>
                    <a:pt x="2611" y="6877"/>
                    <a:pt x="2927" y="6974"/>
                  </a:cubicBezTo>
                  <a:cubicBezTo>
                    <a:pt x="3086" y="7071"/>
                    <a:pt x="3086" y="6974"/>
                    <a:pt x="3244" y="6877"/>
                  </a:cubicBezTo>
                  <a:cubicBezTo>
                    <a:pt x="3323" y="6780"/>
                    <a:pt x="3481" y="6683"/>
                    <a:pt x="3560" y="6780"/>
                  </a:cubicBezTo>
                  <a:cubicBezTo>
                    <a:pt x="3640" y="6780"/>
                    <a:pt x="3640" y="6780"/>
                    <a:pt x="3798" y="6877"/>
                  </a:cubicBezTo>
                  <a:cubicBezTo>
                    <a:pt x="3956" y="6974"/>
                    <a:pt x="4193" y="7071"/>
                    <a:pt x="4352" y="7071"/>
                  </a:cubicBezTo>
                  <a:cubicBezTo>
                    <a:pt x="4668" y="7071"/>
                    <a:pt x="4668" y="7071"/>
                    <a:pt x="4668" y="7071"/>
                  </a:cubicBezTo>
                  <a:cubicBezTo>
                    <a:pt x="4747" y="6780"/>
                    <a:pt x="4747" y="6780"/>
                    <a:pt x="4747" y="6780"/>
                  </a:cubicBezTo>
                  <a:cubicBezTo>
                    <a:pt x="4905" y="6974"/>
                    <a:pt x="4589" y="5715"/>
                    <a:pt x="4747" y="5715"/>
                  </a:cubicBezTo>
                  <a:cubicBezTo>
                    <a:pt x="4985" y="5618"/>
                    <a:pt x="5064" y="5909"/>
                    <a:pt x="5380" y="5812"/>
                  </a:cubicBezTo>
                  <a:cubicBezTo>
                    <a:pt x="5697" y="5618"/>
                    <a:pt x="6171" y="6393"/>
                    <a:pt x="6251" y="6005"/>
                  </a:cubicBezTo>
                  <a:cubicBezTo>
                    <a:pt x="6330" y="5715"/>
                    <a:pt x="6804" y="6102"/>
                    <a:pt x="6409" y="5715"/>
                  </a:cubicBezTo>
                  <a:cubicBezTo>
                    <a:pt x="5934" y="5230"/>
                    <a:pt x="6092" y="5327"/>
                    <a:pt x="5776" y="5230"/>
                  </a:cubicBezTo>
                  <a:cubicBezTo>
                    <a:pt x="5459" y="5037"/>
                    <a:pt x="5222" y="4940"/>
                    <a:pt x="5064" y="4843"/>
                  </a:cubicBezTo>
                  <a:cubicBezTo>
                    <a:pt x="4905" y="4843"/>
                    <a:pt x="4985" y="4843"/>
                    <a:pt x="4747" y="4649"/>
                  </a:cubicBezTo>
                  <a:cubicBezTo>
                    <a:pt x="4510" y="4456"/>
                    <a:pt x="4273" y="4262"/>
                    <a:pt x="4273" y="4262"/>
                  </a:cubicBezTo>
                  <a:cubicBezTo>
                    <a:pt x="4273" y="4262"/>
                    <a:pt x="4035" y="4165"/>
                    <a:pt x="4035" y="3971"/>
                  </a:cubicBezTo>
                  <a:cubicBezTo>
                    <a:pt x="3956" y="3778"/>
                    <a:pt x="3877" y="3487"/>
                    <a:pt x="3877" y="3487"/>
                  </a:cubicBezTo>
                  <a:cubicBezTo>
                    <a:pt x="4273" y="3100"/>
                    <a:pt x="4273" y="3100"/>
                    <a:pt x="4273" y="3100"/>
                  </a:cubicBezTo>
                  <a:cubicBezTo>
                    <a:pt x="4510" y="2422"/>
                    <a:pt x="4510" y="2422"/>
                    <a:pt x="4510" y="2422"/>
                  </a:cubicBezTo>
                  <a:cubicBezTo>
                    <a:pt x="4510" y="2422"/>
                    <a:pt x="4273" y="2228"/>
                    <a:pt x="4668" y="2228"/>
                  </a:cubicBezTo>
                  <a:cubicBezTo>
                    <a:pt x="4985" y="2228"/>
                    <a:pt x="4985" y="2228"/>
                    <a:pt x="4985" y="2228"/>
                  </a:cubicBezTo>
                  <a:cubicBezTo>
                    <a:pt x="4985" y="2228"/>
                    <a:pt x="5064" y="2809"/>
                    <a:pt x="5143" y="2712"/>
                  </a:cubicBezTo>
                  <a:cubicBezTo>
                    <a:pt x="5301" y="2712"/>
                    <a:pt x="5380" y="2518"/>
                    <a:pt x="5459" y="2422"/>
                  </a:cubicBezTo>
                  <a:cubicBezTo>
                    <a:pt x="5538" y="2325"/>
                    <a:pt x="5776" y="2034"/>
                    <a:pt x="5855" y="2131"/>
                  </a:cubicBezTo>
                  <a:cubicBezTo>
                    <a:pt x="5855" y="2325"/>
                    <a:pt x="5618" y="2615"/>
                    <a:pt x="5934" y="2615"/>
                  </a:cubicBezTo>
                  <a:cubicBezTo>
                    <a:pt x="6251" y="2615"/>
                    <a:pt x="6171" y="2809"/>
                    <a:pt x="6409" y="2906"/>
                  </a:cubicBezTo>
                  <a:cubicBezTo>
                    <a:pt x="6646" y="2906"/>
                    <a:pt x="6884" y="3100"/>
                    <a:pt x="6884" y="3196"/>
                  </a:cubicBezTo>
                  <a:cubicBezTo>
                    <a:pt x="6884" y="3293"/>
                    <a:pt x="6884" y="3390"/>
                    <a:pt x="6963" y="3487"/>
                  </a:cubicBezTo>
                  <a:cubicBezTo>
                    <a:pt x="7121" y="3584"/>
                    <a:pt x="7200" y="3487"/>
                    <a:pt x="7358" y="3487"/>
                  </a:cubicBezTo>
                  <a:cubicBezTo>
                    <a:pt x="7516" y="3487"/>
                    <a:pt x="7516" y="3293"/>
                    <a:pt x="7596" y="3487"/>
                  </a:cubicBezTo>
                  <a:cubicBezTo>
                    <a:pt x="7596" y="3681"/>
                    <a:pt x="7675" y="3778"/>
                    <a:pt x="7675" y="3778"/>
                  </a:cubicBezTo>
                  <a:cubicBezTo>
                    <a:pt x="7991" y="4262"/>
                    <a:pt x="7991" y="4262"/>
                    <a:pt x="7991" y="4262"/>
                  </a:cubicBezTo>
                  <a:cubicBezTo>
                    <a:pt x="8308" y="4649"/>
                    <a:pt x="8308" y="4649"/>
                    <a:pt x="8308" y="4649"/>
                  </a:cubicBezTo>
                  <a:cubicBezTo>
                    <a:pt x="8308" y="4649"/>
                    <a:pt x="8070" y="4649"/>
                    <a:pt x="8387" y="4843"/>
                  </a:cubicBezTo>
                  <a:cubicBezTo>
                    <a:pt x="8703" y="4940"/>
                    <a:pt x="8941" y="4940"/>
                    <a:pt x="8941" y="4940"/>
                  </a:cubicBezTo>
                  <a:cubicBezTo>
                    <a:pt x="8941" y="4940"/>
                    <a:pt x="8941" y="4940"/>
                    <a:pt x="9257" y="5037"/>
                  </a:cubicBezTo>
                  <a:cubicBezTo>
                    <a:pt x="9574" y="5134"/>
                    <a:pt x="9811" y="5327"/>
                    <a:pt x="10127" y="5230"/>
                  </a:cubicBezTo>
                  <a:cubicBezTo>
                    <a:pt x="10523" y="5230"/>
                    <a:pt x="10840" y="4746"/>
                    <a:pt x="10840" y="4746"/>
                  </a:cubicBezTo>
                  <a:cubicBezTo>
                    <a:pt x="10840" y="4746"/>
                    <a:pt x="10998" y="4456"/>
                    <a:pt x="10919" y="4262"/>
                  </a:cubicBezTo>
                  <a:cubicBezTo>
                    <a:pt x="10919" y="4068"/>
                    <a:pt x="11077" y="3681"/>
                    <a:pt x="11235" y="3584"/>
                  </a:cubicBezTo>
                  <a:cubicBezTo>
                    <a:pt x="11393" y="3487"/>
                    <a:pt x="11156" y="3390"/>
                    <a:pt x="11235" y="3196"/>
                  </a:cubicBezTo>
                  <a:cubicBezTo>
                    <a:pt x="11314" y="3100"/>
                    <a:pt x="11393" y="3003"/>
                    <a:pt x="11473" y="2906"/>
                  </a:cubicBezTo>
                  <a:cubicBezTo>
                    <a:pt x="11631" y="2809"/>
                    <a:pt x="12105" y="2228"/>
                    <a:pt x="12105" y="2228"/>
                  </a:cubicBezTo>
                  <a:cubicBezTo>
                    <a:pt x="12264" y="1743"/>
                    <a:pt x="12264" y="1743"/>
                    <a:pt x="12264" y="1743"/>
                  </a:cubicBezTo>
                  <a:cubicBezTo>
                    <a:pt x="12264" y="1743"/>
                    <a:pt x="12264" y="1162"/>
                    <a:pt x="12343" y="1065"/>
                  </a:cubicBezTo>
                  <a:cubicBezTo>
                    <a:pt x="12422" y="969"/>
                    <a:pt x="12659" y="194"/>
                    <a:pt x="12659" y="194"/>
                  </a:cubicBezTo>
                  <a:cubicBezTo>
                    <a:pt x="12738" y="0"/>
                    <a:pt x="12738" y="0"/>
                    <a:pt x="12738" y="0"/>
                  </a:cubicBezTo>
                  <a:cubicBezTo>
                    <a:pt x="12738" y="0"/>
                    <a:pt x="14321" y="1743"/>
                    <a:pt x="14400" y="1743"/>
                  </a:cubicBezTo>
                  <a:cubicBezTo>
                    <a:pt x="14479" y="1743"/>
                    <a:pt x="15112" y="2228"/>
                    <a:pt x="15191" y="2422"/>
                  </a:cubicBezTo>
                  <a:cubicBezTo>
                    <a:pt x="15270" y="2518"/>
                    <a:pt x="15745" y="3293"/>
                    <a:pt x="15745" y="3293"/>
                  </a:cubicBezTo>
                  <a:cubicBezTo>
                    <a:pt x="15824" y="3681"/>
                    <a:pt x="15824" y="3681"/>
                    <a:pt x="15824" y="3681"/>
                  </a:cubicBezTo>
                  <a:cubicBezTo>
                    <a:pt x="15824" y="3681"/>
                    <a:pt x="15824" y="3971"/>
                    <a:pt x="15982" y="4165"/>
                  </a:cubicBezTo>
                  <a:cubicBezTo>
                    <a:pt x="16141" y="4262"/>
                    <a:pt x="16457" y="4649"/>
                    <a:pt x="16615" y="4746"/>
                  </a:cubicBezTo>
                  <a:cubicBezTo>
                    <a:pt x="16774" y="4746"/>
                    <a:pt x="17407" y="5230"/>
                    <a:pt x="17407" y="5230"/>
                  </a:cubicBezTo>
                  <a:cubicBezTo>
                    <a:pt x="17407" y="5230"/>
                    <a:pt x="17486" y="4940"/>
                    <a:pt x="17565" y="5134"/>
                  </a:cubicBezTo>
                  <a:cubicBezTo>
                    <a:pt x="17644" y="5327"/>
                    <a:pt x="17723" y="5618"/>
                    <a:pt x="17723" y="5715"/>
                  </a:cubicBezTo>
                  <a:cubicBezTo>
                    <a:pt x="17723" y="5812"/>
                    <a:pt x="17802" y="6199"/>
                    <a:pt x="17960" y="6102"/>
                  </a:cubicBezTo>
                  <a:cubicBezTo>
                    <a:pt x="18119" y="6102"/>
                    <a:pt x="18593" y="6102"/>
                    <a:pt x="18593" y="6102"/>
                  </a:cubicBezTo>
                  <a:cubicBezTo>
                    <a:pt x="18593" y="6102"/>
                    <a:pt x="18673" y="6296"/>
                    <a:pt x="18910" y="6296"/>
                  </a:cubicBezTo>
                  <a:cubicBezTo>
                    <a:pt x="19147" y="6296"/>
                    <a:pt x="19226" y="6199"/>
                    <a:pt x="19385" y="6102"/>
                  </a:cubicBezTo>
                  <a:cubicBezTo>
                    <a:pt x="19464" y="6102"/>
                    <a:pt x="20097" y="6005"/>
                    <a:pt x="20097" y="6005"/>
                  </a:cubicBezTo>
                  <a:cubicBezTo>
                    <a:pt x="20571" y="6296"/>
                    <a:pt x="20571" y="6296"/>
                    <a:pt x="20571" y="6296"/>
                  </a:cubicBezTo>
                  <a:cubicBezTo>
                    <a:pt x="21046" y="6490"/>
                    <a:pt x="21046" y="6490"/>
                    <a:pt x="21046" y="6490"/>
                  </a:cubicBezTo>
                  <a:cubicBezTo>
                    <a:pt x="21442" y="6974"/>
                    <a:pt x="21442" y="6974"/>
                    <a:pt x="21442" y="6974"/>
                  </a:cubicBezTo>
                  <a:cubicBezTo>
                    <a:pt x="21600" y="7361"/>
                    <a:pt x="21600" y="7361"/>
                    <a:pt x="21600" y="7361"/>
                  </a:cubicBezTo>
                  <a:cubicBezTo>
                    <a:pt x="21600" y="7361"/>
                    <a:pt x="21125" y="6877"/>
                    <a:pt x="21046" y="6877"/>
                  </a:cubicBezTo>
                  <a:cubicBezTo>
                    <a:pt x="20967" y="6974"/>
                    <a:pt x="20809" y="6974"/>
                    <a:pt x="20730" y="6974"/>
                  </a:cubicBezTo>
                  <a:cubicBezTo>
                    <a:pt x="20571" y="7071"/>
                    <a:pt x="20176" y="7168"/>
                    <a:pt x="20176" y="7168"/>
                  </a:cubicBezTo>
                  <a:cubicBezTo>
                    <a:pt x="19938" y="7361"/>
                    <a:pt x="19938" y="7361"/>
                    <a:pt x="19938" y="7361"/>
                  </a:cubicBezTo>
                  <a:cubicBezTo>
                    <a:pt x="19622" y="7361"/>
                    <a:pt x="19622" y="7361"/>
                    <a:pt x="19622" y="7361"/>
                  </a:cubicBezTo>
                  <a:cubicBezTo>
                    <a:pt x="19385" y="7846"/>
                    <a:pt x="19385" y="7846"/>
                    <a:pt x="19385" y="7846"/>
                  </a:cubicBezTo>
                  <a:cubicBezTo>
                    <a:pt x="18989" y="8233"/>
                    <a:pt x="18989" y="8233"/>
                    <a:pt x="18989" y="8233"/>
                  </a:cubicBezTo>
                  <a:cubicBezTo>
                    <a:pt x="18514" y="8717"/>
                    <a:pt x="18514" y="8717"/>
                    <a:pt x="18514" y="8717"/>
                  </a:cubicBezTo>
                  <a:cubicBezTo>
                    <a:pt x="18277" y="9396"/>
                    <a:pt x="18277" y="9396"/>
                    <a:pt x="18277" y="9396"/>
                  </a:cubicBezTo>
                  <a:cubicBezTo>
                    <a:pt x="18277" y="9396"/>
                    <a:pt x="18593" y="9686"/>
                    <a:pt x="18514" y="9686"/>
                  </a:cubicBezTo>
                  <a:cubicBezTo>
                    <a:pt x="18435" y="9783"/>
                    <a:pt x="18277" y="9977"/>
                    <a:pt x="18277" y="9977"/>
                  </a:cubicBezTo>
                  <a:cubicBezTo>
                    <a:pt x="18435" y="10267"/>
                    <a:pt x="18435" y="10267"/>
                    <a:pt x="18435" y="10267"/>
                  </a:cubicBezTo>
                  <a:cubicBezTo>
                    <a:pt x="18356" y="10655"/>
                    <a:pt x="18356" y="10655"/>
                    <a:pt x="18356" y="10655"/>
                  </a:cubicBezTo>
                  <a:cubicBezTo>
                    <a:pt x="18673" y="11042"/>
                    <a:pt x="18673" y="11042"/>
                    <a:pt x="18673" y="11042"/>
                  </a:cubicBezTo>
                  <a:cubicBezTo>
                    <a:pt x="18593" y="11333"/>
                    <a:pt x="18593" y="11333"/>
                    <a:pt x="18593" y="11333"/>
                  </a:cubicBezTo>
                  <a:cubicBezTo>
                    <a:pt x="18673" y="11720"/>
                    <a:pt x="18673" y="11720"/>
                    <a:pt x="18673" y="11720"/>
                  </a:cubicBezTo>
                  <a:cubicBezTo>
                    <a:pt x="18673" y="11720"/>
                    <a:pt x="18989" y="11720"/>
                    <a:pt x="18673" y="12108"/>
                  </a:cubicBezTo>
                  <a:cubicBezTo>
                    <a:pt x="18435" y="12398"/>
                    <a:pt x="18356" y="12495"/>
                    <a:pt x="18356" y="12592"/>
                  </a:cubicBezTo>
                  <a:cubicBezTo>
                    <a:pt x="18435" y="12786"/>
                    <a:pt x="18514" y="13173"/>
                    <a:pt x="18514" y="13173"/>
                  </a:cubicBezTo>
                  <a:cubicBezTo>
                    <a:pt x="18514" y="13173"/>
                    <a:pt x="18435" y="13464"/>
                    <a:pt x="18593" y="13657"/>
                  </a:cubicBezTo>
                  <a:cubicBezTo>
                    <a:pt x="18673" y="13754"/>
                    <a:pt x="19068" y="13948"/>
                    <a:pt x="19068" y="13948"/>
                  </a:cubicBezTo>
                  <a:cubicBezTo>
                    <a:pt x="19068" y="13948"/>
                    <a:pt x="19226" y="14239"/>
                    <a:pt x="19226" y="14335"/>
                  </a:cubicBezTo>
                  <a:cubicBezTo>
                    <a:pt x="19147" y="14432"/>
                    <a:pt x="18673" y="14529"/>
                    <a:pt x="18673" y="14529"/>
                  </a:cubicBezTo>
                  <a:cubicBezTo>
                    <a:pt x="18673" y="14529"/>
                    <a:pt x="18673" y="14820"/>
                    <a:pt x="18673" y="14917"/>
                  </a:cubicBezTo>
                  <a:cubicBezTo>
                    <a:pt x="18673" y="15013"/>
                    <a:pt x="18752" y="15498"/>
                    <a:pt x="18752" y="15498"/>
                  </a:cubicBezTo>
                  <a:cubicBezTo>
                    <a:pt x="18910" y="16079"/>
                    <a:pt x="18910" y="16079"/>
                    <a:pt x="18910" y="16079"/>
                  </a:cubicBezTo>
                  <a:cubicBezTo>
                    <a:pt x="18910" y="16079"/>
                    <a:pt x="18910" y="16466"/>
                    <a:pt x="18752" y="16660"/>
                  </a:cubicBezTo>
                  <a:cubicBezTo>
                    <a:pt x="18514" y="16854"/>
                    <a:pt x="18435" y="16951"/>
                    <a:pt x="18277" y="16757"/>
                  </a:cubicBezTo>
                  <a:cubicBezTo>
                    <a:pt x="18593" y="16370"/>
                    <a:pt x="18593" y="16370"/>
                    <a:pt x="18593" y="16370"/>
                  </a:cubicBezTo>
                  <a:cubicBezTo>
                    <a:pt x="18514" y="15982"/>
                    <a:pt x="18514" y="15982"/>
                    <a:pt x="18514" y="15982"/>
                  </a:cubicBezTo>
                  <a:cubicBezTo>
                    <a:pt x="18277" y="16079"/>
                    <a:pt x="18277" y="16079"/>
                    <a:pt x="18277" y="16079"/>
                  </a:cubicBezTo>
                  <a:cubicBezTo>
                    <a:pt x="18119" y="15595"/>
                    <a:pt x="18119" y="15595"/>
                    <a:pt x="18119" y="15595"/>
                  </a:cubicBezTo>
                  <a:cubicBezTo>
                    <a:pt x="17802" y="15691"/>
                    <a:pt x="17802" y="15691"/>
                    <a:pt x="17802" y="15691"/>
                  </a:cubicBezTo>
                  <a:cubicBezTo>
                    <a:pt x="17644" y="16273"/>
                    <a:pt x="17644" y="16273"/>
                    <a:pt x="17644" y="16273"/>
                  </a:cubicBezTo>
                  <a:cubicBezTo>
                    <a:pt x="17802" y="16854"/>
                    <a:pt x="17802" y="16854"/>
                    <a:pt x="17802" y="16854"/>
                  </a:cubicBezTo>
                  <a:cubicBezTo>
                    <a:pt x="17881" y="17144"/>
                    <a:pt x="17881" y="17144"/>
                    <a:pt x="17881" y="17144"/>
                  </a:cubicBezTo>
                  <a:cubicBezTo>
                    <a:pt x="17881" y="17144"/>
                    <a:pt x="17723" y="17144"/>
                    <a:pt x="17644" y="17241"/>
                  </a:cubicBezTo>
                  <a:cubicBezTo>
                    <a:pt x="17644" y="17241"/>
                    <a:pt x="17486" y="17338"/>
                    <a:pt x="17565" y="17435"/>
                  </a:cubicBezTo>
                  <a:cubicBezTo>
                    <a:pt x="17644" y="17532"/>
                    <a:pt x="17723" y="17726"/>
                    <a:pt x="17723" y="17726"/>
                  </a:cubicBezTo>
                  <a:cubicBezTo>
                    <a:pt x="17723" y="17822"/>
                    <a:pt x="17802" y="18210"/>
                    <a:pt x="17802" y="18210"/>
                  </a:cubicBezTo>
                  <a:cubicBezTo>
                    <a:pt x="17960" y="18597"/>
                    <a:pt x="17960" y="18597"/>
                    <a:pt x="17960" y="18597"/>
                  </a:cubicBezTo>
                  <a:cubicBezTo>
                    <a:pt x="17960" y="18597"/>
                    <a:pt x="18198" y="19372"/>
                    <a:pt x="18198" y="19469"/>
                  </a:cubicBezTo>
                  <a:cubicBezTo>
                    <a:pt x="18198" y="19469"/>
                    <a:pt x="18356" y="20244"/>
                    <a:pt x="18356" y="20244"/>
                  </a:cubicBezTo>
                  <a:cubicBezTo>
                    <a:pt x="18356" y="20244"/>
                    <a:pt x="17960" y="20728"/>
                    <a:pt x="17881" y="20825"/>
                  </a:cubicBezTo>
                  <a:cubicBezTo>
                    <a:pt x="17723" y="20922"/>
                    <a:pt x="17723" y="21116"/>
                    <a:pt x="17644" y="21019"/>
                  </a:cubicBezTo>
                  <a:cubicBezTo>
                    <a:pt x="17565" y="20922"/>
                    <a:pt x="17407" y="20728"/>
                    <a:pt x="17248" y="20631"/>
                  </a:cubicBezTo>
                  <a:cubicBezTo>
                    <a:pt x="17169" y="20535"/>
                    <a:pt x="16774" y="20147"/>
                    <a:pt x="16695" y="20050"/>
                  </a:cubicBezTo>
                  <a:cubicBezTo>
                    <a:pt x="16615" y="19953"/>
                    <a:pt x="16457" y="19857"/>
                    <a:pt x="16457" y="19857"/>
                  </a:cubicBezTo>
                  <a:cubicBezTo>
                    <a:pt x="16457" y="19857"/>
                    <a:pt x="16378" y="20050"/>
                    <a:pt x="16299" y="20050"/>
                  </a:cubicBezTo>
                  <a:cubicBezTo>
                    <a:pt x="16220" y="20050"/>
                    <a:pt x="16062" y="19953"/>
                    <a:pt x="16062" y="19953"/>
                  </a:cubicBezTo>
                  <a:cubicBezTo>
                    <a:pt x="15982" y="19953"/>
                    <a:pt x="15824" y="19857"/>
                    <a:pt x="15745" y="19760"/>
                  </a:cubicBezTo>
                  <a:cubicBezTo>
                    <a:pt x="15587" y="19566"/>
                    <a:pt x="15508" y="19372"/>
                    <a:pt x="15429" y="19372"/>
                  </a:cubicBezTo>
                  <a:cubicBezTo>
                    <a:pt x="15429" y="19372"/>
                    <a:pt x="15429" y="19275"/>
                    <a:pt x="15112" y="19275"/>
                  </a:cubicBezTo>
                  <a:cubicBezTo>
                    <a:pt x="14796" y="19372"/>
                    <a:pt x="14163" y="19372"/>
                    <a:pt x="14558" y="18791"/>
                  </a:cubicBezTo>
                  <a:cubicBezTo>
                    <a:pt x="14637" y="18597"/>
                    <a:pt x="14479" y="18307"/>
                    <a:pt x="14954" y="18016"/>
                  </a:cubicBezTo>
                  <a:cubicBezTo>
                    <a:pt x="14954" y="18016"/>
                    <a:pt x="15349" y="17822"/>
                    <a:pt x="15429" y="17629"/>
                  </a:cubicBezTo>
                  <a:cubicBezTo>
                    <a:pt x="15587" y="17435"/>
                    <a:pt x="15270" y="17144"/>
                    <a:pt x="15270" y="17144"/>
                  </a:cubicBezTo>
                  <a:cubicBezTo>
                    <a:pt x="15191" y="17144"/>
                    <a:pt x="15112" y="17144"/>
                    <a:pt x="14954" y="17048"/>
                  </a:cubicBezTo>
                  <a:cubicBezTo>
                    <a:pt x="14875" y="17048"/>
                    <a:pt x="14479" y="16757"/>
                    <a:pt x="14479" y="16660"/>
                  </a:cubicBezTo>
                  <a:cubicBezTo>
                    <a:pt x="14400" y="16466"/>
                    <a:pt x="14400" y="16370"/>
                    <a:pt x="14479" y="15982"/>
                  </a:cubicBezTo>
                  <a:cubicBezTo>
                    <a:pt x="14558" y="15595"/>
                    <a:pt x="14637" y="15788"/>
                    <a:pt x="14796" y="15595"/>
                  </a:cubicBezTo>
                  <a:cubicBezTo>
                    <a:pt x="15033" y="15304"/>
                    <a:pt x="15191" y="15110"/>
                    <a:pt x="14954" y="14917"/>
                  </a:cubicBezTo>
                  <a:cubicBezTo>
                    <a:pt x="14716" y="14820"/>
                    <a:pt x="14637" y="14917"/>
                    <a:pt x="14163" y="14529"/>
                  </a:cubicBezTo>
                  <a:cubicBezTo>
                    <a:pt x="13688" y="14142"/>
                    <a:pt x="13530" y="13948"/>
                    <a:pt x="13451" y="13948"/>
                  </a:cubicBezTo>
                  <a:cubicBezTo>
                    <a:pt x="13371" y="13851"/>
                    <a:pt x="13292" y="13754"/>
                    <a:pt x="13134" y="13851"/>
                  </a:cubicBezTo>
                  <a:cubicBezTo>
                    <a:pt x="13055" y="13948"/>
                    <a:pt x="12659" y="14432"/>
                    <a:pt x="12580" y="14529"/>
                  </a:cubicBezTo>
                  <a:cubicBezTo>
                    <a:pt x="12501" y="14626"/>
                    <a:pt x="12026" y="15110"/>
                    <a:pt x="12026" y="15110"/>
                  </a:cubicBezTo>
                  <a:cubicBezTo>
                    <a:pt x="11947" y="15207"/>
                    <a:pt x="11156" y="15885"/>
                    <a:pt x="11156" y="15885"/>
                  </a:cubicBezTo>
                  <a:cubicBezTo>
                    <a:pt x="11156" y="15885"/>
                    <a:pt x="10919" y="16660"/>
                    <a:pt x="10760" y="16951"/>
                  </a:cubicBezTo>
                  <a:cubicBezTo>
                    <a:pt x="10681" y="17241"/>
                    <a:pt x="10207" y="17629"/>
                    <a:pt x="10207" y="17822"/>
                  </a:cubicBezTo>
                  <a:cubicBezTo>
                    <a:pt x="10207" y="17919"/>
                    <a:pt x="10207" y="18210"/>
                    <a:pt x="10127" y="18307"/>
                  </a:cubicBezTo>
                  <a:cubicBezTo>
                    <a:pt x="10127" y="18307"/>
                    <a:pt x="9890" y="18694"/>
                    <a:pt x="9732" y="18694"/>
                  </a:cubicBezTo>
                  <a:cubicBezTo>
                    <a:pt x="9653" y="18791"/>
                    <a:pt x="9178" y="18888"/>
                    <a:pt x="9178" y="19082"/>
                  </a:cubicBezTo>
                  <a:cubicBezTo>
                    <a:pt x="9178" y="19275"/>
                    <a:pt x="9415" y="19275"/>
                    <a:pt x="9178" y="19663"/>
                  </a:cubicBezTo>
                  <a:cubicBezTo>
                    <a:pt x="8941" y="19953"/>
                    <a:pt x="8703" y="21309"/>
                    <a:pt x="8466" y="20147"/>
                  </a:cubicBezTo>
                  <a:cubicBezTo>
                    <a:pt x="8308" y="19372"/>
                    <a:pt x="8308" y="19275"/>
                    <a:pt x="8149" y="19178"/>
                  </a:cubicBezTo>
                  <a:cubicBezTo>
                    <a:pt x="7912" y="18985"/>
                    <a:pt x="7754" y="18888"/>
                    <a:pt x="7754" y="18888"/>
                  </a:cubicBezTo>
                  <a:cubicBezTo>
                    <a:pt x="7754" y="18888"/>
                    <a:pt x="7596" y="18597"/>
                    <a:pt x="7912" y="18500"/>
                  </a:cubicBezTo>
                  <a:cubicBezTo>
                    <a:pt x="8229" y="18500"/>
                    <a:pt x="8308" y="18694"/>
                    <a:pt x="8466" y="18500"/>
                  </a:cubicBezTo>
                  <a:cubicBezTo>
                    <a:pt x="8703" y="18307"/>
                    <a:pt x="8782" y="18210"/>
                    <a:pt x="8466" y="18113"/>
                  </a:cubicBezTo>
                  <a:cubicBezTo>
                    <a:pt x="8149" y="18016"/>
                    <a:pt x="8308" y="18210"/>
                    <a:pt x="7991" y="18016"/>
                  </a:cubicBezTo>
                  <a:cubicBezTo>
                    <a:pt x="7754" y="17726"/>
                    <a:pt x="7675" y="17726"/>
                    <a:pt x="7596" y="17629"/>
                  </a:cubicBezTo>
                  <a:cubicBezTo>
                    <a:pt x="7596" y="17532"/>
                    <a:pt x="7596" y="17532"/>
                    <a:pt x="7675" y="17435"/>
                  </a:cubicBezTo>
                  <a:cubicBezTo>
                    <a:pt x="7833" y="17144"/>
                    <a:pt x="7833" y="17144"/>
                    <a:pt x="7833" y="17144"/>
                  </a:cubicBezTo>
                  <a:cubicBezTo>
                    <a:pt x="7833" y="17144"/>
                    <a:pt x="7833" y="17144"/>
                    <a:pt x="7754" y="17144"/>
                  </a:cubicBezTo>
                  <a:cubicBezTo>
                    <a:pt x="7754" y="16951"/>
                    <a:pt x="7912" y="16757"/>
                    <a:pt x="7912" y="16563"/>
                  </a:cubicBezTo>
                  <a:cubicBezTo>
                    <a:pt x="7912" y="16466"/>
                    <a:pt x="7833" y="16370"/>
                    <a:pt x="7754" y="16370"/>
                  </a:cubicBezTo>
                  <a:cubicBezTo>
                    <a:pt x="7675" y="16370"/>
                    <a:pt x="7754" y="16370"/>
                    <a:pt x="7596" y="16370"/>
                  </a:cubicBezTo>
                  <a:cubicBezTo>
                    <a:pt x="7596" y="16273"/>
                    <a:pt x="7516" y="16273"/>
                    <a:pt x="7516" y="16176"/>
                  </a:cubicBezTo>
                  <a:cubicBezTo>
                    <a:pt x="7437" y="16079"/>
                    <a:pt x="7437" y="16079"/>
                    <a:pt x="7437" y="16079"/>
                  </a:cubicBezTo>
                  <a:cubicBezTo>
                    <a:pt x="7121" y="16079"/>
                    <a:pt x="7121" y="16079"/>
                    <a:pt x="7121" y="16079"/>
                  </a:cubicBezTo>
                  <a:cubicBezTo>
                    <a:pt x="7042" y="15691"/>
                    <a:pt x="7042" y="15691"/>
                    <a:pt x="7042" y="15691"/>
                  </a:cubicBezTo>
                  <a:cubicBezTo>
                    <a:pt x="7042" y="15691"/>
                    <a:pt x="7279" y="15788"/>
                    <a:pt x="7358" y="15788"/>
                  </a:cubicBezTo>
                  <a:cubicBezTo>
                    <a:pt x="7437" y="15788"/>
                    <a:pt x="7754" y="15498"/>
                    <a:pt x="7754" y="15498"/>
                  </a:cubicBezTo>
                  <a:cubicBezTo>
                    <a:pt x="7754" y="15498"/>
                    <a:pt x="7596" y="15401"/>
                    <a:pt x="7516" y="15401"/>
                  </a:cubicBezTo>
                  <a:cubicBezTo>
                    <a:pt x="7437" y="15401"/>
                    <a:pt x="7437" y="15110"/>
                    <a:pt x="7437" y="15110"/>
                  </a:cubicBezTo>
                  <a:cubicBezTo>
                    <a:pt x="7200" y="14917"/>
                    <a:pt x="7200" y="14917"/>
                    <a:pt x="7200" y="14917"/>
                  </a:cubicBezTo>
                  <a:cubicBezTo>
                    <a:pt x="6884" y="14820"/>
                    <a:pt x="6884" y="14820"/>
                    <a:pt x="6884" y="14820"/>
                  </a:cubicBezTo>
                  <a:cubicBezTo>
                    <a:pt x="6884" y="14820"/>
                    <a:pt x="6804" y="14723"/>
                    <a:pt x="6725" y="14723"/>
                  </a:cubicBezTo>
                  <a:cubicBezTo>
                    <a:pt x="6725" y="14626"/>
                    <a:pt x="6725" y="14529"/>
                    <a:pt x="6725" y="14529"/>
                  </a:cubicBezTo>
                  <a:cubicBezTo>
                    <a:pt x="6804" y="14432"/>
                    <a:pt x="6804" y="14432"/>
                    <a:pt x="6804" y="14432"/>
                  </a:cubicBezTo>
                  <a:cubicBezTo>
                    <a:pt x="7042" y="14239"/>
                    <a:pt x="7042" y="14239"/>
                    <a:pt x="7042" y="14239"/>
                  </a:cubicBezTo>
                  <a:cubicBezTo>
                    <a:pt x="7042" y="13948"/>
                    <a:pt x="7042" y="13948"/>
                    <a:pt x="7042" y="13948"/>
                  </a:cubicBezTo>
                  <a:cubicBezTo>
                    <a:pt x="7042" y="13657"/>
                    <a:pt x="7042" y="13657"/>
                    <a:pt x="7042" y="13657"/>
                  </a:cubicBezTo>
                  <a:cubicBezTo>
                    <a:pt x="6884" y="13657"/>
                    <a:pt x="6884" y="13657"/>
                    <a:pt x="6884" y="13657"/>
                  </a:cubicBezTo>
                  <a:cubicBezTo>
                    <a:pt x="6884" y="13657"/>
                    <a:pt x="6567" y="13851"/>
                    <a:pt x="6409" y="13657"/>
                  </a:cubicBezTo>
                  <a:cubicBezTo>
                    <a:pt x="6251" y="13561"/>
                    <a:pt x="6330" y="13657"/>
                    <a:pt x="6171" y="13754"/>
                  </a:cubicBezTo>
                  <a:cubicBezTo>
                    <a:pt x="6092" y="13754"/>
                    <a:pt x="5934" y="13948"/>
                    <a:pt x="5934" y="13948"/>
                  </a:cubicBezTo>
                  <a:cubicBezTo>
                    <a:pt x="5934" y="13948"/>
                    <a:pt x="5855" y="14045"/>
                    <a:pt x="5697" y="14045"/>
                  </a:cubicBezTo>
                  <a:cubicBezTo>
                    <a:pt x="5618" y="14045"/>
                    <a:pt x="5618" y="13754"/>
                    <a:pt x="5618" y="13754"/>
                  </a:cubicBezTo>
                  <a:cubicBezTo>
                    <a:pt x="5222" y="13657"/>
                    <a:pt x="5222" y="13657"/>
                    <a:pt x="5222" y="13657"/>
                  </a:cubicBezTo>
                  <a:cubicBezTo>
                    <a:pt x="4905" y="13270"/>
                    <a:pt x="4905" y="13270"/>
                    <a:pt x="4905" y="13270"/>
                  </a:cubicBezTo>
                  <a:cubicBezTo>
                    <a:pt x="4431" y="13270"/>
                    <a:pt x="4431" y="13270"/>
                    <a:pt x="4431" y="13270"/>
                  </a:cubicBezTo>
                  <a:cubicBezTo>
                    <a:pt x="4273" y="13173"/>
                    <a:pt x="4273" y="13173"/>
                    <a:pt x="4273" y="13173"/>
                  </a:cubicBezTo>
                  <a:cubicBezTo>
                    <a:pt x="4114" y="12979"/>
                    <a:pt x="4114" y="12979"/>
                    <a:pt x="4114" y="12979"/>
                  </a:cubicBezTo>
                  <a:cubicBezTo>
                    <a:pt x="4114" y="12979"/>
                    <a:pt x="4035" y="12786"/>
                    <a:pt x="3956" y="12786"/>
                  </a:cubicBezTo>
                  <a:cubicBezTo>
                    <a:pt x="3798" y="12689"/>
                    <a:pt x="3798" y="12786"/>
                    <a:pt x="3719" y="12786"/>
                  </a:cubicBezTo>
                  <a:cubicBezTo>
                    <a:pt x="3640" y="12786"/>
                    <a:pt x="3640" y="12786"/>
                    <a:pt x="3402" y="12786"/>
                  </a:cubicBezTo>
                  <a:cubicBezTo>
                    <a:pt x="3244" y="12786"/>
                    <a:pt x="3244" y="12592"/>
                    <a:pt x="3244" y="12592"/>
                  </a:cubicBezTo>
                  <a:cubicBezTo>
                    <a:pt x="3244" y="12592"/>
                    <a:pt x="3323" y="12398"/>
                    <a:pt x="3323" y="12301"/>
                  </a:cubicBezTo>
                  <a:cubicBezTo>
                    <a:pt x="3323" y="12301"/>
                    <a:pt x="3481" y="12301"/>
                    <a:pt x="3481" y="12301"/>
                  </a:cubicBezTo>
                  <a:cubicBezTo>
                    <a:pt x="3560" y="12204"/>
                    <a:pt x="3798" y="12108"/>
                    <a:pt x="3956" y="12108"/>
                  </a:cubicBezTo>
                  <a:cubicBezTo>
                    <a:pt x="4035" y="12108"/>
                    <a:pt x="4035" y="12108"/>
                    <a:pt x="4193" y="12011"/>
                  </a:cubicBezTo>
                  <a:cubicBezTo>
                    <a:pt x="4273" y="12011"/>
                    <a:pt x="4273" y="11914"/>
                    <a:pt x="4273" y="11914"/>
                  </a:cubicBezTo>
                  <a:cubicBezTo>
                    <a:pt x="4273" y="11914"/>
                    <a:pt x="4273" y="11526"/>
                    <a:pt x="4273" y="11526"/>
                  </a:cubicBezTo>
                  <a:cubicBezTo>
                    <a:pt x="4273" y="11430"/>
                    <a:pt x="4273" y="11430"/>
                    <a:pt x="4352" y="11430"/>
                  </a:cubicBezTo>
                  <a:cubicBezTo>
                    <a:pt x="4352" y="11333"/>
                    <a:pt x="4352" y="11236"/>
                    <a:pt x="4352" y="11236"/>
                  </a:cubicBezTo>
                  <a:cubicBezTo>
                    <a:pt x="4352" y="11236"/>
                    <a:pt x="4273" y="11042"/>
                    <a:pt x="4273" y="10945"/>
                  </a:cubicBezTo>
                  <a:cubicBezTo>
                    <a:pt x="4193" y="10752"/>
                    <a:pt x="4114" y="10848"/>
                    <a:pt x="4114" y="10848"/>
                  </a:cubicBezTo>
                  <a:cubicBezTo>
                    <a:pt x="3956" y="10848"/>
                    <a:pt x="3956" y="10848"/>
                    <a:pt x="3956" y="10848"/>
                  </a:cubicBezTo>
                  <a:cubicBezTo>
                    <a:pt x="3956" y="10848"/>
                    <a:pt x="3719" y="10848"/>
                    <a:pt x="3719" y="10752"/>
                  </a:cubicBezTo>
                  <a:cubicBezTo>
                    <a:pt x="3640" y="10752"/>
                    <a:pt x="3481" y="10752"/>
                    <a:pt x="3481" y="10752"/>
                  </a:cubicBezTo>
                  <a:cubicBezTo>
                    <a:pt x="3244" y="10461"/>
                    <a:pt x="3244" y="10461"/>
                    <a:pt x="3244" y="10461"/>
                  </a:cubicBezTo>
                  <a:cubicBezTo>
                    <a:pt x="3244" y="10461"/>
                    <a:pt x="3086" y="10461"/>
                    <a:pt x="2927" y="10461"/>
                  </a:cubicBezTo>
                  <a:cubicBezTo>
                    <a:pt x="2769" y="10364"/>
                    <a:pt x="2611" y="10267"/>
                    <a:pt x="2611" y="10267"/>
                  </a:cubicBezTo>
                  <a:cubicBezTo>
                    <a:pt x="2136" y="9880"/>
                    <a:pt x="2136" y="9880"/>
                    <a:pt x="2136" y="9880"/>
                  </a:cubicBezTo>
                  <a:cubicBezTo>
                    <a:pt x="2057" y="9686"/>
                    <a:pt x="2057" y="9686"/>
                    <a:pt x="2057" y="9686"/>
                  </a:cubicBezTo>
                  <a:cubicBezTo>
                    <a:pt x="1899" y="9589"/>
                    <a:pt x="1899" y="9589"/>
                    <a:pt x="1899" y="9589"/>
                  </a:cubicBezTo>
                  <a:cubicBezTo>
                    <a:pt x="1899" y="9589"/>
                    <a:pt x="1662" y="9202"/>
                    <a:pt x="1662" y="9105"/>
                  </a:cubicBezTo>
                  <a:cubicBezTo>
                    <a:pt x="1662" y="9105"/>
                    <a:pt x="1662" y="9105"/>
                    <a:pt x="1741" y="9008"/>
                  </a:cubicBezTo>
                  <a:cubicBezTo>
                    <a:pt x="1741" y="9008"/>
                    <a:pt x="1741" y="8911"/>
                    <a:pt x="1820" y="8814"/>
                  </a:cubicBezTo>
                  <a:cubicBezTo>
                    <a:pt x="1820" y="8717"/>
                    <a:pt x="1899" y="8621"/>
                    <a:pt x="1899" y="8524"/>
                  </a:cubicBezTo>
                  <a:cubicBezTo>
                    <a:pt x="1899" y="8524"/>
                    <a:pt x="1978" y="8427"/>
                    <a:pt x="2057" y="8427"/>
                  </a:cubicBezTo>
                  <a:cubicBezTo>
                    <a:pt x="2136" y="8427"/>
                    <a:pt x="2215" y="8330"/>
                    <a:pt x="2215" y="8330"/>
                  </a:cubicBezTo>
                  <a:cubicBezTo>
                    <a:pt x="2215" y="8233"/>
                    <a:pt x="2215" y="8136"/>
                    <a:pt x="2295" y="8039"/>
                  </a:cubicBezTo>
                  <a:cubicBezTo>
                    <a:pt x="2295" y="7943"/>
                    <a:pt x="2136" y="8039"/>
                    <a:pt x="2057" y="7943"/>
                  </a:cubicBezTo>
                  <a:cubicBezTo>
                    <a:pt x="1978" y="7943"/>
                    <a:pt x="1978" y="7943"/>
                    <a:pt x="1899" y="8039"/>
                  </a:cubicBezTo>
                  <a:cubicBezTo>
                    <a:pt x="1820" y="8039"/>
                    <a:pt x="1741" y="7846"/>
                    <a:pt x="1741" y="7846"/>
                  </a:cubicBezTo>
                  <a:cubicBezTo>
                    <a:pt x="1741" y="7749"/>
                    <a:pt x="1582" y="7749"/>
                    <a:pt x="1503" y="7652"/>
                  </a:cubicBezTo>
                  <a:cubicBezTo>
                    <a:pt x="1424" y="7652"/>
                    <a:pt x="1424" y="7652"/>
                    <a:pt x="1424" y="7555"/>
                  </a:cubicBezTo>
                  <a:cubicBezTo>
                    <a:pt x="1345" y="7458"/>
                    <a:pt x="1424" y="7458"/>
                    <a:pt x="1345" y="7458"/>
                  </a:cubicBezTo>
                  <a:cubicBezTo>
                    <a:pt x="1345" y="7361"/>
                    <a:pt x="1266" y="7361"/>
                    <a:pt x="1266" y="7361"/>
                  </a:cubicBezTo>
                  <a:cubicBezTo>
                    <a:pt x="1266" y="7361"/>
                    <a:pt x="1187" y="7555"/>
                    <a:pt x="1108" y="7555"/>
                  </a:cubicBezTo>
                  <a:cubicBezTo>
                    <a:pt x="1029" y="7555"/>
                    <a:pt x="949" y="7458"/>
                    <a:pt x="949" y="7458"/>
                  </a:cubicBezTo>
                  <a:cubicBezTo>
                    <a:pt x="870" y="7458"/>
                    <a:pt x="791" y="7458"/>
                    <a:pt x="712" y="7555"/>
                  </a:cubicBezTo>
                  <a:cubicBezTo>
                    <a:pt x="712" y="7555"/>
                    <a:pt x="554" y="7458"/>
                    <a:pt x="554" y="7458"/>
                  </a:cubicBezTo>
                  <a:cubicBezTo>
                    <a:pt x="554" y="7361"/>
                    <a:pt x="316" y="7361"/>
                    <a:pt x="316" y="7361"/>
                  </a:cubicBezTo>
                  <a:cubicBezTo>
                    <a:pt x="316" y="7361"/>
                    <a:pt x="316" y="7458"/>
                    <a:pt x="237" y="7458"/>
                  </a:cubicBezTo>
                  <a:cubicBezTo>
                    <a:pt x="158" y="7555"/>
                    <a:pt x="79" y="7458"/>
                    <a:pt x="79" y="7458"/>
                  </a:cubicBezTo>
                  <a:cubicBezTo>
                    <a:pt x="0" y="7458"/>
                    <a:pt x="0" y="7361"/>
                    <a:pt x="0" y="7265"/>
                  </a:cubicBezTo>
                  <a:close/>
                  <a:moveTo>
                    <a:pt x="791" y="17629"/>
                  </a:moveTo>
                  <a:cubicBezTo>
                    <a:pt x="791" y="17629"/>
                    <a:pt x="791" y="17629"/>
                    <a:pt x="791" y="17629"/>
                  </a:cubicBezTo>
                  <a:cubicBezTo>
                    <a:pt x="791" y="17919"/>
                    <a:pt x="791" y="17919"/>
                    <a:pt x="791" y="17919"/>
                  </a:cubicBezTo>
                  <a:cubicBezTo>
                    <a:pt x="1266" y="18113"/>
                    <a:pt x="1266" y="18113"/>
                    <a:pt x="1266" y="18113"/>
                  </a:cubicBezTo>
                  <a:cubicBezTo>
                    <a:pt x="1582" y="18404"/>
                    <a:pt x="1582" y="18404"/>
                    <a:pt x="1582" y="18404"/>
                  </a:cubicBezTo>
                  <a:cubicBezTo>
                    <a:pt x="1582" y="18404"/>
                    <a:pt x="1741" y="18888"/>
                    <a:pt x="1741" y="18985"/>
                  </a:cubicBezTo>
                  <a:cubicBezTo>
                    <a:pt x="1741" y="19178"/>
                    <a:pt x="1978" y="19178"/>
                    <a:pt x="2057" y="19178"/>
                  </a:cubicBezTo>
                  <a:cubicBezTo>
                    <a:pt x="2057" y="19178"/>
                    <a:pt x="2374" y="19275"/>
                    <a:pt x="2374" y="19275"/>
                  </a:cubicBezTo>
                  <a:cubicBezTo>
                    <a:pt x="2374" y="19275"/>
                    <a:pt x="2532" y="19469"/>
                    <a:pt x="2611" y="19566"/>
                  </a:cubicBezTo>
                  <a:cubicBezTo>
                    <a:pt x="2611" y="19663"/>
                    <a:pt x="2611" y="19857"/>
                    <a:pt x="2611" y="19857"/>
                  </a:cubicBezTo>
                  <a:cubicBezTo>
                    <a:pt x="2927" y="20244"/>
                    <a:pt x="2927" y="20244"/>
                    <a:pt x="2927" y="20244"/>
                  </a:cubicBezTo>
                  <a:cubicBezTo>
                    <a:pt x="3481" y="20244"/>
                    <a:pt x="3481" y="20244"/>
                    <a:pt x="3481" y="20244"/>
                  </a:cubicBezTo>
                  <a:cubicBezTo>
                    <a:pt x="3481" y="20244"/>
                    <a:pt x="4035" y="20825"/>
                    <a:pt x="4114" y="20922"/>
                  </a:cubicBezTo>
                  <a:cubicBezTo>
                    <a:pt x="4114" y="21019"/>
                    <a:pt x="4431" y="21406"/>
                    <a:pt x="4431" y="21406"/>
                  </a:cubicBezTo>
                  <a:cubicBezTo>
                    <a:pt x="4431" y="21406"/>
                    <a:pt x="4985" y="21406"/>
                    <a:pt x="5064" y="21406"/>
                  </a:cubicBezTo>
                  <a:cubicBezTo>
                    <a:pt x="5064" y="21406"/>
                    <a:pt x="5618" y="21406"/>
                    <a:pt x="5618" y="21406"/>
                  </a:cubicBezTo>
                  <a:cubicBezTo>
                    <a:pt x="6013" y="21600"/>
                    <a:pt x="6013" y="21600"/>
                    <a:pt x="6013" y="21600"/>
                  </a:cubicBezTo>
                  <a:cubicBezTo>
                    <a:pt x="6409" y="21503"/>
                    <a:pt x="6409" y="21503"/>
                    <a:pt x="6409" y="21503"/>
                  </a:cubicBezTo>
                  <a:cubicBezTo>
                    <a:pt x="7279" y="21213"/>
                    <a:pt x="7279" y="21213"/>
                    <a:pt x="7279" y="21213"/>
                  </a:cubicBezTo>
                  <a:cubicBezTo>
                    <a:pt x="7279" y="21213"/>
                    <a:pt x="7042" y="21019"/>
                    <a:pt x="7042" y="21019"/>
                  </a:cubicBezTo>
                  <a:cubicBezTo>
                    <a:pt x="7042" y="20922"/>
                    <a:pt x="6725" y="20438"/>
                    <a:pt x="6725" y="20438"/>
                  </a:cubicBezTo>
                  <a:cubicBezTo>
                    <a:pt x="6725" y="20438"/>
                    <a:pt x="6251" y="19760"/>
                    <a:pt x="6171" y="19760"/>
                  </a:cubicBezTo>
                  <a:cubicBezTo>
                    <a:pt x="6171" y="19663"/>
                    <a:pt x="6092" y="19566"/>
                    <a:pt x="6092" y="19469"/>
                  </a:cubicBezTo>
                  <a:cubicBezTo>
                    <a:pt x="6092" y="19275"/>
                    <a:pt x="6171" y="19178"/>
                    <a:pt x="6171" y="19082"/>
                  </a:cubicBezTo>
                  <a:cubicBezTo>
                    <a:pt x="6251" y="18985"/>
                    <a:pt x="6251" y="18791"/>
                    <a:pt x="6251" y="18791"/>
                  </a:cubicBezTo>
                  <a:cubicBezTo>
                    <a:pt x="6251" y="18791"/>
                    <a:pt x="6013" y="18791"/>
                    <a:pt x="5855" y="18791"/>
                  </a:cubicBezTo>
                  <a:cubicBezTo>
                    <a:pt x="5776" y="18791"/>
                    <a:pt x="5618" y="18888"/>
                    <a:pt x="5459" y="18888"/>
                  </a:cubicBezTo>
                  <a:cubicBezTo>
                    <a:pt x="5380" y="18888"/>
                    <a:pt x="5222" y="18791"/>
                    <a:pt x="5222" y="18791"/>
                  </a:cubicBezTo>
                  <a:cubicBezTo>
                    <a:pt x="5143" y="18791"/>
                    <a:pt x="5143" y="18500"/>
                    <a:pt x="5143" y="18500"/>
                  </a:cubicBezTo>
                  <a:cubicBezTo>
                    <a:pt x="5301" y="18113"/>
                    <a:pt x="5301" y="18113"/>
                    <a:pt x="5301" y="18113"/>
                  </a:cubicBezTo>
                  <a:cubicBezTo>
                    <a:pt x="5143" y="17822"/>
                    <a:pt x="5143" y="17822"/>
                    <a:pt x="5143" y="17822"/>
                  </a:cubicBezTo>
                  <a:cubicBezTo>
                    <a:pt x="4826" y="17435"/>
                    <a:pt x="4826" y="17435"/>
                    <a:pt x="4826" y="17435"/>
                  </a:cubicBezTo>
                  <a:cubicBezTo>
                    <a:pt x="4826" y="17435"/>
                    <a:pt x="4273" y="17726"/>
                    <a:pt x="4193" y="17726"/>
                  </a:cubicBezTo>
                  <a:cubicBezTo>
                    <a:pt x="4114" y="17726"/>
                    <a:pt x="3798" y="18210"/>
                    <a:pt x="3719" y="18210"/>
                  </a:cubicBezTo>
                  <a:cubicBezTo>
                    <a:pt x="3719" y="18210"/>
                    <a:pt x="3481" y="17919"/>
                    <a:pt x="3481" y="17919"/>
                  </a:cubicBezTo>
                  <a:cubicBezTo>
                    <a:pt x="2848" y="17726"/>
                    <a:pt x="2848" y="17726"/>
                    <a:pt x="2848" y="17726"/>
                  </a:cubicBezTo>
                  <a:cubicBezTo>
                    <a:pt x="2848" y="17726"/>
                    <a:pt x="2769" y="17919"/>
                    <a:pt x="2690" y="18016"/>
                  </a:cubicBezTo>
                  <a:cubicBezTo>
                    <a:pt x="2611" y="18113"/>
                    <a:pt x="2532" y="18016"/>
                    <a:pt x="2532" y="17919"/>
                  </a:cubicBezTo>
                  <a:cubicBezTo>
                    <a:pt x="2453" y="17726"/>
                    <a:pt x="2611" y="17435"/>
                    <a:pt x="2611" y="17435"/>
                  </a:cubicBezTo>
                  <a:cubicBezTo>
                    <a:pt x="2136" y="17144"/>
                    <a:pt x="2136" y="17144"/>
                    <a:pt x="2136" y="17144"/>
                  </a:cubicBezTo>
                  <a:cubicBezTo>
                    <a:pt x="1820" y="16951"/>
                    <a:pt x="1820" y="16951"/>
                    <a:pt x="1820" y="16951"/>
                  </a:cubicBezTo>
                  <a:cubicBezTo>
                    <a:pt x="1424" y="17435"/>
                    <a:pt x="1424" y="17435"/>
                    <a:pt x="1424" y="17435"/>
                  </a:cubicBezTo>
                  <a:cubicBezTo>
                    <a:pt x="1424" y="17435"/>
                    <a:pt x="870" y="17532"/>
                    <a:pt x="791" y="17629"/>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7" name="Shape 2250">
              <a:extLst>
                <a:ext uri="{FF2B5EF4-FFF2-40B4-BE49-F238E27FC236}">
                  <a16:creationId xmlns:a16="http://schemas.microsoft.com/office/drawing/2014/main" id="{75981845-52F0-41CC-3A84-A2973B8586F6}"/>
                </a:ext>
              </a:extLst>
            </p:cNvPr>
            <p:cNvSpPr/>
            <p:nvPr/>
          </p:nvSpPr>
          <p:spPr>
            <a:xfrm>
              <a:off x="3622830" y="5430349"/>
              <a:ext cx="1143455" cy="563774"/>
            </a:xfrm>
            <a:custGeom>
              <a:avLst/>
              <a:gdLst/>
              <a:ahLst/>
              <a:cxnLst>
                <a:cxn ang="0">
                  <a:pos x="wd2" y="hd2"/>
                </a:cxn>
                <a:cxn ang="5400000">
                  <a:pos x="wd2" y="hd2"/>
                </a:cxn>
                <a:cxn ang="10800000">
                  <a:pos x="wd2" y="hd2"/>
                </a:cxn>
                <a:cxn ang="16200000">
                  <a:pos x="wd2" y="hd2"/>
                </a:cxn>
              </a:cxnLst>
              <a:rect l="0" t="0" r="r" b="b"/>
              <a:pathLst>
                <a:path w="21490" h="21490" extrusionOk="0">
                  <a:moveTo>
                    <a:pt x="14477" y="3541"/>
                  </a:moveTo>
                  <a:cubicBezTo>
                    <a:pt x="14477" y="3541"/>
                    <a:pt x="14477" y="2628"/>
                    <a:pt x="14555" y="2628"/>
                  </a:cubicBezTo>
                  <a:cubicBezTo>
                    <a:pt x="14632" y="2628"/>
                    <a:pt x="14787" y="2172"/>
                    <a:pt x="14787" y="2172"/>
                  </a:cubicBezTo>
                  <a:cubicBezTo>
                    <a:pt x="15019" y="2020"/>
                    <a:pt x="15019" y="2020"/>
                    <a:pt x="15019" y="2020"/>
                  </a:cubicBezTo>
                  <a:cubicBezTo>
                    <a:pt x="15019" y="2020"/>
                    <a:pt x="15174" y="1715"/>
                    <a:pt x="15174" y="1411"/>
                  </a:cubicBezTo>
                  <a:cubicBezTo>
                    <a:pt x="15097" y="1259"/>
                    <a:pt x="15174" y="498"/>
                    <a:pt x="15174" y="498"/>
                  </a:cubicBezTo>
                  <a:cubicBezTo>
                    <a:pt x="15174" y="498"/>
                    <a:pt x="15097" y="42"/>
                    <a:pt x="15174" y="42"/>
                  </a:cubicBezTo>
                  <a:cubicBezTo>
                    <a:pt x="15329" y="-110"/>
                    <a:pt x="15561" y="194"/>
                    <a:pt x="15561" y="194"/>
                  </a:cubicBezTo>
                  <a:cubicBezTo>
                    <a:pt x="15948" y="346"/>
                    <a:pt x="15948" y="346"/>
                    <a:pt x="15948" y="346"/>
                  </a:cubicBezTo>
                  <a:cubicBezTo>
                    <a:pt x="15948" y="346"/>
                    <a:pt x="16103" y="346"/>
                    <a:pt x="16181" y="346"/>
                  </a:cubicBezTo>
                  <a:cubicBezTo>
                    <a:pt x="16258" y="346"/>
                    <a:pt x="16568" y="498"/>
                    <a:pt x="16568" y="498"/>
                  </a:cubicBezTo>
                  <a:cubicBezTo>
                    <a:pt x="16568" y="498"/>
                    <a:pt x="16877" y="651"/>
                    <a:pt x="16955" y="651"/>
                  </a:cubicBezTo>
                  <a:cubicBezTo>
                    <a:pt x="17032" y="651"/>
                    <a:pt x="17342" y="651"/>
                    <a:pt x="17342" y="651"/>
                  </a:cubicBezTo>
                  <a:cubicBezTo>
                    <a:pt x="17497" y="803"/>
                    <a:pt x="17497" y="803"/>
                    <a:pt x="17497" y="803"/>
                  </a:cubicBezTo>
                  <a:cubicBezTo>
                    <a:pt x="18039" y="1259"/>
                    <a:pt x="18039" y="1259"/>
                    <a:pt x="18039" y="1259"/>
                  </a:cubicBezTo>
                  <a:cubicBezTo>
                    <a:pt x="18348" y="1563"/>
                    <a:pt x="18348" y="1563"/>
                    <a:pt x="18348" y="1563"/>
                  </a:cubicBezTo>
                  <a:cubicBezTo>
                    <a:pt x="19200" y="1715"/>
                    <a:pt x="19200" y="1715"/>
                    <a:pt x="19200" y="1715"/>
                  </a:cubicBezTo>
                  <a:cubicBezTo>
                    <a:pt x="19277" y="1107"/>
                    <a:pt x="19277" y="1107"/>
                    <a:pt x="19277" y="1107"/>
                  </a:cubicBezTo>
                  <a:cubicBezTo>
                    <a:pt x="19277" y="1107"/>
                    <a:pt x="19587" y="955"/>
                    <a:pt x="19587" y="1107"/>
                  </a:cubicBezTo>
                  <a:cubicBezTo>
                    <a:pt x="19665" y="1107"/>
                    <a:pt x="19819" y="1411"/>
                    <a:pt x="20052" y="1563"/>
                  </a:cubicBezTo>
                  <a:cubicBezTo>
                    <a:pt x="20284" y="1563"/>
                    <a:pt x="20516" y="1411"/>
                    <a:pt x="20516" y="1411"/>
                  </a:cubicBezTo>
                  <a:cubicBezTo>
                    <a:pt x="20671" y="2324"/>
                    <a:pt x="20671" y="2324"/>
                    <a:pt x="20671" y="2324"/>
                  </a:cubicBezTo>
                  <a:cubicBezTo>
                    <a:pt x="20826" y="2476"/>
                    <a:pt x="20826" y="2476"/>
                    <a:pt x="20826" y="2476"/>
                  </a:cubicBezTo>
                  <a:cubicBezTo>
                    <a:pt x="20748" y="2476"/>
                    <a:pt x="20748" y="2476"/>
                    <a:pt x="20748" y="2476"/>
                  </a:cubicBezTo>
                  <a:cubicBezTo>
                    <a:pt x="20748" y="2932"/>
                    <a:pt x="20748" y="2932"/>
                    <a:pt x="20748" y="2932"/>
                  </a:cubicBezTo>
                  <a:cubicBezTo>
                    <a:pt x="20826" y="3084"/>
                    <a:pt x="20826" y="3084"/>
                    <a:pt x="20826" y="3084"/>
                  </a:cubicBezTo>
                  <a:cubicBezTo>
                    <a:pt x="20826" y="3084"/>
                    <a:pt x="20748" y="3389"/>
                    <a:pt x="20748" y="3389"/>
                  </a:cubicBezTo>
                  <a:cubicBezTo>
                    <a:pt x="20748" y="3389"/>
                    <a:pt x="20748" y="3693"/>
                    <a:pt x="20748" y="3693"/>
                  </a:cubicBezTo>
                  <a:cubicBezTo>
                    <a:pt x="20594" y="3997"/>
                    <a:pt x="20594" y="3997"/>
                    <a:pt x="20594" y="3997"/>
                  </a:cubicBezTo>
                  <a:cubicBezTo>
                    <a:pt x="20594" y="4301"/>
                    <a:pt x="20594" y="4301"/>
                    <a:pt x="20594" y="4301"/>
                  </a:cubicBezTo>
                  <a:cubicBezTo>
                    <a:pt x="20594" y="4301"/>
                    <a:pt x="20594" y="4758"/>
                    <a:pt x="20594" y="4758"/>
                  </a:cubicBezTo>
                  <a:cubicBezTo>
                    <a:pt x="20594" y="4758"/>
                    <a:pt x="20671" y="4910"/>
                    <a:pt x="20748" y="4910"/>
                  </a:cubicBezTo>
                  <a:cubicBezTo>
                    <a:pt x="20748" y="4910"/>
                    <a:pt x="20748" y="5062"/>
                    <a:pt x="20748" y="5062"/>
                  </a:cubicBezTo>
                  <a:cubicBezTo>
                    <a:pt x="20748" y="5062"/>
                    <a:pt x="20826" y="5214"/>
                    <a:pt x="20903" y="5366"/>
                  </a:cubicBezTo>
                  <a:cubicBezTo>
                    <a:pt x="20903" y="5366"/>
                    <a:pt x="20903" y="5366"/>
                    <a:pt x="20903" y="5366"/>
                  </a:cubicBezTo>
                  <a:cubicBezTo>
                    <a:pt x="20903" y="5366"/>
                    <a:pt x="20981" y="5670"/>
                    <a:pt x="20981" y="5822"/>
                  </a:cubicBezTo>
                  <a:cubicBezTo>
                    <a:pt x="21058" y="5975"/>
                    <a:pt x="21058" y="6127"/>
                    <a:pt x="21058" y="6127"/>
                  </a:cubicBezTo>
                  <a:cubicBezTo>
                    <a:pt x="21058" y="6127"/>
                    <a:pt x="21135" y="6431"/>
                    <a:pt x="21213" y="6431"/>
                  </a:cubicBezTo>
                  <a:cubicBezTo>
                    <a:pt x="21213" y="6431"/>
                    <a:pt x="21290" y="6431"/>
                    <a:pt x="21368" y="6431"/>
                  </a:cubicBezTo>
                  <a:cubicBezTo>
                    <a:pt x="21368" y="6431"/>
                    <a:pt x="21445" y="6431"/>
                    <a:pt x="21445" y="6431"/>
                  </a:cubicBezTo>
                  <a:cubicBezTo>
                    <a:pt x="21445" y="6583"/>
                    <a:pt x="21368" y="7496"/>
                    <a:pt x="21368" y="7496"/>
                  </a:cubicBezTo>
                  <a:cubicBezTo>
                    <a:pt x="21445" y="8408"/>
                    <a:pt x="21445" y="8408"/>
                    <a:pt x="21445" y="8408"/>
                  </a:cubicBezTo>
                  <a:cubicBezTo>
                    <a:pt x="21445" y="8408"/>
                    <a:pt x="21368" y="8865"/>
                    <a:pt x="21368" y="9017"/>
                  </a:cubicBezTo>
                  <a:cubicBezTo>
                    <a:pt x="21445" y="9321"/>
                    <a:pt x="21600" y="9625"/>
                    <a:pt x="21368" y="9777"/>
                  </a:cubicBezTo>
                  <a:cubicBezTo>
                    <a:pt x="21213" y="9777"/>
                    <a:pt x="20981" y="10082"/>
                    <a:pt x="20903" y="9777"/>
                  </a:cubicBezTo>
                  <a:cubicBezTo>
                    <a:pt x="20903" y="9777"/>
                    <a:pt x="20826" y="9473"/>
                    <a:pt x="20826" y="9929"/>
                  </a:cubicBezTo>
                  <a:cubicBezTo>
                    <a:pt x="20903" y="10082"/>
                    <a:pt x="20671" y="9929"/>
                    <a:pt x="20671" y="9929"/>
                  </a:cubicBezTo>
                  <a:cubicBezTo>
                    <a:pt x="20052" y="9473"/>
                    <a:pt x="20052" y="9473"/>
                    <a:pt x="20052" y="9473"/>
                  </a:cubicBezTo>
                  <a:cubicBezTo>
                    <a:pt x="19897" y="9777"/>
                    <a:pt x="19897" y="9777"/>
                    <a:pt x="19897" y="9777"/>
                  </a:cubicBezTo>
                  <a:cubicBezTo>
                    <a:pt x="19587" y="10234"/>
                    <a:pt x="19587" y="10234"/>
                    <a:pt x="19587" y="10234"/>
                  </a:cubicBezTo>
                  <a:cubicBezTo>
                    <a:pt x="20052" y="10538"/>
                    <a:pt x="20052" y="10538"/>
                    <a:pt x="20052" y="10538"/>
                  </a:cubicBezTo>
                  <a:cubicBezTo>
                    <a:pt x="20206" y="10538"/>
                    <a:pt x="20206" y="10538"/>
                    <a:pt x="20206" y="10538"/>
                  </a:cubicBezTo>
                  <a:cubicBezTo>
                    <a:pt x="20594" y="11755"/>
                    <a:pt x="20594" y="11755"/>
                    <a:pt x="20594" y="11755"/>
                  </a:cubicBezTo>
                  <a:cubicBezTo>
                    <a:pt x="20129" y="12363"/>
                    <a:pt x="20129" y="12363"/>
                    <a:pt x="20129" y="12363"/>
                  </a:cubicBezTo>
                  <a:cubicBezTo>
                    <a:pt x="20129" y="12363"/>
                    <a:pt x="19897" y="12667"/>
                    <a:pt x="19819" y="12667"/>
                  </a:cubicBezTo>
                  <a:cubicBezTo>
                    <a:pt x="19742" y="12667"/>
                    <a:pt x="19665" y="12820"/>
                    <a:pt x="19665" y="12820"/>
                  </a:cubicBezTo>
                  <a:cubicBezTo>
                    <a:pt x="19897" y="13732"/>
                    <a:pt x="19897" y="13732"/>
                    <a:pt x="19897" y="13732"/>
                  </a:cubicBezTo>
                  <a:cubicBezTo>
                    <a:pt x="19897" y="14036"/>
                    <a:pt x="19897" y="14036"/>
                    <a:pt x="19897" y="14036"/>
                  </a:cubicBezTo>
                  <a:cubicBezTo>
                    <a:pt x="19974" y="14949"/>
                    <a:pt x="19974" y="14949"/>
                    <a:pt x="19974" y="14949"/>
                  </a:cubicBezTo>
                  <a:cubicBezTo>
                    <a:pt x="19742" y="15710"/>
                    <a:pt x="19742" y="15710"/>
                    <a:pt x="19742" y="15710"/>
                  </a:cubicBezTo>
                  <a:cubicBezTo>
                    <a:pt x="19510" y="15862"/>
                    <a:pt x="19510" y="15862"/>
                    <a:pt x="19510" y="15862"/>
                  </a:cubicBezTo>
                  <a:cubicBezTo>
                    <a:pt x="19277" y="16927"/>
                    <a:pt x="19277" y="16927"/>
                    <a:pt x="19277" y="16927"/>
                  </a:cubicBezTo>
                  <a:cubicBezTo>
                    <a:pt x="18890" y="17383"/>
                    <a:pt x="18890" y="17383"/>
                    <a:pt x="18890" y="17383"/>
                  </a:cubicBezTo>
                  <a:cubicBezTo>
                    <a:pt x="18813" y="17991"/>
                    <a:pt x="18813" y="17991"/>
                    <a:pt x="18813" y="17991"/>
                  </a:cubicBezTo>
                  <a:cubicBezTo>
                    <a:pt x="18890" y="18904"/>
                    <a:pt x="18890" y="18904"/>
                    <a:pt x="18890" y="18904"/>
                  </a:cubicBezTo>
                  <a:cubicBezTo>
                    <a:pt x="18426" y="18296"/>
                    <a:pt x="18426" y="18296"/>
                    <a:pt x="18426" y="18296"/>
                  </a:cubicBezTo>
                  <a:cubicBezTo>
                    <a:pt x="18039" y="18600"/>
                    <a:pt x="18039" y="18600"/>
                    <a:pt x="18039" y="18600"/>
                  </a:cubicBezTo>
                  <a:cubicBezTo>
                    <a:pt x="17806" y="18752"/>
                    <a:pt x="17806" y="18752"/>
                    <a:pt x="17806" y="18752"/>
                  </a:cubicBezTo>
                  <a:cubicBezTo>
                    <a:pt x="17342" y="19360"/>
                    <a:pt x="17342" y="19360"/>
                    <a:pt x="17342" y="19360"/>
                  </a:cubicBezTo>
                  <a:cubicBezTo>
                    <a:pt x="16955" y="19056"/>
                    <a:pt x="16955" y="19056"/>
                    <a:pt x="16955" y="19056"/>
                  </a:cubicBezTo>
                  <a:cubicBezTo>
                    <a:pt x="16413" y="19360"/>
                    <a:pt x="16413" y="19360"/>
                    <a:pt x="16413" y="19360"/>
                  </a:cubicBezTo>
                  <a:cubicBezTo>
                    <a:pt x="15948" y="19360"/>
                    <a:pt x="15948" y="19360"/>
                    <a:pt x="15948" y="19360"/>
                  </a:cubicBezTo>
                  <a:cubicBezTo>
                    <a:pt x="15716" y="19665"/>
                    <a:pt x="15716" y="19665"/>
                    <a:pt x="15716" y="19665"/>
                  </a:cubicBezTo>
                  <a:cubicBezTo>
                    <a:pt x="15561" y="20273"/>
                    <a:pt x="15561" y="20273"/>
                    <a:pt x="15561" y="20273"/>
                  </a:cubicBezTo>
                  <a:cubicBezTo>
                    <a:pt x="15484" y="20577"/>
                    <a:pt x="15484" y="20577"/>
                    <a:pt x="15484" y="20577"/>
                  </a:cubicBezTo>
                  <a:cubicBezTo>
                    <a:pt x="15174" y="20729"/>
                    <a:pt x="15174" y="20729"/>
                    <a:pt x="15174" y="20729"/>
                  </a:cubicBezTo>
                  <a:cubicBezTo>
                    <a:pt x="15019" y="21186"/>
                    <a:pt x="15019" y="21186"/>
                    <a:pt x="15019" y="21186"/>
                  </a:cubicBezTo>
                  <a:cubicBezTo>
                    <a:pt x="14787" y="21490"/>
                    <a:pt x="14787" y="21490"/>
                    <a:pt x="14787" y="21490"/>
                  </a:cubicBezTo>
                  <a:cubicBezTo>
                    <a:pt x="14632" y="21490"/>
                    <a:pt x="14632" y="21490"/>
                    <a:pt x="14632" y="21490"/>
                  </a:cubicBezTo>
                  <a:cubicBezTo>
                    <a:pt x="13935" y="21490"/>
                    <a:pt x="13935" y="21490"/>
                    <a:pt x="13935" y="21490"/>
                  </a:cubicBezTo>
                  <a:cubicBezTo>
                    <a:pt x="13161" y="21338"/>
                    <a:pt x="13161" y="21338"/>
                    <a:pt x="13161" y="21338"/>
                  </a:cubicBezTo>
                  <a:cubicBezTo>
                    <a:pt x="12465" y="20882"/>
                    <a:pt x="12465" y="20882"/>
                    <a:pt x="12465" y="20882"/>
                  </a:cubicBezTo>
                  <a:cubicBezTo>
                    <a:pt x="11923" y="21034"/>
                    <a:pt x="11923" y="21034"/>
                    <a:pt x="11923" y="21034"/>
                  </a:cubicBezTo>
                  <a:cubicBezTo>
                    <a:pt x="11923" y="21034"/>
                    <a:pt x="11535" y="20882"/>
                    <a:pt x="11303" y="20882"/>
                  </a:cubicBezTo>
                  <a:cubicBezTo>
                    <a:pt x="10994" y="20882"/>
                    <a:pt x="10374" y="20577"/>
                    <a:pt x="10374" y="20577"/>
                  </a:cubicBezTo>
                  <a:cubicBezTo>
                    <a:pt x="9600" y="20121"/>
                    <a:pt x="9600" y="20121"/>
                    <a:pt x="9600" y="20121"/>
                  </a:cubicBezTo>
                  <a:cubicBezTo>
                    <a:pt x="9135" y="20121"/>
                    <a:pt x="9135" y="20121"/>
                    <a:pt x="9135" y="20121"/>
                  </a:cubicBezTo>
                  <a:cubicBezTo>
                    <a:pt x="8439" y="19969"/>
                    <a:pt x="8439" y="19969"/>
                    <a:pt x="8439" y="19969"/>
                  </a:cubicBezTo>
                  <a:cubicBezTo>
                    <a:pt x="8439" y="19969"/>
                    <a:pt x="8361" y="19665"/>
                    <a:pt x="8284" y="19513"/>
                  </a:cubicBezTo>
                  <a:cubicBezTo>
                    <a:pt x="8284" y="19360"/>
                    <a:pt x="8052" y="19056"/>
                    <a:pt x="8052" y="19056"/>
                  </a:cubicBezTo>
                  <a:cubicBezTo>
                    <a:pt x="8052" y="18752"/>
                    <a:pt x="8052" y="18752"/>
                    <a:pt x="8052" y="18752"/>
                  </a:cubicBezTo>
                  <a:cubicBezTo>
                    <a:pt x="7897" y="17991"/>
                    <a:pt x="7897" y="17991"/>
                    <a:pt x="7897" y="17991"/>
                  </a:cubicBezTo>
                  <a:cubicBezTo>
                    <a:pt x="7742" y="17383"/>
                    <a:pt x="7742" y="17383"/>
                    <a:pt x="7742" y="17383"/>
                  </a:cubicBezTo>
                  <a:cubicBezTo>
                    <a:pt x="7897" y="16927"/>
                    <a:pt x="7897" y="16927"/>
                    <a:pt x="7897" y="16927"/>
                  </a:cubicBezTo>
                  <a:cubicBezTo>
                    <a:pt x="7742" y="16775"/>
                    <a:pt x="7742" y="16775"/>
                    <a:pt x="7742" y="16775"/>
                  </a:cubicBezTo>
                  <a:cubicBezTo>
                    <a:pt x="7742" y="16775"/>
                    <a:pt x="7432" y="16927"/>
                    <a:pt x="7277" y="16927"/>
                  </a:cubicBezTo>
                  <a:cubicBezTo>
                    <a:pt x="7200" y="17079"/>
                    <a:pt x="6735" y="17231"/>
                    <a:pt x="6735" y="17231"/>
                  </a:cubicBezTo>
                  <a:cubicBezTo>
                    <a:pt x="6581" y="17383"/>
                    <a:pt x="6581" y="17383"/>
                    <a:pt x="6581" y="17383"/>
                  </a:cubicBezTo>
                  <a:cubicBezTo>
                    <a:pt x="5961" y="17383"/>
                    <a:pt x="5961" y="17383"/>
                    <a:pt x="5961" y="17383"/>
                  </a:cubicBezTo>
                  <a:cubicBezTo>
                    <a:pt x="5342" y="17535"/>
                    <a:pt x="5342" y="17535"/>
                    <a:pt x="5342" y="17535"/>
                  </a:cubicBezTo>
                  <a:cubicBezTo>
                    <a:pt x="5110" y="17839"/>
                    <a:pt x="5110" y="17839"/>
                    <a:pt x="5110" y="17839"/>
                  </a:cubicBezTo>
                  <a:cubicBezTo>
                    <a:pt x="4645" y="18296"/>
                    <a:pt x="4645" y="18296"/>
                    <a:pt x="4645" y="18296"/>
                  </a:cubicBezTo>
                  <a:cubicBezTo>
                    <a:pt x="4645" y="18904"/>
                    <a:pt x="4645" y="18904"/>
                    <a:pt x="4645" y="18904"/>
                  </a:cubicBezTo>
                  <a:cubicBezTo>
                    <a:pt x="4413" y="19513"/>
                    <a:pt x="4413" y="19513"/>
                    <a:pt x="4413" y="19513"/>
                  </a:cubicBezTo>
                  <a:cubicBezTo>
                    <a:pt x="4026" y="19513"/>
                    <a:pt x="4026" y="19513"/>
                    <a:pt x="4026" y="19513"/>
                  </a:cubicBezTo>
                  <a:cubicBezTo>
                    <a:pt x="3639" y="18904"/>
                    <a:pt x="3639" y="18904"/>
                    <a:pt x="3639" y="18904"/>
                  </a:cubicBezTo>
                  <a:cubicBezTo>
                    <a:pt x="3484" y="19208"/>
                    <a:pt x="3484" y="19208"/>
                    <a:pt x="3484" y="19208"/>
                  </a:cubicBezTo>
                  <a:cubicBezTo>
                    <a:pt x="3019" y="19056"/>
                    <a:pt x="3019" y="19056"/>
                    <a:pt x="3019" y="19056"/>
                  </a:cubicBezTo>
                  <a:cubicBezTo>
                    <a:pt x="2942" y="19208"/>
                    <a:pt x="2942" y="19208"/>
                    <a:pt x="2942" y="19208"/>
                  </a:cubicBezTo>
                  <a:cubicBezTo>
                    <a:pt x="2942" y="19208"/>
                    <a:pt x="2942" y="19056"/>
                    <a:pt x="2942" y="19056"/>
                  </a:cubicBezTo>
                  <a:cubicBezTo>
                    <a:pt x="2942" y="18904"/>
                    <a:pt x="3019" y="18448"/>
                    <a:pt x="3019" y="18448"/>
                  </a:cubicBezTo>
                  <a:cubicBezTo>
                    <a:pt x="3019" y="18448"/>
                    <a:pt x="3019" y="18296"/>
                    <a:pt x="3019" y="18144"/>
                  </a:cubicBezTo>
                  <a:cubicBezTo>
                    <a:pt x="3019" y="18144"/>
                    <a:pt x="2942" y="17991"/>
                    <a:pt x="2942" y="17991"/>
                  </a:cubicBezTo>
                  <a:cubicBezTo>
                    <a:pt x="2865" y="17839"/>
                    <a:pt x="2865" y="17839"/>
                    <a:pt x="2865" y="17839"/>
                  </a:cubicBezTo>
                  <a:cubicBezTo>
                    <a:pt x="2865" y="17839"/>
                    <a:pt x="2787" y="17535"/>
                    <a:pt x="2787" y="17535"/>
                  </a:cubicBezTo>
                  <a:cubicBezTo>
                    <a:pt x="2710" y="17687"/>
                    <a:pt x="2632" y="17687"/>
                    <a:pt x="2632" y="17687"/>
                  </a:cubicBezTo>
                  <a:cubicBezTo>
                    <a:pt x="2632" y="17687"/>
                    <a:pt x="2632" y="17991"/>
                    <a:pt x="2632" y="17991"/>
                  </a:cubicBezTo>
                  <a:cubicBezTo>
                    <a:pt x="2555" y="18144"/>
                    <a:pt x="2477" y="18144"/>
                    <a:pt x="2477" y="18144"/>
                  </a:cubicBezTo>
                  <a:cubicBezTo>
                    <a:pt x="2477" y="18144"/>
                    <a:pt x="2477" y="18144"/>
                    <a:pt x="2477" y="18144"/>
                  </a:cubicBezTo>
                  <a:cubicBezTo>
                    <a:pt x="2400" y="18144"/>
                    <a:pt x="2400" y="18144"/>
                    <a:pt x="2400" y="18144"/>
                  </a:cubicBezTo>
                  <a:cubicBezTo>
                    <a:pt x="2323" y="18448"/>
                    <a:pt x="2323" y="18448"/>
                    <a:pt x="2323" y="18448"/>
                  </a:cubicBezTo>
                  <a:cubicBezTo>
                    <a:pt x="2245" y="18600"/>
                    <a:pt x="2245" y="18600"/>
                    <a:pt x="2245" y="18600"/>
                  </a:cubicBezTo>
                  <a:cubicBezTo>
                    <a:pt x="2245" y="18600"/>
                    <a:pt x="2245" y="18600"/>
                    <a:pt x="2245" y="18600"/>
                  </a:cubicBezTo>
                  <a:cubicBezTo>
                    <a:pt x="2245" y="18600"/>
                    <a:pt x="2245" y="18600"/>
                    <a:pt x="2245" y="18600"/>
                  </a:cubicBezTo>
                  <a:cubicBezTo>
                    <a:pt x="2245" y="18600"/>
                    <a:pt x="2168" y="18600"/>
                    <a:pt x="2168" y="18752"/>
                  </a:cubicBezTo>
                  <a:cubicBezTo>
                    <a:pt x="2168" y="18752"/>
                    <a:pt x="2090" y="18752"/>
                    <a:pt x="2013" y="18752"/>
                  </a:cubicBezTo>
                  <a:cubicBezTo>
                    <a:pt x="2013" y="18752"/>
                    <a:pt x="1858" y="18752"/>
                    <a:pt x="1858" y="18752"/>
                  </a:cubicBezTo>
                  <a:cubicBezTo>
                    <a:pt x="1781" y="18600"/>
                    <a:pt x="1781" y="18600"/>
                    <a:pt x="1781" y="18600"/>
                  </a:cubicBezTo>
                  <a:cubicBezTo>
                    <a:pt x="1548" y="18448"/>
                    <a:pt x="1548" y="18448"/>
                    <a:pt x="1548" y="18448"/>
                  </a:cubicBezTo>
                  <a:cubicBezTo>
                    <a:pt x="1548" y="18448"/>
                    <a:pt x="1548" y="18448"/>
                    <a:pt x="1548" y="18448"/>
                  </a:cubicBezTo>
                  <a:cubicBezTo>
                    <a:pt x="1394" y="18296"/>
                    <a:pt x="1394" y="18296"/>
                    <a:pt x="1394" y="18296"/>
                  </a:cubicBezTo>
                  <a:cubicBezTo>
                    <a:pt x="1316" y="18144"/>
                    <a:pt x="1316" y="18144"/>
                    <a:pt x="1316" y="18144"/>
                  </a:cubicBezTo>
                  <a:cubicBezTo>
                    <a:pt x="1316" y="17839"/>
                    <a:pt x="1316" y="17839"/>
                    <a:pt x="1316" y="17839"/>
                  </a:cubicBezTo>
                  <a:cubicBezTo>
                    <a:pt x="1161" y="17535"/>
                    <a:pt x="1161" y="17535"/>
                    <a:pt x="1161" y="17535"/>
                  </a:cubicBezTo>
                  <a:cubicBezTo>
                    <a:pt x="852" y="17383"/>
                    <a:pt x="852" y="17383"/>
                    <a:pt x="852" y="17383"/>
                  </a:cubicBezTo>
                  <a:cubicBezTo>
                    <a:pt x="619" y="17231"/>
                    <a:pt x="619" y="17231"/>
                    <a:pt x="619" y="17231"/>
                  </a:cubicBezTo>
                  <a:cubicBezTo>
                    <a:pt x="465" y="17231"/>
                    <a:pt x="465" y="17231"/>
                    <a:pt x="465" y="17231"/>
                  </a:cubicBezTo>
                  <a:cubicBezTo>
                    <a:pt x="465" y="17231"/>
                    <a:pt x="155" y="17231"/>
                    <a:pt x="155" y="17231"/>
                  </a:cubicBezTo>
                  <a:cubicBezTo>
                    <a:pt x="155" y="17231"/>
                    <a:pt x="77" y="17231"/>
                    <a:pt x="77" y="17231"/>
                  </a:cubicBezTo>
                  <a:cubicBezTo>
                    <a:pt x="77" y="17231"/>
                    <a:pt x="77" y="17231"/>
                    <a:pt x="77" y="17231"/>
                  </a:cubicBezTo>
                  <a:cubicBezTo>
                    <a:pt x="77" y="17231"/>
                    <a:pt x="77" y="17231"/>
                    <a:pt x="77" y="17231"/>
                  </a:cubicBezTo>
                  <a:cubicBezTo>
                    <a:pt x="77" y="17231"/>
                    <a:pt x="77" y="17231"/>
                    <a:pt x="77" y="17231"/>
                  </a:cubicBezTo>
                  <a:cubicBezTo>
                    <a:pt x="155" y="17231"/>
                    <a:pt x="155" y="17231"/>
                    <a:pt x="155" y="17231"/>
                  </a:cubicBezTo>
                  <a:cubicBezTo>
                    <a:pt x="155" y="17231"/>
                    <a:pt x="155" y="17079"/>
                    <a:pt x="155" y="17079"/>
                  </a:cubicBezTo>
                  <a:cubicBezTo>
                    <a:pt x="155" y="17079"/>
                    <a:pt x="155" y="17079"/>
                    <a:pt x="155" y="17079"/>
                  </a:cubicBezTo>
                  <a:cubicBezTo>
                    <a:pt x="155" y="17079"/>
                    <a:pt x="232" y="17231"/>
                    <a:pt x="232" y="17231"/>
                  </a:cubicBezTo>
                  <a:cubicBezTo>
                    <a:pt x="232" y="17231"/>
                    <a:pt x="232" y="17231"/>
                    <a:pt x="232" y="17231"/>
                  </a:cubicBezTo>
                  <a:cubicBezTo>
                    <a:pt x="232" y="17231"/>
                    <a:pt x="232" y="17231"/>
                    <a:pt x="232" y="17231"/>
                  </a:cubicBezTo>
                  <a:cubicBezTo>
                    <a:pt x="232" y="17231"/>
                    <a:pt x="310" y="17079"/>
                    <a:pt x="310" y="17079"/>
                  </a:cubicBezTo>
                  <a:cubicBezTo>
                    <a:pt x="310" y="17079"/>
                    <a:pt x="310" y="17079"/>
                    <a:pt x="310" y="17079"/>
                  </a:cubicBezTo>
                  <a:cubicBezTo>
                    <a:pt x="310" y="17079"/>
                    <a:pt x="310" y="17079"/>
                    <a:pt x="310" y="17079"/>
                  </a:cubicBezTo>
                  <a:cubicBezTo>
                    <a:pt x="310" y="17079"/>
                    <a:pt x="310" y="17079"/>
                    <a:pt x="310" y="17079"/>
                  </a:cubicBezTo>
                  <a:cubicBezTo>
                    <a:pt x="310" y="17079"/>
                    <a:pt x="310" y="17079"/>
                    <a:pt x="310" y="17079"/>
                  </a:cubicBezTo>
                  <a:cubicBezTo>
                    <a:pt x="310" y="17079"/>
                    <a:pt x="310" y="17079"/>
                    <a:pt x="310" y="17079"/>
                  </a:cubicBezTo>
                  <a:cubicBezTo>
                    <a:pt x="310" y="17079"/>
                    <a:pt x="310" y="17079"/>
                    <a:pt x="387" y="17079"/>
                  </a:cubicBezTo>
                  <a:cubicBezTo>
                    <a:pt x="387" y="17079"/>
                    <a:pt x="387" y="17079"/>
                    <a:pt x="387" y="16927"/>
                  </a:cubicBezTo>
                  <a:cubicBezTo>
                    <a:pt x="387" y="16927"/>
                    <a:pt x="387" y="16927"/>
                    <a:pt x="387" y="16927"/>
                  </a:cubicBezTo>
                  <a:cubicBezTo>
                    <a:pt x="387" y="16927"/>
                    <a:pt x="387" y="16927"/>
                    <a:pt x="310" y="16927"/>
                  </a:cubicBezTo>
                  <a:cubicBezTo>
                    <a:pt x="310" y="16927"/>
                    <a:pt x="310" y="16927"/>
                    <a:pt x="310" y="16927"/>
                  </a:cubicBezTo>
                  <a:cubicBezTo>
                    <a:pt x="310" y="16927"/>
                    <a:pt x="310" y="16927"/>
                    <a:pt x="310" y="16775"/>
                  </a:cubicBezTo>
                  <a:cubicBezTo>
                    <a:pt x="310" y="16775"/>
                    <a:pt x="387" y="16775"/>
                    <a:pt x="387" y="16775"/>
                  </a:cubicBezTo>
                  <a:cubicBezTo>
                    <a:pt x="387" y="16775"/>
                    <a:pt x="387" y="16775"/>
                    <a:pt x="310" y="16775"/>
                  </a:cubicBezTo>
                  <a:cubicBezTo>
                    <a:pt x="310" y="16775"/>
                    <a:pt x="310" y="16775"/>
                    <a:pt x="310" y="16775"/>
                  </a:cubicBezTo>
                  <a:cubicBezTo>
                    <a:pt x="310" y="16622"/>
                    <a:pt x="310" y="16775"/>
                    <a:pt x="310" y="16775"/>
                  </a:cubicBezTo>
                  <a:cubicBezTo>
                    <a:pt x="310" y="16622"/>
                    <a:pt x="310" y="16622"/>
                    <a:pt x="310" y="16622"/>
                  </a:cubicBezTo>
                  <a:cubicBezTo>
                    <a:pt x="310" y="16622"/>
                    <a:pt x="310" y="16622"/>
                    <a:pt x="310" y="16622"/>
                  </a:cubicBezTo>
                  <a:cubicBezTo>
                    <a:pt x="310" y="16622"/>
                    <a:pt x="310" y="16622"/>
                    <a:pt x="310" y="16622"/>
                  </a:cubicBezTo>
                  <a:cubicBezTo>
                    <a:pt x="310" y="16622"/>
                    <a:pt x="310" y="16622"/>
                    <a:pt x="310" y="16622"/>
                  </a:cubicBezTo>
                  <a:cubicBezTo>
                    <a:pt x="310" y="16622"/>
                    <a:pt x="310" y="16622"/>
                    <a:pt x="310" y="16622"/>
                  </a:cubicBezTo>
                  <a:cubicBezTo>
                    <a:pt x="232" y="16622"/>
                    <a:pt x="232" y="16622"/>
                    <a:pt x="232" y="16622"/>
                  </a:cubicBezTo>
                  <a:cubicBezTo>
                    <a:pt x="232" y="16622"/>
                    <a:pt x="232" y="16622"/>
                    <a:pt x="232" y="16622"/>
                  </a:cubicBezTo>
                  <a:cubicBezTo>
                    <a:pt x="232" y="16470"/>
                    <a:pt x="232" y="16470"/>
                    <a:pt x="232" y="16470"/>
                  </a:cubicBezTo>
                  <a:cubicBezTo>
                    <a:pt x="232" y="16470"/>
                    <a:pt x="232" y="16470"/>
                    <a:pt x="232" y="16470"/>
                  </a:cubicBezTo>
                  <a:cubicBezTo>
                    <a:pt x="232" y="16470"/>
                    <a:pt x="232" y="16470"/>
                    <a:pt x="232" y="16470"/>
                  </a:cubicBezTo>
                  <a:cubicBezTo>
                    <a:pt x="232" y="16470"/>
                    <a:pt x="232" y="16318"/>
                    <a:pt x="232" y="16318"/>
                  </a:cubicBezTo>
                  <a:cubicBezTo>
                    <a:pt x="232" y="16318"/>
                    <a:pt x="232" y="16318"/>
                    <a:pt x="232" y="16318"/>
                  </a:cubicBezTo>
                  <a:cubicBezTo>
                    <a:pt x="232" y="16318"/>
                    <a:pt x="232" y="16318"/>
                    <a:pt x="232" y="16318"/>
                  </a:cubicBezTo>
                  <a:cubicBezTo>
                    <a:pt x="232" y="16318"/>
                    <a:pt x="232" y="16318"/>
                    <a:pt x="232" y="16318"/>
                  </a:cubicBezTo>
                  <a:cubicBezTo>
                    <a:pt x="232" y="16318"/>
                    <a:pt x="232" y="16318"/>
                    <a:pt x="232" y="16318"/>
                  </a:cubicBezTo>
                  <a:cubicBezTo>
                    <a:pt x="232" y="16318"/>
                    <a:pt x="232" y="16318"/>
                    <a:pt x="232" y="16318"/>
                  </a:cubicBezTo>
                  <a:cubicBezTo>
                    <a:pt x="232" y="16166"/>
                    <a:pt x="232" y="16318"/>
                    <a:pt x="232" y="16166"/>
                  </a:cubicBezTo>
                  <a:cubicBezTo>
                    <a:pt x="232" y="16166"/>
                    <a:pt x="232" y="16166"/>
                    <a:pt x="232" y="16166"/>
                  </a:cubicBezTo>
                  <a:cubicBezTo>
                    <a:pt x="232" y="16166"/>
                    <a:pt x="232" y="16166"/>
                    <a:pt x="232" y="16166"/>
                  </a:cubicBezTo>
                  <a:cubicBezTo>
                    <a:pt x="232" y="16166"/>
                    <a:pt x="155" y="16166"/>
                    <a:pt x="155" y="16014"/>
                  </a:cubicBezTo>
                  <a:cubicBezTo>
                    <a:pt x="155" y="16014"/>
                    <a:pt x="155" y="16014"/>
                    <a:pt x="155" y="16014"/>
                  </a:cubicBezTo>
                  <a:cubicBezTo>
                    <a:pt x="155" y="16014"/>
                    <a:pt x="155" y="16014"/>
                    <a:pt x="155" y="16014"/>
                  </a:cubicBezTo>
                  <a:cubicBezTo>
                    <a:pt x="155" y="16014"/>
                    <a:pt x="155" y="16014"/>
                    <a:pt x="155" y="16014"/>
                  </a:cubicBezTo>
                  <a:cubicBezTo>
                    <a:pt x="155" y="16166"/>
                    <a:pt x="155" y="16166"/>
                    <a:pt x="155" y="16166"/>
                  </a:cubicBezTo>
                  <a:cubicBezTo>
                    <a:pt x="155" y="16318"/>
                    <a:pt x="155" y="16318"/>
                    <a:pt x="155" y="16318"/>
                  </a:cubicBezTo>
                  <a:cubicBezTo>
                    <a:pt x="77" y="16318"/>
                    <a:pt x="77" y="16318"/>
                    <a:pt x="77" y="16318"/>
                  </a:cubicBezTo>
                  <a:cubicBezTo>
                    <a:pt x="77" y="16166"/>
                    <a:pt x="77" y="16166"/>
                    <a:pt x="77" y="16166"/>
                  </a:cubicBezTo>
                  <a:cubicBezTo>
                    <a:pt x="155" y="15710"/>
                    <a:pt x="155" y="15710"/>
                    <a:pt x="155" y="15710"/>
                  </a:cubicBezTo>
                  <a:cubicBezTo>
                    <a:pt x="310" y="15405"/>
                    <a:pt x="310" y="15405"/>
                    <a:pt x="310" y="15405"/>
                  </a:cubicBezTo>
                  <a:cubicBezTo>
                    <a:pt x="310" y="15405"/>
                    <a:pt x="310" y="15101"/>
                    <a:pt x="387" y="15101"/>
                  </a:cubicBezTo>
                  <a:cubicBezTo>
                    <a:pt x="387" y="14949"/>
                    <a:pt x="387" y="14797"/>
                    <a:pt x="387" y="14797"/>
                  </a:cubicBezTo>
                  <a:cubicBezTo>
                    <a:pt x="542" y="14645"/>
                    <a:pt x="542" y="14645"/>
                    <a:pt x="542" y="14645"/>
                  </a:cubicBezTo>
                  <a:cubicBezTo>
                    <a:pt x="542" y="14645"/>
                    <a:pt x="619" y="14493"/>
                    <a:pt x="619" y="14493"/>
                  </a:cubicBezTo>
                  <a:cubicBezTo>
                    <a:pt x="619" y="14341"/>
                    <a:pt x="542" y="14189"/>
                    <a:pt x="542" y="14189"/>
                  </a:cubicBezTo>
                  <a:cubicBezTo>
                    <a:pt x="542" y="14036"/>
                    <a:pt x="619" y="13884"/>
                    <a:pt x="619" y="13884"/>
                  </a:cubicBezTo>
                  <a:cubicBezTo>
                    <a:pt x="542" y="13884"/>
                    <a:pt x="542"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619" y="13276"/>
                    <a:pt x="774" y="12972"/>
                    <a:pt x="774" y="12972"/>
                  </a:cubicBezTo>
                  <a:cubicBezTo>
                    <a:pt x="774" y="12972"/>
                    <a:pt x="929" y="12820"/>
                    <a:pt x="1084" y="12972"/>
                  </a:cubicBezTo>
                  <a:cubicBezTo>
                    <a:pt x="1161" y="13124"/>
                    <a:pt x="1316" y="13428"/>
                    <a:pt x="1394" y="13580"/>
                  </a:cubicBezTo>
                  <a:cubicBezTo>
                    <a:pt x="1394" y="13580"/>
                    <a:pt x="1471" y="13732"/>
                    <a:pt x="1548" y="13732"/>
                  </a:cubicBezTo>
                  <a:cubicBezTo>
                    <a:pt x="1626" y="13732"/>
                    <a:pt x="1703" y="13884"/>
                    <a:pt x="1703" y="13884"/>
                  </a:cubicBezTo>
                  <a:cubicBezTo>
                    <a:pt x="1703" y="14036"/>
                    <a:pt x="1781" y="13884"/>
                    <a:pt x="1781" y="14189"/>
                  </a:cubicBezTo>
                  <a:cubicBezTo>
                    <a:pt x="1703" y="14493"/>
                    <a:pt x="1703" y="14797"/>
                    <a:pt x="1781" y="14797"/>
                  </a:cubicBezTo>
                  <a:cubicBezTo>
                    <a:pt x="1935" y="14645"/>
                    <a:pt x="2013" y="14493"/>
                    <a:pt x="2013" y="14645"/>
                  </a:cubicBezTo>
                  <a:cubicBezTo>
                    <a:pt x="2013" y="14797"/>
                    <a:pt x="2090" y="14645"/>
                    <a:pt x="2013" y="14949"/>
                  </a:cubicBezTo>
                  <a:cubicBezTo>
                    <a:pt x="2013" y="15253"/>
                    <a:pt x="1935" y="15405"/>
                    <a:pt x="2013" y="15405"/>
                  </a:cubicBezTo>
                  <a:cubicBezTo>
                    <a:pt x="2168" y="15558"/>
                    <a:pt x="2323" y="15710"/>
                    <a:pt x="2400" y="15558"/>
                  </a:cubicBezTo>
                  <a:cubicBezTo>
                    <a:pt x="2477" y="15253"/>
                    <a:pt x="2400" y="15558"/>
                    <a:pt x="2477" y="15253"/>
                  </a:cubicBezTo>
                  <a:cubicBezTo>
                    <a:pt x="2555" y="14797"/>
                    <a:pt x="2555" y="14949"/>
                    <a:pt x="2632" y="14797"/>
                  </a:cubicBezTo>
                  <a:cubicBezTo>
                    <a:pt x="2632" y="14493"/>
                    <a:pt x="2632" y="14645"/>
                    <a:pt x="2710" y="14341"/>
                  </a:cubicBezTo>
                  <a:cubicBezTo>
                    <a:pt x="2710" y="14036"/>
                    <a:pt x="2787" y="14189"/>
                    <a:pt x="2710" y="14036"/>
                  </a:cubicBezTo>
                  <a:cubicBezTo>
                    <a:pt x="2710" y="14036"/>
                    <a:pt x="2710" y="13884"/>
                    <a:pt x="2632" y="13732"/>
                  </a:cubicBezTo>
                  <a:cubicBezTo>
                    <a:pt x="2632" y="13428"/>
                    <a:pt x="2477" y="13580"/>
                    <a:pt x="2710" y="13428"/>
                  </a:cubicBezTo>
                  <a:cubicBezTo>
                    <a:pt x="2865" y="13276"/>
                    <a:pt x="2942" y="13276"/>
                    <a:pt x="2942" y="13276"/>
                  </a:cubicBezTo>
                  <a:cubicBezTo>
                    <a:pt x="2942" y="13124"/>
                    <a:pt x="3174" y="13124"/>
                    <a:pt x="3174" y="13124"/>
                  </a:cubicBezTo>
                  <a:cubicBezTo>
                    <a:pt x="3174" y="13124"/>
                    <a:pt x="3406" y="13124"/>
                    <a:pt x="3406" y="13124"/>
                  </a:cubicBezTo>
                  <a:cubicBezTo>
                    <a:pt x="3484" y="13124"/>
                    <a:pt x="3794" y="13124"/>
                    <a:pt x="3794" y="13276"/>
                  </a:cubicBezTo>
                  <a:cubicBezTo>
                    <a:pt x="3794" y="13428"/>
                    <a:pt x="3948" y="13428"/>
                    <a:pt x="3948" y="13428"/>
                  </a:cubicBezTo>
                  <a:cubicBezTo>
                    <a:pt x="3948" y="13428"/>
                    <a:pt x="4103" y="13428"/>
                    <a:pt x="4181" y="13732"/>
                  </a:cubicBezTo>
                  <a:cubicBezTo>
                    <a:pt x="4181" y="14189"/>
                    <a:pt x="4181" y="14493"/>
                    <a:pt x="4258" y="14341"/>
                  </a:cubicBezTo>
                  <a:cubicBezTo>
                    <a:pt x="4335" y="14341"/>
                    <a:pt x="4490" y="14645"/>
                    <a:pt x="4490" y="14493"/>
                  </a:cubicBezTo>
                  <a:cubicBezTo>
                    <a:pt x="4568" y="14341"/>
                    <a:pt x="4645" y="14189"/>
                    <a:pt x="4723" y="14189"/>
                  </a:cubicBezTo>
                  <a:cubicBezTo>
                    <a:pt x="4800" y="14189"/>
                    <a:pt x="4645" y="14036"/>
                    <a:pt x="4877" y="14036"/>
                  </a:cubicBezTo>
                  <a:cubicBezTo>
                    <a:pt x="5187" y="14189"/>
                    <a:pt x="5110" y="14341"/>
                    <a:pt x="5265" y="14036"/>
                  </a:cubicBezTo>
                  <a:cubicBezTo>
                    <a:pt x="5342" y="13732"/>
                    <a:pt x="5342" y="13732"/>
                    <a:pt x="5497" y="13580"/>
                  </a:cubicBezTo>
                  <a:cubicBezTo>
                    <a:pt x="5574" y="13428"/>
                    <a:pt x="5574" y="13428"/>
                    <a:pt x="5652" y="13276"/>
                  </a:cubicBezTo>
                  <a:cubicBezTo>
                    <a:pt x="5652" y="13276"/>
                    <a:pt x="5961" y="13276"/>
                    <a:pt x="5961" y="13276"/>
                  </a:cubicBezTo>
                  <a:cubicBezTo>
                    <a:pt x="6039" y="13124"/>
                    <a:pt x="6116" y="12820"/>
                    <a:pt x="6194" y="12820"/>
                  </a:cubicBezTo>
                  <a:cubicBezTo>
                    <a:pt x="6194" y="12820"/>
                    <a:pt x="6503" y="12820"/>
                    <a:pt x="6581" y="12820"/>
                  </a:cubicBezTo>
                  <a:cubicBezTo>
                    <a:pt x="6658" y="12820"/>
                    <a:pt x="6813" y="12820"/>
                    <a:pt x="6890" y="12667"/>
                  </a:cubicBezTo>
                  <a:cubicBezTo>
                    <a:pt x="6890" y="12515"/>
                    <a:pt x="6890" y="12515"/>
                    <a:pt x="6968" y="12363"/>
                  </a:cubicBezTo>
                  <a:cubicBezTo>
                    <a:pt x="7123" y="12363"/>
                    <a:pt x="7200" y="12363"/>
                    <a:pt x="7355" y="12363"/>
                  </a:cubicBezTo>
                  <a:cubicBezTo>
                    <a:pt x="7510" y="12363"/>
                    <a:pt x="7510" y="12363"/>
                    <a:pt x="7587" y="12363"/>
                  </a:cubicBezTo>
                  <a:cubicBezTo>
                    <a:pt x="7665" y="12363"/>
                    <a:pt x="7742" y="12667"/>
                    <a:pt x="7742" y="12211"/>
                  </a:cubicBezTo>
                  <a:cubicBezTo>
                    <a:pt x="7665" y="11755"/>
                    <a:pt x="7587" y="11755"/>
                    <a:pt x="7665" y="11603"/>
                  </a:cubicBezTo>
                  <a:cubicBezTo>
                    <a:pt x="7819" y="11603"/>
                    <a:pt x="7974" y="11603"/>
                    <a:pt x="7974" y="11603"/>
                  </a:cubicBezTo>
                  <a:cubicBezTo>
                    <a:pt x="8052" y="11603"/>
                    <a:pt x="8361" y="11755"/>
                    <a:pt x="8439" y="11755"/>
                  </a:cubicBezTo>
                  <a:cubicBezTo>
                    <a:pt x="8439" y="11755"/>
                    <a:pt x="8516" y="12059"/>
                    <a:pt x="8516" y="12059"/>
                  </a:cubicBezTo>
                  <a:cubicBezTo>
                    <a:pt x="8594" y="12059"/>
                    <a:pt x="8671" y="12211"/>
                    <a:pt x="8748" y="12059"/>
                  </a:cubicBezTo>
                  <a:cubicBezTo>
                    <a:pt x="8748" y="12059"/>
                    <a:pt x="8826" y="11755"/>
                    <a:pt x="8903" y="11755"/>
                  </a:cubicBezTo>
                  <a:cubicBezTo>
                    <a:pt x="8981" y="11755"/>
                    <a:pt x="9213" y="11755"/>
                    <a:pt x="9213" y="11755"/>
                  </a:cubicBezTo>
                  <a:cubicBezTo>
                    <a:pt x="9213" y="11755"/>
                    <a:pt x="9523" y="11907"/>
                    <a:pt x="9523" y="11907"/>
                  </a:cubicBezTo>
                  <a:cubicBezTo>
                    <a:pt x="9523" y="11907"/>
                    <a:pt x="9445" y="12211"/>
                    <a:pt x="9445" y="12363"/>
                  </a:cubicBezTo>
                  <a:cubicBezTo>
                    <a:pt x="9445" y="12515"/>
                    <a:pt x="9445" y="12667"/>
                    <a:pt x="9523" y="12820"/>
                  </a:cubicBezTo>
                  <a:cubicBezTo>
                    <a:pt x="9523" y="12820"/>
                    <a:pt x="9677" y="13124"/>
                    <a:pt x="9677" y="13124"/>
                  </a:cubicBezTo>
                  <a:cubicBezTo>
                    <a:pt x="9677" y="13124"/>
                    <a:pt x="10065" y="13428"/>
                    <a:pt x="10065" y="13428"/>
                  </a:cubicBezTo>
                  <a:cubicBezTo>
                    <a:pt x="10065" y="13428"/>
                    <a:pt x="10142" y="13580"/>
                    <a:pt x="10142" y="12972"/>
                  </a:cubicBezTo>
                  <a:cubicBezTo>
                    <a:pt x="10142" y="12363"/>
                    <a:pt x="10142" y="12211"/>
                    <a:pt x="10142" y="12211"/>
                  </a:cubicBezTo>
                  <a:cubicBezTo>
                    <a:pt x="10142" y="11603"/>
                    <a:pt x="10142" y="11603"/>
                    <a:pt x="10142" y="11603"/>
                  </a:cubicBezTo>
                  <a:cubicBezTo>
                    <a:pt x="10142" y="11603"/>
                    <a:pt x="10142" y="11451"/>
                    <a:pt x="10065" y="11451"/>
                  </a:cubicBezTo>
                  <a:cubicBezTo>
                    <a:pt x="10065" y="11451"/>
                    <a:pt x="9987" y="11451"/>
                    <a:pt x="9987" y="11451"/>
                  </a:cubicBezTo>
                  <a:cubicBezTo>
                    <a:pt x="9987" y="11451"/>
                    <a:pt x="9677" y="11298"/>
                    <a:pt x="9600" y="11298"/>
                  </a:cubicBezTo>
                  <a:cubicBezTo>
                    <a:pt x="9523" y="11298"/>
                    <a:pt x="9600" y="10994"/>
                    <a:pt x="9600" y="10842"/>
                  </a:cubicBezTo>
                  <a:cubicBezTo>
                    <a:pt x="9600" y="10842"/>
                    <a:pt x="9755" y="10538"/>
                    <a:pt x="9755" y="10538"/>
                  </a:cubicBezTo>
                  <a:cubicBezTo>
                    <a:pt x="9755" y="10082"/>
                    <a:pt x="9755" y="10082"/>
                    <a:pt x="9755" y="10082"/>
                  </a:cubicBezTo>
                  <a:cubicBezTo>
                    <a:pt x="9523" y="9321"/>
                    <a:pt x="9523" y="9321"/>
                    <a:pt x="9523" y="9321"/>
                  </a:cubicBezTo>
                  <a:cubicBezTo>
                    <a:pt x="9290" y="8865"/>
                    <a:pt x="9290" y="8865"/>
                    <a:pt x="9290" y="8865"/>
                  </a:cubicBezTo>
                  <a:cubicBezTo>
                    <a:pt x="9135" y="8104"/>
                    <a:pt x="9135" y="8104"/>
                    <a:pt x="9135" y="8104"/>
                  </a:cubicBezTo>
                  <a:cubicBezTo>
                    <a:pt x="9135" y="8104"/>
                    <a:pt x="9135" y="8104"/>
                    <a:pt x="9135" y="8104"/>
                  </a:cubicBezTo>
                  <a:cubicBezTo>
                    <a:pt x="9135" y="8104"/>
                    <a:pt x="9135" y="8104"/>
                    <a:pt x="9135" y="8104"/>
                  </a:cubicBezTo>
                  <a:cubicBezTo>
                    <a:pt x="9368" y="7800"/>
                    <a:pt x="9368" y="7800"/>
                    <a:pt x="9368" y="7800"/>
                  </a:cubicBezTo>
                  <a:cubicBezTo>
                    <a:pt x="9523" y="7496"/>
                    <a:pt x="9755" y="7191"/>
                    <a:pt x="9755" y="7191"/>
                  </a:cubicBezTo>
                  <a:cubicBezTo>
                    <a:pt x="9755" y="7191"/>
                    <a:pt x="9755" y="7191"/>
                    <a:pt x="9832" y="7191"/>
                  </a:cubicBezTo>
                  <a:cubicBezTo>
                    <a:pt x="9987" y="6887"/>
                    <a:pt x="9987" y="6887"/>
                    <a:pt x="9987" y="6887"/>
                  </a:cubicBezTo>
                  <a:cubicBezTo>
                    <a:pt x="9987" y="6887"/>
                    <a:pt x="10374" y="6583"/>
                    <a:pt x="10374" y="6583"/>
                  </a:cubicBezTo>
                  <a:cubicBezTo>
                    <a:pt x="10374" y="6583"/>
                    <a:pt x="10452" y="6431"/>
                    <a:pt x="10452" y="6431"/>
                  </a:cubicBezTo>
                  <a:cubicBezTo>
                    <a:pt x="10529" y="6431"/>
                    <a:pt x="10529" y="6431"/>
                    <a:pt x="10529" y="6431"/>
                  </a:cubicBezTo>
                  <a:cubicBezTo>
                    <a:pt x="10916" y="5670"/>
                    <a:pt x="10916" y="5670"/>
                    <a:pt x="10916" y="5670"/>
                  </a:cubicBezTo>
                  <a:cubicBezTo>
                    <a:pt x="10916" y="4910"/>
                    <a:pt x="10916" y="4910"/>
                    <a:pt x="10916" y="4910"/>
                  </a:cubicBezTo>
                  <a:cubicBezTo>
                    <a:pt x="10994" y="4605"/>
                    <a:pt x="10994" y="4605"/>
                    <a:pt x="10994" y="4605"/>
                  </a:cubicBezTo>
                  <a:cubicBezTo>
                    <a:pt x="10994" y="4453"/>
                    <a:pt x="10994" y="4149"/>
                    <a:pt x="10994" y="4149"/>
                  </a:cubicBezTo>
                  <a:cubicBezTo>
                    <a:pt x="11458" y="4149"/>
                    <a:pt x="11458" y="4149"/>
                    <a:pt x="11458" y="4149"/>
                  </a:cubicBezTo>
                  <a:cubicBezTo>
                    <a:pt x="11458" y="4149"/>
                    <a:pt x="11535" y="4301"/>
                    <a:pt x="11613" y="4453"/>
                  </a:cubicBezTo>
                  <a:cubicBezTo>
                    <a:pt x="11690" y="4453"/>
                    <a:pt x="11768" y="4301"/>
                    <a:pt x="11768" y="4301"/>
                  </a:cubicBezTo>
                  <a:cubicBezTo>
                    <a:pt x="11845" y="4301"/>
                    <a:pt x="11923" y="3997"/>
                    <a:pt x="11923" y="3997"/>
                  </a:cubicBezTo>
                  <a:cubicBezTo>
                    <a:pt x="11923" y="3541"/>
                    <a:pt x="11923" y="3541"/>
                    <a:pt x="11923" y="3541"/>
                  </a:cubicBezTo>
                  <a:cubicBezTo>
                    <a:pt x="11845" y="2780"/>
                    <a:pt x="11845" y="2780"/>
                    <a:pt x="11845" y="2780"/>
                  </a:cubicBezTo>
                  <a:cubicBezTo>
                    <a:pt x="11845" y="2324"/>
                    <a:pt x="11845" y="2324"/>
                    <a:pt x="11845" y="2324"/>
                  </a:cubicBezTo>
                  <a:cubicBezTo>
                    <a:pt x="11845" y="2324"/>
                    <a:pt x="11845" y="2324"/>
                    <a:pt x="11845" y="2324"/>
                  </a:cubicBezTo>
                  <a:cubicBezTo>
                    <a:pt x="11923" y="2324"/>
                    <a:pt x="12232" y="2780"/>
                    <a:pt x="12387" y="2932"/>
                  </a:cubicBezTo>
                  <a:cubicBezTo>
                    <a:pt x="12465" y="3084"/>
                    <a:pt x="12697" y="3541"/>
                    <a:pt x="12697" y="3541"/>
                  </a:cubicBezTo>
                  <a:cubicBezTo>
                    <a:pt x="12697" y="3541"/>
                    <a:pt x="13084" y="3693"/>
                    <a:pt x="13161" y="3693"/>
                  </a:cubicBezTo>
                  <a:cubicBezTo>
                    <a:pt x="13161" y="3693"/>
                    <a:pt x="13548" y="3845"/>
                    <a:pt x="13548" y="3845"/>
                  </a:cubicBezTo>
                  <a:cubicBezTo>
                    <a:pt x="13626" y="3541"/>
                    <a:pt x="13626" y="3541"/>
                    <a:pt x="13626" y="3541"/>
                  </a:cubicBezTo>
                  <a:cubicBezTo>
                    <a:pt x="13858" y="3236"/>
                    <a:pt x="13858" y="3236"/>
                    <a:pt x="13858" y="3236"/>
                  </a:cubicBezTo>
                  <a:cubicBezTo>
                    <a:pt x="14168" y="3693"/>
                    <a:pt x="14168" y="3693"/>
                    <a:pt x="14168" y="3693"/>
                  </a:cubicBezTo>
                  <a:cubicBezTo>
                    <a:pt x="14477" y="3541"/>
                    <a:pt x="14477" y="3541"/>
                    <a:pt x="14477" y="3541"/>
                  </a:cubicBezTo>
                  <a:close/>
                  <a:moveTo>
                    <a:pt x="387" y="13732"/>
                  </a:moveTo>
                  <a:cubicBezTo>
                    <a:pt x="387" y="13732"/>
                    <a:pt x="387" y="13732"/>
                    <a:pt x="387" y="13732"/>
                  </a:cubicBezTo>
                  <a:cubicBezTo>
                    <a:pt x="387" y="13732"/>
                    <a:pt x="387" y="13732"/>
                    <a:pt x="387" y="13732"/>
                  </a:cubicBezTo>
                  <a:cubicBezTo>
                    <a:pt x="387" y="13732"/>
                    <a:pt x="387" y="13732"/>
                    <a:pt x="387" y="13732"/>
                  </a:cubicBezTo>
                  <a:close/>
                  <a:moveTo>
                    <a:pt x="77" y="17231"/>
                  </a:moveTo>
                  <a:cubicBezTo>
                    <a:pt x="77" y="17231"/>
                    <a:pt x="77" y="17231"/>
                    <a:pt x="77" y="17231"/>
                  </a:cubicBezTo>
                  <a:cubicBezTo>
                    <a:pt x="77" y="17231"/>
                    <a:pt x="77" y="17231"/>
                    <a:pt x="77" y="17231"/>
                  </a:cubicBezTo>
                  <a:cubicBezTo>
                    <a:pt x="77" y="17231"/>
                    <a:pt x="77" y="17231"/>
                    <a:pt x="77" y="17231"/>
                  </a:cubicBezTo>
                  <a:cubicBezTo>
                    <a:pt x="77" y="17231"/>
                    <a:pt x="77" y="17231"/>
                    <a:pt x="77" y="17231"/>
                  </a:cubicBezTo>
                  <a:close/>
                  <a:moveTo>
                    <a:pt x="77" y="17231"/>
                  </a:moveTo>
                  <a:cubicBezTo>
                    <a:pt x="77" y="17231"/>
                    <a:pt x="77" y="17231"/>
                    <a:pt x="77" y="17231"/>
                  </a:cubicBezTo>
                  <a:cubicBezTo>
                    <a:pt x="77" y="17231"/>
                    <a:pt x="77" y="17079"/>
                    <a:pt x="77" y="17079"/>
                  </a:cubicBezTo>
                  <a:cubicBezTo>
                    <a:pt x="77" y="17079"/>
                    <a:pt x="77" y="17079"/>
                    <a:pt x="77" y="17079"/>
                  </a:cubicBezTo>
                  <a:cubicBezTo>
                    <a:pt x="77" y="17079"/>
                    <a:pt x="155" y="17079"/>
                    <a:pt x="155" y="16927"/>
                  </a:cubicBezTo>
                  <a:cubicBezTo>
                    <a:pt x="155" y="16927"/>
                    <a:pt x="155" y="16927"/>
                    <a:pt x="155" y="16927"/>
                  </a:cubicBezTo>
                  <a:cubicBezTo>
                    <a:pt x="155" y="16927"/>
                    <a:pt x="155" y="16927"/>
                    <a:pt x="155" y="16927"/>
                  </a:cubicBezTo>
                  <a:cubicBezTo>
                    <a:pt x="155" y="16927"/>
                    <a:pt x="155" y="16927"/>
                    <a:pt x="155" y="16927"/>
                  </a:cubicBezTo>
                  <a:cubicBezTo>
                    <a:pt x="77" y="16927"/>
                    <a:pt x="77" y="16927"/>
                    <a:pt x="77" y="16927"/>
                  </a:cubicBezTo>
                  <a:cubicBezTo>
                    <a:pt x="0" y="17231"/>
                    <a:pt x="0" y="17231"/>
                    <a:pt x="0" y="17231"/>
                  </a:cubicBezTo>
                  <a:lnTo>
                    <a:pt x="77" y="1723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8" name="Shape 2251">
              <a:extLst>
                <a:ext uri="{FF2B5EF4-FFF2-40B4-BE49-F238E27FC236}">
                  <a16:creationId xmlns:a16="http://schemas.microsoft.com/office/drawing/2014/main" id="{D123E89B-B8F4-1F86-3147-14016537D677}"/>
                </a:ext>
              </a:extLst>
            </p:cNvPr>
            <p:cNvSpPr/>
            <p:nvPr/>
          </p:nvSpPr>
          <p:spPr>
            <a:xfrm>
              <a:off x="1499238" y="4970688"/>
              <a:ext cx="2143476" cy="2152874"/>
            </a:xfrm>
            <a:custGeom>
              <a:avLst/>
              <a:gdLst/>
              <a:ahLst/>
              <a:cxnLst>
                <a:cxn ang="0">
                  <a:pos x="wd2" y="hd2"/>
                </a:cxn>
                <a:cxn ang="5400000">
                  <a:pos x="wd2" y="hd2"/>
                </a:cxn>
                <a:cxn ang="10800000">
                  <a:pos x="wd2" y="hd2"/>
                </a:cxn>
                <a:cxn ang="16200000">
                  <a:pos x="wd2" y="hd2"/>
                </a:cxn>
              </a:cxnLst>
              <a:rect l="0" t="0" r="r" b="b"/>
              <a:pathLst>
                <a:path w="21600" h="21600" extrusionOk="0">
                  <a:moveTo>
                    <a:pt x="10758" y="18910"/>
                  </a:moveTo>
                  <a:cubicBezTo>
                    <a:pt x="10842" y="18790"/>
                    <a:pt x="10842" y="18790"/>
                    <a:pt x="10842" y="18790"/>
                  </a:cubicBezTo>
                  <a:cubicBezTo>
                    <a:pt x="10842" y="18790"/>
                    <a:pt x="10842" y="18549"/>
                    <a:pt x="10758" y="18509"/>
                  </a:cubicBezTo>
                  <a:cubicBezTo>
                    <a:pt x="10717" y="18468"/>
                    <a:pt x="10675" y="18428"/>
                    <a:pt x="10675" y="18428"/>
                  </a:cubicBezTo>
                  <a:cubicBezTo>
                    <a:pt x="10675" y="18428"/>
                    <a:pt x="10675" y="18268"/>
                    <a:pt x="10675" y="18187"/>
                  </a:cubicBezTo>
                  <a:cubicBezTo>
                    <a:pt x="10675" y="18147"/>
                    <a:pt x="10675" y="17987"/>
                    <a:pt x="10675" y="17946"/>
                  </a:cubicBezTo>
                  <a:cubicBezTo>
                    <a:pt x="10675" y="17906"/>
                    <a:pt x="10717" y="17746"/>
                    <a:pt x="10717" y="17706"/>
                  </a:cubicBezTo>
                  <a:cubicBezTo>
                    <a:pt x="10717" y="17706"/>
                    <a:pt x="10675" y="17706"/>
                    <a:pt x="10758" y="17625"/>
                  </a:cubicBezTo>
                  <a:cubicBezTo>
                    <a:pt x="10842" y="17505"/>
                    <a:pt x="10842" y="17425"/>
                    <a:pt x="10842" y="17425"/>
                  </a:cubicBezTo>
                  <a:cubicBezTo>
                    <a:pt x="11008" y="17224"/>
                    <a:pt x="11008" y="17224"/>
                    <a:pt x="11008" y="17224"/>
                  </a:cubicBezTo>
                  <a:cubicBezTo>
                    <a:pt x="11008" y="17224"/>
                    <a:pt x="11132" y="17023"/>
                    <a:pt x="11174" y="17023"/>
                  </a:cubicBezTo>
                  <a:cubicBezTo>
                    <a:pt x="11215" y="17063"/>
                    <a:pt x="11382" y="17023"/>
                    <a:pt x="11423" y="17023"/>
                  </a:cubicBezTo>
                  <a:cubicBezTo>
                    <a:pt x="11465" y="17023"/>
                    <a:pt x="11631" y="17184"/>
                    <a:pt x="11714" y="17023"/>
                  </a:cubicBezTo>
                  <a:cubicBezTo>
                    <a:pt x="11797" y="16903"/>
                    <a:pt x="11838" y="16822"/>
                    <a:pt x="11838" y="16782"/>
                  </a:cubicBezTo>
                  <a:cubicBezTo>
                    <a:pt x="11880" y="16742"/>
                    <a:pt x="11922" y="16622"/>
                    <a:pt x="12046" y="16622"/>
                  </a:cubicBezTo>
                  <a:cubicBezTo>
                    <a:pt x="12171" y="16581"/>
                    <a:pt x="12462" y="16581"/>
                    <a:pt x="12462" y="16581"/>
                  </a:cubicBezTo>
                  <a:cubicBezTo>
                    <a:pt x="12586" y="16622"/>
                    <a:pt x="12586" y="16622"/>
                    <a:pt x="12586" y="16622"/>
                  </a:cubicBezTo>
                  <a:cubicBezTo>
                    <a:pt x="12918" y="16742"/>
                    <a:pt x="12918" y="16742"/>
                    <a:pt x="12918" y="16742"/>
                  </a:cubicBezTo>
                  <a:cubicBezTo>
                    <a:pt x="12918" y="16742"/>
                    <a:pt x="13043" y="16742"/>
                    <a:pt x="13126" y="16742"/>
                  </a:cubicBezTo>
                  <a:cubicBezTo>
                    <a:pt x="13168" y="16742"/>
                    <a:pt x="13209" y="16742"/>
                    <a:pt x="13209" y="16742"/>
                  </a:cubicBezTo>
                  <a:cubicBezTo>
                    <a:pt x="13334" y="16903"/>
                    <a:pt x="13334" y="16903"/>
                    <a:pt x="13334" y="16903"/>
                  </a:cubicBezTo>
                  <a:cubicBezTo>
                    <a:pt x="13334" y="16903"/>
                    <a:pt x="13500" y="16983"/>
                    <a:pt x="13542" y="16983"/>
                  </a:cubicBezTo>
                  <a:cubicBezTo>
                    <a:pt x="13583" y="16983"/>
                    <a:pt x="13915" y="16903"/>
                    <a:pt x="13915" y="16903"/>
                  </a:cubicBezTo>
                  <a:cubicBezTo>
                    <a:pt x="13915" y="16903"/>
                    <a:pt x="14040" y="16862"/>
                    <a:pt x="14082" y="16903"/>
                  </a:cubicBezTo>
                  <a:cubicBezTo>
                    <a:pt x="14123" y="16943"/>
                    <a:pt x="14248" y="16983"/>
                    <a:pt x="14289" y="17023"/>
                  </a:cubicBezTo>
                  <a:cubicBezTo>
                    <a:pt x="14289" y="17063"/>
                    <a:pt x="14622" y="17224"/>
                    <a:pt x="14705" y="17264"/>
                  </a:cubicBezTo>
                  <a:cubicBezTo>
                    <a:pt x="14746" y="17304"/>
                    <a:pt x="14912" y="17264"/>
                    <a:pt x="14912" y="17264"/>
                  </a:cubicBezTo>
                  <a:cubicBezTo>
                    <a:pt x="14995" y="17465"/>
                    <a:pt x="14995" y="17465"/>
                    <a:pt x="14995" y="17465"/>
                  </a:cubicBezTo>
                  <a:cubicBezTo>
                    <a:pt x="15411" y="17585"/>
                    <a:pt x="15411" y="17585"/>
                    <a:pt x="15411" y="17585"/>
                  </a:cubicBezTo>
                  <a:cubicBezTo>
                    <a:pt x="15577" y="17585"/>
                    <a:pt x="15577" y="17585"/>
                    <a:pt x="15577" y="17585"/>
                  </a:cubicBezTo>
                  <a:cubicBezTo>
                    <a:pt x="16158" y="17786"/>
                    <a:pt x="16158" y="17786"/>
                    <a:pt x="16158" y="17786"/>
                  </a:cubicBezTo>
                  <a:cubicBezTo>
                    <a:pt x="16532" y="17505"/>
                    <a:pt x="16532" y="17505"/>
                    <a:pt x="16532" y="17505"/>
                  </a:cubicBezTo>
                  <a:cubicBezTo>
                    <a:pt x="16532" y="17505"/>
                    <a:pt x="16615" y="17545"/>
                    <a:pt x="16657" y="17545"/>
                  </a:cubicBezTo>
                  <a:cubicBezTo>
                    <a:pt x="16698" y="17545"/>
                    <a:pt x="16782" y="17224"/>
                    <a:pt x="16782" y="17224"/>
                  </a:cubicBezTo>
                  <a:cubicBezTo>
                    <a:pt x="16782" y="17224"/>
                    <a:pt x="16782" y="17143"/>
                    <a:pt x="16823" y="17143"/>
                  </a:cubicBezTo>
                  <a:cubicBezTo>
                    <a:pt x="16906" y="17143"/>
                    <a:pt x="17197" y="17023"/>
                    <a:pt x="17197" y="17023"/>
                  </a:cubicBezTo>
                  <a:cubicBezTo>
                    <a:pt x="17197" y="16983"/>
                    <a:pt x="17155" y="16822"/>
                    <a:pt x="17280" y="16782"/>
                  </a:cubicBezTo>
                  <a:cubicBezTo>
                    <a:pt x="17363" y="16742"/>
                    <a:pt x="17529" y="16622"/>
                    <a:pt x="17529" y="16622"/>
                  </a:cubicBezTo>
                  <a:cubicBezTo>
                    <a:pt x="17571" y="16581"/>
                    <a:pt x="17488" y="16501"/>
                    <a:pt x="17612" y="16461"/>
                  </a:cubicBezTo>
                  <a:cubicBezTo>
                    <a:pt x="17695" y="16461"/>
                    <a:pt x="17820" y="16421"/>
                    <a:pt x="17903" y="16421"/>
                  </a:cubicBezTo>
                  <a:cubicBezTo>
                    <a:pt x="17903" y="16421"/>
                    <a:pt x="17903" y="16421"/>
                    <a:pt x="17903" y="16421"/>
                  </a:cubicBezTo>
                  <a:cubicBezTo>
                    <a:pt x="17903" y="16381"/>
                    <a:pt x="17903" y="16381"/>
                    <a:pt x="17903" y="16381"/>
                  </a:cubicBezTo>
                  <a:cubicBezTo>
                    <a:pt x="17903" y="16381"/>
                    <a:pt x="17903" y="16381"/>
                    <a:pt x="17903" y="16381"/>
                  </a:cubicBezTo>
                  <a:cubicBezTo>
                    <a:pt x="17945" y="16381"/>
                    <a:pt x="17945" y="16381"/>
                    <a:pt x="17945" y="16381"/>
                  </a:cubicBezTo>
                  <a:cubicBezTo>
                    <a:pt x="17945" y="16381"/>
                    <a:pt x="17945" y="16381"/>
                    <a:pt x="17945" y="16381"/>
                  </a:cubicBezTo>
                  <a:cubicBezTo>
                    <a:pt x="17945" y="16381"/>
                    <a:pt x="17945" y="16381"/>
                    <a:pt x="17945" y="16381"/>
                  </a:cubicBezTo>
                  <a:cubicBezTo>
                    <a:pt x="17945" y="16381"/>
                    <a:pt x="17945" y="16381"/>
                    <a:pt x="17945" y="16381"/>
                  </a:cubicBezTo>
                  <a:cubicBezTo>
                    <a:pt x="17945" y="16381"/>
                    <a:pt x="17945" y="16381"/>
                    <a:pt x="17945" y="16381"/>
                  </a:cubicBezTo>
                  <a:cubicBezTo>
                    <a:pt x="17945" y="16381"/>
                    <a:pt x="17945" y="16381"/>
                    <a:pt x="17945" y="16381"/>
                  </a:cubicBezTo>
                  <a:cubicBezTo>
                    <a:pt x="17986" y="16341"/>
                    <a:pt x="17986" y="16341"/>
                    <a:pt x="17986" y="16341"/>
                  </a:cubicBezTo>
                  <a:cubicBezTo>
                    <a:pt x="17986" y="16341"/>
                    <a:pt x="17986" y="16341"/>
                    <a:pt x="17986" y="16341"/>
                  </a:cubicBezTo>
                  <a:cubicBezTo>
                    <a:pt x="17986" y="16341"/>
                    <a:pt x="17986" y="16341"/>
                    <a:pt x="17986"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69" y="16341"/>
                    <a:pt x="18069" y="16341"/>
                    <a:pt x="18069" y="16341"/>
                  </a:cubicBezTo>
                  <a:cubicBezTo>
                    <a:pt x="18069" y="16341"/>
                    <a:pt x="18069" y="16341"/>
                    <a:pt x="18069" y="16341"/>
                  </a:cubicBezTo>
                  <a:cubicBezTo>
                    <a:pt x="18069" y="16341"/>
                    <a:pt x="18069" y="16341"/>
                    <a:pt x="18069" y="16341"/>
                  </a:cubicBezTo>
                  <a:cubicBezTo>
                    <a:pt x="18069" y="16341"/>
                    <a:pt x="18069" y="16341"/>
                    <a:pt x="18069" y="16341"/>
                  </a:cubicBezTo>
                  <a:cubicBezTo>
                    <a:pt x="18069" y="16300"/>
                    <a:pt x="18069" y="16300"/>
                    <a:pt x="18069" y="16300"/>
                  </a:cubicBezTo>
                  <a:cubicBezTo>
                    <a:pt x="18069" y="16300"/>
                    <a:pt x="18069" y="16300"/>
                    <a:pt x="18069" y="16300"/>
                  </a:cubicBezTo>
                  <a:cubicBezTo>
                    <a:pt x="18069" y="16300"/>
                    <a:pt x="18069" y="16300"/>
                    <a:pt x="18069" y="16300"/>
                  </a:cubicBezTo>
                  <a:cubicBezTo>
                    <a:pt x="18069" y="16300"/>
                    <a:pt x="18069" y="16300"/>
                    <a:pt x="18069" y="16300"/>
                  </a:cubicBezTo>
                  <a:cubicBezTo>
                    <a:pt x="18069" y="16300"/>
                    <a:pt x="18069" y="16300"/>
                    <a:pt x="18069" y="16300"/>
                  </a:cubicBezTo>
                  <a:cubicBezTo>
                    <a:pt x="18069" y="16300"/>
                    <a:pt x="18069" y="16300"/>
                    <a:pt x="18069"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52" y="16260"/>
                    <a:pt x="18194" y="16260"/>
                    <a:pt x="18194" y="16260"/>
                  </a:cubicBezTo>
                  <a:cubicBezTo>
                    <a:pt x="18443" y="16059"/>
                    <a:pt x="18443" y="16059"/>
                    <a:pt x="18443" y="16059"/>
                  </a:cubicBezTo>
                  <a:cubicBezTo>
                    <a:pt x="18568" y="15618"/>
                    <a:pt x="18568" y="15618"/>
                    <a:pt x="18568" y="15618"/>
                  </a:cubicBezTo>
                  <a:cubicBezTo>
                    <a:pt x="18402" y="15497"/>
                    <a:pt x="18402" y="15497"/>
                    <a:pt x="18402" y="15497"/>
                  </a:cubicBezTo>
                  <a:cubicBezTo>
                    <a:pt x="18028" y="15497"/>
                    <a:pt x="18028" y="15497"/>
                    <a:pt x="18028" y="15497"/>
                  </a:cubicBezTo>
                  <a:cubicBezTo>
                    <a:pt x="17612" y="15337"/>
                    <a:pt x="17612" y="15337"/>
                    <a:pt x="17612" y="15337"/>
                  </a:cubicBezTo>
                  <a:cubicBezTo>
                    <a:pt x="17405" y="15016"/>
                    <a:pt x="17405" y="15016"/>
                    <a:pt x="17405" y="15016"/>
                  </a:cubicBezTo>
                  <a:cubicBezTo>
                    <a:pt x="17280" y="15016"/>
                    <a:pt x="17280" y="15016"/>
                    <a:pt x="17280" y="15016"/>
                  </a:cubicBezTo>
                  <a:cubicBezTo>
                    <a:pt x="17238" y="14735"/>
                    <a:pt x="17155" y="14855"/>
                    <a:pt x="17322" y="14654"/>
                  </a:cubicBezTo>
                  <a:cubicBezTo>
                    <a:pt x="17488" y="14413"/>
                    <a:pt x="17488" y="14413"/>
                    <a:pt x="17488" y="14413"/>
                  </a:cubicBezTo>
                  <a:cubicBezTo>
                    <a:pt x="17446" y="14012"/>
                    <a:pt x="17446" y="14012"/>
                    <a:pt x="17446" y="14012"/>
                  </a:cubicBezTo>
                  <a:cubicBezTo>
                    <a:pt x="17322" y="13891"/>
                    <a:pt x="17322" y="13891"/>
                    <a:pt x="17322" y="13891"/>
                  </a:cubicBezTo>
                  <a:cubicBezTo>
                    <a:pt x="17114" y="13771"/>
                    <a:pt x="17114" y="13771"/>
                    <a:pt x="17114" y="13771"/>
                  </a:cubicBezTo>
                  <a:cubicBezTo>
                    <a:pt x="17114" y="13771"/>
                    <a:pt x="16989" y="13610"/>
                    <a:pt x="16948" y="13570"/>
                  </a:cubicBezTo>
                  <a:cubicBezTo>
                    <a:pt x="16948" y="13570"/>
                    <a:pt x="16948" y="13490"/>
                    <a:pt x="16948" y="13490"/>
                  </a:cubicBezTo>
                  <a:cubicBezTo>
                    <a:pt x="16906" y="13450"/>
                    <a:pt x="17072" y="13450"/>
                    <a:pt x="17072" y="13450"/>
                  </a:cubicBezTo>
                  <a:cubicBezTo>
                    <a:pt x="17114" y="13450"/>
                    <a:pt x="17238" y="13410"/>
                    <a:pt x="17280" y="13410"/>
                  </a:cubicBezTo>
                  <a:cubicBezTo>
                    <a:pt x="17322" y="13410"/>
                    <a:pt x="17488" y="13249"/>
                    <a:pt x="17488" y="13249"/>
                  </a:cubicBezTo>
                  <a:cubicBezTo>
                    <a:pt x="17488" y="13249"/>
                    <a:pt x="17571" y="13088"/>
                    <a:pt x="17654" y="13048"/>
                  </a:cubicBezTo>
                  <a:cubicBezTo>
                    <a:pt x="17695" y="13008"/>
                    <a:pt x="17778" y="12687"/>
                    <a:pt x="17778" y="12647"/>
                  </a:cubicBezTo>
                  <a:cubicBezTo>
                    <a:pt x="17778" y="12647"/>
                    <a:pt x="17695" y="12446"/>
                    <a:pt x="17654" y="12446"/>
                  </a:cubicBezTo>
                  <a:cubicBezTo>
                    <a:pt x="17280" y="12286"/>
                    <a:pt x="17363" y="12205"/>
                    <a:pt x="17197" y="12125"/>
                  </a:cubicBezTo>
                  <a:cubicBezTo>
                    <a:pt x="17197" y="11924"/>
                    <a:pt x="17197" y="11924"/>
                    <a:pt x="17197" y="11924"/>
                  </a:cubicBezTo>
                  <a:cubicBezTo>
                    <a:pt x="17405" y="11764"/>
                    <a:pt x="17405" y="11764"/>
                    <a:pt x="17405" y="11764"/>
                  </a:cubicBezTo>
                  <a:cubicBezTo>
                    <a:pt x="17446" y="11723"/>
                    <a:pt x="17529" y="11683"/>
                    <a:pt x="17571" y="11683"/>
                  </a:cubicBezTo>
                  <a:cubicBezTo>
                    <a:pt x="17612" y="11603"/>
                    <a:pt x="17612" y="11603"/>
                    <a:pt x="17612" y="11603"/>
                  </a:cubicBezTo>
                  <a:cubicBezTo>
                    <a:pt x="17612" y="11603"/>
                    <a:pt x="17529" y="11523"/>
                    <a:pt x="17529" y="11523"/>
                  </a:cubicBezTo>
                  <a:cubicBezTo>
                    <a:pt x="17529" y="11523"/>
                    <a:pt x="17488" y="11483"/>
                    <a:pt x="17446" y="11483"/>
                  </a:cubicBezTo>
                  <a:cubicBezTo>
                    <a:pt x="17446" y="11483"/>
                    <a:pt x="17405" y="11442"/>
                    <a:pt x="17405" y="11442"/>
                  </a:cubicBezTo>
                  <a:cubicBezTo>
                    <a:pt x="17405" y="11442"/>
                    <a:pt x="17363" y="11402"/>
                    <a:pt x="17322" y="11402"/>
                  </a:cubicBezTo>
                  <a:cubicBezTo>
                    <a:pt x="17280" y="11402"/>
                    <a:pt x="17322" y="11322"/>
                    <a:pt x="17363" y="11322"/>
                  </a:cubicBezTo>
                  <a:cubicBezTo>
                    <a:pt x="17363" y="11282"/>
                    <a:pt x="17363" y="11201"/>
                    <a:pt x="17363" y="11201"/>
                  </a:cubicBezTo>
                  <a:cubicBezTo>
                    <a:pt x="17363" y="11201"/>
                    <a:pt x="17238" y="11201"/>
                    <a:pt x="17197" y="11201"/>
                  </a:cubicBezTo>
                  <a:cubicBezTo>
                    <a:pt x="17197" y="11161"/>
                    <a:pt x="17197" y="11161"/>
                    <a:pt x="17197" y="11161"/>
                  </a:cubicBezTo>
                  <a:cubicBezTo>
                    <a:pt x="17197" y="11161"/>
                    <a:pt x="17238" y="11041"/>
                    <a:pt x="17280" y="11041"/>
                  </a:cubicBezTo>
                  <a:cubicBezTo>
                    <a:pt x="17280" y="11001"/>
                    <a:pt x="17280" y="10961"/>
                    <a:pt x="17280" y="10961"/>
                  </a:cubicBezTo>
                  <a:cubicBezTo>
                    <a:pt x="17280" y="10961"/>
                    <a:pt x="17280" y="10920"/>
                    <a:pt x="17280" y="10840"/>
                  </a:cubicBezTo>
                  <a:cubicBezTo>
                    <a:pt x="17322" y="10800"/>
                    <a:pt x="17280" y="10800"/>
                    <a:pt x="17280" y="10800"/>
                  </a:cubicBezTo>
                  <a:cubicBezTo>
                    <a:pt x="17280" y="10800"/>
                    <a:pt x="17238" y="10760"/>
                    <a:pt x="17197" y="10760"/>
                  </a:cubicBezTo>
                  <a:cubicBezTo>
                    <a:pt x="17197" y="10760"/>
                    <a:pt x="17197" y="10760"/>
                    <a:pt x="17238" y="10720"/>
                  </a:cubicBezTo>
                  <a:cubicBezTo>
                    <a:pt x="17280" y="10639"/>
                    <a:pt x="17280" y="10680"/>
                    <a:pt x="17280" y="10680"/>
                  </a:cubicBezTo>
                  <a:cubicBezTo>
                    <a:pt x="17280" y="10599"/>
                    <a:pt x="17280" y="10599"/>
                    <a:pt x="17280" y="10599"/>
                  </a:cubicBezTo>
                  <a:cubicBezTo>
                    <a:pt x="17197" y="10559"/>
                    <a:pt x="17197" y="10559"/>
                    <a:pt x="17197" y="10559"/>
                  </a:cubicBezTo>
                  <a:cubicBezTo>
                    <a:pt x="17072" y="10479"/>
                    <a:pt x="17072" y="10479"/>
                    <a:pt x="17072" y="10479"/>
                  </a:cubicBezTo>
                  <a:cubicBezTo>
                    <a:pt x="17072" y="10479"/>
                    <a:pt x="16906" y="10479"/>
                    <a:pt x="16906" y="10479"/>
                  </a:cubicBezTo>
                  <a:cubicBezTo>
                    <a:pt x="16906" y="10479"/>
                    <a:pt x="16782" y="10479"/>
                    <a:pt x="16782" y="10479"/>
                  </a:cubicBezTo>
                  <a:cubicBezTo>
                    <a:pt x="16698" y="10519"/>
                    <a:pt x="16698" y="10519"/>
                    <a:pt x="16698" y="10519"/>
                  </a:cubicBezTo>
                  <a:cubicBezTo>
                    <a:pt x="16657" y="10559"/>
                    <a:pt x="16657" y="10559"/>
                    <a:pt x="16657" y="10559"/>
                  </a:cubicBezTo>
                  <a:cubicBezTo>
                    <a:pt x="16532" y="10599"/>
                    <a:pt x="16532" y="10599"/>
                    <a:pt x="16532" y="10599"/>
                  </a:cubicBezTo>
                  <a:cubicBezTo>
                    <a:pt x="16408" y="10639"/>
                    <a:pt x="16408" y="10639"/>
                    <a:pt x="16408" y="10639"/>
                  </a:cubicBezTo>
                  <a:cubicBezTo>
                    <a:pt x="16408" y="10639"/>
                    <a:pt x="16366" y="10720"/>
                    <a:pt x="16325" y="10760"/>
                  </a:cubicBezTo>
                  <a:cubicBezTo>
                    <a:pt x="16325" y="10760"/>
                    <a:pt x="16325" y="10800"/>
                    <a:pt x="16325" y="10800"/>
                  </a:cubicBezTo>
                  <a:cubicBezTo>
                    <a:pt x="16408" y="10840"/>
                    <a:pt x="16408" y="10840"/>
                    <a:pt x="16408" y="10840"/>
                  </a:cubicBezTo>
                  <a:cubicBezTo>
                    <a:pt x="16408" y="10920"/>
                    <a:pt x="16408" y="10920"/>
                    <a:pt x="16408" y="10920"/>
                  </a:cubicBezTo>
                  <a:cubicBezTo>
                    <a:pt x="16449" y="10920"/>
                    <a:pt x="16449" y="10920"/>
                    <a:pt x="16449" y="10920"/>
                  </a:cubicBezTo>
                  <a:cubicBezTo>
                    <a:pt x="16408" y="11001"/>
                    <a:pt x="16408" y="11001"/>
                    <a:pt x="16408" y="11001"/>
                  </a:cubicBezTo>
                  <a:cubicBezTo>
                    <a:pt x="16408" y="11001"/>
                    <a:pt x="16366" y="11001"/>
                    <a:pt x="16325" y="11041"/>
                  </a:cubicBezTo>
                  <a:cubicBezTo>
                    <a:pt x="16283" y="11081"/>
                    <a:pt x="16283" y="11121"/>
                    <a:pt x="16283" y="11121"/>
                  </a:cubicBezTo>
                  <a:cubicBezTo>
                    <a:pt x="16158" y="11161"/>
                    <a:pt x="16158" y="11161"/>
                    <a:pt x="16158" y="11161"/>
                  </a:cubicBezTo>
                  <a:cubicBezTo>
                    <a:pt x="16075" y="11121"/>
                    <a:pt x="16075" y="11121"/>
                    <a:pt x="16075" y="11121"/>
                  </a:cubicBezTo>
                  <a:cubicBezTo>
                    <a:pt x="15992" y="11161"/>
                    <a:pt x="15992" y="11161"/>
                    <a:pt x="15992" y="11161"/>
                  </a:cubicBezTo>
                  <a:cubicBezTo>
                    <a:pt x="15951" y="11161"/>
                    <a:pt x="15951" y="11161"/>
                    <a:pt x="15951" y="11161"/>
                  </a:cubicBezTo>
                  <a:cubicBezTo>
                    <a:pt x="15951" y="11081"/>
                    <a:pt x="15951" y="11081"/>
                    <a:pt x="15951" y="11081"/>
                  </a:cubicBezTo>
                  <a:cubicBezTo>
                    <a:pt x="15909" y="11041"/>
                    <a:pt x="15909" y="11041"/>
                    <a:pt x="15909" y="11041"/>
                  </a:cubicBezTo>
                  <a:cubicBezTo>
                    <a:pt x="15951" y="11001"/>
                    <a:pt x="15951" y="11001"/>
                    <a:pt x="15951" y="11001"/>
                  </a:cubicBezTo>
                  <a:cubicBezTo>
                    <a:pt x="15951" y="11001"/>
                    <a:pt x="15992" y="10961"/>
                    <a:pt x="15992" y="10961"/>
                  </a:cubicBezTo>
                  <a:cubicBezTo>
                    <a:pt x="16034" y="10961"/>
                    <a:pt x="16075" y="10920"/>
                    <a:pt x="16075" y="10920"/>
                  </a:cubicBezTo>
                  <a:cubicBezTo>
                    <a:pt x="16158" y="10920"/>
                    <a:pt x="16158" y="10920"/>
                    <a:pt x="16158" y="10920"/>
                  </a:cubicBezTo>
                  <a:cubicBezTo>
                    <a:pt x="16158" y="10840"/>
                    <a:pt x="16158" y="10840"/>
                    <a:pt x="16158" y="10840"/>
                  </a:cubicBezTo>
                  <a:cubicBezTo>
                    <a:pt x="16200" y="10760"/>
                    <a:pt x="16200" y="10760"/>
                    <a:pt x="16200" y="10760"/>
                  </a:cubicBezTo>
                  <a:cubicBezTo>
                    <a:pt x="16200" y="10639"/>
                    <a:pt x="16200" y="10639"/>
                    <a:pt x="16200" y="10639"/>
                  </a:cubicBezTo>
                  <a:cubicBezTo>
                    <a:pt x="16158" y="10599"/>
                    <a:pt x="16158" y="10599"/>
                    <a:pt x="16158" y="10599"/>
                  </a:cubicBezTo>
                  <a:cubicBezTo>
                    <a:pt x="16117" y="10559"/>
                    <a:pt x="16117" y="10559"/>
                    <a:pt x="16117" y="10559"/>
                  </a:cubicBezTo>
                  <a:cubicBezTo>
                    <a:pt x="16117" y="10519"/>
                    <a:pt x="16117" y="10519"/>
                    <a:pt x="16117" y="10519"/>
                  </a:cubicBezTo>
                  <a:cubicBezTo>
                    <a:pt x="16117" y="10439"/>
                    <a:pt x="16117" y="10439"/>
                    <a:pt x="16117" y="10439"/>
                  </a:cubicBezTo>
                  <a:cubicBezTo>
                    <a:pt x="16158" y="10399"/>
                    <a:pt x="16158" y="10399"/>
                    <a:pt x="16158" y="10399"/>
                  </a:cubicBezTo>
                  <a:cubicBezTo>
                    <a:pt x="16158" y="10399"/>
                    <a:pt x="16200" y="10358"/>
                    <a:pt x="16200" y="10318"/>
                  </a:cubicBezTo>
                  <a:cubicBezTo>
                    <a:pt x="16200" y="10318"/>
                    <a:pt x="16200" y="10238"/>
                    <a:pt x="16200" y="10238"/>
                  </a:cubicBezTo>
                  <a:cubicBezTo>
                    <a:pt x="16200" y="10238"/>
                    <a:pt x="16200" y="10198"/>
                    <a:pt x="16200" y="10198"/>
                  </a:cubicBezTo>
                  <a:cubicBezTo>
                    <a:pt x="16366" y="10037"/>
                    <a:pt x="16366" y="10037"/>
                    <a:pt x="16366" y="10037"/>
                  </a:cubicBezTo>
                  <a:cubicBezTo>
                    <a:pt x="16449" y="9957"/>
                    <a:pt x="16449" y="9957"/>
                    <a:pt x="16449" y="9957"/>
                  </a:cubicBezTo>
                  <a:cubicBezTo>
                    <a:pt x="16449" y="9957"/>
                    <a:pt x="16532" y="9957"/>
                    <a:pt x="16532" y="9917"/>
                  </a:cubicBezTo>
                  <a:cubicBezTo>
                    <a:pt x="16532" y="9917"/>
                    <a:pt x="16615" y="9917"/>
                    <a:pt x="16615" y="9917"/>
                  </a:cubicBezTo>
                  <a:cubicBezTo>
                    <a:pt x="16615" y="9917"/>
                    <a:pt x="16657" y="9877"/>
                    <a:pt x="16657" y="9877"/>
                  </a:cubicBezTo>
                  <a:cubicBezTo>
                    <a:pt x="16698" y="9836"/>
                    <a:pt x="16698" y="9796"/>
                    <a:pt x="16698" y="9796"/>
                  </a:cubicBezTo>
                  <a:cubicBezTo>
                    <a:pt x="16698" y="9796"/>
                    <a:pt x="16698" y="9756"/>
                    <a:pt x="16698" y="9756"/>
                  </a:cubicBezTo>
                  <a:cubicBezTo>
                    <a:pt x="16698" y="9756"/>
                    <a:pt x="16698" y="9716"/>
                    <a:pt x="16698" y="9716"/>
                  </a:cubicBezTo>
                  <a:cubicBezTo>
                    <a:pt x="16698" y="9716"/>
                    <a:pt x="16698" y="9676"/>
                    <a:pt x="16698" y="9676"/>
                  </a:cubicBezTo>
                  <a:cubicBezTo>
                    <a:pt x="16698" y="9636"/>
                    <a:pt x="16740" y="9636"/>
                    <a:pt x="16740" y="9636"/>
                  </a:cubicBezTo>
                  <a:cubicBezTo>
                    <a:pt x="16740" y="9555"/>
                    <a:pt x="16740" y="9555"/>
                    <a:pt x="16740" y="9555"/>
                  </a:cubicBezTo>
                  <a:cubicBezTo>
                    <a:pt x="16740" y="9555"/>
                    <a:pt x="16698" y="9515"/>
                    <a:pt x="16698" y="9475"/>
                  </a:cubicBezTo>
                  <a:cubicBezTo>
                    <a:pt x="16698" y="9475"/>
                    <a:pt x="16698" y="9475"/>
                    <a:pt x="16698" y="9435"/>
                  </a:cubicBezTo>
                  <a:cubicBezTo>
                    <a:pt x="16740" y="9395"/>
                    <a:pt x="16782" y="9395"/>
                    <a:pt x="16782" y="9395"/>
                  </a:cubicBezTo>
                  <a:cubicBezTo>
                    <a:pt x="16865" y="9395"/>
                    <a:pt x="16865" y="9395"/>
                    <a:pt x="16865" y="9395"/>
                  </a:cubicBezTo>
                  <a:cubicBezTo>
                    <a:pt x="16865" y="9395"/>
                    <a:pt x="16906" y="9355"/>
                    <a:pt x="16948" y="9355"/>
                  </a:cubicBezTo>
                  <a:cubicBezTo>
                    <a:pt x="16948" y="9355"/>
                    <a:pt x="16989" y="9314"/>
                    <a:pt x="16989" y="9314"/>
                  </a:cubicBezTo>
                  <a:cubicBezTo>
                    <a:pt x="17031" y="9234"/>
                    <a:pt x="17031" y="9234"/>
                    <a:pt x="17031" y="9234"/>
                  </a:cubicBezTo>
                  <a:cubicBezTo>
                    <a:pt x="17072" y="9234"/>
                    <a:pt x="17072" y="9234"/>
                    <a:pt x="17072" y="9234"/>
                  </a:cubicBezTo>
                  <a:cubicBezTo>
                    <a:pt x="17114" y="9194"/>
                    <a:pt x="17114" y="9194"/>
                    <a:pt x="17114" y="9194"/>
                  </a:cubicBezTo>
                  <a:cubicBezTo>
                    <a:pt x="17114" y="9114"/>
                    <a:pt x="17114" y="9114"/>
                    <a:pt x="17114" y="9114"/>
                  </a:cubicBezTo>
                  <a:cubicBezTo>
                    <a:pt x="17197" y="9074"/>
                    <a:pt x="17197" y="9074"/>
                    <a:pt x="17197" y="9074"/>
                  </a:cubicBezTo>
                  <a:cubicBezTo>
                    <a:pt x="17197" y="9033"/>
                    <a:pt x="17197" y="9033"/>
                    <a:pt x="17197" y="9033"/>
                  </a:cubicBezTo>
                  <a:cubicBezTo>
                    <a:pt x="17238" y="8993"/>
                    <a:pt x="17238" y="8993"/>
                    <a:pt x="17238" y="8993"/>
                  </a:cubicBezTo>
                  <a:cubicBezTo>
                    <a:pt x="17280" y="8993"/>
                    <a:pt x="17280" y="8993"/>
                    <a:pt x="17280" y="8993"/>
                  </a:cubicBezTo>
                  <a:cubicBezTo>
                    <a:pt x="17363" y="8913"/>
                    <a:pt x="17363" y="8913"/>
                    <a:pt x="17363" y="8913"/>
                  </a:cubicBezTo>
                  <a:cubicBezTo>
                    <a:pt x="17446" y="8873"/>
                    <a:pt x="17446" y="8873"/>
                    <a:pt x="17446" y="8873"/>
                  </a:cubicBezTo>
                  <a:cubicBezTo>
                    <a:pt x="17446" y="8873"/>
                    <a:pt x="17488" y="8793"/>
                    <a:pt x="17488" y="8752"/>
                  </a:cubicBezTo>
                  <a:cubicBezTo>
                    <a:pt x="17488" y="8712"/>
                    <a:pt x="17488" y="8712"/>
                    <a:pt x="17529" y="8672"/>
                  </a:cubicBezTo>
                  <a:cubicBezTo>
                    <a:pt x="17529" y="8672"/>
                    <a:pt x="17571" y="8672"/>
                    <a:pt x="17612" y="8632"/>
                  </a:cubicBezTo>
                  <a:cubicBezTo>
                    <a:pt x="17612" y="8632"/>
                    <a:pt x="17612" y="8592"/>
                    <a:pt x="17612" y="8592"/>
                  </a:cubicBezTo>
                  <a:cubicBezTo>
                    <a:pt x="17654" y="8592"/>
                    <a:pt x="17654" y="8592"/>
                    <a:pt x="17654" y="8592"/>
                  </a:cubicBezTo>
                  <a:cubicBezTo>
                    <a:pt x="17654" y="8512"/>
                    <a:pt x="17654" y="8512"/>
                    <a:pt x="17654" y="8512"/>
                  </a:cubicBezTo>
                  <a:cubicBezTo>
                    <a:pt x="17654" y="8471"/>
                    <a:pt x="17654" y="8471"/>
                    <a:pt x="17654" y="8471"/>
                  </a:cubicBezTo>
                  <a:cubicBezTo>
                    <a:pt x="17654" y="8471"/>
                    <a:pt x="17571" y="8512"/>
                    <a:pt x="17571" y="8512"/>
                  </a:cubicBezTo>
                  <a:cubicBezTo>
                    <a:pt x="17571" y="8512"/>
                    <a:pt x="17529" y="8512"/>
                    <a:pt x="17488" y="8512"/>
                  </a:cubicBezTo>
                  <a:cubicBezTo>
                    <a:pt x="17488" y="8512"/>
                    <a:pt x="17446" y="8512"/>
                    <a:pt x="17405" y="8512"/>
                  </a:cubicBezTo>
                  <a:cubicBezTo>
                    <a:pt x="17363" y="8471"/>
                    <a:pt x="17405" y="8471"/>
                    <a:pt x="17405" y="8471"/>
                  </a:cubicBezTo>
                  <a:cubicBezTo>
                    <a:pt x="17405" y="8471"/>
                    <a:pt x="17446" y="8471"/>
                    <a:pt x="17446" y="8431"/>
                  </a:cubicBezTo>
                  <a:cubicBezTo>
                    <a:pt x="17446" y="8431"/>
                    <a:pt x="17488" y="8351"/>
                    <a:pt x="17488" y="8351"/>
                  </a:cubicBezTo>
                  <a:cubicBezTo>
                    <a:pt x="17529" y="8351"/>
                    <a:pt x="17529" y="8351"/>
                    <a:pt x="17529" y="8351"/>
                  </a:cubicBezTo>
                  <a:cubicBezTo>
                    <a:pt x="17571" y="8311"/>
                    <a:pt x="17571" y="8311"/>
                    <a:pt x="17571" y="8311"/>
                  </a:cubicBezTo>
                  <a:cubicBezTo>
                    <a:pt x="17571" y="8311"/>
                    <a:pt x="17612" y="8311"/>
                    <a:pt x="17612" y="8311"/>
                  </a:cubicBezTo>
                  <a:cubicBezTo>
                    <a:pt x="17612" y="8311"/>
                    <a:pt x="17571" y="8271"/>
                    <a:pt x="17571" y="8271"/>
                  </a:cubicBezTo>
                  <a:cubicBezTo>
                    <a:pt x="17571" y="8190"/>
                    <a:pt x="17571" y="8190"/>
                    <a:pt x="17571" y="8190"/>
                  </a:cubicBezTo>
                  <a:cubicBezTo>
                    <a:pt x="17654" y="8230"/>
                    <a:pt x="17654" y="8230"/>
                    <a:pt x="17654" y="8230"/>
                  </a:cubicBezTo>
                  <a:cubicBezTo>
                    <a:pt x="17778" y="8230"/>
                    <a:pt x="17778" y="8230"/>
                    <a:pt x="17778" y="8230"/>
                  </a:cubicBezTo>
                  <a:cubicBezTo>
                    <a:pt x="17820" y="8190"/>
                    <a:pt x="17820" y="8190"/>
                    <a:pt x="17820" y="8190"/>
                  </a:cubicBezTo>
                  <a:cubicBezTo>
                    <a:pt x="17820" y="8190"/>
                    <a:pt x="17862" y="8271"/>
                    <a:pt x="17862" y="8271"/>
                  </a:cubicBezTo>
                  <a:cubicBezTo>
                    <a:pt x="17862" y="8311"/>
                    <a:pt x="17862" y="8351"/>
                    <a:pt x="17903" y="8351"/>
                  </a:cubicBezTo>
                  <a:cubicBezTo>
                    <a:pt x="17903" y="8351"/>
                    <a:pt x="17986" y="8391"/>
                    <a:pt x="17986" y="8391"/>
                  </a:cubicBezTo>
                  <a:cubicBezTo>
                    <a:pt x="17986" y="8391"/>
                    <a:pt x="17986" y="8351"/>
                    <a:pt x="18028" y="8351"/>
                  </a:cubicBezTo>
                  <a:cubicBezTo>
                    <a:pt x="18028" y="8351"/>
                    <a:pt x="18069" y="8351"/>
                    <a:pt x="18069" y="8351"/>
                  </a:cubicBezTo>
                  <a:cubicBezTo>
                    <a:pt x="18111" y="8351"/>
                    <a:pt x="18152" y="8351"/>
                    <a:pt x="18152" y="8351"/>
                  </a:cubicBezTo>
                  <a:cubicBezTo>
                    <a:pt x="18152" y="8351"/>
                    <a:pt x="18194" y="8351"/>
                    <a:pt x="18235" y="8351"/>
                  </a:cubicBezTo>
                  <a:cubicBezTo>
                    <a:pt x="18235" y="8311"/>
                    <a:pt x="18235" y="8311"/>
                    <a:pt x="18235" y="8311"/>
                  </a:cubicBezTo>
                  <a:cubicBezTo>
                    <a:pt x="18235" y="8311"/>
                    <a:pt x="18235" y="8271"/>
                    <a:pt x="18235" y="8271"/>
                  </a:cubicBezTo>
                  <a:cubicBezTo>
                    <a:pt x="18235" y="8271"/>
                    <a:pt x="18277" y="8190"/>
                    <a:pt x="18277" y="8190"/>
                  </a:cubicBezTo>
                  <a:cubicBezTo>
                    <a:pt x="18277" y="8190"/>
                    <a:pt x="18318" y="8190"/>
                    <a:pt x="18318" y="8190"/>
                  </a:cubicBezTo>
                  <a:cubicBezTo>
                    <a:pt x="18318" y="8190"/>
                    <a:pt x="18360" y="8190"/>
                    <a:pt x="18360" y="8190"/>
                  </a:cubicBezTo>
                  <a:cubicBezTo>
                    <a:pt x="18360" y="8190"/>
                    <a:pt x="18360" y="8150"/>
                    <a:pt x="18360" y="8150"/>
                  </a:cubicBezTo>
                  <a:cubicBezTo>
                    <a:pt x="18360" y="8150"/>
                    <a:pt x="18360" y="8110"/>
                    <a:pt x="18360" y="8110"/>
                  </a:cubicBezTo>
                  <a:cubicBezTo>
                    <a:pt x="18360" y="8110"/>
                    <a:pt x="18402" y="8110"/>
                    <a:pt x="18402" y="8110"/>
                  </a:cubicBezTo>
                  <a:cubicBezTo>
                    <a:pt x="18402" y="8030"/>
                    <a:pt x="18402" y="8030"/>
                    <a:pt x="18402" y="8030"/>
                  </a:cubicBezTo>
                  <a:cubicBezTo>
                    <a:pt x="18402" y="8030"/>
                    <a:pt x="18485" y="8030"/>
                    <a:pt x="18485" y="8030"/>
                  </a:cubicBezTo>
                  <a:cubicBezTo>
                    <a:pt x="18526" y="8030"/>
                    <a:pt x="18485" y="8030"/>
                    <a:pt x="18485" y="8030"/>
                  </a:cubicBezTo>
                  <a:cubicBezTo>
                    <a:pt x="18609" y="7990"/>
                    <a:pt x="18609" y="7990"/>
                    <a:pt x="18609" y="7990"/>
                  </a:cubicBezTo>
                  <a:cubicBezTo>
                    <a:pt x="18609" y="7990"/>
                    <a:pt x="18609" y="7990"/>
                    <a:pt x="18609" y="8030"/>
                  </a:cubicBezTo>
                  <a:cubicBezTo>
                    <a:pt x="18526" y="7909"/>
                    <a:pt x="18402" y="7749"/>
                    <a:pt x="18402" y="7749"/>
                  </a:cubicBezTo>
                  <a:cubicBezTo>
                    <a:pt x="18485" y="7588"/>
                    <a:pt x="18485" y="7588"/>
                    <a:pt x="18485" y="7588"/>
                  </a:cubicBezTo>
                  <a:cubicBezTo>
                    <a:pt x="18485" y="7588"/>
                    <a:pt x="18526" y="7307"/>
                    <a:pt x="18526" y="7227"/>
                  </a:cubicBezTo>
                  <a:cubicBezTo>
                    <a:pt x="18526" y="7187"/>
                    <a:pt x="18526" y="6946"/>
                    <a:pt x="18526" y="6946"/>
                  </a:cubicBezTo>
                  <a:cubicBezTo>
                    <a:pt x="18526" y="6946"/>
                    <a:pt x="18360" y="6906"/>
                    <a:pt x="18485" y="6785"/>
                  </a:cubicBezTo>
                  <a:cubicBezTo>
                    <a:pt x="18609" y="6625"/>
                    <a:pt x="18734" y="6424"/>
                    <a:pt x="18734" y="6424"/>
                  </a:cubicBezTo>
                  <a:cubicBezTo>
                    <a:pt x="18734" y="6022"/>
                    <a:pt x="18734" y="6022"/>
                    <a:pt x="18734" y="6022"/>
                  </a:cubicBezTo>
                  <a:cubicBezTo>
                    <a:pt x="18734" y="6022"/>
                    <a:pt x="18609" y="5902"/>
                    <a:pt x="18775" y="5822"/>
                  </a:cubicBezTo>
                  <a:cubicBezTo>
                    <a:pt x="18942" y="5701"/>
                    <a:pt x="19232" y="5340"/>
                    <a:pt x="19232" y="5340"/>
                  </a:cubicBezTo>
                  <a:cubicBezTo>
                    <a:pt x="19523" y="5019"/>
                    <a:pt x="19523" y="5019"/>
                    <a:pt x="19523" y="5019"/>
                  </a:cubicBezTo>
                  <a:cubicBezTo>
                    <a:pt x="19025" y="4898"/>
                    <a:pt x="19025" y="4898"/>
                    <a:pt x="19025" y="4898"/>
                  </a:cubicBezTo>
                  <a:cubicBezTo>
                    <a:pt x="18734" y="4858"/>
                    <a:pt x="18734" y="4858"/>
                    <a:pt x="18734" y="4858"/>
                  </a:cubicBezTo>
                  <a:cubicBezTo>
                    <a:pt x="18526" y="4738"/>
                    <a:pt x="18526" y="4738"/>
                    <a:pt x="18526" y="4738"/>
                  </a:cubicBezTo>
                  <a:cubicBezTo>
                    <a:pt x="18402" y="4537"/>
                    <a:pt x="18402" y="4537"/>
                    <a:pt x="18402" y="4537"/>
                  </a:cubicBezTo>
                  <a:cubicBezTo>
                    <a:pt x="18277" y="4617"/>
                    <a:pt x="18277" y="4617"/>
                    <a:pt x="18277" y="4617"/>
                  </a:cubicBezTo>
                  <a:cubicBezTo>
                    <a:pt x="18152" y="4697"/>
                    <a:pt x="18152" y="4697"/>
                    <a:pt x="18152" y="4697"/>
                  </a:cubicBezTo>
                  <a:cubicBezTo>
                    <a:pt x="17862" y="4657"/>
                    <a:pt x="17862" y="4657"/>
                    <a:pt x="17862" y="4657"/>
                  </a:cubicBezTo>
                  <a:cubicBezTo>
                    <a:pt x="17654" y="4457"/>
                    <a:pt x="17654" y="4457"/>
                    <a:pt x="17654" y="4457"/>
                  </a:cubicBezTo>
                  <a:cubicBezTo>
                    <a:pt x="17488" y="4577"/>
                    <a:pt x="17488" y="4577"/>
                    <a:pt x="17488" y="4577"/>
                  </a:cubicBezTo>
                  <a:cubicBezTo>
                    <a:pt x="17322" y="4457"/>
                    <a:pt x="17322" y="4457"/>
                    <a:pt x="17322" y="4457"/>
                  </a:cubicBezTo>
                  <a:cubicBezTo>
                    <a:pt x="17197" y="4256"/>
                    <a:pt x="17197" y="4256"/>
                    <a:pt x="17197" y="4256"/>
                  </a:cubicBezTo>
                  <a:cubicBezTo>
                    <a:pt x="17155" y="4095"/>
                    <a:pt x="17155" y="4095"/>
                    <a:pt x="17155" y="4095"/>
                  </a:cubicBezTo>
                  <a:cubicBezTo>
                    <a:pt x="16948" y="3894"/>
                    <a:pt x="16948" y="3894"/>
                    <a:pt x="16948" y="3894"/>
                  </a:cubicBezTo>
                  <a:cubicBezTo>
                    <a:pt x="16865" y="3894"/>
                    <a:pt x="16865" y="3894"/>
                    <a:pt x="16865" y="3894"/>
                  </a:cubicBezTo>
                  <a:cubicBezTo>
                    <a:pt x="16865" y="3935"/>
                    <a:pt x="16823" y="3935"/>
                    <a:pt x="16823" y="3935"/>
                  </a:cubicBezTo>
                  <a:cubicBezTo>
                    <a:pt x="16823" y="3935"/>
                    <a:pt x="16698" y="3894"/>
                    <a:pt x="16698" y="3894"/>
                  </a:cubicBezTo>
                  <a:cubicBezTo>
                    <a:pt x="16698" y="3814"/>
                    <a:pt x="16698" y="3814"/>
                    <a:pt x="16698" y="3814"/>
                  </a:cubicBezTo>
                  <a:cubicBezTo>
                    <a:pt x="16657" y="3774"/>
                    <a:pt x="16657" y="3774"/>
                    <a:pt x="16657" y="3774"/>
                  </a:cubicBezTo>
                  <a:cubicBezTo>
                    <a:pt x="16574" y="3774"/>
                    <a:pt x="16574" y="3774"/>
                    <a:pt x="16574" y="3774"/>
                  </a:cubicBezTo>
                  <a:cubicBezTo>
                    <a:pt x="16491" y="3814"/>
                    <a:pt x="16491" y="3814"/>
                    <a:pt x="16491" y="3814"/>
                  </a:cubicBezTo>
                  <a:cubicBezTo>
                    <a:pt x="16449" y="3854"/>
                    <a:pt x="16449" y="3854"/>
                    <a:pt x="16449" y="3854"/>
                  </a:cubicBezTo>
                  <a:cubicBezTo>
                    <a:pt x="16449" y="3854"/>
                    <a:pt x="16449" y="3854"/>
                    <a:pt x="16449" y="3854"/>
                  </a:cubicBezTo>
                  <a:cubicBezTo>
                    <a:pt x="16408" y="3894"/>
                    <a:pt x="16408" y="3894"/>
                    <a:pt x="16408" y="3894"/>
                  </a:cubicBezTo>
                  <a:cubicBezTo>
                    <a:pt x="16366" y="3894"/>
                    <a:pt x="16366" y="3894"/>
                    <a:pt x="16366" y="3894"/>
                  </a:cubicBezTo>
                  <a:cubicBezTo>
                    <a:pt x="16366" y="3894"/>
                    <a:pt x="16366" y="3894"/>
                    <a:pt x="16366" y="3894"/>
                  </a:cubicBezTo>
                  <a:cubicBezTo>
                    <a:pt x="16366" y="3894"/>
                    <a:pt x="16325" y="3894"/>
                    <a:pt x="16325" y="3894"/>
                  </a:cubicBezTo>
                  <a:cubicBezTo>
                    <a:pt x="16242" y="3894"/>
                    <a:pt x="16242" y="3894"/>
                    <a:pt x="16242" y="3894"/>
                  </a:cubicBezTo>
                  <a:cubicBezTo>
                    <a:pt x="16242" y="3854"/>
                    <a:pt x="16242" y="3854"/>
                    <a:pt x="16242" y="3854"/>
                  </a:cubicBezTo>
                  <a:cubicBezTo>
                    <a:pt x="16242" y="3814"/>
                    <a:pt x="16242" y="3814"/>
                    <a:pt x="16242" y="3814"/>
                  </a:cubicBezTo>
                  <a:cubicBezTo>
                    <a:pt x="16158" y="3774"/>
                    <a:pt x="16158" y="3774"/>
                    <a:pt x="16158" y="3774"/>
                  </a:cubicBezTo>
                  <a:cubicBezTo>
                    <a:pt x="16117" y="3774"/>
                    <a:pt x="16117" y="3774"/>
                    <a:pt x="16117" y="3774"/>
                  </a:cubicBezTo>
                  <a:cubicBezTo>
                    <a:pt x="16117" y="3774"/>
                    <a:pt x="16075" y="3734"/>
                    <a:pt x="16075" y="3734"/>
                  </a:cubicBezTo>
                  <a:cubicBezTo>
                    <a:pt x="16034" y="3734"/>
                    <a:pt x="16034" y="3694"/>
                    <a:pt x="16034" y="3694"/>
                  </a:cubicBezTo>
                  <a:cubicBezTo>
                    <a:pt x="15992" y="3654"/>
                    <a:pt x="15992" y="3654"/>
                    <a:pt x="15992" y="3654"/>
                  </a:cubicBezTo>
                  <a:cubicBezTo>
                    <a:pt x="16075" y="3654"/>
                    <a:pt x="16075" y="3654"/>
                    <a:pt x="16075" y="3654"/>
                  </a:cubicBezTo>
                  <a:cubicBezTo>
                    <a:pt x="16075" y="3654"/>
                    <a:pt x="16075" y="3613"/>
                    <a:pt x="16075" y="3613"/>
                  </a:cubicBezTo>
                  <a:cubicBezTo>
                    <a:pt x="16075" y="3613"/>
                    <a:pt x="16075" y="3613"/>
                    <a:pt x="16075" y="3613"/>
                  </a:cubicBezTo>
                  <a:cubicBezTo>
                    <a:pt x="16075" y="3613"/>
                    <a:pt x="16034" y="3613"/>
                    <a:pt x="16034" y="3613"/>
                  </a:cubicBezTo>
                  <a:cubicBezTo>
                    <a:pt x="15951" y="3613"/>
                    <a:pt x="15951" y="3613"/>
                    <a:pt x="15951" y="3613"/>
                  </a:cubicBezTo>
                  <a:cubicBezTo>
                    <a:pt x="15909" y="3654"/>
                    <a:pt x="15909" y="3654"/>
                    <a:pt x="15909" y="3654"/>
                  </a:cubicBezTo>
                  <a:cubicBezTo>
                    <a:pt x="15826" y="3654"/>
                    <a:pt x="15826" y="3654"/>
                    <a:pt x="15826" y="3654"/>
                  </a:cubicBezTo>
                  <a:cubicBezTo>
                    <a:pt x="15743" y="3694"/>
                    <a:pt x="15743" y="3694"/>
                    <a:pt x="15743" y="3694"/>
                  </a:cubicBezTo>
                  <a:cubicBezTo>
                    <a:pt x="15618" y="3694"/>
                    <a:pt x="15618" y="3694"/>
                    <a:pt x="15618" y="3694"/>
                  </a:cubicBezTo>
                  <a:cubicBezTo>
                    <a:pt x="15577" y="3613"/>
                    <a:pt x="15577" y="3613"/>
                    <a:pt x="15577" y="3613"/>
                  </a:cubicBezTo>
                  <a:cubicBezTo>
                    <a:pt x="15535" y="3533"/>
                    <a:pt x="15535" y="3533"/>
                    <a:pt x="15535" y="3533"/>
                  </a:cubicBezTo>
                  <a:cubicBezTo>
                    <a:pt x="15494" y="3493"/>
                    <a:pt x="15494" y="3493"/>
                    <a:pt x="15494" y="3493"/>
                  </a:cubicBezTo>
                  <a:cubicBezTo>
                    <a:pt x="15452" y="3493"/>
                    <a:pt x="15452" y="3493"/>
                    <a:pt x="15452" y="3493"/>
                  </a:cubicBezTo>
                  <a:cubicBezTo>
                    <a:pt x="15328" y="3453"/>
                    <a:pt x="15328" y="3453"/>
                    <a:pt x="15328" y="3453"/>
                  </a:cubicBezTo>
                  <a:cubicBezTo>
                    <a:pt x="15369" y="3372"/>
                    <a:pt x="15369" y="3372"/>
                    <a:pt x="15369" y="3372"/>
                  </a:cubicBezTo>
                  <a:cubicBezTo>
                    <a:pt x="15369" y="3372"/>
                    <a:pt x="15328" y="3292"/>
                    <a:pt x="15328" y="3292"/>
                  </a:cubicBezTo>
                  <a:cubicBezTo>
                    <a:pt x="15286" y="3292"/>
                    <a:pt x="15245" y="3292"/>
                    <a:pt x="15245" y="3292"/>
                  </a:cubicBezTo>
                  <a:cubicBezTo>
                    <a:pt x="15162" y="3212"/>
                    <a:pt x="15162" y="3212"/>
                    <a:pt x="15162" y="3212"/>
                  </a:cubicBezTo>
                  <a:cubicBezTo>
                    <a:pt x="15162" y="3212"/>
                    <a:pt x="15162" y="3172"/>
                    <a:pt x="15120" y="3132"/>
                  </a:cubicBezTo>
                  <a:cubicBezTo>
                    <a:pt x="15078" y="3132"/>
                    <a:pt x="15078" y="3091"/>
                    <a:pt x="15037" y="3091"/>
                  </a:cubicBezTo>
                  <a:cubicBezTo>
                    <a:pt x="14995" y="3091"/>
                    <a:pt x="14912" y="3091"/>
                    <a:pt x="14912" y="3091"/>
                  </a:cubicBezTo>
                  <a:cubicBezTo>
                    <a:pt x="14912" y="3091"/>
                    <a:pt x="14871" y="3011"/>
                    <a:pt x="14829" y="3011"/>
                  </a:cubicBezTo>
                  <a:cubicBezTo>
                    <a:pt x="14829" y="3011"/>
                    <a:pt x="14663" y="3011"/>
                    <a:pt x="14663" y="3011"/>
                  </a:cubicBezTo>
                  <a:cubicBezTo>
                    <a:pt x="14663" y="3011"/>
                    <a:pt x="14705" y="2891"/>
                    <a:pt x="14705" y="2891"/>
                  </a:cubicBezTo>
                  <a:cubicBezTo>
                    <a:pt x="14705" y="2851"/>
                    <a:pt x="14705" y="2730"/>
                    <a:pt x="14705" y="2730"/>
                  </a:cubicBezTo>
                  <a:cubicBezTo>
                    <a:pt x="14705" y="2690"/>
                    <a:pt x="14705" y="2690"/>
                    <a:pt x="14705" y="2690"/>
                  </a:cubicBezTo>
                  <a:cubicBezTo>
                    <a:pt x="14705" y="2690"/>
                    <a:pt x="14663" y="2650"/>
                    <a:pt x="14705" y="2570"/>
                  </a:cubicBezTo>
                  <a:cubicBezTo>
                    <a:pt x="14746" y="2489"/>
                    <a:pt x="14705" y="2529"/>
                    <a:pt x="14746" y="2449"/>
                  </a:cubicBezTo>
                  <a:cubicBezTo>
                    <a:pt x="14788" y="2329"/>
                    <a:pt x="14788" y="2288"/>
                    <a:pt x="14788" y="2288"/>
                  </a:cubicBezTo>
                  <a:cubicBezTo>
                    <a:pt x="14705" y="2248"/>
                    <a:pt x="14705" y="2248"/>
                    <a:pt x="14705" y="2248"/>
                  </a:cubicBezTo>
                  <a:cubicBezTo>
                    <a:pt x="14705" y="2248"/>
                    <a:pt x="14663" y="2208"/>
                    <a:pt x="14622" y="2248"/>
                  </a:cubicBezTo>
                  <a:cubicBezTo>
                    <a:pt x="14622" y="2329"/>
                    <a:pt x="14580" y="2329"/>
                    <a:pt x="14580" y="2329"/>
                  </a:cubicBezTo>
                  <a:cubicBezTo>
                    <a:pt x="14497" y="2449"/>
                    <a:pt x="14497" y="2449"/>
                    <a:pt x="14497" y="2449"/>
                  </a:cubicBezTo>
                  <a:cubicBezTo>
                    <a:pt x="14497" y="2570"/>
                    <a:pt x="14497" y="2570"/>
                    <a:pt x="14497" y="2570"/>
                  </a:cubicBezTo>
                  <a:cubicBezTo>
                    <a:pt x="14497" y="2570"/>
                    <a:pt x="14538" y="2610"/>
                    <a:pt x="14414" y="2610"/>
                  </a:cubicBezTo>
                  <a:cubicBezTo>
                    <a:pt x="14331" y="2610"/>
                    <a:pt x="14248" y="2610"/>
                    <a:pt x="14248" y="2610"/>
                  </a:cubicBezTo>
                  <a:cubicBezTo>
                    <a:pt x="14248" y="2610"/>
                    <a:pt x="14331" y="2690"/>
                    <a:pt x="14206" y="2690"/>
                  </a:cubicBezTo>
                  <a:cubicBezTo>
                    <a:pt x="14123" y="2690"/>
                    <a:pt x="13998" y="2690"/>
                    <a:pt x="13998" y="2690"/>
                  </a:cubicBezTo>
                  <a:cubicBezTo>
                    <a:pt x="13915" y="2610"/>
                    <a:pt x="13915" y="2610"/>
                    <a:pt x="13915" y="2610"/>
                  </a:cubicBezTo>
                  <a:cubicBezTo>
                    <a:pt x="13749" y="2650"/>
                    <a:pt x="13749" y="2650"/>
                    <a:pt x="13749" y="2650"/>
                  </a:cubicBezTo>
                  <a:cubicBezTo>
                    <a:pt x="13749" y="2650"/>
                    <a:pt x="13749" y="2610"/>
                    <a:pt x="13749" y="2529"/>
                  </a:cubicBezTo>
                  <a:cubicBezTo>
                    <a:pt x="13749" y="2489"/>
                    <a:pt x="13708" y="2409"/>
                    <a:pt x="13749" y="2409"/>
                  </a:cubicBezTo>
                  <a:cubicBezTo>
                    <a:pt x="13791" y="2409"/>
                    <a:pt x="13832" y="2369"/>
                    <a:pt x="13832" y="2369"/>
                  </a:cubicBezTo>
                  <a:cubicBezTo>
                    <a:pt x="13791" y="2248"/>
                    <a:pt x="13791" y="2248"/>
                    <a:pt x="13791" y="2248"/>
                  </a:cubicBezTo>
                  <a:cubicBezTo>
                    <a:pt x="13791" y="2248"/>
                    <a:pt x="13791" y="2248"/>
                    <a:pt x="13791" y="2248"/>
                  </a:cubicBezTo>
                  <a:cubicBezTo>
                    <a:pt x="13791" y="2248"/>
                    <a:pt x="13749" y="2248"/>
                    <a:pt x="13749" y="2208"/>
                  </a:cubicBezTo>
                  <a:cubicBezTo>
                    <a:pt x="13749" y="2168"/>
                    <a:pt x="13791" y="2088"/>
                    <a:pt x="13791" y="2088"/>
                  </a:cubicBezTo>
                  <a:cubicBezTo>
                    <a:pt x="13832" y="2048"/>
                    <a:pt x="13832" y="1967"/>
                    <a:pt x="13832" y="1967"/>
                  </a:cubicBezTo>
                  <a:cubicBezTo>
                    <a:pt x="13791" y="1967"/>
                    <a:pt x="13791" y="1967"/>
                    <a:pt x="13791" y="1967"/>
                  </a:cubicBezTo>
                  <a:cubicBezTo>
                    <a:pt x="13791" y="1967"/>
                    <a:pt x="13708" y="2007"/>
                    <a:pt x="13708" y="1927"/>
                  </a:cubicBezTo>
                  <a:cubicBezTo>
                    <a:pt x="13708" y="1887"/>
                    <a:pt x="13666" y="1807"/>
                    <a:pt x="13666" y="1807"/>
                  </a:cubicBezTo>
                  <a:cubicBezTo>
                    <a:pt x="13666" y="1807"/>
                    <a:pt x="13583" y="1767"/>
                    <a:pt x="13583" y="1767"/>
                  </a:cubicBezTo>
                  <a:cubicBezTo>
                    <a:pt x="13542" y="1767"/>
                    <a:pt x="13542" y="1767"/>
                    <a:pt x="13500" y="1807"/>
                  </a:cubicBezTo>
                  <a:cubicBezTo>
                    <a:pt x="13500" y="1807"/>
                    <a:pt x="13375" y="1767"/>
                    <a:pt x="13375" y="1767"/>
                  </a:cubicBezTo>
                  <a:cubicBezTo>
                    <a:pt x="13375" y="1767"/>
                    <a:pt x="13251" y="1767"/>
                    <a:pt x="13251" y="1767"/>
                  </a:cubicBezTo>
                  <a:cubicBezTo>
                    <a:pt x="13209" y="1767"/>
                    <a:pt x="13168" y="1847"/>
                    <a:pt x="13168" y="1847"/>
                  </a:cubicBezTo>
                  <a:cubicBezTo>
                    <a:pt x="13085" y="1726"/>
                    <a:pt x="13085" y="1726"/>
                    <a:pt x="13085" y="1726"/>
                  </a:cubicBezTo>
                  <a:cubicBezTo>
                    <a:pt x="13126" y="1606"/>
                    <a:pt x="13126" y="1606"/>
                    <a:pt x="13126" y="1606"/>
                  </a:cubicBezTo>
                  <a:cubicBezTo>
                    <a:pt x="13126" y="1606"/>
                    <a:pt x="13043" y="1526"/>
                    <a:pt x="13043" y="1486"/>
                  </a:cubicBezTo>
                  <a:cubicBezTo>
                    <a:pt x="13043" y="1486"/>
                    <a:pt x="13002" y="1405"/>
                    <a:pt x="13002" y="1405"/>
                  </a:cubicBezTo>
                  <a:cubicBezTo>
                    <a:pt x="12918" y="1405"/>
                    <a:pt x="12918" y="1405"/>
                    <a:pt x="12918" y="1405"/>
                  </a:cubicBezTo>
                  <a:cubicBezTo>
                    <a:pt x="12877" y="1365"/>
                    <a:pt x="12877" y="1365"/>
                    <a:pt x="12877" y="1365"/>
                  </a:cubicBezTo>
                  <a:cubicBezTo>
                    <a:pt x="12877" y="1365"/>
                    <a:pt x="12794" y="1365"/>
                    <a:pt x="12752" y="1365"/>
                  </a:cubicBezTo>
                  <a:cubicBezTo>
                    <a:pt x="12711" y="1365"/>
                    <a:pt x="12711" y="1365"/>
                    <a:pt x="12669" y="1365"/>
                  </a:cubicBezTo>
                  <a:cubicBezTo>
                    <a:pt x="12669" y="1365"/>
                    <a:pt x="12586" y="1285"/>
                    <a:pt x="12586" y="1285"/>
                  </a:cubicBezTo>
                  <a:cubicBezTo>
                    <a:pt x="12586" y="1245"/>
                    <a:pt x="12586" y="1204"/>
                    <a:pt x="12586" y="1164"/>
                  </a:cubicBezTo>
                  <a:cubicBezTo>
                    <a:pt x="12545" y="1124"/>
                    <a:pt x="12503" y="1044"/>
                    <a:pt x="12503" y="1004"/>
                  </a:cubicBezTo>
                  <a:cubicBezTo>
                    <a:pt x="12503" y="1004"/>
                    <a:pt x="12545" y="923"/>
                    <a:pt x="12545" y="923"/>
                  </a:cubicBezTo>
                  <a:cubicBezTo>
                    <a:pt x="12503" y="883"/>
                    <a:pt x="12420" y="803"/>
                    <a:pt x="12420" y="803"/>
                  </a:cubicBezTo>
                  <a:cubicBezTo>
                    <a:pt x="12378" y="723"/>
                    <a:pt x="12378" y="723"/>
                    <a:pt x="12378" y="723"/>
                  </a:cubicBezTo>
                  <a:cubicBezTo>
                    <a:pt x="12378" y="723"/>
                    <a:pt x="12254" y="803"/>
                    <a:pt x="12212" y="803"/>
                  </a:cubicBezTo>
                  <a:cubicBezTo>
                    <a:pt x="12171" y="803"/>
                    <a:pt x="12088" y="763"/>
                    <a:pt x="12088" y="803"/>
                  </a:cubicBezTo>
                  <a:cubicBezTo>
                    <a:pt x="12088" y="803"/>
                    <a:pt x="12129" y="883"/>
                    <a:pt x="12088" y="883"/>
                  </a:cubicBezTo>
                  <a:cubicBezTo>
                    <a:pt x="12046" y="883"/>
                    <a:pt x="11963" y="883"/>
                    <a:pt x="11922" y="843"/>
                  </a:cubicBezTo>
                  <a:cubicBezTo>
                    <a:pt x="11880" y="803"/>
                    <a:pt x="11880" y="763"/>
                    <a:pt x="11880" y="723"/>
                  </a:cubicBezTo>
                  <a:cubicBezTo>
                    <a:pt x="11838" y="723"/>
                    <a:pt x="11838" y="642"/>
                    <a:pt x="11797" y="642"/>
                  </a:cubicBezTo>
                  <a:cubicBezTo>
                    <a:pt x="11755" y="642"/>
                    <a:pt x="11714" y="642"/>
                    <a:pt x="11714" y="602"/>
                  </a:cubicBezTo>
                  <a:cubicBezTo>
                    <a:pt x="11714" y="602"/>
                    <a:pt x="11714" y="482"/>
                    <a:pt x="11714" y="482"/>
                  </a:cubicBezTo>
                  <a:cubicBezTo>
                    <a:pt x="11714" y="401"/>
                    <a:pt x="11714" y="401"/>
                    <a:pt x="11714" y="401"/>
                  </a:cubicBezTo>
                  <a:cubicBezTo>
                    <a:pt x="11714" y="401"/>
                    <a:pt x="11714" y="281"/>
                    <a:pt x="11672" y="281"/>
                  </a:cubicBezTo>
                  <a:cubicBezTo>
                    <a:pt x="11672" y="241"/>
                    <a:pt x="11631" y="201"/>
                    <a:pt x="11631" y="201"/>
                  </a:cubicBezTo>
                  <a:cubicBezTo>
                    <a:pt x="11631" y="80"/>
                    <a:pt x="11631" y="80"/>
                    <a:pt x="11631" y="80"/>
                  </a:cubicBezTo>
                  <a:cubicBezTo>
                    <a:pt x="11672" y="40"/>
                    <a:pt x="11672" y="40"/>
                    <a:pt x="11672" y="40"/>
                  </a:cubicBezTo>
                  <a:cubicBezTo>
                    <a:pt x="11672" y="40"/>
                    <a:pt x="11672" y="0"/>
                    <a:pt x="11714" y="0"/>
                  </a:cubicBezTo>
                  <a:cubicBezTo>
                    <a:pt x="10758" y="161"/>
                    <a:pt x="10758" y="161"/>
                    <a:pt x="10758" y="161"/>
                  </a:cubicBezTo>
                  <a:cubicBezTo>
                    <a:pt x="10343" y="201"/>
                    <a:pt x="10343" y="201"/>
                    <a:pt x="10343" y="201"/>
                  </a:cubicBezTo>
                  <a:cubicBezTo>
                    <a:pt x="10177" y="401"/>
                    <a:pt x="10177" y="401"/>
                    <a:pt x="10177" y="401"/>
                  </a:cubicBezTo>
                  <a:cubicBezTo>
                    <a:pt x="10094" y="602"/>
                    <a:pt x="10094" y="602"/>
                    <a:pt x="10094" y="602"/>
                  </a:cubicBezTo>
                  <a:cubicBezTo>
                    <a:pt x="10135" y="923"/>
                    <a:pt x="10135" y="923"/>
                    <a:pt x="10135" y="923"/>
                  </a:cubicBezTo>
                  <a:cubicBezTo>
                    <a:pt x="10011" y="1124"/>
                    <a:pt x="10011" y="1124"/>
                    <a:pt x="10011" y="1124"/>
                  </a:cubicBezTo>
                  <a:cubicBezTo>
                    <a:pt x="10011" y="1365"/>
                    <a:pt x="10011" y="1365"/>
                    <a:pt x="10011" y="1365"/>
                  </a:cubicBezTo>
                  <a:cubicBezTo>
                    <a:pt x="10011" y="1726"/>
                    <a:pt x="10011" y="1726"/>
                    <a:pt x="10011" y="1726"/>
                  </a:cubicBezTo>
                  <a:cubicBezTo>
                    <a:pt x="9803" y="1847"/>
                    <a:pt x="9803" y="1847"/>
                    <a:pt x="9803" y="1847"/>
                  </a:cubicBezTo>
                  <a:cubicBezTo>
                    <a:pt x="9512" y="2128"/>
                    <a:pt x="9512" y="2128"/>
                    <a:pt x="9512" y="2128"/>
                  </a:cubicBezTo>
                  <a:cubicBezTo>
                    <a:pt x="9097" y="2288"/>
                    <a:pt x="9097" y="2288"/>
                    <a:pt x="9097" y="2288"/>
                  </a:cubicBezTo>
                  <a:cubicBezTo>
                    <a:pt x="8557" y="2409"/>
                    <a:pt x="8557" y="2409"/>
                    <a:pt x="8557" y="2409"/>
                  </a:cubicBezTo>
                  <a:cubicBezTo>
                    <a:pt x="8142" y="2529"/>
                    <a:pt x="8142" y="2529"/>
                    <a:pt x="8142" y="2529"/>
                  </a:cubicBezTo>
                  <a:cubicBezTo>
                    <a:pt x="7768" y="2730"/>
                    <a:pt x="7768" y="2730"/>
                    <a:pt x="7768" y="2730"/>
                  </a:cubicBezTo>
                  <a:cubicBezTo>
                    <a:pt x="7685" y="3011"/>
                    <a:pt x="7685" y="3011"/>
                    <a:pt x="7685" y="3011"/>
                  </a:cubicBezTo>
                  <a:cubicBezTo>
                    <a:pt x="7643" y="3372"/>
                    <a:pt x="7643" y="3372"/>
                    <a:pt x="7643" y="3372"/>
                  </a:cubicBezTo>
                  <a:cubicBezTo>
                    <a:pt x="7352" y="3493"/>
                    <a:pt x="7352" y="3493"/>
                    <a:pt x="7352" y="3493"/>
                  </a:cubicBezTo>
                  <a:cubicBezTo>
                    <a:pt x="7352" y="3493"/>
                    <a:pt x="7228" y="3573"/>
                    <a:pt x="7145" y="3533"/>
                  </a:cubicBezTo>
                  <a:cubicBezTo>
                    <a:pt x="7020" y="3533"/>
                    <a:pt x="6771" y="3453"/>
                    <a:pt x="6771" y="3453"/>
                  </a:cubicBezTo>
                  <a:cubicBezTo>
                    <a:pt x="6771" y="3453"/>
                    <a:pt x="6480" y="3292"/>
                    <a:pt x="6355" y="3292"/>
                  </a:cubicBezTo>
                  <a:cubicBezTo>
                    <a:pt x="6231" y="3252"/>
                    <a:pt x="6023" y="3051"/>
                    <a:pt x="6023" y="3051"/>
                  </a:cubicBezTo>
                  <a:cubicBezTo>
                    <a:pt x="5815" y="3212"/>
                    <a:pt x="5815" y="3212"/>
                    <a:pt x="5815" y="3212"/>
                  </a:cubicBezTo>
                  <a:cubicBezTo>
                    <a:pt x="5815" y="3212"/>
                    <a:pt x="5691" y="3091"/>
                    <a:pt x="5691" y="3011"/>
                  </a:cubicBezTo>
                  <a:cubicBezTo>
                    <a:pt x="5691" y="2971"/>
                    <a:pt x="5691" y="2971"/>
                    <a:pt x="5691" y="2891"/>
                  </a:cubicBezTo>
                  <a:cubicBezTo>
                    <a:pt x="5691" y="2770"/>
                    <a:pt x="5691" y="2570"/>
                    <a:pt x="5691" y="2570"/>
                  </a:cubicBezTo>
                  <a:cubicBezTo>
                    <a:pt x="5400" y="2449"/>
                    <a:pt x="5400" y="2449"/>
                    <a:pt x="5400" y="2449"/>
                  </a:cubicBezTo>
                  <a:cubicBezTo>
                    <a:pt x="5109" y="2409"/>
                    <a:pt x="5109" y="2409"/>
                    <a:pt x="5109" y="2409"/>
                  </a:cubicBezTo>
                  <a:cubicBezTo>
                    <a:pt x="5109" y="2409"/>
                    <a:pt x="5109" y="2489"/>
                    <a:pt x="5026" y="2409"/>
                  </a:cubicBezTo>
                  <a:cubicBezTo>
                    <a:pt x="4902" y="2329"/>
                    <a:pt x="4902" y="2168"/>
                    <a:pt x="4902" y="2168"/>
                  </a:cubicBezTo>
                  <a:cubicBezTo>
                    <a:pt x="4652" y="2048"/>
                    <a:pt x="4652" y="2048"/>
                    <a:pt x="4652" y="2048"/>
                  </a:cubicBezTo>
                  <a:cubicBezTo>
                    <a:pt x="4569" y="2369"/>
                    <a:pt x="4569" y="2369"/>
                    <a:pt x="4569" y="2369"/>
                  </a:cubicBezTo>
                  <a:cubicBezTo>
                    <a:pt x="4860" y="2610"/>
                    <a:pt x="4860" y="2610"/>
                    <a:pt x="4860" y="2610"/>
                  </a:cubicBezTo>
                  <a:cubicBezTo>
                    <a:pt x="4943" y="2770"/>
                    <a:pt x="4943" y="2770"/>
                    <a:pt x="4943" y="2770"/>
                  </a:cubicBezTo>
                  <a:cubicBezTo>
                    <a:pt x="4860" y="3011"/>
                    <a:pt x="4860" y="3011"/>
                    <a:pt x="4860" y="3011"/>
                  </a:cubicBezTo>
                  <a:cubicBezTo>
                    <a:pt x="4943" y="3212"/>
                    <a:pt x="4943" y="3212"/>
                    <a:pt x="4943" y="3212"/>
                  </a:cubicBezTo>
                  <a:cubicBezTo>
                    <a:pt x="4985" y="3372"/>
                    <a:pt x="4985" y="3372"/>
                    <a:pt x="4985" y="3372"/>
                  </a:cubicBezTo>
                  <a:cubicBezTo>
                    <a:pt x="4985" y="3372"/>
                    <a:pt x="5026" y="3372"/>
                    <a:pt x="5026" y="3493"/>
                  </a:cubicBezTo>
                  <a:cubicBezTo>
                    <a:pt x="5026" y="3573"/>
                    <a:pt x="4985" y="3975"/>
                    <a:pt x="4985" y="3975"/>
                  </a:cubicBezTo>
                  <a:cubicBezTo>
                    <a:pt x="4985" y="4296"/>
                    <a:pt x="4985" y="4296"/>
                    <a:pt x="4985" y="4296"/>
                  </a:cubicBezTo>
                  <a:cubicBezTo>
                    <a:pt x="5109" y="4617"/>
                    <a:pt x="5109" y="4617"/>
                    <a:pt x="5109" y="4617"/>
                  </a:cubicBezTo>
                  <a:cubicBezTo>
                    <a:pt x="5109" y="4617"/>
                    <a:pt x="4902" y="4738"/>
                    <a:pt x="4818" y="4738"/>
                  </a:cubicBezTo>
                  <a:cubicBezTo>
                    <a:pt x="4735" y="4738"/>
                    <a:pt x="4528" y="4657"/>
                    <a:pt x="4528" y="4657"/>
                  </a:cubicBezTo>
                  <a:cubicBezTo>
                    <a:pt x="4445" y="4457"/>
                    <a:pt x="4445" y="4457"/>
                    <a:pt x="4445" y="4457"/>
                  </a:cubicBezTo>
                  <a:cubicBezTo>
                    <a:pt x="3946" y="4497"/>
                    <a:pt x="3946" y="4497"/>
                    <a:pt x="3946" y="4497"/>
                  </a:cubicBezTo>
                  <a:cubicBezTo>
                    <a:pt x="3655" y="4457"/>
                    <a:pt x="3655" y="4457"/>
                    <a:pt x="3655" y="4457"/>
                  </a:cubicBezTo>
                  <a:cubicBezTo>
                    <a:pt x="3406" y="4617"/>
                    <a:pt x="3406" y="4617"/>
                    <a:pt x="3406" y="4617"/>
                  </a:cubicBezTo>
                  <a:cubicBezTo>
                    <a:pt x="3240" y="4577"/>
                    <a:pt x="3240" y="4577"/>
                    <a:pt x="3240" y="4577"/>
                  </a:cubicBezTo>
                  <a:cubicBezTo>
                    <a:pt x="3074" y="4416"/>
                    <a:pt x="3074" y="4416"/>
                    <a:pt x="3074" y="4416"/>
                  </a:cubicBezTo>
                  <a:cubicBezTo>
                    <a:pt x="3032" y="4175"/>
                    <a:pt x="3032" y="4175"/>
                    <a:pt x="3032" y="4175"/>
                  </a:cubicBezTo>
                  <a:cubicBezTo>
                    <a:pt x="2949" y="3975"/>
                    <a:pt x="2949" y="3975"/>
                    <a:pt x="2949" y="3975"/>
                  </a:cubicBezTo>
                  <a:cubicBezTo>
                    <a:pt x="2783" y="3774"/>
                    <a:pt x="2783" y="3774"/>
                    <a:pt x="2783" y="3774"/>
                  </a:cubicBezTo>
                  <a:cubicBezTo>
                    <a:pt x="2243" y="3814"/>
                    <a:pt x="2243" y="3814"/>
                    <a:pt x="2243" y="3814"/>
                  </a:cubicBezTo>
                  <a:cubicBezTo>
                    <a:pt x="2035" y="3854"/>
                    <a:pt x="2035" y="3854"/>
                    <a:pt x="2035" y="3854"/>
                  </a:cubicBezTo>
                  <a:cubicBezTo>
                    <a:pt x="1911" y="3975"/>
                    <a:pt x="1911" y="3975"/>
                    <a:pt x="1911" y="3975"/>
                  </a:cubicBezTo>
                  <a:cubicBezTo>
                    <a:pt x="1662" y="3935"/>
                    <a:pt x="1662" y="3935"/>
                    <a:pt x="1662" y="3935"/>
                  </a:cubicBezTo>
                  <a:cubicBezTo>
                    <a:pt x="1578" y="4055"/>
                    <a:pt x="1578" y="4055"/>
                    <a:pt x="1578" y="4055"/>
                  </a:cubicBezTo>
                  <a:cubicBezTo>
                    <a:pt x="1288" y="3975"/>
                    <a:pt x="1288" y="3975"/>
                    <a:pt x="1288" y="3975"/>
                  </a:cubicBezTo>
                  <a:cubicBezTo>
                    <a:pt x="997" y="4015"/>
                    <a:pt x="997" y="4015"/>
                    <a:pt x="997" y="4015"/>
                  </a:cubicBezTo>
                  <a:cubicBezTo>
                    <a:pt x="789" y="3975"/>
                    <a:pt x="789" y="3975"/>
                    <a:pt x="789" y="3975"/>
                  </a:cubicBezTo>
                  <a:cubicBezTo>
                    <a:pt x="415" y="4055"/>
                    <a:pt x="415" y="4055"/>
                    <a:pt x="415" y="4055"/>
                  </a:cubicBezTo>
                  <a:cubicBezTo>
                    <a:pt x="208" y="4216"/>
                    <a:pt x="208" y="4216"/>
                    <a:pt x="208" y="4216"/>
                  </a:cubicBezTo>
                  <a:cubicBezTo>
                    <a:pt x="0" y="4537"/>
                    <a:pt x="0" y="4537"/>
                    <a:pt x="0" y="4537"/>
                  </a:cubicBezTo>
                  <a:cubicBezTo>
                    <a:pt x="0" y="4537"/>
                    <a:pt x="83" y="4537"/>
                    <a:pt x="166" y="4537"/>
                  </a:cubicBezTo>
                  <a:cubicBezTo>
                    <a:pt x="208" y="4537"/>
                    <a:pt x="582" y="4577"/>
                    <a:pt x="582" y="4577"/>
                  </a:cubicBezTo>
                  <a:cubicBezTo>
                    <a:pt x="665" y="4697"/>
                    <a:pt x="665" y="4697"/>
                    <a:pt x="665" y="4697"/>
                  </a:cubicBezTo>
                  <a:cubicBezTo>
                    <a:pt x="415" y="4818"/>
                    <a:pt x="415" y="4818"/>
                    <a:pt x="415" y="4818"/>
                  </a:cubicBezTo>
                  <a:cubicBezTo>
                    <a:pt x="623" y="4898"/>
                    <a:pt x="623" y="4898"/>
                    <a:pt x="623" y="4898"/>
                  </a:cubicBezTo>
                  <a:cubicBezTo>
                    <a:pt x="665" y="4978"/>
                    <a:pt x="665" y="4978"/>
                    <a:pt x="665" y="4978"/>
                  </a:cubicBezTo>
                  <a:cubicBezTo>
                    <a:pt x="665" y="5099"/>
                    <a:pt x="665" y="5099"/>
                    <a:pt x="665" y="5099"/>
                  </a:cubicBezTo>
                  <a:cubicBezTo>
                    <a:pt x="208" y="5139"/>
                    <a:pt x="208" y="5139"/>
                    <a:pt x="208" y="5139"/>
                  </a:cubicBezTo>
                  <a:cubicBezTo>
                    <a:pt x="208" y="5139"/>
                    <a:pt x="83" y="5099"/>
                    <a:pt x="83" y="5179"/>
                  </a:cubicBezTo>
                  <a:cubicBezTo>
                    <a:pt x="42" y="5259"/>
                    <a:pt x="208" y="5300"/>
                    <a:pt x="208" y="5300"/>
                  </a:cubicBezTo>
                  <a:cubicBezTo>
                    <a:pt x="415" y="5420"/>
                    <a:pt x="415" y="5420"/>
                    <a:pt x="415" y="5420"/>
                  </a:cubicBezTo>
                  <a:cubicBezTo>
                    <a:pt x="374" y="5822"/>
                    <a:pt x="374" y="5822"/>
                    <a:pt x="374" y="5822"/>
                  </a:cubicBezTo>
                  <a:cubicBezTo>
                    <a:pt x="540" y="5822"/>
                    <a:pt x="540" y="5822"/>
                    <a:pt x="540" y="5822"/>
                  </a:cubicBezTo>
                  <a:cubicBezTo>
                    <a:pt x="789" y="5822"/>
                    <a:pt x="789" y="5822"/>
                    <a:pt x="789" y="5822"/>
                  </a:cubicBezTo>
                  <a:cubicBezTo>
                    <a:pt x="789" y="5822"/>
                    <a:pt x="831" y="5741"/>
                    <a:pt x="955" y="5701"/>
                  </a:cubicBezTo>
                  <a:cubicBezTo>
                    <a:pt x="1038" y="5701"/>
                    <a:pt x="1163" y="5701"/>
                    <a:pt x="1163" y="5701"/>
                  </a:cubicBezTo>
                  <a:cubicBezTo>
                    <a:pt x="1163" y="5701"/>
                    <a:pt x="1163" y="5661"/>
                    <a:pt x="1246" y="5862"/>
                  </a:cubicBezTo>
                  <a:cubicBezTo>
                    <a:pt x="1288" y="6022"/>
                    <a:pt x="1288" y="6022"/>
                    <a:pt x="1288" y="6022"/>
                  </a:cubicBezTo>
                  <a:cubicBezTo>
                    <a:pt x="1454" y="6062"/>
                    <a:pt x="1454" y="6062"/>
                    <a:pt x="1454" y="6062"/>
                  </a:cubicBezTo>
                  <a:cubicBezTo>
                    <a:pt x="1537" y="6103"/>
                    <a:pt x="1537" y="6103"/>
                    <a:pt x="1537" y="6103"/>
                  </a:cubicBezTo>
                  <a:cubicBezTo>
                    <a:pt x="1537" y="6103"/>
                    <a:pt x="1703" y="6183"/>
                    <a:pt x="1786" y="6223"/>
                  </a:cubicBezTo>
                  <a:cubicBezTo>
                    <a:pt x="1869" y="6263"/>
                    <a:pt x="2035" y="6424"/>
                    <a:pt x="2035" y="6424"/>
                  </a:cubicBezTo>
                  <a:cubicBezTo>
                    <a:pt x="2118" y="6464"/>
                    <a:pt x="2118" y="6464"/>
                    <a:pt x="2118" y="6464"/>
                  </a:cubicBezTo>
                  <a:cubicBezTo>
                    <a:pt x="2118" y="6665"/>
                    <a:pt x="2118" y="6665"/>
                    <a:pt x="2118" y="6665"/>
                  </a:cubicBezTo>
                  <a:cubicBezTo>
                    <a:pt x="2118" y="6665"/>
                    <a:pt x="2285" y="6705"/>
                    <a:pt x="2409" y="6705"/>
                  </a:cubicBezTo>
                  <a:cubicBezTo>
                    <a:pt x="2534" y="6705"/>
                    <a:pt x="2825" y="6665"/>
                    <a:pt x="2825" y="6665"/>
                  </a:cubicBezTo>
                  <a:cubicBezTo>
                    <a:pt x="2908" y="6825"/>
                    <a:pt x="2908" y="6825"/>
                    <a:pt x="2908" y="6825"/>
                  </a:cubicBezTo>
                  <a:cubicBezTo>
                    <a:pt x="2991" y="6825"/>
                    <a:pt x="3365" y="6946"/>
                    <a:pt x="3365" y="6946"/>
                  </a:cubicBezTo>
                  <a:cubicBezTo>
                    <a:pt x="3240" y="7106"/>
                    <a:pt x="3240" y="7106"/>
                    <a:pt x="3240" y="7106"/>
                  </a:cubicBezTo>
                  <a:cubicBezTo>
                    <a:pt x="3115" y="7227"/>
                    <a:pt x="3115" y="7227"/>
                    <a:pt x="3115" y="7227"/>
                  </a:cubicBezTo>
                  <a:cubicBezTo>
                    <a:pt x="3074" y="7347"/>
                    <a:pt x="3074" y="7347"/>
                    <a:pt x="3074" y="7347"/>
                  </a:cubicBezTo>
                  <a:cubicBezTo>
                    <a:pt x="3074" y="7347"/>
                    <a:pt x="3115" y="7347"/>
                    <a:pt x="3282" y="7387"/>
                  </a:cubicBezTo>
                  <a:cubicBezTo>
                    <a:pt x="3448" y="7428"/>
                    <a:pt x="3572" y="7508"/>
                    <a:pt x="3572" y="7508"/>
                  </a:cubicBezTo>
                  <a:cubicBezTo>
                    <a:pt x="3489" y="7709"/>
                    <a:pt x="3489" y="7709"/>
                    <a:pt x="3489" y="7709"/>
                  </a:cubicBezTo>
                  <a:cubicBezTo>
                    <a:pt x="3697" y="7869"/>
                    <a:pt x="3697" y="7869"/>
                    <a:pt x="3697" y="7869"/>
                  </a:cubicBezTo>
                  <a:cubicBezTo>
                    <a:pt x="3697" y="7869"/>
                    <a:pt x="3780" y="7990"/>
                    <a:pt x="3780" y="8030"/>
                  </a:cubicBezTo>
                  <a:cubicBezTo>
                    <a:pt x="3738" y="8070"/>
                    <a:pt x="3738" y="8150"/>
                    <a:pt x="3738" y="8150"/>
                  </a:cubicBezTo>
                  <a:cubicBezTo>
                    <a:pt x="3614" y="8110"/>
                    <a:pt x="3614" y="8110"/>
                    <a:pt x="3614" y="8110"/>
                  </a:cubicBezTo>
                  <a:cubicBezTo>
                    <a:pt x="3614" y="8110"/>
                    <a:pt x="3614" y="8190"/>
                    <a:pt x="3572" y="8110"/>
                  </a:cubicBezTo>
                  <a:cubicBezTo>
                    <a:pt x="3489" y="8030"/>
                    <a:pt x="3448" y="7949"/>
                    <a:pt x="3448" y="7949"/>
                  </a:cubicBezTo>
                  <a:cubicBezTo>
                    <a:pt x="3406" y="8110"/>
                    <a:pt x="3406" y="8110"/>
                    <a:pt x="3406" y="8110"/>
                  </a:cubicBezTo>
                  <a:cubicBezTo>
                    <a:pt x="3406" y="8110"/>
                    <a:pt x="3448" y="8271"/>
                    <a:pt x="3489" y="8311"/>
                  </a:cubicBezTo>
                  <a:cubicBezTo>
                    <a:pt x="3572" y="8311"/>
                    <a:pt x="3572" y="8271"/>
                    <a:pt x="3572" y="8391"/>
                  </a:cubicBezTo>
                  <a:cubicBezTo>
                    <a:pt x="3572" y="8471"/>
                    <a:pt x="3614" y="8672"/>
                    <a:pt x="3655" y="8712"/>
                  </a:cubicBezTo>
                  <a:cubicBezTo>
                    <a:pt x="3697" y="8793"/>
                    <a:pt x="3697" y="8993"/>
                    <a:pt x="3738" y="9033"/>
                  </a:cubicBezTo>
                  <a:cubicBezTo>
                    <a:pt x="3822" y="9033"/>
                    <a:pt x="3863" y="9074"/>
                    <a:pt x="3863" y="9074"/>
                  </a:cubicBezTo>
                  <a:cubicBezTo>
                    <a:pt x="3946" y="9154"/>
                    <a:pt x="3946" y="9154"/>
                    <a:pt x="3946" y="9154"/>
                  </a:cubicBezTo>
                  <a:cubicBezTo>
                    <a:pt x="4195" y="9355"/>
                    <a:pt x="4195" y="9355"/>
                    <a:pt x="4195" y="9355"/>
                  </a:cubicBezTo>
                  <a:cubicBezTo>
                    <a:pt x="4195" y="9355"/>
                    <a:pt x="4362" y="9475"/>
                    <a:pt x="4445" y="9515"/>
                  </a:cubicBezTo>
                  <a:cubicBezTo>
                    <a:pt x="4528" y="9555"/>
                    <a:pt x="4569" y="9555"/>
                    <a:pt x="4569" y="9555"/>
                  </a:cubicBezTo>
                  <a:cubicBezTo>
                    <a:pt x="4777" y="9756"/>
                    <a:pt x="4777" y="9756"/>
                    <a:pt x="4777" y="9756"/>
                  </a:cubicBezTo>
                  <a:cubicBezTo>
                    <a:pt x="4777" y="9756"/>
                    <a:pt x="4902" y="9957"/>
                    <a:pt x="4860" y="9957"/>
                  </a:cubicBezTo>
                  <a:cubicBezTo>
                    <a:pt x="4818" y="9957"/>
                    <a:pt x="4860" y="9997"/>
                    <a:pt x="4777" y="9997"/>
                  </a:cubicBezTo>
                  <a:cubicBezTo>
                    <a:pt x="4652" y="9997"/>
                    <a:pt x="4694" y="10077"/>
                    <a:pt x="4611" y="9997"/>
                  </a:cubicBezTo>
                  <a:cubicBezTo>
                    <a:pt x="4486" y="9917"/>
                    <a:pt x="4403" y="9796"/>
                    <a:pt x="4278" y="9796"/>
                  </a:cubicBezTo>
                  <a:cubicBezTo>
                    <a:pt x="4154" y="9796"/>
                    <a:pt x="4154" y="9796"/>
                    <a:pt x="4154" y="9796"/>
                  </a:cubicBezTo>
                  <a:cubicBezTo>
                    <a:pt x="4403" y="9997"/>
                    <a:pt x="4403" y="9997"/>
                    <a:pt x="4403" y="9997"/>
                  </a:cubicBezTo>
                  <a:cubicBezTo>
                    <a:pt x="4528" y="10037"/>
                    <a:pt x="4528" y="10037"/>
                    <a:pt x="4528" y="10037"/>
                  </a:cubicBezTo>
                  <a:cubicBezTo>
                    <a:pt x="4694" y="10198"/>
                    <a:pt x="4694" y="10198"/>
                    <a:pt x="4694" y="10198"/>
                  </a:cubicBezTo>
                  <a:cubicBezTo>
                    <a:pt x="4735" y="10198"/>
                    <a:pt x="4735" y="10198"/>
                    <a:pt x="4735" y="10198"/>
                  </a:cubicBezTo>
                  <a:cubicBezTo>
                    <a:pt x="4735" y="10198"/>
                    <a:pt x="4777" y="10278"/>
                    <a:pt x="4777" y="10318"/>
                  </a:cubicBezTo>
                  <a:cubicBezTo>
                    <a:pt x="4777" y="10358"/>
                    <a:pt x="4735" y="10479"/>
                    <a:pt x="4694" y="10519"/>
                  </a:cubicBezTo>
                  <a:cubicBezTo>
                    <a:pt x="4694" y="10599"/>
                    <a:pt x="4694" y="10680"/>
                    <a:pt x="4694" y="10680"/>
                  </a:cubicBezTo>
                  <a:cubicBezTo>
                    <a:pt x="4569" y="10399"/>
                    <a:pt x="4569" y="10399"/>
                    <a:pt x="4569" y="10399"/>
                  </a:cubicBezTo>
                  <a:cubicBezTo>
                    <a:pt x="4569" y="10399"/>
                    <a:pt x="4611" y="10318"/>
                    <a:pt x="4528" y="10278"/>
                  </a:cubicBezTo>
                  <a:cubicBezTo>
                    <a:pt x="4445" y="10278"/>
                    <a:pt x="4362" y="10318"/>
                    <a:pt x="4362" y="10318"/>
                  </a:cubicBezTo>
                  <a:cubicBezTo>
                    <a:pt x="4362" y="10318"/>
                    <a:pt x="4320" y="10399"/>
                    <a:pt x="4362" y="10439"/>
                  </a:cubicBezTo>
                  <a:cubicBezTo>
                    <a:pt x="4445" y="10479"/>
                    <a:pt x="4486" y="10519"/>
                    <a:pt x="4486" y="10559"/>
                  </a:cubicBezTo>
                  <a:cubicBezTo>
                    <a:pt x="4528" y="10599"/>
                    <a:pt x="4528" y="10639"/>
                    <a:pt x="4528" y="10639"/>
                  </a:cubicBezTo>
                  <a:cubicBezTo>
                    <a:pt x="4528" y="10639"/>
                    <a:pt x="4611" y="10639"/>
                    <a:pt x="4611" y="10720"/>
                  </a:cubicBezTo>
                  <a:cubicBezTo>
                    <a:pt x="4611" y="10840"/>
                    <a:pt x="4569" y="10961"/>
                    <a:pt x="4569" y="10961"/>
                  </a:cubicBezTo>
                  <a:cubicBezTo>
                    <a:pt x="4569" y="10961"/>
                    <a:pt x="4486" y="10961"/>
                    <a:pt x="4611" y="11041"/>
                  </a:cubicBezTo>
                  <a:cubicBezTo>
                    <a:pt x="4735" y="11121"/>
                    <a:pt x="4777" y="11161"/>
                    <a:pt x="4818" y="11201"/>
                  </a:cubicBezTo>
                  <a:cubicBezTo>
                    <a:pt x="4860" y="11242"/>
                    <a:pt x="5026" y="11442"/>
                    <a:pt x="5026" y="11442"/>
                  </a:cubicBezTo>
                  <a:cubicBezTo>
                    <a:pt x="5151" y="11603"/>
                    <a:pt x="5151" y="11603"/>
                    <a:pt x="5151" y="11603"/>
                  </a:cubicBezTo>
                  <a:cubicBezTo>
                    <a:pt x="5151" y="11603"/>
                    <a:pt x="5151" y="11683"/>
                    <a:pt x="5151" y="11683"/>
                  </a:cubicBezTo>
                  <a:cubicBezTo>
                    <a:pt x="5109" y="11683"/>
                    <a:pt x="5026" y="11683"/>
                    <a:pt x="5026" y="11683"/>
                  </a:cubicBezTo>
                  <a:cubicBezTo>
                    <a:pt x="5026" y="11683"/>
                    <a:pt x="4985" y="11683"/>
                    <a:pt x="4943" y="11643"/>
                  </a:cubicBezTo>
                  <a:cubicBezTo>
                    <a:pt x="4902" y="11563"/>
                    <a:pt x="4818" y="11442"/>
                    <a:pt x="4818" y="11442"/>
                  </a:cubicBezTo>
                  <a:cubicBezTo>
                    <a:pt x="4735" y="11402"/>
                    <a:pt x="4735" y="11402"/>
                    <a:pt x="4735" y="11402"/>
                  </a:cubicBezTo>
                  <a:cubicBezTo>
                    <a:pt x="4652" y="11442"/>
                    <a:pt x="4652" y="11442"/>
                    <a:pt x="4652" y="11442"/>
                  </a:cubicBezTo>
                  <a:cubicBezTo>
                    <a:pt x="4652" y="11442"/>
                    <a:pt x="4569" y="11603"/>
                    <a:pt x="4569" y="11603"/>
                  </a:cubicBezTo>
                  <a:cubicBezTo>
                    <a:pt x="4569" y="11643"/>
                    <a:pt x="4445" y="11884"/>
                    <a:pt x="4445" y="11884"/>
                  </a:cubicBezTo>
                  <a:cubicBezTo>
                    <a:pt x="4362" y="12366"/>
                    <a:pt x="4362" y="12366"/>
                    <a:pt x="4362" y="12366"/>
                  </a:cubicBezTo>
                  <a:cubicBezTo>
                    <a:pt x="4362" y="12366"/>
                    <a:pt x="4362" y="12928"/>
                    <a:pt x="4320" y="12968"/>
                  </a:cubicBezTo>
                  <a:cubicBezTo>
                    <a:pt x="4320" y="13008"/>
                    <a:pt x="4154" y="13410"/>
                    <a:pt x="4154" y="13410"/>
                  </a:cubicBezTo>
                  <a:cubicBezTo>
                    <a:pt x="4154" y="13410"/>
                    <a:pt x="4154" y="13450"/>
                    <a:pt x="4154" y="13570"/>
                  </a:cubicBezTo>
                  <a:cubicBezTo>
                    <a:pt x="4112" y="13691"/>
                    <a:pt x="4071" y="13891"/>
                    <a:pt x="4071" y="13891"/>
                  </a:cubicBezTo>
                  <a:cubicBezTo>
                    <a:pt x="4071" y="13891"/>
                    <a:pt x="4029" y="14052"/>
                    <a:pt x="4029" y="14132"/>
                  </a:cubicBezTo>
                  <a:cubicBezTo>
                    <a:pt x="3988" y="14213"/>
                    <a:pt x="3863" y="14534"/>
                    <a:pt x="3863" y="14534"/>
                  </a:cubicBezTo>
                  <a:cubicBezTo>
                    <a:pt x="3822" y="14895"/>
                    <a:pt x="3822" y="14895"/>
                    <a:pt x="3822" y="14895"/>
                  </a:cubicBezTo>
                  <a:cubicBezTo>
                    <a:pt x="3489" y="15578"/>
                    <a:pt x="3489" y="15578"/>
                    <a:pt x="3489" y="15578"/>
                  </a:cubicBezTo>
                  <a:cubicBezTo>
                    <a:pt x="3240" y="15778"/>
                    <a:pt x="3240" y="15778"/>
                    <a:pt x="3240" y="15778"/>
                  </a:cubicBezTo>
                  <a:cubicBezTo>
                    <a:pt x="3115" y="15859"/>
                    <a:pt x="3115" y="15859"/>
                    <a:pt x="3115" y="15859"/>
                  </a:cubicBezTo>
                  <a:cubicBezTo>
                    <a:pt x="3240" y="15899"/>
                    <a:pt x="3323" y="15939"/>
                    <a:pt x="3365" y="16059"/>
                  </a:cubicBezTo>
                  <a:cubicBezTo>
                    <a:pt x="3448" y="16260"/>
                    <a:pt x="3614" y="16581"/>
                    <a:pt x="3614" y="16581"/>
                  </a:cubicBezTo>
                  <a:cubicBezTo>
                    <a:pt x="4154" y="16782"/>
                    <a:pt x="4154" y="16782"/>
                    <a:pt x="4154" y="16782"/>
                  </a:cubicBezTo>
                  <a:cubicBezTo>
                    <a:pt x="4154" y="16782"/>
                    <a:pt x="4445" y="17023"/>
                    <a:pt x="4486" y="17103"/>
                  </a:cubicBezTo>
                  <a:cubicBezTo>
                    <a:pt x="4528" y="17143"/>
                    <a:pt x="5151" y="17344"/>
                    <a:pt x="5151" y="17344"/>
                  </a:cubicBezTo>
                  <a:cubicBezTo>
                    <a:pt x="5566" y="17706"/>
                    <a:pt x="5566" y="17706"/>
                    <a:pt x="5566" y="17706"/>
                  </a:cubicBezTo>
                  <a:cubicBezTo>
                    <a:pt x="6189" y="17706"/>
                    <a:pt x="6189" y="17706"/>
                    <a:pt x="6189" y="17706"/>
                  </a:cubicBezTo>
                  <a:cubicBezTo>
                    <a:pt x="6605" y="17786"/>
                    <a:pt x="6605" y="17786"/>
                    <a:pt x="6605" y="17786"/>
                  </a:cubicBezTo>
                  <a:cubicBezTo>
                    <a:pt x="6812" y="17545"/>
                    <a:pt x="6812" y="17545"/>
                    <a:pt x="6812" y="17545"/>
                  </a:cubicBezTo>
                  <a:cubicBezTo>
                    <a:pt x="6812" y="17545"/>
                    <a:pt x="7851" y="18027"/>
                    <a:pt x="7892" y="18027"/>
                  </a:cubicBezTo>
                  <a:cubicBezTo>
                    <a:pt x="7934" y="18027"/>
                    <a:pt x="7934" y="18147"/>
                    <a:pt x="7975" y="18268"/>
                  </a:cubicBezTo>
                  <a:cubicBezTo>
                    <a:pt x="7975" y="18268"/>
                    <a:pt x="7975" y="18268"/>
                    <a:pt x="7975" y="18268"/>
                  </a:cubicBezTo>
                  <a:cubicBezTo>
                    <a:pt x="7975" y="18268"/>
                    <a:pt x="7975" y="18268"/>
                    <a:pt x="7975" y="18268"/>
                  </a:cubicBezTo>
                  <a:cubicBezTo>
                    <a:pt x="8017" y="18268"/>
                    <a:pt x="8017" y="18268"/>
                    <a:pt x="8017" y="18268"/>
                  </a:cubicBezTo>
                  <a:cubicBezTo>
                    <a:pt x="8017" y="18268"/>
                    <a:pt x="7975" y="18228"/>
                    <a:pt x="7975" y="18228"/>
                  </a:cubicBezTo>
                  <a:cubicBezTo>
                    <a:pt x="7975" y="18187"/>
                    <a:pt x="7975" y="18187"/>
                    <a:pt x="7975" y="18187"/>
                  </a:cubicBezTo>
                  <a:cubicBezTo>
                    <a:pt x="8017" y="18187"/>
                    <a:pt x="8017" y="18187"/>
                    <a:pt x="8017" y="18187"/>
                  </a:cubicBezTo>
                  <a:cubicBezTo>
                    <a:pt x="8017" y="18187"/>
                    <a:pt x="8017" y="18187"/>
                    <a:pt x="8017" y="18187"/>
                  </a:cubicBezTo>
                  <a:cubicBezTo>
                    <a:pt x="8017" y="18187"/>
                    <a:pt x="8017" y="18187"/>
                    <a:pt x="8017" y="18187"/>
                  </a:cubicBezTo>
                  <a:cubicBezTo>
                    <a:pt x="8058" y="18187"/>
                    <a:pt x="8058" y="18187"/>
                    <a:pt x="8058" y="18187"/>
                  </a:cubicBezTo>
                  <a:cubicBezTo>
                    <a:pt x="8100" y="18147"/>
                    <a:pt x="8100" y="18147"/>
                    <a:pt x="8100" y="18147"/>
                  </a:cubicBezTo>
                  <a:cubicBezTo>
                    <a:pt x="8100" y="18147"/>
                    <a:pt x="8100" y="18147"/>
                    <a:pt x="8100" y="18147"/>
                  </a:cubicBezTo>
                  <a:cubicBezTo>
                    <a:pt x="8100" y="18107"/>
                    <a:pt x="8058" y="18107"/>
                    <a:pt x="8058" y="18107"/>
                  </a:cubicBezTo>
                  <a:cubicBezTo>
                    <a:pt x="8058" y="18107"/>
                    <a:pt x="8100" y="18107"/>
                    <a:pt x="8100" y="18067"/>
                  </a:cubicBezTo>
                  <a:cubicBezTo>
                    <a:pt x="8100" y="18067"/>
                    <a:pt x="8100" y="18067"/>
                    <a:pt x="8100" y="18067"/>
                  </a:cubicBezTo>
                  <a:cubicBezTo>
                    <a:pt x="8142" y="18067"/>
                    <a:pt x="8142" y="18067"/>
                    <a:pt x="8142" y="18067"/>
                  </a:cubicBezTo>
                  <a:cubicBezTo>
                    <a:pt x="8142" y="18067"/>
                    <a:pt x="8142" y="18067"/>
                    <a:pt x="8142" y="18067"/>
                  </a:cubicBezTo>
                  <a:cubicBezTo>
                    <a:pt x="8142" y="18067"/>
                    <a:pt x="8142" y="18067"/>
                    <a:pt x="8142" y="18067"/>
                  </a:cubicBezTo>
                  <a:cubicBezTo>
                    <a:pt x="8183" y="18067"/>
                    <a:pt x="8183" y="18067"/>
                    <a:pt x="8183" y="18067"/>
                  </a:cubicBezTo>
                  <a:cubicBezTo>
                    <a:pt x="8183" y="18067"/>
                    <a:pt x="8183" y="18067"/>
                    <a:pt x="8183" y="18067"/>
                  </a:cubicBezTo>
                  <a:cubicBezTo>
                    <a:pt x="8225" y="18067"/>
                    <a:pt x="8225" y="18067"/>
                    <a:pt x="8225" y="18067"/>
                  </a:cubicBezTo>
                  <a:cubicBezTo>
                    <a:pt x="8225" y="18067"/>
                    <a:pt x="8225" y="18067"/>
                    <a:pt x="8225" y="18067"/>
                  </a:cubicBezTo>
                  <a:cubicBezTo>
                    <a:pt x="8225" y="18067"/>
                    <a:pt x="8266" y="18067"/>
                    <a:pt x="8266" y="18067"/>
                  </a:cubicBezTo>
                  <a:cubicBezTo>
                    <a:pt x="8266" y="18067"/>
                    <a:pt x="8266" y="18107"/>
                    <a:pt x="8266" y="18107"/>
                  </a:cubicBezTo>
                  <a:cubicBezTo>
                    <a:pt x="8266" y="18107"/>
                    <a:pt x="8266" y="18107"/>
                    <a:pt x="8266" y="18107"/>
                  </a:cubicBezTo>
                  <a:cubicBezTo>
                    <a:pt x="8266" y="18107"/>
                    <a:pt x="8308" y="18107"/>
                    <a:pt x="8308" y="18107"/>
                  </a:cubicBezTo>
                  <a:cubicBezTo>
                    <a:pt x="8308" y="18107"/>
                    <a:pt x="8308" y="18147"/>
                    <a:pt x="8308" y="18147"/>
                  </a:cubicBezTo>
                  <a:cubicBezTo>
                    <a:pt x="8308" y="18147"/>
                    <a:pt x="8349" y="18147"/>
                    <a:pt x="8349" y="18147"/>
                  </a:cubicBezTo>
                  <a:cubicBezTo>
                    <a:pt x="8349" y="18147"/>
                    <a:pt x="8391" y="18147"/>
                    <a:pt x="8391" y="18147"/>
                  </a:cubicBezTo>
                  <a:cubicBezTo>
                    <a:pt x="8391" y="18147"/>
                    <a:pt x="8391" y="18147"/>
                    <a:pt x="8391" y="18187"/>
                  </a:cubicBezTo>
                  <a:cubicBezTo>
                    <a:pt x="8432" y="18187"/>
                    <a:pt x="8432" y="18187"/>
                    <a:pt x="8432" y="18187"/>
                  </a:cubicBezTo>
                  <a:cubicBezTo>
                    <a:pt x="8432" y="18147"/>
                    <a:pt x="8474" y="18147"/>
                    <a:pt x="8474" y="18147"/>
                  </a:cubicBezTo>
                  <a:cubicBezTo>
                    <a:pt x="8474" y="18187"/>
                    <a:pt x="8474" y="18187"/>
                    <a:pt x="8474" y="18187"/>
                  </a:cubicBezTo>
                  <a:cubicBezTo>
                    <a:pt x="8515" y="18187"/>
                    <a:pt x="8515" y="18187"/>
                    <a:pt x="8515" y="18187"/>
                  </a:cubicBezTo>
                  <a:cubicBezTo>
                    <a:pt x="8557" y="18187"/>
                    <a:pt x="8557" y="18187"/>
                    <a:pt x="8557" y="18187"/>
                  </a:cubicBezTo>
                  <a:cubicBezTo>
                    <a:pt x="8557" y="18228"/>
                    <a:pt x="8557" y="18228"/>
                    <a:pt x="8557" y="18228"/>
                  </a:cubicBezTo>
                  <a:cubicBezTo>
                    <a:pt x="8515" y="18228"/>
                    <a:pt x="8515" y="18228"/>
                    <a:pt x="8515" y="18228"/>
                  </a:cubicBezTo>
                  <a:cubicBezTo>
                    <a:pt x="8515" y="18228"/>
                    <a:pt x="8515" y="18228"/>
                    <a:pt x="8515" y="18228"/>
                  </a:cubicBezTo>
                  <a:cubicBezTo>
                    <a:pt x="8515" y="18268"/>
                    <a:pt x="8515" y="18268"/>
                    <a:pt x="8515" y="18268"/>
                  </a:cubicBezTo>
                  <a:cubicBezTo>
                    <a:pt x="8557" y="18268"/>
                    <a:pt x="8557" y="18268"/>
                    <a:pt x="8557" y="18268"/>
                  </a:cubicBezTo>
                  <a:cubicBezTo>
                    <a:pt x="8557" y="18268"/>
                    <a:pt x="8557" y="18268"/>
                    <a:pt x="8557" y="18268"/>
                  </a:cubicBezTo>
                  <a:cubicBezTo>
                    <a:pt x="8640" y="18308"/>
                    <a:pt x="8640" y="18308"/>
                    <a:pt x="8640" y="18308"/>
                  </a:cubicBezTo>
                  <a:cubicBezTo>
                    <a:pt x="8598" y="18308"/>
                    <a:pt x="8598" y="18308"/>
                    <a:pt x="8598" y="18308"/>
                  </a:cubicBezTo>
                  <a:cubicBezTo>
                    <a:pt x="8598" y="18308"/>
                    <a:pt x="8598" y="18308"/>
                    <a:pt x="8598" y="18308"/>
                  </a:cubicBezTo>
                  <a:cubicBezTo>
                    <a:pt x="8598" y="18308"/>
                    <a:pt x="8557" y="18308"/>
                    <a:pt x="8557" y="18308"/>
                  </a:cubicBezTo>
                  <a:cubicBezTo>
                    <a:pt x="8557" y="18308"/>
                    <a:pt x="8515" y="18308"/>
                    <a:pt x="8515" y="18308"/>
                  </a:cubicBezTo>
                  <a:cubicBezTo>
                    <a:pt x="8515" y="18348"/>
                    <a:pt x="8515" y="18348"/>
                    <a:pt x="8515" y="18348"/>
                  </a:cubicBezTo>
                  <a:cubicBezTo>
                    <a:pt x="8515" y="18428"/>
                    <a:pt x="8515" y="18428"/>
                    <a:pt x="8515" y="18428"/>
                  </a:cubicBezTo>
                  <a:cubicBezTo>
                    <a:pt x="8474" y="18428"/>
                    <a:pt x="8474" y="18428"/>
                    <a:pt x="8474" y="18428"/>
                  </a:cubicBezTo>
                  <a:cubicBezTo>
                    <a:pt x="8474" y="18468"/>
                    <a:pt x="8474" y="18468"/>
                    <a:pt x="8474" y="18468"/>
                  </a:cubicBezTo>
                  <a:cubicBezTo>
                    <a:pt x="8474" y="18468"/>
                    <a:pt x="8474" y="18468"/>
                    <a:pt x="8474" y="18468"/>
                  </a:cubicBezTo>
                  <a:cubicBezTo>
                    <a:pt x="8474" y="18468"/>
                    <a:pt x="8474" y="18468"/>
                    <a:pt x="8474" y="18468"/>
                  </a:cubicBezTo>
                  <a:cubicBezTo>
                    <a:pt x="8474" y="18468"/>
                    <a:pt x="8474" y="18468"/>
                    <a:pt x="8432" y="18468"/>
                  </a:cubicBezTo>
                  <a:cubicBezTo>
                    <a:pt x="8432" y="18468"/>
                    <a:pt x="8432" y="18468"/>
                    <a:pt x="8432" y="18468"/>
                  </a:cubicBezTo>
                  <a:cubicBezTo>
                    <a:pt x="8391" y="18428"/>
                    <a:pt x="8391" y="18428"/>
                    <a:pt x="8391" y="18428"/>
                  </a:cubicBezTo>
                  <a:cubicBezTo>
                    <a:pt x="8391" y="18468"/>
                    <a:pt x="8391" y="18468"/>
                    <a:pt x="8391" y="18468"/>
                  </a:cubicBezTo>
                  <a:cubicBezTo>
                    <a:pt x="8391" y="18509"/>
                    <a:pt x="8391" y="18509"/>
                    <a:pt x="8391" y="18509"/>
                  </a:cubicBezTo>
                  <a:cubicBezTo>
                    <a:pt x="8391" y="18509"/>
                    <a:pt x="8391" y="18509"/>
                    <a:pt x="8391" y="18509"/>
                  </a:cubicBezTo>
                  <a:cubicBezTo>
                    <a:pt x="8349" y="18509"/>
                    <a:pt x="8349" y="18509"/>
                    <a:pt x="8349" y="18509"/>
                  </a:cubicBezTo>
                  <a:cubicBezTo>
                    <a:pt x="8308" y="18509"/>
                    <a:pt x="8308" y="18509"/>
                    <a:pt x="8308" y="18509"/>
                  </a:cubicBezTo>
                  <a:cubicBezTo>
                    <a:pt x="8266" y="18509"/>
                    <a:pt x="8266" y="18509"/>
                    <a:pt x="8266" y="18509"/>
                  </a:cubicBezTo>
                  <a:cubicBezTo>
                    <a:pt x="8266" y="18509"/>
                    <a:pt x="8266" y="18509"/>
                    <a:pt x="8266" y="18509"/>
                  </a:cubicBezTo>
                  <a:cubicBezTo>
                    <a:pt x="8225" y="18549"/>
                    <a:pt x="8225" y="18549"/>
                    <a:pt x="8225" y="18549"/>
                  </a:cubicBezTo>
                  <a:cubicBezTo>
                    <a:pt x="8225" y="18549"/>
                    <a:pt x="8225" y="18549"/>
                    <a:pt x="8225" y="18549"/>
                  </a:cubicBezTo>
                  <a:cubicBezTo>
                    <a:pt x="8225" y="18549"/>
                    <a:pt x="8225" y="18549"/>
                    <a:pt x="8225" y="18549"/>
                  </a:cubicBezTo>
                  <a:cubicBezTo>
                    <a:pt x="8225" y="18549"/>
                    <a:pt x="8225" y="18549"/>
                    <a:pt x="8225" y="18549"/>
                  </a:cubicBezTo>
                  <a:cubicBezTo>
                    <a:pt x="8183" y="18509"/>
                    <a:pt x="8183" y="18509"/>
                    <a:pt x="8183" y="18509"/>
                  </a:cubicBezTo>
                  <a:cubicBezTo>
                    <a:pt x="8183" y="18549"/>
                    <a:pt x="8183" y="18549"/>
                    <a:pt x="8183" y="18549"/>
                  </a:cubicBezTo>
                  <a:cubicBezTo>
                    <a:pt x="8183" y="18549"/>
                    <a:pt x="8183" y="18549"/>
                    <a:pt x="8183" y="18549"/>
                  </a:cubicBezTo>
                  <a:cubicBezTo>
                    <a:pt x="8183" y="18549"/>
                    <a:pt x="8183" y="18549"/>
                    <a:pt x="8183" y="18549"/>
                  </a:cubicBezTo>
                  <a:cubicBezTo>
                    <a:pt x="8723" y="18669"/>
                    <a:pt x="8723" y="18669"/>
                    <a:pt x="8723" y="18669"/>
                  </a:cubicBezTo>
                  <a:cubicBezTo>
                    <a:pt x="8848" y="18709"/>
                    <a:pt x="8848" y="18790"/>
                    <a:pt x="8972" y="18870"/>
                  </a:cubicBezTo>
                  <a:cubicBezTo>
                    <a:pt x="9305" y="18749"/>
                    <a:pt x="9305" y="18749"/>
                    <a:pt x="9305" y="18749"/>
                  </a:cubicBezTo>
                  <a:cubicBezTo>
                    <a:pt x="9720" y="19030"/>
                    <a:pt x="9720" y="19030"/>
                    <a:pt x="9720" y="19030"/>
                  </a:cubicBezTo>
                  <a:cubicBezTo>
                    <a:pt x="10094" y="18910"/>
                    <a:pt x="10094" y="18910"/>
                    <a:pt x="10094" y="18910"/>
                  </a:cubicBezTo>
                  <a:cubicBezTo>
                    <a:pt x="10468" y="18910"/>
                    <a:pt x="10468" y="18910"/>
                    <a:pt x="10468" y="18910"/>
                  </a:cubicBezTo>
                  <a:cubicBezTo>
                    <a:pt x="10468" y="18870"/>
                    <a:pt x="10634" y="18870"/>
                    <a:pt x="10758" y="18910"/>
                  </a:cubicBezTo>
                  <a:cubicBezTo>
                    <a:pt x="10758" y="18910"/>
                    <a:pt x="10758" y="18910"/>
                    <a:pt x="10758" y="18910"/>
                  </a:cubicBezTo>
                  <a:close/>
                  <a:moveTo>
                    <a:pt x="7975" y="18308"/>
                  </a:moveTo>
                  <a:cubicBezTo>
                    <a:pt x="7975" y="18308"/>
                    <a:pt x="7975" y="18308"/>
                    <a:pt x="7975" y="18308"/>
                  </a:cubicBezTo>
                  <a:cubicBezTo>
                    <a:pt x="7975" y="18308"/>
                    <a:pt x="7975" y="18308"/>
                    <a:pt x="7975" y="18308"/>
                  </a:cubicBezTo>
                  <a:cubicBezTo>
                    <a:pt x="7975" y="18308"/>
                    <a:pt x="8017" y="18308"/>
                    <a:pt x="8017" y="18308"/>
                  </a:cubicBezTo>
                  <a:cubicBezTo>
                    <a:pt x="8017" y="18308"/>
                    <a:pt x="8017" y="18348"/>
                    <a:pt x="8017" y="18348"/>
                  </a:cubicBezTo>
                  <a:cubicBezTo>
                    <a:pt x="8017" y="18348"/>
                    <a:pt x="8017" y="18348"/>
                    <a:pt x="8017" y="18348"/>
                  </a:cubicBezTo>
                  <a:cubicBezTo>
                    <a:pt x="8017" y="18348"/>
                    <a:pt x="8017" y="18348"/>
                    <a:pt x="8058" y="18388"/>
                  </a:cubicBezTo>
                  <a:cubicBezTo>
                    <a:pt x="8058" y="18388"/>
                    <a:pt x="8017" y="18388"/>
                    <a:pt x="8017" y="18388"/>
                  </a:cubicBezTo>
                  <a:cubicBezTo>
                    <a:pt x="8017" y="18388"/>
                    <a:pt x="8017" y="18388"/>
                    <a:pt x="8017" y="18388"/>
                  </a:cubicBezTo>
                  <a:cubicBezTo>
                    <a:pt x="7975" y="18388"/>
                    <a:pt x="7975" y="18388"/>
                    <a:pt x="7975" y="18388"/>
                  </a:cubicBezTo>
                  <a:cubicBezTo>
                    <a:pt x="7975" y="18388"/>
                    <a:pt x="7975" y="18388"/>
                    <a:pt x="7975" y="18388"/>
                  </a:cubicBezTo>
                  <a:cubicBezTo>
                    <a:pt x="7975" y="18308"/>
                    <a:pt x="7975" y="18308"/>
                    <a:pt x="7975" y="18308"/>
                  </a:cubicBezTo>
                  <a:close/>
                  <a:moveTo>
                    <a:pt x="18692" y="8110"/>
                  </a:moveTo>
                  <a:cubicBezTo>
                    <a:pt x="18692" y="8110"/>
                    <a:pt x="18692" y="8110"/>
                    <a:pt x="18692" y="8110"/>
                  </a:cubicBezTo>
                  <a:cubicBezTo>
                    <a:pt x="18651" y="8110"/>
                    <a:pt x="18651" y="8110"/>
                    <a:pt x="18651" y="8110"/>
                  </a:cubicBezTo>
                  <a:cubicBezTo>
                    <a:pt x="18609" y="8070"/>
                    <a:pt x="18609" y="8070"/>
                    <a:pt x="18609" y="8070"/>
                  </a:cubicBezTo>
                  <a:cubicBezTo>
                    <a:pt x="18609" y="8070"/>
                    <a:pt x="18609" y="8070"/>
                    <a:pt x="18609" y="8070"/>
                  </a:cubicBezTo>
                  <a:cubicBezTo>
                    <a:pt x="18609" y="8070"/>
                    <a:pt x="18609" y="8070"/>
                    <a:pt x="18609" y="8070"/>
                  </a:cubicBezTo>
                  <a:cubicBezTo>
                    <a:pt x="18651" y="8070"/>
                    <a:pt x="18651" y="8030"/>
                    <a:pt x="18651" y="8030"/>
                  </a:cubicBezTo>
                  <a:cubicBezTo>
                    <a:pt x="18651" y="8070"/>
                    <a:pt x="18692" y="8070"/>
                    <a:pt x="18692" y="8110"/>
                  </a:cubicBezTo>
                  <a:close/>
                  <a:moveTo>
                    <a:pt x="20478" y="20877"/>
                  </a:moveTo>
                  <a:cubicBezTo>
                    <a:pt x="20478" y="20877"/>
                    <a:pt x="20478" y="20877"/>
                    <a:pt x="20478" y="20877"/>
                  </a:cubicBezTo>
                  <a:cubicBezTo>
                    <a:pt x="20395" y="21038"/>
                    <a:pt x="20395" y="21038"/>
                    <a:pt x="20395" y="21038"/>
                  </a:cubicBezTo>
                  <a:cubicBezTo>
                    <a:pt x="20312" y="21158"/>
                    <a:pt x="20312" y="21158"/>
                    <a:pt x="20312" y="21158"/>
                  </a:cubicBezTo>
                  <a:cubicBezTo>
                    <a:pt x="20520" y="21239"/>
                    <a:pt x="20520" y="21239"/>
                    <a:pt x="20520" y="21239"/>
                  </a:cubicBezTo>
                  <a:cubicBezTo>
                    <a:pt x="20645" y="21399"/>
                    <a:pt x="20645" y="21399"/>
                    <a:pt x="20645" y="21399"/>
                  </a:cubicBezTo>
                  <a:cubicBezTo>
                    <a:pt x="20645" y="21399"/>
                    <a:pt x="20728" y="21520"/>
                    <a:pt x="20811" y="21520"/>
                  </a:cubicBezTo>
                  <a:cubicBezTo>
                    <a:pt x="20894" y="21520"/>
                    <a:pt x="21018" y="21600"/>
                    <a:pt x="21018" y="21600"/>
                  </a:cubicBezTo>
                  <a:cubicBezTo>
                    <a:pt x="21018" y="21600"/>
                    <a:pt x="21102" y="21480"/>
                    <a:pt x="21102" y="21319"/>
                  </a:cubicBezTo>
                  <a:cubicBezTo>
                    <a:pt x="21143" y="21199"/>
                    <a:pt x="20977" y="21038"/>
                    <a:pt x="21226" y="20998"/>
                  </a:cubicBezTo>
                  <a:cubicBezTo>
                    <a:pt x="21475" y="20998"/>
                    <a:pt x="21309" y="20717"/>
                    <a:pt x="21309" y="20717"/>
                  </a:cubicBezTo>
                  <a:cubicBezTo>
                    <a:pt x="21309" y="20516"/>
                    <a:pt x="21309" y="20516"/>
                    <a:pt x="21309" y="20516"/>
                  </a:cubicBezTo>
                  <a:cubicBezTo>
                    <a:pt x="21268" y="20275"/>
                    <a:pt x="21268" y="20275"/>
                    <a:pt x="21268" y="20275"/>
                  </a:cubicBezTo>
                  <a:cubicBezTo>
                    <a:pt x="21309" y="20195"/>
                    <a:pt x="21309" y="20195"/>
                    <a:pt x="21309" y="20195"/>
                  </a:cubicBezTo>
                  <a:cubicBezTo>
                    <a:pt x="21434" y="20034"/>
                    <a:pt x="21434" y="20034"/>
                    <a:pt x="21434" y="20034"/>
                  </a:cubicBezTo>
                  <a:cubicBezTo>
                    <a:pt x="21558" y="19914"/>
                    <a:pt x="21558" y="19914"/>
                    <a:pt x="21558" y="19914"/>
                  </a:cubicBezTo>
                  <a:cubicBezTo>
                    <a:pt x="21558" y="19914"/>
                    <a:pt x="21600" y="19793"/>
                    <a:pt x="21600" y="19713"/>
                  </a:cubicBezTo>
                  <a:cubicBezTo>
                    <a:pt x="21558" y="19673"/>
                    <a:pt x="21434" y="19472"/>
                    <a:pt x="21434" y="19472"/>
                  </a:cubicBezTo>
                  <a:cubicBezTo>
                    <a:pt x="21558" y="18990"/>
                    <a:pt x="21558" y="18990"/>
                    <a:pt x="21558" y="18990"/>
                  </a:cubicBezTo>
                  <a:cubicBezTo>
                    <a:pt x="21517" y="18910"/>
                    <a:pt x="21517" y="18910"/>
                    <a:pt x="21517" y="18910"/>
                  </a:cubicBezTo>
                  <a:cubicBezTo>
                    <a:pt x="21475" y="18790"/>
                    <a:pt x="21475" y="18790"/>
                    <a:pt x="21475" y="18790"/>
                  </a:cubicBezTo>
                  <a:cubicBezTo>
                    <a:pt x="21392" y="18428"/>
                    <a:pt x="21392" y="18428"/>
                    <a:pt x="21392" y="18428"/>
                  </a:cubicBezTo>
                  <a:cubicBezTo>
                    <a:pt x="21392" y="17946"/>
                    <a:pt x="21392" y="17946"/>
                    <a:pt x="21392" y="17946"/>
                  </a:cubicBezTo>
                  <a:cubicBezTo>
                    <a:pt x="21143" y="18027"/>
                    <a:pt x="21143" y="18027"/>
                    <a:pt x="21143" y="18027"/>
                  </a:cubicBezTo>
                  <a:cubicBezTo>
                    <a:pt x="21226" y="18228"/>
                    <a:pt x="21226" y="18228"/>
                    <a:pt x="21226" y="18228"/>
                  </a:cubicBezTo>
                  <a:cubicBezTo>
                    <a:pt x="21143" y="18589"/>
                    <a:pt x="21143" y="18589"/>
                    <a:pt x="21143" y="18589"/>
                  </a:cubicBezTo>
                  <a:cubicBezTo>
                    <a:pt x="20935" y="18629"/>
                    <a:pt x="20935" y="18629"/>
                    <a:pt x="20935" y="18629"/>
                  </a:cubicBezTo>
                  <a:cubicBezTo>
                    <a:pt x="20852" y="18669"/>
                    <a:pt x="20852" y="18669"/>
                    <a:pt x="20852" y="18669"/>
                  </a:cubicBezTo>
                  <a:cubicBezTo>
                    <a:pt x="20728" y="18790"/>
                    <a:pt x="20728" y="18790"/>
                    <a:pt x="20728" y="18790"/>
                  </a:cubicBezTo>
                  <a:cubicBezTo>
                    <a:pt x="20520" y="18830"/>
                    <a:pt x="20520" y="18830"/>
                    <a:pt x="20520" y="18830"/>
                  </a:cubicBezTo>
                  <a:cubicBezTo>
                    <a:pt x="20312" y="18990"/>
                    <a:pt x="20312" y="18990"/>
                    <a:pt x="20312" y="18990"/>
                  </a:cubicBezTo>
                  <a:cubicBezTo>
                    <a:pt x="20146" y="19191"/>
                    <a:pt x="20146" y="19191"/>
                    <a:pt x="20146" y="19191"/>
                  </a:cubicBezTo>
                  <a:cubicBezTo>
                    <a:pt x="20022" y="19312"/>
                    <a:pt x="20022" y="19312"/>
                    <a:pt x="20022" y="19312"/>
                  </a:cubicBezTo>
                  <a:cubicBezTo>
                    <a:pt x="20022" y="19312"/>
                    <a:pt x="20022" y="19392"/>
                    <a:pt x="20105" y="19472"/>
                  </a:cubicBezTo>
                  <a:cubicBezTo>
                    <a:pt x="20188" y="19593"/>
                    <a:pt x="19980" y="19994"/>
                    <a:pt x="19980" y="19994"/>
                  </a:cubicBezTo>
                  <a:cubicBezTo>
                    <a:pt x="20146" y="19994"/>
                    <a:pt x="20146" y="19994"/>
                    <a:pt x="20146" y="19994"/>
                  </a:cubicBezTo>
                  <a:cubicBezTo>
                    <a:pt x="20188" y="20195"/>
                    <a:pt x="20188" y="20195"/>
                    <a:pt x="20188" y="20195"/>
                  </a:cubicBezTo>
                  <a:cubicBezTo>
                    <a:pt x="20063" y="20396"/>
                    <a:pt x="20063" y="20396"/>
                    <a:pt x="20063" y="20396"/>
                  </a:cubicBezTo>
                  <a:cubicBezTo>
                    <a:pt x="20188" y="20476"/>
                    <a:pt x="20188" y="20476"/>
                    <a:pt x="20188" y="20476"/>
                  </a:cubicBezTo>
                  <a:cubicBezTo>
                    <a:pt x="20312" y="20476"/>
                    <a:pt x="20312" y="20476"/>
                    <a:pt x="20312" y="20476"/>
                  </a:cubicBezTo>
                  <a:cubicBezTo>
                    <a:pt x="20188" y="20717"/>
                    <a:pt x="20188" y="20717"/>
                    <a:pt x="20188" y="20717"/>
                  </a:cubicBezTo>
                  <a:cubicBezTo>
                    <a:pt x="20188" y="20797"/>
                    <a:pt x="20188" y="20797"/>
                    <a:pt x="20188" y="20797"/>
                  </a:cubicBezTo>
                  <a:lnTo>
                    <a:pt x="20478" y="20877"/>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9" name="Shape 2252">
              <a:extLst>
                <a:ext uri="{FF2B5EF4-FFF2-40B4-BE49-F238E27FC236}">
                  <a16:creationId xmlns:a16="http://schemas.microsoft.com/office/drawing/2014/main" id="{9448A0C0-1B00-10F7-E1D3-133F913B01AC}"/>
                </a:ext>
              </a:extLst>
            </p:cNvPr>
            <p:cNvSpPr/>
            <p:nvPr/>
          </p:nvSpPr>
          <p:spPr>
            <a:xfrm>
              <a:off x="0" y="1969771"/>
              <a:ext cx="982261" cy="792151"/>
            </a:xfrm>
            <a:custGeom>
              <a:avLst/>
              <a:gdLst/>
              <a:ahLst/>
              <a:cxnLst>
                <a:cxn ang="0">
                  <a:pos x="wd2" y="hd2"/>
                </a:cxn>
                <a:cxn ang="5400000">
                  <a:pos x="wd2" y="hd2"/>
                </a:cxn>
                <a:cxn ang="10800000">
                  <a:pos x="wd2" y="hd2"/>
                </a:cxn>
                <a:cxn ang="16200000">
                  <a:pos x="wd2" y="hd2"/>
                </a:cxn>
              </a:cxnLst>
              <a:rect l="0" t="0" r="r" b="b"/>
              <a:pathLst>
                <a:path w="21600" h="21600" extrusionOk="0">
                  <a:moveTo>
                    <a:pt x="4356" y="8073"/>
                  </a:moveTo>
                  <a:cubicBezTo>
                    <a:pt x="4719" y="8400"/>
                    <a:pt x="4719" y="8400"/>
                    <a:pt x="4719" y="8400"/>
                  </a:cubicBezTo>
                  <a:cubicBezTo>
                    <a:pt x="4992" y="8182"/>
                    <a:pt x="4992" y="8182"/>
                    <a:pt x="4992" y="8182"/>
                  </a:cubicBezTo>
                  <a:cubicBezTo>
                    <a:pt x="5173" y="7964"/>
                    <a:pt x="5173" y="7964"/>
                    <a:pt x="5173" y="7964"/>
                  </a:cubicBezTo>
                  <a:cubicBezTo>
                    <a:pt x="5355" y="8182"/>
                    <a:pt x="5355" y="8182"/>
                    <a:pt x="5355" y="8182"/>
                  </a:cubicBezTo>
                  <a:cubicBezTo>
                    <a:pt x="5082" y="8509"/>
                    <a:pt x="5082" y="8509"/>
                    <a:pt x="5082" y="8509"/>
                  </a:cubicBezTo>
                  <a:cubicBezTo>
                    <a:pt x="4901" y="8727"/>
                    <a:pt x="4901" y="8727"/>
                    <a:pt x="4901" y="8727"/>
                  </a:cubicBezTo>
                  <a:cubicBezTo>
                    <a:pt x="4901" y="9055"/>
                    <a:pt x="4901" y="9055"/>
                    <a:pt x="4901" y="9055"/>
                  </a:cubicBezTo>
                  <a:cubicBezTo>
                    <a:pt x="4538" y="8945"/>
                    <a:pt x="4538" y="8945"/>
                    <a:pt x="4538" y="8945"/>
                  </a:cubicBezTo>
                  <a:cubicBezTo>
                    <a:pt x="4175" y="8509"/>
                    <a:pt x="4175" y="8509"/>
                    <a:pt x="4175" y="8509"/>
                  </a:cubicBezTo>
                  <a:cubicBezTo>
                    <a:pt x="3993" y="8400"/>
                    <a:pt x="3993" y="8400"/>
                    <a:pt x="3993" y="8400"/>
                  </a:cubicBezTo>
                  <a:cubicBezTo>
                    <a:pt x="3812" y="8291"/>
                    <a:pt x="3812" y="8291"/>
                    <a:pt x="3812" y="8291"/>
                  </a:cubicBezTo>
                  <a:cubicBezTo>
                    <a:pt x="3721" y="7964"/>
                    <a:pt x="3721" y="7964"/>
                    <a:pt x="3721" y="7964"/>
                  </a:cubicBezTo>
                  <a:cubicBezTo>
                    <a:pt x="3630" y="8073"/>
                    <a:pt x="3630" y="8073"/>
                    <a:pt x="3630" y="8073"/>
                  </a:cubicBezTo>
                  <a:cubicBezTo>
                    <a:pt x="3267" y="8182"/>
                    <a:pt x="3267" y="8182"/>
                    <a:pt x="3267" y="8182"/>
                  </a:cubicBezTo>
                  <a:cubicBezTo>
                    <a:pt x="3176" y="8291"/>
                    <a:pt x="3176" y="8291"/>
                    <a:pt x="3176" y="8291"/>
                  </a:cubicBezTo>
                  <a:cubicBezTo>
                    <a:pt x="3086" y="8073"/>
                    <a:pt x="3086" y="8073"/>
                    <a:pt x="3086" y="8073"/>
                  </a:cubicBezTo>
                  <a:cubicBezTo>
                    <a:pt x="3176" y="7855"/>
                    <a:pt x="3176" y="7855"/>
                    <a:pt x="3176" y="7855"/>
                  </a:cubicBezTo>
                  <a:cubicBezTo>
                    <a:pt x="2904" y="7855"/>
                    <a:pt x="2904" y="7855"/>
                    <a:pt x="2904" y="7855"/>
                  </a:cubicBezTo>
                  <a:cubicBezTo>
                    <a:pt x="2904" y="7855"/>
                    <a:pt x="2813" y="7964"/>
                    <a:pt x="2723" y="7964"/>
                  </a:cubicBezTo>
                  <a:cubicBezTo>
                    <a:pt x="2632" y="7964"/>
                    <a:pt x="2541" y="7964"/>
                    <a:pt x="2541" y="7964"/>
                  </a:cubicBezTo>
                  <a:cubicBezTo>
                    <a:pt x="2450" y="7855"/>
                    <a:pt x="2360" y="7745"/>
                    <a:pt x="2269" y="7745"/>
                  </a:cubicBezTo>
                  <a:cubicBezTo>
                    <a:pt x="2178" y="7636"/>
                    <a:pt x="2087" y="7527"/>
                    <a:pt x="2087" y="7527"/>
                  </a:cubicBezTo>
                  <a:cubicBezTo>
                    <a:pt x="1906" y="7636"/>
                    <a:pt x="1906" y="7636"/>
                    <a:pt x="1906" y="7636"/>
                  </a:cubicBezTo>
                  <a:cubicBezTo>
                    <a:pt x="1724" y="7855"/>
                    <a:pt x="1724" y="7855"/>
                    <a:pt x="1724" y="7855"/>
                  </a:cubicBezTo>
                  <a:cubicBezTo>
                    <a:pt x="1724" y="7745"/>
                    <a:pt x="1724" y="7745"/>
                    <a:pt x="1724" y="7745"/>
                  </a:cubicBezTo>
                  <a:cubicBezTo>
                    <a:pt x="1543" y="7636"/>
                    <a:pt x="1543" y="7636"/>
                    <a:pt x="1543" y="7636"/>
                  </a:cubicBezTo>
                  <a:cubicBezTo>
                    <a:pt x="1180" y="7636"/>
                    <a:pt x="1180" y="7636"/>
                    <a:pt x="1180" y="7636"/>
                  </a:cubicBezTo>
                  <a:cubicBezTo>
                    <a:pt x="1089" y="7636"/>
                    <a:pt x="1089" y="7636"/>
                    <a:pt x="1089" y="7636"/>
                  </a:cubicBezTo>
                  <a:cubicBezTo>
                    <a:pt x="1089" y="7636"/>
                    <a:pt x="1089" y="7636"/>
                    <a:pt x="908" y="7636"/>
                  </a:cubicBezTo>
                  <a:cubicBezTo>
                    <a:pt x="817" y="7527"/>
                    <a:pt x="817" y="7527"/>
                    <a:pt x="817" y="7527"/>
                  </a:cubicBezTo>
                  <a:cubicBezTo>
                    <a:pt x="545" y="7418"/>
                    <a:pt x="545" y="7418"/>
                    <a:pt x="545" y="7418"/>
                  </a:cubicBezTo>
                  <a:cubicBezTo>
                    <a:pt x="272" y="7309"/>
                    <a:pt x="272" y="7309"/>
                    <a:pt x="272" y="7309"/>
                  </a:cubicBezTo>
                  <a:cubicBezTo>
                    <a:pt x="272" y="7309"/>
                    <a:pt x="182" y="7309"/>
                    <a:pt x="182" y="7418"/>
                  </a:cubicBezTo>
                  <a:cubicBezTo>
                    <a:pt x="182" y="7636"/>
                    <a:pt x="0" y="7745"/>
                    <a:pt x="0" y="7855"/>
                  </a:cubicBezTo>
                  <a:cubicBezTo>
                    <a:pt x="91" y="7964"/>
                    <a:pt x="182" y="7964"/>
                    <a:pt x="272" y="8182"/>
                  </a:cubicBezTo>
                  <a:cubicBezTo>
                    <a:pt x="454" y="8291"/>
                    <a:pt x="454" y="8291"/>
                    <a:pt x="454" y="8291"/>
                  </a:cubicBezTo>
                  <a:cubicBezTo>
                    <a:pt x="726" y="8291"/>
                    <a:pt x="726" y="8291"/>
                    <a:pt x="726" y="8291"/>
                  </a:cubicBezTo>
                  <a:cubicBezTo>
                    <a:pt x="817" y="8182"/>
                    <a:pt x="817" y="8182"/>
                    <a:pt x="817" y="8182"/>
                  </a:cubicBezTo>
                  <a:cubicBezTo>
                    <a:pt x="1180" y="8291"/>
                    <a:pt x="1180" y="8291"/>
                    <a:pt x="1180" y="8291"/>
                  </a:cubicBezTo>
                  <a:cubicBezTo>
                    <a:pt x="1271" y="8509"/>
                    <a:pt x="1361" y="8727"/>
                    <a:pt x="1452" y="8618"/>
                  </a:cubicBezTo>
                  <a:cubicBezTo>
                    <a:pt x="1543" y="8509"/>
                    <a:pt x="1543" y="8509"/>
                    <a:pt x="1543" y="8509"/>
                  </a:cubicBezTo>
                  <a:cubicBezTo>
                    <a:pt x="1724" y="8618"/>
                    <a:pt x="1724" y="8618"/>
                    <a:pt x="1724" y="8618"/>
                  </a:cubicBezTo>
                  <a:cubicBezTo>
                    <a:pt x="1724" y="8618"/>
                    <a:pt x="1815" y="9055"/>
                    <a:pt x="1997" y="9055"/>
                  </a:cubicBezTo>
                  <a:cubicBezTo>
                    <a:pt x="2087" y="9164"/>
                    <a:pt x="2178" y="9164"/>
                    <a:pt x="2178" y="9164"/>
                  </a:cubicBezTo>
                  <a:cubicBezTo>
                    <a:pt x="2541" y="9382"/>
                    <a:pt x="2541" y="9382"/>
                    <a:pt x="2541" y="9382"/>
                  </a:cubicBezTo>
                  <a:cubicBezTo>
                    <a:pt x="2723" y="9382"/>
                    <a:pt x="2723" y="9382"/>
                    <a:pt x="2723" y="9382"/>
                  </a:cubicBezTo>
                  <a:cubicBezTo>
                    <a:pt x="2723" y="9382"/>
                    <a:pt x="2995" y="9273"/>
                    <a:pt x="2995" y="9382"/>
                  </a:cubicBezTo>
                  <a:cubicBezTo>
                    <a:pt x="2995" y="9491"/>
                    <a:pt x="3176" y="9600"/>
                    <a:pt x="3086" y="9709"/>
                  </a:cubicBezTo>
                  <a:cubicBezTo>
                    <a:pt x="3086" y="9709"/>
                    <a:pt x="3086" y="9818"/>
                    <a:pt x="3086" y="9927"/>
                  </a:cubicBezTo>
                  <a:cubicBezTo>
                    <a:pt x="3086" y="10036"/>
                    <a:pt x="3086" y="10145"/>
                    <a:pt x="3086" y="10145"/>
                  </a:cubicBezTo>
                  <a:cubicBezTo>
                    <a:pt x="2813" y="10473"/>
                    <a:pt x="2813" y="10473"/>
                    <a:pt x="2813" y="10473"/>
                  </a:cubicBezTo>
                  <a:cubicBezTo>
                    <a:pt x="2813" y="10691"/>
                    <a:pt x="2813" y="10691"/>
                    <a:pt x="2813" y="10691"/>
                  </a:cubicBezTo>
                  <a:cubicBezTo>
                    <a:pt x="2813" y="10691"/>
                    <a:pt x="2813" y="10909"/>
                    <a:pt x="2723" y="10909"/>
                  </a:cubicBezTo>
                  <a:cubicBezTo>
                    <a:pt x="2723" y="11018"/>
                    <a:pt x="2632" y="11345"/>
                    <a:pt x="2632" y="11345"/>
                  </a:cubicBezTo>
                  <a:cubicBezTo>
                    <a:pt x="2904" y="11127"/>
                    <a:pt x="2904" y="11127"/>
                    <a:pt x="2904" y="11127"/>
                  </a:cubicBezTo>
                  <a:cubicBezTo>
                    <a:pt x="2904" y="11127"/>
                    <a:pt x="2995" y="11127"/>
                    <a:pt x="2995" y="11236"/>
                  </a:cubicBezTo>
                  <a:cubicBezTo>
                    <a:pt x="2904" y="11455"/>
                    <a:pt x="2813" y="11564"/>
                    <a:pt x="2813" y="11564"/>
                  </a:cubicBezTo>
                  <a:cubicBezTo>
                    <a:pt x="2813" y="11564"/>
                    <a:pt x="2904" y="11891"/>
                    <a:pt x="2995" y="11782"/>
                  </a:cubicBezTo>
                  <a:cubicBezTo>
                    <a:pt x="3176" y="11673"/>
                    <a:pt x="3176" y="11673"/>
                    <a:pt x="3176" y="11673"/>
                  </a:cubicBezTo>
                  <a:cubicBezTo>
                    <a:pt x="3358" y="11564"/>
                    <a:pt x="3358" y="11564"/>
                    <a:pt x="3358" y="11564"/>
                  </a:cubicBezTo>
                  <a:cubicBezTo>
                    <a:pt x="3630" y="11455"/>
                    <a:pt x="3630" y="11455"/>
                    <a:pt x="3630" y="11455"/>
                  </a:cubicBezTo>
                  <a:cubicBezTo>
                    <a:pt x="3630" y="11455"/>
                    <a:pt x="3630" y="11455"/>
                    <a:pt x="3721" y="11345"/>
                  </a:cubicBezTo>
                  <a:cubicBezTo>
                    <a:pt x="3903" y="11345"/>
                    <a:pt x="4175" y="11345"/>
                    <a:pt x="4175" y="11345"/>
                  </a:cubicBezTo>
                  <a:cubicBezTo>
                    <a:pt x="4175" y="11345"/>
                    <a:pt x="4266" y="11673"/>
                    <a:pt x="4175" y="11673"/>
                  </a:cubicBezTo>
                  <a:cubicBezTo>
                    <a:pt x="4084" y="11673"/>
                    <a:pt x="3721" y="11564"/>
                    <a:pt x="3721" y="11564"/>
                  </a:cubicBezTo>
                  <a:cubicBezTo>
                    <a:pt x="3539" y="11673"/>
                    <a:pt x="3539" y="11673"/>
                    <a:pt x="3539" y="11673"/>
                  </a:cubicBezTo>
                  <a:cubicBezTo>
                    <a:pt x="3358" y="11782"/>
                    <a:pt x="3358" y="11782"/>
                    <a:pt x="3358" y="11782"/>
                  </a:cubicBezTo>
                  <a:cubicBezTo>
                    <a:pt x="3176" y="12000"/>
                    <a:pt x="3176" y="12000"/>
                    <a:pt x="3176" y="12000"/>
                  </a:cubicBezTo>
                  <a:cubicBezTo>
                    <a:pt x="3176" y="12000"/>
                    <a:pt x="2995" y="12327"/>
                    <a:pt x="3086" y="12327"/>
                  </a:cubicBezTo>
                  <a:cubicBezTo>
                    <a:pt x="3176" y="12436"/>
                    <a:pt x="2904" y="12545"/>
                    <a:pt x="2904" y="12545"/>
                  </a:cubicBezTo>
                  <a:cubicBezTo>
                    <a:pt x="2813" y="12545"/>
                    <a:pt x="2813" y="12545"/>
                    <a:pt x="2813" y="12545"/>
                  </a:cubicBezTo>
                  <a:cubicBezTo>
                    <a:pt x="2813" y="12655"/>
                    <a:pt x="2813" y="12655"/>
                    <a:pt x="2813" y="12655"/>
                  </a:cubicBezTo>
                  <a:cubicBezTo>
                    <a:pt x="2813" y="12655"/>
                    <a:pt x="2813" y="12655"/>
                    <a:pt x="2904" y="12764"/>
                  </a:cubicBezTo>
                  <a:cubicBezTo>
                    <a:pt x="2995" y="12764"/>
                    <a:pt x="3267" y="12764"/>
                    <a:pt x="3267" y="12764"/>
                  </a:cubicBezTo>
                  <a:cubicBezTo>
                    <a:pt x="3267" y="12764"/>
                    <a:pt x="3449" y="12655"/>
                    <a:pt x="3358" y="12764"/>
                  </a:cubicBezTo>
                  <a:cubicBezTo>
                    <a:pt x="3358" y="12873"/>
                    <a:pt x="3267" y="13200"/>
                    <a:pt x="3267" y="13200"/>
                  </a:cubicBezTo>
                  <a:cubicBezTo>
                    <a:pt x="3267" y="13200"/>
                    <a:pt x="3176" y="13309"/>
                    <a:pt x="2904" y="13309"/>
                  </a:cubicBezTo>
                  <a:cubicBezTo>
                    <a:pt x="2723" y="13418"/>
                    <a:pt x="2450" y="13527"/>
                    <a:pt x="2450" y="13527"/>
                  </a:cubicBezTo>
                  <a:cubicBezTo>
                    <a:pt x="2269" y="13855"/>
                    <a:pt x="2269" y="13855"/>
                    <a:pt x="2269" y="13855"/>
                  </a:cubicBezTo>
                  <a:cubicBezTo>
                    <a:pt x="2269" y="13855"/>
                    <a:pt x="2360" y="13964"/>
                    <a:pt x="2087" y="13964"/>
                  </a:cubicBezTo>
                  <a:cubicBezTo>
                    <a:pt x="1906" y="13964"/>
                    <a:pt x="1724" y="13964"/>
                    <a:pt x="1724" y="13964"/>
                  </a:cubicBezTo>
                  <a:cubicBezTo>
                    <a:pt x="1543" y="13964"/>
                    <a:pt x="1543" y="13964"/>
                    <a:pt x="1543" y="13964"/>
                  </a:cubicBezTo>
                  <a:cubicBezTo>
                    <a:pt x="1543" y="13964"/>
                    <a:pt x="1361" y="14073"/>
                    <a:pt x="1361" y="14073"/>
                  </a:cubicBezTo>
                  <a:cubicBezTo>
                    <a:pt x="1271" y="13964"/>
                    <a:pt x="1180" y="13855"/>
                    <a:pt x="1180" y="13855"/>
                  </a:cubicBezTo>
                  <a:cubicBezTo>
                    <a:pt x="1271" y="13418"/>
                    <a:pt x="1271" y="13418"/>
                    <a:pt x="1271" y="13418"/>
                  </a:cubicBezTo>
                  <a:cubicBezTo>
                    <a:pt x="1180" y="13309"/>
                    <a:pt x="1180" y="13309"/>
                    <a:pt x="1180" y="13309"/>
                  </a:cubicBezTo>
                  <a:cubicBezTo>
                    <a:pt x="1180" y="12982"/>
                    <a:pt x="1180" y="12982"/>
                    <a:pt x="1180" y="12982"/>
                  </a:cubicBezTo>
                  <a:cubicBezTo>
                    <a:pt x="1180" y="12982"/>
                    <a:pt x="908" y="13200"/>
                    <a:pt x="908" y="13309"/>
                  </a:cubicBezTo>
                  <a:cubicBezTo>
                    <a:pt x="817" y="13309"/>
                    <a:pt x="817" y="13527"/>
                    <a:pt x="817" y="13527"/>
                  </a:cubicBezTo>
                  <a:cubicBezTo>
                    <a:pt x="635" y="13855"/>
                    <a:pt x="635" y="13855"/>
                    <a:pt x="635" y="13855"/>
                  </a:cubicBezTo>
                  <a:cubicBezTo>
                    <a:pt x="545" y="13855"/>
                    <a:pt x="545" y="13855"/>
                    <a:pt x="545" y="13855"/>
                  </a:cubicBezTo>
                  <a:cubicBezTo>
                    <a:pt x="545" y="14291"/>
                    <a:pt x="545" y="14291"/>
                    <a:pt x="545" y="14291"/>
                  </a:cubicBezTo>
                  <a:cubicBezTo>
                    <a:pt x="454" y="14509"/>
                    <a:pt x="454" y="14509"/>
                    <a:pt x="454" y="14509"/>
                  </a:cubicBezTo>
                  <a:cubicBezTo>
                    <a:pt x="454" y="14509"/>
                    <a:pt x="363" y="14509"/>
                    <a:pt x="454" y="14618"/>
                  </a:cubicBezTo>
                  <a:cubicBezTo>
                    <a:pt x="545" y="14618"/>
                    <a:pt x="908" y="14836"/>
                    <a:pt x="908" y="14836"/>
                  </a:cubicBezTo>
                  <a:cubicBezTo>
                    <a:pt x="908" y="14836"/>
                    <a:pt x="998" y="14727"/>
                    <a:pt x="1180" y="14945"/>
                  </a:cubicBezTo>
                  <a:cubicBezTo>
                    <a:pt x="1271" y="15055"/>
                    <a:pt x="1452" y="15164"/>
                    <a:pt x="1452" y="15164"/>
                  </a:cubicBezTo>
                  <a:cubicBezTo>
                    <a:pt x="1543" y="15164"/>
                    <a:pt x="1543" y="15164"/>
                    <a:pt x="1543" y="15164"/>
                  </a:cubicBezTo>
                  <a:cubicBezTo>
                    <a:pt x="1815" y="15055"/>
                    <a:pt x="1815" y="15055"/>
                    <a:pt x="1815" y="15055"/>
                  </a:cubicBezTo>
                  <a:cubicBezTo>
                    <a:pt x="1997" y="15273"/>
                    <a:pt x="1997" y="15273"/>
                    <a:pt x="1997" y="15273"/>
                  </a:cubicBezTo>
                  <a:cubicBezTo>
                    <a:pt x="2450" y="15382"/>
                    <a:pt x="2450" y="15382"/>
                    <a:pt x="2450" y="15382"/>
                  </a:cubicBezTo>
                  <a:cubicBezTo>
                    <a:pt x="2450" y="15382"/>
                    <a:pt x="2541" y="15600"/>
                    <a:pt x="2541" y="15709"/>
                  </a:cubicBezTo>
                  <a:cubicBezTo>
                    <a:pt x="2632" y="15709"/>
                    <a:pt x="2813" y="16036"/>
                    <a:pt x="2813" y="16036"/>
                  </a:cubicBezTo>
                  <a:cubicBezTo>
                    <a:pt x="2813" y="16036"/>
                    <a:pt x="2813" y="15818"/>
                    <a:pt x="2995" y="15927"/>
                  </a:cubicBezTo>
                  <a:cubicBezTo>
                    <a:pt x="3267" y="15927"/>
                    <a:pt x="3358" y="15927"/>
                    <a:pt x="3358" y="15927"/>
                  </a:cubicBezTo>
                  <a:cubicBezTo>
                    <a:pt x="3358" y="15927"/>
                    <a:pt x="3539" y="15927"/>
                    <a:pt x="3630" y="16036"/>
                  </a:cubicBezTo>
                  <a:cubicBezTo>
                    <a:pt x="3721" y="16145"/>
                    <a:pt x="3993" y="16691"/>
                    <a:pt x="3993" y="16691"/>
                  </a:cubicBezTo>
                  <a:cubicBezTo>
                    <a:pt x="4175" y="17236"/>
                    <a:pt x="4175" y="17236"/>
                    <a:pt x="4175" y="17236"/>
                  </a:cubicBezTo>
                  <a:cubicBezTo>
                    <a:pt x="4356" y="17673"/>
                    <a:pt x="4356" y="17673"/>
                    <a:pt x="4356" y="17673"/>
                  </a:cubicBezTo>
                  <a:cubicBezTo>
                    <a:pt x="4356" y="17673"/>
                    <a:pt x="4356" y="17782"/>
                    <a:pt x="4538" y="17891"/>
                  </a:cubicBezTo>
                  <a:cubicBezTo>
                    <a:pt x="4719" y="18109"/>
                    <a:pt x="4810" y="18327"/>
                    <a:pt x="4810" y="18327"/>
                  </a:cubicBezTo>
                  <a:cubicBezTo>
                    <a:pt x="4810" y="18327"/>
                    <a:pt x="4810" y="18436"/>
                    <a:pt x="4901" y="18545"/>
                  </a:cubicBezTo>
                  <a:cubicBezTo>
                    <a:pt x="4992" y="18764"/>
                    <a:pt x="5173" y="18982"/>
                    <a:pt x="5173" y="18982"/>
                  </a:cubicBezTo>
                  <a:cubicBezTo>
                    <a:pt x="5173" y="18982"/>
                    <a:pt x="5173" y="19091"/>
                    <a:pt x="5264" y="19200"/>
                  </a:cubicBezTo>
                  <a:cubicBezTo>
                    <a:pt x="5445" y="19309"/>
                    <a:pt x="5627" y="19309"/>
                    <a:pt x="5718" y="19418"/>
                  </a:cubicBezTo>
                  <a:cubicBezTo>
                    <a:pt x="5899" y="19636"/>
                    <a:pt x="6081" y="19855"/>
                    <a:pt x="6081" y="19855"/>
                  </a:cubicBezTo>
                  <a:cubicBezTo>
                    <a:pt x="6081" y="19855"/>
                    <a:pt x="6534" y="20400"/>
                    <a:pt x="6716" y="20618"/>
                  </a:cubicBezTo>
                  <a:cubicBezTo>
                    <a:pt x="6897" y="20836"/>
                    <a:pt x="7079" y="21055"/>
                    <a:pt x="7170" y="21055"/>
                  </a:cubicBezTo>
                  <a:cubicBezTo>
                    <a:pt x="7261" y="21164"/>
                    <a:pt x="7714" y="21273"/>
                    <a:pt x="7714" y="21273"/>
                  </a:cubicBezTo>
                  <a:cubicBezTo>
                    <a:pt x="7714" y="21273"/>
                    <a:pt x="7987" y="21600"/>
                    <a:pt x="8077" y="21491"/>
                  </a:cubicBezTo>
                  <a:cubicBezTo>
                    <a:pt x="8259" y="21491"/>
                    <a:pt x="7896" y="21382"/>
                    <a:pt x="8440" y="21382"/>
                  </a:cubicBezTo>
                  <a:cubicBezTo>
                    <a:pt x="8985" y="21382"/>
                    <a:pt x="9348" y="21600"/>
                    <a:pt x="9348" y="21600"/>
                  </a:cubicBezTo>
                  <a:cubicBezTo>
                    <a:pt x="9711" y="21273"/>
                    <a:pt x="9711" y="21273"/>
                    <a:pt x="9711" y="21273"/>
                  </a:cubicBezTo>
                  <a:cubicBezTo>
                    <a:pt x="9711" y="21273"/>
                    <a:pt x="9620" y="21491"/>
                    <a:pt x="9711" y="21164"/>
                  </a:cubicBezTo>
                  <a:cubicBezTo>
                    <a:pt x="9802" y="20945"/>
                    <a:pt x="9892" y="20727"/>
                    <a:pt x="9892" y="20727"/>
                  </a:cubicBezTo>
                  <a:cubicBezTo>
                    <a:pt x="9892" y="20727"/>
                    <a:pt x="9802" y="20509"/>
                    <a:pt x="10074" y="20509"/>
                  </a:cubicBezTo>
                  <a:cubicBezTo>
                    <a:pt x="10255" y="20509"/>
                    <a:pt x="10800" y="20400"/>
                    <a:pt x="10891" y="20400"/>
                  </a:cubicBezTo>
                  <a:cubicBezTo>
                    <a:pt x="10982" y="20400"/>
                    <a:pt x="10982" y="20509"/>
                    <a:pt x="11072" y="20400"/>
                  </a:cubicBezTo>
                  <a:cubicBezTo>
                    <a:pt x="11072" y="20291"/>
                    <a:pt x="11889" y="20618"/>
                    <a:pt x="11889" y="20618"/>
                  </a:cubicBezTo>
                  <a:cubicBezTo>
                    <a:pt x="11980" y="20400"/>
                    <a:pt x="11980" y="20400"/>
                    <a:pt x="11980" y="20400"/>
                  </a:cubicBezTo>
                  <a:cubicBezTo>
                    <a:pt x="12161" y="20291"/>
                    <a:pt x="12161" y="20291"/>
                    <a:pt x="12161" y="20291"/>
                  </a:cubicBezTo>
                  <a:cubicBezTo>
                    <a:pt x="12343" y="20727"/>
                    <a:pt x="12343" y="20727"/>
                    <a:pt x="12343" y="20727"/>
                  </a:cubicBezTo>
                  <a:cubicBezTo>
                    <a:pt x="12706" y="20727"/>
                    <a:pt x="12706" y="20727"/>
                    <a:pt x="12706" y="20727"/>
                  </a:cubicBezTo>
                  <a:cubicBezTo>
                    <a:pt x="12706" y="20727"/>
                    <a:pt x="12978" y="20618"/>
                    <a:pt x="13160" y="20618"/>
                  </a:cubicBezTo>
                  <a:cubicBezTo>
                    <a:pt x="13250" y="20618"/>
                    <a:pt x="13613" y="20400"/>
                    <a:pt x="13613" y="20400"/>
                  </a:cubicBezTo>
                  <a:cubicBezTo>
                    <a:pt x="13613" y="20400"/>
                    <a:pt x="13704" y="20182"/>
                    <a:pt x="13795" y="20182"/>
                  </a:cubicBezTo>
                  <a:cubicBezTo>
                    <a:pt x="13886" y="20073"/>
                    <a:pt x="14158" y="20073"/>
                    <a:pt x="14249" y="20073"/>
                  </a:cubicBezTo>
                  <a:cubicBezTo>
                    <a:pt x="14430" y="20073"/>
                    <a:pt x="14703" y="19964"/>
                    <a:pt x="14703" y="19964"/>
                  </a:cubicBezTo>
                  <a:cubicBezTo>
                    <a:pt x="14884" y="19745"/>
                    <a:pt x="14884" y="19745"/>
                    <a:pt x="14884" y="19745"/>
                  </a:cubicBezTo>
                  <a:cubicBezTo>
                    <a:pt x="14884" y="19745"/>
                    <a:pt x="14975" y="19636"/>
                    <a:pt x="15156" y="19636"/>
                  </a:cubicBezTo>
                  <a:cubicBezTo>
                    <a:pt x="15247" y="19745"/>
                    <a:pt x="15610" y="19745"/>
                    <a:pt x="15610" y="19745"/>
                  </a:cubicBezTo>
                  <a:cubicBezTo>
                    <a:pt x="15882" y="19527"/>
                    <a:pt x="15882" y="19527"/>
                    <a:pt x="15882" y="19527"/>
                  </a:cubicBezTo>
                  <a:cubicBezTo>
                    <a:pt x="16155" y="19418"/>
                    <a:pt x="16155" y="19418"/>
                    <a:pt x="16155" y="19418"/>
                  </a:cubicBezTo>
                  <a:cubicBezTo>
                    <a:pt x="16155" y="19418"/>
                    <a:pt x="16155" y="19309"/>
                    <a:pt x="16245" y="19418"/>
                  </a:cubicBezTo>
                  <a:cubicBezTo>
                    <a:pt x="16336" y="19527"/>
                    <a:pt x="16518" y="19745"/>
                    <a:pt x="16518" y="19745"/>
                  </a:cubicBezTo>
                  <a:cubicBezTo>
                    <a:pt x="16881" y="19855"/>
                    <a:pt x="16881" y="19855"/>
                    <a:pt x="16881" y="19855"/>
                  </a:cubicBezTo>
                  <a:cubicBezTo>
                    <a:pt x="17153" y="19745"/>
                    <a:pt x="17153" y="19745"/>
                    <a:pt x="17153" y="19745"/>
                  </a:cubicBezTo>
                  <a:cubicBezTo>
                    <a:pt x="17334" y="19527"/>
                    <a:pt x="17334" y="19527"/>
                    <a:pt x="17334" y="19527"/>
                  </a:cubicBezTo>
                  <a:cubicBezTo>
                    <a:pt x="17334" y="19527"/>
                    <a:pt x="17334" y="19418"/>
                    <a:pt x="17607" y="19418"/>
                  </a:cubicBezTo>
                  <a:cubicBezTo>
                    <a:pt x="17879" y="19418"/>
                    <a:pt x="17970" y="19418"/>
                    <a:pt x="17970" y="19418"/>
                  </a:cubicBezTo>
                  <a:cubicBezTo>
                    <a:pt x="17970" y="19418"/>
                    <a:pt x="18242" y="19418"/>
                    <a:pt x="18242" y="19309"/>
                  </a:cubicBezTo>
                  <a:cubicBezTo>
                    <a:pt x="18242" y="19200"/>
                    <a:pt x="18242" y="18982"/>
                    <a:pt x="18333" y="18873"/>
                  </a:cubicBezTo>
                  <a:cubicBezTo>
                    <a:pt x="18333" y="18764"/>
                    <a:pt x="18696" y="18327"/>
                    <a:pt x="18696" y="18327"/>
                  </a:cubicBezTo>
                  <a:cubicBezTo>
                    <a:pt x="18877" y="18218"/>
                    <a:pt x="18877" y="18218"/>
                    <a:pt x="18877" y="18218"/>
                  </a:cubicBezTo>
                  <a:cubicBezTo>
                    <a:pt x="18787" y="17891"/>
                    <a:pt x="18787" y="17891"/>
                    <a:pt x="18787" y="17891"/>
                  </a:cubicBezTo>
                  <a:cubicBezTo>
                    <a:pt x="18877" y="17673"/>
                    <a:pt x="18877" y="17673"/>
                    <a:pt x="18877" y="17673"/>
                  </a:cubicBezTo>
                  <a:cubicBezTo>
                    <a:pt x="18877" y="17673"/>
                    <a:pt x="19150" y="17564"/>
                    <a:pt x="19059" y="17782"/>
                  </a:cubicBezTo>
                  <a:cubicBezTo>
                    <a:pt x="18968" y="18000"/>
                    <a:pt x="19059" y="18109"/>
                    <a:pt x="19059" y="18109"/>
                  </a:cubicBezTo>
                  <a:cubicBezTo>
                    <a:pt x="19059" y="18109"/>
                    <a:pt x="19150" y="18000"/>
                    <a:pt x="19240" y="18000"/>
                  </a:cubicBezTo>
                  <a:cubicBezTo>
                    <a:pt x="19422" y="18000"/>
                    <a:pt x="19422" y="17891"/>
                    <a:pt x="19513" y="17891"/>
                  </a:cubicBezTo>
                  <a:cubicBezTo>
                    <a:pt x="19694" y="18000"/>
                    <a:pt x="19785" y="17891"/>
                    <a:pt x="19785" y="17891"/>
                  </a:cubicBezTo>
                  <a:cubicBezTo>
                    <a:pt x="19785" y="17891"/>
                    <a:pt x="19694" y="17673"/>
                    <a:pt x="19785" y="17673"/>
                  </a:cubicBezTo>
                  <a:cubicBezTo>
                    <a:pt x="19876" y="17782"/>
                    <a:pt x="20057" y="17782"/>
                    <a:pt x="20057" y="17782"/>
                  </a:cubicBezTo>
                  <a:cubicBezTo>
                    <a:pt x="20057" y="17782"/>
                    <a:pt x="20148" y="17782"/>
                    <a:pt x="20148" y="17673"/>
                  </a:cubicBezTo>
                  <a:cubicBezTo>
                    <a:pt x="20148" y="17673"/>
                    <a:pt x="19876" y="17455"/>
                    <a:pt x="19966" y="17455"/>
                  </a:cubicBezTo>
                  <a:cubicBezTo>
                    <a:pt x="20057" y="17564"/>
                    <a:pt x="20239" y="17455"/>
                    <a:pt x="20239" y="17455"/>
                  </a:cubicBezTo>
                  <a:cubicBezTo>
                    <a:pt x="20239" y="17455"/>
                    <a:pt x="20511" y="17564"/>
                    <a:pt x="20239" y="17345"/>
                  </a:cubicBezTo>
                  <a:cubicBezTo>
                    <a:pt x="20057" y="17018"/>
                    <a:pt x="20329" y="17018"/>
                    <a:pt x="20329" y="17018"/>
                  </a:cubicBezTo>
                  <a:cubicBezTo>
                    <a:pt x="20329" y="17018"/>
                    <a:pt x="20602" y="17127"/>
                    <a:pt x="20511" y="17127"/>
                  </a:cubicBezTo>
                  <a:cubicBezTo>
                    <a:pt x="20420" y="17018"/>
                    <a:pt x="20057" y="16473"/>
                    <a:pt x="20057" y="16473"/>
                  </a:cubicBezTo>
                  <a:cubicBezTo>
                    <a:pt x="20057" y="16364"/>
                    <a:pt x="20057" y="16364"/>
                    <a:pt x="20057" y="16364"/>
                  </a:cubicBezTo>
                  <a:cubicBezTo>
                    <a:pt x="20057" y="16145"/>
                    <a:pt x="20057" y="16145"/>
                    <a:pt x="20057" y="16145"/>
                  </a:cubicBezTo>
                  <a:cubicBezTo>
                    <a:pt x="20057" y="16145"/>
                    <a:pt x="20239" y="16255"/>
                    <a:pt x="20329" y="16364"/>
                  </a:cubicBezTo>
                  <a:cubicBezTo>
                    <a:pt x="20329" y="16364"/>
                    <a:pt x="20329" y="16364"/>
                    <a:pt x="20420" y="16473"/>
                  </a:cubicBezTo>
                  <a:cubicBezTo>
                    <a:pt x="20602" y="16582"/>
                    <a:pt x="20511" y="16800"/>
                    <a:pt x="20602" y="16800"/>
                  </a:cubicBezTo>
                  <a:cubicBezTo>
                    <a:pt x="20692" y="16909"/>
                    <a:pt x="20965" y="16800"/>
                    <a:pt x="20965" y="16800"/>
                  </a:cubicBezTo>
                  <a:cubicBezTo>
                    <a:pt x="21146" y="16473"/>
                    <a:pt x="21146" y="16473"/>
                    <a:pt x="21146" y="16473"/>
                  </a:cubicBezTo>
                  <a:cubicBezTo>
                    <a:pt x="21146" y="16473"/>
                    <a:pt x="21509" y="16036"/>
                    <a:pt x="21418" y="16036"/>
                  </a:cubicBezTo>
                  <a:cubicBezTo>
                    <a:pt x="21328" y="15927"/>
                    <a:pt x="20874" y="16145"/>
                    <a:pt x="20874" y="16145"/>
                  </a:cubicBezTo>
                  <a:cubicBezTo>
                    <a:pt x="21055" y="15709"/>
                    <a:pt x="21055" y="15709"/>
                    <a:pt x="21055" y="15709"/>
                  </a:cubicBezTo>
                  <a:cubicBezTo>
                    <a:pt x="20783" y="15600"/>
                    <a:pt x="20783" y="15600"/>
                    <a:pt x="20783" y="15600"/>
                  </a:cubicBezTo>
                  <a:cubicBezTo>
                    <a:pt x="20692" y="15491"/>
                    <a:pt x="20692" y="15491"/>
                    <a:pt x="20692" y="15491"/>
                  </a:cubicBezTo>
                  <a:cubicBezTo>
                    <a:pt x="20692" y="15491"/>
                    <a:pt x="20965" y="15491"/>
                    <a:pt x="20965" y="15491"/>
                  </a:cubicBezTo>
                  <a:cubicBezTo>
                    <a:pt x="21055" y="15491"/>
                    <a:pt x="21237" y="15382"/>
                    <a:pt x="21237" y="15382"/>
                  </a:cubicBezTo>
                  <a:cubicBezTo>
                    <a:pt x="21237" y="15164"/>
                    <a:pt x="21237" y="15164"/>
                    <a:pt x="21237" y="15164"/>
                  </a:cubicBezTo>
                  <a:cubicBezTo>
                    <a:pt x="20965" y="14945"/>
                    <a:pt x="20965" y="14945"/>
                    <a:pt x="20965" y="14945"/>
                  </a:cubicBezTo>
                  <a:cubicBezTo>
                    <a:pt x="21055" y="14836"/>
                    <a:pt x="21055" y="14836"/>
                    <a:pt x="21055" y="14836"/>
                  </a:cubicBezTo>
                  <a:cubicBezTo>
                    <a:pt x="21146" y="14618"/>
                    <a:pt x="21146" y="14618"/>
                    <a:pt x="21146" y="14618"/>
                  </a:cubicBezTo>
                  <a:cubicBezTo>
                    <a:pt x="21328" y="14509"/>
                    <a:pt x="21328" y="14509"/>
                    <a:pt x="21328" y="14509"/>
                  </a:cubicBezTo>
                  <a:cubicBezTo>
                    <a:pt x="21600" y="13855"/>
                    <a:pt x="21600" y="13855"/>
                    <a:pt x="21600" y="13855"/>
                  </a:cubicBezTo>
                  <a:cubicBezTo>
                    <a:pt x="21509" y="13636"/>
                    <a:pt x="21509" y="13636"/>
                    <a:pt x="21509" y="13636"/>
                  </a:cubicBezTo>
                  <a:cubicBezTo>
                    <a:pt x="21328" y="13636"/>
                    <a:pt x="21328" y="13636"/>
                    <a:pt x="21328" y="13636"/>
                  </a:cubicBezTo>
                  <a:cubicBezTo>
                    <a:pt x="21328" y="13200"/>
                    <a:pt x="21328" y="13200"/>
                    <a:pt x="21328" y="13200"/>
                  </a:cubicBezTo>
                  <a:cubicBezTo>
                    <a:pt x="20965" y="12982"/>
                    <a:pt x="20965" y="12982"/>
                    <a:pt x="20965" y="12982"/>
                  </a:cubicBezTo>
                  <a:cubicBezTo>
                    <a:pt x="20965" y="12982"/>
                    <a:pt x="20692" y="12764"/>
                    <a:pt x="20692" y="12655"/>
                  </a:cubicBezTo>
                  <a:cubicBezTo>
                    <a:pt x="20692" y="12655"/>
                    <a:pt x="20692" y="12436"/>
                    <a:pt x="20602" y="12545"/>
                  </a:cubicBezTo>
                  <a:cubicBezTo>
                    <a:pt x="20511" y="12545"/>
                    <a:pt x="20420" y="12436"/>
                    <a:pt x="20420" y="12436"/>
                  </a:cubicBezTo>
                  <a:cubicBezTo>
                    <a:pt x="20420" y="12436"/>
                    <a:pt x="20420" y="12109"/>
                    <a:pt x="20420" y="12109"/>
                  </a:cubicBezTo>
                  <a:cubicBezTo>
                    <a:pt x="20420" y="12109"/>
                    <a:pt x="20602" y="12000"/>
                    <a:pt x="20602" y="11891"/>
                  </a:cubicBezTo>
                  <a:cubicBezTo>
                    <a:pt x="20692" y="11782"/>
                    <a:pt x="20602" y="11564"/>
                    <a:pt x="20602" y="11564"/>
                  </a:cubicBezTo>
                  <a:cubicBezTo>
                    <a:pt x="20511" y="11564"/>
                    <a:pt x="20329" y="11673"/>
                    <a:pt x="20329" y="11673"/>
                  </a:cubicBezTo>
                  <a:cubicBezTo>
                    <a:pt x="19785" y="11782"/>
                    <a:pt x="19785" y="11782"/>
                    <a:pt x="19785" y="11782"/>
                  </a:cubicBezTo>
                  <a:cubicBezTo>
                    <a:pt x="19603" y="11673"/>
                    <a:pt x="19603" y="11673"/>
                    <a:pt x="19603" y="11673"/>
                  </a:cubicBezTo>
                  <a:cubicBezTo>
                    <a:pt x="19603" y="11673"/>
                    <a:pt x="19694" y="11673"/>
                    <a:pt x="19694" y="11564"/>
                  </a:cubicBezTo>
                  <a:cubicBezTo>
                    <a:pt x="19785" y="11455"/>
                    <a:pt x="19785" y="11345"/>
                    <a:pt x="19876" y="11236"/>
                  </a:cubicBezTo>
                  <a:cubicBezTo>
                    <a:pt x="19966" y="11127"/>
                    <a:pt x="19966" y="11236"/>
                    <a:pt x="20057" y="11018"/>
                  </a:cubicBezTo>
                  <a:cubicBezTo>
                    <a:pt x="20239" y="10909"/>
                    <a:pt x="20420" y="10691"/>
                    <a:pt x="20420" y="10691"/>
                  </a:cubicBezTo>
                  <a:cubicBezTo>
                    <a:pt x="20420" y="10364"/>
                    <a:pt x="20420" y="10364"/>
                    <a:pt x="20420" y="10364"/>
                  </a:cubicBezTo>
                  <a:cubicBezTo>
                    <a:pt x="20329" y="10036"/>
                    <a:pt x="20329" y="10036"/>
                    <a:pt x="20329" y="10036"/>
                  </a:cubicBezTo>
                  <a:cubicBezTo>
                    <a:pt x="20329" y="10036"/>
                    <a:pt x="20239" y="9927"/>
                    <a:pt x="20148" y="9927"/>
                  </a:cubicBezTo>
                  <a:cubicBezTo>
                    <a:pt x="20057" y="9927"/>
                    <a:pt x="20148" y="10145"/>
                    <a:pt x="19966" y="9927"/>
                  </a:cubicBezTo>
                  <a:cubicBezTo>
                    <a:pt x="19876" y="9818"/>
                    <a:pt x="19876" y="9818"/>
                    <a:pt x="19785" y="9600"/>
                  </a:cubicBezTo>
                  <a:cubicBezTo>
                    <a:pt x="19694" y="9491"/>
                    <a:pt x="19694" y="9273"/>
                    <a:pt x="19694" y="9273"/>
                  </a:cubicBezTo>
                  <a:cubicBezTo>
                    <a:pt x="19694" y="9273"/>
                    <a:pt x="19513" y="9164"/>
                    <a:pt x="19603" y="9164"/>
                  </a:cubicBezTo>
                  <a:cubicBezTo>
                    <a:pt x="19785" y="9164"/>
                    <a:pt x="19876" y="9273"/>
                    <a:pt x="19966" y="9164"/>
                  </a:cubicBezTo>
                  <a:cubicBezTo>
                    <a:pt x="20057" y="9055"/>
                    <a:pt x="20057" y="9164"/>
                    <a:pt x="20057" y="9055"/>
                  </a:cubicBezTo>
                  <a:cubicBezTo>
                    <a:pt x="20057" y="8945"/>
                    <a:pt x="20148" y="8618"/>
                    <a:pt x="20148" y="8618"/>
                  </a:cubicBezTo>
                  <a:cubicBezTo>
                    <a:pt x="20148" y="8509"/>
                    <a:pt x="20148" y="8509"/>
                    <a:pt x="20329" y="8400"/>
                  </a:cubicBezTo>
                  <a:cubicBezTo>
                    <a:pt x="20602" y="8291"/>
                    <a:pt x="20511" y="8291"/>
                    <a:pt x="20692" y="8291"/>
                  </a:cubicBezTo>
                  <a:cubicBezTo>
                    <a:pt x="20783" y="8182"/>
                    <a:pt x="20874" y="8073"/>
                    <a:pt x="20783" y="8073"/>
                  </a:cubicBezTo>
                  <a:cubicBezTo>
                    <a:pt x="20783" y="7964"/>
                    <a:pt x="20602" y="7964"/>
                    <a:pt x="20602" y="7964"/>
                  </a:cubicBezTo>
                  <a:cubicBezTo>
                    <a:pt x="20511" y="7855"/>
                    <a:pt x="20329" y="8073"/>
                    <a:pt x="20329" y="8073"/>
                  </a:cubicBezTo>
                  <a:cubicBezTo>
                    <a:pt x="20329" y="8073"/>
                    <a:pt x="20148" y="8182"/>
                    <a:pt x="20057" y="8291"/>
                  </a:cubicBezTo>
                  <a:cubicBezTo>
                    <a:pt x="19966" y="8400"/>
                    <a:pt x="19876" y="8291"/>
                    <a:pt x="19785" y="8291"/>
                  </a:cubicBezTo>
                  <a:cubicBezTo>
                    <a:pt x="19694" y="8291"/>
                    <a:pt x="19694" y="8291"/>
                    <a:pt x="19694" y="8291"/>
                  </a:cubicBezTo>
                  <a:cubicBezTo>
                    <a:pt x="19694" y="8291"/>
                    <a:pt x="19513" y="8182"/>
                    <a:pt x="19422" y="8400"/>
                  </a:cubicBezTo>
                  <a:cubicBezTo>
                    <a:pt x="19422" y="8618"/>
                    <a:pt x="19240" y="8836"/>
                    <a:pt x="19240" y="8836"/>
                  </a:cubicBezTo>
                  <a:cubicBezTo>
                    <a:pt x="19240" y="8836"/>
                    <a:pt x="19150" y="8945"/>
                    <a:pt x="19150" y="8727"/>
                  </a:cubicBezTo>
                  <a:cubicBezTo>
                    <a:pt x="19150" y="8618"/>
                    <a:pt x="19059" y="8291"/>
                    <a:pt x="19059" y="8291"/>
                  </a:cubicBezTo>
                  <a:cubicBezTo>
                    <a:pt x="19059" y="8291"/>
                    <a:pt x="19059" y="8291"/>
                    <a:pt x="19059" y="8291"/>
                  </a:cubicBezTo>
                  <a:cubicBezTo>
                    <a:pt x="18968" y="8291"/>
                    <a:pt x="18696" y="8182"/>
                    <a:pt x="18696" y="8182"/>
                  </a:cubicBezTo>
                  <a:cubicBezTo>
                    <a:pt x="18696" y="8182"/>
                    <a:pt x="18787" y="8182"/>
                    <a:pt x="18787" y="7964"/>
                  </a:cubicBezTo>
                  <a:cubicBezTo>
                    <a:pt x="18696" y="7855"/>
                    <a:pt x="18696" y="7745"/>
                    <a:pt x="18696" y="7745"/>
                  </a:cubicBezTo>
                  <a:cubicBezTo>
                    <a:pt x="18787" y="7745"/>
                    <a:pt x="18877" y="7745"/>
                    <a:pt x="18877" y="7745"/>
                  </a:cubicBezTo>
                  <a:cubicBezTo>
                    <a:pt x="18968" y="7745"/>
                    <a:pt x="18968" y="7745"/>
                    <a:pt x="18968" y="7527"/>
                  </a:cubicBezTo>
                  <a:cubicBezTo>
                    <a:pt x="18968" y="7200"/>
                    <a:pt x="18877" y="7091"/>
                    <a:pt x="18877" y="7091"/>
                  </a:cubicBezTo>
                  <a:cubicBezTo>
                    <a:pt x="18877" y="7091"/>
                    <a:pt x="18787" y="6982"/>
                    <a:pt x="18787" y="6982"/>
                  </a:cubicBezTo>
                  <a:cubicBezTo>
                    <a:pt x="18787" y="6545"/>
                    <a:pt x="18787" y="6545"/>
                    <a:pt x="18787" y="6545"/>
                  </a:cubicBezTo>
                  <a:cubicBezTo>
                    <a:pt x="18787" y="6545"/>
                    <a:pt x="18787" y="6436"/>
                    <a:pt x="18696" y="6327"/>
                  </a:cubicBezTo>
                  <a:cubicBezTo>
                    <a:pt x="18605" y="6218"/>
                    <a:pt x="18605" y="6109"/>
                    <a:pt x="18514" y="6218"/>
                  </a:cubicBezTo>
                  <a:cubicBezTo>
                    <a:pt x="18514" y="6218"/>
                    <a:pt x="18424" y="6327"/>
                    <a:pt x="18333" y="6327"/>
                  </a:cubicBezTo>
                  <a:cubicBezTo>
                    <a:pt x="18242" y="6218"/>
                    <a:pt x="18061" y="6109"/>
                    <a:pt x="18061" y="6109"/>
                  </a:cubicBezTo>
                  <a:cubicBezTo>
                    <a:pt x="17697" y="5891"/>
                    <a:pt x="17697" y="5891"/>
                    <a:pt x="17697" y="5891"/>
                  </a:cubicBezTo>
                  <a:cubicBezTo>
                    <a:pt x="17697" y="5891"/>
                    <a:pt x="17697" y="5891"/>
                    <a:pt x="17607" y="6000"/>
                  </a:cubicBezTo>
                  <a:cubicBezTo>
                    <a:pt x="17607" y="6109"/>
                    <a:pt x="17516" y="6000"/>
                    <a:pt x="17516" y="6218"/>
                  </a:cubicBezTo>
                  <a:cubicBezTo>
                    <a:pt x="17607" y="6327"/>
                    <a:pt x="17607" y="6436"/>
                    <a:pt x="17607" y="6545"/>
                  </a:cubicBezTo>
                  <a:cubicBezTo>
                    <a:pt x="17516" y="6655"/>
                    <a:pt x="17516" y="6764"/>
                    <a:pt x="17516" y="6982"/>
                  </a:cubicBezTo>
                  <a:cubicBezTo>
                    <a:pt x="17425" y="7091"/>
                    <a:pt x="17334" y="7091"/>
                    <a:pt x="17334" y="7200"/>
                  </a:cubicBezTo>
                  <a:cubicBezTo>
                    <a:pt x="17334" y="7309"/>
                    <a:pt x="17425" y="7309"/>
                    <a:pt x="17425" y="7418"/>
                  </a:cubicBezTo>
                  <a:cubicBezTo>
                    <a:pt x="17425" y="7418"/>
                    <a:pt x="17334" y="7636"/>
                    <a:pt x="17244" y="7636"/>
                  </a:cubicBezTo>
                  <a:cubicBezTo>
                    <a:pt x="17244" y="7745"/>
                    <a:pt x="17153" y="7855"/>
                    <a:pt x="17062" y="7855"/>
                  </a:cubicBezTo>
                  <a:cubicBezTo>
                    <a:pt x="17062" y="7745"/>
                    <a:pt x="16971" y="7745"/>
                    <a:pt x="16881" y="7745"/>
                  </a:cubicBezTo>
                  <a:cubicBezTo>
                    <a:pt x="16790" y="7745"/>
                    <a:pt x="16699" y="7855"/>
                    <a:pt x="16699" y="7855"/>
                  </a:cubicBezTo>
                  <a:cubicBezTo>
                    <a:pt x="16699" y="7855"/>
                    <a:pt x="16608" y="7964"/>
                    <a:pt x="16518" y="7855"/>
                  </a:cubicBezTo>
                  <a:cubicBezTo>
                    <a:pt x="16336" y="7745"/>
                    <a:pt x="16245" y="7636"/>
                    <a:pt x="16245" y="7636"/>
                  </a:cubicBezTo>
                  <a:cubicBezTo>
                    <a:pt x="16245" y="7418"/>
                    <a:pt x="16245" y="7418"/>
                    <a:pt x="16245" y="7418"/>
                  </a:cubicBezTo>
                  <a:cubicBezTo>
                    <a:pt x="16245" y="7418"/>
                    <a:pt x="16608" y="7527"/>
                    <a:pt x="16155" y="7200"/>
                  </a:cubicBezTo>
                  <a:cubicBezTo>
                    <a:pt x="15792" y="6982"/>
                    <a:pt x="15792" y="6982"/>
                    <a:pt x="15792" y="6982"/>
                  </a:cubicBezTo>
                  <a:cubicBezTo>
                    <a:pt x="15792" y="6982"/>
                    <a:pt x="15792" y="7091"/>
                    <a:pt x="15701" y="7200"/>
                  </a:cubicBezTo>
                  <a:cubicBezTo>
                    <a:pt x="15610" y="7200"/>
                    <a:pt x="15610" y="7309"/>
                    <a:pt x="15610" y="7309"/>
                  </a:cubicBezTo>
                  <a:cubicBezTo>
                    <a:pt x="15519" y="7527"/>
                    <a:pt x="15519" y="7527"/>
                    <a:pt x="15519" y="7527"/>
                  </a:cubicBezTo>
                  <a:cubicBezTo>
                    <a:pt x="15429" y="7527"/>
                    <a:pt x="15429" y="7527"/>
                    <a:pt x="15429" y="7527"/>
                  </a:cubicBezTo>
                  <a:cubicBezTo>
                    <a:pt x="15247" y="7855"/>
                    <a:pt x="15247" y="7855"/>
                    <a:pt x="15247" y="7855"/>
                  </a:cubicBezTo>
                  <a:cubicBezTo>
                    <a:pt x="15247" y="7855"/>
                    <a:pt x="15156" y="7964"/>
                    <a:pt x="15066" y="7964"/>
                  </a:cubicBezTo>
                  <a:cubicBezTo>
                    <a:pt x="15066" y="7964"/>
                    <a:pt x="14975" y="7964"/>
                    <a:pt x="14975" y="7964"/>
                  </a:cubicBezTo>
                  <a:cubicBezTo>
                    <a:pt x="14884" y="7964"/>
                    <a:pt x="14793" y="7964"/>
                    <a:pt x="14793" y="7855"/>
                  </a:cubicBezTo>
                  <a:cubicBezTo>
                    <a:pt x="14703" y="7855"/>
                    <a:pt x="14703" y="7855"/>
                    <a:pt x="14703" y="7745"/>
                  </a:cubicBezTo>
                  <a:cubicBezTo>
                    <a:pt x="14703" y="7636"/>
                    <a:pt x="14703" y="7418"/>
                    <a:pt x="14612" y="7309"/>
                  </a:cubicBezTo>
                  <a:cubicBezTo>
                    <a:pt x="14612" y="7200"/>
                    <a:pt x="14612" y="7200"/>
                    <a:pt x="14521" y="6982"/>
                  </a:cubicBezTo>
                  <a:cubicBezTo>
                    <a:pt x="14430" y="6873"/>
                    <a:pt x="14339" y="6655"/>
                    <a:pt x="14339" y="6655"/>
                  </a:cubicBezTo>
                  <a:cubicBezTo>
                    <a:pt x="13886" y="6327"/>
                    <a:pt x="13886" y="6327"/>
                    <a:pt x="13886" y="6327"/>
                  </a:cubicBezTo>
                  <a:cubicBezTo>
                    <a:pt x="13886" y="6327"/>
                    <a:pt x="13976" y="6218"/>
                    <a:pt x="13795" y="6218"/>
                  </a:cubicBezTo>
                  <a:cubicBezTo>
                    <a:pt x="13704" y="6327"/>
                    <a:pt x="13523" y="6545"/>
                    <a:pt x="13523" y="6545"/>
                  </a:cubicBezTo>
                  <a:cubicBezTo>
                    <a:pt x="13523" y="6545"/>
                    <a:pt x="13523" y="6764"/>
                    <a:pt x="13523" y="6873"/>
                  </a:cubicBezTo>
                  <a:cubicBezTo>
                    <a:pt x="13523" y="6873"/>
                    <a:pt x="13432" y="6982"/>
                    <a:pt x="13432" y="7091"/>
                  </a:cubicBezTo>
                  <a:cubicBezTo>
                    <a:pt x="13523" y="7309"/>
                    <a:pt x="13613" y="7527"/>
                    <a:pt x="13523" y="7636"/>
                  </a:cubicBezTo>
                  <a:cubicBezTo>
                    <a:pt x="13523" y="7636"/>
                    <a:pt x="13432" y="7855"/>
                    <a:pt x="13432" y="8073"/>
                  </a:cubicBezTo>
                  <a:cubicBezTo>
                    <a:pt x="13432" y="8291"/>
                    <a:pt x="13523" y="8509"/>
                    <a:pt x="13432" y="8509"/>
                  </a:cubicBezTo>
                  <a:cubicBezTo>
                    <a:pt x="13341" y="8618"/>
                    <a:pt x="13341" y="8727"/>
                    <a:pt x="13341" y="8727"/>
                  </a:cubicBezTo>
                  <a:cubicBezTo>
                    <a:pt x="13250" y="8727"/>
                    <a:pt x="13250" y="8727"/>
                    <a:pt x="13250" y="8727"/>
                  </a:cubicBezTo>
                  <a:cubicBezTo>
                    <a:pt x="13250" y="8727"/>
                    <a:pt x="13250" y="8618"/>
                    <a:pt x="13341" y="8291"/>
                  </a:cubicBezTo>
                  <a:cubicBezTo>
                    <a:pt x="13341" y="7964"/>
                    <a:pt x="13250" y="7855"/>
                    <a:pt x="13250" y="7745"/>
                  </a:cubicBezTo>
                  <a:cubicBezTo>
                    <a:pt x="13160" y="7745"/>
                    <a:pt x="13160" y="7745"/>
                    <a:pt x="13160" y="7636"/>
                  </a:cubicBezTo>
                  <a:cubicBezTo>
                    <a:pt x="13160" y="7527"/>
                    <a:pt x="13160" y="7418"/>
                    <a:pt x="13160" y="7418"/>
                  </a:cubicBezTo>
                  <a:cubicBezTo>
                    <a:pt x="13160" y="7418"/>
                    <a:pt x="12978" y="7200"/>
                    <a:pt x="12978" y="7091"/>
                  </a:cubicBezTo>
                  <a:cubicBezTo>
                    <a:pt x="12978" y="6982"/>
                    <a:pt x="13069" y="6873"/>
                    <a:pt x="13069" y="6655"/>
                  </a:cubicBezTo>
                  <a:cubicBezTo>
                    <a:pt x="13069" y="6327"/>
                    <a:pt x="13160" y="6327"/>
                    <a:pt x="13069" y="6218"/>
                  </a:cubicBezTo>
                  <a:cubicBezTo>
                    <a:pt x="12978" y="6109"/>
                    <a:pt x="13069" y="6000"/>
                    <a:pt x="12978" y="5891"/>
                  </a:cubicBezTo>
                  <a:cubicBezTo>
                    <a:pt x="12887" y="5891"/>
                    <a:pt x="12887" y="6000"/>
                    <a:pt x="12797" y="5891"/>
                  </a:cubicBezTo>
                  <a:cubicBezTo>
                    <a:pt x="12797" y="5891"/>
                    <a:pt x="12797" y="6000"/>
                    <a:pt x="12797" y="6000"/>
                  </a:cubicBezTo>
                  <a:cubicBezTo>
                    <a:pt x="12887" y="5782"/>
                    <a:pt x="12887" y="5782"/>
                    <a:pt x="12887" y="5782"/>
                  </a:cubicBezTo>
                  <a:cubicBezTo>
                    <a:pt x="12887" y="5782"/>
                    <a:pt x="12978" y="5345"/>
                    <a:pt x="12887" y="5564"/>
                  </a:cubicBezTo>
                  <a:cubicBezTo>
                    <a:pt x="12797" y="5673"/>
                    <a:pt x="12524" y="5782"/>
                    <a:pt x="12524" y="5673"/>
                  </a:cubicBezTo>
                  <a:cubicBezTo>
                    <a:pt x="12615" y="5564"/>
                    <a:pt x="12524" y="5455"/>
                    <a:pt x="12524" y="5455"/>
                  </a:cubicBezTo>
                  <a:cubicBezTo>
                    <a:pt x="12524" y="5455"/>
                    <a:pt x="12161" y="5455"/>
                    <a:pt x="12161" y="5455"/>
                  </a:cubicBezTo>
                  <a:cubicBezTo>
                    <a:pt x="12161" y="5455"/>
                    <a:pt x="12161" y="5345"/>
                    <a:pt x="12161" y="5564"/>
                  </a:cubicBezTo>
                  <a:cubicBezTo>
                    <a:pt x="12161" y="5673"/>
                    <a:pt x="12252" y="5891"/>
                    <a:pt x="12071" y="5891"/>
                  </a:cubicBezTo>
                  <a:cubicBezTo>
                    <a:pt x="11889" y="6000"/>
                    <a:pt x="11798" y="6000"/>
                    <a:pt x="11798" y="6000"/>
                  </a:cubicBezTo>
                  <a:cubicBezTo>
                    <a:pt x="11798" y="5891"/>
                    <a:pt x="11617" y="5782"/>
                    <a:pt x="11617" y="5782"/>
                  </a:cubicBezTo>
                  <a:cubicBezTo>
                    <a:pt x="11617" y="5782"/>
                    <a:pt x="11526" y="5782"/>
                    <a:pt x="11435" y="5782"/>
                  </a:cubicBezTo>
                  <a:cubicBezTo>
                    <a:pt x="11435" y="5891"/>
                    <a:pt x="11254" y="5891"/>
                    <a:pt x="11254" y="5891"/>
                  </a:cubicBezTo>
                  <a:cubicBezTo>
                    <a:pt x="11254" y="6109"/>
                    <a:pt x="11254" y="6109"/>
                    <a:pt x="11254" y="6109"/>
                  </a:cubicBezTo>
                  <a:cubicBezTo>
                    <a:pt x="11254" y="6218"/>
                    <a:pt x="11254" y="6218"/>
                    <a:pt x="11254" y="6218"/>
                  </a:cubicBezTo>
                  <a:cubicBezTo>
                    <a:pt x="11254" y="6218"/>
                    <a:pt x="11163" y="6218"/>
                    <a:pt x="11163" y="6218"/>
                  </a:cubicBezTo>
                  <a:cubicBezTo>
                    <a:pt x="11072" y="6327"/>
                    <a:pt x="10982" y="6327"/>
                    <a:pt x="11072" y="6436"/>
                  </a:cubicBezTo>
                  <a:cubicBezTo>
                    <a:pt x="11072" y="6436"/>
                    <a:pt x="11072" y="6436"/>
                    <a:pt x="11072" y="6655"/>
                  </a:cubicBezTo>
                  <a:cubicBezTo>
                    <a:pt x="11072" y="6764"/>
                    <a:pt x="11072" y="6764"/>
                    <a:pt x="11072" y="6873"/>
                  </a:cubicBezTo>
                  <a:cubicBezTo>
                    <a:pt x="10982" y="6982"/>
                    <a:pt x="10982" y="7091"/>
                    <a:pt x="10891" y="7200"/>
                  </a:cubicBezTo>
                  <a:cubicBezTo>
                    <a:pt x="10891" y="7200"/>
                    <a:pt x="10800" y="7309"/>
                    <a:pt x="10800" y="7309"/>
                  </a:cubicBezTo>
                  <a:cubicBezTo>
                    <a:pt x="10709" y="7418"/>
                    <a:pt x="10709" y="7418"/>
                    <a:pt x="10618" y="7418"/>
                  </a:cubicBezTo>
                  <a:cubicBezTo>
                    <a:pt x="10528" y="7418"/>
                    <a:pt x="10528" y="7527"/>
                    <a:pt x="10528" y="7418"/>
                  </a:cubicBezTo>
                  <a:cubicBezTo>
                    <a:pt x="10528" y="7200"/>
                    <a:pt x="10528" y="7091"/>
                    <a:pt x="10528" y="6873"/>
                  </a:cubicBezTo>
                  <a:cubicBezTo>
                    <a:pt x="10528" y="6764"/>
                    <a:pt x="10618" y="6764"/>
                    <a:pt x="10437" y="6545"/>
                  </a:cubicBezTo>
                  <a:cubicBezTo>
                    <a:pt x="10346" y="6327"/>
                    <a:pt x="10255" y="6327"/>
                    <a:pt x="10255" y="6218"/>
                  </a:cubicBezTo>
                  <a:cubicBezTo>
                    <a:pt x="10255" y="6218"/>
                    <a:pt x="10255" y="6109"/>
                    <a:pt x="10255" y="6000"/>
                  </a:cubicBezTo>
                  <a:cubicBezTo>
                    <a:pt x="10255" y="5891"/>
                    <a:pt x="10255" y="6109"/>
                    <a:pt x="10255" y="5673"/>
                  </a:cubicBezTo>
                  <a:cubicBezTo>
                    <a:pt x="10346" y="5345"/>
                    <a:pt x="10255" y="5236"/>
                    <a:pt x="10255" y="5236"/>
                  </a:cubicBezTo>
                  <a:cubicBezTo>
                    <a:pt x="10255" y="5236"/>
                    <a:pt x="10346" y="4691"/>
                    <a:pt x="10346" y="4691"/>
                  </a:cubicBezTo>
                  <a:cubicBezTo>
                    <a:pt x="10255" y="4691"/>
                    <a:pt x="9983" y="4691"/>
                    <a:pt x="9892" y="4691"/>
                  </a:cubicBezTo>
                  <a:cubicBezTo>
                    <a:pt x="9802" y="4691"/>
                    <a:pt x="9802" y="4691"/>
                    <a:pt x="9711" y="4691"/>
                  </a:cubicBezTo>
                  <a:cubicBezTo>
                    <a:pt x="9711" y="4800"/>
                    <a:pt x="9620" y="4691"/>
                    <a:pt x="9620" y="4909"/>
                  </a:cubicBezTo>
                  <a:cubicBezTo>
                    <a:pt x="9529" y="5127"/>
                    <a:pt x="9439" y="5127"/>
                    <a:pt x="9439" y="5345"/>
                  </a:cubicBezTo>
                  <a:cubicBezTo>
                    <a:pt x="9439" y="5455"/>
                    <a:pt x="9439" y="5673"/>
                    <a:pt x="9439" y="5673"/>
                  </a:cubicBezTo>
                  <a:cubicBezTo>
                    <a:pt x="9439" y="5782"/>
                    <a:pt x="9348" y="5891"/>
                    <a:pt x="9348" y="5891"/>
                  </a:cubicBezTo>
                  <a:cubicBezTo>
                    <a:pt x="9348" y="5891"/>
                    <a:pt x="9348" y="6000"/>
                    <a:pt x="9348" y="6218"/>
                  </a:cubicBezTo>
                  <a:cubicBezTo>
                    <a:pt x="9257" y="6436"/>
                    <a:pt x="9257" y="6545"/>
                    <a:pt x="9257" y="6655"/>
                  </a:cubicBezTo>
                  <a:cubicBezTo>
                    <a:pt x="9257" y="6655"/>
                    <a:pt x="9257" y="6655"/>
                    <a:pt x="9166" y="6764"/>
                  </a:cubicBezTo>
                  <a:cubicBezTo>
                    <a:pt x="9076" y="6873"/>
                    <a:pt x="8894" y="7200"/>
                    <a:pt x="8803" y="7200"/>
                  </a:cubicBezTo>
                  <a:cubicBezTo>
                    <a:pt x="8803" y="7200"/>
                    <a:pt x="8803" y="7200"/>
                    <a:pt x="8713" y="7309"/>
                  </a:cubicBezTo>
                  <a:cubicBezTo>
                    <a:pt x="8713" y="7309"/>
                    <a:pt x="8531" y="7636"/>
                    <a:pt x="8440" y="7636"/>
                  </a:cubicBezTo>
                  <a:cubicBezTo>
                    <a:pt x="8350" y="7745"/>
                    <a:pt x="8440" y="7745"/>
                    <a:pt x="8350" y="7745"/>
                  </a:cubicBezTo>
                  <a:cubicBezTo>
                    <a:pt x="8350" y="7636"/>
                    <a:pt x="8259" y="7636"/>
                    <a:pt x="8259" y="7527"/>
                  </a:cubicBezTo>
                  <a:cubicBezTo>
                    <a:pt x="8259" y="7309"/>
                    <a:pt x="8259" y="7309"/>
                    <a:pt x="8350" y="7091"/>
                  </a:cubicBezTo>
                  <a:cubicBezTo>
                    <a:pt x="8350" y="6982"/>
                    <a:pt x="8440" y="6764"/>
                    <a:pt x="8440" y="6764"/>
                  </a:cubicBezTo>
                  <a:cubicBezTo>
                    <a:pt x="8440" y="6764"/>
                    <a:pt x="8531" y="6655"/>
                    <a:pt x="8440" y="6655"/>
                  </a:cubicBezTo>
                  <a:cubicBezTo>
                    <a:pt x="8350" y="6655"/>
                    <a:pt x="8259" y="6655"/>
                    <a:pt x="8168" y="6655"/>
                  </a:cubicBezTo>
                  <a:cubicBezTo>
                    <a:pt x="7987" y="6655"/>
                    <a:pt x="7805" y="6764"/>
                    <a:pt x="7714" y="6873"/>
                  </a:cubicBezTo>
                  <a:cubicBezTo>
                    <a:pt x="7624" y="6873"/>
                    <a:pt x="7624" y="6982"/>
                    <a:pt x="7442" y="7200"/>
                  </a:cubicBezTo>
                  <a:cubicBezTo>
                    <a:pt x="7261" y="7309"/>
                    <a:pt x="7261" y="7309"/>
                    <a:pt x="7261" y="7309"/>
                  </a:cubicBezTo>
                  <a:cubicBezTo>
                    <a:pt x="7170" y="7527"/>
                    <a:pt x="7170" y="7527"/>
                    <a:pt x="7170" y="7527"/>
                  </a:cubicBezTo>
                  <a:cubicBezTo>
                    <a:pt x="7170" y="7636"/>
                    <a:pt x="7170" y="7636"/>
                    <a:pt x="7170" y="7636"/>
                  </a:cubicBezTo>
                  <a:cubicBezTo>
                    <a:pt x="7170" y="7636"/>
                    <a:pt x="7170" y="7418"/>
                    <a:pt x="7170" y="7418"/>
                  </a:cubicBezTo>
                  <a:cubicBezTo>
                    <a:pt x="7170" y="7418"/>
                    <a:pt x="7079" y="7418"/>
                    <a:pt x="7079" y="7527"/>
                  </a:cubicBezTo>
                  <a:cubicBezTo>
                    <a:pt x="7079" y="7527"/>
                    <a:pt x="6988" y="7636"/>
                    <a:pt x="6988" y="7636"/>
                  </a:cubicBezTo>
                  <a:cubicBezTo>
                    <a:pt x="6897" y="7745"/>
                    <a:pt x="6897" y="7855"/>
                    <a:pt x="6897" y="7964"/>
                  </a:cubicBezTo>
                  <a:cubicBezTo>
                    <a:pt x="6807" y="8073"/>
                    <a:pt x="6807" y="8291"/>
                    <a:pt x="6716" y="8291"/>
                  </a:cubicBezTo>
                  <a:cubicBezTo>
                    <a:pt x="6716" y="8291"/>
                    <a:pt x="6716" y="8400"/>
                    <a:pt x="6716" y="8400"/>
                  </a:cubicBezTo>
                  <a:cubicBezTo>
                    <a:pt x="6625" y="8400"/>
                    <a:pt x="6534" y="8509"/>
                    <a:pt x="6534" y="8509"/>
                  </a:cubicBezTo>
                  <a:cubicBezTo>
                    <a:pt x="6534" y="8618"/>
                    <a:pt x="6444" y="8400"/>
                    <a:pt x="6444" y="8182"/>
                  </a:cubicBezTo>
                  <a:cubicBezTo>
                    <a:pt x="6534" y="8073"/>
                    <a:pt x="6534" y="8073"/>
                    <a:pt x="6534" y="7964"/>
                  </a:cubicBezTo>
                  <a:cubicBezTo>
                    <a:pt x="6625" y="7964"/>
                    <a:pt x="6625" y="7745"/>
                    <a:pt x="6716" y="7745"/>
                  </a:cubicBezTo>
                  <a:cubicBezTo>
                    <a:pt x="6716" y="7745"/>
                    <a:pt x="6716" y="7855"/>
                    <a:pt x="6716" y="7636"/>
                  </a:cubicBezTo>
                  <a:cubicBezTo>
                    <a:pt x="6807" y="7418"/>
                    <a:pt x="6807" y="7309"/>
                    <a:pt x="6807" y="7309"/>
                  </a:cubicBezTo>
                  <a:cubicBezTo>
                    <a:pt x="6807" y="7309"/>
                    <a:pt x="6807" y="7309"/>
                    <a:pt x="6807" y="7200"/>
                  </a:cubicBezTo>
                  <a:cubicBezTo>
                    <a:pt x="6716" y="7091"/>
                    <a:pt x="6716" y="7200"/>
                    <a:pt x="6716" y="7091"/>
                  </a:cubicBezTo>
                  <a:cubicBezTo>
                    <a:pt x="6807" y="6982"/>
                    <a:pt x="6807" y="6873"/>
                    <a:pt x="6807" y="6764"/>
                  </a:cubicBezTo>
                  <a:cubicBezTo>
                    <a:pt x="6897" y="6764"/>
                    <a:pt x="6897" y="6655"/>
                    <a:pt x="6897" y="6655"/>
                  </a:cubicBezTo>
                  <a:cubicBezTo>
                    <a:pt x="6897" y="6655"/>
                    <a:pt x="6897" y="6655"/>
                    <a:pt x="6897" y="6545"/>
                  </a:cubicBezTo>
                  <a:cubicBezTo>
                    <a:pt x="6897" y="6545"/>
                    <a:pt x="6807" y="6436"/>
                    <a:pt x="6807" y="6436"/>
                  </a:cubicBezTo>
                  <a:cubicBezTo>
                    <a:pt x="6807" y="6436"/>
                    <a:pt x="6807" y="6327"/>
                    <a:pt x="6807" y="6327"/>
                  </a:cubicBezTo>
                  <a:cubicBezTo>
                    <a:pt x="6807" y="6327"/>
                    <a:pt x="6897" y="6218"/>
                    <a:pt x="6897" y="6109"/>
                  </a:cubicBezTo>
                  <a:cubicBezTo>
                    <a:pt x="6807" y="6109"/>
                    <a:pt x="6807" y="6000"/>
                    <a:pt x="6716" y="5891"/>
                  </a:cubicBezTo>
                  <a:cubicBezTo>
                    <a:pt x="6625" y="5891"/>
                    <a:pt x="6625" y="5891"/>
                    <a:pt x="6625" y="5782"/>
                  </a:cubicBezTo>
                  <a:cubicBezTo>
                    <a:pt x="6625" y="5782"/>
                    <a:pt x="6444" y="5673"/>
                    <a:pt x="6444" y="5673"/>
                  </a:cubicBezTo>
                  <a:cubicBezTo>
                    <a:pt x="6444" y="5673"/>
                    <a:pt x="6534" y="5455"/>
                    <a:pt x="6534" y="5455"/>
                  </a:cubicBezTo>
                  <a:cubicBezTo>
                    <a:pt x="6534" y="5455"/>
                    <a:pt x="6534" y="5345"/>
                    <a:pt x="6625" y="5345"/>
                  </a:cubicBezTo>
                  <a:cubicBezTo>
                    <a:pt x="6625" y="5455"/>
                    <a:pt x="6625" y="5564"/>
                    <a:pt x="6625" y="5564"/>
                  </a:cubicBezTo>
                  <a:cubicBezTo>
                    <a:pt x="6625" y="5673"/>
                    <a:pt x="6897" y="5782"/>
                    <a:pt x="6897" y="5782"/>
                  </a:cubicBezTo>
                  <a:cubicBezTo>
                    <a:pt x="6897" y="5782"/>
                    <a:pt x="7079" y="5673"/>
                    <a:pt x="7079" y="5673"/>
                  </a:cubicBezTo>
                  <a:cubicBezTo>
                    <a:pt x="7170" y="5673"/>
                    <a:pt x="7170" y="5455"/>
                    <a:pt x="7170" y="5455"/>
                  </a:cubicBezTo>
                  <a:cubicBezTo>
                    <a:pt x="7170" y="5455"/>
                    <a:pt x="7079" y="5455"/>
                    <a:pt x="7170" y="5345"/>
                  </a:cubicBezTo>
                  <a:cubicBezTo>
                    <a:pt x="7261" y="5345"/>
                    <a:pt x="7442" y="5236"/>
                    <a:pt x="7442" y="5236"/>
                  </a:cubicBezTo>
                  <a:cubicBezTo>
                    <a:pt x="7442" y="5127"/>
                    <a:pt x="7533" y="5127"/>
                    <a:pt x="7533" y="5127"/>
                  </a:cubicBezTo>
                  <a:cubicBezTo>
                    <a:pt x="7533" y="5127"/>
                    <a:pt x="7624" y="5018"/>
                    <a:pt x="7624" y="5018"/>
                  </a:cubicBezTo>
                  <a:cubicBezTo>
                    <a:pt x="7624" y="4909"/>
                    <a:pt x="7714" y="4909"/>
                    <a:pt x="7624" y="4800"/>
                  </a:cubicBezTo>
                  <a:cubicBezTo>
                    <a:pt x="7624" y="4800"/>
                    <a:pt x="7624" y="4691"/>
                    <a:pt x="7624" y="4582"/>
                  </a:cubicBezTo>
                  <a:cubicBezTo>
                    <a:pt x="7624" y="4582"/>
                    <a:pt x="7805" y="4691"/>
                    <a:pt x="7624" y="4473"/>
                  </a:cubicBezTo>
                  <a:cubicBezTo>
                    <a:pt x="7442" y="4364"/>
                    <a:pt x="7261" y="4255"/>
                    <a:pt x="7351" y="4255"/>
                  </a:cubicBezTo>
                  <a:cubicBezTo>
                    <a:pt x="7442" y="4255"/>
                    <a:pt x="7533" y="4255"/>
                    <a:pt x="7533" y="4255"/>
                  </a:cubicBezTo>
                  <a:cubicBezTo>
                    <a:pt x="7624" y="4255"/>
                    <a:pt x="7714" y="4364"/>
                    <a:pt x="7714" y="4255"/>
                  </a:cubicBezTo>
                  <a:cubicBezTo>
                    <a:pt x="7805" y="4255"/>
                    <a:pt x="7805" y="4255"/>
                    <a:pt x="7805" y="4145"/>
                  </a:cubicBezTo>
                  <a:cubicBezTo>
                    <a:pt x="7714" y="4036"/>
                    <a:pt x="7714" y="4036"/>
                    <a:pt x="7714" y="4036"/>
                  </a:cubicBezTo>
                  <a:cubicBezTo>
                    <a:pt x="7624" y="3927"/>
                    <a:pt x="7624" y="3927"/>
                    <a:pt x="7533" y="3927"/>
                  </a:cubicBezTo>
                  <a:cubicBezTo>
                    <a:pt x="7533" y="3927"/>
                    <a:pt x="7442" y="4036"/>
                    <a:pt x="7533" y="3818"/>
                  </a:cubicBezTo>
                  <a:cubicBezTo>
                    <a:pt x="7533" y="3600"/>
                    <a:pt x="7533" y="3600"/>
                    <a:pt x="7533" y="3491"/>
                  </a:cubicBezTo>
                  <a:cubicBezTo>
                    <a:pt x="7533" y="3491"/>
                    <a:pt x="7714" y="3491"/>
                    <a:pt x="7533" y="3491"/>
                  </a:cubicBezTo>
                  <a:cubicBezTo>
                    <a:pt x="7442" y="3382"/>
                    <a:pt x="7442" y="3382"/>
                    <a:pt x="7442" y="3382"/>
                  </a:cubicBezTo>
                  <a:cubicBezTo>
                    <a:pt x="7351" y="3382"/>
                    <a:pt x="7442" y="3382"/>
                    <a:pt x="7261" y="3382"/>
                  </a:cubicBezTo>
                  <a:cubicBezTo>
                    <a:pt x="7170" y="3382"/>
                    <a:pt x="7261" y="3164"/>
                    <a:pt x="7261" y="3164"/>
                  </a:cubicBezTo>
                  <a:cubicBezTo>
                    <a:pt x="7261" y="3055"/>
                    <a:pt x="7351" y="2618"/>
                    <a:pt x="7351" y="2618"/>
                  </a:cubicBezTo>
                  <a:cubicBezTo>
                    <a:pt x="7261" y="2509"/>
                    <a:pt x="7261" y="2509"/>
                    <a:pt x="7261" y="2509"/>
                  </a:cubicBezTo>
                  <a:cubicBezTo>
                    <a:pt x="7261" y="2509"/>
                    <a:pt x="7170" y="2291"/>
                    <a:pt x="7170" y="2291"/>
                  </a:cubicBezTo>
                  <a:cubicBezTo>
                    <a:pt x="7170" y="2182"/>
                    <a:pt x="7170" y="2073"/>
                    <a:pt x="7079" y="2073"/>
                  </a:cubicBezTo>
                  <a:cubicBezTo>
                    <a:pt x="7079" y="2073"/>
                    <a:pt x="6988" y="1964"/>
                    <a:pt x="6988" y="1964"/>
                  </a:cubicBezTo>
                  <a:cubicBezTo>
                    <a:pt x="6988" y="1964"/>
                    <a:pt x="6897" y="1964"/>
                    <a:pt x="6897" y="1855"/>
                  </a:cubicBezTo>
                  <a:cubicBezTo>
                    <a:pt x="6897" y="1745"/>
                    <a:pt x="6897" y="1636"/>
                    <a:pt x="6897" y="1636"/>
                  </a:cubicBezTo>
                  <a:cubicBezTo>
                    <a:pt x="6897" y="1527"/>
                    <a:pt x="6897" y="1418"/>
                    <a:pt x="6897" y="1418"/>
                  </a:cubicBezTo>
                  <a:cubicBezTo>
                    <a:pt x="6716" y="873"/>
                    <a:pt x="6716" y="873"/>
                    <a:pt x="6716" y="873"/>
                  </a:cubicBezTo>
                  <a:cubicBezTo>
                    <a:pt x="6716" y="764"/>
                    <a:pt x="6716" y="764"/>
                    <a:pt x="6716" y="764"/>
                  </a:cubicBezTo>
                  <a:cubicBezTo>
                    <a:pt x="6625" y="545"/>
                    <a:pt x="6625" y="545"/>
                    <a:pt x="6625" y="545"/>
                  </a:cubicBezTo>
                  <a:cubicBezTo>
                    <a:pt x="6534" y="545"/>
                    <a:pt x="6534" y="545"/>
                    <a:pt x="6534" y="545"/>
                  </a:cubicBezTo>
                  <a:cubicBezTo>
                    <a:pt x="6534" y="327"/>
                    <a:pt x="6534" y="327"/>
                    <a:pt x="6534" y="327"/>
                  </a:cubicBezTo>
                  <a:cubicBezTo>
                    <a:pt x="6534" y="327"/>
                    <a:pt x="6444" y="327"/>
                    <a:pt x="6444" y="436"/>
                  </a:cubicBezTo>
                  <a:cubicBezTo>
                    <a:pt x="6444" y="436"/>
                    <a:pt x="6444" y="545"/>
                    <a:pt x="6353" y="545"/>
                  </a:cubicBezTo>
                  <a:cubicBezTo>
                    <a:pt x="6262" y="545"/>
                    <a:pt x="6171" y="436"/>
                    <a:pt x="6171" y="436"/>
                  </a:cubicBezTo>
                  <a:cubicBezTo>
                    <a:pt x="6171" y="436"/>
                    <a:pt x="6171" y="327"/>
                    <a:pt x="6171" y="218"/>
                  </a:cubicBezTo>
                  <a:cubicBezTo>
                    <a:pt x="6081" y="218"/>
                    <a:pt x="5808" y="0"/>
                    <a:pt x="5808" y="0"/>
                  </a:cubicBezTo>
                  <a:cubicBezTo>
                    <a:pt x="5808" y="0"/>
                    <a:pt x="5808" y="0"/>
                    <a:pt x="5808" y="109"/>
                  </a:cubicBezTo>
                  <a:cubicBezTo>
                    <a:pt x="5808" y="109"/>
                    <a:pt x="5718" y="218"/>
                    <a:pt x="5718" y="109"/>
                  </a:cubicBezTo>
                  <a:cubicBezTo>
                    <a:pt x="5627" y="109"/>
                    <a:pt x="5445" y="0"/>
                    <a:pt x="5445" y="0"/>
                  </a:cubicBezTo>
                  <a:cubicBezTo>
                    <a:pt x="5445" y="0"/>
                    <a:pt x="5445" y="109"/>
                    <a:pt x="5445" y="109"/>
                  </a:cubicBezTo>
                  <a:cubicBezTo>
                    <a:pt x="5445" y="218"/>
                    <a:pt x="5536" y="327"/>
                    <a:pt x="5536" y="327"/>
                  </a:cubicBezTo>
                  <a:cubicBezTo>
                    <a:pt x="5445" y="327"/>
                    <a:pt x="5355" y="327"/>
                    <a:pt x="5355" y="327"/>
                  </a:cubicBezTo>
                  <a:cubicBezTo>
                    <a:pt x="5355" y="327"/>
                    <a:pt x="5355" y="327"/>
                    <a:pt x="5264" y="327"/>
                  </a:cubicBezTo>
                  <a:cubicBezTo>
                    <a:pt x="5264" y="218"/>
                    <a:pt x="5173" y="218"/>
                    <a:pt x="5173" y="218"/>
                  </a:cubicBezTo>
                  <a:cubicBezTo>
                    <a:pt x="5173" y="327"/>
                    <a:pt x="5082" y="327"/>
                    <a:pt x="5082" y="545"/>
                  </a:cubicBezTo>
                  <a:cubicBezTo>
                    <a:pt x="5173" y="655"/>
                    <a:pt x="5082" y="655"/>
                    <a:pt x="5173" y="764"/>
                  </a:cubicBezTo>
                  <a:cubicBezTo>
                    <a:pt x="5264" y="764"/>
                    <a:pt x="5264" y="764"/>
                    <a:pt x="5355" y="873"/>
                  </a:cubicBezTo>
                  <a:cubicBezTo>
                    <a:pt x="5445" y="873"/>
                    <a:pt x="5445" y="873"/>
                    <a:pt x="5536" y="873"/>
                  </a:cubicBezTo>
                  <a:cubicBezTo>
                    <a:pt x="5536" y="873"/>
                    <a:pt x="5627" y="873"/>
                    <a:pt x="5718" y="873"/>
                  </a:cubicBezTo>
                  <a:cubicBezTo>
                    <a:pt x="5718" y="873"/>
                    <a:pt x="5808" y="764"/>
                    <a:pt x="5808" y="764"/>
                  </a:cubicBezTo>
                  <a:cubicBezTo>
                    <a:pt x="5808" y="764"/>
                    <a:pt x="5808" y="873"/>
                    <a:pt x="5808" y="873"/>
                  </a:cubicBezTo>
                  <a:cubicBezTo>
                    <a:pt x="5808" y="873"/>
                    <a:pt x="5718" y="873"/>
                    <a:pt x="5808" y="982"/>
                  </a:cubicBezTo>
                  <a:cubicBezTo>
                    <a:pt x="5808" y="982"/>
                    <a:pt x="5808" y="982"/>
                    <a:pt x="5808" y="982"/>
                  </a:cubicBezTo>
                  <a:cubicBezTo>
                    <a:pt x="5899" y="1091"/>
                    <a:pt x="5899" y="1091"/>
                    <a:pt x="5899" y="1091"/>
                  </a:cubicBezTo>
                  <a:cubicBezTo>
                    <a:pt x="5899" y="1091"/>
                    <a:pt x="5899" y="1091"/>
                    <a:pt x="5899" y="1091"/>
                  </a:cubicBezTo>
                  <a:cubicBezTo>
                    <a:pt x="5899" y="1091"/>
                    <a:pt x="5899" y="1200"/>
                    <a:pt x="5899" y="1200"/>
                  </a:cubicBezTo>
                  <a:cubicBezTo>
                    <a:pt x="5899" y="1309"/>
                    <a:pt x="5899" y="1309"/>
                    <a:pt x="5990" y="1309"/>
                  </a:cubicBezTo>
                  <a:cubicBezTo>
                    <a:pt x="6081" y="1418"/>
                    <a:pt x="6081" y="1309"/>
                    <a:pt x="6081" y="1309"/>
                  </a:cubicBezTo>
                  <a:cubicBezTo>
                    <a:pt x="6081" y="1309"/>
                    <a:pt x="6262" y="1527"/>
                    <a:pt x="6171" y="1527"/>
                  </a:cubicBezTo>
                  <a:cubicBezTo>
                    <a:pt x="6171" y="1527"/>
                    <a:pt x="6081" y="1418"/>
                    <a:pt x="6171" y="1527"/>
                  </a:cubicBezTo>
                  <a:cubicBezTo>
                    <a:pt x="6262" y="1636"/>
                    <a:pt x="6353" y="1636"/>
                    <a:pt x="6353" y="1636"/>
                  </a:cubicBezTo>
                  <a:cubicBezTo>
                    <a:pt x="6353" y="1636"/>
                    <a:pt x="6262" y="1745"/>
                    <a:pt x="6081" y="1636"/>
                  </a:cubicBezTo>
                  <a:cubicBezTo>
                    <a:pt x="5990" y="1636"/>
                    <a:pt x="5990" y="1636"/>
                    <a:pt x="5990" y="1636"/>
                  </a:cubicBezTo>
                  <a:cubicBezTo>
                    <a:pt x="5990" y="1636"/>
                    <a:pt x="5899" y="1527"/>
                    <a:pt x="5899" y="1527"/>
                  </a:cubicBezTo>
                  <a:cubicBezTo>
                    <a:pt x="5808" y="1418"/>
                    <a:pt x="5808" y="1309"/>
                    <a:pt x="5808" y="1309"/>
                  </a:cubicBezTo>
                  <a:cubicBezTo>
                    <a:pt x="5808" y="1309"/>
                    <a:pt x="5718" y="1200"/>
                    <a:pt x="5627" y="1200"/>
                  </a:cubicBezTo>
                  <a:cubicBezTo>
                    <a:pt x="5536" y="1091"/>
                    <a:pt x="5445" y="1200"/>
                    <a:pt x="5355" y="1200"/>
                  </a:cubicBezTo>
                  <a:cubicBezTo>
                    <a:pt x="5355" y="1200"/>
                    <a:pt x="5264" y="1309"/>
                    <a:pt x="5173" y="1309"/>
                  </a:cubicBezTo>
                  <a:cubicBezTo>
                    <a:pt x="5173" y="1309"/>
                    <a:pt x="5173" y="1418"/>
                    <a:pt x="5173" y="1527"/>
                  </a:cubicBezTo>
                  <a:cubicBezTo>
                    <a:pt x="5264" y="1636"/>
                    <a:pt x="5445" y="2073"/>
                    <a:pt x="5445" y="2073"/>
                  </a:cubicBezTo>
                  <a:cubicBezTo>
                    <a:pt x="5445" y="2073"/>
                    <a:pt x="5627" y="2291"/>
                    <a:pt x="5627" y="2291"/>
                  </a:cubicBezTo>
                  <a:cubicBezTo>
                    <a:pt x="5627" y="2291"/>
                    <a:pt x="5718" y="2509"/>
                    <a:pt x="5718" y="2509"/>
                  </a:cubicBezTo>
                  <a:cubicBezTo>
                    <a:pt x="5718" y="2509"/>
                    <a:pt x="5718" y="2509"/>
                    <a:pt x="5808" y="2618"/>
                  </a:cubicBezTo>
                  <a:cubicBezTo>
                    <a:pt x="5899" y="2618"/>
                    <a:pt x="5808" y="2618"/>
                    <a:pt x="5808" y="2618"/>
                  </a:cubicBezTo>
                  <a:cubicBezTo>
                    <a:pt x="5808" y="2727"/>
                    <a:pt x="5718" y="2836"/>
                    <a:pt x="5718" y="2945"/>
                  </a:cubicBezTo>
                  <a:cubicBezTo>
                    <a:pt x="5718" y="2945"/>
                    <a:pt x="5718" y="2836"/>
                    <a:pt x="5718" y="2945"/>
                  </a:cubicBezTo>
                  <a:cubicBezTo>
                    <a:pt x="5718" y="3164"/>
                    <a:pt x="5718" y="3382"/>
                    <a:pt x="5718" y="3382"/>
                  </a:cubicBezTo>
                  <a:cubicBezTo>
                    <a:pt x="5627" y="3600"/>
                    <a:pt x="5627" y="3600"/>
                    <a:pt x="5627" y="3600"/>
                  </a:cubicBezTo>
                  <a:cubicBezTo>
                    <a:pt x="5536" y="3709"/>
                    <a:pt x="5536" y="3709"/>
                    <a:pt x="5536" y="3709"/>
                  </a:cubicBezTo>
                  <a:cubicBezTo>
                    <a:pt x="5536" y="3709"/>
                    <a:pt x="5536" y="3709"/>
                    <a:pt x="5536" y="3709"/>
                  </a:cubicBezTo>
                  <a:cubicBezTo>
                    <a:pt x="5445" y="3709"/>
                    <a:pt x="5536" y="3600"/>
                    <a:pt x="5536" y="3600"/>
                  </a:cubicBezTo>
                  <a:cubicBezTo>
                    <a:pt x="5536" y="3491"/>
                    <a:pt x="5536" y="3491"/>
                    <a:pt x="5536" y="3491"/>
                  </a:cubicBezTo>
                  <a:cubicBezTo>
                    <a:pt x="5627" y="3273"/>
                    <a:pt x="5627" y="3273"/>
                    <a:pt x="5627" y="3273"/>
                  </a:cubicBezTo>
                  <a:cubicBezTo>
                    <a:pt x="5627" y="3273"/>
                    <a:pt x="5536" y="3164"/>
                    <a:pt x="5445" y="3164"/>
                  </a:cubicBezTo>
                  <a:cubicBezTo>
                    <a:pt x="5445" y="3055"/>
                    <a:pt x="5445" y="3164"/>
                    <a:pt x="5355" y="3164"/>
                  </a:cubicBezTo>
                  <a:cubicBezTo>
                    <a:pt x="5355" y="3164"/>
                    <a:pt x="5264" y="3382"/>
                    <a:pt x="5264" y="3382"/>
                  </a:cubicBezTo>
                  <a:cubicBezTo>
                    <a:pt x="5264" y="3382"/>
                    <a:pt x="5173" y="3382"/>
                    <a:pt x="5264" y="3273"/>
                  </a:cubicBezTo>
                  <a:cubicBezTo>
                    <a:pt x="5264" y="3273"/>
                    <a:pt x="5264" y="3055"/>
                    <a:pt x="5355" y="3055"/>
                  </a:cubicBezTo>
                  <a:cubicBezTo>
                    <a:pt x="5355" y="3055"/>
                    <a:pt x="5355" y="3055"/>
                    <a:pt x="5355" y="3055"/>
                  </a:cubicBezTo>
                  <a:cubicBezTo>
                    <a:pt x="5355" y="2945"/>
                    <a:pt x="5445" y="2945"/>
                    <a:pt x="5445" y="2836"/>
                  </a:cubicBezTo>
                  <a:cubicBezTo>
                    <a:pt x="5445" y="2727"/>
                    <a:pt x="5445" y="2727"/>
                    <a:pt x="5445" y="2618"/>
                  </a:cubicBezTo>
                  <a:cubicBezTo>
                    <a:pt x="5355" y="2618"/>
                    <a:pt x="5355" y="2509"/>
                    <a:pt x="5355" y="2400"/>
                  </a:cubicBezTo>
                  <a:cubicBezTo>
                    <a:pt x="5264" y="2400"/>
                    <a:pt x="5173" y="2509"/>
                    <a:pt x="5173" y="2509"/>
                  </a:cubicBezTo>
                  <a:cubicBezTo>
                    <a:pt x="5173" y="2618"/>
                    <a:pt x="5173" y="2618"/>
                    <a:pt x="5173" y="2618"/>
                  </a:cubicBezTo>
                  <a:cubicBezTo>
                    <a:pt x="5082" y="2727"/>
                    <a:pt x="5082" y="2727"/>
                    <a:pt x="4992" y="2836"/>
                  </a:cubicBezTo>
                  <a:cubicBezTo>
                    <a:pt x="4901" y="2945"/>
                    <a:pt x="4901" y="2945"/>
                    <a:pt x="4901" y="2945"/>
                  </a:cubicBezTo>
                  <a:cubicBezTo>
                    <a:pt x="4901" y="2945"/>
                    <a:pt x="4992" y="2727"/>
                    <a:pt x="4992" y="2727"/>
                  </a:cubicBezTo>
                  <a:cubicBezTo>
                    <a:pt x="4992" y="2727"/>
                    <a:pt x="5082" y="2618"/>
                    <a:pt x="4992" y="2618"/>
                  </a:cubicBezTo>
                  <a:cubicBezTo>
                    <a:pt x="4992" y="2618"/>
                    <a:pt x="4992" y="2618"/>
                    <a:pt x="4992" y="2509"/>
                  </a:cubicBezTo>
                  <a:cubicBezTo>
                    <a:pt x="4992" y="2509"/>
                    <a:pt x="4992" y="2400"/>
                    <a:pt x="4992" y="2400"/>
                  </a:cubicBezTo>
                  <a:cubicBezTo>
                    <a:pt x="4992" y="2400"/>
                    <a:pt x="5082" y="2400"/>
                    <a:pt x="4992" y="2400"/>
                  </a:cubicBezTo>
                  <a:cubicBezTo>
                    <a:pt x="4901" y="2400"/>
                    <a:pt x="4901" y="2400"/>
                    <a:pt x="4901" y="2400"/>
                  </a:cubicBezTo>
                  <a:cubicBezTo>
                    <a:pt x="4901" y="2400"/>
                    <a:pt x="4810" y="2400"/>
                    <a:pt x="4810" y="2400"/>
                  </a:cubicBezTo>
                  <a:cubicBezTo>
                    <a:pt x="4810" y="2291"/>
                    <a:pt x="4901" y="2291"/>
                    <a:pt x="4901" y="2291"/>
                  </a:cubicBezTo>
                  <a:cubicBezTo>
                    <a:pt x="4901" y="2182"/>
                    <a:pt x="4992" y="2073"/>
                    <a:pt x="4992" y="2073"/>
                  </a:cubicBezTo>
                  <a:cubicBezTo>
                    <a:pt x="4992" y="2073"/>
                    <a:pt x="4901" y="1964"/>
                    <a:pt x="4901" y="1964"/>
                  </a:cubicBezTo>
                  <a:cubicBezTo>
                    <a:pt x="4810" y="1855"/>
                    <a:pt x="4810" y="1745"/>
                    <a:pt x="4810" y="1745"/>
                  </a:cubicBezTo>
                  <a:cubicBezTo>
                    <a:pt x="4810" y="1745"/>
                    <a:pt x="4810" y="1964"/>
                    <a:pt x="4810" y="1636"/>
                  </a:cubicBezTo>
                  <a:cubicBezTo>
                    <a:pt x="4719" y="1309"/>
                    <a:pt x="4719" y="1309"/>
                    <a:pt x="4719" y="1309"/>
                  </a:cubicBezTo>
                  <a:cubicBezTo>
                    <a:pt x="4629" y="1200"/>
                    <a:pt x="4629" y="1200"/>
                    <a:pt x="4629" y="1200"/>
                  </a:cubicBezTo>
                  <a:cubicBezTo>
                    <a:pt x="4629" y="1200"/>
                    <a:pt x="4629" y="1091"/>
                    <a:pt x="4538" y="1091"/>
                  </a:cubicBezTo>
                  <a:cubicBezTo>
                    <a:pt x="4538" y="982"/>
                    <a:pt x="4356" y="873"/>
                    <a:pt x="4356" y="873"/>
                  </a:cubicBezTo>
                  <a:cubicBezTo>
                    <a:pt x="4356" y="764"/>
                    <a:pt x="4356" y="764"/>
                    <a:pt x="4356" y="764"/>
                  </a:cubicBezTo>
                  <a:cubicBezTo>
                    <a:pt x="4356" y="764"/>
                    <a:pt x="4356" y="655"/>
                    <a:pt x="4356" y="655"/>
                  </a:cubicBezTo>
                  <a:cubicBezTo>
                    <a:pt x="4266" y="655"/>
                    <a:pt x="4175" y="545"/>
                    <a:pt x="4175" y="655"/>
                  </a:cubicBezTo>
                  <a:cubicBezTo>
                    <a:pt x="4175" y="764"/>
                    <a:pt x="4175" y="764"/>
                    <a:pt x="4175" y="873"/>
                  </a:cubicBezTo>
                  <a:cubicBezTo>
                    <a:pt x="4084" y="873"/>
                    <a:pt x="3903" y="873"/>
                    <a:pt x="3903" y="873"/>
                  </a:cubicBezTo>
                  <a:cubicBezTo>
                    <a:pt x="3903" y="873"/>
                    <a:pt x="3903" y="982"/>
                    <a:pt x="3903" y="982"/>
                  </a:cubicBezTo>
                  <a:cubicBezTo>
                    <a:pt x="3721" y="1091"/>
                    <a:pt x="3721" y="1091"/>
                    <a:pt x="3721" y="1091"/>
                  </a:cubicBezTo>
                  <a:cubicBezTo>
                    <a:pt x="3721" y="1091"/>
                    <a:pt x="3721" y="982"/>
                    <a:pt x="3721" y="1091"/>
                  </a:cubicBezTo>
                  <a:cubicBezTo>
                    <a:pt x="3812" y="1200"/>
                    <a:pt x="3812" y="1309"/>
                    <a:pt x="3812" y="1418"/>
                  </a:cubicBezTo>
                  <a:cubicBezTo>
                    <a:pt x="3812" y="1418"/>
                    <a:pt x="3993" y="1527"/>
                    <a:pt x="3903" y="1527"/>
                  </a:cubicBezTo>
                  <a:cubicBezTo>
                    <a:pt x="3903" y="1527"/>
                    <a:pt x="3721" y="1527"/>
                    <a:pt x="3721" y="1527"/>
                  </a:cubicBezTo>
                  <a:cubicBezTo>
                    <a:pt x="3721" y="1527"/>
                    <a:pt x="3630" y="1418"/>
                    <a:pt x="3630" y="1309"/>
                  </a:cubicBezTo>
                  <a:cubicBezTo>
                    <a:pt x="3630" y="1309"/>
                    <a:pt x="3539" y="1200"/>
                    <a:pt x="3449" y="1200"/>
                  </a:cubicBezTo>
                  <a:cubicBezTo>
                    <a:pt x="3449" y="1200"/>
                    <a:pt x="3358" y="1200"/>
                    <a:pt x="3267" y="1309"/>
                  </a:cubicBezTo>
                  <a:cubicBezTo>
                    <a:pt x="3267" y="1418"/>
                    <a:pt x="3267" y="1309"/>
                    <a:pt x="3267" y="1527"/>
                  </a:cubicBezTo>
                  <a:cubicBezTo>
                    <a:pt x="3267" y="1745"/>
                    <a:pt x="3267" y="1964"/>
                    <a:pt x="3267" y="1964"/>
                  </a:cubicBezTo>
                  <a:cubicBezTo>
                    <a:pt x="3267" y="1964"/>
                    <a:pt x="3358" y="2073"/>
                    <a:pt x="3449" y="2182"/>
                  </a:cubicBezTo>
                  <a:cubicBezTo>
                    <a:pt x="3449" y="2182"/>
                    <a:pt x="3539" y="2509"/>
                    <a:pt x="3539" y="2509"/>
                  </a:cubicBezTo>
                  <a:cubicBezTo>
                    <a:pt x="3539" y="2618"/>
                    <a:pt x="3630" y="2727"/>
                    <a:pt x="3630" y="2727"/>
                  </a:cubicBezTo>
                  <a:cubicBezTo>
                    <a:pt x="3630" y="2727"/>
                    <a:pt x="3176" y="2509"/>
                    <a:pt x="3176" y="2400"/>
                  </a:cubicBezTo>
                  <a:cubicBezTo>
                    <a:pt x="3176" y="2291"/>
                    <a:pt x="3176" y="2073"/>
                    <a:pt x="3086" y="2073"/>
                  </a:cubicBezTo>
                  <a:cubicBezTo>
                    <a:pt x="3086" y="2073"/>
                    <a:pt x="3086" y="1964"/>
                    <a:pt x="2995" y="2073"/>
                  </a:cubicBezTo>
                  <a:cubicBezTo>
                    <a:pt x="2904" y="2073"/>
                    <a:pt x="2904" y="2073"/>
                    <a:pt x="2813" y="2073"/>
                  </a:cubicBezTo>
                  <a:cubicBezTo>
                    <a:pt x="2813" y="2182"/>
                    <a:pt x="2813" y="2291"/>
                    <a:pt x="2813" y="2291"/>
                  </a:cubicBezTo>
                  <a:cubicBezTo>
                    <a:pt x="2813" y="2291"/>
                    <a:pt x="2813" y="2400"/>
                    <a:pt x="2813" y="2509"/>
                  </a:cubicBezTo>
                  <a:cubicBezTo>
                    <a:pt x="2904" y="2727"/>
                    <a:pt x="2904" y="2727"/>
                    <a:pt x="2904" y="2836"/>
                  </a:cubicBezTo>
                  <a:cubicBezTo>
                    <a:pt x="2995" y="2945"/>
                    <a:pt x="3086" y="2945"/>
                    <a:pt x="3086" y="3055"/>
                  </a:cubicBezTo>
                  <a:cubicBezTo>
                    <a:pt x="3086" y="3055"/>
                    <a:pt x="3176" y="3164"/>
                    <a:pt x="3176" y="3164"/>
                  </a:cubicBezTo>
                  <a:cubicBezTo>
                    <a:pt x="3176" y="3164"/>
                    <a:pt x="3086" y="3382"/>
                    <a:pt x="3086" y="3382"/>
                  </a:cubicBezTo>
                  <a:cubicBezTo>
                    <a:pt x="3086" y="3491"/>
                    <a:pt x="2995" y="3600"/>
                    <a:pt x="2995" y="3600"/>
                  </a:cubicBezTo>
                  <a:cubicBezTo>
                    <a:pt x="2995" y="3600"/>
                    <a:pt x="3176" y="3709"/>
                    <a:pt x="3176" y="3709"/>
                  </a:cubicBezTo>
                  <a:cubicBezTo>
                    <a:pt x="3176" y="3709"/>
                    <a:pt x="3267" y="3818"/>
                    <a:pt x="3176" y="3927"/>
                  </a:cubicBezTo>
                  <a:cubicBezTo>
                    <a:pt x="3086" y="3927"/>
                    <a:pt x="3086" y="3927"/>
                    <a:pt x="2995" y="3927"/>
                  </a:cubicBezTo>
                  <a:cubicBezTo>
                    <a:pt x="2995" y="3818"/>
                    <a:pt x="2904" y="3927"/>
                    <a:pt x="2904" y="3709"/>
                  </a:cubicBezTo>
                  <a:cubicBezTo>
                    <a:pt x="2995" y="3600"/>
                    <a:pt x="2995" y="3491"/>
                    <a:pt x="2995" y="3491"/>
                  </a:cubicBezTo>
                  <a:cubicBezTo>
                    <a:pt x="2904" y="3491"/>
                    <a:pt x="2813" y="3273"/>
                    <a:pt x="2813" y="3273"/>
                  </a:cubicBezTo>
                  <a:cubicBezTo>
                    <a:pt x="2813" y="3273"/>
                    <a:pt x="2995" y="3600"/>
                    <a:pt x="2723" y="3055"/>
                  </a:cubicBezTo>
                  <a:cubicBezTo>
                    <a:pt x="2541" y="2618"/>
                    <a:pt x="2541" y="2618"/>
                    <a:pt x="2541" y="2618"/>
                  </a:cubicBezTo>
                  <a:cubicBezTo>
                    <a:pt x="2541" y="2400"/>
                    <a:pt x="2541" y="2400"/>
                    <a:pt x="2541" y="2400"/>
                  </a:cubicBezTo>
                  <a:cubicBezTo>
                    <a:pt x="2541" y="2400"/>
                    <a:pt x="2450" y="2400"/>
                    <a:pt x="2450" y="2400"/>
                  </a:cubicBezTo>
                  <a:cubicBezTo>
                    <a:pt x="2450" y="2400"/>
                    <a:pt x="2360" y="2291"/>
                    <a:pt x="2360" y="2291"/>
                  </a:cubicBezTo>
                  <a:cubicBezTo>
                    <a:pt x="2360" y="2291"/>
                    <a:pt x="2178" y="2291"/>
                    <a:pt x="2178" y="2291"/>
                  </a:cubicBezTo>
                  <a:cubicBezTo>
                    <a:pt x="2178" y="2400"/>
                    <a:pt x="2178" y="2400"/>
                    <a:pt x="2178" y="2509"/>
                  </a:cubicBezTo>
                  <a:cubicBezTo>
                    <a:pt x="2087" y="2509"/>
                    <a:pt x="2087" y="2727"/>
                    <a:pt x="2087" y="2727"/>
                  </a:cubicBezTo>
                  <a:cubicBezTo>
                    <a:pt x="1997" y="2727"/>
                    <a:pt x="1997" y="2945"/>
                    <a:pt x="1997" y="2945"/>
                  </a:cubicBezTo>
                  <a:cubicBezTo>
                    <a:pt x="1997" y="2945"/>
                    <a:pt x="2087" y="2945"/>
                    <a:pt x="2087" y="3055"/>
                  </a:cubicBezTo>
                  <a:cubicBezTo>
                    <a:pt x="2178" y="3164"/>
                    <a:pt x="2178" y="3273"/>
                    <a:pt x="2178" y="3273"/>
                  </a:cubicBezTo>
                  <a:cubicBezTo>
                    <a:pt x="2178" y="3273"/>
                    <a:pt x="2087" y="3164"/>
                    <a:pt x="2087" y="3164"/>
                  </a:cubicBezTo>
                  <a:cubicBezTo>
                    <a:pt x="1997" y="3164"/>
                    <a:pt x="1997" y="3164"/>
                    <a:pt x="1997" y="3164"/>
                  </a:cubicBezTo>
                  <a:cubicBezTo>
                    <a:pt x="1906" y="3273"/>
                    <a:pt x="1906" y="3273"/>
                    <a:pt x="1906" y="3273"/>
                  </a:cubicBezTo>
                  <a:cubicBezTo>
                    <a:pt x="1906" y="3273"/>
                    <a:pt x="1906" y="3273"/>
                    <a:pt x="1906" y="3273"/>
                  </a:cubicBezTo>
                  <a:cubicBezTo>
                    <a:pt x="1906" y="3273"/>
                    <a:pt x="1906" y="3491"/>
                    <a:pt x="1906" y="3491"/>
                  </a:cubicBezTo>
                  <a:cubicBezTo>
                    <a:pt x="1906" y="3491"/>
                    <a:pt x="1997" y="3600"/>
                    <a:pt x="1997" y="3600"/>
                  </a:cubicBezTo>
                  <a:cubicBezTo>
                    <a:pt x="1997" y="3600"/>
                    <a:pt x="1997" y="3709"/>
                    <a:pt x="1997" y="3709"/>
                  </a:cubicBezTo>
                  <a:cubicBezTo>
                    <a:pt x="1997" y="3709"/>
                    <a:pt x="2087" y="3818"/>
                    <a:pt x="2087" y="3818"/>
                  </a:cubicBezTo>
                  <a:cubicBezTo>
                    <a:pt x="2087" y="3927"/>
                    <a:pt x="2087" y="3927"/>
                    <a:pt x="2087" y="3927"/>
                  </a:cubicBezTo>
                  <a:cubicBezTo>
                    <a:pt x="2087" y="3927"/>
                    <a:pt x="2087" y="3927"/>
                    <a:pt x="2087" y="3927"/>
                  </a:cubicBezTo>
                  <a:cubicBezTo>
                    <a:pt x="1997" y="3927"/>
                    <a:pt x="2087" y="4036"/>
                    <a:pt x="1997" y="3927"/>
                  </a:cubicBezTo>
                  <a:cubicBezTo>
                    <a:pt x="1906" y="3818"/>
                    <a:pt x="1906" y="3927"/>
                    <a:pt x="1815" y="3818"/>
                  </a:cubicBezTo>
                  <a:cubicBezTo>
                    <a:pt x="1815" y="3600"/>
                    <a:pt x="1815" y="3600"/>
                    <a:pt x="1815" y="3600"/>
                  </a:cubicBezTo>
                  <a:cubicBezTo>
                    <a:pt x="1815" y="3600"/>
                    <a:pt x="1906" y="3491"/>
                    <a:pt x="1724" y="3382"/>
                  </a:cubicBezTo>
                  <a:cubicBezTo>
                    <a:pt x="1634" y="3164"/>
                    <a:pt x="1634" y="3055"/>
                    <a:pt x="1634" y="3055"/>
                  </a:cubicBezTo>
                  <a:cubicBezTo>
                    <a:pt x="1634" y="3055"/>
                    <a:pt x="1543" y="2945"/>
                    <a:pt x="1452" y="2945"/>
                  </a:cubicBezTo>
                  <a:cubicBezTo>
                    <a:pt x="1452" y="3055"/>
                    <a:pt x="1452" y="3055"/>
                    <a:pt x="1361" y="3055"/>
                  </a:cubicBezTo>
                  <a:cubicBezTo>
                    <a:pt x="1271" y="3164"/>
                    <a:pt x="1271" y="3164"/>
                    <a:pt x="1180" y="3164"/>
                  </a:cubicBezTo>
                  <a:cubicBezTo>
                    <a:pt x="1180" y="3164"/>
                    <a:pt x="998" y="3164"/>
                    <a:pt x="998" y="3164"/>
                  </a:cubicBezTo>
                  <a:cubicBezTo>
                    <a:pt x="998" y="3164"/>
                    <a:pt x="998" y="3164"/>
                    <a:pt x="817" y="3273"/>
                  </a:cubicBezTo>
                  <a:cubicBezTo>
                    <a:pt x="726" y="3491"/>
                    <a:pt x="635" y="3491"/>
                    <a:pt x="726" y="3491"/>
                  </a:cubicBezTo>
                  <a:cubicBezTo>
                    <a:pt x="817" y="3600"/>
                    <a:pt x="998" y="3600"/>
                    <a:pt x="998" y="3600"/>
                  </a:cubicBezTo>
                  <a:cubicBezTo>
                    <a:pt x="998" y="3600"/>
                    <a:pt x="1089" y="3600"/>
                    <a:pt x="1180" y="3709"/>
                  </a:cubicBezTo>
                  <a:cubicBezTo>
                    <a:pt x="1271" y="3709"/>
                    <a:pt x="1452" y="3927"/>
                    <a:pt x="1452" y="3927"/>
                  </a:cubicBezTo>
                  <a:cubicBezTo>
                    <a:pt x="1634" y="4255"/>
                    <a:pt x="1634" y="4255"/>
                    <a:pt x="1634" y="4255"/>
                  </a:cubicBezTo>
                  <a:cubicBezTo>
                    <a:pt x="1634" y="4255"/>
                    <a:pt x="1634" y="4364"/>
                    <a:pt x="1634" y="4364"/>
                  </a:cubicBezTo>
                  <a:cubicBezTo>
                    <a:pt x="1634" y="4364"/>
                    <a:pt x="1634" y="4364"/>
                    <a:pt x="1634" y="4473"/>
                  </a:cubicBezTo>
                  <a:cubicBezTo>
                    <a:pt x="1634" y="4473"/>
                    <a:pt x="1634" y="4582"/>
                    <a:pt x="1634" y="4582"/>
                  </a:cubicBezTo>
                  <a:cubicBezTo>
                    <a:pt x="1634" y="4582"/>
                    <a:pt x="1724" y="4691"/>
                    <a:pt x="1815" y="4800"/>
                  </a:cubicBezTo>
                  <a:cubicBezTo>
                    <a:pt x="1906" y="4800"/>
                    <a:pt x="1906" y="4800"/>
                    <a:pt x="1997" y="4800"/>
                  </a:cubicBezTo>
                  <a:cubicBezTo>
                    <a:pt x="2087" y="4800"/>
                    <a:pt x="1997" y="4800"/>
                    <a:pt x="2087" y="4800"/>
                  </a:cubicBezTo>
                  <a:cubicBezTo>
                    <a:pt x="2269" y="4691"/>
                    <a:pt x="2269" y="4691"/>
                    <a:pt x="2269" y="4691"/>
                  </a:cubicBezTo>
                  <a:cubicBezTo>
                    <a:pt x="2269" y="4691"/>
                    <a:pt x="2269" y="4691"/>
                    <a:pt x="2360" y="4691"/>
                  </a:cubicBezTo>
                  <a:cubicBezTo>
                    <a:pt x="2541" y="4691"/>
                    <a:pt x="2450" y="4800"/>
                    <a:pt x="2541" y="4800"/>
                  </a:cubicBezTo>
                  <a:cubicBezTo>
                    <a:pt x="2541" y="4691"/>
                    <a:pt x="2723" y="4691"/>
                    <a:pt x="2723" y="4691"/>
                  </a:cubicBezTo>
                  <a:cubicBezTo>
                    <a:pt x="2813" y="4691"/>
                    <a:pt x="2813" y="4582"/>
                    <a:pt x="2904" y="4691"/>
                  </a:cubicBezTo>
                  <a:cubicBezTo>
                    <a:pt x="2904" y="4800"/>
                    <a:pt x="2904" y="4800"/>
                    <a:pt x="2904" y="4909"/>
                  </a:cubicBezTo>
                  <a:cubicBezTo>
                    <a:pt x="2995" y="4909"/>
                    <a:pt x="3086" y="5018"/>
                    <a:pt x="3086" y="5018"/>
                  </a:cubicBezTo>
                  <a:cubicBezTo>
                    <a:pt x="3267" y="5018"/>
                    <a:pt x="3267" y="5018"/>
                    <a:pt x="3267" y="5018"/>
                  </a:cubicBezTo>
                  <a:cubicBezTo>
                    <a:pt x="3267" y="5018"/>
                    <a:pt x="3267" y="4909"/>
                    <a:pt x="3358" y="4909"/>
                  </a:cubicBezTo>
                  <a:cubicBezTo>
                    <a:pt x="3358" y="4800"/>
                    <a:pt x="3449" y="4691"/>
                    <a:pt x="3449" y="4691"/>
                  </a:cubicBezTo>
                  <a:cubicBezTo>
                    <a:pt x="3449" y="4691"/>
                    <a:pt x="3358" y="4691"/>
                    <a:pt x="3449" y="4800"/>
                  </a:cubicBezTo>
                  <a:cubicBezTo>
                    <a:pt x="3539" y="4800"/>
                    <a:pt x="3539" y="4800"/>
                    <a:pt x="3630" y="4909"/>
                  </a:cubicBezTo>
                  <a:cubicBezTo>
                    <a:pt x="3630" y="4909"/>
                    <a:pt x="3812" y="4800"/>
                    <a:pt x="3812" y="4800"/>
                  </a:cubicBezTo>
                  <a:cubicBezTo>
                    <a:pt x="3903" y="4800"/>
                    <a:pt x="3903" y="4800"/>
                    <a:pt x="3903" y="4800"/>
                  </a:cubicBezTo>
                  <a:cubicBezTo>
                    <a:pt x="3903" y="4800"/>
                    <a:pt x="3812" y="4909"/>
                    <a:pt x="3903" y="4909"/>
                  </a:cubicBezTo>
                  <a:cubicBezTo>
                    <a:pt x="3903" y="4909"/>
                    <a:pt x="3812" y="4909"/>
                    <a:pt x="3903" y="4909"/>
                  </a:cubicBezTo>
                  <a:cubicBezTo>
                    <a:pt x="3993" y="4909"/>
                    <a:pt x="4084" y="4800"/>
                    <a:pt x="4084" y="4800"/>
                  </a:cubicBezTo>
                  <a:cubicBezTo>
                    <a:pt x="4084" y="4800"/>
                    <a:pt x="3993" y="4909"/>
                    <a:pt x="3993" y="5018"/>
                  </a:cubicBezTo>
                  <a:cubicBezTo>
                    <a:pt x="3993" y="5018"/>
                    <a:pt x="3993" y="5127"/>
                    <a:pt x="3993" y="5127"/>
                  </a:cubicBezTo>
                  <a:cubicBezTo>
                    <a:pt x="3993" y="5127"/>
                    <a:pt x="3993" y="5236"/>
                    <a:pt x="4084" y="5345"/>
                  </a:cubicBezTo>
                  <a:cubicBezTo>
                    <a:pt x="4175" y="5345"/>
                    <a:pt x="4266" y="5345"/>
                    <a:pt x="4266" y="5345"/>
                  </a:cubicBezTo>
                  <a:cubicBezTo>
                    <a:pt x="4266" y="5345"/>
                    <a:pt x="4447" y="5345"/>
                    <a:pt x="4447" y="5345"/>
                  </a:cubicBezTo>
                  <a:cubicBezTo>
                    <a:pt x="4447" y="5455"/>
                    <a:pt x="4447" y="5345"/>
                    <a:pt x="4447" y="5455"/>
                  </a:cubicBezTo>
                  <a:cubicBezTo>
                    <a:pt x="4447" y="5455"/>
                    <a:pt x="4538" y="5345"/>
                    <a:pt x="4538" y="5345"/>
                  </a:cubicBezTo>
                  <a:cubicBezTo>
                    <a:pt x="4629" y="5345"/>
                    <a:pt x="4719" y="5345"/>
                    <a:pt x="4719" y="5345"/>
                  </a:cubicBezTo>
                  <a:cubicBezTo>
                    <a:pt x="4719" y="5455"/>
                    <a:pt x="4629" y="5564"/>
                    <a:pt x="4629" y="5564"/>
                  </a:cubicBezTo>
                  <a:cubicBezTo>
                    <a:pt x="4629" y="5564"/>
                    <a:pt x="4629" y="5564"/>
                    <a:pt x="4629" y="5673"/>
                  </a:cubicBezTo>
                  <a:cubicBezTo>
                    <a:pt x="4629" y="5673"/>
                    <a:pt x="4810" y="5673"/>
                    <a:pt x="4810" y="5673"/>
                  </a:cubicBezTo>
                  <a:cubicBezTo>
                    <a:pt x="4810" y="5673"/>
                    <a:pt x="4810" y="5564"/>
                    <a:pt x="4901" y="5673"/>
                  </a:cubicBezTo>
                  <a:cubicBezTo>
                    <a:pt x="4901" y="5782"/>
                    <a:pt x="4901" y="5782"/>
                    <a:pt x="4901" y="5782"/>
                  </a:cubicBezTo>
                  <a:cubicBezTo>
                    <a:pt x="4810" y="5782"/>
                    <a:pt x="4810" y="5673"/>
                    <a:pt x="4810" y="5891"/>
                  </a:cubicBezTo>
                  <a:cubicBezTo>
                    <a:pt x="4719" y="6000"/>
                    <a:pt x="4810" y="6109"/>
                    <a:pt x="4810" y="6109"/>
                  </a:cubicBezTo>
                  <a:cubicBezTo>
                    <a:pt x="4901" y="6327"/>
                    <a:pt x="4901" y="6327"/>
                    <a:pt x="4901" y="6327"/>
                  </a:cubicBezTo>
                  <a:cubicBezTo>
                    <a:pt x="4901" y="6327"/>
                    <a:pt x="4992" y="6327"/>
                    <a:pt x="5082" y="6327"/>
                  </a:cubicBezTo>
                  <a:cubicBezTo>
                    <a:pt x="5082" y="6327"/>
                    <a:pt x="5082" y="6327"/>
                    <a:pt x="5082" y="6327"/>
                  </a:cubicBezTo>
                  <a:cubicBezTo>
                    <a:pt x="5173" y="6218"/>
                    <a:pt x="5173" y="6218"/>
                    <a:pt x="5264" y="6218"/>
                  </a:cubicBezTo>
                  <a:cubicBezTo>
                    <a:pt x="5264" y="6218"/>
                    <a:pt x="5355" y="6327"/>
                    <a:pt x="5355" y="6327"/>
                  </a:cubicBezTo>
                  <a:cubicBezTo>
                    <a:pt x="5355" y="6436"/>
                    <a:pt x="5355" y="6436"/>
                    <a:pt x="5355" y="6436"/>
                  </a:cubicBezTo>
                  <a:cubicBezTo>
                    <a:pt x="5355" y="6436"/>
                    <a:pt x="5355" y="6545"/>
                    <a:pt x="5355" y="6545"/>
                  </a:cubicBezTo>
                  <a:cubicBezTo>
                    <a:pt x="5445" y="6655"/>
                    <a:pt x="5536" y="6655"/>
                    <a:pt x="5536" y="6655"/>
                  </a:cubicBezTo>
                  <a:cubicBezTo>
                    <a:pt x="5536" y="6655"/>
                    <a:pt x="5536" y="6655"/>
                    <a:pt x="5536" y="6764"/>
                  </a:cubicBezTo>
                  <a:cubicBezTo>
                    <a:pt x="5627" y="6873"/>
                    <a:pt x="5808" y="6982"/>
                    <a:pt x="5808" y="6982"/>
                  </a:cubicBezTo>
                  <a:cubicBezTo>
                    <a:pt x="5808" y="6982"/>
                    <a:pt x="5536" y="6873"/>
                    <a:pt x="5536" y="6873"/>
                  </a:cubicBezTo>
                  <a:cubicBezTo>
                    <a:pt x="5445" y="6873"/>
                    <a:pt x="5264" y="6873"/>
                    <a:pt x="5264" y="6873"/>
                  </a:cubicBezTo>
                  <a:cubicBezTo>
                    <a:pt x="5173" y="6873"/>
                    <a:pt x="4992" y="6873"/>
                    <a:pt x="4992" y="6873"/>
                  </a:cubicBezTo>
                  <a:cubicBezTo>
                    <a:pt x="4719" y="6982"/>
                    <a:pt x="4719" y="6982"/>
                    <a:pt x="4719" y="6982"/>
                  </a:cubicBezTo>
                  <a:cubicBezTo>
                    <a:pt x="4719" y="6982"/>
                    <a:pt x="4538" y="7091"/>
                    <a:pt x="4447" y="7091"/>
                  </a:cubicBezTo>
                  <a:cubicBezTo>
                    <a:pt x="4447" y="7091"/>
                    <a:pt x="4356" y="7091"/>
                    <a:pt x="4266" y="7091"/>
                  </a:cubicBezTo>
                  <a:cubicBezTo>
                    <a:pt x="4266" y="7200"/>
                    <a:pt x="4175" y="7200"/>
                    <a:pt x="4084" y="7200"/>
                  </a:cubicBezTo>
                  <a:cubicBezTo>
                    <a:pt x="4084" y="7200"/>
                    <a:pt x="3903" y="7200"/>
                    <a:pt x="3812" y="7200"/>
                  </a:cubicBezTo>
                  <a:cubicBezTo>
                    <a:pt x="3812" y="7200"/>
                    <a:pt x="3721" y="7200"/>
                    <a:pt x="3721" y="7200"/>
                  </a:cubicBezTo>
                  <a:cubicBezTo>
                    <a:pt x="3449" y="7309"/>
                    <a:pt x="3449" y="7309"/>
                    <a:pt x="3449" y="7309"/>
                  </a:cubicBezTo>
                  <a:cubicBezTo>
                    <a:pt x="3539" y="7418"/>
                    <a:pt x="3539" y="7418"/>
                    <a:pt x="3539" y="7418"/>
                  </a:cubicBezTo>
                  <a:cubicBezTo>
                    <a:pt x="3721" y="7527"/>
                    <a:pt x="3721" y="7527"/>
                    <a:pt x="3721" y="7527"/>
                  </a:cubicBezTo>
                  <a:cubicBezTo>
                    <a:pt x="3721" y="7527"/>
                    <a:pt x="3721" y="7527"/>
                    <a:pt x="3721" y="7527"/>
                  </a:cubicBezTo>
                  <a:cubicBezTo>
                    <a:pt x="3812" y="7527"/>
                    <a:pt x="3903" y="7636"/>
                    <a:pt x="3903" y="7636"/>
                  </a:cubicBezTo>
                  <a:cubicBezTo>
                    <a:pt x="3903" y="7636"/>
                    <a:pt x="3993" y="7745"/>
                    <a:pt x="4084" y="7855"/>
                  </a:cubicBezTo>
                  <a:cubicBezTo>
                    <a:pt x="4084" y="7855"/>
                    <a:pt x="4175" y="7964"/>
                    <a:pt x="4175" y="7964"/>
                  </a:cubicBezTo>
                  <a:lnTo>
                    <a:pt x="4356" y="8073"/>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0" name="Shape 2253">
              <a:extLst>
                <a:ext uri="{FF2B5EF4-FFF2-40B4-BE49-F238E27FC236}">
                  <a16:creationId xmlns:a16="http://schemas.microsoft.com/office/drawing/2014/main" id="{D5F87E9E-365F-F763-00BD-255D78DE150C}"/>
                </a:ext>
              </a:extLst>
            </p:cNvPr>
            <p:cNvSpPr/>
            <p:nvPr/>
          </p:nvSpPr>
          <p:spPr>
            <a:xfrm>
              <a:off x="4237240" y="4137397"/>
              <a:ext cx="1446688" cy="1178290"/>
            </a:xfrm>
            <a:custGeom>
              <a:avLst/>
              <a:gdLst/>
              <a:ahLst/>
              <a:cxnLst>
                <a:cxn ang="0">
                  <a:pos x="wd2" y="hd2"/>
                </a:cxn>
                <a:cxn ang="5400000">
                  <a:pos x="wd2" y="hd2"/>
                </a:cxn>
                <a:cxn ang="10800000">
                  <a:pos x="wd2" y="hd2"/>
                </a:cxn>
                <a:cxn ang="16200000">
                  <a:pos x="wd2" y="hd2"/>
                </a:cxn>
              </a:cxnLst>
              <a:rect l="0" t="0" r="r" b="b"/>
              <a:pathLst>
                <a:path w="21528" h="21542" extrusionOk="0">
                  <a:moveTo>
                    <a:pt x="9511" y="1626"/>
                  </a:moveTo>
                  <a:cubicBezTo>
                    <a:pt x="9634" y="1626"/>
                    <a:pt x="10186" y="1114"/>
                    <a:pt x="10186" y="1114"/>
                  </a:cubicBezTo>
                  <a:cubicBezTo>
                    <a:pt x="10186" y="1114"/>
                    <a:pt x="10493" y="1260"/>
                    <a:pt x="10677" y="1187"/>
                  </a:cubicBezTo>
                  <a:cubicBezTo>
                    <a:pt x="10861" y="1187"/>
                    <a:pt x="11475" y="1114"/>
                    <a:pt x="11475" y="1114"/>
                  </a:cubicBezTo>
                  <a:cubicBezTo>
                    <a:pt x="11475" y="1114"/>
                    <a:pt x="11782" y="1114"/>
                    <a:pt x="11905" y="1114"/>
                  </a:cubicBezTo>
                  <a:cubicBezTo>
                    <a:pt x="12027" y="1114"/>
                    <a:pt x="12580" y="1040"/>
                    <a:pt x="12702" y="1040"/>
                  </a:cubicBezTo>
                  <a:cubicBezTo>
                    <a:pt x="12825" y="1040"/>
                    <a:pt x="13193" y="967"/>
                    <a:pt x="13255" y="894"/>
                  </a:cubicBezTo>
                  <a:cubicBezTo>
                    <a:pt x="13377" y="894"/>
                    <a:pt x="14114" y="821"/>
                    <a:pt x="14175" y="821"/>
                  </a:cubicBezTo>
                  <a:cubicBezTo>
                    <a:pt x="14298" y="821"/>
                    <a:pt x="15464" y="674"/>
                    <a:pt x="15464" y="674"/>
                  </a:cubicBezTo>
                  <a:cubicBezTo>
                    <a:pt x="15955" y="308"/>
                    <a:pt x="15955" y="308"/>
                    <a:pt x="15955" y="308"/>
                  </a:cubicBezTo>
                  <a:cubicBezTo>
                    <a:pt x="16507" y="162"/>
                    <a:pt x="16507" y="162"/>
                    <a:pt x="16507" y="162"/>
                  </a:cubicBezTo>
                  <a:cubicBezTo>
                    <a:pt x="16507" y="162"/>
                    <a:pt x="16691" y="-58"/>
                    <a:pt x="16691" y="15"/>
                  </a:cubicBezTo>
                  <a:cubicBezTo>
                    <a:pt x="16752" y="162"/>
                    <a:pt x="16875" y="381"/>
                    <a:pt x="16875" y="381"/>
                  </a:cubicBezTo>
                  <a:cubicBezTo>
                    <a:pt x="16875" y="381"/>
                    <a:pt x="17550" y="381"/>
                    <a:pt x="17550" y="381"/>
                  </a:cubicBezTo>
                  <a:cubicBezTo>
                    <a:pt x="17550" y="455"/>
                    <a:pt x="17734" y="894"/>
                    <a:pt x="17734" y="894"/>
                  </a:cubicBezTo>
                  <a:cubicBezTo>
                    <a:pt x="17918" y="1114"/>
                    <a:pt x="17918" y="1114"/>
                    <a:pt x="17918" y="1114"/>
                  </a:cubicBezTo>
                  <a:cubicBezTo>
                    <a:pt x="17918" y="1114"/>
                    <a:pt x="17980" y="1480"/>
                    <a:pt x="17980" y="1699"/>
                  </a:cubicBezTo>
                  <a:cubicBezTo>
                    <a:pt x="18041" y="1846"/>
                    <a:pt x="18470" y="2724"/>
                    <a:pt x="18470" y="2724"/>
                  </a:cubicBezTo>
                  <a:cubicBezTo>
                    <a:pt x="18777" y="3530"/>
                    <a:pt x="18777" y="3530"/>
                    <a:pt x="18777" y="3530"/>
                  </a:cubicBezTo>
                  <a:cubicBezTo>
                    <a:pt x="19268" y="4335"/>
                    <a:pt x="19268" y="4335"/>
                    <a:pt x="19268" y="4335"/>
                  </a:cubicBezTo>
                  <a:cubicBezTo>
                    <a:pt x="19330" y="4921"/>
                    <a:pt x="19330" y="4921"/>
                    <a:pt x="19330" y="4921"/>
                  </a:cubicBezTo>
                  <a:cubicBezTo>
                    <a:pt x="19330" y="4921"/>
                    <a:pt x="19514" y="5141"/>
                    <a:pt x="19514" y="5287"/>
                  </a:cubicBezTo>
                  <a:cubicBezTo>
                    <a:pt x="19514" y="5360"/>
                    <a:pt x="19514" y="5580"/>
                    <a:pt x="19514" y="5653"/>
                  </a:cubicBezTo>
                  <a:cubicBezTo>
                    <a:pt x="19575" y="5653"/>
                    <a:pt x="19636" y="6019"/>
                    <a:pt x="19575" y="6019"/>
                  </a:cubicBezTo>
                  <a:cubicBezTo>
                    <a:pt x="19514" y="6093"/>
                    <a:pt x="19268" y="6532"/>
                    <a:pt x="19268" y="6532"/>
                  </a:cubicBezTo>
                  <a:cubicBezTo>
                    <a:pt x="19023" y="6678"/>
                    <a:pt x="19023" y="6678"/>
                    <a:pt x="19023" y="6678"/>
                  </a:cubicBezTo>
                  <a:cubicBezTo>
                    <a:pt x="18716" y="7191"/>
                    <a:pt x="18716" y="7191"/>
                    <a:pt x="18716" y="7191"/>
                  </a:cubicBezTo>
                  <a:cubicBezTo>
                    <a:pt x="18532" y="7850"/>
                    <a:pt x="18532" y="7850"/>
                    <a:pt x="18532" y="7850"/>
                  </a:cubicBezTo>
                  <a:cubicBezTo>
                    <a:pt x="18470" y="8069"/>
                    <a:pt x="18470" y="8069"/>
                    <a:pt x="18470" y="8069"/>
                  </a:cubicBezTo>
                  <a:cubicBezTo>
                    <a:pt x="18470" y="8069"/>
                    <a:pt x="18532" y="8289"/>
                    <a:pt x="18593" y="8289"/>
                  </a:cubicBezTo>
                  <a:cubicBezTo>
                    <a:pt x="18716" y="8289"/>
                    <a:pt x="19145" y="8362"/>
                    <a:pt x="19145" y="8362"/>
                  </a:cubicBezTo>
                  <a:cubicBezTo>
                    <a:pt x="19514" y="8655"/>
                    <a:pt x="19514" y="8655"/>
                    <a:pt x="19514" y="8655"/>
                  </a:cubicBezTo>
                  <a:cubicBezTo>
                    <a:pt x="19514" y="8948"/>
                    <a:pt x="19514" y="8948"/>
                    <a:pt x="19514" y="8948"/>
                  </a:cubicBezTo>
                  <a:cubicBezTo>
                    <a:pt x="19514" y="8948"/>
                    <a:pt x="19575" y="9534"/>
                    <a:pt x="19575" y="9607"/>
                  </a:cubicBezTo>
                  <a:cubicBezTo>
                    <a:pt x="19575" y="9607"/>
                    <a:pt x="19514" y="10120"/>
                    <a:pt x="19514" y="10120"/>
                  </a:cubicBezTo>
                  <a:cubicBezTo>
                    <a:pt x="19514" y="10120"/>
                    <a:pt x="19636" y="10413"/>
                    <a:pt x="19636" y="10486"/>
                  </a:cubicBezTo>
                  <a:cubicBezTo>
                    <a:pt x="19698" y="10559"/>
                    <a:pt x="19820" y="10705"/>
                    <a:pt x="19820" y="10779"/>
                  </a:cubicBezTo>
                  <a:cubicBezTo>
                    <a:pt x="19882" y="10779"/>
                    <a:pt x="19882" y="10852"/>
                    <a:pt x="19882" y="10852"/>
                  </a:cubicBezTo>
                  <a:cubicBezTo>
                    <a:pt x="20005" y="11218"/>
                    <a:pt x="20005" y="11218"/>
                    <a:pt x="20005" y="11218"/>
                  </a:cubicBezTo>
                  <a:cubicBezTo>
                    <a:pt x="20005" y="11511"/>
                    <a:pt x="20005" y="11511"/>
                    <a:pt x="20005" y="11511"/>
                  </a:cubicBezTo>
                  <a:cubicBezTo>
                    <a:pt x="20005" y="11511"/>
                    <a:pt x="20005" y="11730"/>
                    <a:pt x="20127" y="11730"/>
                  </a:cubicBezTo>
                  <a:cubicBezTo>
                    <a:pt x="20250" y="11730"/>
                    <a:pt x="20311" y="11804"/>
                    <a:pt x="20311" y="11950"/>
                  </a:cubicBezTo>
                  <a:cubicBezTo>
                    <a:pt x="20311" y="12097"/>
                    <a:pt x="20618" y="12243"/>
                    <a:pt x="20618" y="12243"/>
                  </a:cubicBezTo>
                  <a:cubicBezTo>
                    <a:pt x="20618" y="12243"/>
                    <a:pt x="20618" y="12536"/>
                    <a:pt x="20680" y="12609"/>
                  </a:cubicBezTo>
                  <a:cubicBezTo>
                    <a:pt x="20802" y="12682"/>
                    <a:pt x="20925" y="12756"/>
                    <a:pt x="21109" y="12756"/>
                  </a:cubicBezTo>
                  <a:cubicBezTo>
                    <a:pt x="21293" y="12829"/>
                    <a:pt x="21232" y="13122"/>
                    <a:pt x="21355" y="13195"/>
                  </a:cubicBezTo>
                  <a:cubicBezTo>
                    <a:pt x="21477" y="13268"/>
                    <a:pt x="21600" y="13415"/>
                    <a:pt x="21477" y="13415"/>
                  </a:cubicBezTo>
                  <a:cubicBezTo>
                    <a:pt x="21416" y="13488"/>
                    <a:pt x="21232" y="13488"/>
                    <a:pt x="21232" y="13488"/>
                  </a:cubicBezTo>
                  <a:cubicBezTo>
                    <a:pt x="21232" y="13488"/>
                    <a:pt x="21170" y="13561"/>
                    <a:pt x="21170" y="13707"/>
                  </a:cubicBezTo>
                  <a:cubicBezTo>
                    <a:pt x="21232" y="13781"/>
                    <a:pt x="21232" y="13781"/>
                    <a:pt x="21232" y="13781"/>
                  </a:cubicBezTo>
                  <a:cubicBezTo>
                    <a:pt x="21477" y="14147"/>
                    <a:pt x="21477" y="14147"/>
                    <a:pt x="21477" y="14147"/>
                  </a:cubicBezTo>
                  <a:cubicBezTo>
                    <a:pt x="21477" y="14586"/>
                    <a:pt x="21477" y="14586"/>
                    <a:pt x="21477" y="14586"/>
                  </a:cubicBezTo>
                  <a:cubicBezTo>
                    <a:pt x="21477" y="14586"/>
                    <a:pt x="21477" y="14733"/>
                    <a:pt x="21477" y="14879"/>
                  </a:cubicBezTo>
                  <a:cubicBezTo>
                    <a:pt x="21477" y="14952"/>
                    <a:pt x="21416" y="15099"/>
                    <a:pt x="21293" y="15099"/>
                  </a:cubicBezTo>
                  <a:cubicBezTo>
                    <a:pt x="21170" y="15099"/>
                    <a:pt x="21170" y="15318"/>
                    <a:pt x="21109" y="15318"/>
                  </a:cubicBezTo>
                  <a:cubicBezTo>
                    <a:pt x="21048" y="15391"/>
                    <a:pt x="20925" y="15172"/>
                    <a:pt x="20864" y="15391"/>
                  </a:cubicBezTo>
                  <a:cubicBezTo>
                    <a:pt x="20802" y="15684"/>
                    <a:pt x="20680" y="15904"/>
                    <a:pt x="20680" y="15977"/>
                  </a:cubicBezTo>
                  <a:cubicBezTo>
                    <a:pt x="20618" y="16050"/>
                    <a:pt x="20434" y="16124"/>
                    <a:pt x="20434" y="16270"/>
                  </a:cubicBezTo>
                  <a:cubicBezTo>
                    <a:pt x="20373" y="16417"/>
                    <a:pt x="20373" y="16270"/>
                    <a:pt x="20250" y="16636"/>
                  </a:cubicBezTo>
                  <a:cubicBezTo>
                    <a:pt x="20127" y="17002"/>
                    <a:pt x="20066" y="17149"/>
                    <a:pt x="20066" y="17149"/>
                  </a:cubicBezTo>
                  <a:cubicBezTo>
                    <a:pt x="19514" y="18027"/>
                    <a:pt x="19514" y="18027"/>
                    <a:pt x="19514" y="18027"/>
                  </a:cubicBezTo>
                  <a:cubicBezTo>
                    <a:pt x="19514" y="18027"/>
                    <a:pt x="19207" y="18613"/>
                    <a:pt x="19207" y="18686"/>
                  </a:cubicBezTo>
                  <a:cubicBezTo>
                    <a:pt x="19207" y="18760"/>
                    <a:pt x="19207" y="19053"/>
                    <a:pt x="19207" y="19053"/>
                  </a:cubicBezTo>
                  <a:cubicBezTo>
                    <a:pt x="19452" y="19345"/>
                    <a:pt x="19452" y="19345"/>
                    <a:pt x="19452" y="19345"/>
                  </a:cubicBezTo>
                  <a:cubicBezTo>
                    <a:pt x="19452" y="19638"/>
                    <a:pt x="19452" y="19638"/>
                    <a:pt x="19452" y="19638"/>
                  </a:cubicBezTo>
                  <a:cubicBezTo>
                    <a:pt x="19452" y="19638"/>
                    <a:pt x="19452" y="19858"/>
                    <a:pt x="19514" y="19931"/>
                  </a:cubicBezTo>
                  <a:cubicBezTo>
                    <a:pt x="19575" y="19931"/>
                    <a:pt x="19575" y="19931"/>
                    <a:pt x="19575" y="19931"/>
                  </a:cubicBezTo>
                  <a:cubicBezTo>
                    <a:pt x="19514" y="20151"/>
                    <a:pt x="19514" y="20151"/>
                    <a:pt x="19514" y="20151"/>
                  </a:cubicBezTo>
                  <a:cubicBezTo>
                    <a:pt x="19514" y="20151"/>
                    <a:pt x="19575" y="20370"/>
                    <a:pt x="19636" y="20370"/>
                  </a:cubicBezTo>
                  <a:cubicBezTo>
                    <a:pt x="19636" y="20370"/>
                    <a:pt x="19759" y="20444"/>
                    <a:pt x="19759" y="20444"/>
                  </a:cubicBezTo>
                  <a:cubicBezTo>
                    <a:pt x="19759" y="20444"/>
                    <a:pt x="19882" y="20590"/>
                    <a:pt x="19882" y="20590"/>
                  </a:cubicBezTo>
                  <a:cubicBezTo>
                    <a:pt x="19943" y="20663"/>
                    <a:pt x="19882" y="20810"/>
                    <a:pt x="19882" y="20810"/>
                  </a:cubicBezTo>
                  <a:cubicBezTo>
                    <a:pt x="19882" y="20810"/>
                    <a:pt x="19882" y="20883"/>
                    <a:pt x="19820" y="20883"/>
                  </a:cubicBezTo>
                  <a:cubicBezTo>
                    <a:pt x="19759" y="20883"/>
                    <a:pt x="19759" y="20883"/>
                    <a:pt x="19636" y="20883"/>
                  </a:cubicBezTo>
                  <a:cubicBezTo>
                    <a:pt x="19575" y="20810"/>
                    <a:pt x="19391" y="20810"/>
                    <a:pt x="19330" y="20810"/>
                  </a:cubicBezTo>
                  <a:cubicBezTo>
                    <a:pt x="19268" y="20810"/>
                    <a:pt x="19268" y="20810"/>
                    <a:pt x="19268" y="20810"/>
                  </a:cubicBezTo>
                  <a:cubicBezTo>
                    <a:pt x="19207" y="20810"/>
                    <a:pt x="19207" y="20810"/>
                    <a:pt x="19145" y="20883"/>
                  </a:cubicBezTo>
                  <a:cubicBezTo>
                    <a:pt x="19145" y="20810"/>
                    <a:pt x="19145" y="20810"/>
                    <a:pt x="19145" y="20810"/>
                  </a:cubicBezTo>
                  <a:cubicBezTo>
                    <a:pt x="19145" y="20737"/>
                    <a:pt x="19145" y="20663"/>
                    <a:pt x="19145" y="20663"/>
                  </a:cubicBezTo>
                  <a:cubicBezTo>
                    <a:pt x="19145" y="20663"/>
                    <a:pt x="18961" y="20663"/>
                    <a:pt x="18961" y="20663"/>
                  </a:cubicBezTo>
                  <a:cubicBezTo>
                    <a:pt x="18900" y="20663"/>
                    <a:pt x="18839" y="20663"/>
                    <a:pt x="18839" y="20663"/>
                  </a:cubicBezTo>
                  <a:cubicBezTo>
                    <a:pt x="18839" y="20663"/>
                    <a:pt x="18716" y="20590"/>
                    <a:pt x="18716" y="20590"/>
                  </a:cubicBezTo>
                  <a:cubicBezTo>
                    <a:pt x="18716" y="20590"/>
                    <a:pt x="18655" y="20590"/>
                    <a:pt x="18655" y="20590"/>
                  </a:cubicBezTo>
                  <a:cubicBezTo>
                    <a:pt x="18655" y="20517"/>
                    <a:pt x="18593" y="20590"/>
                    <a:pt x="18593" y="20590"/>
                  </a:cubicBezTo>
                  <a:cubicBezTo>
                    <a:pt x="18532" y="20590"/>
                    <a:pt x="18532" y="20590"/>
                    <a:pt x="18532" y="20590"/>
                  </a:cubicBezTo>
                  <a:cubicBezTo>
                    <a:pt x="18409" y="20590"/>
                    <a:pt x="18409" y="20590"/>
                    <a:pt x="18409" y="20590"/>
                  </a:cubicBezTo>
                  <a:cubicBezTo>
                    <a:pt x="18409" y="20590"/>
                    <a:pt x="18409" y="20517"/>
                    <a:pt x="18409" y="20517"/>
                  </a:cubicBezTo>
                  <a:cubicBezTo>
                    <a:pt x="18409" y="20444"/>
                    <a:pt x="18348" y="20517"/>
                    <a:pt x="18348" y="20517"/>
                  </a:cubicBezTo>
                  <a:cubicBezTo>
                    <a:pt x="18348" y="20517"/>
                    <a:pt x="18225" y="20517"/>
                    <a:pt x="18225" y="20517"/>
                  </a:cubicBezTo>
                  <a:cubicBezTo>
                    <a:pt x="18225" y="20444"/>
                    <a:pt x="18164" y="20444"/>
                    <a:pt x="18164" y="20444"/>
                  </a:cubicBezTo>
                  <a:cubicBezTo>
                    <a:pt x="18164" y="20444"/>
                    <a:pt x="17980" y="20444"/>
                    <a:pt x="17918" y="20444"/>
                  </a:cubicBezTo>
                  <a:cubicBezTo>
                    <a:pt x="17918" y="20370"/>
                    <a:pt x="17918" y="20370"/>
                    <a:pt x="17918" y="20370"/>
                  </a:cubicBezTo>
                  <a:cubicBezTo>
                    <a:pt x="17918" y="20370"/>
                    <a:pt x="17918" y="20297"/>
                    <a:pt x="17918" y="20224"/>
                  </a:cubicBezTo>
                  <a:cubicBezTo>
                    <a:pt x="17918" y="20224"/>
                    <a:pt x="17857" y="20224"/>
                    <a:pt x="17857" y="20151"/>
                  </a:cubicBezTo>
                  <a:cubicBezTo>
                    <a:pt x="17857" y="20151"/>
                    <a:pt x="17795" y="20078"/>
                    <a:pt x="17795" y="20078"/>
                  </a:cubicBezTo>
                  <a:cubicBezTo>
                    <a:pt x="17795" y="20004"/>
                    <a:pt x="17734" y="20004"/>
                    <a:pt x="17734" y="19931"/>
                  </a:cubicBezTo>
                  <a:cubicBezTo>
                    <a:pt x="17734" y="19931"/>
                    <a:pt x="17673" y="20004"/>
                    <a:pt x="17673" y="20004"/>
                  </a:cubicBezTo>
                  <a:cubicBezTo>
                    <a:pt x="17611" y="20004"/>
                    <a:pt x="17550" y="19931"/>
                    <a:pt x="17550" y="19931"/>
                  </a:cubicBezTo>
                  <a:cubicBezTo>
                    <a:pt x="17489" y="19858"/>
                    <a:pt x="17489" y="19858"/>
                    <a:pt x="17489" y="19858"/>
                  </a:cubicBezTo>
                  <a:cubicBezTo>
                    <a:pt x="17489" y="19858"/>
                    <a:pt x="17427" y="19858"/>
                    <a:pt x="17366" y="19858"/>
                  </a:cubicBezTo>
                  <a:cubicBezTo>
                    <a:pt x="17366" y="19858"/>
                    <a:pt x="17366" y="20004"/>
                    <a:pt x="17366" y="20004"/>
                  </a:cubicBezTo>
                  <a:cubicBezTo>
                    <a:pt x="17366" y="20004"/>
                    <a:pt x="17305" y="20004"/>
                    <a:pt x="17243" y="19931"/>
                  </a:cubicBezTo>
                  <a:cubicBezTo>
                    <a:pt x="17243" y="19931"/>
                    <a:pt x="17182" y="19858"/>
                    <a:pt x="17120" y="19858"/>
                  </a:cubicBezTo>
                  <a:cubicBezTo>
                    <a:pt x="17120" y="19858"/>
                    <a:pt x="17059" y="19858"/>
                    <a:pt x="16998" y="19785"/>
                  </a:cubicBezTo>
                  <a:cubicBezTo>
                    <a:pt x="16998" y="19785"/>
                    <a:pt x="16936" y="19785"/>
                    <a:pt x="16936" y="19785"/>
                  </a:cubicBezTo>
                  <a:cubicBezTo>
                    <a:pt x="16936" y="19785"/>
                    <a:pt x="16691" y="19858"/>
                    <a:pt x="16691" y="19858"/>
                  </a:cubicBezTo>
                  <a:cubicBezTo>
                    <a:pt x="16691" y="19858"/>
                    <a:pt x="16691" y="19931"/>
                    <a:pt x="16630" y="19931"/>
                  </a:cubicBezTo>
                  <a:cubicBezTo>
                    <a:pt x="16630" y="20004"/>
                    <a:pt x="16568" y="19931"/>
                    <a:pt x="16568" y="19931"/>
                  </a:cubicBezTo>
                  <a:cubicBezTo>
                    <a:pt x="16568" y="19931"/>
                    <a:pt x="16507" y="19931"/>
                    <a:pt x="16445" y="19931"/>
                  </a:cubicBezTo>
                  <a:cubicBezTo>
                    <a:pt x="16445" y="19931"/>
                    <a:pt x="16384" y="19931"/>
                    <a:pt x="16384" y="19931"/>
                  </a:cubicBezTo>
                  <a:cubicBezTo>
                    <a:pt x="16384" y="19931"/>
                    <a:pt x="16323" y="19858"/>
                    <a:pt x="16261" y="19858"/>
                  </a:cubicBezTo>
                  <a:cubicBezTo>
                    <a:pt x="16261" y="19858"/>
                    <a:pt x="16200" y="19858"/>
                    <a:pt x="16200" y="19858"/>
                  </a:cubicBezTo>
                  <a:cubicBezTo>
                    <a:pt x="16200" y="19858"/>
                    <a:pt x="16139" y="19931"/>
                    <a:pt x="16139" y="19931"/>
                  </a:cubicBezTo>
                  <a:cubicBezTo>
                    <a:pt x="16077" y="20004"/>
                    <a:pt x="16077" y="20004"/>
                    <a:pt x="16077" y="20004"/>
                  </a:cubicBezTo>
                  <a:cubicBezTo>
                    <a:pt x="16077" y="20078"/>
                    <a:pt x="16077" y="20078"/>
                    <a:pt x="16077" y="20078"/>
                  </a:cubicBezTo>
                  <a:cubicBezTo>
                    <a:pt x="15955" y="20004"/>
                    <a:pt x="15955" y="20004"/>
                    <a:pt x="15955" y="20004"/>
                  </a:cubicBezTo>
                  <a:cubicBezTo>
                    <a:pt x="15955" y="20004"/>
                    <a:pt x="15893" y="20004"/>
                    <a:pt x="15832" y="20004"/>
                  </a:cubicBezTo>
                  <a:cubicBezTo>
                    <a:pt x="15709" y="20078"/>
                    <a:pt x="15770" y="20151"/>
                    <a:pt x="15770" y="20151"/>
                  </a:cubicBezTo>
                  <a:cubicBezTo>
                    <a:pt x="15832" y="20151"/>
                    <a:pt x="15893" y="20297"/>
                    <a:pt x="15893" y="20297"/>
                  </a:cubicBezTo>
                  <a:cubicBezTo>
                    <a:pt x="15893" y="20297"/>
                    <a:pt x="15709" y="20370"/>
                    <a:pt x="15709" y="20370"/>
                  </a:cubicBezTo>
                  <a:cubicBezTo>
                    <a:pt x="15648" y="20444"/>
                    <a:pt x="15648" y="20444"/>
                    <a:pt x="15648" y="20517"/>
                  </a:cubicBezTo>
                  <a:cubicBezTo>
                    <a:pt x="15648" y="20517"/>
                    <a:pt x="15586" y="20590"/>
                    <a:pt x="15586" y="20663"/>
                  </a:cubicBezTo>
                  <a:cubicBezTo>
                    <a:pt x="15586" y="20663"/>
                    <a:pt x="15525" y="20590"/>
                    <a:pt x="15464" y="20590"/>
                  </a:cubicBezTo>
                  <a:cubicBezTo>
                    <a:pt x="15402" y="20590"/>
                    <a:pt x="15402" y="20517"/>
                    <a:pt x="15402" y="20517"/>
                  </a:cubicBezTo>
                  <a:cubicBezTo>
                    <a:pt x="15341" y="20590"/>
                    <a:pt x="15341" y="20590"/>
                    <a:pt x="15341" y="20590"/>
                  </a:cubicBezTo>
                  <a:cubicBezTo>
                    <a:pt x="15280" y="20590"/>
                    <a:pt x="15280" y="20590"/>
                    <a:pt x="15280" y="20590"/>
                  </a:cubicBezTo>
                  <a:cubicBezTo>
                    <a:pt x="15280" y="20590"/>
                    <a:pt x="15218" y="20517"/>
                    <a:pt x="15218" y="20444"/>
                  </a:cubicBezTo>
                  <a:cubicBezTo>
                    <a:pt x="15218" y="20444"/>
                    <a:pt x="15218" y="20444"/>
                    <a:pt x="15218" y="20444"/>
                  </a:cubicBezTo>
                  <a:cubicBezTo>
                    <a:pt x="15157" y="20444"/>
                    <a:pt x="15095" y="20444"/>
                    <a:pt x="15095" y="20370"/>
                  </a:cubicBezTo>
                  <a:cubicBezTo>
                    <a:pt x="15034" y="20224"/>
                    <a:pt x="15034" y="20224"/>
                    <a:pt x="15034" y="20224"/>
                  </a:cubicBezTo>
                  <a:cubicBezTo>
                    <a:pt x="15034" y="20224"/>
                    <a:pt x="14911" y="20297"/>
                    <a:pt x="14911" y="20370"/>
                  </a:cubicBezTo>
                  <a:cubicBezTo>
                    <a:pt x="14850" y="20370"/>
                    <a:pt x="14911" y="20370"/>
                    <a:pt x="14850" y="20297"/>
                  </a:cubicBezTo>
                  <a:cubicBezTo>
                    <a:pt x="14789" y="20297"/>
                    <a:pt x="14789" y="20370"/>
                    <a:pt x="14789" y="20370"/>
                  </a:cubicBezTo>
                  <a:cubicBezTo>
                    <a:pt x="14789" y="20370"/>
                    <a:pt x="14789" y="20370"/>
                    <a:pt x="14789" y="20370"/>
                  </a:cubicBezTo>
                  <a:cubicBezTo>
                    <a:pt x="14789" y="20444"/>
                    <a:pt x="14727" y="20444"/>
                    <a:pt x="14727" y="20444"/>
                  </a:cubicBezTo>
                  <a:cubicBezTo>
                    <a:pt x="14727" y="20517"/>
                    <a:pt x="14666" y="20444"/>
                    <a:pt x="14666" y="20444"/>
                  </a:cubicBezTo>
                  <a:cubicBezTo>
                    <a:pt x="14605" y="20444"/>
                    <a:pt x="14543" y="20444"/>
                    <a:pt x="14543" y="20444"/>
                  </a:cubicBezTo>
                  <a:cubicBezTo>
                    <a:pt x="14543" y="20444"/>
                    <a:pt x="14543" y="20370"/>
                    <a:pt x="14543" y="20370"/>
                  </a:cubicBezTo>
                  <a:cubicBezTo>
                    <a:pt x="14420" y="20444"/>
                    <a:pt x="14420" y="20444"/>
                    <a:pt x="14420" y="20444"/>
                  </a:cubicBezTo>
                  <a:cubicBezTo>
                    <a:pt x="14420" y="20444"/>
                    <a:pt x="14420" y="20517"/>
                    <a:pt x="14420" y="20517"/>
                  </a:cubicBezTo>
                  <a:cubicBezTo>
                    <a:pt x="14420" y="20517"/>
                    <a:pt x="14359" y="20517"/>
                    <a:pt x="14298" y="20590"/>
                  </a:cubicBezTo>
                  <a:cubicBezTo>
                    <a:pt x="14175" y="20590"/>
                    <a:pt x="14236" y="20517"/>
                    <a:pt x="14175" y="20590"/>
                  </a:cubicBezTo>
                  <a:cubicBezTo>
                    <a:pt x="14175" y="20590"/>
                    <a:pt x="14175" y="20590"/>
                    <a:pt x="14175" y="20663"/>
                  </a:cubicBezTo>
                  <a:cubicBezTo>
                    <a:pt x="14175" y="20663"/>
                    <a:pt x="14236" y="20663"/>
                    <a:pt x="14175" y="20737"/>
                  </a:cubicBezTo>
                  <a:cubicBezTo>
                    <a:pt x="14114" y="20810"/>
                    <a:pt x="14114" y="20737"/>
                    <a:pt x="14114" y="20737"/>
                  </a:cubicBezTo>
                  <a:cubicBezTo>
                    <a:pt x="14052" y="20737"/>
                    <a:pt x="13991" y="20810"/>
                    <a:pt x="13991" y="20810"/>
                  </a:cubicBezTo>
                  <a:cubicBezTo>
                    <a:pt x="13991" y="20810"/>
                    <a:pt x="13991" y="20883"/>
                    <a:pt x="13991" y="20883"/>
                  </a:cubicBezTo>
                  <a:cubicBezTo>
                    <a:pt x="13991" y="20883"/>
                    <a:pt x="13930" y="20883"/>
                    <a:pt x="13868" y="20883"/>
                  </a:cubicBezTo>
                  <a:cubicBezTo>
                    <a:pt x="13807" y="20883"/>
                    <a:pt x="13868" y="20956"/>
                    <a:pt x="13868" y="20956"/>
                  </a:cubicBezTo>
                  <a:cubicBezTo>
                    <a:pt x="13868" y="20956"/>
                    <a:pt x="13868" y="21029"/>
                    <a:pt x="13807" y="21103"/>
                  </a:cubicBezTo>
                  <a:cubicBezTo>
                    <a:pt x="13807" y="21103"/>
                    <a:pt x="13807" y="21176"/>
                    <a:pt x="13807" y="21249"/>
                  </a:cubicBezTo>
                  <a:cubicBezTo>
                    <a:pt x="13807" y="21249"/>
                    <a:pt x="13807" y="21249"/>
                    <a:pt x="13807" y="21396"/>
                  </a:cubicBezTo>
                  <a:cubicBezTo>
                    <a:pt x="13807" y="21469"/>
                    <a:pt x="13807" y="21469"/>
                    <a:pt x="13807" y="21469"/>
                  </a:cubicBezTo>
                  <a:cubicBezTo>
                    <a:pt x="13807" y="21469"/>
                    <a:pt x="13745" y="21469"/>
                    <a:pt x="13745" y="21469"/>
                  </a:cubicBezTo>
                  <a:cubicBezTo>
                    <a:pt x="13745" y="21396"/>
                    <a:pt x="13684" y="21469"/>
                    <a:pt x="13684" y="21469"/>
                  </a:cubicBezTo>
                  <a:cubicBezTo>
                    <a:pt x="13684" y="21469"/>
                    <a:pt x="13623" y="21396"/>
                    <a:pt x="13623" y="21322"/>
                  </a:cubicBezTo>
                  <a:cubicBezTo>
                    <a:pt x="13623" y="21322"/>
                    <a:pt x="13561" y="21322"/>
                    <a:pt x="13561" y="21322"/>
                  </a:cubicBezTo>
                  <a:cubicBezTo>
                    <a:pt x="13561" y="21322"/>
                    <a:pt x="13439" y="21396"/>
                    <a:pt x="13439" y="21396"/>
                  </a:cubicBezTo>
                  <a:cubicBezTo>
                    <a:pt x="13439" y="21396"/>
                    <a:pt x="13439" y="21469"/>
                    <a:pt x="13439" y="21469"/>
                  </a:cubicBezTo>
                  <a:cubicBezTo>
                    <a:pt x="13377" y="21469"/>
                    <a:pt x="13255" y="21542"/>
                    <a:pt x="13255" y="21542"/>
                  </a:cubicBezTo>
                  <a:cubicBezTo>
                    <a:pt x="13255" y="21542"/>
                    <a:pt x="13193" y="21542"/>
                    <a:pt x="13193" y="21542"/>
                  </a:cubicBezTo>
                  <a:cubicBezTo>
                    <a:pt x="13132" y="21469"/>
                    <a:pt x="13132" y="21469"/>
                    <a:pt x="13132" y="21469"/>
                  </a:cubicBezTo>
                  <a:cubicBezTo>
                    <a:pt x="13132" y="21396"/>
                    <a:pt x="13132" y="21396"/>
                    <a:pt x="13132" y="21396"/>
                  </a:cubicBezTo>
                  <a:cubicBezTo>
                    <a:pt x="13255" y="21249"/>
                    <a:pt x="13255" y="21249"/>
                    <a:pt x="13255" y="21249"/>
                  </a:cubicBezTo>
                  <a:cubicBezTo>
                    <a:pt x="13193" y="21029"/>
                    <a:pt x="13193" y="21029"/>
                    <a:pt x="13193" y="21029"/>
                  </a:cubicBezTo>
                  <a:cubicBezTo>
                    <a:pt x="13070" y="20883"/>
                    <a:pt x="13070" y="20883"/>
                    <a:pt x="13070" y="20883"/>
                  </a:cubicBezTo>
                  <a:cubicBezTo>
                    <a:pt x="13070" y="20810"/>
                    <a:pt x="13070" y="20810"/>
                    <a:pt x="13070" y="20810"/>
                  </a:cubicBezTo>
                  <a:cubicBezTo>
                    <a:pt x="12886" y="20810"/>
                    <a:pt x="12886" y="20810"/>
                    <a:pt x="12886" y="20810"/>
                  </a:cubicBezTo>
                  <a:cubicBezTo>
                    <a:pt x="12764" y="20737"/>
                    <a:pt x="12764" y="20737"/>
                    <a:pt x="12764" y="20737"/>
                  </a:cubicBezTo>
                  <a:cubicBezTo>
                    <a:pt x="12702" y="20663"/>
                    <a:pt x="12702" y="20663"/>
                    <a:pt x="12702" y="20663"/>
                  </a:cubicBezTo>
                  <a:cubicBezTo>
                    <a:pt x="12518" y="20517"/>
                    <a:pt x="12518" y="20517"/>
                    <a:pt x="12518" y="20517"/>
                  </a:cubicBezTo>
                  <a:cubicBezTo>
                    <a:pt x="12395" y="20078"/>
                    <a:pt x="12395" y="20078"/>
                    <a:pt x="12395" y="20078"/>
                  </a:cubicBezTo>
                  <a:cubicBezTo>
                    <a:pt x="12211" y="20078"/>
                    <a:pt x="12211" y="20078"/>
                    <a:pt x="12211" y="20078"/>
                  </a:cubicBezTo>
                  <a:cubicBezTo>
                    <a:pt x="12211" y="20078"/>
                    <a:pt x="12089" y="20224"/>
                    <a:pt x="12089" y="20297"/>
                  </a:cubicBezTo>
                  <a:cubicBezTo>
                    <a:pt x="12089" y="20370"/>
                    <a:pt x="11966" y="20370"/>
                    <a:pt x="11966" y="20370"/>
                  </a:cubicBezTo>
                  <a:cubicBezTo>
                    <a:pt x="11843" y="20590"/>
                    <a:pt x="11843" y="20590"/>
                    <a:pt x="11843" y="20590"/>
                  </a:cubicBezTo>
                  <a:cubicBezTo>
                    <a:pt x="11843" y="20590"/>
                    <a:pt x="11843" y="20883"/>
                    <a:pt x="11843" y="20956"/>
                  </a:cubicBezTo>
                  <a:cubicBezTo>
                    <a:pt x="11843" y="21029"/>
                    <a:pt x="11720" y="20883"/>
                    <a:pt x="11720" y="20883"/>
                  </a:cubicBezTo>
                  <a:cubicBezTo>
                    <a:pt x="11720" y="20883"/>
                    <a:pt x="11598" y="20956"/>
                    <a:pt x="11536" y="21029"/>
                  </a:cubicBezTo>
                  <a:cubicBezTo>
                    <a:pt x="11475" y="21103"/>
                    <a:pt x="11352" y="21103"/>
                    <a:pt x="11352" y="21103"/>
                  </a:cubicBezTo>
                  <a:cubicBezTo>
                    <a:pt x="11352" y="21103"/>
                    <a:pt x="11291" y="20956"/>
                    <a:pt x="11230" y="20883"/>
                  </a:cubicBezTo>
                  <a:cubicBezTo>
                    <a:pt x="11230" y="20883"/>
                    <a:pt x="11230" y="20810"/>
                    <a:pt x="11230" y="20663"/>
                  </a:cubicBezTo>
                  <a:cubicBezTo>
                    <a:pt x="11230" y="20590"/>
                    <a:pt x="11107" y="20737"/>
                    <a:pt x="11107" y="20737"/>
                  </a:cubicBezTo>
                  <a:cubicBezTo>
                    <a:pt x="11107" y="20737"/>
                    <a:pt x="11107" y="20737"/>
                    <a:pt x="11107" y="20737"/>
                  </a:cubicBezTo>
                  <a:cubicBezTo>
                    <a:pt x="11107" y="20663"/>
                    <a:pt x="11107" y="20663"/>
                    <a:pt x="11107" y="20663"/>
                  </a:cubicBezTo>
                  <a:cubicBezTo>
                    <a:pt x="11045" y="20517"/>
                    <a:pt x="10984" y="20444"/>
                    <a:pt x="10984" y="20444"/>
                  </a:cubicBezTo>
                  <a:cubicBezTo>
                    <a:pt x="10984" y="20444"/>
                    <a:pt x="10923" y="20297"/>
                    <a:pt x="10923" y="20151"/>
                  </a:cubicBezTo>
                  <a:cubicBezTo>
                    <a:pt x="10923" y="20078"/>
                    <a:pt x="10677" y="19931"/>
                    <a:pt x="10677" y="19931"/>
                  </a:cubicBezTo>
                  <a:cubicBezTo>
                    <a:pt x="10677" y="19931"/>
                    <a:pt x="10739" y="20078"/>
                    <a:pt x="10616" y="19931"/>
                  </a:cubicBezTo>
                  <a:cubicBezTo>
                    <a:pt x="10493" y="19711"/>
                    <a:pt x="10370" y="19711"/>
                    <a:pt x="10370" y="19711"/>
                  </a:cubicBezTo>
                  <a:cubicBezTo>
                    <a:pt x="10309" y="19126"/>
                    <a:pt x="10309" y="19126"/>
                    <a:pt x="10309" y="19126"/>
                  </a:cubicBezTo>
                  <a:cubicBezTo>
                    <a:pt x="9818" y="19272"/>
                    <a:pt x="9818" y="19272"/>
                    <a:pt x="9818" y="19272"/>
                  </a:cubicBezTo>
                  <a:cubicBezTo>
                    <a:pt x="9818" y="19272"/>
                    <a:pt x="9511" y="19126"/>
                    <a:pt x="9450" y="19053"/>
                  </a:cubicBezTo>
                  <a:cubicBezTo>
                    <a:pt x="9389" y="18979"/>
                    <a:pt x="9205" y="18906"/>
                    <a:pt x="9205" y="18906"/>
                  </a:cubicBezTo>
                  <a:cubicBezTo>
                    <a:pt x="9020" y="19126"/>
                    <a:pt x="9020" y="19126"/>
                    <a:pt x="9020" y="19126"/>
                  </a:cubicBezTo>
                  <a:cubicBezTo>
                    <a:pt x="8836" y="19126"/>
                    <a:pt x="8836" y="19126"/>
                    <a:pt x="8836" y="19126"/>
                  </a:cubicBezTo>
                  <a:cubicBezTo>
                    <a:pt x="8836" y="19126"/>
                    <a:pt x="8591" y="19053"/>
                    <a:pt x="8530" y="18979"/>
                  </a:cubicBezTo>
                  <a:cubicBezTo>
                    <a:pt x="8407" y="18833"/>
                    <a:pt x="8468" y="18760"/>
                    <a:pt x="8407" y="18760"/>
                  </a:cubicBezTo>
                  <a:cubicBezTo>
                    <a:pt x="8284" y="18760"/>
                    <a:pt x="8223" y="18613"/>
                    <a:pt x="8223" y="18613"/>
                  </a:cubicBezTo>
                  <a:cubicBezTo>
                    <a:pt x="8223" y="18613"/>
                    <a:pt x="8345" y="18394"/>
                    <a:pt x="8407" y="18320"/>
                  </a:cubicBezTo>
                  <a:cubicBezTo>
                    <a:pt x="8407" y="18247"/>
                    <a:pt x="8530" y="18320"/>
                    <a:pt x="8468" y="18101"/>
                  </a:cubicBezTo>
                  <a:cubicBezTo>
                    <a:pt x="8345" y="17954"/>
                    <a:pt x="8284" y="17881"/>
                    <a:pt x="8284" y="17881"/>
                  </a:cubicBezTo>
                  <a:cubicBezTo>
                    <a:pt x="8284" y="17881"/>
                    <a:pt x="8284" y="18027"/>
                    <a:pt x="8161" y="18101"/>
                  </a:cubicBezTo>
                  <a:cubicBezTo>
                    <a:pt x="8039" y="18101"/>
                    <a:pt x="7855" y="18174"/>
                    <a:pt x="7855" y="18174"/>
                  </a:cubicBezTo>
                  <a:cubicBezTo>
                    <a:pt x="7180" y="17808"/>
                    <a:pt x="7180" y="17808"/>
                    <a:pt x="7180" y="17808"/>
                  </a:cubicBezTo>
                  <a:cubicBezTo>
                    <a:pt x="7180" y="17808"/>
                    <a:pt x="6995" y="17735"/>
                    <a:pt x="6934" y="17735"/>
                  </a:cubicBezTo>
                  <a:cubicBezTo>
                    <a:pt x="6873" y="17808"/>
                    <a:pt x="6627" y="17735"/>
                    <a:pt x="6627" y="17735"/>
                  </a:cubicBezTo>
                  <a:cubicBezTo>
                    <a:pt x="6750" y="18027"/>
                    <a:pt x="6750" y="18027"/>
                    <a:pt x="6750" y="18027"/>
                  </a:cubicBezTo>
                  <a:cubicBezTo>
                    <a:pt x="6873" y="18467"/>
                    <a:pt x="6873" y="18467"/>
                    <a:pt x="6873" y="18467"/>
                  </a:cubicBezTo>
                  <a:cubicBezTo>
                    <a:pt x="6505" y="18613"/>
                    <a:pt x="6505" y="18613"/>
                    <a:pt x="6505" y="18613"/>
                  </a:cubicBezTo>
                  <a:cubicBezTo>
                    <a:pt x="6443" y="18979"/>
                    <a:pt x="6443" y="18979"/>
                    <a:pt x="6443" y="18979"/>
                  </a:cubicBezTo>
                  <a:cubicBezTo>
                    <a:pt x="6443" y="18979"/>
                    <a:pt x="6075" y="19272"/>
                    <a:pt x="6075" y="19126"/>
                  </a:cubicBezTo>
                  <a:cubicBezTo>
                    <a:pt x="6014" y="19053"/>
                    <a:pt x="5952" y="18760"/>
                    <a:pt x="5952" y="18760"/>
                  </a:cubicBezTo>
                  <a:cubicBezTo>
                    <a:pt x="5952" y="18760"/>
                    <a:pt x="5891" y="18613"/>
                    <a:pt x="5830" y="18540"/>
                  </a:cubicBezTo>
                  <a:cubicBezTo>
                    <a:pt x="5707" y="18467"/>
                    <a:pt x="5645" y="18394"/>
                    <a:pt x="5645" y="18394"/>
                  </a:cubicBezTo>
                  <a:cubicBezTo>
                    <a:pt x="5461" y="18320"/>
                    <a:pt x="5461" y="18320"/>
                    <a:pt x="5461" y="18320"/>
                  </a:cubicBezTo>
                  <a:cubicBezTo>
                    <a:pt x="5461" y="18320"/>
                    <a:pt x="5400" y="18027"/>
                    <a:pt x="5339" y="18027"/>
                  </a:cubicBezTo>
                  <a:cubicBezTo>
                    <a:pt x="5277" y="18027"/>
                    <a:pt x="5216" y="18027"/>
                    <a:pt x="5216" y="18027"/>
                  </a:cubicBezTo>
                  <a:cubicBezTo>
                    <a:pt x="5216" y="17808"/>
                    <a:pt x="5216" y="17808"/>
                    <a:pt x="5216" y="17808"/>
                  </a:cubicBezTo>
                  <a:cubicBezTo>
                    <a:pt x="5339" y="17588"/>
                    <a:pt x="5339" y="17588"/>
                    <a:pt x="5339" y="17588"/>
                  </a:cubicBezTo>
                  <a:cubicBezTo>
                    <a:pt x="5339" y="17588"/>
                    <a:pt x="5400" y="17661"/>
                    <a:pt x="5400" y="17368"/>
                  </a:cubicBezTo>
                  <a:cubicBezTo>
                    <a:pt x="5461" y="17002"/>
                    <a:pt x="5277" y="17002"/>
                    <a:pt x="5277" y="17002"/>
                  </a:cubicBezTo>
                  <a:cubicBezTo>
                    <a:pt x="5093" y="17076"/>
                    <a:pt x="5093" y="17076"/>
                    <a:pt x="5093" y="17076"/>
                  </a:cubicBezTo>
                  <a:cubicBezTo>
                    <a:pt x="4848" y="17222"/>
                    <a:pt x="4848" y="17222"/>
                    <a:pt x="4848" y="17222"/>
                  </a:cubicBezTo>
                  <a:cubicBezTo>
                    <a:pt x="4725" y="17222"/>
                    <a:pt x="4725" y="17222"/>
                    <a:pt x="4725" y="17222"/>
                  </a:cubicBezTo>
                  <a:cubicBezTo>
                    <a:pt x="4664" y="17222"/>
                    <a:pt x="4541" y="17002"/>
                    <a:pt x="4541" y="17002"/>
                  </a:cubicBezTo>
                  <a:cubicBezTo>
                    <a:pt x="4541" y="17002"/>
                    <a:pt x="4664" y="16783"/>
                    <a:pt x="4480" y="17002"/>
                  </a:cubicBezTo>
                  <a:cubicBezTo>
                    <a:pt x="4295" y="17222"/>
                    <a:pt x="4173" y="16929"/>
                    <a:pt x="4173" y="16929"/>
                  </a:cubicBezTo>
                  <a:cubicBezTo>
                    <a:pt x="4111" y="16856"/>
                    <a:pt x="4111" y="16856"/>
                    <a:pt x="4111" y="16856"/>
                  </a:cubicBezTo>
                  <a:cubicBezTo>
                    <a:pt x="4111" y="16856"/>
                    <a:pt x="4111" y="16856"/>
                    <a:pt x="4050" y="16856"/>
                  </a:cubicBezTo>
                  <a:cubicBezTo>
                    <a:pt x="3989" y="16929"/>
                    <a:pt x="3805" y="16929"/>
                    <a:pt x="3805" y="16856"/>
                  </a:cubicBezTo>
                  <a:cubicBezTo>
                    <a:pt x="3743" y="16709"/>
                    <a:pt x="3620" y="16636"/>
                    <a:pt x="3620" y="16636"/>
                  </a:cubicBezTo>
                  <a:cubicBezTo>
                    <a:pt x="3436" y="16709"/>
                    <a:pt x="3436" y="16709"/>
                    <a:pt x="3436" y="16709"/>
                  </a:cubicBezTo>
                  <a:cubicBezTo>
                    <a:pt x="3436" y="16709"/>
                    <a:pt x="3314" y="16709"/>
                    <a:pt x="3252" y="16709"/>
                  </a:cubicBezTo>
                  <a:cubicBezTo>
                    <a:pt x="3252" y="16636"/>
                    <a:pt x="3252" y="16563"/>
                    <a:pt x="3130" y="16490"/>
                  </a:cubicBezTo>
                  <a:cubicBezTo>
                    <a:pt x="3007" y="16417"/>
                    <a:pt x="2945" y="16197"/>
                    <a:pt x="2945" y="16197"/>
                  </a:cubicBezTo>
                  <a:cubicBezTo>
                    <a:pt x="2945" y="16197"/>
                    <a:pt x="3007" y="16050"/>
                    <a:pt x="2884" y="16050"/>
                  </a:cubicBezTo>
                  <a:cubicBezTo>
                    <a:pt x="2823" y="16050"/>
                    <a:pt x="2700" y="15977"/>
                    <a:pt x="2700" y="15977"/>
                  </a:cubicBezTo>
                  <a:cubicBezTo>
                    <a:pt x="2700" y="15977"/>
                    <a:pt x="2516" y="15831"/>
                    <a:pt x="2516" y="15904"/>
                  </a:cubicBezTo>
                  <a:cubicBezTo>
                    <a:pt x="2455" y="15977"/>
                    <a:pt x="2455" y="16124"/>
                    <a:pt x="2455" y="16197"/>
                  </a:cubicBezTo>
                  <a:cubicBezTo>
                    <a:pt x="2455" y="16197"/>
                    <a:pt x="2516" y="16417"/>
                    <a:pt x="2516" y="16417"/>
                  </a:cubicBezTo>
                  <a:cubicBezTo>
                    <a:pt x="2516" y="16417"/>
                    <a:pt x="2270" y="16563"/>
                    <a:pt x="2209" y="16563"/>
                  </a:cubicBezTo>
                  <a:cubicBezTo>
                    <a:pt x="2148" y="16563"/>
                    <a:pt x="2086" y="16636"/>
                    <a:pt x="2086" y="16490"/>
                  </a:cubicBezTo>
                  <a:cubicBezTo>
                    <a:pt x="2086" y="16417"/>
                    <a:pt x="2209" y="16050"/>
                    <a:pt x="2209" y="16050"/>
                  </a:cubicBezTo>
                  <a:cubicBezTo>
                    <a:pt x="2270" y="15977"/>
                    <a:pt x="2332" y="15904"/>
                    <a:pt x="2332" y="15904"/>
                  </a:cubicBezTo>
                  <a:cubicBezTo>
                    <a:pt x="2332" y="15904"/>
                    <a:pt x="2270" y="15758"/>
                    <a:pt x="2270" y="15684"/>
                  </a:cubicBezTo>
                  <a:cubicBezTo>
                    <a:pt x="2270" y="15611"/>
                    <a:pt x="2209" y="15611"/>
                    <a:pt x="2332" y="15391"/>
                  </a:cubicBezTo>
                  <a:cubicBezTo>
                    <a:pt x="2516" y="15172"/>
                    <a:pt x="2516" y="15025"/>
                    <a:pt x="2516" y="15025"/>
                  </a:cubicBezTo>
                  <a:cubicBezTo>
                    <a:pt x="2516" y="15025"/>
                    <a:pt x="2393" y="14806"/>
                    <a:pt x="2332" y="14733"/>
                  </a:cubicBezTo>
                  <a:cubicBezTo>
                    <a:pt x="2332" y="14733"/>
                    <a:pt x="2148" y="14440"/>
                    <a:pt x="2148" y="14440"/>
                  </a:cubicBezTo>
                  <a:cubicBezTo>
                    <a:pt x="2148" y="14366"/>
                    <a:pt x="2148" y="14220"/>
                    <a:pt x="2148" y="14220"/>
                  </a:cubicBezTo>
                  <a:cubicBezTo>
                    <a:pt x="2148" y="14220"/>
                    <a:pt x="2025" y="14074"/>
                    <a:pt x="1964" y="14074"/>
                  </a:cubicBezTo>
                  <a:cubicBezTo>
                    <a:pt x="1902" y="14074"/>
                    <a:pt x="1718" y="14000"/>
                    <a:pt x="1718" y="14000"/>
                  </a:cubicBezTo>
                  <a:cubicBezTo>
                    <a:pt x="1718" y="13781"/>
                    <a:pt x="1718" y="13781"/>
                    <a:pt x="1718" y="13781"/>
                  </a:cubicBezTo>
                  <a:cubicBezTo>
                    <a:pt x="1718" y="13415"/>
                    <a:pt x="1718" y="13415"/>
                    <a:pt x="1718" y="13415"/>
                  </a:cubicBezTo>
                  <a:cubicBezTo>
                    <a:pt x="1473" y="13048"/>
                    <a:pt x="1473" y="13048"/>
                    <a:pt x="1473" y="13048"/>
                  </a:cubicBezTo>
                  <a:cubicBezTo>
                    <a:pt x="1411" y="12829"/>
                    <a:pt x="1411" y="12829"/>
                    <a:pt x="1411" y="12829"/>
                  </a:cubicBezTo>
                  <a:cubicBezTo>
                    <a:pt x="1411" y="12829"/>
                    <a:pt x="1473" y="12682"/>
                    <a:pt x="1473" y="12536"/>
                  </a:cubicBezTo>
                  <a:cubicBezTo>
                    <a:pt x="1534" y="12463"/>
                    <a:pt x="1595" y="12243"/>
                    <a:pt x="1595" y="12243"/>
                  </a:cubicBezTo>
                  <a:cubicBezTo>
                    <a:pt x="1473" y="11950"/>
                    <a:pt x="1473" y="11950"/>
                    <a:pt x="1473" y="11950"/>
                  </a:cubicBezTo>
                  <a:cubicBezTo>
                    <a:pt x="1473" y="11950"/>
                    <a:pt x="1411" y="11877"/>
                    <a:pt x="1473" y="11804"/>
                  </a:cubicBezTo>
                  <a:cubicBezTo>
                    <a:pt x="1473" y="11730"/>
                    <a:pt x="1411" y="11291"/>
                    <a:pt x="1411" y="11291"/>
                  </a:cubicBezTo>
                  <a:cubicBezTo>
                    <a:pt x="1411" y="11291"/>
                    <a:pt x="1350" y="10852"/>
                    <a:pt x="1289" y="10925"/>
                  </a:cubicBezTo>
                  <a:cubicBezTo>
                    <a:pt x="1166" y="10925"/>
                    <a:pt x="1105" y="10632"/>
                    <a:pt x="1105" y="10632"/>
                  </a:cubicBezTo>
                  <a:cubicBezTo>
                    <a:pt x="1227" y="10120"/>
                    <a:pt x="1227" y="10120"/>
                    <a:pt x="1227" y="10120"/>
                  </a:cubicBezTo>
                  <a:cubicBezTo>
                    <a:pt x="1227" y="10120"/>
                    <a:pt x="1289" y="9754"/>
                    <a:pt x="1105" y="9607"/>
                  </a:cubicBezTo>
                  <a:cubicBezTo>
                    <a:pt x="920" y="9534"/>
                    <a:pt x="552" y="9314"/>
                    <a:pt x="491" y="9241"/>
                  </a:cubicBezTo>
                  <a:cubicBezTo>
                    <a:pt x="491" y="9241"/>
                    <a:pt x="307" y="9021"/>
                    <a:pt x="245" y="8948"/>
                  </a:cubicBezTo>
                  <a:cubicBezTo>
                    <a:pt x="184" y="8948"/>
                    <a:pt x="123" y="8875"/>
                    <a:pt x="123" y="8875"/>
                  </a:cubicBezTo>
                  <a:cubicBezTo>
                    <a:pt x="245" y="8216"/>
                    <a:pt x="245" y="8216"/>
                    <a:pt x="245" y="8216"/>
                  </a:cubicBezTo>
                  <a:cubicBezTo>
                    <a:pt x="552" y="7923"/>
                    <a:pt x="552" y="7923"/>
                    <a:pt x="552" y="7923"/>
                  </a:cubicBezTo>
                  <a:cubicBezTo>
                    <a:pt x="552" y="7337"/>
                    <a:pt x="552" y="7337"/>
                    <a:pt x="552" y="7337"/>
                  </a:cubicBezTo>
                  <a:cubicBezTo>
                    <a:pt x="552" y="6678"/>
                    <a:pt x="552" y="6678"/>
                    <a:pt x="552" y="6678"/>
                  </a:cubicBezTo>
                  <a:cubicBezTo>
                    <a:pt x="552" y="6678"/>
                    <a:pt x="614" y="6605"/>
                    <a:pt x="430" y="6312"/>
                  </a:cubicBezTo>
                  <a:cubicBezTo>
                    <a:pt x="307" y="6093"/>
                    <a:pt x="245" y="5800"/>
                    <a:pt x="245" y="5800"/>
                  </a:cubicBezTo>
                  <a:cubicBezTo>
                    <a:pt x="245" y="5726"/>
                    <a:pt x="184" y="5434"/>
                    <a:pt x="123" y="5360"/>
                  </a:cubicBezTo>
                  <a:cubicBezTo>
                    <a:pt x="123" y="5287"/>
                    <a:pt x="123" y="5214"/>
                    <a:pt x="123" y="5067"/>
                  </a:cubicBezTo>
                  <a:cubicBezTo>
                    <a:pt x="184" y="4994"/>
                    <a:pt x="0" y="4775"/>
                    <a:pt x="0" y="4775"/>
                  </a:cubicBezTo>
                  <a:cubicBezTo>
                    <a:pt x="0" y="4775"/>
                    <a:pt x="61" y="4628"/>
                    <a:pt x="123" y="4628"/>
                  </a:cubicBezTo>
                  <a:cubicBezTo>
                    <a:pt x="184" y="4628"/>
                    <a:pt x="245" y="4555"/>
                    <a:pt x="368" y="4555"/>
                  </a:cubicBezTo>
                  <a:cubicBezTo>
                    <a:pt x="491" y="4555"/>
                    <a:pt x="552" y="4408"/>
                    <a:pt x="675" y="4408"/>
                  </a:cubicBezTo>
                  <a:cubicBezTo>
                    <a:pt x="736" y="4335"/>
                    <a:pt x="736" y="4189"/>
                    <a:pt x="798" y="4189"/>
                  </a:cubicBezTo>
                  <a:cubicBezTo>
                    <a:pt x="920" y="4116"/>
                    <a:pt x="1043" y="4189"/>
                    <a:pt x="1227" y="4042"/>
                  </a:cubicBezTo>
                  <a:cubicBezTo>
                    <a:pt x="1411" y="3969"/>
                    <a:pt x="1411" y="3896"/>
                    <a:pt x="1534" y="3749"/>
                  </a:cubicBezTo>
                  <a:cubicBezTo>
                    <a:pt x="1595" y="3676"/>
                    <a:pt x="2761" y="3237"/>
                    <a:pt x="2761" y="3237"/>
                  </a:cubicBezTo>
                  <a:cubicBezTo>
                    <a:pt x="2761" y="3237"/>
                    <a:pt x="3068" y="3017"/>
                    <a:pt x="3191" y="3017"/>
                  </a:cubicBezTo>
                  <a:cubicBezTo>
                    <a:pt x="3252" y="2944"/>
                    <a:pt x="3252" y="2871"/>
                    <a:pt x="3375" y="2871"/>
                  </a:cubicBezTo>
                  <a:cubicBezTo>
                    <a:pt x="3436" y="2944"/>
                    <a:pt x="3682" y="2944"/>
                    <a:pt x="3682" y="2944"/>
                  </a:cubicBezTo>
                  <a:cubicBezTo>
                    <a:pt x="3682" y="2944"/>
                    <a:pt x="3743" y="2724"/>
                    <a:pt x="3805" y="2651"/>
                  </a:cubicBezTo>
                  <a:cubicBezTo>
                    <a:pt x="3866" y="2505"/>
                    <a:pt x="3927" y="2358"/>
                    <a:pt x="3927" y="2285"/>
                  </a:cubicBezTo>
                  <a:cubicBezTo>
                    <a:pt x="3989" y="2139"/>
                    <a:pt x="4050" y="2065"/>
                    <a:pt x="4111" y="1992"/>
                  </a:cubicBezTo>
                  <a:cubicBezTo>
                    <a:pt x="4173" y="1846"/>
                    <a:pt x="4234" y="1773"/>
                    <a:pt x="4234" y="1773"/>
                  </a:cubicBezTo>
                  <a:cubicBezTo>
                    <a:pt x="4295" y="1773"/>
                    <a:pt x="4664" y="1553"/>
                    <a:pt x="4725" y="1553"/>
                  </a:cubicBezTo>
                  <a:cubicBezTo>
                    <a:pt x="4786" y="1480"/>
                    <a:pt x="5277" y="1260"/>
                    <a:pt x="5277" y="1187"/>
                  </a:cubicBezTo>
                  <a:cubicBezTo>
                    <a:pt x="5277" y="1187"/>
                    <a:pt x="5461" y="894"/>
                    <a:pt x="5461" y="821"/>
                  </a:cubicBezTo>
                  <a:cubicBezTo>
                    <a:pt x="5461" y="747"/>
                    <a:pt x="5707" y="674"/>
                    <a:pt x="5707" y="674"/>
                  </a:cubicBezTo>
                  <a:cubicBezTo>
                    <a:pt x="5768" y="674"/>
                    <a:pt x="5768" y="674"/>
                    <a:pt x="5830" y="601"/>
                  </a:cubicBezTo>
                  <a:cubicBezTo>
                    <a:pt x="5952" y="601"/>
                    <a:pt x="6505" y="308"/>
                    <a:pt x="6505" y="308"/>
                  </a:cubicBezTo>
                  <a:cubicBezTo>
                    <a:pt x="6505" y="308"/>
                    <a:pt x="6995" y="88"/>
                    <a:pt x="6995" y="88"/>
                  </a:cubicBezTo>
                  <a:cubicBezTo>
                    <a:pt x="7057" y="162"/>
                    <a:pt x="7364" y="88"/>
                    <a:pt x="7425" y="88"/>
                  </a:cubicBezTo>
                  <a:cubicBezTo>
                    <a:pt x="7425" y="162"/>
                    <a:pt x="7793" y="88"/>
                    <a:pt x="7793" y="88"/>
                  </a:cubicBezTo>
                  <a:cubicBezTo>
                    <a:pt x="7793" y="88"/>
                    <a:pt x="7916" y="162"/>
                    <a:pt x="7916" y="235"/>
                  </a:cubicBezTo>
                  <a:cubicBezTo>
                    <a:pt x="7916" y="308"/>
                    <a:pt x="7793" y="381"/>
                    <a:pt x="7855" y="455"/>
                  </a:cubicBezTo>
                  <a:cubicBezTo>
                    <a:pt x="7916" y="528"/>
                    <a:pt x="8161" y="747"/>
                    <a:pt x="8161" y="747"/>
                  </a:cubicBezTo>
                  <a:cubicBezTo>
                    <a:pt x="8161" y="747"/>
                    <a:pt x="8100" y="967"/>
                    <a:pt x="8100" y="967"/>
                  </a:cubicBezTo>
                  <a:cubicBezTo>
                    <a:pt x="8100" y="1040"/>
                    <a:pt x="8161" y="1114"/>
                    <a:pt x="8223" y="1260"/>
                  </a:cubicBezTo>
                  <a:cubicBezTo>
                    <a:pt x="8284" y="1333"/>
                    <a:pt x="8407" y="1480"/>
                    <a:pt x="8407" y="1480"/>
                  </a:cubicBezTo>
                  <a:cubicBezTo>
                    <a:pt x="8407" y="1480"/>
                    <a:pt x="8345" y="1553"/>
                    <a:pt x="8591" y="1699"/>
                  </a:cubicBezTo>
                  <a:cubicBezTo>
                    <a:pt x="8836" y="1846"/>
                    <a:pt x="9020" y="1699"/>
                    <a:pt x="9020" y="1699"/>
                  </a:cubicBezTo>
                  <a:cubicBezTo>
                    <a:pt x="9020" y="1699"/>
                    <a:pt x="9205" y="1699"/>
                    <a:pt x="9266" y="1699"/>
                  </a:cubicBezTo>
                  <a:cubicBezTo>
                    <a:pt x="9327" y="1699"/>
                    <a:pt x="9511" y="1626"/>
                    <a:pt x="9511" y="1626"/>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1" name="Shape 2254">
              <a:extLst>
                <a:ext uri="{FF2B5EF4-FFF2-40B4-BE49-F238E27FC236}">
                  <a16:creationId xmlns:a16="http://schemas.microsoft.com/office/drawing/2014/main" id="{9BD07B3A-0594-1973-46EC-14F30A67CBE4}"/>
                </a:ext>
              </a:extLst>
            </p:cNvPr>
            <p:cNvSpPr/>
            <p:nvPr/>
          </p:nvSpPr>
          <p:spPr>
            <a:xfrm>
              <a:off x="913269" y="3849253"/>
              <a:ext cx="679426" cy="749454"/>
            </a:xfrm>
            <a:custGeom>
              <a:avLst/>
              <a:gdLst/>
              <a:ahLst/>
              <a:cxnLst>
                <a:cxn ang="0">
                  <a:pos x="wd2" y="hd2"/>
                </a:cxn>
                <a:cxn ang="5400000">
                  <a:pos x="wd2" y="hd2"/>
                </a:cxn>
                <a:cxn ang="10800000">
                  <a:pos x="wd2" y="hd2"/>
                </a:cxn>
                <a:cxn ang="16200000">
                  <a:pos x="wd2" y="hd2"/>
                </a:cxn>
              </a:cxnLst>
              <a:rect l="0" t="0" r="r" b="b"/>
              <a:pathLst>
                <a:path w="21455" h="21536" extrusionOk="0">
                  <a:moveTo>
                    <a:pt x="17031" y="19927"/>
                  </a:moveTo>
                  <a:cubicBezTo>
                    <a:pt x="16510" y="19927"/>
                    <a:pt x="16510" y="19927"/>
                    <a:pt x="16510" y="19927"/>
                  </a:cubicBezTo>
                  <a:cubicBezTo>
                    <a:pt x="16510" y="19927"/>
                    <a:pt x="16250" y="19583"/>
                    <a:pt x="16120" y="19583"/>
                  </a:cubicBezTo>
                  <a:cubicBezTo>
                    <a:pt x="15990" y="19583"/>
                    <a:pt x="15730" y="19468"/>
                    <a:pt x="15730" y="19468"/>
                  </a:cubicBezTo>
                  <a:cubicBezTo>
                    <a:pt x="15600" y="19698"/>
                    <a:pt x="15600" y="19698"/>
                    <a:pt x="15600" y="19698"/>
                  </a:cubicBezTo>
                  <a:cubicBezTo>
                    <a:pt x="15600" y="19698"/>
                    <a:pt x="15469" y="19813"/>
                    <a:pt x="15339" y="19813"/>
                  </a:cubicBezTo>
                  <a:cubicBezTo>
                    <a:pt x="15339" y="19813"/>
                    <a:pt x="15209" y="19698"/>
                    <a:pt x="15209" y="19698"/>
                  </a:cubicBezTo>
                  <a:cubicBezTo>
                    <a:pt x="15209" y="19468"/>
                    <a:pt x="15209" y="19468"/>
                    <a:pt x="15209" y="19468"/>
                  </a:cubicBezTo>
                  <a:cubicBezTo>
                    <a:pt x="14819" y="19468"/>
                    <a:pt x="14819" y="19468"/>
                    <a:pt x="14819" y="19468"/>
                  </a:cubicBezTo>
                  <a:cubicBezTo>
                    <a:pt x="14819" y="19468"/>
                    <a:pt x="14819" y="19813"/>
                    <a:pt x="14689" y="19813"/>
                  </a:cubicBezTo>
                  <a:cubicBezTo>
                    <a:pt x="14559" y="19698"/>
                    <a:pt x="14428" y="19698"/>
                    <a:pt x="14168" y="19698"/>
                  </a:cubicBezTo>
                  <a:cubicBezTo>
                    <a:pt x="13908" y="19583"/>
                    <a:pt x="13388" y="19698"/>
                    <a:pt x="13388" y="19698"/>
                  </a:cubicBezTo>
                  <a:cubicBezTo>
                    <a:pt x="13127" y="19583"/>
                    <a:pt x="13127" y="19583"/>
                    <a:pt x="13127" y="19583"/>
                  </a:cubicBezTo>
                  <a:cubicBezTo>
                    <a:pt x="12737" y="19583"/>
                    <a:pt x="12737" y="19583"/>
                    <a:pt x="12737" y="19583"/>
                  </a:cubicBezTo>
                  <a:cubicBezTo>
                    <a:pt x="12216" y="19583"/>
                    <a:pt x="12216" y="19583"/>
                    <a:pt x="12216" y="19583"/>
                  </a:cubicBezTo>
                  <a:cubicBezTo>
                    <a:pt x="12086" y="19813"/>
                    <a:pt x="12086" y="19813"/>
                    <a:pt x="12086" y="19813"/>
                  </a:cubicBezTo>
                  <a:cubicBezTo>
                    <a:pt x="12216" y="19927"/>
                    <a:pt x="12216" y="19927"/>
                    <a:pt x="12216" y="19927"/>
                  </a:cubicBezTo>
                  <a:cubicBezTo>
                    <a:pt x="11826" y="20157"/>
                    <a:pt x="11826" y="20157"/>
                    <a:pt x="11826" y="20157"/>
                  </a:cubicBezTo>
                  <a:cubicBezTo>
                    <a:pt x="11306" y="20042"/>
                    <a:pt x="11306" y="20042"/>
                    <a:pt x="11306" y="20042"/>
                  </a:cubicBezTo>
                  <a:cubicBezTo>
                    <a:pt x="11045" y="20272"/>
                    <a:pt x="11045" y="20272"/>
                    <a:pt x="11045" y="20272"/>
                  </a:cubicBezTo>
                  <a:cubicBezTo>
                    <a:pt x="10915" y="20042"/>
                    <a:pt x="10915" y="20042"/>
                    <a:pt x="10915" y="20042"/>
                  </a:cubicBezTo>
                  <a:cubicBezTo>
                    <a:pt x="10135" y="20502"/>
                    <a:pt x="10135" y="20502"/>
                    <a:pt x="10135" y="20502"/>
                  </a:cubicBezTo>
                  <a:cubicBezTo>
                    <a:pt x="10265" y="20732"/>
                    <a:pt x="10265" y="20732"/>
                    <a:pt x="10265" y="20732"/>
                  </a:cubicBezTo>
                  <a:cubicBezTo>
                    <a:pt x="9614" y="20847"/>
                    <a:pt x="9614" y="20847"/>
                    <a:pt x="9614" y="20847"/>
                  </a:cubicBezTo>
                  <a:cubicBezTo>
                    <a:pt x="9224" y="20732"/>
                    <a:pt x="9224" y="20732"/>
                    <a:pt x="9224" y="20732"/>
                  </a:cubicBezTo>
                  <a:cubicBezTo>
                    <a:pt x="9224" y="20732"/>
                    <a:pt x="8963" y="20617"/>
                    <a:pt x="8963" y="20502"/>
                  </a:cubicBezTo>
                  <a:cubicBezTo>
                    <a:pt x="9094" y="20387"/>
                    <a:pt x="9094" y="20272"/>
                    <a:pt x="9094" y="20272"/>
                  </a:cubicBezTo>
                  <a:cubicBezTo>
                    <a:pt x="9094" y="20272"/>
                    <a:pt x="8833" y="20157"/>
                    <a:pt x="8833" y="20272"/>
                  </a:cubicBezTo>
                  <a:cubicBezTo>
                    <a:pt x="8833" y="20502"/>
                    <a:pt x="8703" y="20732"/>
                    <a:pt x="8703" y="20732"/>
                  </a:cubicBezTo>
                  <a:cubicBezTo>
                    <a:pt x="8313" y="20962"/>
                    <a:pt x="8313" y="20962"/>
                    <a:pt x="8313" y="20962"/>
                  </a:cubicBezTo>
                  <a:cubicBezTo>
                    <a:pt x="7792" y="21076"/>
                    <a:pt x="7792" y="21076"/>
                    <a:pt x="7792" y="21076"/>
                  </a:cubicBezTo>
                  <a:cubicBezTo>
                    <a:pt x="7662" y="20962"/>
                    <a:pt x="7662" y="20962"/>
                    <a:pt x="7662" y="20962"/>
                  </a:cubicBezTo>
                  <a:cubicBezTo>
                    <a:pt x="7662" y="21306"/>
                    <a:pt x="7662" y="21306"/>
                    <a:pt x="7662" y="21306"/>
                  </a:cubicBezTo>
                  <a:cubicBezTo>
                    <a:pt x="7012" y="21306"/>
                    <a:pt x="7012" y="21306"/>
                    <a:pt x="7012" y="21306"/>
                  </a:cubicBezTo>
                  <a:cubicBezTo>
                    <a:pt x="6621" y="21306"/>
                    <a:pt x="6621" y="21306"/>
                    <a:pt x="6621" y="21306"/>
                  </a:cubicBezTo>
                  <a:cubicBezTo>
                    <a:pt x="6361" y="21536"/>
                    <a:pt x="6361" y="21536"/>
                    <a:pt x="6361" y="21536"/>
                  </a:cubicBezTo>
                  <a:cubicBezTo>
                    <a:pt x="5971" y="21421"/>
                    <a:pt x="5971" y="21421"/>
                    <a:pt x="5971" y="21421"/>
                  </a:cubicBezTo>
                  <a:cubicBezTo>
                    <a:pt x="5320" y="21536"/>
                    <a:pt x="5320" y="21536"/>
                    <a:pt x="5320" y="21536"/>
                  </a:cubicBezTo>
                  <a:cubicBezTo>
                    <a:pt x="5190" y="21306"/>
                    <a:pt x="5190" y="21306"/>
                    <a:pt x="5190" y="21306"/>
                  </a:cubicBezTo>
                  <a:cubicBezTo>
                    <a:pt x="4279" y="21306"/>
                    <a:pt x="4279" y="21306"/>
                    <a:pt x="4279" y="21306"/>
                  </a:cubicBezTo>
                  <a:cubicBezTo>
                    <a:pt x="3889" y="21421"/>
                    <a:pt x="3889" y="21421"/>
                    <a:pt x="3889" y="21421"/>
                  </a:cubicBezTo>
                  <a:cubicBezTo>
                    <a:pt x="3759" y="21191"/>
                    <a:pt x="3759" y="21191"/>
                    <a:pt x="3759" y="21191"/>
                  </a:cubicBezTo>
                  <a:cubicBezTo>
                    <a:pt x="3628" y="21191"/>
                    <a:pt x="3628" y="21191"/>
                    <a:pt x="3628" y="21191"/>
                  </a:cubicBezTo>
                  <a:cubicBezTo>
                    <a:pt x="3628" y="21191"/>
                    <a:pt x="3368" y="21191"/>
                    <a:pt x="3238" y="21191"/>
                  </a:cubicBezTo>
                  <a:cubicBezTo>
                    <a:pt x="3108" y="21191"/>
                    <a:pt x="2327" y="20962"/>
                    <a:pt x="2327" y="20962"/>
                  </a:cubicBezTo>
                  <a:cubicBezTo>
                    <a:pt x="2067" y="21191"/>
                    <a:pt x="2067" y="21191"/>
                    <a:pt x="2067" y="21191"/>
                  </a:cubicBezTo>
                  <a:cubicBezTo>
                    <a:pt x="2067" y="21191"/>
                    <a:pt x="1677" y="21191"/>
                    <a:pt x="1677" y="21076"/>
                  </a:cubicBezTo>
                  <a:cubicBezTo>
                    <a:pt x="1677" y="21076"/>
                    <a:pt x="1677" y="20962"/>
                    <a:pt x="1807" y="20847"/>
                  </a:cubicBezTo>
                  <a:cubicBezTo>
                    <a:pt x="1937" y="20847"/>
                    <a:pt x="2067" y="20847"/>
                    <a:pt x="2327" y="20732"/>
                  </a:cubicBezTo>
                  <a:cubicBezTo>
                    <a:pt x="2588" y="20732"/>
                    <a:pt x="2718" y="20732"/>
                    <a:pt x="2718" y="20732"/>
                  </a:cubicBezTo>
                  <a:cubicBezTo>
                    <a:pt x="2848" y="20617"/>
                    <a:pt x="2848" y="20617"/>
                    <a:pt x="2848" y="20617"/>
                  </a:cubicBezTo>
                  <a:cubicBezTo>
                    <a:pt x="2848" y="20502"/>
                    <a:pt x="2978" y="20387"/>
                    <a:pt x="2718" y="20502"/>
                  </a:cubicBezTo>
                  <a:cubicBezTo>
                    <a:pt x="2588" y="20502"/>
                    <a:pt x="2588" y="20502"/>
                    <a:pt x="2588" y="20502"/>
                  </a:cubicBezTo>
                  <a:cubicBezTo>
                    <a:pt x="2457" y="20617"/>
                    <a:pt x="2327" y="20617"/>
                    <a:pt x="2197" y="20617"/>
                  </a:cubicBezTo>
                  <a:cubicBezTo>
                    <a:pt x="2197" y="20617"/>
                    <a:pt x="1937" y="20617"/>
                    <a:pt x="1937" y="20617"/>
                  </a:cubicBezTo>
                  <a:cubicBezTo>
                    <a:pt x="1937" y="20617"/>
                    <a:pt x="1807" y="20502"/>
                    <a:pt x="1937" y="20502"/>
                  </a:cubicBezTo>
                  <a:cubicBezTo>
                    <a:pt x="2067" y="20387"/>
                    <a:pt x="2067" y="20387"/>
                    <a:pt x="2197" y="20387"/>
                  </a:cubicBezTo>
                  <a:cubicBezTo>
                    <a:pt x="2457" y="20387"/>
                    <a:pt x="2588" y="20272"/>
                    <a:pt x="2848" y="20272"/>
                  </a:cubicBezTo>
                  <a:cubicBezTo>
                    <a:pt x="3108" y="20272"/>
                    <a:pt x="3238" y="20272"/>
                    <a:pt x="3238" y="20272"/>
                  </a:cubicBezTo>
                  <a:cubicBezTo>
                    <a:pt x="3368" y="20157"/>
                    <a:pt x="3498" y="20157"/>
                    <a:pt x="3498" y="20042"/>
                  </a:cubicBezTo>
                  <a:cubicBezTo>
                    <a:pt x="3498" y="19927"/>
                    <a:pt x="3368" y="19813"/>
                    <a:pt x="3368" y="19813"/>
                  </a:cubicBezTo>
                  <a:cubicBezTo>
                    <a:pt x="3368" y="19813"/>
                    <a:pt x="3238" y="19813"/>
                    <a:pt x="3108" y="19927"/>
                  </a:cubicBezTo>
                  <a:cubicBezTo>
                    <a:pt x="2978" y="19927"/>
                    <a:pt x="2848" y="20042"/>
                    <a:pt x="2718" y="20042"/>
                  </a:cubicBezTo>
                  <a:cubicBezTo>
                    <a:pt x="2718" y="20042"/>
                    <a:pt x="2718" y="20042"/>
                    <a:pt x="2588" y="20042"/>
                  </a:cubicBezTo>
                  <a:cubicBezTo>
                    <a:pt x="2457" y="20042"/>
                    <a:pt x="2197" y="19927"/>
                    <a:pt x="2197" y="19927"/>
                  </a:cubicBezTo>
                  <a:cubicBezTo>
                    <a:pt x="2067" y="19927"/>
                    <a:pt x="1937" y="19927"/>
                    <a:pt x="1807" y="19927"/>
                  </a:cubicBezTo>
                  <a:cubicBezTo>
                    <a:pt x="1677" y="19927"/>
                    <a:pt x="1807" y="19927"/>
                    <a:pt x="1547" y="19927"/>
                  </a:cubicBezTo>
                  <a:cubicBezTo>
                    <a:pt x="1286" y="20042"/>
                    <a:pt x="1416" y="20042"/>
                    <a:pt x="1026" y="20042"/>
                  </a:cubicBezTo>
                  <a:cubicBezTo>
                    <a:pt x="766" y="20042"/>
                    <a:pt x="375" y="19927"/>
                    <a:pt x="375" y="19927"/>
                  </a:cubicBezTo>
                  <a:cubicBezTo>
                    <a:pt x="375" y="19927"/>
                    <a:pt x="115" y="20042"/>
                    <a:pt x="245" y="19927"/>
                  </a:cubicBezTo>
                  <a:cubicBezTo>
                    <a:pt x="506" y="19813"/>
                    <a:pt x="766" y="19813"/>
                    <a:pt x="896" y="19698"/>
                  </a:cubicBezTo>
                  <a:cubicBezTo>
                    <a:pt x="1026" y="19698"/>
                    <a:pt x="1156" y="19698"/>
                    <a:pt x="1026" y="19583"/>
                  </a:cubicBezTo>
                  <a:cubicBezTo>
                    <a:pt x="1026" y="19583"/>
                    <a:pt x="1026" y="19583"/>
                    <a:pt x="1026" y="19583"/>
                  </a:cubicBezTo>
                  <a:cubicBezTo>
                    <a:pt x="1156" y="19583"/>
                    <a:pt x="1416" y="19468"/>
                    <a:pt x="1416" y="19468"/>
                  </a:cubicBezTo>
                  <a:cubicBezTo>
                    <a:pt x="1677" y="19353"/>
                    <a:pt x="1677" y="19353"/>
                    <a:pt x="1677" y="19353"/>
                  </a:cubicBezTo>
                  <a:cubicBezTo>
                    <a:pt x="1677" y="19353"/>
                    <a:pt x="1677" y="19238"/>
                    <a:pt x="1937" y="19238"/>
                  </a:cubicBezTo>
                  <a:cubicBezTo>
                    <a:pt x="2197" y="19238"/>
                    <a:pt x="2197" y="19238"/>
                    <a:pt x="2197" y="19123"/>
                  </a:cubicBezTo>
                  <a:cubicBezTo>
                    <a:pt x="2327" y="19123"/>
                    <a:pt x="2197" y="19123"/>
                    <a:pt x="2327" y="19123"/>
                  </a:cubicBezTo>
                  <a:cubicBezTo>
                    <a:pt x="2588" y="19123"/>
                    <a:pt x="2588" y="19008"/>
                    <a:pt x="2718" y="19008"/>
                  </a:cubicBezTo>
                  <a:cubicBezTo>
                    <a:pt x="2978" y="19008"/>
                    <a:pt x="3108" y="18893"/>
                    <a:pt x="2978" y="18893"/>
                  </a:cubicBezTo>
                  <a:cubicBezTo>
                    <a:pt x="2848" y="18893"/>
                    <a:pt x="2848" y="18893"/>
                    <a:pt x="2588" y="18893"/>
                  </a:cubicBezTo>
                  <a:cubicBezTo>
                    <a:pt x="2457" y="19008"/>
                    <a:pt x="2327" y="18893"/>
                    <a:pt x="2327" y="19008"/>
                  </a:cubicBezTo>
                  <a:cubicBezTo>
                    <a:pt x="2197" y="19008"/>
                    <a:pt x="1937" y="19008"/>
                    <a:pt x="1937" y="19008"/>
                  </a:cubicBezTo>
                  <a:cubicBezTo>
                    <a:pt x="1807" y="18893"/>
                    <a:pt x="1807" y="18893"/>
                    <a:pt x="1677" y="19008"/>
                  </a:cubicBezTo>
                  <a:cubicBezTo>
                    <a:pt x="1547" y="19008"/>
                    <a:pt x="1677" y="19123"/>
                    <a:pt x="1416" y="19123"/>
                  </a:cubicBezTo>
                  <a:cubicBezTo>
                    <a:pt x="1286" y="19123"/>
                    <a:pt x="1156" y="19008"/>
                    <a:pt x="1156" y="19008"/>
                  </a:cubicBezTo>
                  <a:cubicBezTo>
                    <a:pt x="1156" y="19008"/>
                    <a:pt x="766" y="19008"/>
                    <a:pt x="766" y="18893"/>
                  </a:cubicBezTo>
                  <a:cubicBezTo>
                    <a:pt x="766" y="18893"/>
                    <a:pt x="766" y="18664"/>
                    <a:pt x="766" y="18664"/>
                  </a:cubicBezTo>
                  <a:cubicBezTo>
                    <a:pt x="766" y="18549"/>
                    <a:pt x="896" y="18549"/>
                    <a:pt x="896" y="18549"/>
                  </a:cubicBezTo>
                  <a:cubicBezTo>
                    <a:pt x="766" y="18434"/>
                    <a:pt x="766" y="18434"/>
                    <a:pt x="766" y="18434"/>
                  </a:cubicBezTo>
                  <a:cubicBezTo>
                    <a:pt x="766" y="18434"/>
                    <a:pt x="766" y="18434"/>
                    <a:pt x="636" y="18434"/>
                  </a:cubicBezTo>
                  <a:cubicBezTo>
                    <a:pt x="636" y="18434"/>
                    <a:pt x="375" y="18549"/>
                    <a:pt x="375" y="18549"/>
                  </a:cubicBezTo>
                  <a:cubicBezTo>
                    <a:pt x="375" y="18549"/>
                    <a:pt x="375" y="18549"/>
                    <a:pt x="245" y="18549"/>
                  </a:cubicBezTo>
                  <a:cubicBezTo>
                    <a:pt x="245" y="18549"/>
                    <a:pt x="115" y="18549"/>
                    <a:pt x="115" y="18549"/>
                  </a:cubicBezTo>
                  <a:cubicBezTo>
                    <a:pt x="115" y="18549"/>
                    <a:pt x="115" y="18434"/>
                    <a:pt x="115" y="18319"/>
                  </a:cubicBezTo>
                  <a:cubicBezTo>
                    <a:pt x="115" y="18319"/>
                    <a:pt x="115" y="18204"/>
                    <a:pt x="115" y="18204"/>
                  </a:cubicBezTo>
                  <a:cubicBezTo>
                    <a:pt x="115" y="18204"/>
                    <a:pt x="115" y="18204"/>
                    <a:pt x="115" y="18204"/>
                  </a:cubicBezTo>
                  <a:cubicBezTo>
                    <a:pt x="115" y="18089"/>
                    <a:pt x="-145" y="18089"/>
                    <a:pt x="115" y="17974"/>
                  </a:cubicBezTo>
                  <a:cubicBezTo>
                    <a:pt x="375" y="17974"/>
                    <a:pt x="375" y="17974"/>
                    <a:pt x="506" y="17974"/>
                  </a:cubicBezTo>
                  <a:cubicBezTo>
                    <a:pt x="506" y="17974"/>
                    <a:pt x="636" y="17974"/>
                    <a:pt x="636" y="17974"/>
                  </a:cubicBezTo>
                  <a:cubicBezTo>
                    <a:pt x="636" y="17974"/>
                    <a:pt x="766" y="17859"/>
                    <a:pt x="766" y="17859"/>
                  </a:cubicBezTo>
                  <a:cubicBezTo>
                    <a:pt x="636" y="17745"/>
                    <a:pt x="636" y="17745"/>
                    <a:pt x="636" y="17745"/>
                  </a:cubicBezTo>
                  <a:cubicBezTo>
                    <a:pt x="636" y="17630"/>
                    <a:pt x="636" y="17630"/>
                    <a:pt x="766" y="17630"/>
                  </a:cubicBezTo>
                  <a:cubicBezTo>
                    <a:pt x="896" y="17630"/>
                    <a:pt x="896" y="17515"/>
                    <a:pt x="1026" y="17515"/>
                  </a:cubicBezTo>
                  <a:cubicBezTo>
                    <a:pt x="1026" y="17515"/>
                    <a:pt x="1156" y="17515"/>
                    <a:pt x="1286" y="17515"/>
                  </a:cubicBezTo>
                  <a:cubicBezTo>
                    <a:pt x="1286" y="17515"/>
                    <a:pt x="1286" y="17400"/>
                    <a:pt x="1547" y="17400"/>
                  </a:cubicBezTo>
                  <a:cubicBezTo>
                    <a:pt x="1677" y="17400"/>
                    <a:pt x="1807" y="17400"/>
                    <a:pt x="1937" y="17400"/>
                  </a:cubicBezTo>
                  <a:cubicBezTo>
                    <a:pt x="1937" y="17400"/>
                    <a:pt x="2197" y="17400"/>
                    <a:pt x="2197" y="17400"/>
                  </a:cubicBezTo>
                  <a:cubicBezTo>
                    <a:pt x="2197" y="17400"/>
                    <a:pt x="2457" y="17285"/>
                    <a:pt x="2457" y="17285"/>
                  </a:cubicBezTo>
                  <a:cubicBezTo>
                    <a:pt x="2588" y="17170"/>
                    <a:pt x="2588" y="17170"/>
                    <a:pt x="2588" y="17170"/>
                  </a:cubicBezTo>
                  <a:cubicBezTo>
                    <a:pt x="2588" y="17170"/>
                    <a:pt x="2588" y="17170"/>
                    <a:pt x="2718" y="17170"/>
                  </a:cubicBezTo>
                  <a:cubicBezTo>
                    <a:pt x="2848" y="17170"/>
                    <a:pt x="2848" y="17170"/>
                    <a:pt x="2978" y="17170"/>
                  </a:cubicBezTo>
                  <a:cubicBezTo>
                    <a:pt x="2978" y="17170"/>
                    <a:pt x="3108" y="17170"/>
                    <a:pt x="3108" y="17170"/>
                  </a:cubicBezTo>
                  <a:cubicBezTo>
                    <a:pt x="3108" y="17055"/>
                    <a:pt x="3108" y="17055"/>
                    <a:pt x="3108" y="16940"/>
                  </a:cubicBezTo>
                  <a:cubicBezTo>
                    <a:pt x="2978" y="16940"/>
                    <a:pt x="2978" y="16940"/>
                    <a:pt x="2848" y="16940"/>
                  </a:cubicBezTo>
                  <a:cubicBezTo>
                    <a:pt x="2718" y="17055"/>
                    <a:pt x="2588" y="17055"/>
                    <a:pt x="2588" y="16940"/>
                  </a:cubicBezTo>
                  <a:cubicBezTo>
                    <a:pt x="2588" y="16940"/>
                    <a:pt x="2588" y="16940"/>
                    <a:pt x="2457" y="16940"/>
                  </a:cubicBezTo>
                  <a:cubicBezTo>
                    <a:pt x="2327" y="16940"/>
                    <a:pt x="2197" y="16940"/>
                    <a:pt x="2197" y="16940"/>
                  </a:cubicBezTo>
                  <a:cubicBezTo>
                    <a:pt x="2197" y="16940"/>
                    <a:pt x="2067" y="16940"/>
                    <a:pt x="1937" y="16940"/>
                  </a:cubicBezTo>
                  <a:cubicBezTo>
                    <a:pt x="1677" y="16825"/>
                    <a:pt x="1677" y="16825"/>
                    <a:pt x="1547" y="16825"/>
                  </a:cubicBezTo>
                  <a:cubicBezTo>
                    <a:pt x="1416" y="16825"/>
                    <a:pt x="1286" y="16825"/>
                    <a:pt x="1286" y="16825"/>
                  </a:cubicBezTo>
                  <a:cubicBezTo>
                    <a:pt x="1286" y="16825"/>
                    <a:pt x="1547" y="16825"/>
                    <a:pt x="1156" y="16710"/>
                  </a:cubicBezTo>
                  <a:cubicBezTo>
                    <a:pt x="766" y="16596"/>
                    <a:pt x="766" y="16596"/>
                    <a:pt x="766" y="16596"/>
                  </a:cubicBezTo>
                  <a:cubicBezTo>
                    <a:pt x="636" y="16596"/>
                    <a:pt x="636" y="16596"/>
                    <a:pt x="636" y="16596"/>
                  </a:cubicBezTo>
                  <a:cubicBezTo>
                    <a:pt x="506" y="16596"/>
                    <a:pt x="506" y="16710"/>
                    <a:pt x="375" y="16596"/>
                  </a:cubicBezTo>
                  <a:cubicBezTo>
                    <a:pt x="375" y="16596"/>
                    <a:pt x="245" y="16481"/>
                    <a:pt x="245" y="16481"/>
                  </a:cubicBezTo>
                  <a:cubicBezTo>
                    <a:pt x="245" y="16366"/>
                    <a:pt x="245" y="16366"/>
                    <a:pt x="375" y="16251"/>
                  </a:cubicBezTo>
                  <a:cubicBezTo>
                    <a:pt x="375" y="16251"/>
                    <a:pt x="636" y="16136"/>
                    <a:pt x="636" y="16136"/>
                  </a:cubicBezTo>
                  <a:cubicBezTo>
                    <a:pt x="636" y="16251"/>
                    <a:pt x="636" y="16251"/>
                    <a:pt x="636" y="16251"/>
                  </a:cubicBezTo>
                  <a:cubicBezTo>
                    <a:pt x="636" y="16251"/>
                    <a:pt x="636" y="16366"/>
                    <a:pt x="766" y="16251"/>
                  </a:cubicBezTo>
                  <a:cubicBezTo>
                    <a:pt x="766" y="16251"/>
                    <a:pt x="896" y="16021"/>
                    <a:pt x="896" y="16021"/>
                  </a:cubicBezTo>
                  <a:cubicBezTo>
                    <a:pt x="896" y="16021"/>
                    <a:pt x="766" y="16021"/>
                    <a:pt x="896" y="15906"/>
                  </a:cubicBezTo>
                  <a:cubicBezTo>
                    <a:pt x="1026" y="15906"/>
                    <a:pt x="1026" y="15906"/>
                    <a:pt x="1156" y="15906"/>
                  </a:cubicBezTo>
                  <a:cubicBezTo>
                    <a:pt x="1156" y="15906"/>
                    <a:pt x="1416" y="15906"/>
                    <a:pt x="1547" y="15906"/>
                  </a:cubicBezTo>
                  <a:cubicBezTo>
                    <a:pt x="1547" y="15791"/>
                    <a:pt x="1807" y="15791"/>
                    <a:pt x="1807" y="15791"/>
                  </a:cubicBezTo>
                  <a:cubicBezTo>
                    <a:pt x="1807" y="15791"/>
                    <a:pt x="1937" y="15906"/>
                    <a:pt x="1807" y="16021"/>
                  </a:cubicBezTo>
                  <a:cubicBezTo>
                    <a:pt x="1807" y="16021"/>
                    <a:pt x="1677" y="16021"/>
                    <a:pt x="1807" y="16136"/>
                  </a:cubicBezTo>
                  <a:cubicBezTo>
                    <a:pt x="1937" y="16136"/>
                    <a:pt x="2067" y="16136"/>
                    <a:pt x="2067" y="16136"/>
                  </a:cubicBezTo>
                  <a:cubicBezTo>
                    <a:pt x="2067" y="16136"/>
                    <a:pt x="2197" y="16021"/>
                    <a:pt x="2197" y="16021"/>
                  </a:cubicBezTo>
                  <a:cubicBezTo>
                    <a:pt x="2327" y="16021"/>
                    <a:pt x="2197" y="15906"/>
                    <a:pt x="2327" y="15906"/>
                  </a:cubicBezTo>
                  <a:cubicBezTo>
                    <a:pt x="2457" y="16021"/>
                    <a:pt x="2457" y="16136"/>
                    <a:pt x="2457" y="16136"/>
                  </a:cubicBezTo>
                  <a:cubicBezTo>
                    <a:pt x="2457" y="16136"/>
                    <a:pt x="2457" y="16136"/>
                    <a:pt x="2457" y="16251"/>
                  </a:cubicBezTo>
                  <a:cubicBezTo>
                    <a:pt x="2588" y="16251"/>
                    <a:pt x="2718" y="16251"/>
                    <a:pt x="2718" y="16366"/>
                  </a:cubicBezTo>
                  <a:cubicBezTo>
                    <a:pt x="2718" y="16366"/>
                    <a:pt x="2588" y="16366"/>
                    <a:pt x="2848" y="16481"/>
                  </a:cubicBezTo>
                  <a:cubicBezTo>
                    <a:pt x="2978" y="16481"/>
                    <a:pt x="3108" y="16481"/>
                    <a:pt x="3108" y="16481"/>
                  </a:cubicBezTo>
                  <a:cubicBezTo>
                    <a:pt x="3108" y="16481"/>
                    <a:pt x="3238" y="16481"/>
                    <a:pt x="3238" y="16366"/>
                  </a:cubicBezTo>
                  <a:cubicBezTo>
                    <a:pt x="3108" y="16251"/>
                    <a:pt x="3108" y="16136"/>
                    <a:pt x="3108" y="16136"/>
                  </a:cubicBezTo>
                  <a:cubicBezTo>
                    <a:pt x="3108" y="16136"/>
                    <a:pt x="3238" y="16021"/>
                    <a:pt x="3238" y="16021"/>
                  </a:cubicBezTo>
                  <a:cubicBezTo>
                    <a:pt x="3238" y="15906"/>
                    <a:pt x="3238" y="15676"/>
                    <a:pt x="3238" y="15676"/>
                  </a:cubicBezTo>
                  <a:cubicBezTo>
                    <a:pt x="3238" y="15676"/>
                    <a:pt x="3368" y="15562"/>
                    <a:pt x="3238" y="15562"/>
                  </a:cubicBezTo>
                  <a:cubicBezTo>
                    <a:pt x="3108" y="15562"/>
                    <a:pt x="3108" y="15447"/>
                    <a:pt x="3108" y="15447"/>
                  </a:cubicBezTo>
                  <a:cubicBezTo>
                    <a:pt x="2978" y="15447"/>
                    <a:pt x="2978" y="15332"/>
                    <a:pt x="2978" y="15332"/>
                  </a:cubicBezTo>
                  <a:cubicBezTo>
                    <a:pt x="3368" y="15332"/>
                    <a:pt x="3368" y="15332"/>
                    <a:pt x="3368" y="15332"/>
                  </a:cubicBezTo>
                  <a:cubicBezTo>
                    <a:pt x="3628" y="15332"/>
                    <a:pt x="3628" y="15332"/>
                    <a:pt x="3628" y="15332"/>
                  </a:cubicBezTo>
                  <a:cubicBezTo>
                    <a:pt x="3889" y="15217"/>
                    <a:pt x="3889" y="15217"/>
                    <a:pt x="3889" y="15217"/>
                  </a:cubicBezTo>
                  <a:cubicBezTo>
                    <a:pt x="3889" y="15217"/>
                    <a:pt x="4019" y="15332"/>
                    <a:pt x="4019" y="15217"/>
                  </a:cubicBezTo>
                  <a:cubicBezTo>
                    <a:pt x="4019" y="15217"/>
                    <a:pt x="4149" y="15102"/>
                    <a:pt x="4149" y="15102"/>
                  </a:cubicBezTo>
                  <a:cubicBezTo>
                    <a:pt x="4409" y="15102"/>
                    <a:pt x="4409" y="15102"/>
                    <a:pt x="4409" y="15102"/>
                  </a:cubicBezTo>
                  <a:cubicBezTo>
                    <a:pt x="4409" y="15102"/>
                    <a:pt x="4279" y="14987"/>
                    <a:pt x="4279" y="14987"/>
                  </a:cubicBezTo>
                  <a:cubicBezTo>
                    <a:pt x="4409" y="14987"/>
                    <a:pt x="4409" y="14757"/>
                    <a:pt x="4409" y="14757"/>
                  </a:cubicBezTo>
                  <a:cubicBezTo>
                    <a:pt x="4409" y="14757"/>
                    <a:pt x="4539" y="14642"/>
                    <a:pt x="4669" y="14757"/>
                  </a:cubicBezTo>
                  <a:cubicBezTo>
                    <a:pt x="4669" y="14757"/>
                    <a:pt x="4930" y="14757"/>
                    <a:pt x="5060" y="14872"/>
                  </a:cubicBezTo>
                  <a:cubicBezTo>
                    <a:pt x="5060" y="14872"/>
                    <a:pt x="5190" y="14872"/>
                    <a:pt x="5190" y="14872"/>
                  </a:cubicBezTo>
                  <a:cubicBezTo>
                    <a:pt x="5450" y="14872"/>
                    <a:pt x="5450" y="14872"/>
                    <a:pt x="5450" y="14872"/>
                  </a:cubicBezTo>
                  <a:cubicBezTo>
                    <a:pt x="5450" y="14872"/>
                    <a:pt x="5710" y="14987"/>
                    <a:pt x="5710" y="14987"/>
                  </a:cubicBezTo>
                  <a:cubicBezTo>
                    <a:pt x="5710" y="14987"/>
                    <a:pt x="5971" y="15102"/>
                    <a:pt x="6101" y="15102"/>
                  </a:cubicBezTo>
                  <a:cubicBezTo>
                    <a:pt x="6101" y="15102"/>
                    <a:pt x="6231" y="14987"/>
                    <a:pt x="6231" y="14987"/>
                  </a:cubicBezTo>
                  <a:cubicBezTo>
                    <a:pt x="6231" y="14987"/>
                    <a:pt x="6231" y="14872"/>
                    <a:pt x="6361" y="14987"/>
                  </a:cubicBezTo>
                  <a:cubicBezTo>
                    <a:pt x="6491" y="14987"/>
                    <a:pt x="6621" y="14987"/>
                    <a:pt x="6751" y="14987"/>
                  </a:cubicBezTo>
                  <a:cubicBezTo>
                    <a:pt x="6751" y="14872"/>
                    <a:pt x="6751" y="14872"/>
                    <a:pt x="6882" y="14872"/>
                  </a:cubicBezTo>
                  <a:cubicBezTo>
                    <a:pt x="7012" y="14987"/>
                    <a:pt x="7142" y="14987"/>
                    <a:pt x="7142" y="14987"/>
                  </a:cubicBezTo>
                  <a:cubicBezTo>
                    <a:pt x="7272" y="14987"/>
                    <a:pt x="7532" y="14872"/>
                    <a:pt x="7532" y="14872"/>
                  </a:cubicBezTo>
                  <a:cubicBezTo>
                    <a:pt x="7532" y="14872"/>
                    <a:pt x="7402" y="14757"/>
                    <a:pt x="7532" y="14872"/>
                  </a:cubicBezTo>
                  <a:cubicBezTo>
                    <a:pt x="7662" y="14872"/>
                    <a:pt x="7792" y="14757"/>
                    <a:pt x="7792" y="14757"/>
                  </a:cubicBezTo>
                  <a:cubicBezTo>
                    <a:pt x="7532" y="14642"/>
                    <a:pt x="7532" y="14642"/>
                    <a:pt x="7532" y="14642"/>
                  </a:cubicBezTo>
                  <a:cubicBezTo>
                    <a:pt x="7532" y="14642"/>
                    <a:pt x="7662" y="14413"/>
                    <a:pt x="7662" y="14413"/>
                  </a:cubicBezTo>
                  <a:cubicBezTo>
                    <a:pt x="7662" y="14413"/>
                    <a:pt x="7532" y="14298"/>
                    <a:pt x="7532" y="14298"/>
                  </a:cubicBezTo>
                  <a:cubicBezTo>
                    <a:pt x="7532" y="14298"/>
                    <a:pt x="7402" y="14298"/>
                    <a:pt x="7402" y="14413"/>
                  </a:cubicBezTo>
                  <a:cubicBezTo>
                    <a:pt x="7402" y="14527"/>
                    <a:pt x="7272" y="14642"/>
                    <a:pt x="7142" y="14642"/>
                  </a:cubicBezTo>
                  <a:cubicBezTo>
                    <a:pt x="7142" y="14642"/>
                    <a:pt x="7012" y="14757"/>
                    <a:pt x="6882" y="14757"/>
                  </a:cubicBezTo>
                  <a:cubicBezTo>
                    <a:pt x="6882" y="14757"/>
                    <a:pt x="6751" y="14872"/>
                    <a:pt x="6751" y="14872"/>
                  </a:cubicBezTo>
                  <a:cubicBezTo>
                    <a:pt x="6751" y="14872"/>
                    <a:pt x="6751" y="14987"/>
                    <a:pt x="6491" y="14872"/>
                  </a:cubicBezTo>
                  <a:cubicBezTo>
                    <a:pt x="6361" y="14757"/>
                    <a:pt x="6231" y="14757"/>
                    <a:pt x="6231" y="14757"/>
                  </a:cubicBezTo>
                  <a:cubicBezTo>
                    <a:pt x="6231" y="14757"/>
                    <a:pt x="6231" y="14642"/>
                    <a:pt x="6101" y="14757"/>
                  </a:cubicBezTo>
                  <a:cubicBezTo>
                    <a:pt x="5841" y="14757"/>
                    <a:pt x="5971" y="14872"/>
                    <a:pt x="5841" y="14757"/>
                  </a:cubicBezTo>
                  <a:cubicBezTo>
                    <a:pt x="5710" y="14757"/>
                    <a:pt x="5320" y="14757"/>
                    <a:pt x="5320" y="14642"/>
                  </a:cubicBezTo>
                  <a:cubicBezTo>
                    <a:pt x="5320" y="14642"/>
                    <a:pt x="5190" y="14527"/>
                    <a:pt x="5190" y="14527"/>
                  </a:cubicBezTo>
                  <a:cubicBezTo>
                    <a:pt x="5190" y="14527"/>
                    <a:pt x="5190" y="14298"/>
                    <a:pt x="5190" y="14298"/>
                  </a:cubicBezTo>
                  <a:cubicBezTo>
                    <a:pt x="5060" y="14413"/>
                    <a:pt x="4930" y="14527"/>
                    <a:pt x="4800" y="14527"/>
                  </a:cubicBezTo>
                  <a:cubicBezTo>
                    <a:pt x="4800" y="14527"/>
                    <a:pt x="4539" y="14527"/>
                    <a:pt x="4409" y="14527"/>
                  </a:cubicBezTo>
                  <a:cubicBezTo>
                    <a:pt x="4409" y="14527"/>
                    <a:pt x="4409" y="14527"/>
                    <a:pt x="4279" y="14527"/>
                  </a:cubicBezTo>
                  <a:cubicBezTo>
                    <a:pt x="4149" y="14527"/>
                    <a:pt x="4019" y="14642"/>
                    <a:pt x="3889" y="14642"/>
                  </a:cubicBezTo>
                  <a:cubicBezTo>
                    <a:pt x="3759" y="14642"/>
                    <a:pt x="3759" y="14527"/>
                    <a:pt x="3628" y="14527"/>
                  </a:cubicBezTo>
                  <a:cubicBezTo>
                    <a:pt x="3498" y="14527"/>
                    <a:pt x="3498" y="14527"/>
                    <a:pt x="3498" y="14527"/>
                  </a:cubicBezTo>
                  <a:cubicBezTo>
                    <a:pt x="3498" y="14527"/>
                    <a:pt x="3498" y="14527"/>
                    <a:pt x="3498" y="14527"/>
                  </a:cubicBezTo>
                  <a:cubicBezTo>
                    <a:pt x="3498" y="14527"/>
                    <a:pt x="3498" y="14298"/>
                    <a:pt x="3759" y="14298"/>
                  </a:cubicBezTo>
                  <a:cubicBezTo>
                    <a:pt x="3889" y="14183"/>
                    <a:pt x="3759" y="14183"/>
                    <a:pt x="4019" y="14183"/>
                  </a:cubicBezTo>
                  <a:cubicBezTo>
                    <a:pt x="4279" y="14183"/>
                    <a:pt x="4409" y="14183"/>
                    <a:pt x="4539" y="14068"/>
                  </a:cubicBezTo>
                  <a:cubicBezTo>
                    <a:pt x="4669" y="13953"/>
                    <a:pt x="4669" y="13838"/>
                    <a:pt x="4800" y="13838"/>
                  </a:cubicBezTo>
                  <a:cubicBezTo>
                    <a:pt x="4930" y="13723"/>
                    <a:pt x="4930" y="13608"/>
                    <a:pt x="5060" y="13723"/>
                  </a:cubicBezTo>
                  <a:cubicBezTo>
                    <a:pt x="5320" y="13723"/>
                    <a:pt x="5580" y="13723"/>
                    <a:pt x="5580" y="13723"/>
                  </a:cubicBezTo>
                  <a:cubicBezTo>
                    <a:pt x="5580" y="13723"/>
                    <a:pt x="5580" y="13608"/>
                    <a:pt x="5580" y="13493"/>
                  </a:cubicBezTo>
                  <a:cubicBezTo>
                    <a:pt x="5580" y="13493"/>
                    <a:pt x="5580" y="13493"/>
                    <a:pt x="5580" y="13379"/>
                  </a:cubicBezTo>
                  <a:cubicBezTo>
                    <a:pt x="5710" y="13379"/>
                    <a:pt x="5710" y="13264"/>
                    <a:pt x="5710" y="13264"/>
                  </a:cubicBezTo>
                  <a:cubicBezTo>
                    <a:pt x="5841" y="13264"/>
                    <a:pt x="5841" y="13149"/>
                    <a:pt x="5971" y="13149"/>
                  </a:cubicBezTo>
                  <a:cubicBezTo>
                    <a:pt x="5971" y="13034"/>
                    <a:pt x="6101" y="13034"/>
                    <a:pt x="6101" y="12919"/>
                  </a:cubicBezTo>
                  <a:cubicBezTo>
                    <a:pt x="6231" y="12919"/>
                    <a:pt x="6231" y="12804"/>
                    <a:pt x="6231" y="12804"/>
                  </a:cubicBezTo>
                  <a:cubicBezTo>
                    <a:pt x="6231" y="12804"/>
                    <a:pt x="5841" y="12689"/>
                    <a:pt x="5841" y="12689"/>
                  </a:cubicBezTo>
                  <a:cubicBezTo>
                    <a:pt x="5971" y="12574"/>
                    <a:pt x="5971" y="12574"/>
                    <a:pt x="5971" y="12574"/>
                  </a:cubicBezTo>
                  <a:cubicBezTo>
                    <a:pt x="6491" y="12230"/>
                    <a:pt x="6491" y="12230"/>
                    <a:pt x="6491" y="12230"/>
                  </a:cubicBezTo>
                  <a:cubicBezTo>
                    <a:pt x="6491" y="12230"/>
                    <a:pt x="6621" y="12000"/>
                    <a:pt x="6621" y="12000"/>
                  </a:cubicBezTo>
                  <a:cubicBezTo>
                    <a:pt x="6751" y="12000"/>
                    <a:pt x="6882" y="11885"/>
                    <a:pt x="6882" y="11885"/>
                  </a:cubicBezTo>
                  <a:cubicBezTo>
                    <a:pt x="7012" y="11655"/>
                    <a:pt x="7012" y="11655"/>
                    <a:pt x="7012" y="11655"/>
                  </a:cubicBezTo>
                  <a:cubicBezTo>
                    <a:pt x="7012" y="11655"/>
                    <a:pt x="7012" y="11540"/>
                    <a:pt x="7142" y="11655"/>
                  </a:cubicBezTo>
                  <a:cubicBezTo>
                    <a:pt x="7272" y="11655"/>
                    <a:pt x="7272" y="11770"/>
                    <a:pt x="7402" y="11770"/>
                  </a:cubicBezTo>
                  <a:cubicBezTo>
                    <a:pt x="7532" y="11885"/>
                    <a:pt x="7922" y="11885"/>
                    <a:pt x="7922" y="11885"/>
                  </a:cubicBezTo>
                  <a:cubicBezTo>
                    <a:pt x="7792" y="11655"/>
                    <a:pt x="7792" y="11655"/>
                    <a:pt x="7792" y="11655"/>
                  </a:cubicBezTo>
                  <a:cubicBezTo>
                    <a:pt x="8313" y="11655"/>
                    <a:pt x="8313" y="11655"/>
                    <a:pt x="8313" y="11655"/>
                  </a:cubicBezTo>
                  <a:cubicBezTo>
                    <a:pt x="8313" y="11885"/>
                    <a:pt x="8313" y="11885"/>
                    <a:pt x="8313" y="11885"/>
                  </a:cubicBezTo>
                  <a:cubicBezTo>
                    <a:pt x="8573" y="11770"/>
                    <a:pt x="8573" y="11770"/>
                    <a:pt x="8573" y="11770"/>
                  </a:cubicBezTo>
                  <a:cubicBezTo>
                    <a:pt x="8443" y="11540"/>
                    <a:pt x="8443" y="11540"/>
                    <a:pt x="8443" y="11540"/>
                  </a:cubicBezTo>
                  <a:cubicBezTo>
                    <a:pt x="8443" y="11540"/>
                    <a:pt x="8703" y="11540"/>
                    <a:pt x="8703" y="11540"/>
                  </a:cubicBezTo>
                  <a:cubicBezTo>
                    <a:pt x="8573" y="11540"/>
                    <a:pt x="8313" y="11310"/>
                    <a:pt x="8313" y="11310"/>
                  </a:cubicBezTo>
                  <a:cubicBezTo>
                    <a:pt x="8443" y="11081"/>
                    <a:pt x="8443" y="11081"/>
                    <a:pt x="8443" y="11081"/>
                  </a:cubicBezTo>
                  <a:cubicBezTo>
                    <a:pt x="8183" y="11081"/>
                    <a:pt x="8183" y="11081"/>
                    <a:pt x="8183" y="11081"/>
                  </a:cubicBezTo>
                  <a:cubicBezTo>
                    <a:pt x="8183" y="11081"/>
                    <a:pt x="7662" y="11081"/>
                    <a:pt x="7532" y="11081"/>
                  </a:cubicBezTo>
                  <a:cubicBezTo>
                    <a:pt x="7402" y="10966"/>
                    <a:pt x="7402" y="10966"/>
                    <a:pt x="7272" y="10966"/>
                  </a:cubicBezTo>
                  <a:cubicBezTo>
                    <a:pt x="7142" y="10966"/>
                    <a:pt x="7012" y="10966"/>
                    <a:pt x="6882" y="10966"/>
                  </a:cubicBezTo>
                  <a:cubicBezTo>
                    <a:pt x="6751" y="10966"/>
                    <a:pt x="6621" y="10966"/>
                    <a:pt x="6491" y="10966"/>
                  </a:cubicBezTo>
                  <a:cubicBezTo>
                    <a:pt x="6491" y="10966"/>
                    <a:pt x="6361" y="10966"/>
                    <a:pt x="6231" y="10966"/>
                  </a:cubicBezTo>
                  <a:cubicBezTo>
                    <a:pt x="6231" y="10851"/>
                    <a:pt x="6361" y="10736"/>
                    <a:pt x="6231" y="10736"/>
                  </a:cubicBezTo>
                  <a:cubicBezTo>
                    <a:pt x="6101" y="10736"/>
                    <a:pt x="5971" y="10506"/>
                    <a:pt x="5841" y="10621"/>
                  </a:cubicBezTo>
                  <a:cubicBezTo>
                    <a:pt x="5841" y="10621"/>
                    <a:pt x="5841" y="10621"/>
                    <a:pt x="5710" y="10621"/>
                  </a:cubicBezTo>
                  <a:cubicBezTo>
                    <a:pt x="5710" y="10736"/>
                    <a:pt x="5580" y="10736"/>
                    <a:pt x="5580" y="10736"/>
                  </a:cubicBezTo>
                  <a:cubicBezTo>
                    <a:pt x="5450" y="10621"/>
                    <a:pt x="5450" y="10736"/>
                    <a:pt x="5580" y="10621"/>
                  </a:cubicBezTo>
                  <a:cubicBezTo>
                    <a:pt x="5580" y="10506"/>
                    <a:pt x="5450" y="10276"/>
                    <a:pt x="5580" y="10276"/>
                  </a:cubicBezTo>
                  <a:cubicBezTo>
                    <a:pt x="5710" y="10391"/>
                    <a:pt x="5710" y="10391"/>
                    <a:pt x="5841" y="10391"/>
                  </a:cubicBezTo>
                  <a:cubicBezTo>
                    <a:pt x="5841" y="10391"/>
                    <a:pt x="5971" y="10391"/>
                    <a:pt x="5971" y="10391"/>
                  </a:cubicBezTo>
                  <a:cubicBezTo>
                    <a:pt x="5971" y="10276"/>
                    <a:pt x="6101" y="10047"/>
                    <a:pt x="6101" y="10047"/>
                  </a:cubicBezTo>
                  <a:cubicBezTo>
                    <a:pt x="6101" y="10047"/>
                    <a:pt x="6491" y="10162"/>
                    <a:pt x="6361" y="10047"/>
                  </a:cubicBezTo>
                  <a:cubicBezTo>
                    <a:pt x="6231" y="9932"/>
                    <a:pt x="5971" y="9817"/>
                    <a:pt x="5971" y="9817"/>
                  </a:cubicBezTo>
                  <a:cubicBezTo>
                    <a:pt x="5971" y="9817"/>
                    <a:pt x="5841" y="9817"/>
                    <a:pt x="5841" y="9932"/>
                  </a:cubicBezTo>
                  <a:cubicBezTo>
                    <a:pt x="5710" y="10047"/>
                    <a:pt x="5841" y="10047"/>
                    <a:pt x="5710" y="10162"/>
                  </a:cubicBezTo>
                  <a:cubicBezTo>
                    <a:pt x="5580" y="10162"/>
                    <a:pt x="5580" y="10162"/>
                    <a:pt x="5450" y="10162"/>
                  </a:cubicBezTo>
                  <a:cubicBezTo>
                    <a:pt x="5450" y="10162"/>
                    <a:pt x="5450" y="10162"/>
                    <a:pt x="5320" y="10162"/>
                  </a:cubicBezTo>
                  <a:cubicBezTo>
                    <a:pt x="5320" y="10162"/>
                    <a:pt x="5060" y="10162"/>
                    <a:pt x="5060" y="10047"/>
                  </a:cubicBezTo>
                  <a:cubicBezTo>
                    <a:pt x="5060" y="10047"/>
                    <a:pt x="5060" y="10047"/>
                    <a:pt x="5060" y="9932"/>
                  </a:cubicBezTo>
                  <a:cubicBezTo>
                    <a:pt x="5060" y="9817"/>
                    <a:pt x="5060" y="9702"/>
                    <a:pt x="5320" y="9702"/>
                  </a:cubicBezTo>
                  <a:cubicBezTo>
                    <a:pt x="5450" y="9702"/>
                    <a:pt x="5450" y="9817"/>
                    <a:pt x="5450" y="9702"/>
                  </a:cubicBezTo>
                  <a:cubicBezTo>
                    <a:pt x="5450" y="9702"/>
                    <a:pt x="5450" y="9587"/>
                    <a:pt x="5320" y="9587"/>
                  </a:cubicBezTo>
                  <a:cubicBezTo>
                    <a:pt x="5320" y="9472"/>
                    <a:pt x="5320" y="9472"/>
                    <a:pt x="5190" y="9472"/>
                  </a:cubicBezTo>
                  <a:cubicBezTo>
                    <a:pt x="5060" y="9472"/>
                    <a:pt x="4800" y="9587"/>
                    <a:pt x="4800" y="9587"/>
                  </a:cubicBezTo>
                  <a:cubicBezTo>
                    <a:pt x="4800" y="9587"/>
                    <a:pt x="4930" y="9587"/>
                    <a:pt x="4669" y="9587"/>
                  </a:cubicBezTo>
                  <a:cubicBezTo>
                    <a:pt x="4539" y="9472"/>
                    <a:pt x="4669" y="9472"/>
                    <a:pt x="4539" y="9357"/>
                  </a:cubicBezTo>
                  <a:cubicBezTo>
                    <a:pt x="4539" y="9242"/>
                    <a:pt x="4539" y="9242"/>
                    <a:pt x="4409" y="9242"/>
                  </a:cubicBezTo>
                  <a:cubicBezTo>
                    <a:pt x="4409" y="9242"/>
                    <a:pt x="4409" y="9242"/>
                    <a:pt x="4279" y="9242"/>
                  </a:cubicBezTo>
                  <a:cubicBezTo>
                    <a:pt x="4149" y="9127"/>
                    <a:pt x="4019" y="9127"/>
                    <a:pt x="4019" y="9013"/>
                  </a:cubicBezTo>
                  <a:cubicBezTo>
                    <a:pt x="4019" y="8898"/>
                    <a:pt x="4019" y="8783"/>
                    <a:pt x="4149" y="8898"/>
                  </a:cubicBezTo>
                  <a:cubicBezTo>
                    <a:pt x="4279" y="8898"/>
                    <a:pt x="4149" y="8783"/>
                    <a:pt x="4279" y="8898"/>
                  </a:cubicBezTo>
                  <a:cubicBezTo>
                    <a:pt x="4539" y="9013"/>
                    <a:pt x="4539" y="9013"/>
                    <a:pt x="4539" y="9013"/>
                  </a:cubicBezTo>
                  <a:cubicBezTo>
                    <a:pt x="4539" y="9013"/>
                    <a:pt x="4669" y="9013"/>
                    <a:pt x="4539" y="8898"/>
                  </a:cubicBezTo>
                  <a:cubicBezTo>
                    <a:pt x="4539" y="8783"/>
                    <a:pt x="4409" y="8668"/>
                    <a:pt x="4409" y="8668"/>
                  </a:cubicBezTo>
                  <a:cubicBezTo>
                    <a:pt x="4409" y="8668"/>
                    <a:pt x="4279" y="8668"/>
                    <a:pt x="4279" y="8553"/>
                  </a:cubicBezTo>
                  <a:cubicBezTo>
                    <a:pt x="4279" y="8438"/>
                    <a:pt x="4279" y="8438"/>
                    <a:pt x="4149" y="8323"/>
                  </a:cubicBezTo>
                  <a:cubicBezTo>
                    <a:pt x="4149" y="8323"/>
                    <a:pt x="4279" y="8323"/>
                    <a:pt x="4279" y="8323"/>
                  </a:cubicBezTo>
                  <a:cubicBezTo>
                    <a:pt x="4409" y="8323"/>
                    <a:pt x="4279" y="8323"/>
                    <a:pt x="4409" y="8323"/>
                  </a:cubicBezTo>
                  <a:cubicBezTo>
                    <a:pt x="4669" y="8323"/>
                    <a:pt x="4539" y="8323"/>
                    <a:pt x="4669" y="8323"/>
                  </a:cubicBezTo>
                  <a:cubicBezTo>
                    <a:pt x="4669" y="8323"/>
                    <a:pt x="4800" y="8323"/>
                    <a:pt x="4800" y="8323"/>
                  </a:cubicBezTo>
                  <a:cubicBezTo>
                    <a:pt x="4800" y="8438"/>
                    <a:pt x="4930" y="8208"/>
                    <a:pt x="4930" y="8208"/>
                  </a:cubicBezTo>
                  <a:cubicBezTo>
                    <a:pt x="4930" y="8208"/>
                    <a:pt x="4800" y="8093"/>
                    <a:pt x="4930" y="8093"/>
                  </a:cubicBezTo>
                  <a:cubicBezTo>
                    <a:pt x="5060" y="8093"/>
                    <a:pt x="5060" y="8208"/>
                    <a:pt x="5190" y="8208"/>
                  </a:cubicBezTo>
                  <a:cubicBezTo>
                    <a:pt x="5450" y="8208"/>
                    <a:pt x="5450" y="8323"/>
                    <a:pt x="5580" y="8323"/>
                  </a:cubicBezTo>
                  <a:cubicBezTo>
                    <a:pt x="5580" y="8208"/>
                    <a:pt x="5710" y="8323"/>
                    <a:pt x="5710" y="8208"/>
                  </a:cubicBezTo>
                  <a:cubicBezTo>
                    <a:pt x="5580" y="8093"/>
                    <a:pt x="5580" y="8208"/>
                    <a:pt x="5580" y="8093"/>
                  </a:cubicBezTo>
                  <a:cubicBezTo>
                    <a:pt x="5450" y="7979"/>
                    <a:pt x="5450" y="8093"/>
                    <a:pt x="5450" y="7864"/>
                  </a:cubicBezTo>
                  <a:cubicBezTo>
                    <a:pt x="5580" y="7749"/>
                    <a:pt x="5580" y="7634"/>
                    <a:pt x="5580" y="7634"/>
                  </a:cubicBezTo>
                  <a:cubicBezTo>
                    <a:pt x="5580" y="7519"/>
                    <a:pt x="5580" y="7519"/>
                    <a:pt x="5580" y="7519"/>
                  </a:cubicBezTo>
                  <a:cubicBezTo>
                    <a:pt x="5841" y="7289"/>
                    <a:pt x="5841" y="7289"/>
                    <a:pt x="5841" y="7289"/>
                  </a:cubicBezTo>
                  <a:cubicBezTo>
                    <a:pt x="5841" y="7289"/>
                    <a:pt x="5971" y="7289"/>
                    <a:pt x="6101" y="7289"/>
                  </a:cubicBezTo>
                  <a:cubicBezTo>
                    <a:pt x="6361" y="7289"/>
                    <a:pt x="6491" y="7404"/>
                    <a:pt x="6621" y="7404"/>
                  </a:cubicBezTo>
                  <a:cubicBezTo>
                    <a:pt x="6882" y="7404"/>
                    <a:pt x="7012" y="7404"/>
                    <a:pt x="7012" y="7404"/>
                  </a:cubicBezTo>
                  <a:cubicBezTo>
                    <a:pt x="6882" y="7289"/>
                    <a:pt x="6882" y="7289"/>
                    <a:pt x="6882" y="7289"/>
                  </a:cubicBezTo>
                  <a:cubicBezTo>
                    <a:pt x="6882" y="7289"/>
                    <a:pt x="6882" y="7289"/>
                    <a:pt x="6882" y="7174"/>
                  </a:cubicBezTo>
                  <a:cubicBezTo>
                    <a:pt x="7012" y="7174"/>
                    <a:pt x="7012" y="7174"/>
                    <a:pt x="7142" y="7174"/>
                  </a:cubicBezTo>
                  <a:cubicBezTo>
                    <a:pt x="7142" y="7174"/>
                    <a:pt x="7272" y="6945"/>
                    <a:pt x="7272" y="6945"/>
                  </a:cubicBezTo>
                  <a:cubicBezTo>
                    <a:pt x="7142" y="6830"/>
                    <a:pt x="7142" y="6830"/>
                    <a:pt x="7012" y="6715"/>
                  </a:cubicBezTo>
                  <a:cubicBezTo>
                    <a:pt x="6751" y="6715"/>
                    <a:pt x="6361" y="6715"/>
                    <a:pt x="6361" y="6715"/>
                  </a:cubicBezTo>
                  <a:cubicBezTo>
                    <a:pt x="6361" y="6715"/>
                    <a:pt x="6231" y="6715"/>
                    <a:pt x="6101" y="6715"/>
                  </a:cubicBezTo>
                  <a:cubicBezTo>
                    <a:pt x="5971" y="6715"/>
                    <a:pt x="5710" y="6715"/>
                    <a:pt x="5710" y="6600"/>
                  </a:cubicBezTo>
                  <a:cubicBezTo>
                    <a:pt x="5580" y="6600"/>
                    <a:pt x="5580" y="6600"/>
                    <a:pt x="5580" y="6370"/>
                  </a:cubicBezTo>
                  <a:cubicBezTo>
                    <a:pt x="5580" y="6255"/>
                    <a:pt x="5450" y="6255"/>
                    <a:pt x="5450" y="6255"/>
                  </a:cubicBezTo>
                  <a:cubicBezTo>
                    <a:pt x="5580" y="6025"/>
                    <a:pt x="5580" y="6025"/>
                    <a:pt x="5580" y="6025"/>
                  </a:cubicBezTo>
                  <a:cubicBezTo>
                    <a:pt x="5580" y="6025"/>
                    <a:pt x="5450" y="5910"/>
                    <a:pt x="5450" y="5910"/>
                  </a:cubicBezTo>
                  <a:cubicBezTo>
                    <a:pt x="5320" y="5910"/>
                    <a:pt x="5320" y="5910"/>
                    <a:pt x="5320" y="5910"/>
                  </a:cubicBezTo>
                  <a:cubicBezTo>
                    <a:pt x="5190" y="5910"/>
                    <a:pt x="5320" y="5910"/>
                    <a:pt x="5060" y="5796"/>
                  </a:cubicBezTo>
                  <a:cubicBezTo>
                    <a:pt x="4800" y="5796"/>
                    <a:pt x="4669" y="5681"/>
                    <a:pt x="4669" y="5681"/>
                  </a:cubicBezTo>
                  <a:cubicBezTo>
                    <a:pt x="4669" y="5566"/>
                    <a:pt x="4669" y="5566"/>
                    <a:pt x="4930" y="5566"/>
                  </a:cubicBezTo>
                  <a:cubicBezTo>
                    <a:pt x="5060" y="5566"/>
                    <a:pt x="5190" y="5566"/>
                    <a:pt x="5320" y="5566"/>
                  </a:cubicBezTo>
                  <a:cubicBezTo>
                    <a:pt x="5450" y="5681"/>
                    <a:pt x="5710" y="5566"/>
                    <a:pt x="5710" y="5566"/>
                  </a:cubicBezTo>
                  <a:cubicBezTo>
                    <a:pt x="5710" y="5566"/>
                    <a:pt x="5580" y="5566"/>
                    <a:pt x="5841" y="5681"/>
                  </a:cubicBezTo>
                  <a:cubicBezTo>
                    <a:pt x="6101" y="5796"/>
                    <a:pt x="5971" y="5796"/>
                    <a:pt x="6101" y="5796"/>
                  </a:cubicBezTo>
                  <a:cubicBezTo>
                    <a:pt x="6231" y="5796"/>
                    <a:pt x="6361" y="5681"/>
                    <a:pt x="6231" y="5681"/>
                  </a:cubicBezTo>
                  <a:cubicBezTo>
                    <a:pt x="6231" y="5566"/>
                    <a:pt x="6361" y="5566"/>
                    <a:pt x="6231" y="5566"/>
                  </a:cubicBezTo>
                  <a:cubicBezTo>
                    <a:pt x="6101" y="5451"/>
                    <a:pt x="6101" y="5451"/>
                    <a:pt x="6101" y="5451"/>
                  </a:cubicBezTo>
                  <a:cubicBezTo>
                    <a:pt x="6101" y="5451"/>
                    <a:pt x="6101" y="5451"/>
                    <a:pt x="6101" y="5336"/>
                  </a:cubicBezTo>
                  <a:cubicBezTo>
                    <a:pt x="6101" y="5221"/>
                    <a:pt x="6231" y="5106"/>
                    <a:pt x="6231" y="5106"/>
                  </a:cubicBezTo>
                  <a:cubicBezTo>
                    <a:pt x="6361" y="5106"/>
                    <a:pt x="6361" y="5106"/>
                    <a:pt x="6361" y="4991"/>
                  </a:cubicBezTo>
                  <a:cubicBezTo>
                    <a:pt x="6361" y="4991"/>
                    <a:pt x="6361" y="4876"/>
                    <a:pt x="6361" y="4876"/>
                  </a:cubicBezTo>
                  <a:cubicBezTo>
                    <a:pt x="6361" y="4762"/>
                    <a:pt x="6491" y="4647"/>
                    <a:pt x="6491" y="4647"/>
                  </a:cubicBezTo>
                  <a:cubicBezTo>
                    <a:pt x="6491" y="4647"/>
                    <a:pt x="6361" y="4532"/>
                    <a:pt x="6361" y="4532"/>
                  </a:cubicBezTo>
                  <a:cubicBezTo>
                    <a:pt x="6361" y="4532"/>
                    <a:pt x="6101" y="4532"/>
                    <a:pt x="6101" y="4647"/>
                  </a:cubicBezTo>
                  <a:cubicBezTo>
                    <a:pt x="6101" y="4647"/>
                    <a:pt x="6101" y="4647"/>
                    <a:pt x="6101" y="4762"/>
                  </a:cubicBezTo>
                  <a:cubicBezTo>
                    <a:pt x="5971" y="4762"/>
                    <a:pt x="5971" y="4762"/>
                    <a:pt x="5841" y="4762"/>
                  </a:cubicBezTo>
                  <a:cubicBezTo>
                    <a:pt x="5841" y="4876"/>
                    <a:pt x="5841" y="4876"/>
                    <a:pt x="5841" y="4876"/>
                  </a:cubicBezTo>
                  <a:cubicBezTo>
                    <a:pt x="5841" y="4991"/>
                    <a:pt x="5710" y="5106"/>
                    <a:pt x="5710" y="5106"/>
                  </a:cubicBezTo>
                  <a:cubicBezTo>
                    <a:pt x="5710" y="5106"/>
                    <a:pt x="5580" y="4876"/>
                    <a:pt x="5580" y="4762"/>
                  </a:cubicBezTo>
                  <a:cubicBezTo>
                    <a:pt x="5580" y="4762"/>
                    <a:pt x="5710" y="4647"/>
                    <a:pt x="5841" y="4647"/>
                  </a:cubicBezTo>
                  <a:cubicBezTo>
                    <a:pt x="5971" y="4647"/>
                    <a:pt x="5971" y="4647"/>
                    <a:pt x="5971" y="4532"/>
                  </a:cubicBezTo>
                  <a:cubicBezTo>
                    <a:pt x="5971" y="4532"/>
                    <a:pt x="5971" y="4532"/>
                    <a:pt x="5971" y="4417"/>
                  </a:cubicBezTo>
                  <a:cubicBezTo>
                    <a:pt x="5971" y="4302"/>
                    <a:pt x="5971" y="4302"/>
                    <a:pt x="5971" y="4302"/>
                  </a:cubicBezTo>
                  <a:cubicBezTo>
                    <a:pt x="6101" y="4187"/>
                    <a:pt x="6231" y="4072"/>
                    <a:pt x="6361" y="4072"/>
                  </a:cubicBezTo>
                  <a:cubicBezTo>
                    <a:pt x="6361" y="4072"/>
                    <a:pt x="6231" y="3842"/>
                    <a:pt x="6491" y="4072"/>
                  </a:cubicBezTo>
                  <a:cubicBezTo>
                    <a:pt x="6621" y="4187"/>
                    <a:pt x="6621" y="4187"/>
                    <a:pt x="6751" y="4302"/>
                  </a:cubicBezTo>
                  <a:cubicBezTo>
                    <a:pt x="6882" y="4302"/>
                    <a:pt x="7142" y="4417"/>
                    <a:pt x="7142" y="4302"/>
                  </a:cubicBezTo>
                  <a:cubicBezTo>
                    <a:pt x="7142" y="4302"/>
                    <a:pt x="7142" y="4187"/>
                    <a:pt x="7142" y="4072"/>
                  </a:cubicBezTo>
                  <a:cubicBezTo>
                    <a:pt x="7142" y="4072"/>
                    <a:pt x="7012" y="4072"/>
                    <a:pt x="7142" y="3957"/>
                  </a:cubicBezTo>
                  <a:cubicBezTo>
                    <a:pt x="7142" y="3957"/>
                    <a:pt x="7142" y="3957"/>
                    <a:pt x="7272" y="3957"/>
                  </a:cubicBezTo>
                  <a:cubicBezTo>
                    <a:pt x="7532" y="4072"/>
                    <a:pt x="7402" y="4072"/>
                    <a:pt x="7532" y="4187"/>
                  </a:cubicBezTo>
                  <a:cubicBezTo>
                    <a:pt x="7792" y="4302"/>
                    <a:pt x="7792" y="4302"/>
                    <a:pt x="7792" y="4302"/>
                  </a:cubicBezTo>
                  <a:cubicBezTo>
                    <a:pt x="7922" y="4302"/>
                    <a:pt x="7922" y="4302"/>
                    <a:pt x="8053" y="4302"/>
                  </a:cubicBezTo>
                  <a:cubicBezTo>
                    <a:pt x="8183" y="4302"/>
                    <a:pt x="8053" y="4187"/>
                    <a:pt x="8313" y="4417"/>
                  </a:cubicBezTo>
                  <a:cubicBezTo>
                    <a:pt x="8443" y="4532"/>
                    <a:pt x="8443" y="4532"/>
                    <a:pt x="8573" y="4532"/>
                  </a:cubicBezTo>
                  <a:cubicBezTo>
                    <a:pt x="8703" y="4647"/>
                    <a:pt x="8963" y="4532"/>
                    <a:pt x="8963" y="4532"/>
                  </a:cubicBezTo>
                  <a:cubicBezTo>
                    <a:pt x="8963" y="4532"/>
                    <a:pt x="8963" y="4417"/>
                    <a:pt x="9094" y="4647"/>
                  </a:cubicBezTo>
                  <a:cubicBezTo>
                    <a:pt x="9224" y="4876"/>
                    <a:pt x="9354" y="4876"/>
                    <a:pt x="9354" y="4876"/>
                  </a:cubicBezTo>
                  <a:cubicBezTo>
                    <a:pt x="9354" y="4991"/>
                    <a:pt x="9484" y="5106"/>
                    <a:pt x="9484" y="5106"/>
                  </a:cubicBezTo>
                  <a:cubicBezTo>
                    <a:pt x="9484" y="5106"/>
                    <a:pt x="9484" y="5106"/>
                    <a:pt x="9484" y="5221"/>
                  </a:cubicBezTo>
                  <a:cubicBezTo>
                    <a:pt x="9484" y="5221"/>
                    <a:pt x="9484" y="5336"/>
                    <a:pt x="9614" y="5336"/>
                  </a:cubicBezTo>
                  <a:cubicBezTo>
                    <a:pt x="9614" y="5336"/>
                    <a:pt x="9744" y="5336"/>
                    <a:pt x="9744" y="5336"/>
                  </a:cubicBezTo>
                  <a:cubicBezTo>
                    <a:pt x="9744" y="5336"/>
                    <a:pt x="9874" y="5221"/>
                    <a:pt x="9874" y="5221"/>
                  </a:cubicBezTo>
                  <a:cubicBezTo>
                    <a:pt x="9874" y="5221"/>
                    <a:pt x="10135" y="5106"/>
                    <a:pt x="10135" y="5106"/>
                  </a:cubicBezTo>
                  <a:cubicBezTo>
                    <a:pt x="10135" y="5106"/>
                    <a:pt x="10135" y="4991"/>
                    <a:pt x="10395" y="5106"/>
                  </a:cubicBezTo>
                  <a:cubicBezTo>
                    <a:pt x="10525" y="5106"/>
                    <a:pt x="10785" y="5221"/>
                    <a:pt x="10785" y="5221"/>
                  </a:cubicBezTo>
                  <a:cubicBezTo>
                    <a:pt x="10785" y="5221"/>
                    <a:pt x="10785" y="5336"/>
                    <a:pt x="10785" y="5336"/>
                  </a:cubicBezTo>
                  <a:cubicBezTo>
                    <a:pt x="10915" y="5336"/>
                    <a:pt x="11306" y="5336"/>
                    <a:pt x="11306" y="5336"/>
                  </a:cubicBezTo>
                  <a:cubicBezTo>
                    <a:pt x="11436" y="5451"/>
                    <a:pt x="11436" y="5451"/>
                    <a:pt x="11436" y="5451"/>
                  </a:cubicBezTo>
                  <a:cubicBezTo>
                    <a:pt x="11436" y="5451"/>
                    <a:pt x="11566" y="5566"/>
                    <a:pt x="11566" y="5566"/>
                  </a:cubicBezTo>
                  <a:cubicBezTo>
                    <a:pt x="11566" y="5681"/>
                    <a:pt x="11696" y="5910"/>
                    <a:pt x="11696" y="5910"/>
                  </a:cubicBezTo>
                  <a:cubicBezTo>
                    <a:pt x="12086" y="6025"/>
                    <a:pt x="12086" y="6025"/>
                    <a:pt x="12086" y="6025"/>
                  </a:cubicBezTo>
                  <a:cubicBezTo>
                    <a:pt x="11826" y="5681"/>
                    <a:pt x="11826" y="5681"/>
                    <a:pt x="11826" y="5681"/>
                  </a:cubicBezTo>
                  <a:cubicBezTo>
                    <a:pt x="11826" y="5681"/>
                    <a:pt x="11566" y="5451"/>
                    <a:pt x="11826" y="5451"/>
                  </a:cubicBezTo>
                  <a:cubicBezTo>
                    <a:pt x="12086" y="5451"/>
                    <a:pt x="12216" y="5336"/>
                    <a:pt x="12216" y="5336"/>
                  </a:cubicBezTo>
                  <a:cubicBezTo>
                    <a:pt x="12216" y="5221"/>
                    <a:pt x="12216" y="5221"/>
                    <a:pt x="12216" y="5221"/>
                  </a:cubicBezTo>
                  <a:cubicBezTo>
                    <a:pt x="11826" y="5221"/>
                    <a:pt x="11826" y="5221"/>
                    <a:pt x="11826" y="5221"/>
                  </a:cubicBezTo>
                  <a:cubicBezTo>
                    <a:pt x="11826" y="5221"/>
                    <a:pt x="11826" y="4991"/>
                    <a:pt x="11826" y="4991"/>
                  </a:cubicBezTo>
                  <a:cubicBezTo>
                    <a:pt x="11956" y="4991"/>
                    <a:pt x="12086" y="4762"/>
                    <a:pt x="12347" y="4762"/>
                  </a:cubicBezTo>
                  <a:cubicBezTo>
                    <a:pt x="12607" y="4762"/>
                    <a:pt x="12867" y="4647"/>
                    <a:pt x="12867" y="4647"/>
                  </a:cubicBezTo>
                  <a:cubicBezTo>
                    <a:pt x="12867" y="4647"/>
                    <a:pt x="12867" y="4532"/>
                    <a:pt x="13127" y="4532"/>
                  </a:cubicBezTo>
                  <a:cubicBezTo>
                    <a:pt x="13388" y="4532"/>
                    <a:pt x="13518" y="4532"/>
                    <a:pt x="13648" y="4532"/>
                  </a:cubicBezTo>
                  <a:cubicBezTo>
                    <a:pt x="13778" y="4532"/>
                    <a:pt x="13778" y="4532"/>
                    <a:pt x="13778" y="4417"/>
                  </a:cubicBezTo>
                  <a:cubicBezTo>
                    <a:pt x="13778" y="4302"/>
                    <a:pt x="13648" y="4302"/>
                    <a:pt x="13908" y="4187"/>
                  </a:cubicBezTo>
                  <a:cubicBezTo>
                    <a:pt x="14038" y="4187"/>
                    <a:pt x="14168" y="4072"/>
                    <a:pt x="14168" y="4072"/>
                  </a:cubicBezTo>
                  <a:cubicBezTo>
                    <a:pt x="14298" y="3613"/>
                    <a:pt x="14298" y="3613"/>
                    <a:pt x="14298" y="3613"/>
                  </a:cubicBezTo>
                  <a:cubicBezTo>
                    <a:pt x="13778" y="3842"/>
                    <a:pt x="13778" y="3842"/>
                    <a:pt x="13778" y="3842"/>
                  </a:cubicBezTo>
                  <a:cubicBezTo>
                    <a:pt x="13778" y="3842"/>
                    <a:pt x="13778" y="3613"/>
                    <a:pt x="13648" y="3613"/>
                  </a:cubicBezTo>
                  <a:cubicBezTo>
                    <a:pt x="13518" y="3613"/>
                    <a:pt x="13127" y="3842"/>
                    <a:pt x="13127" y="3842"/>
                  </a:cubicBezTo>
                  <a:cubicBezTo>
                    <a:pt x="13127" y="3842"/>
                    <a:pt x="13127" y="3727"/>
                    <a:pt x="12997" y="3727"/>
                  </a:cubicBezTo>
                  <a:cubicBezTo>
                    <a:pt x="12997" y="3613"/>
                    <a:pt x="12997" y="3613"/>
                    <a:pt x="12867" y="3613"/>
                  </a:cubicBezTo>
                  <a:cubicBezTo>
                    <a:pt x="12737" y="3613"/>
                    <a:pt x="12867" y="3613"/>
                    <a:pt x="12607" y="3498"/>
                  </a:cubicBezTo>
                  <a:cubicBezTo>
                    <a:pt x="12347" y="3383"/>
                    <a:pt x="12216" y="3153"/>
                    <a:pt x="12216" y="3153"/>
                  </a:cubicBezTo>
                  <a:cubicBezTo>
                    <a:pt x="12216" y="3153"/>
                    <a:pt x="12347" y="3153"/>
                    <a:pt x="12086" y="3153"/>
                  </a:cubicBezTo>
                  <a:cubicBezTo>
                    <a:pt x="11956" y="3038"/>
                    <a:pt x="11956" y="3038"/>
                    <a:pt x="11956" y="3038"/>
                  </a:cubicBezTo>
                  <a:cubicBezTo>
                    <a:pt x="11826" y="2923"/>
                    <a:pt x="11826" y="2923"/>
                    <a:pt x="12086" y="2808"/>
                  </a:cubicBezTo>
                  <a:cubicBezTo>
                    <a:pt x="12216" y="2693"/>
                    <a:pt x="12086" y="2693"/>
                    <a:pt x="12347" y="2579"/>
                  </a:cubicBezTo>
                  <a:cubicBezTo>
                    <a:pt x="12477" y="2464"/>
                    <a:pt x="12347" y="2349"/>
                    <a:pt x="12607" y="2464"/>
                  </a:cubicBezTo>
                  <a:cubicBezTo>
                    <a:pt x="12997" y="2579"/>
                    <a:pt x="12997" y="2579"/>
                    <a:pt x="13127" y="2693"/>
                  </a:cubicBezTo>
                  <a:cubicBezTo>
                    <a:pt x="13257" y="2693"/>
                    <a:pt x="13778" y="2693"/>
                    <a:pt x="13518" y="2579"/>
                  </a:cubicBezTo>
                  <a:cubicBezTo>
                    <a:pt x="13388" y="2464"/>
                    <a:pt x="13127" y="2349"/>
                    <a:pt x="13127" y="2234"/>
                  </a:cubicBezTo>
                  <a:cubicBezTo>
                    <a:pt x="13127" y="2234"/>
                    <a:pt x="12867" y="2234"/>
                    <a:pt x="13127" y="2234"/>
                  </a:cubicBezTo>
                  <a:cubicBezTo>
                    <a:pt x="13257" y="2234"/>
                    <a:pt x="13388" y="2119"/>
                    <a:pt x="13518" y="2234"/>
                  </a:cubicBezTo>
                  <a:cubicBezTo>
                    <a:pt x="13518" y="2234"/>
                    <a:pt x="13257" y="2234"/>
                    <a:pt x="13648" y="2234"/>
                  </a:cubicBezTo>
                  <a:cubicBezTo>
                    <a:pt x="14038" y="2234"/>
                    <a:pt x="14168" y="2234"/>
                    <a:pt x="13908" y="2119"/>
                  </a:cubicBezTo>
                  <a:cubicBezTo>
                    <a:pt x="13778" y="2004"/>
                    <a:pt x="13778" y="2004"/>
                    <a:pt x="13648" y="1889"/>
                  </a:cubicBezTo>
                  <a:cubicBezTo>
                    <a:pt x="13648" y="1774"/>
                    <a:pt x="13518" y="1774"/>
                    <a:pt x="13648" y="1774"/>
                  </a:cubicBezTo>
                  <a:cubicBezTo>
                    <a:pt x="13648" y="1659"/>
                    <a:pt x="13648" y="1774"/>
                    <a:pt x="13778" y="1659"/>
                  </a:cubicBezTo>
                  <a:cubicBezTo>
                    <a:pt x="13778" y="1545"/>
                    <a:pt x="13778" y="1430"/>
                    <a:pt x="13778" y="1430"/>
                  </a:cubicBezTo>
                  <a:cubicBezTo>
                    <a:pt x="13778" y="1430"/>
                    <a:pt x="13648" y="1430"/>
                    <a:pt x="13778" y="1315"/>
                  </a:cubicBezTo>
                  <a:cubicBezTo>
                    <a:pt x="14038" y="1085"/>
                    <a:pt x="14038" y="1085"/>
                    <a:pt x="14168" y="1085"/>
                  </a:cubicBezTo>
                  <a:cubicBezTo>
                    <a:pt x="14168" y="1085"/>
                    <a:pt x="14298" y="970"/>
                    <a:pt x="14428" y="970"/>
                  </a:cubicBezTo>
                  <a:cubicBezTo>
                    <a:pt x="14428" y="855"/>
                    <a:pt x="14559" y="625"/>
                    <a:pt x="14559" y="625"/>
                  </a:cubicBezTo>
                  <a:cubicBezTo>
                    <a:pt x="14949" y="625"/>
                    <a:pt x="14949" y="625"/>
                    <a:pt x="14949" y="625"/>
                  </a:cubicBezTo>
                  <a:cubicBezTo>
                    <a:pt x="14949" y="625"/>
                    <a:pt x="15079" y="625"/>
                    <a:pt x="15079" y="625"/>
                  </a:cubicBezTo>
                  <a:cubicBezTo>
                    <a:pt x="15079" y="740"/>
                    <a:pt x="15079" y="510"/>
                    <a:pt x="15079" y="510"/>
                  </a:cubicBezTo>
                  <a:cubicBezTo>
                    <a:pt x="15079" y="510"/>
                    <a:pt x="15209" y="510"/>
                    <a:pt x="15209" y="510"/>
                  </a:cubicBezTo>
                  <a:cubicBezTo>
                    <a:pt x="15339" y="625"/>
                    <a:pt x="15339" y="625"/>
                    <a:pt x="15339" y="625"/>
                  </a:cubicBezTo>
                  <a:cubicBezTo>
                    <a:pt x="15469" y="740"/>
                    <a:pt x="15600" y="625"/>
                    <a:pt x="15600" y="625"/>
                  </a:cubicBezTo>
                  <a:cubicBezTo>
                    <a:pt x="15600" y="625"/>
                    <a:pt x="15730" y="510"/>
                    <a:pt x="15860" y="510"/>
                  </a:cubicBezTo>
                  <a:cubicBezTo>
                    <a:pt x="15990" y="510"/>
                    <a:pt x="16120" y="510"/>
                    <a:pt x="16120" y="510"/>
                  </a:cubicBezTo>
                  <a:cubicBezTo>
                    <a:pt x="16120" y="625"/>
                    <a:pt x="16120" y="625"/>
                    <a:pt x="16120" y="740"/>
                  </a:cubicBezTo>
                  <a:cubicBezTo>
                    <a:pt x="16250" y="740"/>
                    <a:pt x="16380" y="855"/>
                    <a:pt x="16380" y="855"/>
                  </a:cubicBezTo>
                  <a:cubicBezTo>
                    <a:pt x="16380" y="855"/>
                    <a:pt x="16641" y="855"/>
                    <a:pt x="16641" y="740"/>
                  </a:cubicBezTo>
                  <a:cubicBezTo>
                    <a:pt x="16641" y="740"/>
                    <a:pt x="16510" y="740"/>
                    <a:pt x="16771" y="625"/>
                  </a:cubicBezTo>
                  <a:cubicBezTo>
                    <a:pt x="17031" y="396"/>
                    <a:pt x="17161" y="396"/>
                    <a:pt x="17161" y="396"/>
                  </a:cubicBezTo>
                  <a:cubicBezTo>
                    <a:pt x="17161" y="396"/>
                    <a:pt x="17161" y="281"/>
                    <a:pt x="17291" y="281"/>
                  </a:cubicBezTo>
                  <a:cubicBezTo>
                    <a:pt x="17421" y="396"/>
                    <a:pt x="17421" y="281"/>
                    <a:pt x="17421" y="396"/>
                  </a:cubicBezTo>
                  <a:cubicBezTo>
                    <a:pt x="17421" y="396"/>
                    <a:pt x="17551" y="510"/>
                    <a:pt x="17551" y="510"/>
                  </a:cubicBezTo>
                  <a:cubicBezTo>
                    <a:pt x="17551" y="510"/>
                    <a:pt x="17551" y="855"/>
                    <a:pt x="17551" y="855"/>
                  </a:cubicBezTo>
                  <a:cubicBezTo>
                    <a:pt x="17551" y="970"/>
                    <a:pt x="17551" y="970"/>
                    <a:pt x="17551" y="970"/>
                  </a:cubicBezTo>
                  <a:cubicBezTo>
                    <a:pt x="17551" y="970"/>
                    <a:pt x="17551" y="1085"/>
                    <a:pt x="17551" y="1085"/>
                  </a:cubicBezTo>
                  <a:cubicBezTo>
                    <a:pt x="17551" y="1200"/>
                    <a:pt x="17682" y="1430"/>
                    <a:pt x="17682" y="1430"/>
                  </a:cubicBezTo>
                  <a:cubicBezTo>
                    <a:pt x="17682" y="1430"/>
                    <a:pt x="17682" y="1430"/>
                    <a:pt x="17682" y="1430"/>
                  </a:cubicBezTo>
                  <a:cubicBezTo>
                    <a:pt x="17551" y="1545"/>
                    <a:pt x="17551" y="1430"/>
                    <a:pt x="17551" y="1545"/>
                  </a:cubicBezTo>
                  <a:cubicBezTo>
                    <a:pt x="17421" y="1659"/>
                    <a:pt x="17551" y="1659"/>
                    <a:pt x="17421" y="1774"/>
                  </a:cubicBezTo>
                  <a:cubicBezTo>
                    <a:pt x="17421" y="1774"/>
                    <a:pt x="17291" y="1774"/>
                    <a:pt x="17291" y="1774"/>
                  </a:cubicBezTo>
                  <a:cubicBezTo>
                    <a:pt x="17291" y="1774"/>
                    <a:pt x="17421" y="1889"/>
                    <a:pt x="17421" y="1889"/>
                  </a:cubicBezTo>
                  <a:cubicBezTo>
                    <a:pt x="17421" y="1889"/>
                    <a:pt x="17421" y="1889"/>
                    <a:pt x="17551" y="1889"/>
                  </a:cubicBezTo>
                  <a:cubicBezTo>
                    <a:pt x="17551" y="1889"/>
                    <a:pt x="17551" y="1774"/>
                    <a:pt x="17682" y="1774"/>
                  </a:cubicBezTo>
                  <a:cubicBezTo>
                    <a:pt x="17682" y="1889"/>
                    <a:pt x="17682" y="1659"/>
                    <a:pt x="17682" y="1659"/>
                  </a:cubicBezTo>
                  <a:cubicBezTo>
                    <a:pt x="17682" y="1659"/>
                    <a:pt x="17682" y="1659"/>
                    <a:pt x="17812" y="1545"/>
                  </a:cubicBezTo>
                  <a:cubicBezTo>
                    <a:pt x="17812" y="1545"/>
                    <a:pt x="17942" y="1430"/>
                    <a:pt x="17942" y="1315"/>
                  </a:cubicBezTo>
                  <a:cubicBezTo>
                    <a:pt x="17942" y="1315"/>
                    <a:pt x="17812" y="1200"/>
                    <a:pt x="17812" y="1200"/>
                  </a:cubicBezTo>
                  <a:cubicBezTo>
                    <a:pt x="17812" y="1200"/>
                    <a:pt x="17682" y="970"/>
                    <a:pt x="17682" y="855"/>
                  </a:cubicBezTo>
                  <a:cubicBezTo>
                    <a:pt x="17682" y="855"/>
                    <a:pt x="17682" y="855"/>
                    <a:pt x="17682" y="740"/>
                  </a:cubicBezTo>
                  <a:cubicBezTo>
                    <a:pt x="17812" y="740"/>
                    <a:pt x="17812" y="625"/>
                    <a:pt x="17812" y="625"/>
                  </a:cubicBezTo>
                  <a:cubicBezTo>
                    <a:pt x="17942" y="510"/>
                    <a:pt x="18072" y="396"/>
                    <a:pt x="18072" y="396"/>
                  </a:cubicBezTo>
                  <a:cubicBezTo>
                    <a:pt x="18072" y="396"/>
                    <a:pt x="18332" y="396"/>
                    <a:pt x="18462" y="396"/>
                  </a:cubicBezTo>
                  <a:cubicBezTo>
                    <a:pt x="18462" y="396"/>
                    <a:pt x="18332" y="281"/>
                    <a:pt x="18592" y="396"/>
                  </a:cubicBezTo>
                  <a:cubicBezTo>
                    <a:pt x="18722" y="510"/>
                    <a:pt x="18722" y="510"/>
                    <a:pt x="18722" y="510"/>
                  </a:cubicBezTo>
                  <a:cubicBezTo>
                    <a:pt x="18722" y="625"/>
                    <a:pt x="18592" y="625"/>
                    <a:pt x="18853" y="625"/>
                  </a:cubicBezTo>
                  <a:cubicBezTo>
                    <a:pt x="18983" y="625"/>
                    <a:pt x="19113" y="625"/>
                    <a:pt x="18983" y="625"/>
                  </a:cubicBezTo>
                  <a:cubicBezTo>
                    <a:pt x="18853" y="510"/>
                    <a:pt x="18853" y="396"/>
                    <a:pt x="18722" y="396"/>
                  </a:cubicBezTo>
                  <a:cubicBezTo>
                    <a:pt x="18722" y="396"/>
                    <a:pt x="18592" y="281"/>
                    <a:pt x="18592" y="281"/>
                  </a:cubicBezTo>
                  <a:cubicBezTo>
                    <a:pt x="18592" y="166"/>
                    <a:pt x="18592" y="-64"/>
                    <a:pt x="18722" y="51"/>
                  </a:cubicBezTo>
                  <a:cubicBezTo>
                    <a:pt x="18853" y="51"/>
                    <a:pt x="18722" y="-64"/>
                    <a:pt x="18853" y="51"/>
                  </a:cubicBezTo>
                  <a:cubicBezTo>
                    <a:pt x="19113" y="281"/>
                    <a:pt x="19243" y="396"/>
                    <a:pt x="19243" y="396"/>
                  </a:cubicBezTo>
                  <a:cubicBezTo>
                    <a:pt x="19243" y="510"/>
                    <a:pt x="19373" y="510"/>
                    <a:pt x="19373" y="510"/>
                  </a:cubicBezTo>
                  <a:cubicBezTo>
                    <a:pt x="19373" y="625"/>
                    <a:pt x="19373" y="625"/>
                    <a:pt x="19373" y="625"/>
                  </a:cubicBezTo>
                  <a:cubicBezTo>
                    <a:pt x="19503" y="740"/>
                    <a:pt x="19633" y="855"/>
                    <a:pt x="19633" y="855"/>
                  </a:cubicBezTo>
                  <a:cubicBezTo>
                    <a:pt x="19633" y="855"/>
                    <a:pt x="19633" y="855"/>
                    <a:pt x="19763" y="855"/>
                  </a:cubicBezTo>
                  <a:cubicBezTo>
                    <a:pt x="19763" y="970"/>
                    <a:pt x="20024" y="1085"/>
                    <a:pt x="20024" y="1085"/>
                  </a:cubicBezTo>
                  <a:cubicBezTo>
                    <a:pt x="20024" y="1085"/>
                    <a:pt x="20154" y="1200"/>
                    <a:pt x="20154" y="1200"/>
                  </a:cubicBezTo>
                  <a:cubicBezTo>
                    <a:pt x="20024" y="1315"/>
                    <a:pt x="20024" y="1430"/>
                    <a:pt x="20024" y="1430"/>
                  </a:cubicBezTo>
                  <a:cubicBezTo>
                    <a:pt x="19763" y="1774"/>
                    <a:pt x="19763" y="1774"/>
                    <a:pt x="19763" y="1774"/>
                  </a:cubicBezTo>
                  <a:cubicBezTo>
                    <a:pt x="19633" y="2004"/>
                    <a:pt x="19633" y="2004"/>
                    <a:pt x="19633" y="2004"/>
                  </a:cubicBezTo>
                  <a:cubicBezTo>
                    <a:pt x="19633" y="2119"/>
                    <a:pt x="19633" y="2119"/>
                    <a:pt x="19633" y="2119"/>
                  </a:cubicBezTo>
                  <a:cubicBezTo>
                    <a:pt x="19503" y="2234"/>
                    <a:pt x="19503" y="2349"/>
                    <a:pt x="19503" y="2349"/>
                  </a:cubicBezTo>
                  <a:cubicBezTo>
                    <a:pt x="19503" y="2349"/>
                    <a:pt x="19373" y="2464"/>
                    <a:pt x="19113" y="2464"/>
                  </a:cubicBezTo>
                  <a:cubicBezTo>
                    <a:pt x="18853" y="2349"/>
                    <a:pt x="18592" y="2579"/>
                    <a:pt x="18592" y="2579"/>
                  </a:cubicBezTo>
                  <a:cubicBezTo>
                    <a:pt x="18592" y="2579"/>
                    <a:pt x="17942" y="2464"/>
                    <a:pt x="17812" y="2464"/>
                  </a:cubicBezTo>
                  <a:cubicBezTo>
                    <a:pt x="17682" y="2464"/>
                    <a:pt x="17682" y="2923"/>
                    <a:pt x="17682" y="3038"/>
                  </a:cubicBezTo>
                  <a:cubicBezTo>
                    <a:pt x="17682" y="3153"/>
                    <a:pt x="17421" y="3268"/>
                    <a:pt x="17031" y="3268"/>
                  </a:cubicBezTo>
                  <a:cubicBezTo>
                    <a:pt x="16641" y="3383"/>
                    <a:pt x="16901" y="3383"/>
                    <a:pt x="16771" y="3727"/>
                  </a:cubicBezTo>
                  <a:cubicBezTo>
                    <a:pt x="16641" y="4187"/>
                    <a:pt x="16510" y="3842"/>
                    <a:pt x="16250" y="3727"/>
                  </a:cubicBezTo>
                  <a:cubicBezTo>
                    <a:pt x="15990" y="3727"/>
                    <a:pt x="15990" y="3727"/>
                    <a:pt x="15600" y="3727"/>
                  </a:cubicBezTo>
                  <a:cubicBezTo>
                    <a:pt x="15209" y="3842"/>
                    <a:pt x="15469" y="4072"/>
                    <a:pt x="15469" y="4072"/>
                  </a:cubicBezTo>
                  <a:cubicBezTo>
                    <a:pt x="15469" y="4072"/>
                    <a:pt x="15730" y="4302"/>
                    <a:pt x="15860" y="4302"/>
                  </a:cubicBezTo>
                  <a:cubicBezTo>
                    <a:pt x="16120" y="4417"/>
                    <a:pt x="15860" y="4647"/>
                    <a:pt x="15860" y="4647"/>
                  </a:cubicBezTo>
                  <a:cubicBezTo>
                    <a:pt x="15860" y="4647"/>
                    <a:pt x="15730" y="4876"/>
                    <a:pt x="15600" y="4876"/>
                  </a:cubicBezTo>
                  <a:cubicBezTo>
                    <a:pt x="15469" y="4762"/>
                    <a:pt x="14819" y="4762"/>
                    <a:pt x="14819" y="4762"/>
                  </a:cubicBezTo>
                  <a:cubicBezTo>
                    <a:pt x="14168" y="5106"/>
                    <a:pt x="14168" y="5106"/>
                    <a:pt x="14168" y="5106"/>
                  </a:cubicBezTo>
                  <a:cubicBezTo>
                    <a:pt x="14168" y="5106"/>
                    <a:pt x="14298" y="5566"/>
                    <a:pt x="14689" y="6025"/>
                  </a:cubicBezTo>
                  <a:cubicBezTo>
                    <a:pt x="15079" y="6485"/>
                    <a:pt x="14689" y="6140"/>
                    <a:pt x="14689" y="6140"/>
                  </a:cubicBezTo>
                  <a:cubicBezTo>
                    <a:pt x="14689" y="6140"/>
                    <a:pt x="14819" y="6485"/>
                    <a:pt x="14819" y="6715"/>
                  </a:cubicBezTo>
                  <a:cubicBezTo>
                    <a:pt x="14819" y="6945"/>
                    <a:pt x="14819" y="6830"/>
                    <a:pt x="14949" y="6830"/>
                  </a:cubicBezTo>
                  <a:cubicBezTo>
                    <a:pt x="15079" y="6830"/>
                    <a:pt x="15339" y="6830"/>
                    <a:pt x="15339" y="6830"/>
                  </a:cubicBezTo>
                  <a:cubicBezTo>
                    <a:pt x="15339" y="6830"/>
                    <a:pt x="15860" y="7519"/>
                    <a:pt x="15860" y="7519"/>
                  </a:cubicBezTo>
                  <a:cubicBezTo>
                    <a:pt x="15990" y="7519"/>
                    <a:pt x="16641" y="7404"/>
                    <a:pt x="16641" y="7404"/>
                  </a:cubicBezTo>
                  <a:cubicBezTo>
                    <a:pt x="16641" y="7404"/>
                    <a:pt x="17161" y="7289"/>
                    <a:pt x="17421" y="7289"/>
                  </a:cubicBezTo>
                  <a:cubicBezTo>
                    <a:pt x="17682" y="7174"/>
                    <a:pt x="17421" y="6945"/>
                    <a:pt x="17421" y="6945"/>
                  </a:cubicBezTo>
                  <a:cubicBezTo>
                    <a:pt x="17682" y="6370"/>
                    <a:pt x="17682" y="6370"/>
                    <a:pt x="17682" y="6370"/>
                  </a:cubicBezTo>
                  <a:cubicBezTo>
                    <a:pt x="18462" y="6255"/>
                    <a:pt x="18462" y="6255"/>
                    <a:pt x="18462" y="6255"/>
                  </a:cubicBezTo>
                  <a:cubicBezTo>
                    <a:pt x="18853" y="6945"/>
                    <a:pt x="18853" y="6945"/>
                    <a:pt x="18853" y="6945"/>
                  </a:cubicBezTo>
                  <a:cubicBezTo>
                    <a:pt x="18722" y="7404"/>
                    <a:pt x="18722" y="7404"/>
                    <a:pt x="18722" y="7404"/>
                  </a:cubicBezTo>
                  <a:cubicBezTo>
                    <a:pt x="19373" y="7979"/>
                    <a:pt x="19373" y="7979"/>
                    <a:pt x="19373" y="7979"/>
                  </a:cubicBezTo>
                  <a:cubicBezTo>
                    <a:pt x="19503" y="8553"/>
                    <a:pt x="19503" y="8553"/>
                    <a:pt x="19503" y="8553"/>
                  </a:cubicBezTo>
                  <a:cubicBezTo>
                    <a:pt x="19503" y="8553"/>
                    <a:pt x="20154" y="8668"/>
                    <a:pt x="20284" y="8783"/>
                  </a:cubicBezTo>
                  <a:cubicBezTo>
                    <a:pt x="20414" y="8783"/>
                    <a:pt x="20804" y="8668"/>
                    <a:pt x="20804" y="8668"/>
                  </a:cubicBezTo>
                  <a:cubicBezTo>
                    <a:pt x="21325" y="9242"/>
                    <a:pt x="21325" y="9242"/>
                    <a:pt x="21325" y="9242"/>
                  </a:cubicBezTo>
                  <a:cubicBezTo>
                    <a:pt x="21455" y="9127"/>
                    <a:pt x="21455" y="9127"/>
                    <a:pt x="21455" y="9127"/>
                  </a:cubicBezTo>
                  <a:cubicBezTo>
                    <a:pt x="21455" y="9242"/>
                    <a:pt x="21455" y="9242"/>
                    <a:pt x="21455" y="9242"/>
                  </a:cubicBezTo>
                  <a:cubicBezTo>
                    <a:pt x="21455" y="9242"/>
                    <a:pt x="21455" y="9472"/>
                    <a:pt x="21325" y="9472"/>
                  </a:cubicBezTo>
                  <a:cubicBezTo>
                    <a:pt x="21065" y="9357"/>
                    <a:pt x="20935" y="9357"/>
                    <a:pt x="20935" y="9357"/>
                  </a:cubicBezTo>
                  <a:cubicBezTo>
                    <a:pt x="20544" y="9127"/>
                    <a:pt x="20544" y="9127"/>
                    <a:pt x="20544" y="9127"/>
                  </a:cubicBezTo>
                  <a:cubicBezTo>
                    <a:pt x="20414" y="9242"/>
                    <a:pt x="20414" y="9242"/>
                    <a:pt x="20414" y="9242"/>
                  </a:cubicBezTo>
                  <a:cubicBezTo>
                    <a:pt x="20024" y="9702"/>
                    <a:pt x="20024" y="9702"/>
                    <a:pt x="20024" y="9702"/>
                  </a:cubicBezTo>
                  <a:cubicBezTo>
                    <a:pt x="20284" y="9817"/>
                    <a:pt x="20284" y="9817"/>
                    <a:pt x="20284" y="9817"/>
                  </a:cubicBezTo>
                  <a:cubicBezTo>
                    <a:pt x="20544" y="10047"/>
                    <a:pt x="20544" y="10047"/>
                    <a:pt x="20544" y="10047"/>
                  </a:cubicBezTo>
                  <a:cubicBezTo>
                    <a:pt x="20544" y="10391"/>
                    <a:pt x="20544" y="10391"/>
                    <a:pt x="20544" y="10391"/>
                  </a:cubicBezTo>
                  <a:cubicBezTo>
                    <a:pt x="20544" y="10851"/>
                    <a:pt x="20544" y="10851"/>
                    <a:pt x="20544" y="10851"/>
                  </a:cubicBezTo>
                  <a:cubicBezTo>
                    <a:pt x="20284" y="11196"/>
                    <a:pt x="20284" y="11196"/>
                    <a:pt x="20284" y="11196"/>
                  </a:cubicBezTo>
                  <a:cubicBezTo>
                    <a:pt x="20284" y="11196"/>
                    <a:pt x="20414" y="11425"/>
                    <a:pt x="20414" y="11540"/>
                  </a:cubicBezTo>
                  <a:cubicBezTo>
                    <a:pt x="20414" y="11540"/>
                    <a:pt x="20674" y="11770"/>
                    <a:pt x="20674" y="11770"/>
                  </a:cubicBezTo>
                  <a:cubicBezTo>
                    <a:pt x="20935" y="12000"/>
                    <a:pt x="20935" y="12000"/>
                    <a:pt x="20935" y="12000"/>
                  </a:cubicBezTo>
                  <a:cubicBezTo>
                    <a:pt x="20674" y="12574"/>
                    <a:pt x="20674" y="12574"/>
                    <a:pt x="20674" y="12574"/>
                  </a:cubicBezTo>
                  <a:cubicBezTo>
                    <a:pt x="20414" y="12804"/>
                    <a:pt x="20414" y="12804"/>
                    <a:pt x="20414" y="12804"/>
                  </a:cubicBezTo>
                  <a:cubicBezTo>
                    <a:pt x="20414" y="13034"/>
                    <a:pt x="20414" y="13034"/>
                    <a:pt x="20414" y="13034"/>
                  </a:cubicBezTo>
                  <a:cubicBezTo>
                    <a:pt x="20414" y="13034"/>
                    <a:pt x="20674" y="13149"/>
                    <a:pt x="20544" y="13149"/>
                  </a:cubicBezTo>
                  <a:cubicBezTo>
                    <a:pt x="20414" y="13149"/>
                    <a:pt x="20154" y="13149"/>
                    <a:pt x="20154" y="13149"/>
                  </a:cubicBezTo>
                  <a:cubicBezTo>
                    <a:pt x="20154" y="13149"/>
                    <a:pt x="20154" y="13264"/>
                    <a:pt x="20154" y="13379"/>
                  </a:cubicBezTo>
                  <a:cubicBezTo>
                    <a:pt x="20154" y="13379"/>
                    <a:pt x="20284" y="13608"/>
                    <a:pt x="20284" y="13608"/>
                  </a:cubicBezTo>
                  <a:cubicBezTo>
                    <a:pt x="20284" y="13608"/>
                    <a:pt x="20414" y="13608"/>
                    <a:pt x="20414" y="13723"/>
                  </a:cubicBezTo>
                  <a:cubicBezTo>
                    <a:pt x="20414" y="13838"/>
                    <a:pt x="20284" y="14068"/>
                    <a:pt x="20284" y="14068"/>
                  </a:cubicBezTo>
                  <a:cubicBezTo>
                    <a:pt x="20284" y="14068"/>
                    <a:pt x="20154" y="14527"/>
                    <a:pt x="20154" y="14527"/>
                  </a:cubicBezTo>
                  <a:cubicBezTo>
                    <a:pt x="20284" y="14527"/>
                    <a:pt x="20284" y="14757"/>
                    <a:pt x="20284" y="14757"/>
                  </a:cubicBezTo>
                  <a:cubicBezTo>
                    <a:pt x="20284" y="15217"/>
                    <a:pt x="20284" y="15217"/>
                    <a:pt x="20284" y="15217"/>
                  </a:cubicBezTo>
                  <a:cubicBezTo>
                    <a:pt x="20154" y="15562"/>
                    <a:pt x="20154" y="15562"/>
                    <a:pt x="20154" y="15562"/>
                  </a:cubicBezTo>
                  <a:cubicBezTo>
                    <a:pt x="20284" y="15791"/>
                    <a:pt x="20284" y="15791"/>
                    <a:pt x="20284" y="15791"/>
                  </a:cubicBezTo>
                  <a:cubicBezTo>
                    <a:pt x="19894" y="16021"/>
                    <a:pt x="19894" y="16021"/>
                    <a:pt x="19894" y="16021"/>
                  </a:cubicBezTo>
                  <a:cubicBezTo>
                    <a:pt x="19763" y="16251"/>
                    <a:pt x="19763" y="16251"/>
                    <a:pt x="19763" y="16251"/>
                  </a:cubicBezTo>
                  <a:cubicBezTo>
                    <a:pt x="19763" y="16251"/>
                    <a:pt x="19503" y="16366"/>
                    <a:pt x="19503" y="16481"/>
                  </a:cubicBezTo>
                  <a:cubicBezTo>
                    <a:pt x="19503" y="16481"/>
                    <a:pt x="19373" y="16596"/>
                    <a:pt x="19373" y="16710"/>
                  </a:cubicBezTo>
                  <a:cubicBezTo>
                    <a:pt x="19373" y="16825"/>
                    <a:pt x="19243" y="16940"/>
                    <a:pt x="19243" y="16940"/>
                  </a:cubicBezTo>
                  <a:cubicBezTo>
                    <a:pt x="19113" y="17055"/>
                    <a:pt x="18853" y="17285"/>
                    <a:pt x="18853" y="17285"/>
                  </a:cubicBezTo>
                  <a:cubicBezTo>
                    <a:pt x="18722" y="17515"/>
                    <a:pt x="18722" y="17515"/>
                    <a:pt x="18722" y="17515"/>
                  </a:cubicBezTo>
                  <a:cubicBezTo>
                    <a:pt x="18722" y="17515"/>
                    <a:pt x="18853" y="17745"/>
                    <a:pt x="18853" y="17745"/>
                  </a:cubicBezTo>
                  <a:cubicBezTo>
                    <a:pt x="18853" y="17859"/>
                    <a:pt x="18853" y="17859"/>
                    <a:pt x="18853" y="17859"/>
                  </a:cubicBezTo>
                  <a:cubicBezTo>
                    <a:pt x="18592" y="18089"/>
                    <a:pt x="18592" y="18089"/>
                    <a:pt x="18592" y="18089"/>
                  </a:cubicBezTo>
                  <a:cubicBezTo>
                    <a:pt x="17942" y="18549"/>
                    <a:pt x="17942" y="18549"/>
                    <a:pt x="17942" y="18549"/>
                  </a:cubicBezTo>
                  <a:cubicBezTo>
                    <a:pt x="17942" y="18549"/>
                    <a:pt x="17942" y="18664"/>
                    <a:pt x="17812" y="18779"/>
                  </a:cubicBezTo>
                  <a:cubicBezTo>
                    <a:pt x="17812" y="19008"/>
                    <a:pt x="17682" y="19008"/>
                    <a:pt x="17682" y="19008"/>
                  </a:cubicBezTo>
                  <a:cubicBezTo>
                    <a:pt x="17682" y="19008"/>
                    <a:pt x="17551" y="19008"/>
                    <a:pt x="17421" y="19008"/>
                  </a:cubicBezTo>
                  <a:cubicBezTo>
                    <a:pt x="17421" y="19008"/>
                    <a:pt x="17291" y="18893"/>
                    <a:pt x="17291" y="18893"/>
                  </a:cubicBezTo>
                  <a:cubicBezTo>
                    <a:pt x="17291" y="19123"/>
                    <a:pt x="17291" y="19123"/>
                    <a:pt x="17291" y="19123"/>
                  </a:cubicBezTo>
                  <a:cubicBezTo>
                    <a:pt x="17291" y="19123"/>
                    <a:pt x="17291" y="19238"/>
                    <a:pt x="17421" y="19238"/>
                  </a:cubicBezTo>
                  <a:cubicBezTo>
                    <a:pt x="17551" y="19353"/>
                    <a:pt x="17551" y="19468"/>
                    <a:pt x="17682" y="19468"/>
                  </a:cubicBezTo>
                  <a:cubicBezTo>
                    <a:pt x="17682" y="19583"/>
                    <a:pt x="17812" y="19698"/>
                    <a:pt x="17812" y="19698"/>
                  </a:cubicBezTo>
                  <a:cubicBezTo>
                    <a:pt x="17551" y="19927"/>
                    <a:pt x="17551" y="19927"/>
                    <a:pt x="17551" y="19927"/>
                  </a:cubicBezTo>
                  <a:cubicBezTo>
                    <a:pt x="17551" y="20042"/>
                    <a:pt x="17551" y="20042"/>
                    <a:pt x="17551" y="20042"/>
                  </a:cubicBezTo>
                  <a:cubicBezTo>
                    <a:pt x="17291" y="20042"/>
                    <a:pt x="17291" y="20042"/>
                    <a:pt x="17291" y="20042"/>
                  </a:cubicBezTo>
                  <a:cubicBezTo>
                    <a:pt x="17161" y="19927"/>
                    <a:pt x="17161" y="19927"/>
                    <a:pt x="17161" y="19927"/>
                  </a:cubicBezTo>
                  <a:cubicBezTo>
                    <a:pt x="17161" y="19927"/>
                    <a:pt x="17031" y="19927"/>
                    <a:pt x="17031" y="19927"/>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2" name="Shape 2255">
              <a:extLst>
                <a:ext uri="{FF2B5EF4-FFF2-40B4-BE49-F238E27FC236}">
                  <a16:creationId xmlns:a16="http://schemas.microsoft.com/office/drawing/2014/main" id="{198B4D85-2102-A8FC-C186-72CBCF0C9999}"/>
                </a:ext>
              </a:extLst>
            </p:cNvPr>
            <p:cNvSpPr/>
            <p:nvPr/>
          </p:nvSpPr>
          <p:spPr>
            <a:xfrm>
              <a:off x="248548" y="6591606"/>
              <a:ext cx="733713" cy="1110166"/>
            </a:xfrm>
            <a:custGeom>
              <a:avLst/>
              <a:gdLst/>
              <a:ahLst/>
              <a:cxnLst>
                <a:cxn ang="0">
                  <a:pos x="wd2" y="hd2"/>
                </a:cxn>
                <a:cxn ang="5400000">
                  <a:pos x="wd2" y="hd2"/>
                </a:cxn>
                <a:cxn ang="10800000">
                  <a:pos x="wd2" y="hd2"/>
                </a:cxn>
                <a:cxn ang="16200000">
                  <a:pos x="wd2" y="hd2"/>
                </a:cxn>
              </a:cxnLst>
              <a:rect l="0" t="0" r="r" b="b"/>
              <a:pathLst>
                <a:path w="21600" h="21600" extrusionOk="0">
                  <a:moveTo>
                    <a:pt x="8980" y="699"/>
                  </a:moveTo>
                  <a:cubicBezTo>
                    <a:pt x="8980" y="699"/>
                    <a:pt x="9465" y="466"/>
                    <a:pt x="9465" y="466"/>
                  </a:cubicBezTo>
                  <a:cubicBezTo>
                    <a:pt x="9465" y="466"/>
                    <a:pt x="9587" y="388"/>
                    <a:pt x="9587" y="388"/>
                  </a:cubicBezTo>
                  <a:cubicBezTo>
                    <a:pt x="9708" y="388"/>
                    <a:pt x="9829" y="388"/>
                    <a:pt x="9951" y="388"/>
                  </a:cubicBezTo>
                  <a:cubicBezTo>
                    <a:pt x="9951" y="388"/>
                    <a:pt x="10072" y="311"/>
                    <a:pt x="10072" y="311"/>
                  </a:cubicBezTo>
                  <a:cubicBezTo>
                    <a:pt x="10193" y="233"/>
                    <a:pt x="10193" y="233"/>
                    <a:pt x="10193" y="233"/>
                  </a:cubicBezTo>
                  <a:cubicBezTo>
                    <a:pt x="10436" y="155"/>
                    <a:pt x="10436" y="155"/>
                    <a:pt x="10436" y="155"/>
                  </a:cubicBezTo>
                  <a:cubicBezTo>
                    <a:pt x="10679" y="155"/>
                    <a:pt x="10679" y="155"/>
                    <a:pt x="10679" y="155"/>
                  </a:cubicBezTo>
                  <a:cubicBezTo>
                    <a:pt x="10679" y="155"/>
                    <a:pt x="10800" y="155"/>
                    <a:pt x="10800" y="155"/>
                  </a:cubicBezTo>
                  <a:cubicBezTo>
                    <a:pt x="10800" y="155"/>
                    <a:pt x="11285" y="78"/>
                    <a:pt x="11285" y="78"/>
                  </a:cubicBezTo>
                  <a:cubicBezTo>
                    <a:pt x="11285" y="78"/>
                    <a:pt x="11407" y="155"/>
                    <a:pt x="11528" y="155"/>
                  </a:cubicBezTo>
                  <a:cubicBezTo>
                    <a:pt x="11528" y="155"/>
                    <a:pt x="11771" y="155"/>
                    <a:pt x="11771" y="155"/>
                  </a:cubicBezTo>
                  <a:cubicBezTo>
                    <a:pt x="11892" y="155"/>
                    <a:pt x="12135" y="78"/>
                    <a:pt x="12135" y="78"/>
                  </a:cubicBezTo>
                  <a:cubicBezTo>
                    <a:pt x="12620" y="0"/>
                    <a:pt x="12620" y="0"/>
                    <a:pt x="12620" y="0"/>
                  </a:cubicBezTo>
                  <a:cubicBezTo>
                    <a:pt x="12742" y="155"/>
                    <a:pt x="12742" y="155"/>
                    <a:pt x="12742" y="155"/>
                  </a:cubicBezTo>
                  <a:cubicBezTo>
                    <a:pt x="12742" y="155"/>
                    <a:pt x="12742" y="311"/>
                    <a:pt x="12742" y="311"/>
                  </a:cubicBezTo>
                  <a:cubicBezTo>
                    <a:pt x="12742" y="311"/>
                    <a:pt x="12742" y="388"/>
                    <a:pt x="12863" y="388"/>
                  </a:cubicBezTo>
                  <a:cubicBezTo>
                    <a:pt x="12984" y="388"/>
                    <a:pt x="12984" y="388"/>
                    <a:pt x="12984" y="388"/>
                  </a:cubicBezTo>
                  <a:cubicBezTo>
                    <a:pt x="12984" y="466"/>
                    <a:pt x="12984" y="699"/>
                    <a:pt x="12984" y="699"/>
                  </a:cubicBezTo>
                  <a:cubicBezTo>
                    <a:pt x="12620" y="777"/>
                    <a:pt x="12620" y="777"/>
                    <a:pt x="12620" y="777"/>
                  </a:cubicBezTo>
                  <a:cubicBezTo>
                    <a:pt x="12620" y="777"/>
                    <a:pt x="12499" y="777"/>
                    <a:pt x="12499" y="855"/>
                  </a:cubicBezTo>
                  <a:cubicBezTo>
                    <a:pt x="12499" y="855"/>
                    <a:pt x="12256" y="932"/>
                    <a:pt x="12256" y="932"/>
                  </a:cubicBezTo>
                  <a:cubicBezTo>
                    <a:pt x="12256" y="1010"/>
                    <a:pt x="12135" y="1010"/>
                    <a:pt x="12256" y="1088"/>
                  </a:cubicBezTo>
                  <a:cubicBezTo>
                    <a:pt x="12256" y="1165"/>
                    <a:pt x="12378" y="1243"/>
                    <a:pt x="12378" y="1243"/>
                  </a:cubicBezTo>
                  <a:cubicBezTo>
                    <a:pt x="12378" y="1399"/>
                    <a:pt x="12378" y="1399"/>
                    <a:pt x="12378" y="1399"/>
                  </a:cubicBezTo>
                  <a:cubicBezTo>
                    <a:pt x="12378" y="1399"/>
                    <a:pt x="12378" y="1476"/>
                    <a:pt x="12499" y="1476"/>
                  </a:cubicBezTo>
                  <a:cubicBezTo>
                    <a:pt x="12499" y="1554"/>
                    <a:pt x="12620" y="1476"/>
                    <a:pt x="12742" y="1476"/>
                  </a:cubicBezTo>
                  <a:cubicBezTo>
                    <a:pt x="12984" y="1476"/>
                    <a:pt x="13106" y="1399"/>
                    <a:pt x="13227" y="1399"/>
                  </a:cubicBezTo>
                  <a:cubicBezTo>
                    <a:pt x="13227" y="1399"/>
                    <a:pt x="13348" y="1399"/>
                    <a:pt x="13348" y="1399"/>
                  </a:cubicBezTo>
                  <a:cubicBezTo>
                    <a:pt x="13470" y="1321"/>
                    <a:pt x="13712" y="1243"/>
                    <a:pt x="13712" y="1243"/>
                  </a:cubicBezTo>
                  <a:cubicBezTo>
                    <a:pt x="13712" y="1243"/>
                    <a:pt x="13712" y="1088"/>
                    <a:pt x="13834" y="1165"/>
                  </a:cubicBezTo>
                  <a:cubicBezTo>
                    <a:pt x="13834" y="1165"/>
                    <a:pt x="13834" y="1321"/>
                    <a:pt x="13834" y="1321"/>
                  </a:cubicBezTo>
                  <a:cubicBezTo>
                    <a:pt x="13834" y="1321"/>
                    <a:pt x="13712" y="1476"/>
                    <a:pt x="13712" y="1476"/>
                  </a:cubicBezTo>
                  <a:cubicBezTo>
                    <a:pt x="13834" y="1554"/>
                    <a:pt x="13955" y="1476"/>
                    <a:pt x="13955" y="1476"/>
                  </a:cubicBezTo>
                  <a:cubicBezTo>
                    <a:pt x="14076" y="1399"/>
                    <a:pt x="14198" y="1399"/>
                    <a:pt x="14198" y="1399"/>
                  </a:cubicBezTo>
                  <a:cubicBezTo>
                    <a:pt x="14440" y="1399"/>
                    <a:pt x="14440" y="1399"/>
                    <a:pt x="14440" y="1399"/>
                  </a:cubicBezTo>
                  <a:cubicBezTo>
                    <a:pt x="14440" y="1399"/>
                    <a:pt x="14683" y="1399"/>
                    <a:pt x="14683" y="1399"/>
                  </a:cubicBezTo>
                  <a:cubicBezTo>
                    <a:pt x="14683" y="1399"/>
                    <a:pt x="14804" y="1476"/>
                    <a:pt x="14926" y="1476"/>
                  </a:cubicBezTo>
                  <a:cubicBezTo>
                    <a:pt x="14926" y="1554"/>
                    <a:pt x="15290" y="1632"/>
                    <a:pt x="15290" y="1632"/>
                  </a:cubicBezTo>
                  <a:cubicBezTo>
                    <a:pt x="15169" y="1787"/>
                    <a:pt x="15169" y="1787"/>
                    <a:pt x="15169" y="1787"/>
                  </a:cubicBezTo>
                  <a:cubicBezTo>
                    <a:pt x="15169" y="1787"/>
                    <a:pt x="15047" y="1942"/>
                    <a:pt x="15169" y="1942"/>
                  </a:cubicBezTo>
                  <a:cubicBezTo>
                    <a:pt x="15169" y="1942"/>
                    <a:pt x="15290" y="1865"/>
                    <a:pt x="15290" y="1865"/>
                  </a:cubicBezTo>
                  <a:cubicBezTo>
                    <a:pt x="15411" y="1865"/>
                    <a:pt x="15533" y="1787"/>
                    <a:pt x="15533" y="1787"/>
                  </a:cubicBezTo>
                  <a:cubicBezTo>
                    <a:pt x="15533" y="1787"/>
                    <a:pt x="15533" y="1709"/>
                    <a:pt x="15533" y="1709"/>
                  </a:cubicBezTo>
                  <a:cubicBezTo>
                    <a:pt x="15533" y="1787"/>
                    <a:pt x="15775" y="1865"/>
                    <a:pt x="15775" y="1865"/>
                  </a:cubicBezTo>
                  <a:cubicBezTo>
                    <a:pt x="15775" y="1865"/>
                    <a:pt x="15897" y="2020"/>
                    <a:pt x="15897" y="2020"/>
                  </a:cubicBezTo>
                  <a:cubicBezTo>
                    <a:pt x="15897" y="2020"/>
                    <a:pt x="16139" y="1942"/>
                    <a:pt x="16139" y="1942"/>
                  </a:cubicBezTo>
                  <a:cubicBezTo>
                    <a:pt x="16139" y="1942"/>
                    <a:pt x="16139" y="1942"/>
                    <a:pt x="16261" y="1942"/>
                  </a:cubicBezTo>
                  <a:cubicBezTo>
                    <a:pt x="16382" y="1942"/>
                    <a:pt x="16382" y="1942"/>
                    <a:pt x="16382" y="1942"/>
                  </a:cubicBezTo>
                  <a:cubicBezTo>
                    <a:pt x="16503" y="2020"/>
                    <a:pt x="16867" y="2020"/>
                    <a:pt x="16867" y="2020"/>
                  </a:cubicBezTo>
                  <a:cubicBezTo>
                    <a:pt x="17231" y="1865"/>
                    <a:pt x="17231" y="1865"/>
                    <a:pt x="17231" y="1865"/>
                  </a:cubicBezTo>
                  <a:cubicBezTo>
                    <a:pt x="17353" y="1632"/>
                    <a:pt x="17353" y="1632"/>
                    <a:pt x="17353" y="1632"/>
                  </a:cubicBezTo>
                  <a:cubicBezTo>
                    <a:pt x="17353" y="1554"/>
                    <a:pt x="17353" y="1554"/>
                    <a:pt x="17353" y="1554"/>
                  </a:cubicBezTo>
                  <a:cubicBezTo>
                    <a:pt x="17353" y="1554"/>
                    <a:pt x="17596" y="1476"/>
                    <a:pt x="17596" y="1476"/>
                  </a:cubicBezTo>
                  <a:cubicBezTo>
                    <a:pt x="17596" y="1476"/>
                    <a:pt x="17717" y="1476"/>
                    <a:pt x="17717" y="1554"/>
                  </a:cubicBezTo>
                  <a:cubicBezTo>
                    <a:pt x="17717" y="1554"/>
                    <a:pt x="17960" y="1709"/>
                    <a:pt x="17960" y="1709"/>
                  </a:cubicBezTo>
                  <a:cubicBezTo>
                    <a:pt x="17960" y="1709"/>
                    <a:pt x="18202" y="1709"/>
                    <a:pt x="18202" y="1709"/>
                  </a:cubicBezTo>
                  <a:cubicBezTo>
                    <a:pt x="18324" y="1709"/>
                    <a:pt x="18324" y="1632"/>
                    <a:pt x="18445" y="1709"/>
                  </a:cubicBezTo>
                  <a:cubicBezTo>
                    <a:pt x="18445" y="1787"/>
                    <a:pt x="18445" y="1865"/>
                    <a:pt x="18566" y="1865"/>
                  </a:cubicBezTo>
                  <a:cubicBezTo>
                    <a:pt x="18566" y="1865"/>
                    <a:pt x="18688" y="1865"/>
                    <a:pt x="18688" y="1865"/>
                  </a:cubicBezTo>
                  <a:cubicBezTo>
                    <a:pt x="18809" y="1942"/>
                    <a:pt x="19052" y="1942"/>
                    <a:pt x="19052" y="1942"/>
                  </a:cubicBezTo>
                  <a:cubicBezTo>
                    <a:pt x="19173" y="1787"/>
                    <a:pt x="19173" y="1787"/>
                    <a:pt x="19173" y="1787"/>
                  </a:cubicBezTo>
                  <a:cubicBezTo>
                    <a:pt x="19173" y="1787"/>
                    <a:pt x="19173" y="1709"/>
                    <a:pt x="19294" y="1787"/>
                  </a:cubicBezTo>
                  <a:cubicBezTo>
                    <a:pt x="19416" y="1787"/>
                    <a:pt x="19416" y="1942"/>
                    <a:pt x="19416" y="1942"/>
                  </a:cubicBezTo>
                  <a:cubicBezTo>
                    <a:pt x="19416" y="1942"/>
                    <a:pt x="19537" y="2020"/>
                    <a:pt x="19537" y="2020"/>
                  </a:cubicBezTo>
                  <a:cubicBezTo>
                    <a:pt x="19537" y="2020"/>
                    <a:pt x="19901" y="2098"/>
                    <a:pt x="19901" y="2098"/>
                  </a:cubicBezTo>
                  <a:cubicBezTo>
                    <a:pt x="19901" y="2098"/>
                    <a:pt x="20144" y="2020"/>
                    <a:pt x="20144" y="2020"/>
                  </a:cubicBezTo>
                  <a:cubicBezTo>
                    <a:pt x="20265" y="2020"/>
                    <a:pt x="20265" y="2176"/>
                    <a:pt x="20265" y="2176"/>
                  </a:cubicBezTo>
                  <a:cubicBezTo>
                    <a:pt x="20265" y="2176"/>
                    <a:pt x="20265" y="2253"/>
                    <a:pt x="20265" y="2253"/>
                  </a:cubicBezTo>
                  <a:cubicBezTo>
                    <a:pt x="20144" y="2331"/>
                    <a:pt x="20144" y="2331"/>
                    <a:pt x="20265" y="2331"/>
                  </a:cubicBezTo>
                  <a:cubicBezTo>
                    <a:pt x="20265" y="2409"/>
                    <a:pt x="20387" y="2486"/>
                    <a:pt x="20387" y="2486"/>
                  </a:cubicBezTo>
                  <a:cubicBezTo>
                    <a:pt x="20387" y="2486"/>
                    <a:pt x="20265" y="2642"/>
                    <a:pt x="20265" y="2642"/>
                  </a:cubicBezTo>
                  <a:cubicBezTo>
                    <a:pt x="20265" y="2719"/>
                    <a:pt x="20144" y="2797"/>
                    <a:pt x="20144" y="2797"/>
                  </a:cubicBezTo>
                  <a:cubicBezTo>
                    <a:pt x="20022" y="2875"/>
                    <a:pt x="20022" y="2875"/>
                    <a:pt x="20022" y="2875"/>
                  </a:cubicBezTo>
                  <a:cubicBezTo>
                    <a:pt x="20022" y="2953"/>
                    <a:pt x="20022" y="2953"/>
                    <a:pt x="20022" y="2953"/>
                  </a:cubicBezTo>
                  <a:cubicBezTo>
                    <a:pt x="20022" y="3030"/>
                    <a:pt x="20022" y="3030"/>
                    <a:pt x="20022" y="3030"/>
                  </a:cubicBezTo>
                  <a:cubicBezTo>
                    <a:pt x="20022" y="3030"/>
                    <a:pt x="20022" y="3108"/>
                    <a:pt x="20022" y="3108"/>
                  </a:cubicBezTo>
                  <a:cubicBezTo>
                    <a:pt x="19901" y="3108"/>
                    <a:pt x="20022" y="3263"/>
                    <a:pt x="20022" y="3263"/>
                  </a:cubicBezTo>
                  <a:cubicBezTo>
                    <a:pt x="20144" y="3341"/>
                    <a:pt x="20144" y="3341"/>
                    <a:pt x="20144" y="3341"/>
                  </a:cubicBezTo>
                  <a:cubicBezTo>
                    <a:pt x="20144" y="3341"/>
                    <a:pt x="20387" y="3263"/>
                    <a:pt x="20387" y="3263"/>
                  </a:cubicBezTo>
                  <a:cubicBezTo>
                    <a:pt x="20387" y="3263"/>
                    <a:pt x="20751" y="3341"/>
                    <a:pt x="20751" y="3341"/>
                  </a:cubicBezTo>
                  <a:cubicBezTo>
                    <a:pt x="20751" y="3341"/>
                    <a:pt x="20993" y="3419"/>
                    <a:pt x="20993" y="3496"/>
                  </a:cubicBezTo>
                  <a:cubicBezTo>
                    <a:pt x="21115" y="3496"/>
                    <a:pt x="21357" y="3652"/>
                    <a:pt x="21357" y="3652"/>
                  </a:cubicBezTo>
                  <a:cubicBezTo>
                    <a:pt x="21600" y="3885"/>
                    <a:pt x="21600" y="3885"/>
                    <a:pt x="21600" y="3885"/>
                  </a:cubicBezTo>
                  <a:cubicBezTo>
                    <a:pt x="21357" y="4040"/>
                    <a:pt x="21357" y="4040"/>
                    <a:pt x="21357" y="4040"/>
                  </a:cubicBezTo>
                  <a:cubicBezTo>
                    <a:pt x="21115" y="4273"/>
                    <a:pt x="21115" y="4273"/>
                    <a:pt x="21115" y="4273"/>
                  </a:cubicBezTo>
                  <a:cubicBezTo>
                    <a:pt x="20872" y="4351"/>
                    <a:pt x="20872" y="4351"/>
                    <a:pt x="20872" y="4351"/>
                  </a:cubicBezTo>
                  <a:cubicBezTo>
                    <a:pt x="20872" y="4351"/>
                    <a:pt x="20751" y="4506"/>
                    <a:pt x="20751" y="4506"/>
                  </a:cubicBezTo>
                  <a:cubicBezTo>
                    <a:pt x="20751" y="4506"/>
                    <a:pt x="20508" y="4584"/>
                    <a:pt x="20508" y="4584"/>
                  </a:cubicBezTo>
                  <a:cubicBezTo>
                    <a:pt x="20387" y="4584"/>
                    <a:pt x="20387" y="4584"/>
                    <a:pt x="20387" y="4584"/>
                  </a:cubicBezTo>
                  <a:cubicBezTo>
                    <a:pt x="20022" y="4817"/>
                    <a:pt x="20022" y="4817"/>
                    <a:pt x="20022" y="4817"/>
                  </a:cubicBezTo>
                  <a:cubicBezTo>
                    <a:pt x="19780" y="4895"/>
                    <a:pt x="19780" y="4895"/>
                    <a:pt x="19780" y="4895"/>
                  </a:cubicBezTo>
                  <a:cubicBezTo>
                    <a:pt x="19537" y="4973"/>
                    <a:pt x="19537" y="4973"/>
                    <a:pt x="19537" y="4973"/>
                  </a:cubicBezTo>
                  <a:cubicBezTo>
                    <a:pt x="19416" y="4973"/>
                    <a:pt x="19416" y="4973"/>
                    <a:pt x="19416" y="4973"/>
                  </a:cubicBezTo>
                  <a:cubicBezTo>
                    <a:pt x="19173" y="5128"/>
                    <a:pt x="19173" y="5128"/>
                    <a:pt x="19173" y="5128"/>
                  </a:cubicBezTo>
                  <a:cubicBezTo>
                    <a:pt x="18930" y="5050"/>
                    <a:pt x="18930" y="5050"/>
                    <a:pt x="18930" y="5050"/>
                  </a:cubicBezTo>
                  <a:cubicBezTo>
                    <a:pt x="18566" y="5128"/>
                    <a:pt x="18566" y="5128"/>
                    <a:pt x="18566" y="5128"/>
                  </a:cubicBezTo>
                  <a:cubicBezTo>
                    <a:pt x="18566" y="5206"/>
                    <a:pt x="18566" y="5206"/>
                    <a:pt x="18566" y="5206"/>
                  </a:cubicBezTo>
                  <a:cubicBezTo>
                    <a:pt x="18081" y="5361"/>
                    <a:pt x="18081" y="5361"/>
                    <a:pt x="18081" y="5361"/>
                  </a:cubicBezTo>
                  <a:cubicBezTo>
                    <a:pt x="17960" y="5594"/>
                    <a:pt x="17960" y="5594"/>
                    <a:pt x="17960" y="5594"/>
                  </a:cubicBezTo>
                  <a:cubicBezTo>
                    <a:pt x="17960" y="5594"/>
                    <a:pt x="17717" y="5594"/>
                    <a:pt x="17717" y="5672"/>
                  </a:cubicBezTo>
                  <a:cubicBezTo>
                    <a:pt x="17596" y="5672"/>
                    <a:pt x="17474" y="5750"/>
                    <a:pt x="17474" y="5750"/>
                  </a:cubicBezTo>
                  <a:cubicBezTo>
                    <a:pt x="17231" y="5672"/>
                    <a:pt x="17231" y="5672"/>
                    <a:pt x="17231" y="5672"/>
                  </a:cubicBezTo>
                  <a:cubicBezTo>
                    <a:pt x="17110" y="5750"/>
                    <a:pt x="17110" y="5750"/>
                    <a:pt x="17110" y="5750"/>
                  </a:cubicBezTo>
                  <a:cubicBezTo>
                    <a:pt x="17110" y="5905"/>
                    <a:pt x="17110" y="5905"/>
                    <a:pt x="17110" y="5905"/>
                  </a:cubicBezTo>
                  <a:cubicBezTo>
                    <a:pt x="17231" y="5905"/>
                    <a:pt x="17231" y="5905"/>
                    <a:pt x="17231" y="5905"/>
                  </a:cubicBezTo>
                  <a:cubicBezTo>
                    <a:pt x="17231" y="5905"/>
                    <a:pt x="17231" y="6060"/>
                    <a:pt x="17231" y="6060"/>
                  </a:cubicBezTo>
                  <a:cubicBezTo>
                    <a:pt x="17231" y="6138"/>
                    <a:pt x="17231" y="6294"/>
                    <a:pt x="17231" y="6294"/>
                  </a:cubicBezTo>
                  <a:cubicBezTo>
                    <a:pt x="17474" y="6371"/>
                    <a:pt x="17474" y="6371"/>
                    <a:pt x="17474" y="6371"/>
                  </a:cubicBezTo>
                  <a:cubicBezTo>
                    <a:pt x="17474" y="6371"/>
                    <a:pt x="17474" y="6604"/>
                    <a:pt x="17353" y="6604"/>
                  </a:cubicBezTo>
                  <a:cubicBezTo>
                    <a:pt x="17353" y="6604"/>
                    <a:pt x="17110" y="6682"/>
                    <a:pt x="17110" y="6682"/>
                  </a:cubicBezTo>
                  <a:cubicBezTo>
                    <a:pt x="17110" y="6760"/>
                    <a:pt x="17110" y="6760"/>
                    <a:pt x="17110" y="6760"/>
                  </a:cubicBezTo>
                  <a:cubicBezTo>
                    <a:pt x="17231" y="6915"/>
                    <a:pt x="17231" y="6915"/>
                    <a:pt x="17231" y="6915"/>
                  </a:cubicBezTo>
                  <a:cubicBezTo>
                    <a:pt x="17231" y="6915"/>
                    <a:pt x="17231" y="7148"/>
                    <a:pt x="17110" y="7148"/>
                  </a:cubicBezTo>
                  <a:cubicBezTo>
                    <a:pt x="17110" y="7226"/>
                    <a:pt x="16989" y="7381"/>
                    <a:pt x="16989" y="7381"/>
                  </a:cubicBezTo>
                  <a:cubicBezTo>
                    <a:pt x="16867" y="7459"/>
                    <a:pt x="16867" y="7459"/>
                    <a:pt x="16867" y="7459"/>
                  </a:cubicBezTo>
                  <a:cubicBezTo>
                    <a:pt x="16746" y="7614"/>
                    <a:pt x="16746" y="7614"/>
                    <a:pt x="16746" y="7614"/>
                  </a:cubicBezTo>
                  <a:cubicBezTo>
                    <a:pt x="16867" y="7692"/>
                    <a:pt x="16867" y="7692"/>
                    <a:pt x="16867" y="7692"/>
                  </a:cubicBezTo>
                  <a:cubicBezTo>
                    <a:pt x="16867" y="7925"/>
                    <a:pt x="16867" y="7925"/>
                    <a:pt x="16867" y="7925"/>
                  </a:cubicBezTo>
                  <a:cubicBezTo>
                    <a:pt x="16625" y="8003"/>
                    <a:pt x="16625" y="8003"/>
                    <a:pt x="16625" y="8003"/>
                  </a:cubicBezTo>
                  <a:cubicBezTo>
                    <a:pt x="16503" y="8236"/>
                    <a:pt x="16503" y="8236"/>
                    <a:pt x="16503" y="8236"/>
                  </a:cubicBezTo>
                  <a:cubicBezTo>
                    <a:pt x="16625" y="8314"/>
                    <a:pt x="16625" y="8314"/>
                    <a:pt x="16625" y="8314"/>
                  </a:cubicBezTo>
                  <a:cubicBezTo>
                    <a:pt x="16746" y="8469"/>
                    <a:pt x="16746" y="8469"/>
                    <a:pt x="16746" y="8469"/>
                  </a:cubicBezTo>
                  <a:cubicBezTo>
                    <a:pt x="16625" y="8624"/>
                    <a:pt x="16625" y="8624"/>
                    <a:pt x="16625" y="8624"/>
                  </a:cubicBezTo>
                  <a:cubicBezTo>
                    <a:pt x="16503" y="8702"/>
                    <a:pt x="16503" y="8702"/>
                    <a:pt x="16503" y="8702"/>
                  </a:cubicBezTo>
                  <a:cubicBezTo>
                    <a:pt x="16382" y="8702"/>
                    <a:pt x="16382" y="8702"/>
                    <a:pt x="16382" y="8702"/>
                  </a:cubicBezTo>
                  <a:cubicBezTo>
                    <a:pt x="16139" y="8858"/>
                    <a:pt x="16139" y="8858"/>
                    <a:pt x="16139" y="8858"/>
                  </a:cubicBezTo>
                  <a:cubicBezTo>
                    <a:pt x="15897" y="8858"/>
                    <a:pt x="15897" y="8858"/>
                    <a:pt x="15897" y="8858"/>
                  </a:cubicBezTo>
                  <a:cubicBezTo>
                    <a:pt x="15775" y="8858"/>
                    <a:pt x="15775" y="8858"/>
                    <a:pt x="15775" y="8858"/>
                  </a:cubicBezTo>
                  <a:cubicBezTo>
                    <a:pt x="15533" y="9013"/>
                    <a:pt x="15533" y="9013"/>
                    <a:pt x="15533" y="9013"/>
                  </a:cubicBezTo>
                  <a:cubicBezTo>
                    <a:pt x="15411" y="9013"/>
                    <a:pt x="15411" y="9013"/>
                    <a:pt x="15411" y="9013"/>
                  </a:cubicBezTo>
                  <a:cubicBezTo>
                    <a:pt x="15290" y="9091"/>
                    <a:pt x="15290" y="9091"/>
                    <a:pt x="15290" y="9091"/>
                  </a:cubicBezTo>
                  <a:cubicBezTo>
                    <a:pt x="15290" y="9246"/>
                    <a:pt x="15290" y="9246"/>
                    <a:pt x="15290" y="9246"/>
                  </a:cubicBezTo>
                  <a:cubicBezTo>
                    <a:pt x="15290" y="9246"/>
                    <a:pt x="15290" y="9324"/>
                    <a:pt x="15290" y="9324"/>
                  </a:cubicBezTo>
                  <a:cubicBezTo>
                    <a:pt x="15411" y="9324"/>
                    <a:pt x="15411" y="9401"/>
                    <a:pt x="15411" y="9401"/>
                  </a:cubicBezTo>
                  <a:cubicBezTo>
                    <a:pt x="15533" y="9557"/>
                    <a:pt x="15533" y="9557"/>
                    <a:pt x="15533" y="9557"/>
                  </a:cubicBezTo>
                  <a:cubicBezTo>
                    <a:pt x="15654" y="9712"/>
                    <a:pt x="15654" y="9712"/>
                    <a:pt x="15654" y="9712"/>
                  </a:cubicBezTo>
                  <a:cubicBezTo>
                    <a:pt x="15775" y="9945"/>
                    <a:pt x="15775" y="9945"/>
                    <a:pt x="15775" y="9945"/>
                  </a:cubicBezTo>
                  <a:cubicBezTo>
                    <a:pt x="15775" y="9945"/>
                    <a:pt x="15654" y="10101"/>
                    <a:pt x="15654" y="10101"/>
                  </a:cubicBezTo>
                  <a:cubicBezTo>
                    <a:pt x="15654" y="10101"/>
                    <a:pt x="15533" y="10256"/>
                    <a:pt x="15533" y="10256"/>
                  </a:cubicBezTo>
                  <a:cubicBezTo>
                    <a:pt x="15411" y="10412"/>
                    <a:pt x="15411" y="10412"/>
                    <a:pt x="15411" y="10412"/>
                  </a:cubicBezTo>
                  <a:cubicBezTo>
                    <a:pt x="15290" y="10567"/>
                    <a:pt x="15290" y="10567"/>
                    <a:pt x="15290" y="10567"/>
                  </a:cubicBezTo>
                  <a:cubicBezTo>
                    <a:pt x="15169" y="10645"/>
                    <a:pt x="15169" y="10645"/>
                    <a:pt x="15169" y="10645"/>
                  </a:cubicBezTo>
                  <a:cubicBezTo>
                    <a:pt x="14926" y="10645"/>
                    <a:pt x="14926" y="10645"/>
                    <a:pt x="14926" y="10645"/>
                  </a:cubicBezTo>
                  <a:cubicBezTo>
                    <a:pt x="14926" y="10722"/>
                    <a:pt x="14926" y="10722"/>
                    <a:pt x="14926" y="10722"/>
                  </a:cubicBezTo>
                  <a:cubicBezTo>
                    <a:pt x="14804" y="10878"/>
                    <a:pt x="14804" y="10878"/>
                    <a:pt x="14804" y="10878"/>
                  </a:cubicBezTo>
                  <a:cubicBezTo>
                    <a:pt x="14804" y="10955"/>
                    <a:pt x="14804" y="10955"/>
                    <a:pt x="14804" y="10955"/>
                  </a:cubicBezTo>
                  <a:cubicBezTo>
                    <a:pt x="14683" y="10955"/>
                    <a:pt x="14683" y="10955"/>
                    <a:pt x="14683" y="10955"/>
                  </a:cubicBezTo>
                  <a:cubicBezTo>
                    <a:pt x="14683" y="11111"/>
                    <a:pt x="14683" y="11111"/>
                    <a:pt x="14683" y="11111"/>
                  </a:cubicBezTo>
                  <a:cubicBezTo>
                    <a:pt x="14562" y="11188"/>
                    <a:pt x="14562" y="11188"/>
                    <a:pt x="14562" y="11188"/>
                  </a:cubicBezTo>
                  <a:cubicBezTo>
                    <a:pt x="14562" y="11188"/>
                    <a:pt x="14440" y="11188"/>
                    <a:pt x="14440" y="11188"/>
                  </a:cubicBezTo>
                  <a:cubicBezTo>
                    <a:pt x="14319" y="11188"/>
                    <a:pt x="14198" y="11266"/>
                    <a:pt x="14198" y="11266"/>
                  </a:cubicBezTo>
                  <a:cubicBezTo>
                    <a:pt x="14198" y="11266"/>
                    <a:pt x="13955" y="11266"/>
                    <a:pt x="13955" y="11188"/>
                  </a:cubicBezTo>
                  <a:cubicBezTo>
                    <a:pt x="13955" y="11188"/>
                    <a:pt x="13834" y="11266"/>
                    <a:pt x="13712" y="11188"/>
                  </a:cubicBezTo>
                  <a:cubicBezTo>
                    <a:pt x="13712" y="11188"/>
                    <a:pt x="13591" y="11111"/>
                    <a:pt x="13591" y="11111"/>
                  </a:cubicBezTo>
                  <a:cubicBezTo>
                    <a:pt x="13470" y="11111"/>
                    <a:pt x="13470" y="11111"/>
                    <a:pt x="13470" y="11111"/>
                  </a:cubicBezTo>
                  <a:cubicBezTo>
                    <a:pt x="13227" y="11111"/>
                    <a:pt x="13227" y="11111"/>
                    <a:pt x="13227" y="11111"/>
                  </a:cubicBezTo>
                  <a:cubicBezTo>
                    <a:pt x="12863" y="11111"/>
                    <a:pt x="12863" y="11111"/>
                    <a:pt x="12863" y="11111"/>
                  </a:cubicBezTo>
                  <a:cubicBezTo>
                    <a:pt x="12620" y="11111"/>
                    <a:pt x="12620" y="11111"/>
                    <a:pt x="12620" y="11111"/>
                  </a:cubicBezTo>
                  <a:cubicBezTo>
                    <a:pt x="12620" y="11033"/>
                    <a:pt x="12620" y="11033"/>
                    <a:pt x="12620" y="11033"/>
                  </a:cubicBezTo>
                  <a:cubicBezTo>
                    <a:pt x="12499" y="11111"/>
                    <a:pt x="12499" y="11111"/>
                    <a:pt x="12499" y="11111"/>
                  </a:cubicBezTo>
                  <a:cubicBezTo>
                    <a:pt x="12378" y="10955"/>
                    <a:pt x="12378" y="10955"/>
                    <a:pt x="12378" y="10955"/>
                  </a:cubicBezTo>
                  <a:cubicBezTo>
                    <a:pt x="12135" y="10955"/>
                    <a:pt x="12135" y="10955"/>
                    <a:pt x="12135" y="10955"/>
                  </a:cubicBezTo>
                  <a:cubicBezTo>
                    <a:pt x="11892" y="10955"/>
                    <a:pt x="11892" y="10955"/>
                    <a:pt x="11892" y="10955"/>
                  </a:cubicBezTo>
                  <a:cubicBezTo>
                    <a:pt x="11892" y="10955"/>
                    <a:pt x="11892" y="11033"/>
                    <a:pt x="12013" y="11111"/>
                  </a:cubicBezTo>
                  <a:cubicBezTo>
                    <a:pt x="12013" y="11111"/>
                    <a:pt x="12135" y="11266"/>
                    <a:pt x="12135" y="11266"/>
                  </a:cubicBezTo>
                  <a:cubicBezTo>
                    <a:pt x="12135" y="11266"/>
                    <a:pt x="12135" y="11422"/>
                    <a:pt x="12135" y="11422"/>
                  </a:cubicBezTo>
                  <a:cubicBezTo>
                    <a:pt x="12135" y="11422"/>
                    <a:pt x="12378" y="11577"/>
                    <a:pt x="12378" y="11577"/>
                  </a:cubicBezTo>
                  <a:cubicBezTo>
                    <a:pt x="12378" y="11655"/>
                    <a:pt x="12378" y="11655"/>
                    <a:pt x="12378" y="11655"/>
                  </a:cubicBezTo>
                  <a:cubicBezTo>
                    <a:pt x="12378" y="11655"/>
                    <a:pt x="12499" y="11810"/>
                    <a:pt x="12499" y="11810"/>
                  </a:cubicBezTo>
                  <a:cubicBezTo>
                    <a:pt x="12499" y="11810"/>
                    <a:pt x="12742" y="11888"/>
                    <a:pt x="12742" y="11888"/>
                  </a:cubicBezTo>
                  <a:cubicBezTo>
                    <a:pt x="12742" y="12043"/>
                    <a:pt x="12742" y="12043"/>
                    <a:pt x="12742" y="12043"/>
                  </a:cubicBezTo>
                  <a:cubicBezTo>
                    <a:pt x="12620" y="12121"/>
                    <a:pt x="12620" y="12121"/>
                    <a:pt x="12620" y="12121"/>
                  </a:cubicBezTo>
                  <a:cubicBezTo>
                    <a:pt x="12499" y="12199"/>
                    <a:pt x="12499" y="12199"/>
                    <a:pt x="12499" y="12199"/>
                  </a:cubicBezTo>
                  <a:cubicBezTo>
                    <a:pt x="12620" y="12354"/>
                    <a:pt x="12620" y="12354"/>
                    <a:pt x="12620" y="12354"/>
                  </a:cubicBezTo>
                  <a:cubicBezTo>
                    <a:pt x="12620" y="12509"/>
                    <a:pt x="12620" y="12509"/>
                    <a:pt x="12620" y="12509"/>
                  </a:cubicBezTo>
                  <a:cubicBezTo>
                    <a:pt x="12742" y="12587"/>
                    <a:pt x="12742" y="12587"/>
                    <a:pt x="12742" y="12587"/>
                  </a:cubicBezTo>
                  <a:cubicBezTo>
                    <a:pt x="12742" y="12665"/>
                    <a:pt x="12742" y="12665"/>
                    <a:pt x="12742" y="12665"/>
                  </a:cubicBezTo>
                  <a:cubicBezTo>
                    <a:pt x="12620" y="12742"/>
                    <a:pt x="12620" y="12742"/>
                    <a:pt x="12620" y="12742"/>
                  </a:cubicBezTo>
                  <a:cubicBezTo>
                    <a:pt x="12620" y="12898"/>
                    <a:pt x="12620" y="12898"/>
                    <a:pt x="12620" y="12898"/>
                  </a:cubicBezTo>
                  <a:cubicBezTo>
                    <a:pt x="12742" y="13053"/>
                    <a:pt x="12742" y="13053"/>
                    <a:pt x="12742" y="13053"/>
                  </a:cubicBezTo>
                  <a:cubicBezTo>
                    <a:pt x="12863" y="13209"/>
                    <a:pt x="12863" y="13209"/>
                    <a:pt x="12863" y="13209"/>
                  </a:cubicBezTo>
                  <a:cubicBezTo>
                    <a:pt x="13106" y="13209"/>
                    <a:pt x="13106" y="13209"/>
                    <a:pt x="13106" y="13209"/>
                  </a:cubicBezTo>
                  <a:cubicBezTo>
                    <a:pt x="13106" y="13364"/>
                    <a:pt x="13106" y="13364"/>
                    <a:pt x="13106" y="13364"/>
                  </a:cubicBezTo>
                  <a:cubicBezTo>
                    <a:pt x="12984" y="13442"/>
                    <a:pt x="12984" y="13442"/>
                    <a:pt x="12984" y="13442"/>
                  </a:cubicBezTo>
                  <a:cubicBezTo>
                    <a:pt x="12984" y="13442"/>
                    <a:pt x="12984" y="13519"/>
                    <a:pt x="12984" y="13519"/>
                  </a:cubicBezTo>
                  <a:cubicBezTo>
                    <a:pt x="13106" y="13519"/>
                    <a:pt x="13227" y="13597"/>
                    <a:pt x="13227" y="13597"/>
                  </a:cubicBezTo>
                  <a:cubicBezTo>
                    <a:pt x="13470" y="13519"/>
                    <a:pt x="13470" y="13519"/>
                    <a:pt x="13470" y="13519"/>
                  </a:cubicBezTo>
                  <a:cubicBezTo>
                    <a:pt x="13470" y="13519"/>
                    <a:pt x="13591" y="13519"/>
                    <a:pt x="13591" y="13519"/>
                  </a:cubicBezTo>
                  <a:cubicBezTo>
                    <a:pt x="13591" y="13597"/>
                    <a:pt x="13712" y="13753"/>
                    <a:pt x="13712" y="13753"/>
                  </a:cubicBezTo>
                  <a:cubicBezTo>
                    <a:pt x="13834" y="13830"/>
                    <a:pt x="13834" y="13830"/>
                    <a:pt x="13834" y="13830"/>
                  </a:cubicBezTo>
                  <a:cubicBezTo>
                    <a:pt x="13834" y="13986"/>
                    <a:pt x="13834" y="13986"/>
                    <a:pt x="13834" y="13986"/>
                  </a:cubicBezTo>
                  <a:cubicBezTo>
                    <a:pt x="13591" y="14141"/>
                    <a:pt x="13591" y="14141"/>
                    <a:pt x="13591" y="14141"/>
                  </a:cubicBezTo>
                  <a:cubicBezTo>
                    <a:pt x="13348" y="14296"/>
                    <a:pt x="13348" y="14296"/>
                    <a:pt x="13348" y="14296"/>
                  </a:cubicBezTo>
                  <a:cubicBezTo>
                    <a:pt x="13227" y="14374"/>
                    <a:pt x="13227" y="14374"/>
                    <a:pt x="13227" y="14374"/>
                  </a:cubicBezTo>
                  <a:cubicBezTo>
                    <a:pt x="13227" y="14529"/>
                    <a:pt x="13227" y="14529"/>
                    <a:pt x="13227" y="14529"/>
                  </a:cubicBezTo>
                  <a:cubicBezTo>
                    <a:pt x="13106" y="14607"/>
                    <a:pt x="13106" y="14607"/>
                    <a:pt x="13106" y="14607"/>
                  </a:cubicBezTo>
                  <a:cubicBezTo>
                    <a:pt x="12863" y="14685"/>
                    <a:pt x="12863" y="14685"/>
                    <a:pt x="12863" y="14685"/>
                  </a:cubicBezTo>
                  <a:cubicBezTo>
                    <a:pt x="12620" y="14763"/>
                    <a:pt x="12620" y="14763"/>
                    <a:pt x="12620" y="14763"/>
                  </a:cubicBezTo>
                  <a:cubicBezTo>
                    <a:pt x="12499" y="14763"/>
                    <a:pt x="12499" y="14763"/>
                    <a:pt x="12499" y="14763"/>
                  </a:cubicBezTo>
                  <a:cubicBezTo>
                    <a:pt x="12378" y="14840"/>
                    <a:pt x="12378" y="14840"/>
                    <a:pt x="12378" y="14840"/>
                  </a:cubicBezTo>
                  <a:cubicBezTo>
                    <a:pt x="12013" y="14918"/>
                    <a:pt x="12013" y="14918"/>
                    <a:pt x="12013" y="14918"/>
                  </a:cubicBezTo>
                  <a:cubicBezTo>
                    <a:pt x="11892" y="14918"/>
                    <a:pt x="11892" y="14918"/>
                    <a:pt x="11892" y="14918"/>
                  </a:cubicBezTo>
                  <a:cubicBezTo>
                    <a:pt x="11649" y="15229"/>
                    <a:pt x="11649" y="15229"/>
                    <a:pt x="11649" y="15229"/>
                  </a:cubicBezTo>
                  <a:cubicBezTo>
                    <a:pt x="11649" y="15229"/>
                    <a:pt x="11649" y="15384"/>
                    <a:pt x="11649" y="15384"/>
                  </a:cubicBezTo>
                  <a:cubicBezTo>
                    <a:pt x="11649" y="15384"/>
                    <a:pt x="11771" y="15462"/>
                    <a:pt x="11771" y="15462"/>
                  </a:cubicBezTo>
                  <a:cubicBezTo>
                    <a:pt x="11771" y="15462"/>
                    <a:pt x="11528" y="15617"/>
                    <a:pt x="11528" y="15617"/>
                  </a:cubicBezTo>
                  <a:cubicBezTo>
                    <a:pt x="11528" y="15617"/>
                    <a:pt x="11285" y="15695"/>
                    <a:pt x="11285" y="15695"/>
                  </a:cubicBezTo>
                  <a:cubicBezTo>
                    <a:pt x="11164" y="15850"/>
                    <a:pt x="11164" y="15850"/>
                    <a:pt x="11164" y="15850"/>
                  </a:cubicBezTo>
                  <a:cubicBezTo>
                    <a:pt x="11285" y="15928"/>
                    <a:pt x="11285" y="15928"/>
                    <a:pt x="11285" y="15928"/>
                  </a:cubicBezTo>
                  <a:cubicBezTo>
                    <a:pt x="11043" y="15928"/>
                    <a:pt x="11043" y="15928"/>
                    <a:pt x="11043" y="15928"/>
                  </a:cubicBezTo>
                  <a:cubicBezTo>
                    <a:pt x="11164" y="16083"/>
                    <a:pt x="11164" y="16083"/>
                    <a:pt x="11164" y="16083"/>
                  </a:cubicBezTo>
                  <a:cubicBezTo>
                    <a:pt x="11043" y="16161"/>
                    <a:pt x="11043" y="16161"/>
                    <a:pt x="11043" y="16161"/>
                  </a:cubicBezTo>
                  <a:cubicBezTo>
                    <a:pt x="11164" y="16239"/>
                    <a:pt x="11164" y="16239"/>
                    <a:pt x="11164" y="16239"/>
                  </a:cubicBezTo>
                  <a:cubicBezTo>
                    <a:pt x="11164" y="16239"/>
                    <a:pt x="11285" y="16472"/>
                    <a:pt x="11285" y="16472"/>
                  </a:cubicBezTo>
                  <a:cubicBezTo>
                    <a:pt x="11285" y="16550"/>
                    <a:pt x="11407" y="16627"/>
                    <a:pt x="11407" y="16627"/>
                  </a:cubicBezTo>
                  <a:cubicBezTo>
                    <a:pt x="11407" y="16627"/>
                    <a:pt x="11528" y="16705"/>
                    <a:pt x="11528" y="16705"/>
                  </a:cubicBezTo>
                  <a:cubicBezTo>
                    <a:pt x="11528" y="16783"/>
                    <a:pt x="11528" y="16860"/>
                    <a:pt x="11528" y="16938"/>
                  </a:cubicBezTo>
                  <a:cubicBezTo>
                    <a:pt x="11528" y="17016"/>
                    <a:pt x="11649" y="17171"/>
                    <a:pt x="11649" y="17171"/>
                  </a:cubicBezTo>
                  <a:cubicBezTo>
                    <a:pt x="11771" y="17327"/>
                    <a:pt x="11771" y="17327"/>
                    <a:pt x="11771" y="17327"/>
                  </a:cubicBezTo>
                  <a:cubicBezTo>
                    <a:pt x="11771" y="17327"/>
                    <a:pt x="11771" y="17404"/>
                    <a:pt x="11771" y="17404"/>
                  </a:cubicBezTo>
                  <a:cubicBezTo>
                    <a:pt x="11892" y="17404"/>
                    <a:pt x="12135" y="17404"/>
                    <a:pt x="12135" y="17404"/>
                  </a:cubicBezTo>
                  <a:cubicBezTo>
                    <a:pt x="12135" y="17404"/>
                    <a:pt x="12378" y="17404"/>
                    <a:pt x="12378" y="17404"/>
                  </a:cubicBezTo>
                  <a:cubicBezTo>
                    <a:pt x="12378" y="17404"/>
                    <a:pt x="12499" y="17327"/>
                    <a:pt x="12620" y="17404"/>
                  </a:cubicBezTo>
                  <a:cubicBezTo>
                    <a:pt x="12620" y="17404"/>
                    <a:pt x="12620" y="17482"/>
                    <a:pt x="12620" y="17482"/>
                  </a:cubicBezTo>
                  <a:cubicBezTo>
                    <a:pt x="12620" y="17482"/>
                    <a:pt x="12620" y="17560"/>
                    <a:pt x="12620" y="17560"/>
                  </a:cubicBezTo>
                  <a:cubicBezTo>
                    <a:pt x="12135" y="17871"/>
                    <a:pt x="12135" y="17871"/>
                    <a:pt x="12135" y="17871"/>
                  </a:cubicBezTo>
                  <a:cubicBezTo>
                    <a:pt x="12135" y="18104"/>
                    <a:pt x="12135" y="18104"/>
                    <a:pt x="12135" y="18104"/>
                  </a:cubicBezTo>
                  <a:cubicBezTo>
                    <a:pt x="12135" y="18104"/>
                    <a:pt x="12013" y="18104"/>
                    <a:pt x="12013" y="18104"/>
                  </a:cubicBezTo>
                  <a:cubicBezTo>
                    <a:pt x="11892" y="18104"/>
                    <a:pt x="11771" y="18104"/>
                    <a:pt x="11771" y="18104"/>
                  </a:cubicBezTo>
                  <a:cubicBezTo>
                    <a:pt x="11528" y="17948"/>
                    <a:pt x="11528" y="17948"/>
                    <a:pt x="11528" y="17948"/>
                  </a:cubicBezTo>
                  <a:cubicBezTo>
                    <a:pt x="11285" y="18026"/>
                    <a:pt x="11285" y="18026"/>
                    <a:pt x="11285" y="18026"/>
                  </a:cubicBezTo>
                  <a:cubicBezTo>
                    <a:pt x="11285" y="18104"/>
                    <a:pt x="11285" y="18104"/>
                    <a:pt x="11285" y="18104"/>
                  </a:cubicBezTo>
                  <a:cubicBezTo>
                    <a:pt x="11285" y="18104"/>
                    <a:pt x="11043" y="18104"/>
                    <a:pt x="11043" y="18104"/>
                  </a:cubicBezTo>
                  <a:cubicBezTo>
                    <a:pt x="11043" y="18104"/>
                    <a:pt x="10679" y="18104"/>
                    <a:pt x="10679" y="18104"/>
                  </a:cubicBezTo>
                  <a:cubicBezTo>
                    <a:pt x="10557" y="18181"/>
                    <a:pt x="10557" y="18181"/>
                    <a:pt x="10557" y="18181"/>
                  </a:cubicBezTo>
                  <a:cubicBezTo>
                    <a:pt x="10436" y="18492"/>
                    <a:pt x="10436" y="18492"/>
                    <a:pt x="10436" y="18492"/>
                  </a:cubicBezTo>
                  <a:cubicBezTo>
                    <a:pt x="10193" y="18647"/>
                    <a:pt x="10193" y="18647"/>
                    <a:pt x="10193" y="18647"/>
                  </a:cubicBezTo>
                  <a:cubicBezTo>
                    <a:pt x="9951" y="18725"/>
                    <a:pt x="9951" y="18725"/>
                    <a:pt x="9951" y="18725"/>
                  </a:cubicBezTo>
                  <a:cubicBezTo>
                    <a:pt x="9708" y="18881"/>
                    <a:pt x="9708" y="18881"/>
                    <a:pt x="9708" y="18881"/>
                  </a:cubicBezTo>
                  <a:cubicBezTo>
                    <a:pt x="9344" y="18958"/>
                    <a:pt x="9344" y="18958"/>
                    <a:pt x="9344" y="18958"/>
                  </a:cubicBezTo>
                  <a:cubicBezTo>
                    <a:pt x="9344" y="18958"/>
                    <a:pt x="9222" y="19036"/>
                    <a:pt x="9222" y="19036"/>
                  </a:cubicBezTo>
                  <a:cubicBezTo>
                    <a:pt x="9222" y="19114"/>
                    <a:pt x="9101" y="19347"/>
                    <a:pt x="9101" y="19347"/>
                  </a:cubicBezTo>
                  <a:cubicBezTo>
                    <a:pt x="9101" y="19347"/>
                    <a:pt x="8858" y="19424"/>
                    <a:pt x="8858" y="19502"/>
                  </a:cubicBezTo>
                  <a:cubicBezTo>
                    <a:pt x="8858" y="19502"/>
                    <a:pt x="8616" y="19580"/>
                    <a:pt x="8616" y="19580"/>
                  </a:cubicBezTo>
                  <a:cubicBezTo>
                    <a:pt x="8616" y="19580"/>
                    <a:pt x="8616" y="19735"/>
                    <a:pt x="8616" y="19735"/>
                  </a:cubicBezTo>
                  <a:cubicBezTo>
                    <a:pt x="8616" y="19735"/>
                    <a:pt x="8737" y="19891"/>
                    <a:pt x="8737" y="19891"/>
                  </a:cubicBezTo>
                  <a:cubicBezTo>
                    <a:pt x="8737" y="20124"/>
                    <a:pt x="8737" y="20124"/>
                    <a:pt x="8737" y="20124"/>
                  </a:cubicBezTo>
                  <a:cubicBezTo>
                    <a:pt x="8737" y="20279"/>
                    <a:pt x="8737" y="20279"/>
                    <a:pt x="8737" y="20279"/>
                  </a:cubicBezTo>
                  <a:cubicBezTo>
                    <a:pt x="8858" y="20435"/>
                    <a:pt x="8858" y="20435"/>
                    <a:pt x="8858" y="20435"/>
                  </a:cubicBezTo>
                  <a:cubicBezTo>
                    <a:pt x="8737" y="20590"/>
                    <a:pt x="8737" y="20590"/>
                    <a:pt x="8737" y="20590"/>
                  </a:cubicBezTo>
                  <a:cubicBezTo>
                    <a:pt x="8616" y="20823"/>
                    <a:pt x="8616" y="20823"/>
                    <a:pt x="8616" y="20823"/>
                  </a:cubicBezTo>
                  <a:cubicBezTo>
                    <a:pt x="8616" y="20901"/>
                    <a:pt x="8616" y="20901"/>
                    <a:pt x="8616" y="20901"/>
                  </a:cubicBezTo>
                  <a:cubicBezTo>
                    <a:pt x="8616" y="21056"/>
                    <a:pt x="8616" y="21056"/>
                    <a:pt x="8616" y="21056"/>
                  </a:cubicBezTo>
                  <a:cubicBezTo>
                    <a:pt x="8616" y="21367"/>
                    <a:pt x="8616" y="21367"/>
                    <a:pt x="8616" y="21367"/>
                  </a:cubicBezTo>
                  <a:cubicBezTo>
                    <a:pt x="8252" y="21289"/>
                    <a:pt x="8252" y="21289"/>
                    <a:pt x="8252" y="21289"/>
                  </a:cubicBezTo>
                  <a:cubicBezTo>
                    <a:pt x="7888" y="21289"/>
                    <a:pt x="7888" y="21289"/>
                    <a:pt x="7888" y="21289"/>
                  </a:cubicBezTo>
                  <a:cubicBezTo>
                    <a:pt x="7524" y="21367"/>
                    <a:pt x="7524" y="21367"/>
                    <a:pt x="7524" y="21367"/>
                  </a:cubicBezTo>
                  <a:cubicBezTo>
                    <a:pt x="7038" y="21522"/>
                    <a:pt x="7038" y="21522"/>
                    <a:pt x="7038" y="21522"/>
                  </a:cubicBezTo>
                  <a:cubicBezTo>
                    <a:pt x="6310" y="21600"/>
                    <a:pt x="6310" y="21600"/>
                    <a:pt x="6310" y="21600"/>
                  </a:cubicBezTo>
                  <a:cubicBezTo>
                    <a:pt x="5703" y="21600"/>
                    <a:pt x="5703" y="21600"/>
                    <a:pt x="5703" y="21600"/>
                  </a:cubicBezTo>
                  <a:cubicBezTo>
                    <a:pt x="5339" y="21522"/>
                    <a:pt x="5339" y="21522"/>
                    <a:pt x="5339" y="21522"/>
                  </a:cubicBezTo>
                  <a:cubicBezTo>
                    <a:pt x="5097" y="21445"/>
                    <a:pt x="5097" y="21445"/>
                    <a:pt x="5097" y="21445"/>
                  </a:cubicBezTo>
                  <a:cubicBezTo>
                    <a:pt x="4854" y="21289"/>
                    <a:pt x="4854" y="21289"/>
                    <a:pt x="4854" y="21289"/>
                  </a:cubicBezTo>
                  <a:cubicBezTo>
                    <a:pt x="4490" y="21056"/>
                    <a:pt x="4490" y="21056"/>
                    <a:pt x="4490" y="21056"/>
                  </a:cubicBezTo>
                  <a:cubicBezTo>
                    <a:pt x="4126" y="21056"/>
                    <a:pt x="4126" y="21056"/>
                    <a:pt x="4126" y="21056"/>
                  </a:cubicBezTo>
                  <a:cubicBezTo>
                    <a:pt x="3883" y="20978"/>
                    <a:pt x="3883" y="20978"/>
                    <a:pt x="3883" y="20978"/>
                  </a:cubicBezTo>
                  <a:cubicBezTo>
                    <a:pt x="3640" y="20901"/>
                    <a:pt x="3640" y="20901"/>
                    <a:pt x="3640" y="20901"/>
                  </a:cubicBezTo>
                  <a:cubicBezTo>
                    <a:pt x="3398" y="20823"/>
                    <a:pt x="3398" y="20823"/>
                    <a:pt x="3398" y="20823"/>
                  </a:cubicBezTo>
                  <a:cubicBezTo>
                    <a:pt x="3155" y="20823"/>
                    <a:pt x="3155" y="20823"/>
                    <a:pt x="3155" y="20823"/>
                  </a:cubicBezTo>
                  <a:cubicBezTo>
                    <a:pt x="2670" y="20668"/>
                    <a:pt x="2670" y="20668"/>
                    <a:pt x="2670" y="20668"/>
                  </a:cubicBezTo>
                  <a:cubicBezTo>
                    <a:pt x="2184" y="20512"/>
                    <a:pt x="2184" y="20512"/>
                    <a:pt x="2184" y="20512"/>
                  </a:cubicBezTo>
                  <a:cubicBezTo>
                    <a:pt x="1942" y="20590"/>
                    <a:pt x="1942" y="20590"/>
                    <a:pt x="1942" y="20590"/>
                  </a:cubicBezTo>
                  <a:cubicBezTo>
                    <a:pt x="1942" y="20668"/>
                    <a:pt x="1942" y="20668"/>
                    <a:pt x="1942" y="20668"/>
                  </a:cubicBezTo>
                  <a:cubicBezTo>
                    <a:pt x="1578" y="20590"/>
                    <a:pt x="1578" y="20590"/>
                    <a:pt x="1578" y="20590"/>
                  </a:cubicBezTo>
                  <a:cubicBezTo>
                    <a:pt x="1335" y="20590"/>
                    <a:pt x="1335" y="20590"/>
                    <a:pt x="1335" y="20590"/>
                  </a:cubicBezTo>
                  <a:cubicBezTo>
                    <a:pt x="1092" y="20590"/>
                    <a:pt x="1092" y="20590"/>
                    <a:pt x="1092" y="20590"/>
                  </a:cubicBezTo>
                  <a:cubicBezTo>
                    <a:pt x="607" y="20668"/>
                    <a:pt x="607" y="20668"/>
                    <a:pt x="607" y="20668"/>
                  </a:cubicBezTo>
                  <a:cubicBezTo>
                    <a:pt x="243" y="20745"/>
                    <a:pt x="243" y="20745"/>
                    <a:pt x="243" y="20745"/>
                  </a:cubicBezTo>
                  <a:cubicBezTo>
                    <a:pt x="0" y="20668"/>
                    <a:pt x="0" y="20668"/>
                    <a:pt x="0" y="20668"/>
                  </a:cubicBezTo>
                  <a:cubicBezTo>
                    <a:pt x="243" y="20512"/>
                    <a:pt x="243" y="20512"/>
                    <a:pt x="243" y="20512"/>
                  </a:cubicBezTo>
                  <a:cubicBezTo>
                    <a:pt x="485" y="20279"/>
                    <a:pt x="485" y="20279"/>
                    <a:pt x="485" y="20279"/>
                  </a:cubicBezTo>
                  <a:cubicBezTo>
                    <a:pt x="728" y="20201"/>
                    <a:pt x="728" y="20201"/>
                    <a:pt x="728" y="20201"/>
                  </a:cubicBezTo>
                  <a:cubicBezTo>
                    <a:pt x="849" y="19968"/>
                    <a:pt x="849" y="19968"/>
                    <a:pt x="849" y="19968"/>
                  </a:cubicBezTo>
                  <a:cubicBezTo>
                    <a:pt x="1213" y="19813"/>
                    <a:pt x="1213" y="19813"/>
                    <a:pt x="1213" y="19813"/>
                  </a:cubicBezTo>
                  <a:cubicBezTo>
                    <a:pt x="1213" y="19580"/>
                    <a:pt x="1213" y="19580"/>
                    <a:pt x="1213" y="19580"/>
                  </a:cubicBezTo>
                  <a:cubicBezTo>
                    <a:pt x="1456" y="19269"/>
                    <a:pt x="1456" y="19269"/>
                    <a:pt x="1456" y="19269"/>
                  </a:cubicBezTo>
                  <a:cubicBezTo>
                    <a:pt x="1456" y="19269"/>
                    <a:pt x="1699" y="19269"/>
                    <a:pt x="1699" y="19191"/>
                  </a:cubicBezTo>
                  <a:cubicBezTo>
                    <a:pt x="1820" y="19036"/>
                    <a:pt x="1820" y="18958"/>
                    <a:pt x="1942" y="18881"/>
                  </a:cubicBezTo>
                  <a:cubicBezTo>
                    <a:pt x="1942" y="18803"/>
                    <a:pt x="2063" y="18803"/>
                    <a:pt x="2063" y="18725"/>
                  </a:cubicBezTo>
                  <a:cubicBezTo>
                    <a:pt x="2063" y="18647"/>
                    <a:pt x="1942" y="18414"/>
                    <a:pt x="1942" y="18414"/>
                  </a:cubicBezTo>
                  <a:cubicBezTo>
                    <a:pt x="1942" y="18414"/>
                    <a:pt x="2184" y="18104"/>
                    <a:pt x="2184" y="18104"/>
                  </a:cubicBezTo>
                  <a:cubicBezTo>
                    <a:pt x="2306" y="18026"/>
                    <a:pt x="2306" y="17715"/>
                    <a:pt x="2306" y="17715"/>
                  </a:cubicBezTo>
                  <a:cubicBezTo>
                    <a:pt x="2306" y="17715"/>
                    <a:pt x="2427" y="17560"/>
                    <a:pt x="2548" y="17482"/>
                  </a:cubicBezTo>
                  <a:cubicBezTo>
                    <a:pt x="2548" y="17404"/>
                    <a:pt x="2548" y="17171"/>
                    <a:pt x="2548" y="17171"/>
                  </a:cubicBezTo>
                  <a:cubicBezTo>
                    <a:pt x="2306" y="16938"/>
                    <a:pt x="2306" y="16938"/>
                    <a:pt x="2306" y="16938"/>
                  </a:cubicBezTo>
                  <a:cubicBezTo>
                    <a:pt x="2548" y="16627"/>
                    <a:pt x="2548" y="16627"/>
                    <a:pt x="2548" y="16627"/>
                  </a:cubicBezTo>
                  <a:cubicBezTo>
                    <a:pt x="2912" y="16239"/>
                    <a:pt x="2912" y="16239"/>
                    <a:pt x="2912" y="16239"/>
                  </a:cubicBezTo>
                  <a:cubicBezTo>
                    <a:pt x="3276" y="15850"/>
                    <a:pt x="3276" y="15850"/>
                    <a:pt x="3276" y="15850"/>
                  </a:cubicBezTo>
                  <a:cubicBezTo>
                    <a:pt x="3398" y="15462"/>
                    <a:pt x="3398" y="15462"/>
                    <a:pt x="3398" y="15462"/>
                  </a:cubicBezTo>
                  <a:cubicBezTo>
                    <a:pt x="3398" y="15462"/>
                    <a:pt x="3398" y="15306"/>
                    <a:pt x="3398" y="15229"/>
                  </a:cubicBezTo>
                  <a:cubicBezTo>
                    <a:pt x="3398" y="15229"/>
                    <a:pt x="3398" y="15073"/>
                    <a:pt x="3398" y="15073"/>
                  </a:cubicBezTo>
                  <a:cubicBezTo>
                    <a:pt x="3398" y="15073"/>
                    <a:pt x="3398" y="14918"/>
                    <a:pt x="3398" y="14918"/>
                  </a:cubicBezTo>
                  <a:cubicBezTo>
                    <a:pt x="3398" y="14918"/>
                    <a:pt x="3276" y="14763"/>
                    <a:pt x="3276" y="14763"/>
                  </a:cubicBezTo>
                  <a:cubicBezTo>
                    <a:pt x="3155" y="14529"/>
                    <a:pt x="3155" y="14529"/>
                    <a:pt x="3155" y="14529"/>
                  </a:cubicBezTo>
                  <a:cubicBezTo>
                    <a:pt x="3034" y="14607"/>
                    <a:pt x="3034" y="14607"/>
                    <a:pt x="3034" y="14607"/>
                  </a:cubicBezTo>
                  <a:cubicBezTo>
                    <a:pt x="3034" y="14607"/>
                    <a:pt x="2912" y="14685"/>
                    <a:pt x="2791" y="14607"/>
                  </a:cubicBezTo>
                  <a:cubicBezTo>
                    <a:pt x="2791" y="14607"/>
                    <a:pt x="2306" y="14607"/>
                    <a:pt x="2306" y="14607"/>
                  </a:cubicBezTo>
                  <a:cubicBezTo>
                    <a:pt x="2063" y="14685"/>
                    <a:pt x="2063" y="14685"/>
                    <a:pt x="2063" y="14685"/>
                  </a:cubicBezTo>
                  <a:cubicBezTo>
                    <a:pt x="1699" y="14607"/>
                    <a:pt x="1699" y="14607"/>
                    <a:pt x="1699" y="14607"/>
                  </a:cubicBezTo>
                  <a:cubicBezTo>
                    <a:pt x="1699" y="14607"/>
                    <a:pt x="1578" y="14685"/>
                    <a:pt x="1456" y="14685"/>
                  </a:cubicBezTo>
                  <a:cubicBezTo>
                    <a:pt x="1456" y="14685"/>
                    <a:pt x="1335" y="14685"/>
                    <a:pt x="1335" y="14607"/>
                  </a:cubicBezTo>
                  <a:cubicBezTo>
                    <a:pt x="1335" y="14607"/>
                    <a:pt x="1699" y="14374"/>
                    <a:pt x="1699" y="14374"/>
                  </a:cubicBezTo>
                  <a:cubicBezTo>
                    <a:pt x="1699" y="14374"/>
                    <a:pt x="1699" y="14374"/>
                    <a:pt x="1699" y="14296"/>
                  </a:cubicBezTo>
                  <a:cubicBezTo>
                    <a:pt x="1699" y="14219"/>
                    <a:pt x="1699" y="14063"/>
                    <a:pt x="1699" y="14063"/>
                  </a:cubicBezTo>
                  <a:cubicBezTo>
                    <a:pt x="1699" y="13986"/>
                    <a:pt x="1578" y="13753"/>
                    <a:pt x="1578" y="13753"/>
                  </a:cubicBezTo>
                  <a:cubicBezTo>
                    <a:pt x="1578" y="13753"/>
                    <a:pt x="1456" y="13675"/>
                    <a:pt x="1578" y="13597"/>
                  </a:cubicBezTo>
                  <a:cubicBezTo>
                    <a:pt x="1578" y="13519"/>
                    <a:pt x="1699" y="13519"/>
                    <a:pt x="1699" y="13519"/>
                  </a:cubicBezTo>
                  <a:cubicBezTo>
                    <a:pt x="1456" y="13442"/>
                    <a:pt x="1456" y="13442"/>
                    <a:pt x="1456" y="13442"/>
                  </a:cubicBezTo>
                  <a:cubicBezTo>
                    <a:pt x="1456" y="13442"/>
                    <a:pt x="1456" y="13442"/>
                    <a:pt x="1335" y="13442"/>
                  </a:cubicBezTo>
                  <a:cubicBezTo>
                    <a:pt x="1213" y="13519"/>
                    <a:pt x="1092" y="13519"/>
                    <a:pt x="1092" y="13519"/>
                  </a:cubicBezTo>
                  <a:cubicBezTo>
                    <a:pt x="971" y="13364"/>
                    <a:pt x="971" y="13364"/>
                    <a:pt x="971" y="13364"/>
                  </a:cubicBezTo>
                  <a:cubicBezTo>
                    <a:pt x="971" y="13364"/>
                    <a:pt x="849" y="13442"/>
                    <a:pt x="849" y="13364"/>
                  </a:cubicBezTo>
                  <a:cubicBezTo>
                    <a:pt x="728" y="13364"/>
                    <a:pt x="485" y="13286"/>
                    <a:pt x="485" y="13286"/>
                  </a:cubicBezTo>
                  <a:cubicBezTo>
                    <a:pt x="485" y="13286"/>
                    <a:pt x="485" y="13131"/>
                    <a:pt x="485" y="13131"/>
                  </a:cubicBezTo>
                  <a:cubicBezTo>
                    <a:pt x="607" y="13053"/>
                    <a:pt x="607" y="13053"/>
                    <a:pt x="607" y="12976"/>
                  </a:cubicBezTo>
                  <a:cubicBezTo>
                    <a:pt x="607" y="12898"/>
                    <a:pt x="607" y="12820"/>
                    <a:pt x="728" y="12742"/>
                  </a:cubicBezTo>
                  <a:cubicBezTo>
                    <a:pt x="728" y="12665"/>
                    <a:pt x="849" y="12587"/>
                    <a:pt x="971" y="12587"/>
                  </a:cubicBezTo>
                  <a:cubicBezTo>
                    <a:pt x="1092" y="12509"/>
                    <a:pt x="1092" y="12509"/>
                    <a:pt x="1092" y="12509"/>
                  </a:cubicBezTo>
                  <a:cubicBezTo>
                    <a:pt x="1335" y="12199"/>
                    <a:pt x="1335" y="12199"/>
                    <a:pt x="1335" y="12199"/>
                  </a:cubicBezTo>
                  <a:cubicBezTo>
                    <a:pt x="1335" y="12199"/>
                    <a:pt x="1335" y="12043"/>
                    <a:pt x="1335" y="12043"/>
                  </a:cubicBezTo>
                  <a:cubicBezTo>
                    <a:pt x="1335" y="12043"/>
                    <a:pt x="1456" y="11888"/>
                    <a:pt x="1456" y="11810"/>
                  </a:cubicBezTo>
                  <a:cubicBezTo>
                    <a:pt x="1456" y="11810"/>
                    <a:pt x="1578" y="11655"/>
                    <a:pt x="1578" y="11655"/>
                  </a:cubicBezTo>
                  <a:cubicBezTo>
                    <a:pt x="1578" y="11655"/>
                    <a:pt x="1699" y="11577"/>
                    <a:pt x="1699" y="11499"/>
                  </a:cubicBezTo>
                  <a:cubicBezTo>
                    <a:pt x="1820" y="11499"/>
                    <a:pt x="2063" y="11344"/>
                    <a:pt x="2063" y="11344"/>
                  </a:cubicBezTo>
                  <a:cubicBezTo>
                    <a:pt x="2063" y="11344"/>
                    <a:pt x="2184" y="11111"/>
                    <a:pt x="2184" y="11111"/>
                  </a:cubicBezTo>
                  <a:cubicBezTo>
                    <a:pt x="2184" y="11111"/>
                    <a:pt x="2306" y="10878"/>
                    <a:pt x="2306" y="10878"/>
                  </a:cubicBezTo>
                  <a:cubicBezTo>
                    <a:pt x="2184" y="10722"/>
                    <a:pt x="2184" y="10722"/>
                    <a:pt x="2184" y="10722"/>
                  </a:cubicBezTo>
                  <a:cubicBezTo>
                    <a:pt x="2063" y="10645"/>
                    <a:pt x="2063" y="10645"/>
                    <a:pt x="2063" y="10645"/>
                  </a:cubicBezTo>
                  <a:cubicBezTo>
                    <a:pt x="2306" y="10567"/>
                    <a:pt x="2306" y="10567"/>
                    <a:pt x="2306" y="10567"/>
                  </a:cubicBezTo>
                  <a:cubicBezTo>
                    <a:pt x="2306" y="10567"/>
                    <a:pt x="2306" y="10567"/>
                    <a:pt x="2427" y="10567"/>
                  </a:cubicBezTo>
                  <a:cubicBezTo>
                    <a:pt x="2548" y="10567"/>
                    <a:pt x="2670" y="10489"/>
                    <a:pt x="2670" y="10489"/>
                  </a:cubicBezTo>
                  <a:cubicBezTo>
                    <a:pt x="2791" y="10489"/>
                    <a:pt x="3034" y="10412"/>
                    <a:pt x="3034" y="10412"/>
                  </a:cubicBezTo>
                  <a:cubicBezTo>
                    <a:pt x="3034" y="10334"/>
                    <a:pt x="3155" y="10334"/>
                    <a:pt x="3155" y="10334"/>
                  </a:cubicBezTo>
                  <a:cubicBezTo>
                    <a:pt x="3276" y="10334"/>
                    <a:pt x="3519" y="10256"/>
                    <a:pt x="3519" y="10256"/>
                  </a:cubicBezTo>
                  <a:cubicBezTo>
                    <a:pt x="3519" y="10256"/>
                    <a:pt x="3640" y="10178"/>
                    <a:pt x="3640" y="10178"/>
                  </a:cubicBezTo>
                  <a:cubicBezTo>
                    <a:pt x="3640" y="10101"/>
                    <a:pt x="3640" y="10101"/>
                    <a:pt x="3640" y="10101"/>
                  </a:cubicBezTo>
                  <a:cubicBezTo>
                    <a:pt x="3883" y="10023"/>
                    <a:pt x="3883" y="10023"/>
                    <a:pt x="3883" y="10023"/>
                  </a:cubicBezTo>
                  <a:cubicBezTo>
                    <a:pt x="3883" y="10023"/>
                    <a:pt x="4004" y="9945"/>
                    <a:pt x="4004" y="9868"/>
                  </a:cubicBezTo>
                  <a:cubicBezTo>
                    <a:pt x="4004" y="9868"/>
                    <a:pt x="4126" y="9712"/>
                    <a:pt x="4126" y="9712"/>
                  </a:cubicBezTo>
                  <a:cubicBezTo>
                    <a:pt x="4126" y="9635"/>
                    <a:pt x="4490" y="9401"/>
                    <a:pt x="4490" y="9401"/>
                  </a:cubicBezTo>
                  <a:cubicBezTo>
                    <a:pt x="4975" y="8858"/>
                    <a:pt x="4975" y="8858"/>
                    <a:pt x="4975" y="8858"/>
                  </a:cubicBezTo>
                  <a:cubicBezTo>
                    <a:pt x="6067" y="7770"/>
                    <a:pt x="6067" y="7770"/>
                    <a:pt x="6067" y="7770"/>
                  </a:cubicBezTo>
                  <a:cubicBezTo>
                    <a:pt x="5946" y="7614"/>
                    <a:pt x="5946" y="7614"/>
                    <a:pt x="5946" y="7614"/>
                  </a:cubicBezTo>
                  <a:cubicBezTo>
                    <a:pt x="6310" y="7226"/>
                    <a:pt x="6310" y="7226"/>
                    <a:pt x="6310" y="7226"/>
                  </a:cubicBezTo>
                  <a:cubicBezTo>
                    <a:pt x="6917" y="6604"/>
                    <a:pt x="6917" y="6604"/>
                    <a:pt x="6917" y="6604"/>
                  </a:cubicBezTo>
                  <a:cubicBezTo>
                    <a:pt x="7524" y="5750"/>
                    <a:pt x="7524" y="5750"/>
                    <a:pt x="7524" y="5750"/>
                  </a:cubicBezTo>
                  <a:cubicBezTo>
                    <a:pt x="7888" y="5283"/>
                    <a:pt x="7888" y="5283"/>
                    <a:pt x="7888" y="5283"/>
                  </a:cubicBezTo>
                  <a:cubicBezTo>
                    <a:pt x="8373" y="4740"/>
                    <a:pt x="8373" y="4740"/>
                    <a:pt x="8373" y="4740"/>
                  </a:cubicBezTo>
                  <a:cubicBezTo>
                    <a:pt x="8616" y="4273"/>
                    <a:pt x="8616" y="4273"/>
                    <a:pt x="8616" y="4273"/>
                  </a:cubicBezTo>
                  <a:cubicBezTo>
                    <a:pt x="8616" y="3729"/>
                    <a:pt x="8616" y="3729"/>
                    <a:pt x="8616" y="3729"/>
                  </a:cubicBezTo>
                  <a:cubicBezTo>
                    <a:pt x="8616" y="3341"/>
                    <a:pt x="8616" y="3341"/>
                    <a:pt x="8616" y="3341"/>
                  </a:cubicBezTo>
                  <a:cubicBezTo>
                    <a:pt x="8616" y="3030"/>
                    <a:pt x="8616" y="3030"/>
                    <a:pt x="8616" y="3030"/>
                  </a:cubicBezTo>
                  <a:cubicBezTo>
                    <a:pt x="8616" y="2875"/>
                    <a:pt x="8616" y="2875"/>
                    <a:pt x="8616" y="2875"/>
                  </a:cubicBezTo>
                  <a:cubicBezTo>
                    <a:pt x="8616" y="2719"/>
                    <a:pt x="8616" y="2719"/>
                    <a:pt x="8616" y="2719"/>
                  </a:cubicBezTo>
                  <a:cubicBezTo>
                    <a:pt x="8494" y="2486"/>
                    <a:pt x="8494" y="2486"/>
                    <a:pt x="8494" y="2486"/>
                  </a:cubicBezTo>
                  <a:cubicBezTo>
                    <a:pt x="8737" y="2331"/>
                    <a:pt x="8737" y="2331"/>
                    <a:pt x="8737" y="2331"/>
                  </a:cubicBezTo>
                  <a:cubicBezTo>
                    <a:pt x="8737" y="2176"/>
                    <a:pt x="8737" y="2176"/>
                    <a:pt x="8737" y="2176"/>
                  </a:cubicBezTo>
                  <a:cubicBezTo>
                    <a:pt x="8737" y="2020"/>
                    <a:pt x="8737" y="2020"/>
                    <a:pt x="8737" y="2020"/>
                  </a:cubicBezTo>
                  <a:cubicBezTo>
                    <a:pt x="8737" y="1865"/>
                    <a:pt x="8737" y="1865"/>
                    <a:pt x="8737" y="1865"/>
                  </a:cubicBezTo>
                  <a:cubicBezTo>
                    <a:pt x="8858" y="1709"/>
                    <a:pt x="8858" y="1709"/>
                    <a:pt x="8858" y="1709"/>
                  </a:cubicBezTo>
                  <a:cubicBezTo>
                    <a:pt x="8737" y="1476"/>
                    <a:pt x="8737" y="1476"/>
                    <a:pt x="8737" y="1476"/>
                  </a:cubicBezTo>
                  <a:cubicBezTo>
                    <a:pt x="8858" y="1321"/>
                    <a:pt x="8858" y="1321"/>
                    <a:pt x="8858" y="1321"/>
                  </a:cubicBezTo>
                  <a:cubicBezTo>
                    <a:pt x="8737" y="1243"/>
                    <a:pt x="8737" y="1243"/>
                    <a:pt x="8737" y="1243"/>
                  </a:cubicBezTo>
                  <a:cubicBezTo>
                    <a:pt x="8858" y="1010"/>
                    <a:pt x="8858" y="1010"/>
                    <a:pt x="8858" y="1010"/>
                  </a:cubicBezTo>
                  <a:cubicBezTo>
                    <a:pt x="8858" y="855"/>
                    <a:pt x="8858" y="855"/>
                    <a:pt x="8858" y="855"/>
                  </a:cubicBezTo>
                  <a:lnTo>
                    <a:pt x="8980" y="699"/>
                  </a:ln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3" name="Shape 2256">
              <a:extLst>
                <a:ext uri="{FF2B5EF4-FFF2-40B4-BE49-F238E27FC236}">
                  <a16:creationId xmlns:a16="http://schemas.microsoft.com/office/drawing/2014/main" id="{037566E8-5B17-B45C-3D7E-EC08B0B9BF06}"/>
                </a:ext>
              </a:extLst>
            </p:cNvPr>
            <p:cNvSpPr/>
            <p:nvPr/>
          </p:nvSpPr>
          <p:spPr>
            <a:xfrm>
              <a:off x="3119769" y="4192031"/>
              <a:ext cx="1286482" cy="1649414"/>
            </a:xfrm>
            <a:custGeom>
              <a:avLst/>
              <a:gdLst/>
              <a:ahLst/>
              <a:cxnLst>
                <a:cxn ang="0">
                  <a:pos x="wd2" y="hd2"/>
                </a:cxn>
                <a:cxn ang="5400000">
                  <a:pos x="wd2" y="hd2"/>
                </a:cxn>
                <a:cxn ang="10800000">
                  <a:pos x="wd2" y="hd2"/>
                </a:cxn>
                <a:cxn ang="16200000">
                  <a:pos x="wd2" y="hd2"/>
                </a:cxn>
              </a:cxnLst>
              <a:rect l="0" t="0" r="r" b="b"/>
              <a:pathLst>
                <a:path w="21600" h="21569" extrusionOk="0">
                  <a:moveTo>
                    <a:pt x="19038" y="16998"/>
                  </a:moveTo>
                  <a:cubicBezTo>
                    <a:pt x="19038" y="16998"/>
                    <a:pt x="19038" y="16998"/>
                    <a:pt x="19038" y="16998"/>
                  </a:cubicBezTo>
                  <a:cubicBezTo>
                    <a:pt x="19038" y="17154"/>
                    <a:pt x="19038" y="17154"/>
                    <a:pt x="19038" y="17154"/>
                  </a:cubicBezTo>
                  <a:cubicBezTo>
                    <a:pt x="19108" y="17416"/>
                    <a:pt x="19108" y="17416"/>
                    <a:pt x="19108" y="17416"/>
                  </a:cubicBezTo>
                  <a:cubicBezTo>
                    <a:pt x="19108" y="17573"/>
                    <a:pt x="19108" y="17573"/>
                    <a:pt x="19108" y="17573"/>
                  </a:cubicBezTo>
                  <a:cubicBezTo>
                    <a:pt x="19108" y="17573"/>
                    <a:pt x="19038" y="17677"/>
                    <a:pt x="18969" y="17677"/>
                  </a:cubicBezTo>
                  <a:cubicBezTo>
                    <a:pt x="18969" y="17677"/>
                    <a:pt x="18900" y="17730"/>
                    <a:pt x="18831" y="17730"/>
                  </a:cubicBezTo>
                  <a:cubicBezTo>
                    <a:pt x="18762" y="17677"/>
                    <a:pt x="18692" y="17625"/>
                    <a:pt x="18692" y="17625"/>
                  </a:cubicBezTo>
                  <a:cubicBezTo>
                    <a:pt x="18277" y="17625"/>
                    <a:pt x="18277" y="17625"/>
                    <a:pt x="18277" y="17625"/>
                  </a:cubicBezTo>
                  <a:cubicBezTo>
                    <a:pt x="18277" y="17625"/>
                    <a:pt x="18277" y="17730"/>
                    <a:pt x="18277" y="17782"/>
                  </a:cubicBezTo>
                  <a:cubicBezTo>
                    <a:pt x="18208" y="17887"/>
                    <a:pt x="18208" y="17887"/>
                    <a:pt x="18208" y="17887"/>
                  </a:cubicBezTo>
                  <a:cubicBezTo>
                    <a:pt x="18208" y="18148"/>
                    <a:pt x="18208" y="18148"/>
                    <a:pt x="18208" y="18148"/>
                  </a:cubicBezTo>
                  <a:cubicBezTo>
                    <a:pt x="17862" y="18410"/>
                    <a:pt x="17862" y="18410"/>
                    <a:pt x="17862" y="18410"/>
                  </a:cubicBezTo>
                  <a:cubicBezTo>
                    <a:pt x="17792" y="18410"/>
                    <a:pt x="17792" y="18410"/>
                    <a:pt x="17792" y="18410"/>
                  </a:cubicBezTo>
                  <a:cubicBezTo>
                    <a:pt x="17792" y="18410"/>
                    <a:pt x="17723" y="18462"/>
                    <a:pt x="17723" y="18462"/>
                  </a:cubicBezTo>
                  <a:cubicBezTo>
                    <a:pt x="17723" y="18462"/>
                    <a:pt x="17377" y="18567"/>
                    <a:pt x="17377" y="18567"/>
                  </a:cubicBezTo>
                  <a:cubicBezTo>
                    <a:pt x="17238" y="18671"/>
                    <a:pt x="17238" y="18671"/>
                    <a:pt x="17238" y="18671"/>
                  </a:cubicBezTo>
                  <a:cubicBezTo>
                    <a:pt x="17169" y="18671"/>
                    <a:pt x="17169" y="18671"/>
                    <a:pt x="17169" y="18671"/>
                  </a:cubicBezTo>
                  <a:cubicBezTo>
                    <a:pt x="17169" y="18671"/>
                    <a:pt x="16962" y="18776"/>
                    <a:pt x="16823" y="18880"/>
                  </a:cubicBezTo>
                  <a:cubicBezTo>
                    <a:pt x="16615" y="18985"/>
                    <a:pt x="16615" y="18985"/>
                    <a:pt x="16615" y="18985"/>
                  </a:cubicBezTo>
                  <a:cubicBezTo>
                    <a:pt x="16615" y="18985"/>
                    <a:pt x="16615" y="18985"/>
                    <a:pt x="16615" y="18985"/>
                  </a:cubicBezTo>
                  <a:cubicBezTo>
                    <a:pt x="16615" y="18985"/>
                    <a:pt x="16615" y="18985"/>
                    <a:pt x="16615" y="18985"/>
                  </a:cubicBezTo>
                  <a:cubicBezTo>
                    <a:pt x="16754" y="19246"/>
                    <a:pt x="16754" y="19246"/>
                    <a:pt x="16754" y="19246"/>
                  </a:cubicBezTo>
                  <a:cubicBezTo>
                    <a:pt x="16962" y="19403"/>
                    <a:pt x="16962" y="19403"/>
                    <a:pt x="16962" y="19403"/>
                  </a:cubicBezTo>
                  <a:cubicBezTo>
                    <a:pt x="17169" y="19665"/>
                    <a:pt x="17169" y="19665"/>
                    <a:pt x="17169" y="19665"/>
                  </a:cubicBezTo>
                  <a:cubicBezTo>
                    <a:pt x="17169" y="19822"/>
                    <a:pt x="17169" y="19822"/>
                    <a:pt x="17169" y="19822"/>
                  </a:cubicBezTo>
                  <a:cubicBezTo>
                    <a:pt x="17169" y="19822"/>
                    <a:pt x="17031" y="19926"/>
                    <a:pt x="17031" y="19926"/>
                  </a:cubicBezTo>
                  <a:cubicBezTo>
                    <a:pt x="17031" y="19979"/>
                    <a:pt x="16962" y="20083"/>
                    <a:pt x="17031" y="20083"/>
                  </a:cubicBezTo>
                  <a:cubicBezTo>
                    <a:pt x="17100" y="20083"/>
                    <a:pt x="17377" y="20136"/>
                    <a:pt x="17377" y="20136"/>
                  </a:cubicBezTo>
                  <a:cubicBezTo>
                    <a:pt x="17377" y="20136"/>
                    <a:pt x="17446" y="20136"/>
                    <a:pt x="17446" y="20136"/>
                  </a:cubicBezTo>
                  <a:cubicBezTo>
                    <a:pt x="17515" y="20136"/>
                    <a:pt x="17515" y="20188"/>
                    <a:pt x="17515" y="20188"/>
                  </a:cubicBezTo>
                  <a:cubicBezTo>
                    <a:pt x="17515" y="20397"/>
                    <a:pt x="17515" y="20397"/>
                    <a:pt x="17515" y="20397"/>
                  </a:cubicBezTo>
                  <a:cubicBezTo>
                    <a:pt x="17515" y="20397"/>
                    <a:pt x="17515" y="20449"/>
                    <a:pt x="17515" y="20659"/>
                  </a:cubicBezTo>
                  <a:cubicBezTo>
                    <a:pt x="17515" y="20868"/>
                    <a:pt x="17446" y="20815"/>
                    <a:pt x="17446" y="20815"/>
                  </a:cubicBezTo>
                  <a:cubicBezTo>
                    <a:pt x="17446" y="20815"/>
                    <a:pt x="17100" y="20711"/>
                    <a:pt x="17100" y="20711"/>
                  </a:cubicBezTo>
                  <a:cubicBezTo>
                    <a:pt x="17100" y="20711"/>
                    <a:pt x="16962" y="20606"/>
                    <a:pt x="16962" y="20606"/>
                  </a:cubicBezTo>
                  <a:cubicBezTo>
                    <a:pt x="16892" y="20554"/>
                    <a:pt x="16892" y="20502"/>
                    <a:pt x="16892" y="20449"/>
                  </a:cubicBezTo>
                  <a:cubicBezTo>
                    <a:pt x="16892" y="20397"/>
                    <a:pt x="16962" y="20292"/>
                    <a:pt x="16962" y="20292"/>
                  </a:cubicBezTo>
                  <a:cubicBezTo>
                    <a:pt x="16962" y="20292"/>
                    <a:pt x="16685" y="20240"/>
                    <a:pt x="16685" y="20240"/>
                  </a:cubicBezTo>
                  <a:cubicBezTo>
                    <a:pt x="16685" y="20240"/>
                    <a:pt x="16477" y="20240"/>
                    <a:pt x="16408" y="20240"/>
                  </a:cubicBezTo>
                  <a:cubicBezTo>
                    <a:pt x="16338" y="20240"/>
                    <a:pt x="16269" y="20345"/>
                    <a:pt x="16269" y="20345"/>
                  </a:cubicBezTo>
                  <a:cubicBezTo>
                    <a:pt x="16200" y="20397"/>
                    <a:pt x="16131" y="20345"/>
                    <a:pt x="16062" y="20345"/>
                  </a:cubicBezTo>
                  <a:cubicBezTo>
                    <a:pt x="16062" y="20345"/>
                    <a:pt x="15992" y="20240"/>
                    <a:pt x="15992" y="20240"/>
                  </a:cubicBezTo>
                  <a:cubicBezTo>
                    <a:pt x="15923" y="20240"/>
                    <a:pt x="15646" y="20188"/>
                    <a:pt x="15577" y="20188"/>
                  </a:cubicBezTo>
                  <a:cubicBezTo>
                    <a:pt x="15577" y="20188"/>
                    <a:pt x="15438" y="20188"/>
                    <a:pt x="15300" y="20188"/>
                  </a:cubicBezTo>
                  <a:cubicBezTo>
                    <a:pt x="15231" y="20240"/>
                    <a:pt x="15300" y="20240"/>
                    <a:pt x="15369" y="20397"/>
                  </a:cubicBezTo>
                  <a:cubicBezTo>
                    <a:pt x="15369" y="20554"/>
                    <a:pt x="15300" y="20449"/>
                    <a:pt x="15231" y="20449"/>
                  </a:cubicBezTo>
                  <a:cubicBezTo>
                    <a:pt x="15162" y="20449"/>
                    <a:pt x="15162" y="20449"/>
                    <a:pt x="15023" y="20449"/>
                  </a:cubicBezTo>
                  <a:cubicBezTo>
                    <a:pt x="14885" y="20449"/>
                    <a:pt x="14815" y="20449"/>
                    <a:pt x="14677" y="20449"/>
                  </a:cubicBezTo>
                  <a:cubicBezTo>
                    <a:pt x="14608" y="20502"/>
                    <a:pt x="14608" y="20502"/>
                    <a:pt x="14608" y="20554"/>
                  </a:cubicBezTo>
                  <a:cubicBezTo>
                    <a:pt x="14538" y="20606"/>
                    <a:pt x="14400" y="20606"/>
                    <a:pt x="14331" y="20606"/>
                  </a:cubicBezTo>
                  <a:cubicBezTo>
                    <a:pt x="14262" y="20606"/>
                    <a:pt x="13985" y="20606"/>
                    <a:pt x="13985" y="20606"/>
                  </a:cubicBezTo>
                  <a:cubicBezTo>
                    <a:pt x="13915" y="20606"/>
                    <a:pt x="13846" y="20711"/>
                    <a:pt x="13777" y="20763"/>
                  </a:cubicBezTo>
                  <a:cubicBezTo>
                    <a:pt x="13777" y="20763"/>
                    <a:pt x="13500" y="20763"/>
                    <a:pt x="13500" y="20763"/>
                  </a:cubicBezTo>
                  <a:cubicBezTo>
                    <a:pt x="13431" y="20815"/>
                    <a:pt x="13431" y="20815"/>
                    <a:pt x="13362" y="20868"/>
                  </a:cubicBezTo>
                  <a:cubicBezTo>
                    <a:pt x="13223" y="20920"/>
                    <a:pt x="13223" y="20920"/>
                    <a:pt x="13154" y="21025"/>
                  </a:cubicBezTo>
                  <a:cubicBezTo>
                    <a:pt x="13015" y="21129"/>
                    <a:pt x="13085" y="21077"/>
                    <a:pt x="12808" y="21025"/>
                  </a:cubicBezTo>
                  <a:cubicBezTo>
                    <a:pt x="12600" y="21025"/>
                    <a:pt x="12738" y="21077"/>
                    <a:pt x="12669" y="21077"/>
                  </a:cubicBezTo>
                  <a:cubicBezTo>
                    <a:pt x="12600" y="21077"/>
                    <a:pt x="12531" y="21129"/>
                    <a:pt x="12462" y="21182"/>
                  </a:cubicBezTo>
                  <a:cubicBezTo>
                    <a:pt x="12462" y="21234"/>
                    <a:pt x="12323" y="21129"/>
                    <a:pt x="12254" y="21129"/>
                  </a:cubicBezTo>
                  <a:cubicBezTo>
                    <a:pt x="12185" y="21182"/>
                    <a:pt x="12185" y="21077"/>
                    <a:pt x="12185" y="20920"/>
                  </a:cubicBezTo>
                  <a:cubicBezTo>
                    <a:pt x="12115" y="20815"/>
                    <a:pt x="11977" y="20815"/>
                    <a:pt x="11977" y="20815"/>
                  </a:cubicBezTo>
                  <a:cubicBezTo>
                    <a:pt x="11977" y="20815"/>
                    <a:pt x="11838" y="20815"/>
                    <a:pt x="11838" y="20763"/>
                  </a:cubicBezTo>
                  <a:cubicBezTo>
                    <a:pt x="11838" y="20711"/>
                    <a:pt x="11562" y="20711"/>
                    <a:pt x="11492" y="20711"/>
                  </a:cubicBezTo>
                  <a:cubicBezTo>
                    <a:pt x="11492" y="20711"/>
                    <a:pt x="11285" y="20711"/>
                    <a:pt x="11285" y="20711"/>
                  </a:cubicBezTo>
                  <a:cubicBezTo>
                    <a:pt x="11285" y="20711"/>
                    <a:pt x="11077" y="20711"/>
                    <a:pt x="11077" y="20763"/>
                  </a:cubicBezTo>
                  <a:cubicBezTo>
                    <a:pt x="11077" y="20763"/>
                    <a:pt x="11008" y="20763"/>
                    <a:pt x="10869" y="20815"/>
                  </a:cubicBezTo>
                  <a:cubicBezTo>
                    <a:pt x="10662" y="20868"/>
                    <a:pt x="10800" y="20815"/>
                    <a:pt x="10800" y="20920"/>
                  </a:cubicBezTo>
                  <a:cubicBezTo>
                    <a:pt x="10869" y="20972"/>
                    <a:pt x="10869" y="21025"/>
                    <a:pt x="10869" y="21025"/>
                  </a:cubicBezTo>
                  <a:cubicBezTo>
                    <a:pt x="10938" y="21077"/>
                    <a:pt x="10869" y="21025"/>
                    <a:pt x="10869" y="21129"/>
                  </a:cubicBezTo>
                  <a:cubicBezTo>
                    <a:pt x="10800" y="21234"/>
                    <a:pt x="10800" y="21182"/>
                    <a:pt x="10800" y="21286"/>
                  </a:cubicBezTo>
                  <a:cubicBezTo>
                    <a:pt x="10731" y="21338"/>
                    <a:pt x="10731" y="21286"/>
                    <a:pt x="10662" y="21443"/>
                  </a:cubicBezTo>
                  <a:cubicBezTo>
                    <a:pt x="10592" y="21548"/>
                    <a:pt x="10662" y="21443"/>
                    <a:pt x="10592" y="21548"/>
                  </a:cubicBezTo>
                  <a:cubicBezTo>
                    <a:pt x="10523" y="21600"/>
                    <a:pt x="10385" y="21548"/>
                    <a:pt x="10246" y="21495"/>
                  </a:cubicBezTo>
                  <a:cubicBezTo>
                    <a:pt x="10177" y="21495"/>
                    <a:pt x="10246" y="21443"/>
                    <a:pt x="10246" y="21338"/>
                  </a:cubicBezTo>
                  <a:cubicBezTo>
                    <a:pt x="10315" y="21234"/>
                    <a:pt x="10246" y="21286"/>
                    <a:pt x="10246" y="21234"/>
                  </a:cubicBezTo>
                  <a:cubicBezTo>
                    <a:pt x="10246" y="21182"/>
                    <a:pt x="10177" y="21234"/>
                    <a:pt x="10038" y="21286"/>
                  </a:cubicBezTo>
                  <a:cubicBezTo>
                    <a:pt x="9969" y="21286"/>
                    <a:pt x="9969" y="21182"/>
                    <a:pt x="10038" y="21077"/>
                  </a:cubicBezTo>
                  <a:cubicBezTo>
                    <a:pt x="10038" y="20972"/>
                    <a:pt x="9969" y="21025"/>
                    <a:pt x="9969" y="20972"/>
                  </a:cubicBezTo>
                  <a:cubicBezTo>
                    <a:pt x="9969" y="20972"/>
                    <a:pt x="9900" y="20920"/>
                    <a:pt x="9831" y="20920"/>
                  </a:cubicBezTo>
                  <a:cubicBezTo>
                    <a:pt x="9762" y="20920"/>
                    <a:pt x="9692" y="20868"/>
                    <a:pt x="9692" y="20868"/>
                  </a:cubicBezTo>
                  <a:cubicBezTo>
                    <a:pt x="9623" y="20815"/>
                    <a:pt x="9485" y="20711"/>
                    <a:pt x="9415" y="20659"/>
                  </a:cubicBezTo>
                  <a:cubicBezTo>
                    <a:pt x="9277" y="20606"/>
                    <a:pt x="9138" y="20659"/>
                    <a:pt x="9138" y="20659"/>
                  </a:cubicBezTo>
                  <a:cubicBezTo>
                    <a:pt x="9138" y="20659"/>
                    <a:pt x="9000" y="20763"/>
                    <a:pt x="8862" y="20868"/>
                  </a:cubicBezTo>
                  <a:cubicBezTo>
                    <a:pt x="8862" y="20868"/>
                    <a:pt x="8862" y="20920"/>
                    <a:pt x="8862" y="20920"/>
                  </a:cubicBezTo>
                  <a:cubicBezTo>
                    <a:pt x="8792" y="20920"/>
                    <a:pt x="8792" y="20920"/>
                    <a:pt x="8792" y="20868"/>
                  </a:cubicBezTo>
                  <a:cubicBezTo>
                    <a:pt x="8792" y="20868"/>
                    <a:pt x="8723" y="20815"/>
                    <a:pt x="8723" y="20815"/>
                  </a:cubicBezTo>
                  <a:cubicBezTo>
                    <a:pt x="8723" y="20815"/>
                    <a:pt x="8723" y="20711"/>
                    <a:pt x="8654" y="20711"/>
                  </a:cubicBezTo>
                  <a:cubicBezTo>
                    <a:pt x="8654" y="20711"/>
                    <a:pt x="8585" y="20711"/>
                    <a:pt x="8515" y="20659"/>
                  </a:cubicBezTo>
                  <a:cubicBezTo>
                    <a:pt x="8446" y="20659"/>
                    <a:pt x="8377" y="20606"/>
                    <a:pt x="8377" y="20606"/>
                  </a:cubicBezTo>
                  <a:cubicBezTo>
                    <a:pt x="8308" y="20606"/>
                    <a:pt x="8169" y="20502"/>
                    <a:pt x="8169" y="20502"/>
                  </a:cubicBezTo>
                  <a:cubicBezTo>
                    <a:pt x="8169" y="20502"/>
                    <a:pt x="8169" y="20502"/>
                    <a:pt x="8100" y="20502"/>
                  </a:cubicBezTo>
                  <a:cubicBezTo>
                    <a:pt x="8100" y="20502"/>
                    <a:pt x="8031" y="20449"/>
                    <a:pt x="8031" y="20449"/>
                  </a:cubicBezTo>
                  <a:cubicBezTo>
                    <a:pt x="7962" y="20449"/>
                    <a:pt x="7962" y="20449"/>
                    <a:pt x="7962" y="20449"/>
                  </a:cubicBezTo>
                  <a:cubicBezTo>
                    <a:pt x="7962" y="20449"/>
                    <a:pt x="7962" y="20449"/>
                    <a:pt x="7962" y="20449"/>
                  </a:cubicBezTo>
                  <a:cubicBezTo>
                    <a:pt x="7892" y="20449"/>
                    <a:pt x="7892" y="20449"/>
                    <a:pt x="7823" y="20397"/>
                  </a:cubicBezTo>
                  <a:cubicBezTo>
                    <a:pt x="7685" y="20397"/>
                    <a:pt x="7754" y="20397"/>
                    <a:pt x="7615" y="20397"/>
                  </a:cubicBezTo>
                  <a:cubicBezTo>
                    <a:pt x="7546" y="20397"/>
                    <a:pt x="7477" y="20397"/>
                    <a:pt x="7477" y="20397"/>
                  </a:cubicBezTo>
                  <a:cubicBezTo>
                    <a:pt x="7477" y="20397"/>
                    <a:pt x="7408" y="20345"/>
                    <a:pt x="7269" y="20345"/>
                  </a:cubicBezTo>
                  <a:cubicBezTo>
                    <a:pt x="7200" y="20397"/>
                    <a:pt x="7062" y="20449"/>
                    <a:pt x="6992" y="20449"/>
                  </a:cubicBezTo>
                  <a:cubicBezTo>
                    <a:pt x="6992" y="20449"/>
                    <a:pt x="6923" y="20397"/>
                    <a:pt x="6923" y="20397"/>
                  </a:cubicBezTo>
                  <a:cubicBezTo>
                    <a:pt x="6923" y="20397"/>
                    <a:pt x="6923" y="20345"/>
                    <a:pt x="6923" y="20345"/>
                  </a:cubicBezTo>
                  <a:cubicBezTo>
                    <a:pt x="6923" y="20345"/>
                    <a:pt x="6854" y="20292"/>
                    <a:pt x="6785" y="20240"/>
                  </a:cubicBezTo>
                  <a:cubicBezTo>
                    <a:pt x="6785" y="20240"/>
                    <a:pt x="6715" y="20240"/>
                    <a:pt x="6715" y="20240"/>
                  </a:cubicBezTo>
                  <a:cubicBezTo>
                    <a:pt x="6715" y="20240"/>
                    <a:pt x="6715" y="20240"/>
                    <a:pt x="6715" y="20292"/>
                  </a:cubicBezTo>
                  <a:cubicBezTo>
                    <a:pt x="6715" y="20345"/>
                    <a:pt x="6854" y="20345"/>
                    <a:pt x="6715" y="20345"/>
                  </a:cubicBezTo>
                  <a:cubicBezTo>
                    <a:pt x="6646" y="20292"/>
                    <a:pt x="6577" y="20292"/>
                    <a:pt x="6577" y="20292"/>
                  </a:cubicBezTo>
                  <a:cubicBezTo>
                    <a:pt x="6369" y="20345"/>
                    <a:pt x="6369" y="20345"/>
                    <a:pt x="6369" y="20345"/>
                  </a:cubicBezTo>
                  <a:cubicBezTo>
                    <a:pt x="6438" y="20292"/>
                    <a:pt x="6438" y="20292"/>
                    <a:pt x="6438" y="20292"/>
                  </a:cubicBezTo>
                  <a:cubicBezTo>
                    <a:pt x="6438" y="20292"/>
                    <a:pt x="6508" y="20292"/>
                    <a:pt x="6508" y="20292"/>
                  </a:cubicBezTo>
                  <a:cubicBezTo>
                    <a:pt x="6508" y="20240"/>
                    <a:pt x="6508" y="20240"/>
                    <a:pt x="6508" y="20240"/>
                  </a:cubicBezTo>
                  <a:cubicBezTo>
                    <a:pt x="6508" y="20240"/>
                    <a:pt x="6508" y="20188"/>
                    <a:pt x="6508" y="20188"/>
                  </a:cubicBezTo>
                  <a:cubicBezTo>
                    <a:pt x="6577" y="20188"/>
                    <a:pt x="6646" y="20136"/>
                    <a:pt x="6577" y="20136"/>
                  </a:cubicBezTo>
                  <a:cubicBezTo>
                    <a:pt x="6508" y="20136"/>
                    <a:pt x="6438" y="20136"/>
                    <a:pt x="6438" y="20136"/>
                  </a:cubicBezTo>
                  <a:cubicBezTo>
                    <a:pt x="6438" y="20083"/>
                    <a:pt x="6438" y="20083"/>
                    <a:pt x="6438" y="20083"/>
                  </a:cubicBezTo>
                  <a:cubicBezTo>
                    <a:pt x="6438" y="20083"/>
                    <a:pt x="6369" y="20031"/>
                    <a:pt x="6369" y="20031"/>
                  </a:cubicBezTo>
                  <a:cubicBezTo>
                    <a:pt x="6369" y="20083"/>
                    <a:pt x="6369" y="20136"/>
                    <a:pt x="6369" y="20136"/>
                  </a:cubicBezTo>
                  <a:cubicBezTo>
                    <a:pt x="6300" y="20136"/>
                    <a:pt x="6300" y="20136"/>
                    <a:pt x="6300" y="20083"/>
                  </a:cubicBezTo>
                  <a:cubicBezTo>
                    <a:pt x="6300" y="20031"/>
                    <a:pt x="6300" y="20031"/>
                    <a:pt x="6300" y="20031"/>
                  </a:cubicBezTo>
                  <a:cubicBezTo>
                    <a:pt x="6231" y="20031"/>
                    <a:pt x="6162" y="20031"/>
                    <a:pt x="6162" y="20031"/>
                  </a:cubicBezTo>
                  <a:cubicBezTo>
                    <a:pt x="6162" y="20031"/>
                    <a:pt x="6231" y="20083"/>
                    <a:pt x="6092" y="20083"/>
                  </a:cubicBezTo>
                  <a:cubicBezTo>
                    <a:pt x="6023" y="20083"/>
                    <a:pt x="5954" y="20136"/>
                    <a:pt x="5885" y="20136"/>
                  </a:cubicBezTo>
                  <a:cubicBezTo>
                    <a:pt x="5815" y="20188"/>
                    <a:pt x="5815" y="20240"/>
                    <a:pt x="5815" y="20240"/>
                  </a:cubicBezTo>
                  <a:cubicBezTo>
                    <a:pt x="5815" y="20292"/>
                    <a:pt x="5677" y="20292"/>
                    <a:pt x="5677" y="20345"/>
                  </a:cubicBezTo>
                  <a:cubicBezTo>
                    <a:pt x="5746" y="20345"/>
                    <a:pt x="5677" y="20345"/>
                    <a:pt x="5815" y="20397"/>
                  </a:cubicBezTo>
                  <a:cubicBezTo>
                    <a:pt x="5885" y="20397"/>
                    <a:pt x="5885" y="20397"/>
                    <a:pt x="5954" y="20397"/>
                  </a:cubicBezTo>
                  <a:cubicBezTo>
                    <a:pt x="6023" y="20449"/>
                    <a:pt x="6092" y="20397"/>
                    <a:pt x="6092" y="20397"/>
                  </a:cubicBezTo>
                  <a:cubicBezTo>
                    <a:pt x="6092" y="20397"/>
                    <a:pt x="6092" y="20397"/>
                    <a:pt x="6162" y="20449"/>
                  </a:cubicBezTo>
                  <a:cubicBezTo>
                    <a:pt x="6162" y="20449"/>
                    <a:pt x="6231" y="20397"/>
                    <a:pt x="6231" y="20449"/>
                  </a:cubicBezTo>
                  <a:cubicBezTo>
                    <a:pt x="6231" y="20502"/>
                    <a:pt x="6300" y="20554"/>
                    <a:pt x="6231" y="20554"/>
                  </a:cubicBezTo>
                  <a:cubicBezTo>
                    <a:pt x="6162" y="20554"/>
                    <a:pt x="6092" y="20606"/>
                    <a:pt x="6092" y="20554"/>
                  </a:cubicBezTo>
                  <a:cubicBezTo>
                    <a:pt x="6092" y="20554"/>
                    <a:pt x="6092" y="20502"/>
                    <a:pt x="6023" y="20502"/>
                  </a:cubicBezTo>
                  <a:cubicBezTo>
                    <a:pt x="6023" y="20502"/>
                    <a:pt x="5954" y="20502"/>
                    <a:pt x="5954" y="20502"/>
                  </a:cubicBezTo>
                  <a:cubicBezTo>
                    <a:pt x="5885" y="20606"/>
                    <a:pt x="5885" y="20606"/>
                    <a:pt x="5885" y="20606"/>
                  </a:cubicBezTo>
                  <a:cubicBezTo>
                    <a:pt x="5885" y="20606"/>
                    <a:pt x="5885" y="20659"/>
                    <a:pt x="5815" y="20659"/>
                  </a:cubicBezTo>
                  <a:cubicBezTo>
                    <a:pt x="5746" y="20659"/>
                    <a:pt x="5815" y="20659"/>
                    <a:pt x="5677" y="20659"/>
                  </a:cubicBezTo>
                  <a:cubicBezTo>
                    <a:pt x="5538" y="20659"/>
                    <a:pt x="5538" y="20606"/>
                    <a:pt x="5469" y="20606"/>
                  </a:cubicBezTo>
                  <a:cubicBezTo>
                    <a:pt x="5469" y="20606"/>
                    <a:pt x="5469" y="20606"/>
                    <a:pt x="5400" y="20606"/>
                  </a:cubicBezTo>
                  <a:cubicBezTo>
                    <a:pt x="5400" y="20606"/>
                    <a:pt x="5262" y="20502"/>
                    <a:pt x="5192" y="20606"/>
                  </a:cubicBezTo>
                  <a:cubicBezTo>
                    <a:pt x="5123" y="20659"/>
                    <a:pt x="5054" y="20711"/>
                    <a:pt x="5054" y="20711"/>
                  </a:cubicBezTo>
                  <a:cubicBezTo>
                    <a:pt x="4846" y="20711"/>
                    <a:pt x="4846" y="20711"/>
                    <a:pt x="4846" y="20711"/>
                  </a:cubicBezTo>
                  <a:cubicBezTo>
                    <a:pt x="4846" y="20711"/>
                    <a:pt x="4777" y="20711"/>
                    <a:pt x="4708" y="20711"/>
                  </a:cubicBezTo>
                  <a:cubicBezTo>
                    <a:pt x="4638" y="20711"/>
                    <a:pt x="4569" y="20711"/>
                    <a:pt x="4569" y="20711"/>
                  </a:cubicBezTo>
                  <a:cubicBezTo>
                    <a:pt x="4500" y="20763"/>
                    <a:pt x="4431" y="20606"/>
                    <a:pt x="4431" y="20606"/>
                  </a:cubicBezTo>
                  <a:cubicBezTo>
                    <a:pt x="4431" y="20606"/>
                    <a:pt x="4500" y="20502"/>
                    <a:pt x="4292" y="20606"/>
                  </a:cubicBezTo>
                  <a:cubicBezTo>
                    <a:pt x="4085" y="20711"/>
                    <a:pt x="4015" y="20711"/>
                    <a:pt x="4015" y="20711"/>
                  </a:cubicBezTo>
                  <a:cubicBezTo>
                    <a:pt x="4015" y="20711"/>
                    <a:pt x="3946" y="20711"/>
                    <a:pt x="3946" y="20763"/>
                  </a:cubicBezTo>
                  <a:cubicBezTo>
                    <a:pt x="3946" y="20711"/>
                    <a:pt x="3946" y="20711"/>
                    <a:pt x="3946" y="20711"/>
                  </a:cubicBezTo>
                  <a:cubicBezTo>
                    <a:pt x="3946" y="20711"/>
                    <a:pt x="3946" y="20711"/>
                    <a:pt x="3946" y="20711"/>
                  </a:cubicBezTo>
                  <a:cubicBezTo>
                    <a:pt x="3946" y="20711"/>
                    <a:pt x="3946" y="20711"/>
                    <a:pt x="3946" y="20711"/>
                  </a:cubicBezTo>
                  <a:cubicBezTo>
                    <a:pt x="3946" y="20711"/>
                    <a:pt x="3946" y="20711"/>
                    <a:pt x="3946" y="20711"/>
                  </a:cubicBezTo>
                  <a:cubicBezTo>
                    <a:pt x="3946" y="20711"/>
                    <a:pt x="3946" y="20711"/>
                    <a:pt x="3946" y="20711"/>
                  </a:cubicBezTo>
                  <a:cubicBezTo>
                    <a:pt x="3946" y="20711"/>
                    <a:pt x="3946" y="20711"/>
                    <a:pt x="3946" y="20711"/>
                  </a:cubicBezTo>
                  <a:cubicBezTo>
                    <a:pt x="3877" y="20711"/>
                    <a:pt x="3877" y="20711"/>
                    <a:pt x="3877" y="20659"/>
                  </a:cubicBezTo>
                  <a:cubicBezTo>
                    <a:pt x="3877" y="20659"/>
                    <a:pt x="3877" y="20659"/>
                    <a:pt x="3877" y="20659"/>
                  </a:cubicBezTo>
                  <a:cubicBezTo>
                    <a:pt x="3877" y="20659"/>
                    <a:pt x="3808" y="20659"/>
                    <a:pt x="3808" y="20606"/>
                  </a:cubicBezTo>
                  <a:cubicBezTo>
                    <a:pt x="3669" y="20502"/>
                    <a:pt x="3462" y="20292"/>
                    <a:pt x="3462" y="20292"/>
                  </a:cubicBezTo>
                  <a:cubicBezTo>
                    <a:pt x="3600" y="20083"/>
                    <a:pt x="3600" y="20083"/>
                    <a:pt x="3600" y="20083"/>
                  </a:cubicBezTo>
                  <a:cubicBezTo>
                    <a:pt x="3600" y="20083"/>
                    <a:pt x="3669" y="19717"/>
                    <a:pt x="3669" y="19613"/>
                  </a:cubicBezTo>
                  <a:cubicBezTo>
                    <a:pt x="3669" y="19560"/>
                    <a:pt x="3669" y="19246"/>
                    <a:pt x="3669" y="19246"/>
                  </a:cubicBezTo>
                  <a:cubicBezTo>
                    <a:pt x="3669" y="19246"/>
                    <a:pt x="3392" y="19194"/>
                    <a:pt x="3600" y="19037"/>
                  </a:cubicBezTo>
                  <a:cubicBezTo>
                    <a:pt x="3808" y="18828"/>
                    <a:pt x="4015" y="18567"/>
                    <a:pt x="4015" y="18567"/>
                  </a:cubicBezTo>
                  <a:cubicBezTo>
                    <a:pt x="4015" y="18044"/>
                    <a:pt x="4015" y="18044"/>
                    <a:pt x="4015" y="18044"/>
                  </a:cubicBezTo>
                  <a:cubicBezTo>
                    <a:pt x="4015" y="18044"/>
                    <a:pt x="3808" y="17887"/>
                    <a:pt x="4085" y="17782"/>
                  </a:cubicBezTo>
                  <a:cubicBezTo>
                    <a:pt x="4362" y="17625"/>
                    <a:pt x="4846" y="17154"/>
                    <a:pt x="4846" y="17154"/>
                  </a:cubicBezTo>
                  <a:cubicBezTo>
                    <a:pt x="5331" y="16736"/>
                    <a:pt x="5331" y="16736"/>
                    <a:pt x="5331" y="16736"/>
                  </a:cubicBezTo>
                  <a:cubicBezTo>
                    <a:pt x="4500" y="16579"/>
                    <a:pt x="4500" y="16579"/>
                    <a:pt x="4500" y="16579"/>
                  </a:cubicBezTo>
                  <a:cubicBezTo>
                    <a:pt x="4015" y="16527"/>
                    <a:pt x="4015" y="16527"/>
                    <a:pt x="4015" y="16527"/>
                  </a:cubicBezTo>
                  <a:cubicBezTo>
                    <a:pt x="3669" y="16370"/>
                    <a:pt x="3669" y="16370"/>
                    <a:pt x="3669" y="16370"/>
                  </a:cubicBezTo>
                  <a:cubicBezTo>
                    <a:pt x="3462" y="16108"/>
                    <a:pt x="3462" y="16108"/>
                    <a:pt x="3462" y="16108"/>
                  </a:cubicBezTo>
                  <a:cubicBezTo>
                    <a:pt x="3254" y="16213"/>
                    <a:pt x="3254" y="16213"/>
                    <a:pt x="3254" y="16213"/>
                  </a:cubicBezTo>
                  <a:cubicBezTo>
                    <a:pt x="3046" y="16318"/>
                    <a:pt x="3046" y="16318"/>
                    <a:pt x="3046" y="16318"/>
                  </a:cubicBezTo>
                  <a:cubicBezTo>
                    <a:pt x="2562" y="16265"/>
                    <a:pt x="2562" y="16265"/>
                    <a:pt x="2562" y="16265"/>
                  </a:cubicBezTo>
                  <a:cubicBezTo>
                    <a:pt x="2215" y="16004"/>
                    <a:pt x="2215" y="16004"/>
                    <a:pt x="2215" y="16004"/>
                  </a:cubicBezTo>
                  <a:cubicBezTo>
                    <a:pt x="1938" y="16161"/>
                    <a:pt x="1938" y="16161"/>
                    <a:pt x="1938" y="16161"/>
                  </a:cubicBezTo>
                  <a:cubicBezTo>
                    <a:pt x="1662" y="16004"/>
                    <a:pt x="1662" y="16004"/>
                    <a:pt x="1662" y="16004"/>
                  </a:cubicBezTo>
                  <a:cubicBezTo>
                    <a:pt x="1454" y="15742"/>
                    <a:pt x="1454" y="15742"/>
                    <a:pt x="1454" y="15742"/>
                  </a:cubicBezTo>
                  <a:cubicBezTo>
                    <a:pt x="1385" y="15533"/>
                    <a:pt x="1385" y="15533"/>
                    <a:pt x="1385" y="15533"/>
                  </a:cubicBezTo>
                  <a:cubicBezTo>
                    <a:pt x="1038" y="15272"/>
                    <a:pt x="1038" y="15272"/>
                    <a:pt x="1038" y="15272"/>
                  </a:cubicBezTo>
                  <a:cubicBezTo>
                    <a:pt x="900" y="15272"/>
                    <a:pt x="900" y="15272"/>
                    <a:pt x="900" y="15272"/>
                  </a:cubicBezTo>
                  <a:cubicBezTo>
                    <a:pt x="900" y="15219"/>
                    <a:pt x="900" y="15219"/>
                    <a:pt x="900" y="15219"/>
                  </a:cubicBezTo>
                  <a:cubicBezTo>
                    <a:pt x="831" y="14906"/>
                    <a:pt x="831" y="14906"/>
                    <a:pt x="831" y="14906"/>
                  </a:cubicBezTo>
                  <a:cubicBezTo>
                    <a:pt x="1038" y="14801"/>
                    <a:pt x="1038" y="14801"/>
                    <a:pt x="1038" y="14801"/>
                  </a:cubicBezTo>
                  <a:cubicBezTo>
                    <a:pt x="1177" y="14644"/>
                    <a:pt x="1177" y="14644"/>
                    <a:pt x="1177" y="14644"/>
                  </a:cubicBezTo>
                  <a:cubicBezTo>
                    <a:pt x="1315" y="14487"/>
                    <a:pt x="1315" y="14487"/>
                    <a:pt x="1315" y="14487"/>
                  </a:cubicBezTo>
                  <a:cubicBezTo>
                    <a:pt x="1246" y="14278"/>
                    <a:pt x="1246" y="14278"/>
                    <a:pt x="1246" y="14278"/>
                  </a:cubicBezTo>
                  <a:cubicBezTo>
                    <a:pt x="1246" y="14278"/>
                    <a:pt x="969" y="14278"/>
                    <a:pt x="900" y="14226"/>
                  </a:cubicBezTo>
                  <a:cubicBezTo>
                    <a:pt x="831" y="14226"/>
                    <a:pt x="623" y="14121"/>
                    <a:pt x="623" y="14121"/>
                  </a:cubicBezTo>
                  <a:cubicBezTo>
                    <a:pt x="554" y="13860"/>
                    <a:pt x="554" y="13860"/>
                    <a:pt x="554" y="13860"/>
                  </a:cubicBezTo>
                  <a:cubicBezTo>
                    <a:pt x="415" y="13703"/>
                    <a:pt x="415" y="13703"/>
                    <a:pt x="415" y="13703"/>
                  </a:cubicBezTo>
                  <a:cubicBezTo>
                    <a:pt x="346" y="13441"/>
                    <a:pt x="346" y="13441"/>
                    <a:pt x="346" y="13441"/>
                  </a:cubicBezTo>
                  <a:cubicBezTo>
                    <a:pt x="415" y="13180"/>
                    <a:pt x="415" y="13180"/>
                    <a:pt x="415" y="13180"/>
                  </a:cubicBezTo>
                  <a:cubicBezTo>
                    <a:pt x="415" y="13180"/>
                    <a:pt x="415" y="13180"/>
                    <a:pt x="415" y="13180"/>
                  </a:cubicBezTo>
                  <a:cubicBezTo>
                    <a:pt x="415" y="13180"/>
                    <a:pt x="415" y="13180"/>
                    <a:pt x="415" y="13180"/>
                  </a:cubicBezTo>
                  <a:cubicBezTo>
                    <a:pt x="485" y="13180"/>
                    <a:pt x="485" y="13180"/>
                    <a:pt x="485" y="13180"/>
                  </a:cubicBezTo>
                  <a:cubicBezTo>
                    <a:pt x="554" y="13075"/>
                    <a:pt x="554" y="13075"/>
                    <a:pt x="554" y="13075"/>
                  </a:cubicBezTo>
                  <a:cubicBezTo>
                    <a:pt x="554" y="13023"/>
                    <a:pt x="554" y="13023"/>
                    <a:pt x="554" y="13023"/>
                  </a:cubicBezTo>
                  <a:cubicBezTo>
                    <a:pt x="554" y="13023"/>
                    <a:pt x="623" y="12970"/>
                    <a:pt x="692" y="12970"/>
                  </a:cubicBezTo>
                  <a:cubicBezTo>
                    <a:pt x="692" y="12970"/>
                    <a:pt x="762" y="12970"/>
                    <a:pt x="762" y="12970"/>
                  </a:cubicBezTo>
                  <a:cubicBezTo>
                    <a:pt x="831" y="12970"/>
                    <a:pt x="831" y="12814"/>
                    <a:pt x="831" y="12814"/>
                  </a:cubicBezTo>
                  <a:cubicBezTo>
                    <a:pt x="969" y="12814"/>
                    <a:pt x="969" y="12814"/>
                    <a:pt x="969" y="12814"/>
                  </a:cubicBezTo>
                  <a:cubicBezTo>
                    <a:pt x="969" y="12814"/>
                    <a:pt x="1038" y="12761"/>
                    <a:pt x="1038" y="12761"/>
                  </a:cubicBezTo>
                  <a:cubicBezTo>
                    <a:pt x="1038" y="12709"/>
                    <a:pt x="1038" y="12657"/>
                    <a:pt x="1038" y="12657"/>
                  </a:cubicBezTo>
                  <a:cubicBezTo>
                    <a:pt x="1038" y="12657"/>
                    <a:pt x="1108" y="12552"/>
                    <a:pt x="1108" y="12500"/>
                  </a:cubicBezTo>
                  <a:cubicBezTo>
                    <a:pt x="1108" y="12447"/>
                    <a:pt x="1038" y="12395"/>
                    <a:pt x="1038" y="12395"/>
                  </a:cubicBezTo>
                  <a:cubicBezTo>
                    <a:pt x="1038" y="12395"/>
                    <a:pt x="969" y="12291"/>
                    <a:pt x="900" y="12291"/>
                  </a:cubicBezTo>
                  <a:cubicBezTo>
                    <a:pt x="900" y="12291"/>
                    <a:pt x="762" y="12291"/>
                    <a:pt x="762" y="12291"/>
                  </a:cubicBezTo>
                  <a:cubicBezTo>
                    <a:pt x="692" y="12291"/>
                    <a:pt x="623" y="12186"/>
                    <a:pt x="623" y="12186"/>
                  </a:cubicBezTo>
                  <a:cubicBezTo>
                    <a:pt x="623" y="12186"/>
                    <a:pt x="692" y="12134"/>
                    <a:pt x="692" y="12081"/>
                  </a:cubicBezTo>
                  <a:cubicBezTo>
                    <a:pt x="762" y="12081"/>
                    <a:pt x="762" y="11924"/>
                    <a:pt x="762" y="11924"/>
                  </a:cubicBezTo>
                  <a:cubicBezTo>
                    <a:pt x="762" y="11924"/>
                    <a:pt x="692" y="11872"/>
                    <a:pt x="623" y="11872"/>
                  </a:cubicBezTo>
                  <a:cubicBezTo>
                    <a:pt x="623" y="11872"/>
                    <a:pt x="485" y="11872"/>
                    <a:pt x="485" y="11872"/>
                  </a:cubicBezTo>
                  <a:cubicBezTo>
                    <a:pt x="485" y="11715"/>
                    <a:pt x="485" y="11715"/>
                    <a:pt x="485" y="11715"/>
                  </a:cubicBezTo>
                  <a:cubicBezTo>
                    <a:pt x="485" y="11715"/>
                    <a:pt x="346" y="11663"/>
                    <a:pt x="277" y="11663"/>
                  </a:cubicBezTo>
                  <a:cubicBezTo>
                    <a:pt x="277" y="11663"/>
                    <a:pt x="277" y="11611"/>
                    <a:pt x="208" y="11611"/>
                  </a:cubicBezTo>
                  <a:cubicBezTo>
                    <a:pt x="277" y="11611"/>
                    <a:pt x="277" y="11611"/>
                    <a:pt x="277" y="11611"/>
                  </a:cubicBezTo>
                  <a:cubicBezTo>
                    <a:pt x="277" y="11611"/>
                    <a:pt x="277" y="11611"/>
                    <a:pt x="277" y="11611"/>
                  </a:cubicBezTo>
                  <a:cubicBezTo>
                    <a:pt x="277" y="11558"/>
                    <a:pt x="208" y="11506"/>
                    <a:pt x="208" y="11454"/>
                  </a:cubicBezTo>
                  <a:cubicBezTo>
                    <a:pt x="208" y="11454"/>
                    <a:pt x="277" y="11454"/>
                    <a:pt x="277" y="11454"/>
                  </a:cubicBezTo>
                  <a:cubicBezTo>
                    <a:pt x="277" y="11454"/>
                    <a:pt x="277" y="11401"/>
                    <a:pt x="346" y="11349"/>
                  </a:cubicBezTo>
                  <a:cubicBezTo>
                    <a:pt x="346" y="11349"/>
                    <a:pt x="346" y="11349"/>
                    <a:pt x="415" y="11349"/>
                  </a:cubicBezTo>
                  <a:cubicBezTo>
                    <a:pt x="415" y="11349"/>
                    <a:pt x="415" y="11297"/>
                    <a:pt x="485" y="11297"/>
                  </a:cubicBezTo>
                  <a:cubicBezTo>
                    <a:pt x="485" y="11245"/>
                    <a:pt x="485" y="11140"/>
                    <a:pt x="485" y="11140"/>
                  </a:cubicBezTo>
                  <a:cubicBezTo>
                    <a:pt x="485" y="11140"/>
                    <a:pt x="485" y="11140"/>
                    <a:pt x="415" y="11088"/>
                  </a:cubicBezTo>
                  <a:cubicBezTo>
                    <a:pt x="346" y="11088"/>
                    <a:pt x="346" y="11088"/>
                    <a:pt x="346" y="11035"/>
                  </a:cubicBezTo>
                  <a:cubicBezTo>
                    <a:pt x="277" y="11035"/>
                    <a:pt x="346" y="10983"/>
                    <a:pt x="346" y="10983"/>
                  </a:cubicBezTo>
                  <a:cubicBezTo>
                    <a:pt x="346" y="10983"/>
                    <a:pt x="208" y="10931"/>
                    <a:pt x="208" y="10931"/>
                  </a:cubicBezTo>
                  <a:cubicBezTo>
                    <a:pt x="208" y="10931"/>
                    <a:pt x="69" y="10931"/>
                    <a:pt x="69" y="10931"/>
                  </a:cubicBezTo>
                  <a:cubicBezTo>
                    <a:pt x="69" y="10931"/>
                    <a:pt x="69" y="10931"/>
                    <a:pt x="69" y="10931"/>
                  </a:cubicBezTo>
                  <a:cubicBezTo>
                    <a:pt x="69" y="10826"/>
                    <a:pt x="69" y="10826"/>
                    <a:pt x="69" y="10826"/>
                  </a:cubicBezTo>
                  <a:cubicBezTo>
                    <a:pt x="0" y="10722"/>
                    <a:pt x="0" y="10722"/>
                    <a:pt x="0" y="10722"/>
                  </a:cubicBezTo>
                  <a:cubicBezTo>
                    <a:pt x="69" y="10669"/>
                    <a:pt x="69" y="10669"/>
                    <a:pt x="69" y="10669"/>
                  </a:cubicBezTo>
                  <a:cubicBezTo>
                    <a:pt x="208" y="10774"/>
                    <a:pt x="208" y="10774"/>
                    <a:pt x="208" y="10774"/>
                  </a:cubicBezTo>
                  <a:cubicBezTo>
                    <a:pt x="208" y="10774"/>
                    <a:pt x="208" y="10722"/>
                    <a:pt x="208" y="10669"/>
                  </a:cubicBezTo>
                  <a:cubicBezTo>
                    <a:pt x="277" y="10669"/>
                    <a:pt x="346" y="10565"/>
                    <a:pt x="346" y="10565"/>
                  </a:cubicBezTo>
                  <a:cubicBezTo>
                    <a:pt x="485" y="10565"/>
                    <a:pt x="485" y="10565"/>
                    <a:pt x="485" y="10565"/>
                  </a:cubicBezTo>
                  <a:cubicBezTo>
                    <a:pt x="485" y="10565"/>
                    <a:pt x="762" y="10565"/>
                    <a:pt x="762" y="10565"/>
                  </a:cubicBezTo>
                  <a:cubicBezTo>
                    <a:pt x="831" y="10512"/>
                    <a:pt x="692" y="10408"/>
                    <a:pt x="692" y="10408"/>
                  </a:cubicBezTo>
                  <a:cubicBezTo>
                    <a:pt x="692" y="10408"/>
                    <a:pt x="554" y="10512"/>
                    <a:pt x="554" y="10512"/>
                  </a:cubicBezTo>
                  <a:cubicBezTo>
                    <a:pt x="485" y="10512"/>
                    <a:pt x="485" y="10355"/>
                    <a:pt x="485" y="10355"/>
                  </a:cubicBezTo>
                  <a:cubicBezTo>
                    <a:pt x="485" y="10251"/>
                    <a:pt x="485" y="10251"/>
                    <a:pt x="485" y="10251"/>
                  </a:cubicBezTo>
                  <a:cubicBezTo>
                    <a:pt x="623" y="10199"/>
                    <a:pt x="623" y="10199"/>
                    <a:pt x="623" y="10199"/>
                  </a:cubicBezTo>
                  <a:cubicBezTo>
                    <a:pt x="692" y="10094"/>
                    <a:pt x="692" y="10094"/>
                    <a:pt x="692" y="10094"/>
                  </a:cubicBezTo>
                  <a:cubicBezTo>
                    <a:pt x="692" y="10094"/>
                    <a:pt x="831" y="9989"/>
                    <a:pt x="831" y="9989"/>
                  </a:cubicBezTo>
                  <a:cubicBezTo>
                    <a:pt x="900" y="9937"/>
                    <a:pt x="831" y="9832"/>
                    <a:pt x="831" y="9832"/>
                  </a:cubicBezTo>
                  <a:cubicBezTo>
                    <a:pt x="900" y="9676"/>
                    <a:pt x="900" y="9676"/>
                    <a:pt x="900" y="9676"/>
                  </a:cubicBezTo>
                  <a:cubicBezTo>
                    <a:pt x="762" y="9519"/>
                    <a:pt x="762" y="9519"/>
                    <a:pt x="762" y="9519"/>
                  </a:cubicBezTo>
                  <a:cubicBezTo>
                    <a:pt x="762" y="9362"/>
                    <a:pt x="762" y="9362"/>
                    <a:pt x="762" y="9362"/>
                  </a:cubicBezTo>
                  <a:cubicBezTo>
                    <a:pt x="623" y="9205"/>
                    <a:pt x="623" y="9205"/>
                    <a:pt x="623" y="9205"/>
                  </a:cubicBezTo>
                  <a:cubicBezTo>
                    <a:pt x="623" y="9153"/>
                    <a:pt x="623" y="9153"/>
                    <a:pt x="623" y="9153"/>
                  </a:cubicBezTo>
                  <a:cubicBezTo>
                    <a:pt x="554" y="9048"/>
                    <a:pt x="554" y="9048"/>
                    <a:pt x="554" y="9048"/>
                  </a:cubicBezTo>
                  <a:cubicBezTo>
                    <a:pt x="554" y="8943"/>
                    <a:pt x="554" y="8943"/>
                    <a:pt x="554" y="8943"/>
                  </a:cubicBezTo>
                  <a:cubicBezTo>
                    <a:pt x="554" y="8943"/>
                    <a:pt x="415" y="8839"/>
                    <a:pt x="346" y="8839"/>
                  </a:cubicBezTo>
                  <a:cubicBezTo>
                    <a:pt x="277" y="8839"/>
                    <a:pt x="346" y="8786"/>
                    <a:pt x="346" y="8786"/>
                  </a:cubicBezTo>
                  <a:cubicBezTo>
                    <a:pt x="346" y="8682"/>
                    <a:pt x="346" y="8682"/>
                    <a:pt x="346" y="8682"/>
                  </a:cubicBezTo>
                  <a:cubicBezTo>
                    <a:pt x="346" y="8525"/>
                    <a:pt x="346" y="8525"/>
                    <a:pt x="346" y="8525"/>
                  </a:cubicBezTo>
                  <a:cubicBezTo>
                    <a:pt x="692" y="8577"/>
                    <a:pt x="692" y="8577"/>
                    <a:pt x="692" y="8577"/>
                  </a:cubicBezTo>
                  <a:cubicBezTo>
                    <a:pt x="831" y="8577"/>
                    <a:pt x="831" y="8577"/>
                    <a:pt x="831" y="8577"/>
                  </a:cubicBezTo>
                  <a:cubicBezTo>
                    <a:pt x="623" y="8473"/>
                    <a:pt x="623" y="8473"/>
                    <a:pt x="623" y="8473"/>
                  </a:cubicBezTo>
                  <a:cubicBezTo>
                    <a:pt x="831" y="8420"/>
                    <a:pt x="831" y="8420"/>
                    <a:pt x="831" y="8420"/>
                  </a:cubicBezTo>
                  <a:cubicBezTo>
                    <a:pt x="969" y="8525"/>
                    <a:pt x="969" y="8525"/>
                    <a:pt x="969" y="8525"/>
                  </a:cubicBezTo>
                  <a:cubicBezTo>
                    <a:pt x="1177" y="8577"/>
                    <a:pt x="1177" y="8577"/>
                    <a:pt x="1177" y="8577"/>
                  </a:cubicBezTo>
                  <a:cubicBezTo>
                    <a:pt x="1246" y="8682"/>
                    <a:pt x="1246" y="8682"/>
                    <a:pt x="1246" y="8682"/>
                  </a:cubicBezTo>
                  <a:cubicBezTo>
                    <a:pt x="1315" y="8577"/>
                    <a:pt x="1315" y="8577"/>
                    <a:pt x="1315" y="8577"/>
                  </a:cubicBezTo>
                  <a:cubicBezTo>
                    <a:pt x="1523" y="8577"/>
                    <a:pt x="1523" y="8577"/>
                    <a:pt x="1523" y="8577"/>
                  </a:cubicBezTo>
                  <a:cubicBezTo>
                    <a:pt x="1592" y="8577"/>
                    <a:pt x="1592" y="8577"/>
                    <a:pt x="1592" y="8577"/>
                  </a:cubicBezTo>
                  <a:cubicBezTo>
                    <a:pt x="1800" y="8525"/>
                    <a:pt x="1800" y="8525"/>
                    <a:pt x="1800" y="8525"/>
                  </a:cubicBezTo>
                  <a:cubicBezTo>
                    <a:pt x="2008" y="8525"/>
                    <a:pt x="2008" y="8525"/>
                    <a:pt x="2008" y="8525"/>
                  </a:cubicBezTo>
                  <a:cubicBezTo>
                    <a:pt x="2077" y="8420"/>
                    <a:pt x="2077" y="8420"/>
                    <a:pt x="2077" y="8420"/>
                  </a:cubicBezTo>
                  <a:cubicBezTo>
                    <a:pt x="2215" y="8368"/>
                    <a:pt x="2215" y="8368"/>
                    <a:pt x="2215" y="8368"/>
                  </a:cubicBezTo>
                  <a:cubicBezTo>
                    <a:pt x="2285" y="8316"/>
                    <a:pt x="2285" y="8316"/>
                    <a:pt x="2285" y="8316"/>
                  </a:cubicBezTo>
                  <a:cubicBezTo>
                    <a:pt x="2077" y="8211"/>
                    <a:pt x="2077" y="8211"/>
                    <a:pt x="2077" y="8211"/>
                  </a:cubicBezTo>
                  <a:cubicBezTo>
                    <a:pt x="1938" y="8054"/>
                    <a:pt x="1938" y="8054"/>
                    <a:pt x="1938" y="8054"/>
                  </a:cubicBezTo>
                  <a:cubicBezTo>
                    <a:pt x="2077" y="8054"/>
                    <a:pt x="2077" y="8054"/>
                    <a:pt x="2077" y="8054"/>
                  </a:cubicBezTo>
                  <a:cubicBezTo>
                    <a:pt x="2077" y="7897"/>
                    <a:pt x="2077" y="7897"/>
                    <a:pt x="2077" y="7897"/>
                  </a:cubicBezTo>
                  <a:cubicBezTo>
                    <a:pt x="2077" y="7897"/>
                    <a:pt x="2354" y="7950"/>
                    <a:pt x="2354" y="7950"/>
                  </a:cubicBezTo>
                  <a:cubicBezTo>
                    <a:pt x="2354" y="7897"/>
                    <a:pt x="2354" y="7897"/>
                    <a:pt x="2423" y="7845"/>
                  </a:cubicBezTo>
                  <a:cubicBezTo>
                    <a:pt x="2492" y="7845"/>
                    <a:pt x="2631" y="7793"/>
                    <a:pt x="2631" y="7793"/>
                  </a:cubicBezTo>
                  <a:cubicBezTo>
                    <a:pt x="2700" y="7688"/>
                    <a:pt x="2700" y="7688"/>
                    <a:pt x="2700" y="7688"/>
                  </a:cubicBezTo>
                  <a:cubicBezTo>
                    <a:pt x="2700" y="7688"/>
                    <a:pt x="2838" y="7636"/>
                    <a:pt x="2838" y="7636"/>
                  </a:cubicBezTo>
                  <a:cubicBezTo>
                    <a:pt x="2908" y="7636"/>
                    <a:pt x="2838" y="7584"/>
                    <a:pt x="2838" y="7531"/>
                  </a:cubicBezTo>
                  <a:cubicBezTo>
                    <a:pt x="2838" y="7479"/>
                    <a:pt x="2838" y="7374"/>
                    <a:pt x="2838" y="7374"/>
                  </a:cubicBezTo>
                  <a:cubicBezTo>
                    <a:pt x="2908" y="7270"/>
                    <a:pt x="2908" y="7270"/>
                    <a:pt x="2908" y="7270"/>
                  </a:cubicBezTo>
                  <a:cubicBezTo>
                    <a:pt x="2769" y="7061"/>
                    <a:pt x="2769" y="7061"/>
                    <a:pt x="2769" y="7061"/>
                  </a:cubicBezTo>
                  <a:cubicBezTo>
                    <a:pt x="2562" y="7113"/>
                    <a:pt x="2562" y="7113"/>
                    <a:pt x="2562" y="7113"/>
                  </a:cubicBezTo>
                  <a:cubicBezTo>
                    <a:pt x="2423" y="7008"/>
                    <a:pt x="2423" y="7008"/>
                    <a:pt x="2423" y="7008"/>
                  </a:cubicBezTo>
                  <a:cubicBezTo>
                    <a:pt x="2423" y="7008"/>
                    <a:pt x="2215" y="7008"/>
                    <a:pt x="2215" y="6956"/>
                  </a:cubicBezTo>
                  <a:cubicBezTo>
                    <a:pt x="2146" y="6904"/>
                    <a:pt x="2077" y="6799"/>
                    <a:pt x="2077" y="6799"/>
                  </a:cubicBezTo>
                  <a:cubicBezTo>
                    <a:pt x="2077" y="6694"/>
                    <a:pt x="2077" y="6694"/>
                    <a:pt x="2077" y="6694"/>
                  </a:cubicBezTo>
                  <a:cubicBezTo>
                    <a:pt x="2285" y="6694"/>
                    <a:pt x="2285" y="6694"/>
                    <a:pt x="2285" y="6694"/>
                  </a:cubicBezTo>
                  <a:cubicBezTo>
                    <a:pt x="2146" y="6642"/>
                    <a:pt x="2146" y="6642"/>
                    <a:pt x="2146" y="6642"/>
                  </a:cubicBezTo>
                  <a:cubicBezTo>
                    <a:pt x="2146" y="6485"/>
                    <a:pt x="2146" y="6485"/>
                    <a:pt x="2146" y="6485"/>
                  </a:cubicBezTo>
                  <a:cubicBezTo>
                    <a:pt x="2423" y="6433"/>
                    <a:pt x="2423" y="6433"/>
                    <a:pt x="2423" y="6433"/>
                  </a:cubicBezTo>
                  <a:cubicBezTo>
                    <a:pt x="2423" y="6433"/>
                    <a:pt x="2769" y="6538"/>
                    <a:pt x="2838" y="6538"/>
                  </a:cubicBezTo>
                  <a:cubicBezTo>
                    <a:pt x="2908" y="6590"/>
                    <a:pt x="2908" y="6381"/>
                    <a:pt x="2908" y="6381"/>
                  </a:cubicBezTo>
                  <a:cubicBezTo>
                    <a:pt x="2977" y="6119"/>
                    <a:pt x="2977" y="6119"/>
                    <a:pt x="2977" y="6119"/>
                  </a:cubicBezTo>
                  <a:cubicBezTo>
                    <a:pt x="2977" y="6119"/>
                    <a:pt x="2908" y="5910"/>
                    <a:pt x="2977" y="5858"/>
                  </a:cubicBezTo>
                  <a:cubicBezTo>
                    <a:pt x="3046" y="5858"/>
                    <a:pt x="3254" y="5544"/>
                    <a:pt x="3254" y="5544"/>
                  </a:cubicBezTo>
                  <a:cubicBezTo>
                    <a:pt x="3254" y="5544"/>
                    <a:pt x="3254" y="5230"/>
                    <a:pt x="3254" y="5178"/>
                  </a:cubicBezTo>
                  <a:cubicBezTo>
                    <a:pt x="3254" y="5125"/>
                    <a:pt x="3254" y="4916"/>
                    <a:pt x="3254" y="4916"/>
                  </a:cubicBezTo>
                  <a:cubicBezTo>
                    <a:pt x="3254" y="4864"/>
                    <a:pt x="3254" y="4864"/>
                    <a:pt x="3254" y="4864"/>
                  </a:cubicBezTo>
                  <a:cubicBezTo>
                    <a:pt x="3254" y="4864"/>
                    <a:pt x="3046" y="4812"/>
                    <a:pt x="2977" y="4812"/>
                  </a:cubicBezTo>
                  <a:cubicBezTo>
                    <a:pt x="2977" y="4759"/>
                    <a:pt x="3046" y="4655"/>
                    <a:pt x="3046" y="4655"/>
                  </a:cubicBezTo>
                  <a:cubicBezTo>
                    <a:pt x="2700" y="4602"/>
                    <a:pt x="2700" y="4602"/>
                    <a:pt x="2700" y="4602"/>
                  </a:cubicBezTo>
                  <a:cubicBezTo>
                    <a:pt x="2769" y="4446"/>
                    <a:pt x="2838" y="4184"/>
                    <a:pt x="2908" y="4184"/>
                  </a:cubicBezTo>
                  <a:cubicBezTo>
                    <a:pt x="2977" y="4132"/>
                    <a:pt x="3115" y="4027"/>
                    <a:pt x="3115" y="4027"/>
                  </a:cubicBezTo>
                  <a:cubicBezTo>
                    <a:pt x="3115" y="3818"/>
                    <a:pt x="3115" y="3818"/>
                    <a:pt x="3115" y="3818"/>
                  </a:cubicBezTo>
                  <a:cubicBezTo>
                    <a:pt x="2977" y="3661"/>
                    <a:pt x="2977" y="3661"/>
                    <a:pt x="2977" y="3661"/>
                  </a:cubicBezTo>
                  <a:cubicBezTo>
                    <a:pt x="3115" y="3504"/>
                    <a:pt x="3115" y="3504"/>
                    <a:pt x="3115" y="3504"/>
                  </a:cubicBezTo>
                  <a:cubicBezTo>
                    <a:pt x="3115" y="3504"/>
                    <a:pt x="3392" y="3400"/>
                    <a:pt x="3392" y="3400"/>
                  </a:cubicBezTo>
                  <a:cubicBezTo>
                    <a:pt x="3462" y="3400"/>
                    <a:pt x="3877" y="3400"/>
                    <a:pt x="3877" y="3400"/>
                  </a:cubicBezTo>
                  <a:cubicBezTo>
                    <a:pt x="4154" y="3295"/>
                    <a:pt x="4154" y="3295"/>
                    <a:pt x="4154" y="3295"/>
                  </a:cubicBezTo>
                  <a:cubicBezTo>
                    <a:pt x="4569" y="3295"/>
                    <a:pt x="4569" y="3295"/>
                    <a:pt x="4569" y="3295"/>
                  </a:cubicBezTo>
                  <a:cubicBezTo>
                    <a:pt x="4846" y="3243"/>
                    <a:pt x="4846" y="3243"/>
                    <a:pt x="4846" y="3243"/>
                  </a:cubicBezTo>
                  <a:cubicBezTo>
                    <a:pt x="5054" y="3347"/>
                    <a:pt x="5054" y="3347"/>
                    <a:pt x="5054" y="3347"/>
                  </a:cubicBezTo>
                  <a:cubicBezTo>
                    <a:pt x="5054" y="3347"/>
                    <a:pt x="5192" y="3452"/>
                    <a:pt x="5192" y="3504"/>
                  </a:cubicBezTo>
                  <a:cubicBezTo>
                    <a:pt x="5192" y="3504"/>
                    <a:pt x="5331" y="3609"/>
                    <a:pt x="5331" y="3661"/>
                  </a:cubicBezTo>
                  <a:cubicBezTo>
                    <a:pt x="5262" y="3661"/>
                    <a:pt x="5400" y="3818"/>
                    <a:pt x="5400" y="3818"/>
                  </a:cubicBezTo>
                  <a:cubicBezTo>
                    <a:pt x="5400" y="3818"/>
                    <a:pt x="5331" y="3923"/>
                    <a:pt x="5331" y="3975"/>
                  </a:cubicBezTo>
                  <a:cubicBezTo>
                    <a:pt x="5331" y="3975"/>
                    <a:pt x="5400" y="4184"/>
                    <a:pt x="5400" y="4184"/>
                  </a:cubicBezTo>
                  <a:cubicBezTo>
                    <a:pt x="5400" y="4236"/>
                    <a:pt x="5538" y="4289"/>
                    <a:pt x="5538" y="4289"/>
                  </a:cubicBezTo>
                  <a:cubicBezTo>
                    <a:pt x="5677" y="4236"/>
                    <a:pt x="5677" y="4236"/>
                    <a:pt x="5677" y="4236"/>
                  </a:cubicBezTo>
                  <a:cubicBezTo>
                    <a:pt x="5746" y="4132"/>
                    <a:pt x="5746" y="4132"/>
                    <a:pt x="5746" y="4132"/>
                  </a:cubicBezTo>
                  <a:cubicBezTo>
                    <a:pt x="5608" y="3975"/>
                    <a:pt x="5608" y="3975"/>
                    <a:pt x="5608" y="3975"/>
                  </a:cubicBezTo>
                  <a:cubicBezTo>
                    <a:pt x="5538" y="3975"/>
                    <a:pt x="5538" y="3975"/>
                    <a:pt x="5538" y="3975"/>
                  </a:cubicBezTo>
                  <a:cubicBezTo>
                    <a:pt x="5608" y="3766"/>
                    <a:pt x="5608" y="3766"/>
                    <a:pt x="5608" y="3766"/>
                  </a:cubicBezTo>
                  <a:cubicBezTo>
                    <a:pt x="5608" y="3766"/>
                    <a:pt x="5746" y="3713"/>
                    <a:pt x="5815" y="3766"/>
                  </a:cubicBezTo>
                  <a:cubicBezTo>
                    <a:pt x="5885" y="3766"/>
                    <a:pt x="6092" y="3923"/>
                    <a:pt x="6092" y="3923"/>
                  </a:cubicBezTo>
                  <a:cubicBezTo>
                    <a:pt x="6231" y="3975"/>
                    <a:pt x="6231" y="3975"/>
                    <a:pt x="6231" y="3975"/>
                  </a:cubicBezTo>
                  <a:cubicBezTo>
                    <a:pt x="6231" y="3975"/>
                    <a:pt x="6438" y="3870"/>
                    <a:pt x="6438" y="3870"/>
                  </a:cubicBezTo>
                  <a:cubicBezTo>
                    <a:pt x="6438" y="3870"/>
                    <a:pt x="6231" y="3661"/>
                    <a:pt x="6231" y="3661"/>
                  </a:cubicBezTo>
                  <a:cubicBezTo>
                    <a:pt x="6300" y="3400"/>
                    <a:pt x="6300" y="3400"/>
                    <a:pt x="6300" y="3400"/>
                  </a:cubicBezTo>
                  <a:cubicBezTo>
                    <a:pt x="6369" y="3190"/>
                    <a:pt x="6369" y="3190"/>
                    <a:pt x="6369" y="3190"/>
                  </a:cubicBezTo>
                  <a:cubicBezTo>
                    <a:pt x="6646" y="3033"/>
                    <a:pt x="6646" y="3033"/>
                    <a:pt x="6646" y="3033"/>
                  </a:cubicBezTo>
                  <a:cubicBezTo>
                    <a:pt x="6854" y="3138"/>
                    <a:pt x="6854" y="3138"/>
                    <a:pt x="6854" y="3138"/>
                  </a:cubicBezTo>
                  <a:cubicBezTo>
                    <a:pt x="7200" y="3138"/>
                    <a:pt x="7200" y="3138"/>
                    <a:pt x="7200" y="3138"/>
                  </a:cubicBezTo>
                  <a:cubicBezTo>
                    <a:pt x="7546" y="3138"/>
                    <a:pt x="7546" y="3138"/>
                    <a:pt x="7546" y="3138"/>
                  </a:cubicBezTo>
                  <a:cubicBezTo>
                    <a:pt x="7754" y="3086"/>
                    <a:pt x="7754" y="3086"/>
                    <a:pt x="7754" y="3086"/>
                  </a:cubicBezTo>
                  <a:cubicBezTo>
                    <a:pt x="8031" y="3086"/>
                    <a:pt x="8031" y="3086"/>
                    <a:pt x="8031" y="3086"/>
                  </a:cubicBezTo>
                  <a:cubicBezTo>
                    <a:pt x="8031" y="3086"/>
                    <a:pt x="7892" y="2981"/>
                    <a:pt x="7892" y="2981"/>
                  </a:cubicBezTo>
                  <a:cubicBezTo>
                    <a:pt x="7823" y="2981"/>
                    <a:pt x="7685" y="2877"/>
                    <a:pt x="7685" y="2877"/>
                  </a:cubicBezTo>
                  <a:cubicBezTo>
                    <a:pt x="7685" y="2877"/>
                    <a:pt x="7615" y="2981"/>
                    <a:pt x="7615" y="2981"/>
                  </a:cubicBezTo>
                  <a:cubicBezTo>
                    <a:pt x="7546" y="3033"/>
                    <a:pt x="7338" y="3033"/>
                    <a:pt x="7338" y="2981"/>
                  </a:cubicBezTo>
                  <a:cubicBezTo>
                    <a:pt x="7269" y="2981"/>
                    <a:pt x="7200" y="2824"/>
                    <a:pt x="7200" y="2824"/>
                  </a:cubicBezTo>
                  <a:cubicBezTo>
                    <a:pt x="7200" y="2667"/>
                    <a:pt x="7200" y="2667"/>
                    <a:pt x="7200" y="2667"/>
                  </a:cubicBezTo>
                  <a:cubicBezTo>
                    <a:pt x="7338" y="2615"/>
                    <a:pt x="7338" y="2615"/>
                    <a:pt x="7338" y="2615"/>
                  </a:cubicBezTo>
                  <a:cubicBezTo>
                    <a:pt x="7131" y="2458"/>
                    <a:pt x="7131" y="2458"/>
                    <a:pt x="7131" y="2458"/>
                  </a:cubicBezTo>
                  <a:cubicBezTo>
                    <a:pt x="7131" y="2458"/>
                    <a:pt x="7131" y="2301"/>
                    <a:pt x="7200" y="2249"/>
                  </a:cubicBezTo>
                  <a:cubicBezTo>
                    <a:pt x="7269" y="2249"/>
                    <a:pt x="7269" y="2144"/>
                    <a:pt x="7269" y="2144"/>
                  </a:cubicBezTo>
                  <a:cubicBezTo>
                    <a:pt x="7062" y="2144"/>
                    <a:pt x="7062" y="2144"/>
                    <a:pt x="7062" y="2144"/>
                  </a:cubicBezTo>
                  <a:cubicBezTo>
                    <a:pt x="7062" y="2144"/>
                    <a:pt x="6992" y="2144"/>
                    <a:pt x="6992" y="2040"/>
                  </a:cubicBezTo>
                  <a:cubicBezTo>
                    <a:pt x="7062" y="1935"/>
                    <a:pt x="7062" y="1883"/>
                    <a:pt x="7062" y="1883"/>
                  </a:cubicBezTo>
                  <a:cubicBezTo>
                    <a:pt x="6785" y="1883"/>
                    <a:pt x="6785" y="1883"/>
                    <a:pt x="6785" y="1883"/>
                  </a:cubicBezTo>
                  <a:cubicBezTo>
                    <a:pt x="6646" y="1883"/>
                    <a:pt x="6646" y="1883"/>
                    <a:pt x="6646" y="1883"/>
                  </a:cubicBezTo>
                  <a:cubicBezTo>
                    <a:pt x="6438" y="1726"/>
                    <a:pt x="6438" y="1726"/>
                    <a:pt x="6438" y="1726"/>
                  </a:cubicBezTo>
                  <a:cubicBezTo>
                    <a:pt x="6508" y="1569"/>
                    <a:pt x="6508" y="1569"/>
                    <a:pt x="6508" y="1569"/>
                  </a:cubicBezTo>
                  <a:cubicBezTo>
                    <a:pt x="6923" y="1517"/>
                    <a:pt x="6923" y="1517"/>
                    <a:pt x="6923" y="1517"/>
                  </a:cubicBezTo>
                  <a:cubicBezTo>
                    <a:pt x="7408" y="1360"/>
                    <a:pt x="7408" y="1360"/>
                    <a:pt x="7408" y="1360"/>
                  </a:cubicBezTo>
                  <a:cubicBezTo>
                    <a:pt x="7338" y="1255"/>
                    <a:pt x="7338" y="1255"/>
                    <a:pt x="7338" y="1255"/>
                  </a:cubicBezTo>
                  <a:cubicBezTo>
                    <a:pt x="7200" y="1308"/>
                    <a:pt x="7200" y="1308"/>
                    <a:pt x="7200" y="1308"/>
                  </a:cubicBezTo>
                  <a:cubicBezTo>
                    <a:pt x="7200" y="1308"/>
                    <a:pt x="7131" y="1360"/>
                    <a:pt x="7131" y="1360"/>
                  </a:cubicBezTo>
                  <a:cubicBezTo>
                    <a:pt x="7062" y="1360"/>
                    <a:pt x="6923" y="1360"/>
                    <a:pt x="6923" y="1360"/>
                  </a:cubicBezTo>
                  <a:cubicBezTo>
                    <a:pt x="6923" y="1255"/>
                    <a:pt x="6923" y="1255"/>
                    <a:pt x="6923" y="1255"/>
                  </a:cubicBezTo>
                  <a:cubicBezTo>
                    <a:pt x="7131" y="1255"/>
                    <a:pt x="7131" y="1255"/>
                    <a:pt x="7131" y="1255"/>
                  </a:cubicBezTo>
                  <a:cubicBezTo>
                    <a:pt x="7269" y="1203"/>
                    <a:pt x="7269" y="1203"/>
                    <a:pt x="7269" y="1203"/>
                  </a:cubicBezTo>
                  <a:cubicBezTo>
                    <a:pt x="7131" y="1151"/>
                    <a:pt x="7131" y="1151"/>
                    <a:pt x="7131" y="1151"/>
                  </a:cubicBezTo>
                  <a:cubicBezTo>
                    <a:pt x="6923" y="941"/>
                    <a:pt x="6923" y="941"/>
                    <a:pt x="6923" y="941"/>
                  </a:cubicBezTo>
                  <a:cubicBezTo>
                    <a:pt x="6854" y="785"/>
                    <a:pt x="6854" y="785"/>
                    <a:pt x="6854" y="785"/>
                  </a:cubicBezTo>
                  <a:cubicBezTo>
                    <a:pt x="6715" y="732"/>
                    <a:pt x="6715" y="732"/>
                    <a:pt x="6715" y="732"/>
                  </a:cubicBezTo>
                  <a:cubicBezTo>
                    <a:pt x="6577" y="628"/>
                    <a:pt x="6577" y="628"/>
                    <a:pt x="6577" y="628"/>
                  </a:cubicBezTo>
                  <a:cubicBezTo>
                    <a:pt x="6577" y="471"/>
                    <a:pt x="6577" y="471"/>
                    <a:pt x="6577" y="471"/>
                  </a:cubicBezTo>
                  <a:cubicBezTo>
                    <a:pt x="6508" y="52"/>
                    <a:pt x="6508" y="52"/>
                    <a:pt x="6508" y="52"/>
                  </a:cubicBezTo>
                  <a:cubicBezTo>
                    <a:pt x="6715" y="52"/>
                    <a:pt x="6715" y="52"/>
                    <a:pt x="6715" y="52"/>
                  </a:cubicBezTo>
                  <a:cubicBezTo>
                    <a:pt x="6854" y="0"/>
                    <a:pt x="6854" y="0"/>
                    <a:pt x="6854" y="0"/>
                  </a:cubicBezTo>
                  <a:cubicBezTo>
                    <a:pt x="6854" y="0"/>
                    <a:pt x="7200" y="105"/>
                    <a:pt x="7269" y="105"/>
                  </a:cubicBezTo>
                  <a:cubicBezTo>
                    <a:pt x="7338" y="105"/>
                    <a:pt x="7477" y="157"/>
                    <a:pt x="7477" y="157"/>
                  </a:cubicBezTo>
                  <a:cubicBezTo>
                    <a:pt x="7754" y="262"/>
                    <a:pt x="7754" y="262"/>
                    <a:pt x="7754" y="262"/>
                  </a:cubicBezTo>
                  <a:cubicBezTo>
                    <a:pt x="7962" y="314"/>
                    <a:pt x="7962" y="314"/>
                    <a:pt x="7962" y="314"/>
                  </a:cubicBezTo>
                  <a:cubicBezTo>
                    <a:pt x="7962" y="314"/>
                    <a:pt x="8031" y="314"/>
                    <a:pt x="8031" y="314"/>
                  </a:cubicBezTo>
                  <a:cubicBezTo>
                    <a:pt x="8100" y="314"/>
                    <a:pt x="8238" y="262"/>
                    <a:pt x="8238" y="262"/>
                  </a:cubicBezTo>
                  <a:cubicBezTo>
                    <a:pt x="8238" y="262"/>
                    <a:pt x="8446" y="157"/>
                    <a:pt x="8515" y="157"/>
                  </a:cubicBezTo>
                  <a:cubicBezTo>
                    <a:pt x="8515" y="105"/>
                    <a:pt x="8585" y="105"/>
                    <a:pt x="8585" y="105"/>
                  </a:cubicBezTo>
                  <a:cubicBezTo>
                    <a:pt x="8723" y="314"/>
                    <a:pt x="8723" y="314"/>
                    <a:pt x="8723" y="314"/>
                  </a:cubicBezTo>
                  <a:cubicBezTo>
                    <a:pt x="8862" y="209"/>
                    <a:pt x="8862" y="209"/>
                    <a:pt x="8862" y="209"/>
                  </a:cubicBezTo>
                  <a:cubicBezTo>
                    <a:pt x="8931" y="105"/>
                    <a:pt x="8931" y="105"/>
                    <a:pt x="8931" y="105"/>
                  </a:cubicBezTo>
                  <a:cubicBezTo>
                    <a:pt x="9485" y="575"/>
                    <a:pt x="9485" y="575"/>
                    <a:pt x="9485" y="575"/>
                  </a:cubicBezTo>
                  <a:cubicBezTo>
                    <a:pt x="9554" y="785"/>
                    <a:pt x="9554" y="785"/>
                    <a:pt x="9554" y="785"/>
                  </a:cubicBezTo>
                  <a:cubicBezTo>
                    <a:pt x="9554" y="785"/>
                    <a:pt x="9554" y="941"/>
                    <a:pt x="9554" y="941"/>
                  </a:cubicBezTo>
                  <a:cubicBezTo>
                    <a:pt x="9485" y="941"/>
                    <a:pt x="9415" y="1151"/>
                    <a:pt x="9415" y="1151"/>
                  </a:cubicBezTo>
                  <a:cubicBezTo>
                    <a:pt x="9415" y="1308"/>
                    <a:pt x="9415" y="1308"/>
                    <a:pt x="9415" y="1308"/>
                  </a:cubicBezTo>
                  <a:cubicBezTo>
                    <a:pt x="9554" y="1360"/>
                    <a:pt x="9554" y="1360"/>
                    <a:pt x="9554" y="1360"/>
                  </a:cubicBezTo>
                  <a:cubicBezTo>
                    <a:pt x="9762" y="1360"/>
                    <a:pt x="9762" y="1360"/>
                    <a:pt x="9762" y="1360"/>
                  </a:cubicBezTo>
                  <a:cubicBezTo>
                    <a:pt x="9900" y="1464"/>
                    <a:pt x="9900" y="1464"/>
                    <a:pt x="9900" y="1464"/>
                  </a:cubicBezTo>
                  <a:cubicBezTo>
                    <a:pt x="9969" y="1517"/>
                    <a:pt x="9969" y="1517"/>
                    <a:pt x="9969" y="1517"/>
                  </a:cubicBezTo>
                  <a:cubicBezTo>
                    <a:pt x="10177" y="1517"/>
                    <a:pt x="10177" y="1517"/>
                    <a:pt x="10177" y="1517"/>
                  </a:cubicBezTo>
                  <a:cubicBezTo>
                    <a:pt x="10246" y="1464"/>
                    <a:pt x="10246" y="1464"/>
                    <a:pt x="10246" y="1464"/>
                  </a:cubicBezTo>
                  <a:cubicBezTo>
                    <a:pt x="10523" y="1517"/>
                    <a:pt x="10523" y="1517"/>
                    <a:pt x="10523" y="1517"/>
                  </a:cubicBezTo>
                  <a:cubicBezTo>
                    <a:pt x="10731" y="1621"/>
                    <a:pt x="10731" y="1621"/>
                    <a:pt x="10731" y="1621"/>
                  </a:cubicBezTo>
                  <a:cubicBezTo>
                    <a:pt x="10938" y="1726"/>
                    <a:pt x="10938" y="1726"/>
                    <a:pt x="10938" y="1726"/>
                  </a:cubicBezTo>
                  <a:cubicBezTo>
                    <a:pt x="11285" y="1831"/>
                    <a:pt x="11285" y="1831"/>
                    <a:pt x="11285" y="1831"/>
                  </a:cubicBezTo>
                  <a:cubicBezTo>
                    <a:pt x="11354" y="1674"/>
                    <a:pt x="11354" y="1674"/>
                    <a:pt x="11354" y="1674"/>
                  </a:cubicBezTo>
                  <a:cubicBezTo>
                    <a:pt x="11423" y="1621"/>
                    <a:pt x="11423" y="1621"/>
                    <a:pt x="11423" y="1621"/>
                  </a:cubicBezTo>
                  <a:cubicBezTo>
                    <a:pt x="11631" y="1621"/>
                    <a:pt x="11631" y="1621"/>
                    <a:pt x="11631" y="1621"/>
                  </a:cubicBezTo>
                  <a:cubicBezTo>
                    <a:pt x="11769" y="1569"/>
                    <a:pt x="11769" y="1569"/>
                    <a:pt x="11769" y="1569"/>
                  </a:cubicBezTo>
                  <a:cubicBezTo>
                    <a:pt x="11838" y="1517"/>
                    <a:pt x="11838" y="1517"/>
                    <a:pt x="11838" y="1517"/>
                  </a:cubicBezTo>
                  <a:cubicBezTo>
                    <a:pt x="11631" y="1360"/>
                    <a:pt x="11631" y="1360"/>
                    <a:pt x="11631" y="1360"/>
                  </a:cubicBezTo>
                  <a:cubicBezTo>
                    <a:pt x="11631" y="1203"/>
                    <a:pt x="11631" y="1203"/>
                    <a:pt x="11631" y="1203"/>
                  </a:cubicBezTo>
                  <a:cubicBezTo>
                    <a:pt x="11631" y="1203"/>
                    <a:pt x="11769" y="1098"/>
                    <a:pt x="11769" y="1098"/>
                  </a:cubicBezTo>
                  <a:cubicBezTo>
                    <a:pt x="11838" y="1098"/>
                    <a:pt x="12115" y="1151"/>
                    <a:pt x="12115" y="1151"/>
                  </a:cubicBezTo>
                  <a:cubicBezTo>
                    <a:pt x="12185" y="1308"/>
                    <a:pt x="12185" y="1308"/>
                    <a:pt x="12185" y="1308"/>
                  </a:cubicBezTo>
                  <a:cubicBezTo>
                    <a:pt x="12254" y="1464"/>
                    <a:pt x="12254" y="1464"/>
                    <a:pt x="12254" y="1464"/>
                  </a:cubicBezTo>
                  <a:cubicBezTo>
                    <a:pt x="11977" y="1517"/>
                    <a:pt x="11977" y="1517"/>
                    <a:pt x="11977" y="1517"/>
                  </a:cubicBezTo>
                  <a:cubicBezTo>
                    <a:pt x="11908" y="1621"/>
                    <a:pt x="11908" y="1621"/>
                    <a:pt x="11908" y="1621"/>
                  </a:cubicBezTo>
                  <a:cubicBezTo>
                    <a:pt x="11908" y="1831"/>
                    <a:pt x="11908" y="1831"/>
                    <a:pt x="11908" y="1831"/>
                  </a:cubicBezTo>
                  <a:cubicBezTo>
                    <a:pt x="11908" y="2040"/>
                    <a:pt x="11908" y="2040"/>
                    <a:pt x="11908" y="2040"/>
                  </a:cubicBezTo>
                  <a:cubicBezTo>
                    <a:pt x="11908" y="2040"/>
                    <a:pt x="11908" y="2144"/>
                    <a:pt x="11838" y="2144"/>
                  </a:cubicBezTo>
                  <a:cubicBezTo>
                    <a:pt x="11769" y="2197"/>
                    <a:pt x="11631" y="2197"/>
                    <a:pt x="11631" y="2197"/>
                  </a:cubicBezTo>
                  <a:cubicBezTo>
                    <a:pt x="11631" y="2301"/>
                    <a:pt x="11631" y="2301"/>
                    <a:pt x="11631" y="2301"/>
                  </a:cubicBezTo>
                  <a:cubicBezTo>
                    <a:pt x="11423" y="2406"/>
                    <a:pt x="11423" y="2406"/>
                    <a:pt x="11423" y="2406"/>
                  </a:cubicBezTo>
                  <a:cubicBezTo>
                    <a:pt x="11215" y="2406"/>
                    <a:pt x="11215" y="2406"/>
                    <a:pt x="11215" y="2406"/>
                  </a:cubicBezTo>
                  <a:cubicBezTo>
                    <a:pt x="11146" y="2458"/>
                    <a:pt x="11146" y="2458"/>
                    <a:pt x="11146" y="2458"/>
                  </a:cubicBezTo>
                  <a:cubicBezTo>
                    <a:pt x="11215" y="2615"/>
                    <a:pt x="11215" y="2615"/>
                    <a:pt x="11215" y="2615"/>
                  </a:cubicBezTo>
                  <a:cubicBezTo>
                    <a:pt x="11354" y="2720"/>
                    <a:pt x="11354" y="2720"/>
                    <a:pt x="11354" y="2720"/>
                  </a:cubicBezTo>
                  <a:cubicBezTo>
                    <a:pt x="11562" y="2772"/>
                    <a:pt x="11562" y="2772"/>
                    <a:pt x="11562" y="2772"/>
                  </a:cubicBezTo>
                  <a:cubicBezTo>
                    <a:pt x="11700" y="2720"/>
                    <a:pt x="11700" y="2720"/>
                    <a:pt x="11700" y="2720"/>
                  </a:cubicBezTo>
                  <a:cubicBezTo>
                    <a:pt x="11769" y="2615"/>
                    <a:pt x="11769" y="2615"/>
                    <a:pt x="11769" y="2615"/>
                  </a:cubicBezTo>
                  <a:cubicBezTo>
                    <a:pt x="11977" y="2563"/>
                    <a:pt x="11977" y="2563"/>
                    <a:pt x="11977" y="2563"/>
                  </a:cubicBezTo>
                  <a:cubicBezTo>
                    <a:pt x="12254" y="2667"/>
                    <a:pt x="12254" y="2667"/>
                    <a:pt x="12254" y="2667"/>
                  </a:cubicBezTo>
                  <a:cubicBezTo>
                    <a:pt x="12323" y="2772"/>
                    <a:pt x="12323" y="2772"/>
                    <a:pt x="12323" y="2772"/>
                  </a:cubicBezTo>
                  <a:cubicBezTo>
                    <a:pt x="12323" y="2772"/>
                    <a:pt x="12600" y="2772"/>
                    <a:pt x="12600" y="2772"/>
                  </a:cubicBezTo>
                  <a:cubicBezTo>
                    <a:pt x="12600" y="2772"/>
                    <a:pt x="12669" y="2615"/>
                    <a:pt x="12669" y="2615"/>
                  </a:cubicBezTo>
                  <a:cubicBezTo>
                    <a:pt x="12669" y="2615"/>
                    <a:pt x="12738" y="2510"/>
                    <a:pt x="12808" y="2510"/>
                  </a:cubicBezTo>
                  <a:cubicBezTo>
                    <a:pt x="12877" y="2510"/>
                    <a:pt x="12946" y="2406"/>
                    <a:pt x="13015" y="2406"/>
                  </a:cubicBezTo>
                  <a:cubicBezTo>
                    <a:pt x="13015" y="2354"/>
                    <a:pt x="13085" y="2249"/>
                    <a:pt x="13085" y="2249"/>
                  </a:cubicBezTo>
                  <a:cubicBezTo>
                    <a:pt x="13085" y="2249"/>
                    <a:pt x="13223" y="2197"/>
                    <a:pt x="13292" y="2197"/>
                  </a:cubicBezTo>
                  <a:cubicBezTo>
                    <a:pt x="13362" y="2197"/>
                    <a:pt x="13777" y="2144"/>
                    <a:pt x="13777" y="2144"/>
                  </a:cubicBezTo>
                  <a:cubicBezTo>
                    <a:pt x="13777" y="2144"/>
                    <a:pt x="14054" y="2092"/>
                    <a:pt x="14123" y="2040"/>
                  </a:cubicBezTo>
                  <a:cubicBezTo>
                    <a:pt x="14123" y="2040"/>
                    <a:pt x="14400" y="1883"/>
                    <a:pt x="14400" y="1883"/>
                  </a:cubicBezTo>
                  <a:cubicBezTo>
                    <a:pt x="14469" y="1726"/>
                    <a:pt x="14469" y="1726"/>
                    <a:pt x="14469" y="1726"/>
                  </a:cubicBezTo>
                  <a:cubicBezTo>
                    <a:pt x="14677" y="1569"/>
                    <a:pt x="14677" y="1569"/>
                    <a:pt x="14677" y="1569"/>
                  </a:cubicBezTo>
                  <a:cubicBezTo>
                    <a:pt x="14677" y="1569"/>
                    <a:pt x="14746" y="1569"/>
                    <a:pt x="14746" y="1517"/>
                  </a:cubicBezTo>
                  <a:cubicBezTo>
                    <a:pt x="14746" y="1464"/>
                    <a:pt x="14815" y="1308"/>
                    <a:pt x="14815" y="1308"/>
                  </a:cubicBezTo>
                  <a:cubicBezTo>
                    <a:pt x="14954" y="1255"/>
                    <a:pt x="14954" y="1255"/>
                    <a:pt x="14954" y="1255"/>
                  </a:cubicBezTo>
                  <a:cubicBezTo>
                    <a:pt x="14954" y="1255"/>
                    <a:pt x="15092" y="1308"/>
                    <a:pt x="15092" y="1360"/>
                  </a:cubicBezTo>
                  <a:cubicBezTo>
                    <a:pt x="15092" y="1360"/>
                    <a:pt x="15023" y="1464"/>
                    <a:pt x="15023" y="1464"/>
                  </a:cubicBezTo>
                  <a:cubicBezTo>
                    <a:pt x="15023" y="1464"/>
                    <a:pt x="14885" y="1517"/>
                    <a:pt x="14815" y="1569"/>
                  </a:cubicBezTo>
                  <a:cubicBezTo>
                    <a:pt x="14815" y="1569"/>
                    <a:pt x="14815" y="1674"/>
                    <a:pt x="14815" y="1674"/>
                  </a:cubicBezTo>
                  <a:cubicBezTo>
                    <a:pt x="14954" y="1569"/>
                    <a:pt x="14954" y="1569"/>
                    <a:pt x="14954" y="1569"/>
                  </a:cubicBezTo>
                  <a:cubicBezTo>
                    <a:pt x="14954" y="1569"/>
                    <a:pt x="15023" y="1517"/>
                    <a:pt x="15023" y="1517"/>
                  </a:cubicBezTo>
                  <a:cubicBezTo>
                    <a:pt x="15023" y="1517"/>
                    <a:pt x="15300" y="1464"/>
                    <a:pt x="15300" y="1464"/>
                  </a:cubicBezTo>
                  <a:cubicBezTo>
                    <a:pt x="15300" y="1464"/>
                    <a:pt x="15438" y="1517"/>
                    <a:pt x="15438" y="1517"/>
                  </a:cubicBezTo>
                  <a:cubicBezTo>
                    <a:pt x="15438" y="1517"/>
                    <a:pt x="15577" y="1569"/>
                    <a:pt x="15577" y="1569"/>
                  </a:cubicBezTo>
                  <a:cubicBezTo>
                    <a:pt x="15854" y="1517"/>
                    <a:pt x="15854" y="1517"/>
                    <a:pt x="15854" y="1517"/>
                  </a:cubicBezTo>
                  <a:cubicBezTo>
                    <a:pt x="15854" y="1412"/>
                    <a:pt x="15854" y="1412"/>
                    <a:pt x="15854" y="1412"/>
                  </a:cubicBezTo>
                  <a:cubicBezTo>
                    <a:pt x="15854" y="1412"/>
                    <a:pt x="15854" y="1360"/>
                    <a:pt x="15923" y="1360"/>
                  </a:cubicBezTo>
                  <a:cubicBezTo>
                    <a:pt x="15992" y="1308"/>
                    <a:pt x="16131" y="1255"/>
                    <a:pt x="16131" y="1255"/>
                  </a:cubicBezTo>
                  <a:cubicBezTo>
                    <a:pt x="16131" y="1255"/>
                    <a:pt x="16131" y="1151"/>
                    <a:pt x="16131" y="1098"/>
                  </a:cubicBezTo>
                  <a:cubicBezTo>
                    <a:pt x="16131" y="1098"/>
                    <a:pt x="16200" y="994"/>
                    <a:pt x="16200" y="994"/>
                  </a:cubicBezTo>
                  <a:cubicBezTo>
                    <a:pt x="16200" y="994"/>
                    <a:pt x="16200" y="994"/>
                    <a:pt x="16200" y="994"/>
                  </a:cubicBezTo>
                  <a:cubicBezTo>
                    <a:pt x="16200" y="994"/>
                    <a:pt x="16338" y="941"/>
                    <a:pt x="16338" y="941"/>
                  </a:cubicBezTo>
                  <a:cubicBezTo>
                    <a:pt x="16338" y="941"/>
                    <a:pt x="16408" y="785"/>
                    <a:pt x="16408" y="785"/>
                  </a:cubicBezTo>
                  <a:cubicBezTo>
                    <a:pt x="16408" y="785"/>
                    <a:pt x="16408" y="732"/>
                    <a:pt x="16477" y="732"/>
                  </a:cubicBezTo>
                  <a:cubicBezTo>
                    <a:pt x="16477" y="732"/>
                    <a:pt x="16615" y="628"/>
                    <a:pt x="16615" y="628"/>
                  </a:cubicBezTo>
                  <a:cubicBezTo>
                    <a:pt x="16685" y="575"/>
                    <a:pt x="16685" y="575"/>
                    <a:pt x="16754" y="575"/>
                  </a:cubicBezTo>
                  <a:cubicBezTo>
                    <a:pt x="16754" y="575"/>
                    <a:pt x="16823" y="680"/>
                    <a:pt x="16823" y="680"/>
                  </a:cubicBezTo>
                  <a:cubicBezTo>
                    <a:pt x="16823" y="680"/>
                    <a:pt x="16823" y="732"/>
                    <a:pt x="16754" y="785"/>
                  </a:cubicBezTo>
                  <a:cubicBezTo>
                    <a:pt x="16685" y="785"/>
                    <a:pt x="16615" y="837"/>
                    <a:pt x="16615" y="837"/>
                  </a:cubicBezTo>
                  <a:cubicBezTo>
                    <a:pt x="16615" y="837"/>
                    <a:pt x="16754" y="941"/>
                    <a:pt x="16754" y="941"/>
                  </a:cubicBezTo>
                  <a:cubicBezTo>
                    <a:pt x="16754" y="941"/>
                    <a:pt x="16823" y="994"/>
                    <a:pt x="16823" y="994"/>
                  </a:cubicBezTo>
                  <a:cubicBezTo>
                    <a:pt x="16823" y="1046"/>
                    <a:pt x="16754" y="1098"/>
                    <a:pt x="16754" y="1098"/>
                  </a:cubicBezTo>
                  <a:cubicBezTo>
                    <a:pt x="16823" y="1098"/>
                    <a:pt x="17031" y="1046"/>
                    <a:pt x="17031" y="1046"/>
                  </a:cubicBezTo>
                  <a:cubicBezTo>
                    <a:pt x="17031" y="1046"/>
                    <a:pt x="17031" y="941"/>
                    <a:pt x="17031" y="941"/>
                  </a:cubicBezTo>
                  <a:cubicBezTo>
                    <a:pt x="17031" y="941"/>
                    <a:pt x="17169" y="837"/>
                    <a:pt x="17169" y="837"/>
                  </a:cubicBezTo>
                  <a:cubicBezTo>
                    <a:pt x="17238" y="837"/>
                    <a:pt x="17377" y="889"/>
                    <a:pt x="17377" y="889"/>
                  </a:cubicBezTo>
                  <a:cubicBezTo>
                    <a:pt x="17377" y="889"/>
                    <a:pt x="17377" y="941"/>
                    <a:pt x="17377" y="994"/>
                  </a:cubicBezTo>
                  <a:cubicBezTo>
                    <a:pt x="17308" y="994"/>
                    <a:pt x="17169" y="1098"/>
                    <a:pt x="17169" y="1098"/>
                  </a:cubicBezTo>
                  <a:cubicBezTo>
                    <a:pt x="17169" y="1151"/>
                    <a:pt x="17100" y="1151"/>
                    <a:pt x="17169" y="1151"/>
                  </a:cubicBezTo>
                  <a:cubicBezTo>
                    <a:pt x="17169" y="1203"/>
                    <a:pt x="17308" y="1308"/>
                    <a:pt x="17308" y="1308"/>
                  </a:cubicBezTo>
                  <a:cubicBezTo>
                    <a:pt x="17515" y="1412"/>
                    <a:pt x="17515" y="1412"/>
                    <a:pt x="17515" y="1412"/>
                  </a:cubicBezTo>
                  <a:cubicBezTo>
                    <a:pt x="17515" y="1412"/>
                    <a:pt x="17515" y="1464"/>
                    <a:pt x="17515" y="1517"/>
                  </a:cubicBezTo>
                  <a:cubicBezTo>
                    <a:pt x="17515" y="1517"/>
                    <a:pt x="17169" y="1517"/>
                    <a:pt x="17169" y="1517"/>
                  </a:cubicBezTo>
                  <a:cubicBezTo>
                    <a:pt x="17169" y="1517"/>
                    <a:pt x="17169" y="1517"/>
                    <a:pt x="17100" y="1569"/>
                  </a:cubicBezTo>
                  <a:cubicBezTo>
                    <a:pt x="17100" y="1569"/>
                    <a:pt x="17031" y="1621"/>
                    <a:pt x="16892" y="1674"/>
                  </a:cubicBezTo>
                  <a:cubicBezTo>
                    <a:pt x="16754" y="1674"/>
                    <a:pt x="16754" y="1674"/>
                    <a:pt x="16754" y="1726"/>
                  </a:cubicBezTo>
                  <a:cubicBezTo>
                    <a:pt x="16754" y="1778"/>
                    <a:pt x="16685" y="1831"/>
                    <a:pt x="16754" y="1883"/>
                  </a:cubicBezTo>
                  <a:cubicBezTo>
                    <a:pt x="16823" y="1935"/>
                    <a:pt x="16962" y="1987"/>
                    <a:pt x="16962" y="1987"/>
                  </a:cubicBezTo>
                  <a:cubicBezTo>
                    <a:pt x="16962" y="1987"/>
                    <a:pt x="17308" y="2092"/>
                    <a:pt x="17308" y="2040"/>
                  </a:cubicBezTo>
                  <a:cubicBezTo>
                    <a:pt x="17308" y="2040"/>
                    <a:pt x="17792" y="2040"/>
                    <a:pt x="17792" y="2040"/>
                  </a:cubicBezTo>
                  <a:cubicBezTo>
                    <a:pt x="18000" y="2040"/>
                    <a:pt x="18000" y="2040"/>
                    <a:pt x="18000" y="2040"/>
                  </a:cubicBezTo>
                  <a:cubicBezTo>
                    <a:pt x="18000" y="2040"/>
                    <a:pt x="18069" y="2144"/>
                    <a:pt x="18138" y="2197"/>
                  </a:cubicBezTo>
                  <a:cubicBezTo>
                    <a:pt x="18138" y="2197"/>
                    <a:pt x="18415" y="2354"/>
                    <a:pt x="18415" y="2354"/>
                  </a:cubicBezTo>
                  <a:cubicBezTo>
                    <a:pt x="18554" y="2354"/>
                    <a:pt x="18554" y="2354"/>
                    <a:pt x="18554" y="2354"/>
                  </a:cubicBezTo>
                  <a:cubicBezTo>
                    <a:pt x="18623" y="2563"/>
                    <a:pt x="18623" y="2563"/>
                    <a:pt x="18623" y="2563"/>
                  </a:cubicBezTo>
                  <a:cubicBezTo>
                    <a:pt x="18554" y="2720"/>
                    <a:pt x="18554" y="2720"/>
                    <a:pt x="18554" y="2720"/>
                  </a:cubicBezTo>
                  <a:cubicBezTo>
                    <a:pt x="18346" y="2772"/>
                    <a:pt x="18346" y="2772"/>
                    <a:pt x="18346" y="2772"/>
                  </a:cubicBezTo>
                  <a:cubicBezTo>
                    <a:pt x="18069" y="2929"/>
                    <a:pt x="18069" y="2929"/>
                    <a:pt x="18069" y="2929"/>
                  </a:cubicBezTo>
                  <a:cubicBezTo>
                    <a:pt x="17931" y="2877"/>
                    <a:pt x="17931" y="2877"/>
                    <a:pt x="17931" y="2877"/>
                  </a:cubicBezTo>
                  <a:cubicBezTo>
                    <a:pt x="17931" y="2877"/>
                    <a:pt x="18069" y="2981"/>
                    <a:pt x="18138" y="2981"/>
                  </a:cubicBezTo>
                  <a:cubicBezTo>
                    <a:pt x="18208" y="2981"/>
                    <a:pt x="18277" y="3033"/>
                    <a:pt x="18277" y="3033"/>
                  </a:cubicBezTo>
                  <a:cubicBezTo>
                    <a:pt x="18346" y="3033"/>
                    <a:pt x="18623" y="3033"/>
                    <a:pt x="18900" y="3033"/>
                  </a:cubicBezTo>
                  <a:cubicBezTo>
                    <a:pt x="18900" y="3086"/>
                    <a:pt x="18900" y="3086"/>
                    <a:pt x="18900" y="3138"/>
                  </a:cubicBezTo>
                  <a:cubicBezTo>
                    <a:pt x="18969" y="3190"/>
                    <a:pt x="19038" y="3400"/>
                    <a:pt x="19038" y="3452"/>
                  </a:cubicBezTo>
                  <a:cubicBezTo>
                    <a:pt x="19038" y="3452"/>
                    <a:pt x="19108" y="3661"/>
                    <a:pt x="19246" y="3818"/>
                  </a:cubicBezTo>
                  <a:cubicBezTo>
                    <a:pt x="19454" y="4027"/>
                    <a:pt x="19385" y="4079"/>
                    <a:pt x="19385" y="4079"/>
                  </a:cubicBezTo>
                  <a:cubicBezTo>
                    <a:pt x="19385" y="4550"/>
                    <a:pt x="19385" y="4550"/>
                    <a:pt x="19385" y="4550"/>
                  </a:cubicBezTo>
                  <a:cubicBezTo>
                    <a:pt x="19385" y="4969"/>
                    <a:pt x="19385" y="4969"/>
                    <a:pt x="19385" y="4969"/>
                  </a:cubicBezTo>
                  <a:cubicBezTo>
                    <a:pt x="19038" y="5178"/>
                    <a:pt x="19038" y="5178"/>
                    <a:pt x="19038" y="5178"/>
                  </a:cubicBezTo>
                  <a:cubicBezTo>
                    <a:pt x="18900" y="5648"/>
                    <a:pt x="18900" y="5648"/>
                    <a:pt x="18900" y="5648"/>
                  </a:cubicBezTo>
                  <a:cubicBezTo>
                    <a:pt x="18900" y="5648"/>
                    <a:pt x="18969" y="5701"/>
                    <a:pt x="19038" y="5701"/>
                  </a:cubicBezTo>
                  <a:cubicBezTo>
                    <a:pt x="19108" y="5753"/>
                    <a:pt x="19315" y="5910"/>
                    <a:pt x="19315" y="5910"/>
                  </a:cubicBezTo>
                  <a:cubicBezTo>
                    <a:pt x="19385" y="5962"/>
                    <a:pt x="19800" y="6119"/>
                    <a:pt x="20008" y="6171"/>
                  </a:cubicBezTo>
                  <a:cubicBezTo>
                    <a:pt x="20215" y="6276"/>
                    <a:pt x="20146" y="6538"/>
                    <a:pt x="20146" y="6538"/>
                  </a:cubicBezTo>
                  <a:cubicBezTo>
                    <a:pt x="20008" y="6904"/>
                    <a:pt x="20008" y="6904"/>
                    <a:pt x="20008" y="6904"/>
                  </a:cubicBezTo>
                  <a:cubicBezTo>
                    <a:pt x="20008" y="6904"/>
                    <a:pt x="20077" y="7113"/>
                    <a:pt x="20215" y="7113"/>
                  </a:cubicBezTo>
                  <a:cubicBezTo>
                    <a:pt x="20285" y="7061"/>
                    <a:pt x="20354" y="7374"/>
                    <a:pt x="20354" y="7374"/>
                  </a:cubicBezTo>
                  <a:cubicBezTo>
                    <a:pt x="20354" y="7374"/>
                    <a:pt x="20423" y="7688"/>
                    <a:pt x="20423" y="7740"/>
                  </a:cubicBezTo>
                  <a:cubicBezTo>
                    <a:pt x="20354" y="7793"/>
                    <a:pt x="20423" y="7845"/>
                    <a:pt x="20423" y="7845"/>
                  </a:cubicBezTo>
                  <a:cubicBezTo>
                    <a:pt x="20562" y="8054"/>
                    <a:pt x="20562" y="8054"/>
                    <a:pt x="20562" y="8054"/>
                  </a:cubicBezTo>
                  <a:cubicBezTo>
                    <a:pt x="20562" y="8054"/>
                    <a:pt x="20492" y="8211"/>
                    <a:pt x="20423" y="8263"/>
                  </a:cubicBezTo>
                  <a:cubicBezTo>
                    <a:pt x="20423" y="8368"/>
                    <a:pt x="20354" y="8473"/>
                    <a:pt x="20354" y="8473"/>
                  </a:cubicBezTo>
                  <a:cubicBezTo>
                    <a:pt x="20423" y="8630"/>
                    <a:pt x="20423" y="8630"/>
                    <a:pt x="20423" y="8630"/>
                  </a:cubicBezTo>
                  <a:cubicBezTo>
                    <a:pt x="20700" y="8891"/>
                    <a:pt x="20700" y="8891"/>
                    <a:pt x="20700" y="8891"/>
                  </a:cubicBezTo>
                  <a:cubicBezTo>
                    <a:pt x="20700" y="9153"/>
                    <a:pt x="20700" y="9153"/>
                    <a:pt x="20700" y="9153"/>
                  </a:cubicBezTo>
                  <a:cubicBezTo>
                    <a:pt x="20700" y="9309"/>
                    <a:pt x="20700" y="9309"/>
                    <a:pt x="20700" y="9309"/>
                  </a:cubicBezTo>
                  <a:cubicBezTo>
                    <a:pt x="20700" y="9309"/>
                    <a:pt x="20908" y="9362"/>
                    <a:pt x="20977" y="9362"/>
                  </a:cubicBezTo>
                  <a:cubicBezTo>
                    <a:pt x="21046" y="9362"/>
                    <a:pt x="21185" y="9466"/>
                    <a:pt x="21185" y="9466"/>
                  </a:cubicBezTo>
                  <a:cubicBezTo>
                    <a:pt x="21185" y="9466"/>
                    <a:pt x="21185" y="9571"/>
                    <a:pt x="21185" y="9623"/>
                  </a:cubicBezTo>
                  <a:cubicBezTo>
                    <a:pt x="21185" y="9623"/>
                    <a:pt x="21392" y="9832"/>
                    <a:pt x="21392" y="9832"/>
                  </a:cubicBezTo>
                  <a:cubicBezTo>
                    <a:pt x="21462" y="9885"/>
                    <a:pt x="21600" y="10042"/>
                    <a:pt x="21600" y="10042"/>
                  </a:cubicBezTo>
                  <a:cubicBezTo>
                    <a:pt x="21600" y="10042"/>
                    <a:pt x="21600" y="10146"/>
                    <a:pt x="21392" y="10303"/>
                  </a:cubicBezTo>
                  <a:cubicBezTo>
                    <a:pt x="21254" y="10460"/>
                    <a:pt x="21323" y="10460"/>
                    <a:pt x="21323" y="10512"/>
                  </a:cubicBezTo>
                  <a:cubicBezTo>
                    <a:pt x="21323" y="10565"/>
                    <a:pt x="21392" y="10669"/>
                    <a:pt x="21392" y="10669"/>
                  </a:cubicBezTo>
                  <a:cubicBezTo>
                    <a:pt x="21392" y="10669"/>
                    <a:pt x="21323" y="10722"/>
                    <a:pt x="21254" y="10774"/>
                  </a:cubicBezTo>
                  <a:cubicBezTo>
                    <a:pt x="21254" y="10774"/>
                    <a:pt x="21185" y="10878"/>
                    <a:pt x="21185" y="10983"/>
                  </a:cubicBezTo>
                  <a:cubicBezTo>
                    <a:pt x="20908" y="11140"/>
                    <a:pt x="20908" y="11140"/>
                    <a:pt x="20908" y="11140"/>
                  </a:cubicBezTo>
                  <a:cubicBezTo>
                    <a:pt x="20908" y="11140"/>
                    <a:pt x="20908" y="11140"/>
                    <a:pt x="20838" y="11192"/>
                  </a:cubicBezTo>
                  <a:cubicBezTo>
                    <a:pt x="20838" y="11140"/>
                    <a:pt x="20769" y="11140"/>
                    <a:pt x="20700" y="11140"/>
                  </a:cubicBezTo>
                  <a:cubicBezTo>
                    <a:pt x="20631" y="11088"/>
                    <a:pt x="20562" y="11035"/>
                    <a:pt x="20562" y="11035"/>
                  </a:cubicBezTo>
                  <a:cubicBezTo>
                    <a:pt x="20562" y="11035"/>
                    <a:pt x="20562" y="10931"/>
                    <a:pt x="20562" y="10826"/>
                  </a:cubicBezTo>
                  <a:cubicBezTo>
                    <a:pt x="20562" y="10722"/>
                    <a:pt x="20562" y="10774"/>
                    <a:pt x="20562" y="10722"/>
                  </a:cubicBezTo>
                  <a:cubicBezTo>
                    <a:pt x="20492" y="10669"/>
                    <a:pt x="20354" y="10617"/>
                    <a:pt x="20215" y="10565"/>
                  </a:cubicBezTo>
                  <a:cubicBezTo>
                    <a:pt x="20077" y="10565"/>
                    <a:pt x="19800" y="10565"/>
                    <a:pt x="19731" y="10617"/>
                  </a:cubicBezTo>
                  <a:cubicBezTo>
                    <a:pt x="19731" y="10617"/>
                    <a:pt x="19731" y="10826"/>
                    <a:pt x="19731" y="10826"/>
                  </a:cubicBezTo>
                  <a:cubicBezTo>
                    <a:pt x="19869" y="10983"/>
                    <a:pt x="19869" y="10983"/>
                    <a:pt x="19869" y="10983"/>
                  </a:cubicBezTo>
                  <a:cubicBezTo>
                    <a:pt x="19800" y="11088"/>
                    <a:pt x="19800" y="11088"/>
                    <a:pt x="19800" y="11088"/>
                  </a:cubicBezTo>
                  <a:cubicBezTo>
                    <a:pt x="19800" y="11088"/>
                    <a:pt x="19177" y="11192"/>
                    <a:pt x="18969" y="11192"/>
                  </a:cubicBezTo>
                  <a:cubicBezTo>
                    <a:pt x="18762" y="11192"/>
                    <a:pt x="18831" y="11297"/>
                    <a:pt x="18831" y="11297"/>
                  </a:cubicBezTo>
                  <a:cubicBezTo>
                    <a:pt x="18692" y="11506"/>
                    <a:pt x="18692" y="11506"/>
                    <a:pt x="18692" y="11506"/>
                  </a:cubicBezTo>
                  <a:cubicBezTo>
                    <a:pt x="18554" y="11611"/>
                    <a:pt x="18554" y="11611"/>
                    <a:pt x="18554" y="11611"/>
                  </a:cubicBezTo>
                  <a:cubicBezTo>
                    <a:pt x="18138" y="11715"/>
                    <a:pt x="18138" y="11715"/>
                    <a:pt x="18138" y="11715"/>
                  </a:cubicBezTo>
                  <a:cubicBezTo>
                    <a:pt x="18138" y="11715"/>
                    <a:pt x="17723" y="11977"/>
                    <a:pt x="17654" y="11977"/>
                  </a:cubicBezTo>
                  <a:cubicBezTo>
                    <a:pt x="17377" y="12134"/>
                    <a:pt x="17377" y="12134"/>
                    <a:pt x="17377" y="12134"/>
                  </a:cubicBezTo>
                  <a:cubicBezTo>
                    <a:pt x="17377" y="12134"/>
                    <a:pt x="17308" y="12134"/>
                    <a:pt x="17100" y="12238"/>
                  </a:cubicBezTo>
                  <a:cubicBezTo>
                    <a:pt x="16823" y="12291"/>
                    <a:pt x="16962" y="12395"/>
                    <a:pt x="16892" y="12447"/>
                  </a:cubicBezTo>
                  <a:cubicBezTo>
                    <a:pt x="16892" y="12552"/>
                    <a:pt x="16823" y="12552"/>
                    <a:pt x="16685" y="12604"/>
                  </a:cubicBezTo>
                  <a:cubicBezTo>
                    <a:pt x="16615" y="12604"/>
                    <a:pt x="16408" y="12552"/>
                    <a:pt x="16269" y="12552"/>
                  </a:cubicBezTo>
                  <a:cubicBezTo>
                    <a:pt x="16200" y="12552"/>
                    <a:pt x="15992" y="12657"/>
                    <a:pt x="15854" y="12657"/>
                  </a:cubicBezTo>
                  <a:cubicBezTo>
                    <a:pt x="15646" y="12657"/>
                    <a:pt x="15646" y="12657"/>
                    <a:pt x="15646" y="12657"/>
                  </a:cubicBezTo>
                  <a:cubicBezTo>
                    <a:pt x="15369" y="12918"/>
                    <a:pt x="15369" y="12918"/>
                    <a:pt x="15369" y="12918"/>
                  </a:cubicBezTo>
                  <a:cubicBezTo>
                    <a:pt x="15162" y="13232"/>
                    <a:pt x="15162" y="13232"/>
                    <a:pt x="15162" y="13232"/>
                  </a:cubicBezTo>
                  <a:cubicBezTo>
                    <a:pt x="15092" y="13075"/>
                    <a:pt x="15092" y="13075"/>
                    <a:pt x="15092" y="13075"/>
                  </a:cubicBezTo>
                  <a:cubicBezTo>
                    <a:pt x="15023" y="12866"/>
                    <a:pt x="15023" y="12866"/>
                    <a:pt x="15023" y="12866"/>
                  </a:cubicBezTo>
                  <a:cubicBezTo>
                    <a:pt x="14677" y="12866"/>
                    <a:pt x="14677" y="12866"/>
                    <a:pt x="14677" y="12866"/>
                  </a:cubicBezTo>
                  <a:cubicBezTo>
                    <a:pt x="14746" y="13023"/>
                    <a:pt x="14746" y="13023"/>
                    <a:pt x="14746" y="13023"/>
                  </a:cubicBezTo>
                  <a:cubicBezTo>
                    <a:pt x="14746" y="13023"/>
                    <a:pt x="14885" y="13389"/>
                    <a:pt x="14954" y="13441"/>
                  </a:cubicBezTo>
                  <a:cubicBezTo>
                    <a:pt x="15023" y="13493"/>
                    <a:pt x="15092" y="13493"/>
                    <a:pt x="15231" y="13546"/>
                  </a:cubicBezTo>
                  <a:cubicBezTo>
                    <a:pt x="15438" y="13650"/>
                    <a:pt x="15438" y="13650"/>
                    <a:pt x="15646" y="13755"/>
                  </a:cubicBezTo>
                  <a:cubicBezTo>
                    <a:pt x="15854" y="13860"/>
                    <a:pt x="15785" y="13964"/>
                    <a:pt x="15785" y="14016"/>
                  </a:cubicBezTo>
                  <a:cubicBezTo>
                    <a:pt x="15785" y="14121"/>
                    <a:pt x="15785" y="14121"/>
                    <a:pt x="15646" y="14226"/>
                  </a:cubicBezTo>
                  <a:cubicBezTo>
                    <a:pt x="15508" y="14383"/>
                    <a:pt x="15646" y="14487"/>
                    <a:pt x="15646" y="14487"/>
                  </a:cubicBezTo>
                  <a:cubicBezTo>
                    <a:pt x="15646" y="14487"/>
                    <a:pt x="15715" y="14592"/>
                    <a:pt x="15854" y="14696"/>
                  </a:cubicBezTo>
                  <a:cubicBezTo>
                    <a:pt x="15992" y="14801"/>
                    <a:pt x="15923" y="14853"/>
                    <a:pt x="15992" y="15010"/>
                  </a:cubicBezTo>
                  <a:cubicBezTo>
                    <a:pt x="15992" y="15167"/>
                    <a:pt x="15992" y="15115"/>
                    <a:pt x="16131" y="15272"/>
                  </a:cubicBezTo>
                  <a:cubicBezTo>
                    <a:pt x="16269" y="15376"/>
                    <a:pt x="16200" y="15324"/>
                    <a:pt x="16338" y="15429"/>
                  </a:cubicBezTo>
                  <a:cubicBezTo>
                    <a:pt x="16477" y="15533"/>
                    <a:pt x="16477" y="15585"/>
                    <a:pt x="16477" y="15585"/>
                  </a:cubicBezTo>
                  <a:cubicBezTo>
                    <a:pt x="16477" y="15585"/>
                    <a:pt x="16892" y="15481"/>
                    <a:pt x="17031" y="15585"/>
                  </a:cubicBezTo>
                  <a:cubicBezTo>
                    <a:pt x="17169" y="15690"/>
                    <a:pt x="17100" y="15638"/>
                    <a:pt x="17377" y="15795"/>
                  </a:cubicBezTo>
                  <a:cubicBezTo>
                    <a:pt x="17585" y="16004"/>
                    <a:pt x="17377" y="15899"/>
                    <a:pt x="17446" y="16056"/>
                  </a:cubicBezTo>
                  <a:cubicBezTo>
                    <a:pt x="17515" y="16161"/>
                    <a:pt x="17585" y="16108"/>
                    <a:pt x="17585" y="16108"/>
                  </a:cubicBezTo>
                  <a:cubicBezTo>
                    <a:pt x="17585" y="16108"/>
                    <a:pt x="17654" y="16161"/>
                    <a:pt x="17792" y="16161"/>
                  </a:cubicBezTo>
                  <a:cubicBezTo>
                    <a:pt x="17931" y="16161"/>
                    <a:pt x="17931" y="16265"/>
                    <a:pt x="17931" y="16370"/>
                  </a:cubicBezTo>
                  <a:cubicBezTo>
                    <a:pt x="18000" y="16475"/>
                    <a:pt x="18000" y="16475"/>
                    <a:pt x="18138" y="16579"/>
                  </a:cubicBezTo>
                  <a:cubicBezTo>
                    <a:pt x="18208" y="16631"/>
                    <a:pt x="18277" y="16579"/>
                    <a:pt x="18485" y="16527"/>
                  </a:cubicBezTo>
                  <a:cubicBezTo>
                    <a:pt x="18623" y="16527"/>
                    <a:pt x="18554" y="16631"/>
                    <a:pt x="18554" y="16684"/>
                  </a:cubicBezTo>
                  <a:cubicBezTo>
                    <a:pt x="18554" y="16736"/>
                    <a:pt x="18692" y="16736"/>
                    <a:pt x="18831" y="16788"/>
                  </a:cubicBezTo>
                  <a:cubicBezTo>
                    <a:pt x="18969" y="16841"/>
                    <a:pt x="18900" y="16841"/>
                    <a:pt x="19038" y="16945"/>
                  </a:cubicBezTo>
                  <a:cubicBezTo>
                    <a:pt x="19038" y="16945"/>
                    <a:pt x="19038" y="16945"/>
                    <a:pt x="19038" y="16998"/>
                  </a:cubicBezTo>
                  <a:close/>
                  <a:moveTo>
                    <a:pt x="3808" y="20606"/>
                  </a:moveTo>
                  <a:cubicBezTo>
                    <a:pt x="3808" y="20606"/>
                    <a:pt x="3808" y="20606"/>
                    <a:pt x="3808" y="20606"/>
                  </a:cubicBezTo>
                  <a:cubicBezTo>
                    <a:pt x="3808" y="20606"/>
                    <a:pt x="3808" y="20606"/>
                    <a:pt x="3808" y="20606"/>
                  </a:cubicBezTo>
                  <a:cubicBezTo>
                    <a:pt x="3808" y="20606"/>
                    <a:pt x="3808" y="20606"/>
                    <a:pt x="3808" y="20606"/>
                  </a:cubicBezTo>
                  <a:close/>
                  <a:moveTo>
                    <a:pt x="8862" y="20920"/>
                  </a:moveTo>
                  <a:cubicBezTo>
                    <a:pt x="8862" y="20920"/>
                    <a:pt x="8862" y="20920"/>
                    <a:pt x="8862" y="20920"/>
                  </a:cubicBezTo>
                  <a:cubicBezTo>
                    <a:pt x="8862" y="20920"/>
                    <a:pt x="8862" y="20920"/>
                    <a:pt x="8862" y="20920"/>
                  </a:cubicBezTo>
                  <a:cubicBezTo>
                    <a:pt x="8862" y="20920"/>
                    <a:pt x="8862" y="20920"/>
                    <a:pt x="8862" y="20920"/>
                  </a:cubicBezTo>
                  <a:cubicBezTo>
                    <a:pt x="8862" y="20920"/>
                    <a:pt x="8862" y="20920"/>
                    <a:pt x="8862" y="20920"/>
                  </a:cubicBezTo>
                  <a:close/>
                  <a:moveTo>
                    <a:pt x="21600" y="10669"/>
                  </a:moveTo>
                  <a:cubicBezTo>
                    <a:pt x="21600" y="10669"/>
                    <a:pt x="21600" y="10669"/>
                    <a:pt x="21600" y="10669"/>
                  </a:cubicBezTo>
                  <a:cubicBezTo>
                    <a:pt x="21600" y="10669"/>
                    <a:pt x="21600" y="10669"/>
                    <a:pt x="21600" y="10669"/>
                  </a:cubicBezTo>
                  <a:cubicBezTo>
                    <a:pt x="21600" y="10669"/>
                    <a:pt x="21600" y="10669"/>
                    <a:pt x="21600" y="10669"/>
                  </a:cubicBez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4" name="Shape 2257">
              <a:extLst>
                <a:ext uri="{FF2B5EF4-FFF2-40B4-BE49-F238E27FC236}">
                  <a16:creationId xmlns:a16="http://schemas.microsoft.com/office/drawing/2014/main" id="{061BB646-78F2-A8DF-41A4-6B07880BF652}"/>
                </a:ext>
              </a:extLst>
            </p:cNvPr>
            <p:cNvSpPr/>
            <p:nvPr/>
          </p:nvSpPr>
          <p:spPr>
            <a:xfrm>
              <a:off x="3180894" y="5870770"/>
              <a:ext cx="2024690" cy="2241239"/>
            </a:xfrm>
            <a:custGeom>
              <a:avLst/>
              <a:gdLst/>
              <a:ahLst/>
              <a:cxnLst>
                <a:cxn ang="0">
                  <a:pos x="wd2" y="hd2"/>
                </a:cxn>
                <a:cxn ang="5400000">
                  <a:pos x="wd2" y="hd2"/>
                </a:cxn>
                <a:cxn ang="10800000">
                  <a:pos x="wd2" y="hd2"/>
                </a:cxn>
                <a:cxn ang="16200000">
                  <a:pos x="wd2" y="hd2"/>
                </a:cxn>
              </a:cxnLst>
              <a:rect l="0" t="0" r="r" b="b"/>
              <a:pathLst>
                <a:path w="21563" h="21579" extrusionOk="0">
                  <a:moveTo>
                    <a:pt x="16470" y="18327"/>
                  </a:moveTo>
                  <a:cubicBezTo>
                    <a:pt x="16514" y="18597"/>
                    <a:pt x="16514" y="18597"/>
                    <a:pt x="16514" y="18597"/>
                  </a:cubicBezTo>
                  <a:cubicBezTo>
                    <a:pt x="16514" y="18597"/>
                    <a:pt x="16251" y="18982"/>
                    <a:pt x="16251" y="19020"/>
                  </a:cubicBezTo>
                  <a:cubicBezTo>
                    <a:pt x="16251" y="19059"/>
                    <a:pt x="16163" y="19213"/>
                    <a:pt x="16075" y="19328"/>
                  </a:cubicBezTo>
                  <a:cubicBezTo>
                    <a:pt x="16031" y="19405"/>
                    <a:pt x="15768" y="19713"/>
                    <a:pt x="15768" y="19713"/>
                  </a:cubicBezTo>
                  <a:cubicBezTo>
                    <a:pt x="15768" y="19713"/>
                    <a:pt x="15768" y="19829"/>
                    <a:pt x="15856" y="19906"/>
                  </a:cubicBezTo>
                  <a:cubicBezTo>
                    <a:pt x="15900" y="19983"/>
                    <a:pt x="16031" y="20098"/>
                    <a:pt x="16031" y="20214"/>
                  </a:cubicBezTo>
                  <a:cubicBezTo>
                    <a:pt x="16031" y="20291"/>
                    <a:pt x="16251" y="20406"/>
                    <a:pt x="16251" y="20406"/>
                  </a:cubicBezTo>
                  <a:cubicBezTo>
                    <a:pt x="16295" y="20637"/>
                    <a:pt x="16295" y="20637"/>
                    <a:pt x="16295" y="20637"/>
                  </a:cubicBezTo>
                  <a:cubicBezTo>
                    <a:pt x="16295" y="20637"/>
                    <a:pt x="16426" y="20753"/>
                    <a:pt x="16426" y="20791"/>
                  </a:cubicBezTo>
                  <a:cubicBezTo>
                    <a:pt x="16383" y="20830"/>
                    <a:pt x="16163" y="21022"/>
                    <a:pt x="16163" y="21022"/>
                  </a:cubicBezTo>
                  <a:cubicBezTo>
                    <a:pt x="16119" y="21253"/>
                    <a:pt x="16119" y="21253"/>
                    <a:pt x="16119" y="21253"/>
                  </a:cubicBezTo>
                  <a:cubicBezTo>
                    <a:pt x="16119" y="21369"/>
                    <a:pt x="16119" y="21369"/>
                    <a:pt x="16119" y="21369"/>
                  </a:cubicBezTo>
                  <a:cubicBezTo>
                    <a:pt x="16119" y="21369"/>
                    <a:pt x="16163" y="21369"/>
                    <a:pt x="16119" y="21484"/>
                  </a:cubicBezTo>
                  <a:cubicBezTo>
                    <a:pt x="16075" y="21561"/>
                    <a:pt x="16075" y="21561"/>
                    <a:pt x="16031" y="21561"/>
                  </a:cubicBezTo>
                  <a:cubicBezTo>
                    <a:pt x="15987" y="21600"/>
                    <a:pt x="15548" y="21561"/>
                    <a:pt x="15548" y="21561"/>
                  </a:cubicBezTo>
                  <a:cubicBezTo>
                    <a:pt x="15109" y="21484"/>
                    <a:pt x="15109" y="21484"/>
                    <a:pt x="15109" y="21484"/>
                  </a:cubicBezTo>
                  <a:cubicBezTo>
                    <a:pt x="15109" y="21484"/>
                    <a:pt x="14890" y="21446"/>
                    <a:pt x="14802" y="21407"/>
                  </a:cubicBezTo>
                  <a:cubicBezTo>
                    <a:pt x="14758" y="21369"/>
                    <a:pt x="14670" y="21330"/>
                    <a:pt x="14670" y="21330"/>
                  </a:cubicBezTo>
                  <a:cubicBezTo>
                    <a:pt x="14539" y="20984"/>
                    <a:pt x="14539" y="20984"/>
                    <a:pt x="14539" y="20984"/>
                  </a:cubicBezTo>
                  <a:cubicBezTo>
                    <a:pt x="14187" y="20945"/>
                    <a:pt x="14187" y="20945"/>
                    <a:pt x="14187" y="20945"/>
                  </a:cubicBezTo>
                  <a:cubicBezTo>
                    <a:pt x="13309" y="20830"/>
                    <a:pt x="13309" y="20830"/>
                    <a:pt x="13309" y="20830"/>
                  </a:cubicBezTo>
                  <a:cubicBezTo>
                    <a:pt x="13309" y="20830"/>
                    <a:pt x="13002" y="20599"/>
                    <a:pt x="12958" y="20560"/>
                  </a:cubicBezTo>
                  <a:cubicBezTo>
                    <a:pt x="12870" y="20522"/>
                    <a:pt x="12783" y="20406"/>
                    <a:pt x="12783" y="20406"/>
                  </a:cubicBezTo>
                  <a:cubicBezTo>
                    <a:pt x="12607" y="20368"/>
                    <a:pt x="12607" y="20368"/>
                    <a:pt x="12607" y="20368"/>
                  </a:cubicBezTo>
                  <a:cubicBezTo>
                    <a:pt x="12256" y="20060"/>
                    <a:pt x="12256" y="20060"/>
                    <a:pt x="12256" y="20060"/>
                  </a:cubicBezTo>
                  <a:cubicBezTo>
                    <a:pt x="11904" y="20060"/>
                    <a:pt x="11904" y="20060"/>
                    <a:pt x="11904" y="20060"/>
                  </a:cubicBezTo>
                  <a:cubicBezTo>
                    <a:pt x="11641" y="19906"/>
                    <a:pt x="11641" y="19906"/>
                    <a:pt x="11641" y="19906"/>
                  </a:cubicBezTo>
                  <a:cubicBezTo>
                    <a:pt x="11334" y="19906"/>
                    <a:pt x="11334" y="19906"/>
                    <a:pt x="11334" y="19906"/>
                  </a:cubicBezTo>
                  <a:cubicBezTo>
                    <a:pt x="11334" y="19906"/>
                    <a:pt x="11114" y="19867"/>
                    <a:pt x="11114" y="19829"/>
                  </a:cubicBezTo>
                  <a:cubicBezTo>
                    <a:pt x="11070" y="19752"/>
                    <a:pt x="10807" y="19636"/>
                    <a:pt x="10807" y="19636"/>
                  </a:cubicBezTo>
                  <a:cubicBezTo>
                    <a:pt x="10807" y="19636"/>
                    <a:pt x="10807" y="19405"/>
                    <a:pt x="10807" y="19367"/>
                  </a:cubicBezTo>
                  <a:cubicBezTo>
                    <a:pt x="10807" y="19328"/>
                    <a:pt x="10851" y="18943"/>
                    <a:pt x="10851" y="18943"/>
                  </a:cubicBezTo>
                  <a:cubicBezTo>
                    <a:pt x="11026" y="18751"/>
                    <a:pt x="11026" y="18751"/>
                    <a:pt x="11026" y="18751"/>
                  </a:cubicBezTo>
                  <a:cubicBezTo>
                    <a:pt x="11290" y="18674"/>
                    <a:pt x="11290" y="18674"/>
                    <a:pt x="11290" y="18674"/>
                  </a:cubicBezTo>
                  <a:cubicBezTo>
                    <a:pt x="11378" y="18828"/>
                    <a:pt x="11378" y="18828"/>
                    <a:pt x="11378" y="18828"/>
                  </a:cubicBezTo>
                  <a:cubicBezTo>
                    <a:pt x="11685" y="18943"/>
                    <a:pt x="11685" y="18943"/>
                    <a:pt x="11685" y="18943"/>
                  </a:cubicBezTo>
                  <a:cubicBezTo>
                    <a:pt x="11861" y="18828"/>
                    <a:pt x="11861" y="18828"/>
                    <a:pt x="11861" y="18828"/>
                  </a:cubicBezTo>
                  <a:cubicBezTo>
                    <a:pt x="11948" y="18597"/>
                    <a:pt x="11948" y="18597"/>
                    <a:pt x="11948" y="18597"/>
                  </a:cubicBezTo>
                  <a:cubicBezTo>
                    <a:pt x="12212" y="18520"/>
                    <a:pt x="12212" y="18520"/>
                    <a:pt x="12212" y="18520"/>
                  </a:cubicBezTo>
                  <a:cubicBezTo>
                    <a:pt x="12519" y="18635"/>
                    <a:pt x="12519" y="18635"/>
                    <a:pt x="12519" y="18635"/>
                  </a:cubicBezTo>
                  <a:cubicBezTo>
                    <a:pt x="12739" y="18828"/>
                    <a:pt x="12739" y="18828"/>
                    <a:pt x="12739" y="18828"/>
                  </a:cubicBezTo>
                  <a:cubicBezTo>
                    <a:pt x="13178" y="18943"/>
                    <a:pt x="13178" y="18943"/>
                    <a:pt x="13178" y="18943"/>
                  </a:cubicBezTo>
                  <a:cubicBezTo>
                    <a:pt x="13573" y="18866"/>
                    <a:pt x="13573" y="18866"/>
                    <a:pt x="13573" y="18866"/>
                  </a:cubicBezTo>
                  <a:cubicBezTo>
                    <a:pt x="13924" y="18828"/>
                    <a:pt x="13924" y="18828"/>
                    <a:pt x="13924" y="18828"/>
                  </a:cubicBezTo>
                  <a:cubicBezTo>
                    <a:pt x="13924" y="18828"/>
                    <a:pt x="14100" y="18828"/>
                    <a:pt x="14187" y="18828"/>
                  </a:cubicBezTo>
                  <a:cubicBezTo>
                    <a:pt x="14231" y="18789"/>
                    <a:pt x="14495" y="18712"/>
                    <a:pt x="14495" y="18712"/>
                  </a:cubicBezTo>
                  <a:cubicBezTo>
                    <a:pt x="14934" y="18597"/>
                    <a:pt x="14934" y="18597"/>
                    <a:pt x="14934" y="18597"/>
                  </a:cubicBezTo>
                  <a:cubicBezTo>
                    <a:pt x="15197" y="18289"/>
                    <a:pt x="15197" y="18289"/>
                    <a:pt x="15197" y="18289"/>
                  </a:cubicBezTo>
                  <a:cubicBezTo>
                    <a:pt x="15548" y="18404"/>
                    <a:pt x="15548" y="18404"/>
                    <a:pt x="15548" y="18404"/>
                  </a:cubicBezTo>
                  <a:cubicBezTo>
                    <a:pt x="15856" y="18443"/>
                    <a:pt x="15856" y="18443"/>
                    <a:pt x="15856" y="18443"/>
                  </a:cubicBezTo>
                  <a:cubicBezTo>
                    <a:pt x="15987" y="18250"/>
                    <a:pt x="15987" y="18250"/>
                    <a:pt x="15987" y="18250"/>
                  </a:cubicBezTo>
                  <a:cubicBezTo>
                    <a:pt x="16295" y="18096"/>
                    <a:pt x="16295" y="18096"/>
                    <a:pt x="16295" y="18096"/>
                  </a:cubicBezTo>
                  <a:cubicBezTo>
                    <a:pt x="16470" y="18327"/>
                    <a:pt x="16470" y="18327"/>
                    <a:pt x="16470" y="18327"/>
                  </a:cubicBezTo>
                  <a:close/>
                  <a:moveTo>
                    <a:pt x="16997" y="18058"/>
                  </a:moveTo>
                  <a:cubicBezTo>
                    <a:pt x="16997" y="18058"/>
                    <a:pt x="16997" y="18058"/>
                    <a:pt x="16997" y="18058"/>
                  </a:cubicBezTo>
                  <a:cubicBezTo>
                    <a:pt x="16822" y="18212"/>
                    <a:pt x="16822" y="18212"/>
                    <a:pt x="16822" y="18212"/>
                  </a:cubicBezTo>
                  <a:cubicBezTo>
                    <a:pt x="16646" y="18327"/>
                    <a:pt x="16646" y="18327"/>
                    <a:pt x="16646" y="18327"/>
                  </a:cubicBezTo>
                  <a:cubicBezTo>
                    <a:pt x="16646" y="18327"/>
                    <a:pt x="16690" y="18481"/>
                    <a:pt x="16690" y="18558"/>
                  </a:cubicBezTo>
                  <a:cubicBezTo>
                    <a:pt x="16734" y="18635"/>
                    <a:pt x="16865" y="18828"/>
                    <a:pt x="16865" y="18828"/>
                  </a:cubicBezTo>
                  <a:cubicBezTo>
                    <a:pt x="17304" y="18828"/>
                    <a:pt x="17304" y="18828"/>
                    <a:pt x="17304" y="18828"/>
                  </a:cubicBezTo>
                  <a:cubicBezTo>
                    <a:pt x="17612" y="18674"/>
                    <a:pt x="17612" y="18674"/>
                    <a:pt x="17612" y="18674"/>
                  </a:cubicBezTo>
                  <a:cubicBezTo>
                    <a:pt x="17656" y="18404"/>
                    <a:pt x="17656" y="18404"/>
                    <a:pt x="17656" y="18404"/>
                  </a:cubicBezTo>
                  <a:cubicBezTo>
                    <a:pt x="17787" y="18135"/>
                    <a:pt x="17787" y="18135"/>
                    <a:pt x="17787" y="18135"/>
                  </a:cubicBezTo>
                  <a:cubicBezTo>
                    <a:pt x="18051" y="17981"/>
                    <a:pt x="18051" y="17981"/>
                    <a:pt x="18051" y="17981"/>
                  </a:cubicBezTo>
                  <a:cubicBezTo>
                    <a:pt x="18270" y="17788"/>
                    <a:pt x="18270" y="17788"/>
                    <a:pt x="18270" y="17788"/>
                  </a:cubicBezTo>
                  <a:cubicBezTo>
                    <a:pt x="18402" y="17596"/>
                    <a:pt x="18402" y="17596"/>
                    <a:pt x="18402" y="17596"/>
                  </a:cubicBezTo>
                  <a:cubicBezTo>
                    <a:pt x="18446" y="17095"/>
                    <a:pt x="18446" y="17095"/>
                    <a:pt x="18446" y="17095"/>
                  </a:cubicBezTo>
                  <a:cubicBezTo>
                    <a:pt x="18578" y="16710"/>
                    <a:pt x="18578" y="16710"/>
                    <a:pt x="18578" y="16710"/>
                  </a:cubicBezTo>
                  <a:cubicBezTo>
                    <a:pt x="19280" y="16479"/>
                    <a:pt x="19280" y="16479"/>
                    <a:pt x="19280" y="16479"/>
                  </a:cubicBezTo>
                  <a:cubicBezTo>
                    <a:pt x="19412" y="16402"/>
                    <a:pt x="19412" y="16402"/>
                    <a:pt x="19412" y="16402"/>
                  </a:cubicBezTo>
                  <a:cubicBezTo>
                    <a:pt x="19412" y="16402"/>
                    <a:pt x="19412" y="16325"/>
                    <a:pt x="19368" y="16248"/>
                  </a:cubicBezTo>
                  <a:cubicBezTo>
                    <a:pt x="19368" y="16210"/>
                    <a:pt x="19236" y="16094"/>
                    <a:pt x="19236" y="16094"/>
                  </a:cubicBezTo>
                  <a:cubicBezTo>
                    <a:pt x="19236" y="16094"/>
                    <a:pt x="19280" y="15979"/>
                    <a:pt x="19280" y="15940"/>
                  </a:cubicBezTo>
                  <a:cubicBezTo>
                    <a:pt x="19280" y="15902"/>
                    <a:pt x="19236" y="15632"/>
                    <a:pt x="19236" y="15632"/>
                  </a:cubicBezTo>
                  <a:cubicBezTo>
                    <a:pt x="19148" y="15363"/>
                    <a:pt x="19148" y="15363"/>
                    <a:pt x="19148" y="15363"/>
                  </a:cubicBezTo>
                  <a:cubicBezTo>
                    <a:pt x="19148" y="15363"/>
                    <a:pt x="19061" y="15363"/>
                    <a:pt x="18929" y="15286"/>
                  </a:cubicBezTo>
                  <a:cubicBezTo>
                    <a:pt x="18797" y="15247"/>
                    <a:pt x="18578" y="15132"/>
                    <a:pt x="18578" y="15132"/>
                  </a:cubicBezTo>
                  <a:cubicBezTo>
                    <a:pt x="18358" y="15055"/>
                    <a:pt x="18358" y="15055"/>
                    <a:pt x="18358" y="15055"/>
                  </a:cubicBezTo>
                  <a:cubicBezTo>
                    <a:pt x="18095" y="15016"/>
                    <a:pt x="18095" y="15016"/>
                    <a:pt x="18095" y="15016"/>
                  </a:cubicBezTo>
                  <a:cubicBezTo>
                    <a:pt x="18007" y="14824"/>
                    <a:pt x="18007" y="14824"/>
                    <a:pt x="18007" y="14824"/>
                  </a:cubicBezTo>
                  <a:cubicBezTo>
                    <a:pt x="18183" y="14284"/>
                    <a:pt x="18183" y="14284"/>
                    <a:pt x="18183" y="14284"/>
                  </a:cubicBezTo>
                  <a:cubicBezTo>
                    <a:pt x="18051" y="14015"/>
                    <a:pt x="18051" y="14015"/>
                    <a:pt x="18051" y="14015"/>
                  </a:cubicBezTo>
                  <a:cubicBezTo>
                    <a:pt x="18446" y="13630"/>
                    <a:pt x="18446" y="13630"/>
                    <a:pt x="18446" y="13630"/>
                  </a:cubicBezTo>
                  <a:cubicBezTo>
                    <a:pt x="18622" y="13360"/>
                    <a:pt x="18622" y="13360"/>
                    <a:pt x="18622" y="13360"/>
                  </a:cubicBezTo>
                  <a:cubicBezTo>
                    <a:pt x="18841" y="13206"/>
                    <a:pt x="18841" y="13206"/>
                    <a:pt x="18841" y="13206"/>
                  </a:cubicBezTo>
                  <a:cubicBezTo>
                    <a:pt x="19192" y="13283"/>
                    <a:pt x="19192" y="13283"/>
                    <a:pt x="19192" y="13283"/>
                  </a:cubicBezTo>
                  <a:cubicBezTo>
                    <a:pt x="19324" y="13437"/>
                    <a:pt x="19324" y="13437"/>
                    <a:pt x="19324" y="13437"/>
                  </a:cubicBezTo>
                  <a:cubicBezTo>
                    <a:pt x="19543" y="13476"/>
                    <a:pt x="19543" y="13476"/>
                    <a:pt x="19543" y="13476"/>
                  </a:cubicBezTo>
                  <a:cubicBezTo>
                    <a:pt x="19939" y="13476"/>
                    <a:pt x="19939" y="13476"/>
                    <a:pt x="19939" y="13476"/>
                  </a:cubicBezTo>
                  <a:cubicBezTo>
                    <a:pt x="20378" y="13553"/>
                    <a:pt x="20378" y="13553"/>
                    <a:pt x="20378" y="13553"/>
                  </a:cubicBezTo>
                  <a:cubicBezTo>
                    <a:pt x="20553" y="13784"/>
                    <a:pt x="20553" y="13784"/>
                    <a:pt x="20553" y="13784"/>
                  </a:cubicBezTo>
                  <a:cubicBezTo>
                    <a:pt x="20729" y="14053"/>
                    <a:pt x="20729" y="14053"/>
                    <a:pt x="20729" y="14053"/>
                  </a:cubicBezTo>
                  <a:cubicBezTo>
                    <a:pt x="20729" y="14053"/>
                    <a:pt x="20817" y="14169"/>
                    <a:pt x="20861" y="14207"/>
                  </a:cubicBezTo>
                  <a:cubicBezTo>
                    <a:pt x="20861" y="14207"/>
                    <a:pt x="21036" y="14323"/>
                    <a:pt x="21080" y="14323"/>
                  </a:cubicBezTo>
                  <a:cubicBezTo>
                    <a:pt x="21124" y="14361"/>
                    <a:pt x="21387" y="14400"/>
                    <a:pt x="21387" y="14400"/>
                  </a:cubicBezTo>
                  <a:cubicBezTo>
                    <a:pt x="21387" y="14400"/>
                    <a:pt x="21387" y="14130"/>
                    <a:pt x="21431" y="14053"/>
                  </a:cubicBezTo>
                  <a:cubicBezTo>
                    <a:pt x="21475" y="14015"/>
                    <a:pt x="21563" y="13861"/>
                    <a:pt x="21563" y="13822"/>
                  </a:cubicBezTo>
                  <a:cubicBezTo>
                    <a:pt x="21563" y="13784"/>
                    <a:pt x="21475" y="13514"/>
                    <a:pt x="21475" y="13514"/>
                  </a:cubicBezTo>
                  <a:cubicBezTo>
                    <a:pt x="21168" y="13206"/>
                    <a:pt x="21168" y="13206"/>
                    <a:pt x="21168" y="13206"/>
                  </a:cubicBezTo>
                  <a:cubicBezTo>
                    <a:pt x="20861" y="13014"/>
                    <a:pt x="20861" y="13014"/>
                    <a:pt x="20861" y="13014"/>
                  </a:cubicBezTo>
                  <a:cubicBezTo>
                    <a:pt x="20114" y="12590"/>
                    <a:pt x="20114" y="12590"/>
                    <a:pt x="20114" y="12590"/>
                  </a:cubicBezTo>
                  <a:cubicBezTo>
                    <a:pt x="19061" y="12282"/>
                    <a:pt x="19061" y="12282"/>
                    <a:pt x="19061" y="12282"/>
                  </a:cubicBezTo>
                  <a:cubicBezTo>
                    <a:pt x="18358" y="11897"/>
                    <a:pt x="18358" y="11897"/>
                    <a:pt x="18358" y="11897"/>
                  </a:cubicBezTo>
                  <a:cubicBezTo>
                    <a:pt x="17787" y="11782"/>
                    <a:pt x="17787" y="11782"/>
                    <a:pt x="17787" y="11782"/>
                  </a:cubicBezTo>
                  <a:cubicBezTo>
                    <a:pt x="17787" y="11782"/>
                    <a:pt x="17173" y="11512"/>
                    <a:pt x="17129" y="11512"/>
                  </a:cubicBezTo>
                  <a:cubicBezTo>
                    <a:pt x="17085" y="11512"/>
                    <a:pt x="16953" y="11474"/>
                    <a:pt x="16953" y="11474"/>
                  </a:cubicBezTo>
                  <a:cubicBezTo>
                    <a:pt x="16953" y="11474"/>
                    <a:pt x="16602" y="11397"/>
                    <a:pt x="16602" y="11358"/>
                  </a:cubicBezTo>
                  <a:cubicBezTo>
                    <a:pt x="16558" y="11320"/>
                    <a:pt x="16514" y="11204"/>
                    <a:pt x="16470" y="11166"/>
                  </a:cubicBezTo>
                  <a:cubicBezTo>
                    <a:pt x="16470" y="11127"/>
                    <a:pt x="16514" y="11012"/>
                    <a:pt x="16514" y="11012"/>
                  </a:cubicBezTo>
                  <a:cubicBezTo>
                    <a:pt x="16690" y="10858"/>
                    <a:pt x="16690" y="10858"/>
                    <a:pt x="16690" y="10858"/>
                  </a:cubicBezTo>
                  <a:cubicBezTo>
                    <a:pt x="16690" y="10858"/>
                    <a:pt x="16865" y="10704"/>
                    <a:pt x="16865" y="10665"/>
                  </a:cubicBezTo>
                  <a:cubicBezTo>
                    <a:pt x="16865" y="10627"/>
                    <a:pt x="16909" y="10396"/>
                    <a:pt x="16909" y="10396"/>
                  </a:cubicBezTo>
                  <a:cubicBezTo>
                    <a:pt x="16690" y="10319"/>
                    <a:pt x="16690" y="10319"/>
                    <a:pt x="16690" y="10319"/>
                  </a:cubicBezTo>
                  <a:cubicBezTo>
                    <a:pt x="16163" y="10357"/>
                    <a:pt x="16163" y="10357"/>
                    <a:pt x="16163" y="10357"/>
                  </a:cubicBezTo>
                  <a:cubicBezTo>
                    <a:pt x="15329" y="10434"/>
                    <a:pt x="15329" y="10434"/>
                    <a:pt x="15329" y="10434"/>
                  </a:cubicBezTo>
                  <a:cubicBezTo>
                    <a:pt x="14890" y="10434"/>
                    <a:pt x="14890" y="10434"/>
                    <a:pt x="14890" y="10434"/>
                  </a:cubicBezTo>
                  <a:cubicBezTo>
                    <a:pt x="14319" y="10126"/>
                    <a:pt x="14319" y="10126"/>
                    <a:pt x="14319" y="10126"/>
                  </a:cubicBezTo>
                  <a:cubicBezTo>
                    <a:pt x="13836" y="9780"/>
                    <a:pt x="13836" y="9780"/>
                    <a:pt x="13836" y="9780"/>
                  </a:cubicBezTo>
                  <a:cubicBezTo>
                    <a:pt x="13529" y="9626"/>
                    <a:pt x="13529" y="9626"/>
                    <a:pt x="13529" y="9626"/>
                  </a:cubicBezTo>
                  <a:cubicBezTo>
                    <a:pt x="13090" y="9202"/>
                    <a:pt x="13090" y="9202"/>
                    <a:pt x="13090" y="9202"/>
                  </a:cubicBezTo>
                  <a:cubicBezTo>
                    <a:pt x="12870" y="8933"/>
                    <a:pt x="12870" y="8933"/>
                    <a:pt x="12870" y="8933"/>
                  </a:cubicBezTo>
                  <a:cubicBezTo>
                    <a:pt x="12870" y="8933"/>
                    <a:pt x="12739" y="8548"/>
                    <a:pt x="12695" y="8394"/>
                  </a:cubicBezTo>
                  <a:cubicBezTo>
                    <a:pt x="12651" y="8278"/>
                    <a:pt x="12300" y="7855"/>
                    <a:pt x="12300" y="7855"/>
                  </a:cubicBezTo>
                  <a:cubicBezTo>
                    <a:pt x="12300" y="7855"/>
                    <a:pt x="12124" y="7508"/>
                    <a:pt x="12124" y="7470"/>
                  </a:cubicBezTo>
                  <a:cubicBezTo>
                    <a:pt x="12124" y="7431"/>
                    <a:pt x="12036" y="7161"/>
                    <a:pt x="12036" y="7161"/>
                  </a:cubicBezTo>
                  <a:cubicBezTo>
                    <a:pt x="11465" y="6930"/>
                    <a:pt x="11465" y="6930"/>
                    <a:pt x="11465" y="6930"/>
                  </a:cubicBezTo>
                  <a:cubicBezTo>
                    <a:pt x="10719" y="6545"/>
                    <a:pt x="10719" y="6545"/>
                    <a:pt x="10719" y="6545"/>
                  </a:cubicBezTo>
                  <a:cubicBezTo>
                    <a:pt x="10104" y="6199"/>
                    <a:pt x="10104" y="6199"/>
                    <a:pt x="10104" y="6199"/>
                  </a:cubicBezTo>
                  <a:cubicBezTo>
                    <a:pt x="9797" y="5814"/>
                    <a:pt x="9797" y="5814"/>
                    <a:pt x="9797" y="5814"/>
                  </a:cubicBezTo>
                  <a:cubicBezTo>
                    <a:pt x="9534" y="5198"/>
                    <a:pt x="9534" y="5198"/>
                    <a:pt x="9534" y="5198"/>
                  </a:cubicBezTo>
                  <a:cubicBezTo>
                    <a:pt x="9490" y="4697"/>
                    <a:pt x="9490" y="4697"/>
                    <a:pt x="9490" y="4697"/>
                  </a:cubicBezTo>
                  <a:cubicBezTo>
                    <a:pt x="9797" y="4582"/>
                    <a:pt x="9797" y="4582"/>
                    <a:pt x="9797" y="4582"/>
                  </a:cubicBezTo>
                  <a:cubicBezTo>
                    <a:pt x="9797" y="4351"/>
                    <a:pt x="9797" y="4351"/>
                    <a:pt x="9797" y="4351"/>
                  </a:cubicBezTo>
                  <a:cubicBezTo>
                    <a:pt x="9534" y="4197"/>
                    <a:pt x="9534" y="4197"/>
                    <a:pt x="9534" y="4197"/>
                  </a:cubicBezTo>
                  <a:cubicBezTo>
                    <a:pt x="9534" y="3966"/>
                    <a:pt x="9534" y="3966"/>
                    <a:pt x="9534" y="3966"/>
                  </a:cubicBezTo>
                  <a:cubicBezTo>
                    <a:pt x="9402" y="3889"/>
                    <a:pt x="9402" y="3889"/>
                    <a:pt x="9402" y="3889"/>
                  </a:cubicBezTo>
                  <a:cubicBezTo>
                    <a:pt x="9226" y="3696"/>
                    <a:pt x="9226" y="3696"/>
                    <a:pt x="9226" y="3696"/>
                  </a:cubicBezTo>
                  <a:cubicBezTo>
                    <a:pt x="9578" y="3542"/>
                    <a:pt x="9578" y="3542"/>
                    <a:pt x="9578" y="3542"/>
                  </a:cubicBezTo>
                  <a:cubicBezTo>
                    <a:pt x="9578" y="3542"/>
                    <a:pt x="9709" y="3388"/>
                    <a:pt x="9885" y="3388"/>
                  </a:cubicBezTo>
                  <a:cubicBezTo>
                    <a:pt x="10061" y="3388"/>
                    <a:pt x="10192" y="3234"/>
                    <a:pt x="10192" y="3234"/>
                  </a:cubicBezTo>
                  <a:cubicBezTo>
                    <a:pt x="10192" y="3234"/>
                    <a:pt x="10324" y="3119"/>
                    <a:pt x="10368" y="3119"/>
                  </a:cubicBezTo>
                  <a:cubicBezTo>
                    <a:pt x="10456" y="3119"/>
                    <a:pt x="10543" y="3080"/>
                    <a:pt x="10631" y="3042"/>
                  </a:cubicBezTo>
                  <a:cubicBezTo>
                    <a:pt x="10675" y="3042"/>
                    <a:pt x="10807" y="3003"/>
                    <a:pt x="10807" y="3003"/>
                  </a:cubicBezTo>
                  <a:cubicBezTo>
                    <a:pt x="10807" y="2965"/>
                    <a:pt x="10851" y="2695"/>
                    <a:pt x="10895" y="2695"/>
                  </a:cubicBezTo>
                  <a:cubicBezTo>
                    <a:pt x="10939" y="2695"/>
                    <a:pt x="11026" y="2849"/>
                    <a:pt x="11158" y="2849"/>
                  </a:cubicBezTo>
                  <a:cubicBezTo>
                    <a:pt x="11202" y="2849"/>
                    <a:pt x="11290" y="2926"/>
                    <a:pt x="11334" y="2888"/>
                  </a:cubicBezTo>
                  <a:cubicBezTo>
                    <a:pt x="11422" y="2849"/>
                    <a:pt x="11465" y="2734"/>
                    <a:pt x="11465" y="2734"/>
                  </a:cubicBezTo>
                  <a:cubicBezTo>
                    <a:pt x="11509" y="2695"/>
                    <a:pt x="11553" y="2657"/>
                    <a:pt x="11685" y="2618"/>
                  </a:cubicBezTo>
                  <a:cubicBezTo>
                    <a:pt x="11685" y="2618"/>
                    <a:pt x="11685" y="2618"/>
                    <a:pt x="11685" y="2618"/>
                  </a:cubicBezTo>
                  <a:cubicBezTo>
                    <a:pt x="11685" y="2618"/>
                    <a:pt x="11597" y="2580"/>
                    <a:pt x="11597" y="2580"/>
                  </a:cubicBezTo>
                  <a:cubicBezTo>
                    <a:pt x="11597" y="2541"/>
                    <a:pt x="11597" y="2541"/>
                    <a:pt x="11641" y="2503"/>
                  </a:cubicBezTo>
                  <a:cubicBezTo>
                    <a:pt x="11641" y="2464"/>
                    <a:pt x="11641" y="2464"/>
                    <a:pt x="11685" y="2426"/>
                  </a:cubicBezTo>
                  <a:cubicBezTo>
                    <a:pt x="11685" y="2426"/>
                    <a:pt x="11685" y="2349"/>
                    <a:pt x="11685" y="2349"/>
                  </a:cubicBezTo>
                  <a:cubicBezTo>
                    <a:pt x="11685" y="2349"/>
                    <a:pt x="11729" y="2310"/>
                    <a:pt x="11685" y="2310"/>
                  </a:cubicBezTo>
                  <a:cubicBezTo>
                    <a:pt x="11685" y="2272"/>
                    <a:pt x="11641" y="2233"/>
                    <a:pt x="11641" y="2233"/>
                  </a:cubicBezTo>
                  <a:cubicBezTo>
                    <a:pt x="11641" y="2233"/>
                    <a:pt x="11641" y="2233"/>
                    <a:pt x="11597" y="2233"/>
                  </a:cubicBezTo>
                  <a:cubicBezTo>
                    <a:pt x="11597" y="2272"/>
                    <a:pt x="11597" y="2272"/>
                    <a:pt x="11597" y="2272"/>
                  </a:cubicBezTo>
                  <a:cubicBezTo>
                    <a:pt x="11509" y="2310"/>
                    <a:pt x="11509" y="2310"/>
                    <a:pt x="11509" y="2310"/>
                  </a:cubicBezTo>
                  <a:cubicBezTo>
                    <a:pt x="11509" y="2310"/>
                    <a:pt x="11465" y="2233"/>
                    <a:pt x="11465" y="2233"/>
                  </a:cubicBezTo>
                  <a:cubicBezTo>
                    <a:pt x="11422" y="2233"/>
                    <a:pt x="11422" y="2233"/>
                    <a:pt x="11422" y="2195"/>
                  </a:cubicBezTo>
                  <a:cubicBezTo>
                    <a:pt x="11422" y="2195"/>
                    <a:pt x="11465" y="2156"/>
                    <a:pt x="11465" y="2156"/>
                  </a:cubicBezTo>
                  <a:cubicBezTo>
                    <a:pt x="11465" y="2156"/>
                    <a:pt x="11422" y="2118"/>
                    <a:pt x="11422" y="2118"/>
                  </a:cubicBezTo>
                  <a:cubicBezTo>
                    <a:pt x="11422" y="2118"/>
                    <a:pt x="11465" y="2041"/>
                    <a:pt x="11509" y="2041"/>
                  </a:cubicBezTo>
                  <a:cubicBezTo>
                    <a:pt x="11553" y="2002"/>
                    <a:pt x="11641" y="1925"/>
                    <a:pt x="11641" y="1925"/>
                  </a:cubicBezTo>
                  <a:cubicBezTo>
                    <a:pt x="11685" y="1848"/>
                    <a:pt x="11685" y="1848"/>
                    <a:pt x="11685" y="1848"/>
                  </a:cubicBezTo>
                  <a:cubicBezTo>
                    <a:pt x="11641" y="1810"/>
                    <a:pt x="11641" y="1810"/>
                    <a:pt x="11641" y="1810"/>
                  </a:cubicBezTo>
                  <a:cubicBezTo>
                    <a:pt x="11641" y="1810"/>
                    <a:pt x="11597" y="1848"/>
                    <a:pt x="11597" y="1848"/>
                  </a:cubicBezTo>
                  <a:cubicBezTo>
                    <a:pt x="11509" y="1810"/>
                    <a:pt x="11509" y="1810"/>
                    <a:pt x="11509" y="1810"/>
                  </a:cubicBezTo>
                  <a:cubicBezTo>
                    <a:pt x="11422" y="1771"/>
                    <a:pt x="11422" y="1771"/>
                    <a:pt x="11422" y="1771"/>
                  </a:cubicBezTo>
                  <a:cubicBezTo>
                    <a:pt x="11290" y="1771"/>
                    <a:pt x="11290" y="1771"/>
                    <a:pt x="11290" y="1771"/>
                  </a:cubicBezTo>
                  <a:cubicBezTo>
                    <a:pt x="11202" y="1694"/>
                    <a:pt x="11202" y="1694"/>
                    <a:pt x="11202" y="1694"/>
                  </a:cubicBezTo>
                  <a:cubicBezTo>
                    <a:pt x="11246" y="1617"/>
                    <a:pt x="11246" y="1617"/>
                    <a:pt x="11246" y="1617"/>
                  </a:cubicBezTo>
                  <a:cubicBezTo>
                    <a:pt x="11246" y="1540"/>
                    <a:pt x="11246" y="1540"/>
                    <a:pt x="11246" y="1540"/>
                  </a:cubicBezTo>
                  <a:cubicBezTo>
                    <a:pt x="11246" y="1540"/>
                    <a:pt x="11334" y="1463"/>
                    <a:pt x="11334" y="1463"/>
                  </a:cubicBezTo>
                  <a:cubicBezTo>
                    <a:pt x="11378" y="1425"/>
                    <a:pt x="11465" y="1386"/>
                    <a:pt x="11465" y="1386"/>
                  </a:cubicBezTo>
                  <a:cubicBezTo>
                    <a:pt x="11509" y="1309"/>
                    <a:pt x="11509" y="1309"/>
                    <a:pt x="11509" y="1309"/>
                  </a:cubicBezTo>
                  <a:cubicBezTo>
                    <a:pt x="11509" y="1309"/>
                    <a:pt x="11553" y="1271"/>
                    <a:pt x="11597" y="1271"/>
                  </a:cubicBezTo>
                  <a:cubicBezTo>
                    <a:pt x="11641" y="1271"/>
                    <a:pt x="11641" y="1309"/>
                    <a:pt x="11641" y="1271"/>
                  </a:cubicBezTo>
                  <a:cubicBezTo>
                    <a:pt x="11685" y="1271"/>
                    <a:pt x="11685" y="1194"/>
                    <a:pt x="11685" y="1155"/>
                  </a:cubicBezTo>
                  <a:cubicBezTo>
                    <a:pt x="11685" y="1040"/>
                    <a:pt x="11685" y="1040"/>
                    <a:pt x="11685" y="1040"/>
                  </a:cubicBezTo>
                  <a:cubicBezTo>
                    <a:pt x="11465" y="1078"/>
                    <a:pt x="11465" y="1078"/>
                    <a:pt x="11465" y="1078"/>
                  </a:cubicBezTo>
                  <a:cubicBezTo>
                    <a:pt x="11465" y="1078"/>
                    <a:pt x="11246" y="1040"/>
                    <a:pt x="11114" y="1040"/>
                  </a:cubicBezTo>
                  <a:cubicBezTo>
                    <a:pt x="10939" y="1040"/>
                    <a:pt x="10587" y="963"/>
                    <a:pt x="10587" y="963"/>
                  </a:cubicBezTo>
                  <a:cubicBezTo>
                    <a:pt x="10148" y="847"/>
                    <a:pt x="10148" y="847"/>
                    <a:pt x="10148" y="847"/>
                  </a:cubicBezTo>
                  <a:cubicBezTo>
                    <a:pt x="9885" y="847"/>
                    <a:pt x="9885" y="847"/>
                    <a:pt x="9885" y="847"/>
                  </a:cubicBezTo>
                  <a:cubicBezTo>
                    <a:pt x="9490" y="809"/>
                    <a:pt x="9490" y="809"/>
                    <a:pt x="9490" y="809"/>
                  </a:cubicBezTo>
                  <a:cubicBezTo>
                    <a:pt x="9490" y="809"/>
                    <a:pt x="9446" y="732"/>
                    <a:pt x="9402" y="693"/>
                  </a:cubicBezTo>
                  <a:cubicBezTo>
                    <a:pt x="9402" y="655"/>
                    <a:pt x="9270" y="578"/>
                    <a:pt x="9270" y="578"/>
                  </a:cubicBezTo>
                  <a:cubicBezTo>
                    <a:pt x="9270" y="501"/>
                    <a:pt x="9270" y="501"/>
                    <a:pt x="9270" y="501"/>
                  </a:cubicBezTo>
                  <a:cubicBezTo>
                    <a:pt x="9183" y="308"/>
                    <a:pt x="9183" y="308"/>
                    <a:pt x="9183" y="308"/>
                  </a:cubicBezTo>
                  <a:cubicBezTo>
                    <a:pt x="9095" y="154"/>
                    <a:pt x="9095" y="154"/>
                    <a:pt x="9095" y="154"/>
                  </a:cubicBezTo>
                  <a:cubicBezTo>
                    <a:pt x="9183" y="39"/>
                    <a:pt x="9183" y="39"/>
                    <a:pt x="9183" y="39"/>
                  </a:cubicBezTo>
                  <a:cubicBezTo>
                    <a:pt x="9095" y="0"/>
                    <a:pt x="9095" y="0"/>
                    <a:pt x="9095" y="0"/>
                  </a:cubicBezTo>
                  <a:cubicBezTo>
                    <a:pt x="9095" y="0"/>
                    <a:pt x="8919" y="39"/>
                    <a:pt x="8831" y="39"/>
                  </a:cubicBezTo>
                  <a:cubicBezTo>
                    <a:pt x="8787" y="77"/>
                    <a:pt x="8524" y="116"/>
                    <a:pt x="8524" y="116"/>
                  </a:cubicBezTo>
                  <a:cubicBezTo>
                    <a:pt x="8436" y="154"/>
                    <a:pt x="8436" y="154"/>
                    <a:pt x="8436" y="154"/>
                  </a:cubicBezTo>
                  <a:cubicBezTo>
                    <a:pt x="8085" y="154"/>
                    <a:pt x="8085" y="154"/>
                    <a:pt x="8085" y="154"/>
                  </a:cubicBezTo>
                  <a:cubicBezTo>
                    <a:pt x="7734" y="193"/>
                    <a:pt x="7734" y="193"/>
                    <a:pt x="7734" y="193"/>
                  </a:cubicBezTo>
                  <a:cubicBezTo>
                    <a:pt x="7602" y="270"/>
                    <a:pt x="7602" y="270"/>
                    <a:pt x="7602" y="270"/>
                  </a:cubicBezTo>
                  <a:cubicBezTo>
                    <a:pt x="7339" y="385"/>
                    <a:pt x="7339" y="385"/>
                    <a:pt x="7339" y="385"/>
                  </a:cubicBezTo>
                  <a:cubicBezTo>
                    <a:pt x="7339" y="539"/>
                    <a:pt x="7339" y="539"/>
                    <a:pt x="7339" y="539"/>
                  </a:cubicBezTo>
                  <a:cubicBezTo>
                    <a:pt x="7207" y="693"/>
                    <a:pt x="7207" y="693"/>
                    <a:pt x="7207" y="693"/>
                  </a:cubicBezTo>
                  <a:cubicBezTo>
                    <a:pt x="6987" y="693"/>
                    <a:pt x="6987" y="693"/>
                    <a:pt x="6987" y="693"/>
                  </a:cubicBezTo>
                  <a:cubicBezTo>
                    <a:pt x="6768" y="539"/>
                    <a:pt x="6768" y="539"/>
                    <a:pt x="6768" y="539"/>
                  </a:cubicBezTo>
                  <a:cubicBezTo>
                    <a:pt x="6680" y="616"/>
                    <a:pt x="6680" y="616"/>
                    <a:pt x="6680" y="616"/>
                  </a:cubicBezTo>
                  <a:cubicBezTo>
                    <a:pt x="6461" y="578"/>
                    <a:pt x="6461" y="578"/>
                    <a:pt x="6461" y="578"/>
                  </a:cubicBezTo>
                  <a:cubicBezTo>
                    <a:pt x="6417" y="578"/>
                    <a:pt x="6417" y="578"/>
                    <a:pt x="6417" y="578"/>
                  </a:cubicBezTo>
                  <a:cubicBezTo>
                    <a:pt x="6373" y="578"/>
                    <a:pt x="6373" y="578"/>
                    <a:pt x="6373" y="578"/>
                  </a:cubicBezTo>
                  <a:cubicBezTo>
                    <a:pt x="6373" y="578"/>
                    <a:pt x="6329" y="616"/>
                    <a:pt x="6329" y="616"/>
                  </a:cubicBezTo>
                  <a:cubicBezTo>
                    <a:pt x="6373" y="693"/>
                    <a:pt x="6373" y="693"/>
                    <a:pt x="6373" y="693"/>
                  </a:cubicBezTo>
                  <a:cubicBezTo>
                    <a:pt x="6329" y="732"/>
                    <a:pt x="6329" y="732"/>
                    <a:pt x="6329" y="732"/>
                  </a:cubicBezTo>
                  <a:cubicBezTo>
                    <a:pt x="6373" y="809"/>
                    <a:pt x="6373" y="809"/>
                    <a:pt x="6373" y="809"/>
                  </a:cubicBezTo>
                  <a:cubicBezTo>
                    <a:pt x="6373" y="809"/>
                    <a:pt x="6329" y="847"/>
                    <a:pt x="6285" y="886"/>
                  </a:cubicBezTo>
                  <a:cubicBezTo>
                    <a:pt x="6241" y="886"/>
                    <a:pt x="6329" y="963"/>
                    <a:pt x="6329" y="963"/>
                  </a:cubicBezTo>
                  <a:cubicBezTo>
                    <a:pt x="6329" y="963"/>
                    <a:pt x="6373" y="963"/>
                    <a:pt x="6461" y="1001"/>
                  </a:cubicBezTo>
                  <a:cubicBezTo>
                    <a:pt x="6504" y="1040"/>
                    <a:pt x="6461" y="1040"/>
                    <a:pt x="6461" y="1040"/>
                  </a:cubicBezTo>
                  <a:cubicBezTo>
                    <a:pt x="6461" y="1078"/>
                    <a:pt x="6461" y="1117"/>
                    <a:pt x="6417" y="1117"/>
                  </a:cubicBezTo>
                  <a:cubicBezTo>
                    <a:pt x="6417" y="1155"/>
                    <a:pt x="6417" y="1155"/>
                    <a:pt x="6417" y="1155"/>
                  </a:cubicBezTo>
                  <a:cubicBezTo>
                    <a:pt x="6373" y="1155"/>
                    <a:pt x="6373" y="1155"/>
                    <a:pt x="6373" y="1155"/>
                  </a:cubicBezTo>
                  <a:cubicBezTo>
                    <a:pt x="6373" y="1155"/>
                    <a:pt x="6241" y="1194"/>
                    <a:pt x="6241" y="1155"/>
                  </a:cubicBezTo>
                  <a:cubicBezTo>
                    <a:pt x="6197" y="1155"/>
                    <a:pt x="6241" y="1155"/>
                    <a:pt x="6241" y="1155"/>
                  </a:cubicBezTo>
                  <a:cubicBezTo>
                    <a:pt x="6197" y="1155"/>
                    <a:pt x="6197" y="1155"/>
                    <a:pt x="6197" y="1155"/>
                  </a:cubicBezTo>
                  <a:cubicBezTo>
                    <a:pt x="6197" y="1155"/>
                    <a:pt x="6065" y="1078"/>
                    <a:pt x="6065" y="1078"/>
                  </a:cubicBezTo>
                  <a:cubicBezTo>
                    <a:pt x="6065" y="1040"/>
                    <a:pt x="6065" y="1040"/>
                    <a:pt x="6065" y="1040"/>
                  </a:cubicBezTo>
                  <a:cubicBezTo>
                    <a:pt x="6065" y="1040"/>
                    <a:pt x="6022" y="1001"/>
                    <a:pt x="6022" y="1001"/>
                  </a:cubicBezTo>
                  <a:cubicBezTo>
                    <a:pt x="5978" y="1001"/>
                    <a:pt x="5978" y="1040"/>
                    <a:pt x="5978" y="1040"/>
                  </a:cubicBezTo>
                  <a:cubicBezTo>
                    <a:pt x="5934" y="1040"/>
                    <a:pt x="5890" y="1040"/>
                    <a:pt x="5846" y="1040"/>
                  </a:cubicBezTo>
                  <a:cubicBezTo>
                    <a:pt x="5846" y="1040"/>
                    <a:pt x="5846" y="1078"/>
                    <a:pt x="5802" y="1078"/>
                  </a:cubicBezTo>
                  <a:cubicBezTo>
                    <a:pt x="5802" y="1117"/>
                    <a:pt x="5802" y="1117"/>
                    <a:pt x="5802" y="1155"/>
                  </a:cubicBezTo>
                  <a:cubicBezTo>
                    <a:pt x="5758" y="1155"/>
                    <a:pt x="5758" y="1194"/>
                    <a:pt x="5758" y="1194"/>
                  </a:cubicBezTo>
                  <a:cubicBezTo>
                    <a:pt x="5758" y="1232"/>
                    <a:pt x="5758" y="1232"/>
                    <a:pt x="5758" y="1232"/>
                  </a:cubicBezTo>
                  <a:cubicBezTo>
                    <a:pt x="5714" y="1309"/>
                    <a:pt x="5714" y="1309"/>
                    <a:pt x="5714" y="1309"/>
                  </a:cubicBezTo>
                  <a:cubicBezTo>
                    <a:pt x="5758" y="1309"/>
                    <a:pt x="5758" y="1309"/>
                    <a:pt x="5758" y="1309"/>
                  </a:cubicBezTo>
                  <a:cubicBezTo>
                    <a:pt x="5758" y="1309"/>
                    <a:pt x="5758" y="1386"/>
                    <a:pt x="5758" y="1386"/>
                  </a:cubicBezTo>
                  <a:cubicBezTo>
                    <a:pt x="5758" y="1425"/>
                    <a:pt x="5758" y="1425"/>
                    <a:pt x="5758" y="1425"/>
                  </a:cubicBezTo>
                  <a:cubicBezTo>
                    <a:pt x="5802" y="1463"/>
                    <a:pt x="5846" y="1425"/>
                    <a:pt x="5846" y="1425"/>
                  </a:cubicBezTo>
                  <a:cubicBezTo>
                    <a:pt x="5846" y="1425"/>
                    <a:pt x="5890" y="1463"/>
                    <a:pt x="5890" y="1502"/>
                  </a:cubicBezTo>
                  <a:cubicBezTo>
                    <a:pt x="5934" y="1502"/>
                    <a:pt x="5890" y="1540"/>
                    <a:pt x="5890" y="1540"/>
                  </a:cubicBezTo>
                  <a:cubicBezTo>
                    <a:pt x="5890" y="1540"/>
                    <a:pt x="5846" y="1579"/>
                    <a:pt x="5846" y="1579"/>
                  </a:cubicBezTo>
                  <a:cubicBezTo>
                    <a:pt x="5802" y="1579"/>
                    <a:pt x="5802" y="1579"/>
                    <a:pt x="5846" y="1617"/>
                  </a:cubicBezTo>
                  <a:cubicBezTo>
                    <a:pt x="5846" y="1656"/>
                    <a:pt x="5890" y="1656"/>
                    <a:pt x="5890" y="1656"/>
                  </a:cubicBezTo>
                  <a:cubicBezTo>
                    <a:pt x="5934" y="1656"/>
                    <a:pt x="5934" y="1771"/>
                    <a:pt x="5934" y="1771"/>
                  </a:cubicBezTo>
                  <a:cubicBezTo>
                    <a:pt x="5934" y="1810"/>
                    <a:pt x="5890" y="1848"/>
                    <a:pt x="5890" y="1848"/>
                  </a:cubicBezTo>
                  <a:cubicBezTo>
                    <a:pt x="5890" y="1848"/>
                    <a:pt x="5890" y="1848"/>
                    <a:pt x="5890" y="1848"/>
                  </a:cubicBezTo>
                  <a:cubicBezTo>
                    <a:pt x="5846" y="1848"/>
                    <a:pt x="5846" y="1848"/>
                    <a:pt x="5846" y="1887"/>
                  </a:cubicBezTo>
                  <a:cubicBezTo>
                    <a:pt x="5846" y="1887"/>
                    <a:pt x="5758" y="1887"/>
                    <a:pt x="5758" y="1887"/>
                  </a:cubicBezTo>
                  <a:cubicBezTo>
                    <a:pt x="5758" y="1887"/>
                    <a:pt x="5802" y="1810"/>
                    <a:pt x="5758" y="1810"/>
                  </a:cubicBezTo>
                  <a:cubicBezTo>
                    <a:pt x="5758" y="1771"/>
                    <a:pt x="5714" y="1771"/>
                    <a:pt x="5670" y="1733"/>
                  </a:cubicBezTo>
                  <a:cubicBezTo>
                    <a:pt x="5626" y="1656"/>
                    <a:pt x="5670" y="1656"/>
                    <a:pt x="5670" y="1656"/>
                  </a:cubicBezTo>
                  <a:cubicBezTo>
                    <a:pt x="5670" y="1656"/>
                    <a:pt x="5670" y="1656"/>
                    <a:pt x="5626" y="1617"/>
                  </a:cubicBezTo>
                  <a:cubicBezTo>
                    <a:pt x="5626" y="1579"/>
                    <a:pt x="5626" y="1540"/>
                    <a:pt x="5626" y="1540"/>
                  </a:cubicBezTo>
                  <a:cubicBezTo>
                    <a:pt x="5626" y="1540"/>
                    <a:pt x="5539" y="1540"/>
                    <a:pt x="5495" y="1540"/>
                  </a:cubicBezTo>
                  <a:cubicBezTo>
                    <a:pt x="5407" y="1540"/>
                    <a:pt x="5451" y="1579"/>
                    <a:pt x="5451" y="1579"/>
                  </a:cubicBezTo>
                  <a:cubicBezTo>
                    <a:pt x="5363" y="1579"/>
                    <a:pt x="5363" y="1579"/>
                    <a:pt x="5363" y="1579"/>
                  </a:cubicBezTo>
                  <a:cubicBezTo>
                    <a:pt x="5363" y="1579"/>
                    <a:pt x="5319" y="1617"/>
                    <a:pt x="5319" y="1617"/>
                  </a:cubicBezTo>
                  <a:cubicBezTo>
                    <a:pt x="5275" y="1656"/>
                    <a:pt x="5275" y="1617"/>
                    <a:pt x="5231" y="1617"/>
                  </a:cubicBezTo>
                  <a:cubicBezTo>
                    <a:pt x="5231" y="1617"/>
                    <a:pt x="5187" y="1617"/>
                    <a:pt x="5187" y="1617"/>
                  </a:cubicBezTo>
                  <a:cubicBezTo>
                    <a:pt x="5187" y="1617"/>
                    <a:pt x="5143" y="1656"/>
                    <a:pt x="5187" y="1694"/>
                  </a:cubicBezTo>
                  <a:cubicBezTo>
                    <a:pt x="5187" y="1733"/>
                    <a:pt x="5187" y="1733"/>
                    <a:pt x="5143" y="1733"/>
                  </a:cubicBezTo>
                  <a:cubicBezTo>
                    <a:pt x="5143" y="1771"/>
                    <a:pt x="5056" y="1733"/>
                    <a:pt x="4968" y="1733"/>
                  </a:cubicBezTo>
                  <a:cubicBezTo>
                    <a:pt x="4836" y="1733"/>
                    <a:pt x="4924" y="1694"/>
                    <a:pt x="4880" y="1694"/>
                  </a:cubicBezTo>
                  <a:cubicBezTo>
                    <a:pt x="4880" y="1656"/>
                    <a:pt x="4792" y="1656"/>
                    <a:pt x="4792" y="1617"/>
                  </a:cubicBezTo>
                  <a:cubicBezTo>
                    <a:pt x="4792" y="1540"/>
                    <a:pt x="4792" y="1540"/>
                    <a:pt x="4792" y="1502"/>
                  </a:cubicBezTo>
                  <a:cubicBezTo>
                    <a:pt x="4792" y="1463"/>
                    <a:pt x="4748" y="1425"/>
                    <a:pt x="4748" y="1425"/>
                  </a:cubicBezTo>
                  <a:cubicBezTo>
                    <a:pt x="4704" y="1386"/>
                    <a:pt x="4748" y="1348"/>
                    <a:pt x="4792" y="1348"/>
                  </a:cubicBezTo>
                  <a:cubicBezTo>
                    <a:pt x="4792" y="1309"/>
                    <a:pt x="4748" y="1309"/>
                    <a:pt x="4748" y="1309"/>
                  </a:cubicBezTo>
                  <a:cubicBezTo>
                    <a:pt x="4661" y="1348"/>
                    <a:pt x="4661" y="1348"/>
                    <a:pt x="4661" y="1348"/>
                  </a:cubicBezTo>
                  <a:cubicBezTo>
                    <a:pt x="4617" y="1348"/>
                    <a:pt x="4617" y="1348"/>
                    <a:pt x="4617" y="1348"/>
                  </a:cubicBezTo>
                  <a:cubicBezTo>
                    <a:pt x="4617" y="1348"/>
                    <a:pt x="4573" y="1309"/>
                    <a:pt x="4529" y="1309"/>
                  </a:cubicBezTo>
                  <a:cubicBezTo>
                    <a:pt x="4529" y="1271"/>
                    <a:pt x="4485" y="1309"/>
                    <a:pt x="4485" y="1309"/>
                  </a:cubicBezTo>
                  <a:cubicBezTo>
                    <a:pt x="4397" y="1386"/>
                    <a:pt x="4397" y="1386"/>
                    <a:pt x="4397" y="1386"/>
                  </a:cubicBezTo>
                  <a:cubicBezTo>
                    <a:pt x="4397" y="1425"/>
                    <a:pt x="4397" y="1425"/>
                    <a:pt x="4397" y="1425"/>
                  </a:cubicBezTo>
                  <a:cubicBezTo>
                    <a:pt x="4441" y="1502"/>
                    <a:pt x="4441" y="1502"/>
                    <a:pt x="4441" y="1502"/>
                  </a:cubicBezTo>
                  <a:cubicBezTo>
                    <a:pt x="4441" y="1579"/>
                    <a:pt x="4441" y="1579"/>
                    <a:pt x="4441" y="1579"/>
                  </a:cubicBezTo>
                  <a:cubicBezTo>
                    <a:pt x="4441" y="1579"/>
                    <a:pt x="4441" y="1617"/>
                    <a:pt x="4441" y="1656"/>
                  </a:cubicBezTo>
                  <a:cubicBezTo>
                    <a:pt x="4441" y="1656"/>
                    <a:pt x="4441" y="1694"/>
                    <a:pt x="4441" y="1694"/>
                  </a:cubicBezTo>
                  <a:cubicBezTo>
                    <a:pt x="4441" y="1733"/>
                    <a:pt x="4441" y="1733"/>
                    <a:pt x="4441" y="1733"/>
                  </a:cubicBezTo>
                  <a:cubicBezTo>
                    <a:pt x="4441" y="1733"/>
                    <a:pt x="4397" y="1771"/>
                    <a:pt x="4397" y="1810"/>
                  </a:cubicBezTo>
                  <a:cubicBezTo>
                    <a:pt x="4397" y="1810"/>
                    <a:pt x="4397" y="1848"/>
                    <a:pt x="4397" y="1887"/>
                  </a:cubicBezTo>
                  <a:cubicBezTo>
                    <a:pt x="4353" y="1925"/>
                    <a:pt x="4353" y="1925"/>
                    <a:pt x="4353" y="1925"/>
                  </a:cubicBezTo>
                  <a:cubicBezTo>
                    <a:pt x="4353" y="1925"/>
                    <a:pt x="4309" y="1964"/>
                    <a:pt x="4309" y="2002"/>
                  </a:cubicBezTo>
                  <a:cubicBezTo>
                    <a:pt x="4309" y="2002"/>
                    <a:pt x="4222" y="2002"/>
                    <a:pt x="4222" y="2002"/>
                  </a:cubicBezTo>
                  <a:cubicBezTo>
                    <a:pt x="4222" y="2002"/>
                    <a:pt x="4178" y="2079"/>
                    <a:pt x="4134" y="2079"/>
                  </a:cubicBezTo>
                  <a:cubicBezTo>
                    <a:pt x="4134" y="2079"/>
                    <a:pt x="4134" y="2156"/>
                    <a:pt x="4134" y="2195"/>
                  </a:cubicBezTo>
                  <a:cubicBezTo>
                    <a:pt x="4134" y="2195"/>
                    <a:pt x="4134" y="2233"/>
                    <a:pt x="4134" y="2233"/>
                  </a:cubicBezTo>
                  <a:cubicBezTo>
                    <a:pt x="4046" y="2272"/>
                    <a:pt x="4046" y="2272"/>
                    <a:pt x="4046" y="2272"/>
                  </a:cubicBezTo>
                  <a:cubicBezTo>
                    <a:pt x="4046" y="2272"/>
                    <a:pt x="4090" y="2349"/>
                    <a:pt x="4090" y="2349"/>
                  </a:cubicBezTo>
                  <a:cubicBezTo>
                    <a:pt x="4090" y="2387"/>
                    <a:pt x="4046" y="2387"/>
                    <a:pt x="4046" y="2387"/>
                  </a:cubicBezTo>
                  <a:cubicBezTo>
                    <a:pt x="4002" y="2426"/>
                    <a:pt x="4046" y="2426"/>
                    <a:pt x="4046" y="2464"/>
                  </a:cubicBezTo>
                  <a:cubicBezTo>
                    <a:pt x="4002" y="2503"/>
                    <a:pt x="4046" y="2503"/>
                    <a:pt x="4046" y="2503"/>
                  </a:cubicBezTo>
                  <a:cubicBezTo>
                    <a:pt x="4046" y="2541"/>
                    <a:pt x="4178" y="2580"/>
                    <a:pt x="4178" y="2580"/>
                  </a:cubicBezTo>
                  <a:cubicBezTo>
                    <a:pt x="4178" y="2580"/>
                    <a:pt x="4178" y="2580"/>
                    <a:pt x="4134" y="2618"/>
                  </a:cubicBezTo>
                  <a:cubicBezTo>
                    <a:pt x="4046" y="2657"/>
                    <a:pt x="4090" y="2734"/>
                    <a:pt x="4090" y="2734"/>
                  </a:cubicBezTo>
                  <a:cubicBezTo>
                    <a:pt x="4046" y="2772"/>
                    <a:pt x="4046" y="2772"/>
                    <a:pt x="4046" y="2772"/>
                  </a:cubicBezTo>
                  <a:cubicBezTo>
                    <a:pt x="4046" y="2772"/>
                    <a:pt x="4002" y="2734"/>
                    <a:pt x="3958" y="2734"/>
                  </a:cubicBezTo>
                  <a:cubicBezTo>
                    <a:pt x="3958" y="2734"/>
                    <a:pt x="3958" y="2734"/>
                    <a:pt x="3870" y="2734"/>
                  </a:cubicBezTo>
                  <a:cubicBezTo>
                    <a:pt x="3783" y="2734"/>
                    <a:pt x="3870" y="2695"/>
                    <a:pt x="3870" y="2695"/>
                  </a:cubicBezTo>
                  <a:cubicBezTo>
                    <a:pt x="3870" y="2695"/>
                    <a:pt x="3870" y="2618"/>
                    <a:pt x="3870" y="2580"/>
                  </a:cubicBezTo>
                  <a:cubicBezTo>
                    <a:pt x="3870" y="2580"/>
                    <a:pt x="3870" y="2580"/>
                    <a:pt x="3870" y="2580"/>
                  </a:cubicBezTo>
                  <a:cubicBezTo>
                    <a:pt x="3870" y="2580"/>
                    <a:pt x="3870" y="2541"/>
                    <a:pt x="3826" y="2503"/>
                  </a:cubicBezTo>
                  <a:cubicBezTo>
                    <a:pt x="3826" y="2464"/>
                    <a:pt x="3783" y="2464"/>
                    <a:pt x="3783" y="2464"/>
                  </a:cubicBezTo>
                  <a:cubicBezTo>
                    <a:pt x="3651" y="2387"/>
                    <a:pt x="3651" y="2387"/>
                    <a:pt x="3651" y="2387"/>
                  </a:cubicBezTo>
                  <a:cubicBezTo>
                    <a:pt x="3651" y="2387"/>
                    <a:pt x="3695" y="2310"/>
                    <a:pt x="3739" y="2272"/>
                  </a:cubicBezTo>
                  <a:cubicBezTo>
                    <a:pt x="3739" y="2272"/>
                    <a:pt x="3739" y="2272"/>
                    <a:pt x="3739" y="2272"/>
                  </a:cubicBezTo>
                  <a:cubicBezTo>
                    <a:pt x="3739" y="2272"/>
                    <a:pt x="3739" y="2272"/>
                    <a:pt x="3783" y="2233"/>
                  </a:cubicBezTo>
                  <a:cubicBezTo>
                    <a:pt x="3783" y="2195"/>
                    <a:pt x="3739" y="2195"/>
                    <a:pt x="3739" y="2195"/>
                  </a:cubicBezTo>
                  <a:cubicBezTo>
                    <a:pt x="3695" y="2195"/>
                    <a:pt x="3695" y="2195"/>
                    <a:pt x="3695" y="2195"/>
                  </a:cubicBezTo>
                  <a:cubicBezTo>
                    <a:pt x="3651" y="2156"/>
                    <a:pt x="3651" y="2156"/>
                    <a:pt x="3651" y="2156"/>
                  </a:cubicBezTo>
                  <a:cubicBezTo>
                    <a:pt x="3651" y="2156"/>
                    <a:pt x="3563" y="2195"/>
                    <a:pt x="3563" y="2156"/>
                  </a:cubicBezTo>
                  <a:cubicBezTo>
                    <a:pt x="3519" y="2156"/>
                    <a:pt x="3431" y="2156"/>
                    <a:pt x="3431" y="2118"/>
                  </a:cubicBezTo>
                  <a:cubicBezTo>
                    <a:pt x="3431" y="2118"/>
                    <a:pt x="3387" y="2118"/>
                    <a:pt x="3343" y="2118"/>
                  </a:cubicBezTo>
                  <a:cubicBezTo>
                    <a:pt x="3343" y="2118"/>
                    <a:pt x="3300" y="2118"/>
                    <a:pt x="3300" y="2118"/>
                  </a:cubicBezTo>
                  <a:cubicBezTo>
                    <a:pt x="3256" y="2079"/>
                    <a:pt x="3212" y="2041"/>
                    <a:pt x="3212" y="2041"/>
                  </a:cubicBezTo>
                  <a:cubicBezTo>
                    <a:pt x="3212" y="2002"/>
                    <a:pt x="3168" y="1964"/>
                    <a:pt x="3168" y="1964"/>
                  </a:cubicBezTo>
                  <a:cubicBezTo>
                    <a:pt x="3124" y="1964"/>
                    <a:pt x="3124" y="1964"/>
                    <a:pt x="3124" y="1964"/>
                  </a:cubicBezTo>
                  <a:cubicBezTo>
                    <a:pt x="3124" y="1964"/>
                    <a:pt x="3080" y="1887"/>
                    <a:pt x="3036" y="1887"/>
                  </a:cubicBezTo>
                  <a:cubicBezTo>
                    <a:pt x="3036" y="1887"/>
                    <a:pt x="3036" y="1848"/>
                    <a:pt x="3036" y="1848"/>
                  </a:cubicBezTo>
                  <a:cubicBezTo>
                    <a:pt x="2992" y="1810"/>
                    <a:pt x="2992" y="1810"/>
                    <a:pt x="2992" y="1810"/>
                  </a:cubicBezTo>
                  <a:cubicBezTo>
                    <a:pt x="2992" y="1810"/>
                    <a:pt x="2992" y="1771"/>
                    <a:pt x="2992" y="1733"/>
                  </a:cubicBezTo>
                  <a:cubicBezTo>
                    <a:pt x="2992" y="1733"/>
                    <a:pt x="3036" y="1656"/>
                    <a:pt x="3036" y="1656"/>
                  </a:cubicBezTo>
                  <a:cubicBezTo>
                    <a:pt x="3036" y="1656"/>
                    <a:pt x="2992" y="1579"/>
                    <a:pt x="2992" y="1540"/>
                  </a:cubicBezTo>
                  <a:cubicBezTo>
                    <a:pt x="2992" y="1502"/>
                    <a:pt x="3036" y="1425"/>
                    <a:pt x="3036" y="1425"/>
                  </a:cubicBezTo>
                  <a:cubicBezTo>
                    <a:pt x="3036" y="1425"/>
                    <a:pt x="2861" y="1463"/>
                    <a:pt x="2817" y="1502"/>
                  </a:cubicBezTo>
                  <a:cubicBezTo>
                    <a:pt x="2773" y="1502"/>
                    <a:pt x="2773" y="1540"/>
                    <a:pt x="2773" y="1540"/>
                  </a:cubicBezTo>
                  <a:cubicBezTo>
                    <a:pt x="2773" y="1540"/>
                    <a:pt x="2773" y="1579"/>
                    <a:pt x="2773" y="1617"/>
                  </a:cubicBezTo>
                  <a:cubicBezTo>
                    <a:pt x="2729" y="1617"/>
                    <a:pt x="2729" y="1617"/>
                    <a:pt x="2729" y="1617"/>
                  </a:cubicBezTo>
                  <a:cubicBezTo>
                    <a:pt x="2729" y="1617"/>
                    <a:pt x="2641" y="1694"/>
                    <a:pt x="2597" y="1694"/>
                  </a:cubicBezTo>
                  <a:cubicBezTo>
                    <a:pt x="2597" y="1733"/>
                    <a:pt x="2597" y="1733"/>
                    <a:pt x="2553" y="1733"/>
                  </a:cubicBezTo>
                  <a:cubicBezTo>
                    <a:pt x="2509" y="1733"/>
                    <a:pt x="2465" y="1771"/>
                    <a:pt x="2465" y="1771"/>
                  </a:cubicBezTo>
                  <a:cubicBezTo>
                    <a:pt x="2422" y="1810"/>
                    <a:pt x="2422" y="1810"/>
                    <a:pt x="2422" y="1810"/>
                  </a:cubicBezTo>
                  <a:cubicBezTo>
                    <a:pt x="2465" y="1848"/>
                    <a:pt x="2465" y="1848"/>
                    <a:pt x="2465" y="1848"/>
                  </a:cubicBezTo>
                  <a:cubicBezTo>
                    <a:pt x="2509" y="1964"/>
                    <a:pt x="2509" y="1964"/>
                    <a:pt x="2509" y="1964"/>
                  </a:cubicBezTo>
                  <a:cubicBezTo>
                    <a:pt x="2465" y="2041"/>
                    <a:pt x="2465" y="2041"/>
                    <a:pt x="2465" y="2041"/>
                  </a:cubicBezTo>
                  <a:cubicBezTo>
                    <a:pt x="2465" y="2041"/>
                    <a:pt x="2465" y="2041"/>
                    <a:pt x="2465" y="2079"/>
                  </a:cubicBezTo>
                  <a:cubicBezTo>
                    <a:pt x="2422" y="2156"/>
                    <a:pt x="2422" y="2156"/>
                    <a:pt x="2422" y="2156"/>
                  </a:cubicBezTo>
                  <a:cubicBezTo>
                    <a:pt x="2378" y="2195"/>
                    <a:pt x="2378" y="2195"/>
                    <a:pt x="2378" y="2195"/>
                  </a:cubicBezTo>
                  <a:cubicBezTo>
                    <a:pt x="2334" y="2233"/>
                    <a:pt x="2334" y="2233"/>
                    <a:pt x="2334" y="2233"/>
                  </a:cubicBezTo>
                  <a:cubicBezTo>
                    <a:pt x="2334" y="2233"/>
                    <a:pt x="2334" y="2272"/>
                    <a:pt x="2334" y="2310"/>
                  </a:cubicBezTo>
                  <a:cubicBezTo>
                    <a:pt x="2334" y="2310"/>
                    <a:pt x="2334" y="2349"/>
                    <a:pt x="2290" y="2387"/>
                  </a:cubicBezTo>
                  <a:cubicBezTo>
                    <a:pt x="2246" y="2426"/>
                    <a:pt x="2246" y="2426"/>
                    <a:pt x="2246" y="2426"/>
                  </a:cubicBezTo>
                  <a:cubicBezTo>
                    <a:pt x="2246" y="2426"/>
                    <a:pt x="2202" y="2426"/>
                    <a:pt x="2158" y="2426"/>
                  </a:cubicBezTo>
                  <a:cubicBezTo>
                    <a:pt x="2114" y="2426"/>
                    <a:pt x="2114" y="2464"/>
                    <a:pt x="2070" y="2464"/>
                  </a:cubicBezTo>
                  <a:cubicBezTo>
                    <a:pt x="1983" y="2464"/>
                    <a:pt x="2026" y="2503"/>
                    <a:pt x="2026" y="2541"/>
                  </a:cubicBezTo>
                  <a:cubicBezTo>
                    <a:pt x="2026" y="2541"/>
                    <a:pt x="2026" y="2541"/>
                    <a:pt x="2026" y="2580"/>
                  </a:cubicBezTo>
                  <a:cubicBezTo>
                    <a:pt x="1983" y="2580"/>
                    <a:pt x="1895" y="2580"/>
                    <a:pt x="1895" y="2541"/>
                  </a:cubicBezTo>
                  <a:cubicBezTo>
                    <a:pt x="1851" y="2541"/>
                    <a:pt x="1851" y="2541"/>
                    <a:pt x="1807" y="2541"/>
                  </a:cubicBezTo>
                  <a:cubicBezTo>
                    <a:pt x="1807" y="2580"/>
                    <a:pt x="1763" y="2503"/>
                    <a:pt x="1763" y="2503"/>
                  </a:cubicBezTo>
                  <a:cubicBezTo>
                    <a:pt x="1763" y="2503"/>
                    <a:pt x="1719" y="2464"/>
                    <a:pt x="1719" y="2464"/>
                  </a:cubicBezTo>
                  <a:cubicBezTo>
                    <a:pt x="1719" y="2426"/>
                    <a:pt x="1631" y="2464"/>
                    <a:pt x="1631" y="2464"/>
                  </a:cubicBezTo>
                  <a:cubicBezTo>
                    <a:pt x="1587" y="2426"/>
                    <a:pt x="1500" y="2426"/>
                    <a:pt x="1500" y="2426"/>
                  </a:cubicBezTo>
                  <a:cubicBezTo>
                    <a:pt x="1456" y="2426"/>
                    <a:pt x="1500" y="2464"/>
                    <a:pt x="1500" y="2464"/>
                  </a:cubicBezTo>
                  <a:cubicBezTo>
                    <a:pt x="1500" y="2464"/>
                    <a:pt x="1456" y="2464"/>
                    <a:pt x="1412" y="2464"/>
                  </a:cubicBezTo>
                  <a:cubicBezTo>
                    <a:pt x="1368" y="2464"/>
                    <a:pt x="1368" y="2503"/>
                    <a:pt x="1368" y="2503"/>
                  </a:cubicBezTo>
                  <a:cubicBezTo>
                    <a:pt x="1368" y="2580"/>
                    <a:pt x="1368" y="2580"/>
                    <a:pt x="1368" y="2580"/>
                  </a:cubicBezTo>
                  <a:cubicBezTo>
                    <a:pt x="1368" y="2580"/>
                    <a:pt x="1236" y="2580"/>
                    <a:pt x="1192" y="2580"/>
                  </a:cubicBezTo>
                  <a:cubicBezTo>
                    <a:pt x="1148" y="2580"/>
                    <a:pt x="1104" y="2541"/>
                    <a:pt x="1061" y="2541"/>
                  </a:cubicBezTo>
                  <a:cubicBezTo>
                    <a:pt x="1017" y="2541"/>
                    <a:pt x="973" y="2580"/>
                    <a:pt x="973" y="2580"/>
                  </a:cubicBezTo>
                  <a:cubicBezTo>
                    <a:pt x="973" y="2580"/>
                    <a:pt x="885" y="2618"/>
                    <a:pt x="885" y="2618"/>
                  </a:cubicBezTo>
                  <a:cubicBezTo>
                    <a:pt x="885" y="2618"/>
                    <a:pt x="841" y="2657"/>
                    <a:pt x="797" y="2657"/>
                  </a:cubicBezTo>
                  <a:cubicBezTo>
                    <a:pt x="753" y="2657"/>
                    <a:pt x="753" y="2618"/>
                    <a:pt x="753" y="2618"/>
                  </a:cubicBezTo>
                  <a:cubicBezTo>
                    <a:pt x="753" y="2618"/>
                    <a:pt x="665" y="2541"/>
                    <a:pt x="665" y="2541"/>
                  </a:cubicBezTo>
                  <a:cubicBezTo>
                    <a:pt x="665" y="2541"/>
                    <a:pt x="665" y="2541"/>
                    <a:pt x="665" y="2541"/>
                  </a:cubicBezTo>
                  <a:cubicBezTo>
                    <a:pt x="490" y="2618"/>
                    <a:pt x="490" y="2618"/>
                    <a:pt x="490" y="2618"/>
                  </a:cubicBezTo>
                  <a:cubicBezTo>
                    <a:pt x="270" y="2772"/>
                    <a:pt x="270" y="2772"/>
                    <a:pt x="270" y="2772"/>
                  </a:cubicBezTo>
                  <a:cubicBezTo>
                    <a:pt x="270" y="2965"/>
                    <a:pt x="270" y="2965"/>
                    <a:pt x="270" y="2965"/>
                  </a:cubicBezTo>
                  <a:cubicBezTo>
                    <a:pt x="446" y="3042"/>
                    <a:pt x="358" y="3119"/>
                    <a:pt x="753" y="3273"/>
                  </a:cubicBezTo>
                  <a:cubicBezTo>
                    <a:pt x="797" y="3273"/>
                    <a:pt x="885" y="3465"/>
                    <a:pt x="885" y="3465"/>
                  </a:cubicBezTo>
                  <a:cubicBezTo>
                    <a:pt x="885" y="3504"/>
                    <a:pt x="797" y="3812"/>
                    <a:pt x="753" y="3850"/>
                  </a:cubicBezTo>
                  <a:cubicBezTo>
                    <a:pt x="665" y="3889"/>
                    <a:pt x="578" y="4043"/>
                    <a:pt x="578" y="4043"/>
                  </a:cubicBezTo>
                  <a:cubicBezTo>
                    <a:pt x="578" y="4043"/>
                    <a:pt x="402" y="4197"/>
                    <a:pt x="358" y="4197"/>
                  </a:cubicBezTo>
                  <a:cubicBezTo>
                    <a:pt x="314" y="4197"/>
                    <a:pt x="183" y="4235"/>
                    <a:pt x="139" y="4235"/>
                  </a:cubicBezTo>
                  <a:cubicBezTo>
                    <a:pt x="139" y="4235"/>
                    <a:pt x="-37" y="4235"/>
                    <a:pt x="7" y="4274"/>
                  </a:cubicBezTo>
                  <a:cubicBezTo>
                    <a:pt x="7" y="4274"/>
                    <a:pt x="7" y="4351"/>
                    <a:pt x="7" y="4351"/>
                  </a:cubicBezTo>
                  <a:cubicBezTo>
                    <a:pt x="51" y="4389"/>
                    <a:pt x="183" y="4543"/>
                    <a:pt x="183" y="4543"/>
                  </a:cubicBezTo>
                  <a:cubicBezTo>
                    <a:pt x="402" y="4659"/>
                    <a:pt x="402" y="4659"/>
                    <a:pt x="402" y="4659"/>
                  </a:cubicBezTo>
                  <a:cubicBezTo>
                    <a:pt x="534" y="4774"/>
                    <a:pt x="534" y="4774"/>
                    <a:pt x="534" y="4774"/>
                  </a:cubicBezTo>
                  <a:cubicBezTo>
                    <a:pt x="578" y="5159"/>
                    <a:pt x="578" y="5159"/>
                    <a:pt x="578" y="5159"/>
                  </a:cubicBezTo>
                  <a:cubicBezTo>
                    <a:pt x="402" y="5390"/>
                    <a:pt x="402" y="5390"/>
                    <a:pt x="402" y="5390"/>
                  </a:cubicBezTo>
                  <a:cubicBezTo>
                    <a:pt x="226" y="5583"/>
                    <a:pt x="314" y="5467"/>
                    <a:pt x="358" y="5737"/>
                  </a:cubicBezTo>
                  <a:cubicBezTo>
                    <a:pt x="490" y="5737"/>
                    <a:pt x="490" y="5737"/>
                    <a:pt x="490" y="5737"/>
                  </a:cubicBezTo>
                  <a:cubicBezTo>
                    <a:pt x="709" y="6045"/>
                    <a:pt x="709" y="6045"/>
                    <a:pt x="709" y="6045"/>
                  </a:cubicBezTo>
                  <a:cubicBezTo>
                    <a:pt x="1148" y="6199"/>
                    <a:pt x="1148" y="6199"/>
                    <a:pt x="1148" y="6199"/>
                  </a:cubicBezTo>
                  <a:cubicBezTo>
                    <a:pt x="1543" y="6199"/>
                    <a:pt x="1543" y="6199"/>
                    <a:pt x="1543" y="6199"/>
                  </a:cubicBezTo>
                  <a:cubicBezTo>
                    <a:pt x="1719" y="6314"/>
                    <a:pt x="1719" y="6314"/>
                    <a:pt x="1719" y="6314"/>
                  </a:cubicBezTo>
                  <a:cubicBezTo>
                    <a:pt x="1587" y="6738"/>
                    <a:pt x="1587" y="6738"/>
                    <a:pt x="1587" y="6738"/>
                  </a:cubicBezTo>
                  <a:cubicBezTo>
                    <a:pt x="1324" y="6930"/>
                    <a:pt x="1324" y="6930"/>
                    <a:pt x="1324" y="6930"/>
                  </a:cubicBezTo>
                  <a:cubicBezTo>
                    <a:pt x="1324" y="6930"/>
                    <a:pt x="1324" y="6930"/>
                    <a:pt x="1280" y="6930"/>
                  </a:cubicBezTo>
                  <a:cubicBezTo>
                    <a:pt x="1280" y="6930"/>
                    <a:pt x="1324" y="6969"/>
                    <a:pt x="1456" y="7007"/>
                  </a:cubicBezTo>
                  <a:cubicBezTo>
                    <a:pt x="1543" y="7007"/>
                    <a:pt x="1543" y="7084"/>
                    <a:pt x="1675" y="7046"/>
                  </a:cubicBezTo>
                  <a:cubicBezTo>
                    <a:pt x="1807" y="7007"/>
                    <a:pt x="1983" y="6969"/>
                    <a:pt x="2026" y="6930"/>
                  </a:cubicBezTo>
                  <a:cubicBezTo>
                    <a:pt x="2070" y="6853"/>
                    <a:pt x="2158" y="6815"/>
                    <a:pt x="2202" y="6776"/>
                  </a:cubicBezTo>
                  <a:cubicBezTo>
                    <a:pt x="2246" y="6699"/>
                    <a:pt x="2509" y="6430"/>
                    <a:pt x="2553" y="6430"/>
                  </a:cubicBezTo>
                  <a:cubicBezTo>
                    <a:pt x="2553" y="6430"/>
                    <a:pt x="2817" y="6122"/>
                    <a:pt x="2861" y="6083"/>
                  </a:cubicBezTo>
                  <a:cubicBezTo>
                    <a:pt x="2904" y="6045"/>
                    <a:pt x="3256" y="5814"/>
                    <a:pt x="3256" y="5814"/>
                  </a:cubicBezTo>
                  <a:cubicBezTo>
                    <a:pt x="3739" y="5660"/>
                    <a:pt x="3739" y="5660"/>
                    <a:pt x="3739" y="5660"/>
                  </a:cubicBezTo>
                  <a:cubicBezTo>
                    <a:pt x="3739" y="5660"/>
                    <a:pt x="3958" y="5852"/>
                    <a:pt x="4002" y="5891"/>
                  </a:cubicBezTo>
                  <a:cubicBezTo>
                    <a:pt x="4046" y="5891"/>
                    <a:pt x="4529" y="6083"/>
                    <a:pt x="4529" y="6083"/>
                  </a:cubicBezTo>
                  <a:cubicBezTo>
                    <a:pt x="4529" y="6083"/>
                    <a:pt x="4836" y="6199"/>
                    <a:pt x="4880" y="6237"/>
                  </a:cubicBezTo>
                  <a:cubicBezTo>
                    <a:pt x="4880" y="6276"/>
                    <a:pt x="5143" y="6468"/>
                    <a:pt x="5143" y="6468"/>
                  </a:cubicBezTo>
                  <a:cubicBezTo>
                    <a:pt x="5319" y="6545"/>
                    <a:pt x="5319" y="6545"/>
                    <a:pt x="5319" y="6545"/>
                  </a:cubicBezTo>
                  <a:cubicBezTo>
                    <a:pt x="5451" y="6430"/>
                    <a:pt x="5451" y="6430"/>
                    <a:pt x="5451" y="6430"/>
                  </a:cubicBezTo>
                  <a:cubicBezTo>
                    <a:pt x="5626" y="6507"/>
                    <a:pt x="5626" y="6507"/>
                    <a:pt x="5626" y="6507"/>
                  </a:cubicBezTo>
                  <a:cubicBezTo>
                    <a:pt x="5934" y="6661"/>
                    <a:pt x="5934" y="6661"/>
                    <a:pt x="5934" y="6661"/>
                  </a:cubicBezTo>
                  <a:cubicBezTo>
                    <a:pt x="6065" y="6892"/>
                    <a:pt x="6065" y="6892"/>
                    <a:pt x="6065" y="6892"/>
                  </a:cubicBezTo>
                  <a:cubicBezTo>
                    <a:pt x="6065" y="6892"/>
                    <a:pt x="6153" y="7200"/>
                    <a:pt x="6153" y="7316"/>
                  </a:cubicBezTo>
                  <a:cubicBezTo>
                    <a:pt x="6153" y="7431"/>
                    <a:pt x="6197" y="7624"/>
                    <a:pt x="6197" y="7624"/>
                  </a:cubicBezTo>
                  <a:cubicBezTo>
                    <a:pt x="6592" y="7778"/>
                    <a:pt x="6592" y="7778"/>
                    <a:pt x="6592" y="7778"/>
                  </a:cubicBezTo>
                  <a:cubicBezTo>
                    <a:pt x="6592" y="7778"/>
                    <a:pt x="6592" y="8124"/>
                    <a:pt x="6592" y="8163"/>
                  </a:cubicBezTo>
                  <a:cubicBezTo>
                    <a:pt x="6592" y="8240"/>
                    <a:pt x="6636" y="8355"/>
                    <a:pt x="6636" y="8471"/>
                  </a:cubicBezTo>
                  <a:cubicBezTo>
                    <a:pt x="6636" y="8586"/>
                    <a:pt x="6636" y="8702"/>
                    <a:pt x="6636" y="8702"/>
                  </a:cubicBezTo>
                  <a:cubicBezTo>
                    <a:pt x="6812" y="8817"/>
                    <a:pt x="6812" y="8817"/>
                    <a:pt x="6812" y="8817"/>
                  </a:cubicBezTo>
                  <a:cubicBezTo>
                    <a:pt x="7031" y="8933"/>
                    <a:pt x="7031" y="8933"/>
                    <a:pt x="7031" y="8933"/>
                  </a:cubicBezTo>
                  <a:cubicBezTo>
                    <a:pt x="7075" y="9125"/>
                    <a:pt x="7075" y="9125"/>
                    <a:pt x="7075" y="9125"/>
                  </a:cubicBezTo>
                  <a:cubicBezTo>
                    <a:pt x="7426" y="9241"/>
                    <a:pt x="7426" y="9241"/>
                    <a:pt x="7426" y="9241"/>
                  </a:cubicBezTo>
                  <a:cubicBezTo>
                    <a:pt x="7514" y="9472"/>
                    <a:pt x="7514" y="9472"/>
                    <a:pt x="7514" y="9472"/>
                  </a:cubicBezTo>
                  <a:cubicBezTo>
                    <a:pt x="7734" y="9664"/>
                    <a:pt x="7734" y="9664"/>
                    <a:pt x="7734" y="9664"/>
                  </a:cubicBezTo>
                  <a:cubicBezTo>
                    <a:pt x="7734" y="9818"/>
                    <a:pt x="7734" y="9818"/>
                    <a:pt x="7734" y="9818"/>
                  </a:cubicBezTo>
                  <a:cubicBezTo>
                    <a:pt x="7734" y="9818"/>
                    <a:pt x="7734" y="9895"/>
                    <a:pt x="7822" y="9895"/>
                  </a:cubicBezTo>
                  <a:cubicBezTo>
                    <a:pt x="7909" y="9895"/>
                    <a:pt x="8217" y="9857"/>
                    <a:pt x="8217" y="9857"/>
                  </a:cubicBezTo>
                  <a:cubicBezTo>
                    <a:pt x="8524" y="10088"/>
                    <a:pt x="8524" y="10088"/>
                    <a:pt x="8524" y="10088"/>
                  </a:cubicBezTo>
                  <a:cubicBezTo>
                    <a:pt x="8875" y="10357"/>
                    <a:pt x="8875" y="10357"/>
                    <a:pt x="8875" y="10357"/>
                  </a:cubicBezTo>
                  <a:cubicBezTo>
                    <a:pt x="9051" y="10627"/>
                    <a:pt x="9051" y="10627"/>
                    <a:pt x="9051" y="10627"/>
                  </a:cubicBezTo>
                  <a:cubicBezTo>
                    <a:pt x="9314" y="10704"/>
                    <a:pt x="9314" y="10704"/>
                    <a:pt x="9314" y="10704"/>
                  </a:cubicBezTo>
                  <a:cubicBezTo>
                    <a:pt x="9665" y="10896"/>
                    <a:pt x="9665" y="10896"/>
                    <a:pt x="9665" y="10896"/>
                  </a:cubicBezTo>
                  <a:cubicBezTo>
                    <a:pt x="9797" y="11166"/>
                    <a:pt x="9797" y="11166"/>
                    <a:pt x="9797" y="11166"/>
                  </a:cubicBezTo>
                  <a:cubicBezTo>
                    <a:pt x="10104" y="11435"/>
                    <a:pt x="10104" y="11435"/>
                    <a:pt x="10104" y="11435"/>
                  </a:cubicBezTo>
                  <a:cubicBezTo>
                    <a:pt x="10280" y="11512"/>
                    <a:pt x="10280" y="11512"/>
                    <a:pt x="10280" y="11512"/>
                  </a:cubicBezTo>
                  <a:cubicBezTo>
                    <a:pt x="10368" y="11666"/>
                    <a:pt x="10368" y="11666"/>
                    <a:pt x="10368" y="11666"/>
                  </a:cubicBezTo>
                  <a:cubicBezTo>
                    <a:pt x="10543" y="11743"/>
                    <a:pt x="10543" y="11743"/>
                    <a:pt x="10543" y="11743"/>
                  </a:cubicBezTo>
                  <a:cubicBezTo>
                    <a:pt x="10719" y="11782"/>
                    <a:pt x="10719" y="11782"/>
                    <a:pt x="10719" y="11782"/>
                  </a:cubicBezTo>
                  <a:cubicBezTo>
                    <a:pt x="10983" y="11820"/>
                    <a:pt x="10983" y="11820"/>
                    <a:pt x="10983" y="11820"/>
                  </a:cubicBezTo>
                  <a:cubicBezTo>
                    <a:pt x="11158" y="11974"/>
                    <a:pt x="11158" y="11974"/>
                    <a:pt x="11158" y="11974"/>
                  </a:cubicBezTo>
                  <a:cubicBezTo>
                    <a:pt x="11158" y="11974"/>
                    <a:pt x="11246" y="12051"/>
                    <a:pt x="11246" y="12090"/>
                  </a:cubicBezTo>
                  <a:cubicBezTo>
                    <a:pt x="11246" y="12167"/>
                    <a:pt x="11158" y="12205"/>
                    <a:pt x="11290" y="12205"/>
                  </a:cubicBezTo>
                  <a:cubicBezTo>
                    <a:pt x="11422" y="12205"/>
                    <a:pt x="11553" y="12167"/>
                    <a:pt x="11553" y="12167"/>
                  </a:cubicBezTo>
                  <a:cubicBezTo>
                    <a:pt x="11817" y="12128"/>
                    <a:pt x="11817" y="12128"/>
                    <a:pt x="11817" y="12128"/>
                  </a:cubicBezTo>
                  <a:cubicBezTo>
                    <a:pt x="11992" y="12128"/>
                    <a:pt x="11992" y="12128"/>
                    <a:pt x="11992" y="12128"/>
                  </a:cubicBezTo>
                  <a:cubicBezTo>
                    <a:pt x="12168" y="12128"/>
                    <a:pt x="12168" y="12128"/>
                    <a:pt x="12168" y="12128"/>
                  </a:cubicBezTo>
                  <a:cubicBezTo>
                    <a:pt x="12475" y="12090"/>
                    <a:pt x="12475" y="12090"/>
                    <a:pt x="12475" y="12090"/>
                  </a:cubicBezTo>
                  <a:cubicBezTo>
                    <a:pt x="12651" y="12205"/>
                    <a:pt x="12651" y="12205"/>
                    <a:pt x="12651" y="12205"/>
                  </a:cubicBezTo>
                  <a:cubicBezTo>
                    <a:pt x="13134" y="12706"/>
                    <a:pt x="13134" y="12706"/>
                    <a:pt x="13134" y="12706"/>
                  </a:cubicBezTo>
                  <a:cubicBezTo>
                    <a:pt x="13134" y="12706"/>
                    <a:pt x="13265" y="12898"/>
                    <a:pt x="13265" y="12975"/>
                  </a:cubicBezTo>
                  <a:cubicBezTo>
                    <a:pt x="13265" y="13014"/>
                    <a:pt x="13441" y="12975"/>
                    <a:pt x="13485" y="12975"/>
                  </a:cubicBezTo>
                  <a:cubicBezTo>
                    <a:pt x="13529" y="12975"/>
                    <a:pt x="13880" y="12975"/>
                    <a:pt x="13880" y="12975"/>
                  </a:cubicBezTo>
                  <a:cubicBezTo>
                    <a:pt x="14143" y="13129"/>
                    <a:pt x="14143" y="13129"/>
                    <a:pt x="14143" y="13129"/>
                  </a:cubicBezTo>
                  <a:cubicBezTo>
                    <a:pt x="13968" y="13322"/>
                    <a:pt x="13968" y="13322"/>
                    <a:pt x="13968" y="13322"/>
                  </a:cubicBezTo>
                  <a:cubicBezTo>
                    <a:pt x="14231" y="13437"/>
                    <a:pt x="14231" y="13437"/>
                    <a:pt x="14231" y="13437"/>
                  </a:cubicBezTo>
                  <a:cubicBezTo>
                    <a:pt x="14363" y="13283"/>
                    <a:pt x="14363" y="13283"/>
                    <a:pt x="14363" y="13283"/>
                  </a:cubicBezTo>
                  <a:cubicBezTo>
                    <a:pt x="14626" y="13322"/>
                    <a:pt x="14626" y="13322"/>
                    <a:pt x="14626" y="13322"/>
                  </a:cubicBezTo>
                  <a:cubicBezTo>
                    <a:pt x="14846" y="13476"/>
                    <a:pt x="14846" y="13476"/>
                    <a:pt x="14846" y="13476"/>
                  </a:cubicBezTo>
                  <a:cubicBezTo>
                    <a:pt x="14890" y="13591"/>
                    <a:pt x="14890" y="13591"/>
                    <a:pt x="14890" y="13591"/>
                  </a:cubicBezTo>
                  <a:cubicBezTo>
                    <a:pt x="15022" y="13668"/>
                    <a:pt x="15022" y="13668"/>
                    <a:pt x="15022" y="13668"/>
                  </a:cubicBezTo>
                  <a:cubicBezTo>
                    <a:pt x="14978" y="13861"/>
                    <a:pt x="14978" y="13861"/>
                    <a:pt x="14978" y="13861"/>
                  </a:cubicBezTo>
                  <a:cubicBezTo>
                    <a:pt x="14978" y="13976"/>
                    <a:pt x="14978" y="13976"/>
                    <a:pt x="14978" y="13976"/>
                  </a:cubicBezTo>
                  <a:cubicBezTo>
                    <a:pt x="15065" y="14130"/>
                    <a:pt x="15065" y="14130"/>
                    <a:pt x="15065" y="14130"/>
                  </a:cubicBezTo>
                  <a:cubicBezTo>
                    <a:pt x="15285" y="14207"/>
                    <a:pt x="15285" y="14207"/>
                    <a:pt x="15285" y="14207"/>
                  </a:cubicBezTo>
                  <a:cubicBezTo>
                    <a:pt x="15504" y="14323"/>
                    <a:pt x="15504" y="14323"/>
                    <a:pt x="15504" y="14323"/>
                  </a:cubicBezTo>
                  <a:cubicBezTo>
                    <a:pt x="15636" y="14400"/>
                    <a:pt x="15636" y="14400"/>
                    <a:pt x="15636" y="14400"/>
                  </a:cubicBezTo>
                  <a:cubicBezTo>
                    <a:pt x="15812" y="14400"/>
                    <a:pt x="15812" y="14400"/>
                    <a:pt x="15812" y="14400"/>
                  </a:cubicBezTo>
                  <a:cubicBezTo>
                    <a:pt x="16075" y="14361"/>
                    <a:pt x="16075" y="14361"/>
                    <a:pt x="16075" y="14361"/>
                  </a:cubicBezTo>
                  <a:cubicBezTo>
                    <a:pt x="16383" y="14400"/>
                    <a:pt x="16383" y="14400"/>
                    <a:pt x="16383" y="14400"/>
                  </a:cubicBezTo>
                  <a:cubicBezTo>
                    <a:pt x="16646" y="14785"/>
                    <a:pt x="16646" y="14785"/>
                    <a:pt x="16646" y="14785"/>
                  </a:cubicBezTo>
                  <a:cubicBezTo>
                    <a:pt x="16778" y="15132"/>
                    <a:pt x="16778" y="15132"/>
                    <a:pt x="16778" y="15132"/>
                  </a:cubicBezTo>
                  <a:cubicBezTo>
                    <a:pt x="16953" y="15440"/>
                    <a:pt x="16953" y="15440"/>
                    <a:pt x="16953" y="15440"/>
                  </a:cubicBezTo>
                  <a:cubicBezTo>
                    <a:pt x="17085" y="15632"/>
                    <a:pt x="17085" y="15632"/>
                    <a:pt x="17085" y="15632"/>
                  </a:cubicBezTo>
                  <a:cubicBezTo>
                    <a:pt x="17173" y="15940"/>
                    <a:pt x="17173" y="15940"/>
                    <a:pt x="17173" y="15940"/>
                  </a:cubicBezTo>
                  <a:cubicBezTo>
                    <a:pt x="17304" y="16094"/>
                    <a:pt x="17304" y="16094"/>
                    <a:pt x="17304" y="16094"/>
                  </a:cubicBezTo>
                  <a:cubicBezTo>
                    <a:pt x="17524" y="16479"/>
                    <a:pt x="17524" y="16479"/>
                    <a:pt x="17524" y="16479"/>
                  </a:cubicBezTo>
                  <a:cubicBezTo>
                    <a:pt x="17612" y="16633"/>
                    <a:pt x="17612" y="16633"/>
                    <a:pt x="17612" y="16633"/>
                  </a:cubicBezTo>
                  <a:cubicBezTo>
                    <a:pt x="17524" y="16826"/>
                    <a:pt x="17524" y="16826"/>
                    <a:pt x="17524" y="16826"/>
                  </a:cubicBezTo>
                  <a:cubicBezTo>
                    <a:pt x="17524" y="16826"/>
                    <a:pt x="17436" y="17018"/>
                    <a:pt x="17392" y="17018"/>
                  </a:cubicBezTo>
                  <a:cubicBezTo>
                    <a:pt x="17392" y="17057"/>
                    <a:pt x="17261" y="17095"/>
                    <a:pt x="17217" y="17095"/>
                  </a:cubicBezTo>
                  <a:cubicBezTo>
                    <a:pt x="17173" y="17134"/>
                    <a:pt x="17129" y="17134"/>
                    <a:pt x="17085" y="17172"/>
                  </a:cubicBezTo>
                  <a:cubicBezTo>
                    <a:pt x="17041" y="17211"/>
                    <a:pt x="16997" y="17326"/>
                    <a:pt x="16997" y="17326"/>
                  </a:cubicBezTo>
                  <a:cubicBezTo>
                    <a:pt x="17129" y="17557"/>
                    <a:pt x="17129" y="17557"/>
                    <a:pt x="17129" y="17557"/>
                  </a:cubicBezTo>
                  <a:cubicBezTo>
                    <a:pt x="17085" y="17827"/>
                    <a:pt x="17085" y="17827"/>
                    <a:pt x="17085" y="17827"/>
                  </a:cubicBezTo>
                  <a:cubicBezTo>
                    <a:pt x="16997" y="18058"/>
                    <a:pt x="16997" y="18058"/>
                    <a:pt x="16997" y="18058"/>
                  </a:cubicBezTo>
                  <a:close/>
                  <a:moveTo>
                    <a:pt x="2465" y="13283"/>
                  </a:moveTo>
                  <a:cubicBezTo>
                    <a:pt x="2465" y="13283"/>
                    <a:pt x="2465" y="13283"/>
                    <a:pt x="2465" y="13283"/>
                  </a:cubicBezTo>
                  <a:cubicBezTo>
                    <a:pt x="2597" y="12898"/>
                    <a:pt x="2597" y="12898"/>
                    <a:pt x="2597" y="12898"/>
                  </a:cubicBezTo>
                  <a:cubicBezTo>
                    <a:pt x="2773" y="12744"/>
                    <a:pt x="2773" y="12744"/>
                    <a:pt x="2773" y="12744"/>
                  </a:cubicBezTo>
                  <a:cubicBezTo>
                    <a:pt x="2729" y="12937"/>
                    <a:pt x="2729" y="12937"/>
                    <a:pt x="2729" y="12937"/>
                  </a:cubicBezTo>
                  <a:cubicBezTo>
                    <a:pt x="2685" y="13168"/>
                    <a:pt x="2685" y="13168"/>
                    <a:pt x="2685" y="13168"/>
                  </a:cubicBezTo>
                  <a:cubicBezTo>
                    <a:pt x="2685" y="13168"/>
                    <a:pt x="3036" y="13283"/>
                    <a:pt x="3080" y="13283"/>
                  </a:cubicBezTo>
                  <a:cubicBezTo>
                    <a:pt x="3124" y="13283"/>
                    <a:pt x="3168" y="13206"/>
                    <a:pt x="3256" y="13168"/>
                  </a:cubicBezTo>
                  <a:cubicBezTo>
                    <a:pt x="3300" y="13129"/>
                    <a:pt x="3607" y="13129"/>
                    <a:pt x="3607" y="13129"/>
                  </a:cubicBezTo>
                  <a:cubicBezTo>
                    <a:pt x="3607" y="13129"/>
                    <a:pt x="3651" y="13014"/>
                    <a:pt x="3695" y="12937"/>
                  </a:cubicBezTo>
                  <a:cubicBezTo>
                    <a:pt x="3739" y="12860"/>
                    <a:pt x="3958" y="12667"/>
                    <a:pt x="4002" y="12629"/>
                  </a:cubicBezTo>
                  <a:cubicBezTo>
                    <a:pt x="4046" y="12629"/>
                    <a:pt x="4134" y="12552"/>
                    <a:pt x="4178" y="12552"/>
                  </a:cubicBezTo>
                  <a:cubicBezTo>
                    <a:pt x="4222" y="12513"/>
                    <a:pt x="4441" y="12436"/>
                    <a:pt x="4441" y="12436"/>
                  </a:cubicBezTo>
                  <a:cubicBezTo>
                    <a:pt x="5012" y="12629"/>
                    <a:pt x="5012" y="12629"/>
                    <a:pt x="5012" y="12629"/>
                  </a:cubicBezTo>
                  <a:cubicBezTo>
                    <a:pt x="5100" y="12937"/>
                    <a:pt x="5100" y="12937"/>
                    <a:pt x="5100" y="12937"/>
                  </a:cubicBezTo>
                  <a:cubicBezTo>
                    <a:pt x="5407" y="13437"/>
                    <a:pt x="5407" y="13437"/>
                    <a:pt x="5407" y="13437"/>
                  </a:cubicBezTo>
                  <a:cubicBezTo>
                    <a:pt x="5495" y="13668"/>
                    <a:pt x="5495" y="13668"/>
                    <a:pt x="5495" y="13668"/>
                  </a:cubicBezTo>
                  <a:cubicBezTo>
                    <a:pt x="5495" y="13668"/>
                    <a:pt x="5626" y="13784"/>
                    <a:pt x="5583" y="13899"/>
                  </a:cubicBezTo>
                  <a:cubicBezTo>
                    <a:pt x="5539" y="14053"/>
                    <a:pt x="5275" y="14439"/>
                    <a:pt x="5275" y="14439"/>
                  </a:cubicBezTo>
                  <a:cubicBezTo>
                    <a:pt x="5275" y="14670"/>
                    <a:pt x="5275" y="14670"/>
                    <a:pt x="5275" y="14670"/>
                  </a:cubicBezTo>
                  <a:cubicBezTo>
                    <a:pt x="5451" y="14978"/>
                    <a:pt x="5451" y="14978"/>
                    <a:pt x="5451" y="14978"/>
                  </a:cubicBezTo>
                  <a:cubicBezTo>
                    <a:pt x="5187" y="15555"/>
                    <a:pt x="5187" y="15555"/>
                    <a:pt x="5187" y="15555"/>
                  </a:cubicBezTo>
                  <a:cubicBezTo>
                    <a:pt x="5319" y="15979"/>
                    <a:pt x="5319" y="15979"/>
                    <a:pt x="5319" y="15979"/>
                  </a:cubicBezTo>
                  <a:cubicBezTo>
                    <a:pt x="5231" y="16556"/>
                    <a:pt x="5231" y="16556"/>
                    <a:pt x="5231" y="16556"/>
                  </a:cubicBezTo>
                  <a:cubicBezTo>
                    <a:pt x="5187" y="16864"/>
                    <a:pt x="5187" y="16864"/>
                    <a:pt x="5187" y="16864"/>
                  </a:cubicBezTo>
                  <a:cubicBezTo>
                    <a:pt x="5187" y="16864"/>
                    <a:pt x="5012" y="17018"/>
                    <a:pt x="4924" y="16980"/>
                  </a:cubicBezTo>
                  <a:cubicBezTo>
                    <a:pt x="4836" y="16941"/>
                    <a:pt x="4397" y="16672"/>
                    <a:pt x="4397" y="16672"/>
                  </a:cubicBezTo>
                  <a:cubicBezTo>
                    <a:pt x="4222" y="16633"/>
                    <a:pt x="4222" y="16633"/>
                    <a:pt x="4222" y="16633"/>
                  </a:cubicBezTo>
                  <a:cubicBezTo>
                    <a:pt x="4090" y="16903"/>
                    <a:pt x="4090" y="16903"/>
                    <a:pt x="4090" y="16903"/>
                  </a:cubicBezTo>
                  <a:cubicBezTo>
                    <a:pt x="4134" y="17095"/>
                    <a:pt x="4134" y="17095"/>
                    <a:pt x="4134" y="17095"/>
                  </a:cubicBezTo>
                  <a:cubicBezTo>
                    <a:pt x="3914" y="17442"/>
                    <a:pt x="3914" y="17442"/>
                    <a:pt x="3914" y="17442"/>
                  </a:cubicBezTo>
                  <a:cubicBezTo>
                    <a:pt x="3695" y="17442"/>
                    <a:pt x="3695" y="17442"/>
                    <a:pt x="3695" y="17442"/>
                  </a:cubicBezTo>
                  <a:cubicBezTo>
                    <a:pt x="3431" y="17365"/>
                    <a:pt x="3431" y="17365"/>
                    <a:pt x="3431" y="17365"/>
                  </a:cubicBezTo>
                  <a:cubicBezTo>
                    <a:pt x="3168" y="17057"/>
                    <a:pt x="3168" y="17057"/>
                    <a:pt x="3168" y="17057"/>
                  </a:cubicBezTo>
                  <a:cubicBezTo>
                    <a:pt x="3168" y="17057"/>
                    <a:pt x="3168" y="17134"/>
                    <a:pt x="3080" y="17172"/>
                  </a:cubicBezTo>
                  <a:cubicBezTo>
                    <a:pt x="2992" y="17172"/>
                    <a:pt x="2861" y="17134"/>
                    <a:pt x="2861" y="17134"/>
                  </a:cubicBezTo>
                  <a:cubicBezTo>
                    <a:pt x="2948" y="16903"/>
                    <a:pt x="2948" y="16903"/>
                    <a:pt x="2948" y="16903"/>
                  </a:cubicBezTo>
                  <a:cubicBezTo>
                    <a:pt x="2861" y="16633"/>
                    <a:pt x="2861" y="16633"/>
                    <a:pt x="2861" y="16633"/>
                  </a:cubicBezTo>
                  <a:cubicBezTo>
                    <a:pt x="2948" y="16364"/>
                    <a:pt x="2948" y="16364"/>
                    <a:pt x="2948" y="16364"/>
                  </a:cubicBezTo>
                  <a:cubicBezTo>
                    <a:pt x="2948" y="15979"/>
                    <a:pt x="2948" y="15979"/>
                    <a:pt x="2948" y="15979"/>
                  </a:cubicBezTo>
                  <a:cubicBezTo>
                    <a:pt x="3036" y="15825"/>
                    <a:pt x="3036" y="15825"/>
                    <a:pt x="3036" y="15825"/>
                  </a:cubicBezTo>
                  <a:cubicBezTo>
                    <a:pt x="3080" y="15632"/>
                    <a:pt x="3080" y="15632"/>
                    <a:pt x="3080" y="15632"/>
                  </a:cubicBezTo>
                  <a:cubicBezTo>
                    <a:pt x="3212" y="15401"/>
                    <a:pt x="3212" y="15401"/>
                    <a:pt x="3212" y="15401"/>
                  </a:cubicBezTo>
                  <a:cubicBezTo>
                    <a:pt x="3168" y="15209"/>
                    <a:pt x="3168" y="15209"/>
                    <a:pt x="3168" y="15209"/>
                  </a:cubicBezTo>
                  <a:cubicBezTo>
                    <a:pt x="3080" y="15247"/>
                    <a:pt x="3080" y="15247"/>
                    <a:pt x="3080" y="15247"/>
                  </a:cubicBezTo>
                  <a:cubicBezTo>
                    <a:pt x="2817" y="15016"/>
                    <a:pt x="2817" y="15016"/>
                    <a:pt x="2817" y="15016"/>
                  </a:cubicBezTo>
                  <a:cubicBezTo>
                    <a:pt x="2817" y="15016"/>
                    <a:pt x="2904" y="14939"/>
                    <a:pt x="2992" y="14862"/>
                  </a:cubicBezTo>
                  <a:cubicBezTo>
                    <a:pt x="3080" y="14785"/>
                    <a:pt x="3080" y="14747"/>
                    <a:pt x="3080" y="14670"/>
                  </a:cubicBezTo>
                  <a:cubicBezTo>
                    <a:pt x="3080" y="14593"/>
                    <a:pt x="3036" y="14400"/>
                    <a:pt x="2992" y="14400"/>
                  </a:cubicBezTo>
                  <a:cubicBezTo>
                    <a:pt x="2948" y="14361"/>
                    <a:pt x="2861" y="14284"/>
                    <a:pt x="2861" y="14284"/>
                  </a:cubicBezTo>
                  <a:cubicBezTo>
                    <a:pt x="2861" y="14053"/>
                    <a:pt x="2861" y="14053"/>
                    <a:pt x="2861" y="14053"/>
                  </a:cubicBezTo>
                  <a:cubicBezTo>
                    <a:pt x="2861" y="14053"/>
                    <a:pt x="2817" y="13938"/>
                    <a:pt x="2773" y="13938"/>
                  </a:cubicBezTo>
                  <a:cubicBezTo>
                    <a:pt x="2685" y="13899"/>
                    <a:pt x="2465" y="13784"/>
                    <a:pt x="2465" y="13784"/>
                  </a:cubicBezTo>
                  <a:cubicBezTo>
                    <a:pt x="2509" y="13514"/>
                    <a:pt x="2509" y="13514"/>
                    <a:pt x="2509" y="13514"/>
                  </a:cubicBezTo>
                  <a:cubicBezTo>
                    <a:pt x="2422" y="13437"/>
                    <a:pt x="2422" y="13437"/>
                    <a:pt x="2422" y="13437"/>
                  </a:cubicBezTo>
                  <a:lnTo>
                    <a:pt x="2465" y="13283"/>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5" name="Shape 2258">
              <a:extLst>
                <a:ext uri="{FF2B5EF4-FFF2-40B4-BE49-F238E27FC236}">
                  <a16:creationId xmlns:a16="http://schemas.microsoft.com/office/drawing/2014/main" id="{3AE8E41C-56F3-FAEB-3B27-BAF3B6A0484E}"/>
                </a:ext>
              </a:extLst>
            </p:cNvPr>
            <p:cNvSpPr/>
            <p:nvPr/>
          </p:nvSpPr>
          <p:spPr>
            <a:xfrm>
              <a:off x="5289094" y="5323396"/>
              <a:ext cx="1521112" cy="1056553"/>
            </a:xfrm>
            <a:custGeom>
              <a:avLst/>
              <a:gdLst/>
              <a:ahLst/>
              <a:cxnLst>
                <a:cxn ang="0">
                  <a:pos x="wd2" y="hd2"/>
                </a:cxn>
                <a:cxn ang="5400000">
                  <a:pos x="wd2" y="hd2"/>
                </a:cxn>
                <a:cxn ang="10800000">
                  <a:pos x="wd2" y="hd2"/>
                </a:cxn>
                <a:cxn ang="16200000">
                  <a:pos x="wd2" y="hd2"/>
                </a:cxn>
              </a:cxnLst>
              <a:rect l="0" t="0" r="r" b="b"/>
              <a:pathLst>
                <a:path w="21600" h="21451" extrusionOk="0">
                  <a:moveTo>
                    <a:pt x="4039" y="4953"/>
                  </a:moveTo>
                  <a:cubicBezTo>
                    <a:pt x="4039" y="4953"/>
                    <a:pt x="4039" y="4953"/>
                    <a:pt x="4039" y="4953"/>
                  </a:cubicBezTo>
                  <a:cubicBezTo>
                    <a:pt x="3863" y="5035"/>
                    <a:pt x="3863" y="5035"/>
                    <a:pt x="3863" y="5035"/>
                  </a:cubicBezTo>
                  <a:cubicBezTo>
                    <a:pt x="3746" y="5197"/>
                    <a:pt x="3746" y="5197"/>
                    <a:pt x="3746" y="5197"/>
                  </a:cubicBezTo>
                  <a:cubicBezTo>
                    <a:pt x="3629" y="5684"/>
                    <a:pt x="3629" y="5684"/>
                    <a:pt x="3629" y="5684"/>
                  </a:cubicBezTo>
                  <a:cubicBezTo>
                    <a:pt x="3629" y="5684"/>
                    <a:pt x="3629" y="5684"/>
                    <a:pt x="3629" y="5684"/>
                  </a:cubicBezTo>
                  <a:cubicBezTo>
                    <a:pt x="3454" y="5928"/>
                    <a:pt x="3454" y="5928"/>
                    <a:pt x="3454" y="5928"/>
                  </a:cubicBezTo>
                  <a:cubicBezTo>
                    <a:pt x="3454" y="5928"/>
                    <a:pt x="3454" y="5928"/>
                    <a:pt x="3454" y="5928"/>
                  </a:cubicBezTo>
                  <a:cubicBezTo>
                    <a:pt x="3395" y="6334"/>
                    <a:pt x="3395" y="6334"/>
                    <a:pt x="3395" y="6334"/>
                  </a:cubicBezTo>
                  <a:cubicBezTo>
                    <a:pt x="3395" y="6334"/>
                    <a:pt x="3454" y="6659"/>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37"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20" y="7552"/>
                    <a:pt x="3220" y="7552"/>
                    <a:pt x="3220" y="7552"/>
                  </a:cubicBezTo>
                  <a:cubicBezTo>
                    <a:pt x="2985" y="7877"/>
                    <a:pt x="2985" y="7877"/>
                    <a:pt x="2985" y="7877"/>
                  </a:cubicBezTo>
                  <a:cubicBezTo>
                    <a:pt x="2927" y="8283"/>
                    <a:pt x="2927" y="8283"/>
                    <a:pt x="2927" y="8283"/>
                  </a:cubicBezTo>
                  <a:cubicBezTo>
                    <a:pt x="2927" y="8526"/>
                    <a:pt x="2927" y="8526"/>
                    <a:pt x="2927" y="8526"/>
                  </a:cubicBezTo>
                  <a:cubicBezTo>
                    <a:pt x="2927" y="8526"/>
                    <a:pt x="2927" y="8526"/>
                    <a:pt x="2927" y="8526"/>
                  </a:cubicBezTo>
                  <a:cubicBezTo>
                    <a:pt x="2927" y="8526"/>
                    <a:pt x="2927" y="8526"/>
                    <a:pt x="2927" y="8526"/>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851"/>
                    <a:pt x="2927" y="8851"/>
                    <a:pt x="2868" y="8851"/>
                  </a:cubicBezTo>
                  <a:cubicBezTo>
                    <a:pt x="2751" y="8932"/>
                    <a:pt x="2693" y="9095"/>
                    <a:pt x="2693" y="9095"/>
                  </a:cubicBezTo>
                  <a:cubicBezTo>
                    <a:pt x="2693" y="9663"/>
                    <a:pt x="2693" y="9663"/>
                    <a:pt x="2693" y="9663"/>
                  </a:cubicBezTo>
                  <a:cubicBezTo>
                    <a:pt x="2634" y="9826"/>
                    <a:pt x="2634" y="9826"/>
                    <a:pt x="2634" y="9826"/>
                  </a:cubicBezTo>
                  <a:cubicBezTo>
                    <a:pt x="2517" y="10069"/>
                    <a:pt x="2517" y="10069"/>
                    <a:pt x="2517" y="10069"/>
                  </a:cubicBezTo>
                  <a:cubicBezTo>
                    <a:pt x="2576" y="10394"/>
                    <a:pt x="2576" y="10394"/>
                    <a:pt x="2576" y="10394"/>
                  </a:cubicBezTo>
                  <a:cubicBezTo>
                    <a:pt x="2576" y="10394"/>
                    <a:pt x="2576" y="10394"/>
                    <a:pt x="2576" y="10394"/>
                  </a:cubicBezTo>
                  <a:cubicBezTo>
                    <a:pt x="2459" y="10638"/>
                    <a:pt x="2459" y="10638"/>
                    <a:pt x="2459" y="10638"/>
                  </a:cubicBezTo>
                  <a:cubicBezTo>
                    <a:pt x="2517" y="11044"/>
                    <a:pt x="2517" y="11044"/>
                    <a:pt x="2517" y="11044"/>
                  </a:cubicBezTo>
                  <a:cubicBezTo>
                    <a:pt x="2400" y="11287"/>
                    <a:pt x="2400" y="11287"/>
                    <a:pt x="2400" y="11287"/>
                  </a:cubicBezTo>
                  <a:cubicBezTo>
                    <a:pt x="2341" y="11368"/>
                    <a:pt x="2341" y="11368"/>
                    <a:pt x="2341" y="11368"/>
                  </a:cubicBezTo>
                  <a:cubicBezTo>
                    <a:pt x="2283" y="11612"/>
                    <a:pt x="2283" y="11612"/>
                    <a:pt x="2283" y="11612"/>
                  </a:cubicBezTo>
                  <a:cubicBezTo>
                    <a:pt x="2166" y="12018"/>
                    <a:pt x="2166" y="12018"/>
                    <a:pt x="2166" y="12018"/>
                  </a:cubicBezTo>
                  <a:cubicBezTo>
                    <a:pt x="1698" y="12586"/>
                    <a:pt x="1698" y="12586"/>
                    <a:pt x="1698" y="12586"/>
                  </a:cubicBezTo>
                  <a:cubicBezTo>
                    <a:pt x="1522" y="12505"/>
                    <a:pt x="1522" y="12505"/>
                    <a:pt x="1522" y="12505"/>
                  </a:cubicBezTo>
                  <a:cubicBezTo>
                    <a:pt x="1405" y="12586"/>
                    <a:pt x="1405" y="12586"/>
                    <a:pt x="1405" y="12586"/>
                  </a:cubicBezTo>
                  <a:cubicBezTo>
                    <a:pt x="1288" y="12749"/>
                    <a:pt x="1288" y="12749"/>
                    <a:pt x="1288" y="12749"/>
                  </a:cubicBezTo>
                  <a:cubicBezTo>
                    <a:pt x="1288" y="12749"/>
                    <a:pt x="1346" y="12749"/>
                    <a:pt x="1229" y="12911"/>
                  </a:cubicBezTo>
                  <a:cubicBezTo>
                    <a:pt x="1112" y="12992"/>
                    <a:pt x="878" y="13074"/>
                    <a:pt x="878" y="13074"/>
                  </a:cubicBezTo>
                  <a:cubicBezTo>
                    <a:pt x="761" y="13074"/>
                    <a:pt x="761" y="13074"/>
                    <a:pt x="761" y="13074"/>
                  </a:cubicBezTo>
                  <a:cubicBezTo>
                    <a:pt x="351" y="13074"/>
                    <a:pt x="351" y="13074"/>
                    <a:pt x="351" y="13074"/>
                  </a:cubicBezTo>
                  <a:cubicBezTo>
                    <a:pt x="351" y="13074"/>
                    <a:pt x="351" y="13074"/>
                    <a:pt x="351" y="13074"/>
                  </a:cubicBezTo>
                  <a:cubicBezTo>
                    <a:pt x="351" y="13074"/>
                    <a:pt x="351" y="13074"/>
                    <a:pt x="351" y="13074"/>
                  </a:cubicBezTo>
                  <a:cubicBezTo>
                    <a:pt x="351" y="13074"/>
                    <a:pt x="293" y="12992"/>
                    <a:pt x="234" y="13074"/>
                  </a:cubicBezTo>
                  <a:cubicBezTo>
                    <a:pt x="234" y="13074"/>
                    <a:pt x="176" y="13074"/>
                    <a:pt x="176" y="13074"/>
                  </a:cubicBezTo>
                  <a:cubicBezTo>
                    <a:pt x="176" y="13074"/>
                    <a:pt x="176" y="13074"/>
                    <a:pt x="176"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59" y="13074"/>
                    <a:pt x="59" y="13074"/>
                    <a:pt x="59" y="13074"/>
                  </a:cubicBezTo>
                  <a:cubicBezTo>
                    <a:pt x="59" y="13074"/>
                    <a:pt x="59" y="13074"/>
                    <a:pt x="59" y="13074"/>
                  </a:cubicBezTo>
                  <a:cubicBezTo>
                    <a:pt x="59" y="13074"/>
                    <a:pt x="59" y="13074"/>
                    <a:pt x="59" y="13074"/>
                  </a:cubicBezTo>
                  <a:cubicBezTo>
                    <a:pt x="59" y="13074"/>
                    <a:pt x="59" y="13074"/>
                    <a:pt x="59" y="13074"/>
                  </a:cubicBezTo>
                  <a:cubicBezTo>
                    <a:pt x="59" y="13074"/>
                    <a:pt x="59" y="13074"/>
                    <a:pt x="59" y="13074"/>
                  </a:cubicBezTo>
                  <a:cubicBezTo>
                    <a:pt x="59" y="13074"/>
                    <a:pt x="59" y="13074"/>
                    <a:pt x="59"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59" y="13155"/>
                    <a:pt x="117" y="13155"/>
                  </a:cubicBezTo>
                  <a:cubicBezTo>
                    <a:pt x="234" y="13236"/>
                    <a:pt x="293" y="13480"/>
                    <a:pt x="351" y="13480"/>
                  </a:cubicBezTo>
                  <a:cubicBezTo>
                    <a:pt x="468" y="13561"/>
                    <a:pt x="585" y="13561"/>
                    <a:pt x="644" y="13561"/>
                  </a:cubicBezTo>
                  <a:cubicBezTo>
                    <a:pt x="702" y="13642"/>
                    <a:pt x="820" y="13723"/>
                    <a:pt x="820" y="13723"/>
                  </a:cubicBezTo>
                  <a:cubicBezTo>
                    <a:pt x="820" y="13723"/>
                    <a:pt x="1112" y="14129"/>
                    <a:pt x="1171" y="14129"/>
                  </a:cubicBezTo>
                  <a:cubicBezTo>
                    <a:pt x="1229" y="14129"/>
                    <a:pt x="1229" y="14129"/>
                    <a:pt x="1288" y="14292"/>
                  </a:cubicBezTo>
                  <a:cubicBezTo>
                    <a:pt x="1346" y="14373"/>
                    <a:pt x="1522" y="14292"/>
                    <a:pt x="1522" y="14292"/>
                  </a:cubicBezTo>
                  <a:cubicBezTo>
                    <a:pt x="1522" y="14292"/>
                    <a:pt x="1580" y="14535"/>
                    <a:pt x="1522" y="14617"/>
                  </a:cubicBezTo>
                  <a:cubicBezTo>
                    <a:pt x="1522" y="14698"/>
                    <a:pt x="1522" y="14941"/>
                    <a:pt x="1522" y="14941"/>
                  </a:cubicBezTo>
                  <a:cubicBezTo>
                    <a:pt x="1522" y="14941"/>
                    <a:pt x="1522" y="15023"/>
                    <a:pt x="1522" y="15104"/>
                  </a:cubicBezTo>
                  <a:cubicBezTo>
                    <a:pt x="1580" y="15266"/>
                    <a:pt x="1639" y="15266"/>
                    <a:pt x="1639" y="15429"/>
                  </a:cubicBezTo>
                  <a:cubicBezTo>
                    <a:pt x="1698" y="15510"/>
                    <a:pt x="1639" y="15510"/>
                    <a:pt x="1698" y="15591"/>
                  </a:cubicBezTo>
                  <a:cubicBezTo>
                    <a:pt x="1756" y="15672"/>
                    <a:pt x="1815" y="15835"/>
                    <a:pt x="1873" y="15835"/>
                  </a:cubicBezTo>
                  <a:cubicBezTo>
                    <a:pt x="1932" y="15835"/>
                    <a:pt x="1990" y="15835"/>
                    <a:pt x="2166" y="15916"/>
                  </a:cubicBezTo>
                  <a:cubicBezTo>
                    <a:pt x="2341" y="16078"/>
                    <a:pt x="2400" y="16078"/>
                    <a:pt x="2459" y="16159"/>
                  </a:cubicBezTo>
                  <a:cubicBezTo>
                    <a:pt x="2576" y="16241"/>
                    <a:pt x="2517" y="16159"/>
                    <a:pt x="2693" y="16241"/>
                  </a:cubicBezTo>
                  <a:cubicBezTo>
                    <a:pt x="2927" y="16322"/>
                    <a:pt x="2868" y="16241"/>
                    <a:pt x="2927" y="16322"/>
                  </a:cubicBezTo>
                  <a:cubicBezTo>
                    <a:pt x="2985" y="16322"/>
                    <a:pt x="2927" y="16241"/>
                    <a:pt x="3044" y="16322"/>
                  </a:cubicBezTo>
                  <a:cubicBezTo>
                    <a:pt x="3220" y="16322"/>
                    <a:pt x="3337" y="16403"/>
                    <a:pt x="3337" y="16403"/>
                  </a:cubicBezTo>
                  <a:cubicBezTo>
                    <a:pt x="3337" y="16565"/>
                    <a:pt x="3337" y="16565"/>
                    <a:pt x="3337" y="16565"/>
                  </a:cubicBezTo>
                  <a:cubicBezTo>
                    <a:pt x="3220" y="16890"/>
                    <a:pt x="3220" y="16890"/>
                    <a:pt x="3220" y="16890"/>
                  </a:cubicBezTo>
                  <a:cubicBezTo>
                    <a:pt x="3220" y="17134"/>
                    <a:pt x="3220" y="17134"/>
                    <a:pt x="3220" y="17134"/>
                  </a:cubicBezTo>
                  <a:cubicBezTo>
                    <a:pt x="3220" y="17134"/>
                    <a:pt x="3102" y="17134"/>
                    <a:pt x="3220" y="17215"/>
                  </a:cubicBezTo>
                  <a:cubicBezTo>
                    <a:pt x="3337" y="17296"/>
                    <a:pt x="3571" y="17377"/>
                    <a:pt x="3571" y="17377"/>
                  </a:cubicBezTo>
                  <a:cubicBezTo>
                    <a:pt x="3746" y="17540"/>
                    <a:pt x="3746" y="17540"/>
                    <a:pt x="3746" y="17540"/>
                  </a:cubicBezTo>
                  <a:cubicBezTo>
                    <a:pt x="3746" y="17540"/>
                    <a:pt x="3629" y="17783"/>
                    <a:pt x="3571" y="17865"/>
                  </a:cubicBezTo>
                  <a:cubicBezTo>
                    <a:pt x="3512" y="17865"/>
                    <a:pt x="3337" y="17865"/>
                    <a:pt x="3337" y="17865"/>
                  </a:cubicBezTo>
                  <a:cubicBezTo>
                    <a:pt x="3337" y="17865"/>
                    <a:pt x="3278" y="18108"/>
                    <a:pt x="3395" y="18108"/>
                  </a:cubicBezTo>
                  <a:cubicBezTo>
                    <a:pt x="3454" y="18189"/>
                    <a:pt x="3571" y="18189"/>
                    <a:pt x="3629" y="18189"/>
                  </a:cubicBezTo>
                  <a:cubicBezTo>
                    <a:pt x="3688" y="18189"/>
                    <a:pt x="3805" y="18271"/>
                    <a:pt x="3805" y="18271"/>
                  </a:cubicBezTo>
                  <a:cubicBezTo>
                    <a:pt x="3805" y="18271"/>
                    <a:pt x="3863" y="18271"/>
                    <a:pt x="3922" y="18352"/>
                  </a:cubicBezTo>
                  <a:cubicBezTo>
                    <a:pt x="3922" y="18514"/>
                    <a:pt x="3980" y="18595"/>
                    <a:pt x="4039" y="18595"/>
                  </a:cubicBezTo>
                  <a:cubicBezTo>
                    <a:pt x="4098" y="18595"/>
                    <a:pt x="4215" y="18595"/>
                    <a:pt x="4273" y="18595"/>
                  </a:cubicBezTo>
                  <a:cubicBezTo>
                    <a:pt x="4332" y="18595"/>
                    <a:pt x="4332" y="18514"/>
                    <a:pt x="4390" y="18514"/>
                  </a:cubicBezTo>
                  <a:cubicBezTo>
                    <a:pt x="4449" y="18595"/>
                    <a:pt x="4800" y="18514"/>
                    <a:pt x="4800" y="18514"/>
                  </a:cubicBezTo>
                  <a:cubicBezTo>
                    <a:pt x="4800" y="18514"/>
                    <a:pt x="4800" y="18514"/>
                    <a:pt x="4859" y="18677"/>
                  </a:cubicBezTo>
                  <a:cubicBezTo>
                    <a:pt x="4976" y="18920"/>
                    <a:pt x="5151" y="19002"/>
                    <a:pt x="5151" y="19002"/>
                  </a:cubicBezTo>
                  <a:cubicBezTo>
                    <a:pt x="5151" y="19002"/>
                    <a:pt x="5210" y="19083"/>
                    <a:pt x="5210" y="19002"/>
                  </a:cubicBezTo>
                  <a:cubicBezTo>
                    <a:pt x="5210" y="18920"/>
                    <a:pt x="5268" y="18839"/>
                    <a:pt x="5268" y="18839"/>
                  </a:cubicBezTo>
                  <a:cubicBezTo>
                    <a:pt x="5268" y="18839"/>
                    <a:pt x="5385" y="18595"/>
                    <a:pt x="5385" y="18514"/>
                  </a:cubicBezTo>
                  <a:cubicBezTo>
                    <a:pt x="5444" y="18433"/>
                    <a:pt x="5502" y="18189"/>
                    <a:pt x="5561" y="18189"/>
                  </a:cubicBezTo>
                  <a:cubicBezTo>
                    <a:pt x="5620" y="18108"/>
                    <a:pt x="5795" y="17946"/>
                    <a:pt x="5795" y="17946"/>
                  </a:cubicBezTo>
                  <a:cubicBezTo>
                    <a:pt x="5795" y="17946"/>
                    <a:pt x="5795" y="17865"/>
                    <a:pt x="5912" y="17946"/>
                  </a:cubicBezTo>
                  <a:cubicBezTo>
                    <a:pt x="5971" y="18108"/>
                    <a:pt x="6146" y="18271"/>
                    <a:pt x="6146" y="18271"/>
                  </a:cubicBezTo>
                  <a:cubicBezTo>
                    <a:pt x="6439" y="18271"/>
                    <a:pt x="6439" y="18271"/>
                    <a:pt x="6439" y="18271"/>
                  </a:cubicBezTo>
                  <a:cubicBezTo>
                    <a:pt x="6439" y="18271"/>
                    <a:pt x="6615" y="18352"/>
                    <a:pt x="6615" y="18433"/>
                  </a:cubicBezTo>
                  <a:cubicBezTo>
                    <a:pt x="6615" y="18514"/>
                    <a:pt x="6556" y="18514"/>
                    <a:pt x="6439" y="18595"/>
                  </a:cubicBezTo>
                  <a:cubicBezTo>
                    <a:pt x="6380" y="18595"/>
                    <a:pt x="6205" y="18352"/>
                    <a:pt x="6205" y="18433"/>
                  </a:cubicBezTo>
                  <a:cubicBezTo>
                    <a:pt x="6146" y="18514"/>
                    <a:pt x="6146" y="18677"/>
                    <a:pt x="6146" y="18677"/>
                  </a:cubicBezTo>
                  <a:cubicBezTo>
                    <a:pt x="5912" y="18839"/>
                    <a:pt x="5912" y="18839"/>
                    <a:pt x="5912" y="18839"/>
                  </a:cubicBezTo>
                  <a:cubicBezTo>
                    <a:pt x="5971" y="19002"/>
                    <a:pt x="5971" y="19002"/>
                    <a:pt x="5971" y="19002"/>
                  </a:cubicBezTo>
                  <a:cubicBezTo>
                    <a:pt x="5971" y="19002"/>
                    <a:pt x="6263" y="19164"/>
                    <a:pt x="6263" y="19245"/>
                  </a:cubicBezTo>
                  <a:cubicBezTo>
                    <a:pt x="6263" y="19326"/>
                    <a:pt x="6263" y="19489"/>
                    <a:pt x="6263" y="19489"/>
                  </a:cubicBezTo>
                  <a:cubicBezTo>
                    <a:pt x="6439" y="19570"/>
                    <a:pt x="6439" y="19570"/>
                    <a:pt x="6439" y="19570"/>
                  </a:cubicBezTo>
                  <a:cubicBezTo>
                    <a:pt x="6556" y="19489"/>
                    <a:pt x="6556" y="19489"/>
                    <a:pt x="6556" y="19489"/>
                  </a:cubicBezTo>
                  <a:cubicBezTo>
                    <a:pt x="6556" y="19814"/>
                    <a:pt x="6556" y="19814"/>
                    <a:pt x="6556" y="19814"/>
                  </a:cubicBezTo>
                  <a:cubicBezTo>
                    <a:pt x="6556" y="20138"/>
                    <a:pt x="6556" y="20138"/>
                    <a:pt x="6556" y="20138"/>
                  </a:cubicBezTo>
                  <a:cubicBezTo>
                    <a:pt x="6556" y="20138"/>
                    <a:pt x="6556" y="20138"/>
                    <a:pt x="6556" y="20138"/>
                  </a:cubicBezTo>
                  <a:cubicBezTo>
                    <a:pt x="6556" y="20138"/>
                    <a:pt x="6556" y="20138"/>
                    <a:pt x="6556" y="20138"/>
                  </a:cubicBezTo>
                  <a:cubicBezTo>
                    <a:pt x="6966" y="19976"/>
                    <a:pt x="7317" y="20301"/>
                    <a:pt x="7493" y="20301"/>
                  </a:cubicBezTo>
                  <a:cubicBezTo>
                    <a:pt x="7844" y="20382"/>
                    <a:pt x="7083" y="20950"/>
                    <a:pt x="7200" y="20950"/>
                  </a:cubicBezTo>
                  <a:cubicBezTo>
                    <a:pt x="7317" y="20869"/>
                    <a:pt x="7200" y="21356"/>
                    <a:pt x="7376" y="21438"/>
                  </a:cubicBezTo>
                  <a:cubicBezTo>
                    <a:pt x="7668" y="21519"/>
                    <a:pt x="7902" y="21194"/>
                    <a:pt x="8254" y="21194"/>
                  </a:cubicBezTo>
                  <a:cubicBezTo>
                    <a:pt x="8546" y="21113"/>
                    <a:pt x="8898" y="21356"/>
                    <a:pt x="9015" y="21194"/>
                  </a:cubicBezTo>
                  <a:cubicBezTo>
                    <a:pt x="9249" y="20788"/>
                    <a:pt x="10185" y="21600"/>
                    <a:pt x="10654" y="21194"/>
                  </a:cubicBezTo>
                  <a:cubicBezTo>
                    <a:pt x="10946" y="20869"/>
                    <a:pt x="12117" y="20707"/>
                    <a:pt x="12527" y="20707"/>
                  </a:cubicBezTo>
                  <a:cubicBezTo>
                    <a:pt x="13580" y="20626"/>
                    <a:pt x="13639" y="20626"/>
                    <a:pt x="14107" y="20220"/>
                  </a:cubicBezTo>
                  <a:cubicBezTo>
                    <a:pt x="14107" y="20220"/>
                    <a:pt x="14400" y="19326"/>
                    <a:pt x="14576" y="18920"/>
                  </a:cubicBezTo>
                  <a:cubicBezTo>
                    <a:pt x="14693" y="18595"/>
                    <a:pt x="15044" y="18433"/>
                    <a:pt x="15395" y="18108"/>
                  </a:cubicBezTo>
                  <a:cubicBezTo>
                    <a:pt x="15688" y="17783"/>
                    <a:pt x="16449" y="17459"/>
                    <a:pt x="16624" y="17377"/>
                  </a:cubicBezTo>
                  <a:cubicBezTo>
                    <a:pt x="16800" y="17377"/>
                    <a:pt x="18029" y="17459"/>
                    <a:pt x="18029" y="17459"/>
                  </a:cubicBezTo>
                  <a:cubicBezTo>
                    <a:pt x="18673" y="17215"/>
                    <a:pt x="18673" y="17215"/>
                    <a:pt x="18673" y="17215"/>
                  </a:cubicBezTo>
                  <a:cubicBezTo>
                    <a:pt x="18673" y="17215"/>
                    <a:pt x="18790" y="17865"/>
                    <a:pt x="18966" y="17946"/>
                  </a:cubicBezTo>
                  <a:cubicBezTo>
                    <a:pt x="19727" y="18108"/>
                    <a:pt x="20195" y="18027"/>
                    <a:pt x="20254" y="17459"/>
                  </a:cubicBezTo>
                  <a:cubicBezTo>
                    <a:pt x="20312" y="17053"/>
                    <a:pt x="20020" y="16322"/>
                    <a:pt x="19961" y="15753"/>
                  </a:cubicBezTo>
                  <a:cubicBezTo>
                    <a:pt x="19902" y="15104"/>
                    <a:pt x="20137" y="14454"/>
                    <a:pt x="20137" y="13886"/>
                  </a:cubicBezTo>
                  <a:cubicBezTo>
                    <a:pt x="20137" y="13805"/>
                    <a:pt x="20020" y="13642"/>
                    <a:pt x="20371" y="12992"/>
                  </a:cubicBezTo>
                  <a:cubicBezTo>
                    <a:pt x="20663" y="12343"/>
                    <a:pt x="21483" y="12668"/>
                    <a:pt x="21600" y="12262"/>
                  </a:cubicBezTo>
                  <a:cubicBezTo>
                    <a:pt x="21249" y="9988"/>
                    <a:pt x="21249" y="9988"/>
                    <a:pt x="21249" y="9988"/>
                  </a:cubicBezTo>
                  <a:cubicBezTo>
                    <a:pt x="21190" y="9988"/>
                    <a:pt x="21190" y="9988"/>
                    <a:pt x="21190" y="9988"/>
                  </a:cubicBezTo>
                  <a:cubicBezTo>
                    <a:pt x="21132" y="9988"/>
                    <a:pt x="21132" y="9988"/>
                    <a:pt x="21132" y="9988"/>
                  </a:cubicBezTo>
                  <a:cubicBezTo>
                    <a:pt x="21015" y="9907"/>
                    <a:pt x="21015" y="9907"/>
                    <a:pt x="21015" y="9907"/>
                  </a:cubicBezTo>
                  <a:cubicBezTo>
                    <a:pt x="20898" y="9907"/>
                    <a:pt x="20898" y="9907"/>
                    <a:pt x="20898" y="9907"/>
                  </a:cubicBezTo>
                  <a:cubicBezTo>
                    <a:pt x="20780" y="9826"/>
                    <a:pt x="20780" y="9826"/>
                    <a:pt x="20780" y="9826"/>
                  </a:cubicBezTo>
                  <a:cubicBezTo>
                    <a:pt x="20663" y="9744"/>
                    <a:pt x="20663" y="9744"/>
                    <a:pt x="20663" y="9744"/>
                  </a:cubicBezTo>
                  <a:cubicBezTo>
                    <a:pt x="20546" y="9744"/>
                    <a:pt x="20546" y="9744"/>
                    <a:pt x="20546" y="9744"/>
                  </a:cubicBezTo>
                  <a:cubicBezTo>
                    <a:pt x="20546" y="9744"/>
                    <a:pt x="20546" y="9744"/>
                    <a:pt x="20546" y="9744"/>
                  </a:cubicBezTo>
                  <a:cubicBezTo>
                    <a:pt x="20488" y="9744"/>
                    <a:pt x="20488" y="9744"/>
                    <a:pt x="20488" y="9744"/>
                  </a:cubicBezTo>
                  <a:cubicBezTo>
                    <a:pt x="20078" y="9663"/>
                    <a:pt x="19551" y="10962"/>
                    <a:pt x="19551" y="10962"/>
                  </a:cubicBezTo>
                  <a:cubicBezTo>
                    <a:pt x="19317" y="11531"/>
                    <a:pt x="19317" y="11531"/>
                    <a:pt x="19317" y="11531"/>
                  </a:cubicBezTo>
                  <a:cubicBezTo>
                    <a:pt x="18732" y="11368"/>
                    <a:pt x="18146" y="11287"/>
                    <a:pt x="17737" y="10638"/>
                  </a:cubicBezTo>
                  <a:cubicBezTo>
                    <a:pt x="17737" y="10394"/>
                    <a:pt x="17737" y="10394"/>
                    <a:pt x="17737" y="10394"/>
                  </a:cubicBezTo>
                  <a:cubicBezTo>
                    <a:pt x="17737" y="10394"/>
                    <a:pt x="17737" y="10394"/>
                    <a:pt x="17737" y="10394"/>
                  </a:cubicBezTo>
                  <a:cubicBezTo>
                    <a:pt x="17737" y="10394"/>
                    <a:pt x="17737" y="10394"/>
                    <a:pt x="17737" y="10394"/>
                  </a:cubicBezTo>
                  <a:cubicBezTo>
                    <a:pt x="17678" y="10313"/>
                    <a:pt x="17678" y="10313"/>
                    <a:pt x="17678" y="10313"/>
                  </a:cubicBezTo>
                  <a:cubicBezTo>
                    <a:pt x="17678" y="10313"/>
                    <a:pt x="17620" y="10313"/>
                    <a:pt x="17620" y="10313"/>
                  </a:cubicBezTo>
                  <a:cubicBezTo>
                    <a:pt x="17561" y="10313"/>
                    <a:pt x="17502" y="10232"/>
                    <a:pt x="17502" y="10232"/>
                  </a:cubicBezTo>
                  <a:cubicBezTo>
                    <a:pt x="17561" y="10069"/>
                    <a:pt x="17561" y="10069"/>
                    <a:pt x="17561" y="10069"/>
                  </a:cubicBezTo>
                  <a:cubicBezTo>
                    <a:pt x="17561" y="10069"/>
                    <a:pt x="17620" y="9988"/>
                    <a:pt x="17620" y="9988"/>
                  </a:cubicBezTo>
                  <a:cubicBezTo>
                    <a:pt x="17678" y="9988"/>
                    <a:pt x="17620" y="9988"/>
                    <a:pt x="17620" y="9907"/>
                  </a:cubicBezTo>
                  <a:cubicBezTo>
                    <a:pt x="17620" y="9907"/>
                    <a:pt x="17620" y="9744"/>
                    <a:pt x="17620" y="9663"/>
                  </a:cubicBezTo>
                  <a:cubicBezTo>
                    <a:pt x="17561" y="9582"/>
                    <a:pt x="17561" y="9582"/>
                    <a:pt x="17561" y="9582"/>
                  </a:cubicBezTo>
                  <a:cubicBezTo>
                    <a:pt x="17561" y="9582"/>
                    <a:pt x="17502" y="9420"/>
                    <a:pt x="17444" y="9338"/>
                  </a:cubicBezTo>
                  <a:cubicBezTo>
                    <a:pt x="17385" y="9338"/>
                    <a:pt x="17444" y="9257"/>
                    <a:pt x="17444" y="9257"/>
                  </a:cubicBezTo>
                  <a:cubicBezTo>
                    <a:pt x="17385" y="9176"/>
                    <a:pt x="17444" y="9176"/>
                    <a:pt x="17444" y="9095"/>
                  </a:cubicBezTo>
                  <a:cubicBezTo>
                    <a:pt x="17444" y="9095"/>
                    <a:pt x="17385" y="8932"/>
                    <a:pt x="17385" y="8932"/>
                  </a:cubicBezTo>
                  <a:cubicBezTo>
                    <a:pt x="17385" y="8932"/>
                    <a:pt x="17268" y="8689"/>
                    <a:pt x="17210" y="8526"/>
                  </a:cubicBezTo>
                  <a:cubicBezTo>
                    <a:pt x="17210" y="8445"/>
                    <a:pt x="17210" y="8364"/>
                    <a:pt x="17210" y="8364"/>
                  </a:cubicBezTo>
                  <a:cubicBezTo>
                    <a:pt x="17268" y="8283"/>
                    <a:pt x="17151" y="8202"/>
                    <a:pt x="17151" y="8202"/>
                  </a:cubicBezTo>
                  <a:cubicBezTo>
                    <a:pt x="17151" y="8202"/>
                    <a:pt x="17151" y="8039"/>
                    <a:pt x="17151" y="8039"/>
                  </a:cubicBezTo>
                  <a:cubicBezTo>
                    <a:pt x="17151" y="8039"/>
                    <a:pt x="17151" y="7877"/>
                    <a:pt x="17151" y="7877"/>
                  </a:cubicBezTo>
                  <a:cubicBezTo>
                    <a:pt x="17210" y="7795"/>
                    <a:pt x="17151" y="7714"/>
                    <a:pt x="17151" y="7633"/>
                  </a:cubicBezTo>
                  <a:cubicBezTo>
                    <a:pt x="17151" y="7633"/>
                    <a:pt x="17034" y="7552"/>
                    <a:pt x="17034" y="7552"/>
                  </a:cubicBezTo>
                  <a:cubicBezTo>
                    <a:pt x="17093" y="7389"/>
                    <a:pt x="17093" y="7389"/>
                    <a:pt x="17093" y="7389"/>
                  </a:cubicBezTo>
                  <a:cubicBezTo>
                    <a:pt x="17093" y="7308"/>
                    <a:pt x="17093" y="7308"/>
                    <a:pt x="17093" y="7308"/>
                  </a:cubicBezTo>
                  <a:cubicBezTo>
                    <a:pt x="17093" y="7308"/>
                    <a:pt x="17151" y="7146"/>
                    <a:pt x="17151" y="7146"/>
                  </a:cubicBezTo>
                  <a:cubicBezTo>
                    <a:pt x="17210" y="7065"/>
                    <a:pt x="17151" y="6983"/>
                    <a:pt x="17093" y="6983"/>
                  </a:cubicBezTo>
                  <a:cubicBezTo>
                    <a:pt x="17034" y="6983"/>
                    <a:pt x="17093" y="6902"/>
                    <a:pt x="17093" y="6902"/>
                  </a:cubicBezTo>
                  <a:cubicBezTo>
                    <a:pt x="17151" y="6740"/>
                    <a:pt x="17151" y="6740"/>
                    <a:pt x="17151" y="6740"/>
                  </a:cubicBezTo>
                  <a:cubicBezTo>
                    <a:pt x="17093" y="6496"/>
                    <a:pt x="17093" y="6496"/>
                    <a:pt x="17093" y="6496"/>
                  </a:cubicBezTo>
                  <a:cubicBezTo>
                    <a:pt x="17093" y="6415"/>
                    <a:pt x="17093" y="6415"/>
                    <a:pt x="17093" y="6415"/>
                  </a:cubicBezTo>
                  <a:cubicBezTo>
                    <a:pt x="17093" y="6415"/>
                    <a:pt x="17034" y="6253"/>
                    <a:pt x="17034" y="6253"/>
                  </a:cubicBezTo>
                  <a:cubicBezTo>
                    <a:pt x="17034" y="6171"/>
                    <a:pt x="16976" y="6009"/>
                    <a:pt x="16976" y="6009"/>
                  </a:cubicBezTo>
                  <a:cubicBezTo>
                    <a:pt x="16976" y="6009"/>
                    <a:pt x="16976" y="5928"/>
                    <a:pt x="16976" y="5928"/>
                  </a:cubicBezTo>
                  <a:cubicBezTo>
                    <a:pt x="16976" y="5847"/>
                    <a:pt x="16976" y="5847"/>
                    <a:pt x="16976" y="5847"/>
                  </a:cubicBezTo>
                  <a:cubicBezTo>
                    <a:pt x="16976" y="5765"/>
                    <a:pt x="16917" y="5684"/>
                    <a:pt x="16859" y="5603"/>
                  </a:cubicBezTo>
                  <a:cubicBezTo>
                    <a:pt x="16800" y="5441"/>
                    <a:pt x="16800" y="5441"/>
                    <a:pt x="16800" y="5441"/>
                  </a:cubicBezTo>
                  <a:cubicBezTo>
                    <a:pt x="16800" y="5441"/>
                    <a:pt x="16683" y="5278"/>
                    <a:pt x="16624" y="5197"/>
                  </a:cubicBezTo>
                  <a:cubicBezTo>
                    <a:pt x="16624" y="5035"/>
                    <a:pt x="16624" y="5035"/>
                    <a:pt x="16566" y="4953"/>
                  </a:cubicBezTo>
                  <a:cubicBezTo>
                    <a:pt x="16566" y="4791"/>
                    <a:pt x="16449" y="4629"/>
                    <a:pt x="16390" y="4629"/>
                  </a:cubicBezTo>
                  <a:cubicBezTo>
                    <a:pt x="16390" y="4629"/>
                    <a:pt x="16332" y="4385"/>
                    <a:pt x="16332" y="4304"/>
                  </a:cubicBezTo>
                  <a:cubicBezTo>
                    <a:pt x="16273" y="4304"/>
                    <a:pt x="16156" y="4223"/>
                    <a:pt x="16156" y="4223"/>
                  </a:cubicBezTo>
                  <a:cubicBezTo>
                    <a:pt x="16098" y="4223"/>
                    <a:pt x="15980" y="4141"/>
                    <a:pt x="15980" y="4141"/>
                  </a:cubicBezTo>
                  <a:cubicBezTo>
                    <a:pt x="15805" y="4060"/>
                    <a:pt x="15805" y="4060"/>
                    <a:pt x="15805" y="4060"/>
                  </a:cubicBezTo>
                  <a:cubicBezTo>
                    <a:pt x="15629" y="3817"/>
                    <a:pt x="15629" y="3817"/>
                    <a:pt x="15629" y="3817"/>
                  </a:cubicBezTo>
                  <a:cubicBezTo>
                    <a:pt x="15629" y="3817"/>
                    <a:pt x="15571" y="3817"/>
                    <a:pt x="15512" y="3735"/>
                  </a:cubicBezTo>
                  <a:cubicBezTo>
                    <a:pt x="15512" y="3735"/>
                    <a:pt x="15454" y="3573"/>
                    <a:pt x="15454" y="3573"/>
                  </a:cubicBezTo>
                  <a:cubicBezTo>
                    <a:pt x="15395" y="3411"/>
                    <a:pt x="15395" y="3411"/>
                    <a:pt x="15395" y="3411"/>
                  </a:cubicBezTo>
                  <a:cubicBezTo>
                    <a:pt x="15044" y="3248"/>
                    <a:pt x="15044" y="3248"/>
                    <a:pt x="15044" y="3248"/>
                  </a:cubicBezTo>
                  <a:cubicBezTo>
                    <a:pt x="15044" y="3248"/>
                    <a:pt x="14985" y="3086"/>
                    <a:pt x="14985" y="3086"/>
                  </a:cubicBezTo>
                  <a:cubicBezTo>
                    <a:pt x="14985" y="3005"/>
                    <a:pt x="14927" y="3005"/>
                    <a:pt x="14927" y="2923"/>
                  </a:cubicBezTo>
                  <a:cubicBezTo>
                    <a:pt x="14927" y="2842"/>
                    <a:pt x="14868" y="2842"/>
                    <a:pt x="14868" y="2761"/>
                  </a:cubicBezTo>
                  <a:cubicBezTo>
                    <a:pt x="14868" y="2680"/>
                    <a:pt x="14810" y="2680"/>
                    <a:pt x="14810" y="2680"/>
                  </a:cubicBezTo>
                  <a:cubicBezTo>
                    <a:pt x="14751" y="2680"/>
                    <a:pt x="14693" y="2680"/>
                    <a:pt x="14693" y="2680"/>
                  </a:cubicBezTo>
                  <a:cubicBezTo>
                    <a:pt x="14693" y="2680"/>
                    <a:pt x="14634" y="2598"/>
                    <a:pt x="14634" y="2598"/>
                  </a:cubicBezTo>
                  <a:cubicBezTo>
                    <a:pt x="14634" y="2598"/>
                    <a:pt x="14517" y="2436"/>
                    <a:pt x="14459" y="2436"/>
                  </a:cubicBezTo>
                  <a:cubicBezTo>
                    <a:pt x="14459" y="2355"/>
                    <a:pt x="14459" y="2355"/>
                    <a:pt x="14459" y="2355"/>
                  </a:cubicBezTo>
                  <a:cubicBezTo>
                    <a:pt x="14459" y="2355"/>
                    <a:pt x="14459" y="2355"/>
                    <a:pt x="14400" y="2355"/>
                  </a:cubicBezTo>
                  <a:cubicBezTo>
                    <a:pt x="14341" y="2355"/>
                    <a:pt x="14341" y="2355"/>
                    <a:pt x="14341" y="2274"/>
                  </a:cubicBezTo>
                  <a:cubicBezTo>
                    <a:pt x="14283" y="2274"/>
                    <a:pt x="14283" y="2111"/>
                    <a:pt x="14224" y="2111"/>
                  </a:cubicBezTo>
                  <a:cubicBezTo>
                    <a:pt x="14224" y="2111"/>
                    <a:pt x="14224" y="2111"/>
                    <a:pt x="14166" y="2111"/>
                  </a:cubicBezTo>
                  <a:cubicBezTo>
                    <a:pt x="14107" y="2111"/>
                    <a:pt x="14049" y="1949"/>
                    <a:pt x="14049" y="1949"/>
                  </a:cubicBezTo>
                  <a:cubicBezTo>
                    <a:pt x="13990" y="1949"/>
                    <a:pt x="14049" y="1868"/>
                    <a:pt x="14049" y="1786"/>
                  </a:cubicBezTo>
                  <a:cubicBezTo>
                    <a:pt x="14049" y="1705"/>
                    <a:pt x="13990" y="1705"/>
                    <a:pt x="13990" y="1705"/>
                  </a:cubicBezTo>
                  <a:cubicBezTo>
                    <a:pt x="13990" y="1705"/>
                    <a:pt x="13990" y="1705"/>
                    <a:pt x="13990" y="1705"/>
                  </a:cubicBezTo>
                  <a:cubicBezTo>
                    <a:pt x="13990" y="1705"/>
                    <a:pt x="13932" y="1705"/>
                    <a:pt x="13932" y="1624"/>
                  </a:cubicBezTo>
                  <a:cubicBezTo>
                    <a:pt x="13932" y="1624"/>
                    <a:pt x="13873" y="1543"/>
                    <a:pt x="13873" y="1462"/>
                  </a:cubicBezTo>
                  <a:cubicBezTo>
                    <a:pt x="13873" y="1380"/>
                    <a:pt x="13873" y="1380"/>
                    <a:pt x="13873" y="1380"/>
                  </a:cubicBezTo>
                  <a:cubicBezTo>
                    <a:pt x="13873" y="1380"/>
                    <a:pt x="13815" y="1299"/>
                    <a:pt x="13815" y="1299"/>
                  </a:cubicBezTo>
                  <a:cubicBezTo>
                    <a:pt x="13756" y="1218"/>
                    <a:pt x="13756" y="1218"/>
                    <a:pt x="13756" y="1218"/>
                  </a:cubicBezTo>
                  <a:cubicBezTo>
                    <a:pt x="13756" y="1137"/>
                    <a:pt x="13756" y="1137"/>
                    <a:pt x="13756" y="1137"/>
                  </a:cubicBezTo>
                  <a:cubicBezTo>
                    <a:pt x="13698" y="1137"/>
                    <a:pt x="13698" y="1137"/>
                    <a:pt x="13698" y="1137"/>
                  </a:cubicBezTo>
                  <a:cubicBezTo>
                    <a:pt x="13639" y="1137"/>
                    <a:pt x="13639" y="1056"/>
                    <a:pt x="13639" y="974"/>
                  </a:cubicBezTo>
                  <a:cubicBezTo>
                    <a:pt x="13639" y="974"/>
                    <a:pt x="13639" y="974"/>
                    <a:pt x="13639" y="974"/>
                  </a:cubicBezTo>
                  <a:cubicBezTo>
                    <a:pt x="13580" y="893"/>
                    <a:pt x="13580" y="893"/>
                    <a:pt x="13580" y="893"/>
                  </a:cubicBezTo>
                  <a:cubicBezTo>
                    <a:pt x="13522" y="812"/>
                    <a:pt x="13522" y="812"/>
                    <a:pt x="13522" y="812"/>
                  </a:cubicBezTo>
                  <a:cubicBezTo>
                    <a:pt x="13463" y="731"/>
                    <a:pt x="13463" y="731"/>
                    <a:pt x="13463" y="731"/>
                  </a:cubicBezTo>
                  <a:cubicBezTo>
                    <a:pt x="13463" y="731"/>
                    <a:pt x="13405" y="650"/>
                    <a:pt x="13405" y="650"/>
                  </a:cubicBezTo>
                  <a:cubicBezTo>
                    <a:pt x="13346" y="568"/>
                    <a:pt x="13288" y="487"/>
                    <a:pt x="13288" y="487"/>
                  </a:cubicBezTo>
                  <a:cubicBezTo>
                    <a:pt x="13288" y="487"/>
                    <a:pt x="13288" y="406"/>
                    <a:pt x="13288" y="406"/>
                  </a:cubicBezTo>
                  <a:cubicBezTo>
                    <a:pt x="13288" y="406"/>
                    <a:pt x="13229" y="406"/>
                    <a:pt x="13229" y="406"/>
                  </a:cubicBezTo>
                  <a:cubicBezTo>
                    <a:pt x="13112" y="406"/>
                    <a:pt x="13112" y="406"/>
                    <a:pt x="13112" y="406"/>
                  </a:cubicBezTo>
                  <a:cubicBezTo>
                    <a:pt x="13112" y="244"/>
                    <a:pt x="13112" y="244"/>
                    <a:pt x="13112" y="244"/>
                  </a:cubicBezTo>
                  <a:cubicBezTo>
                    <a:pt x="13112" y="244"/>
                    <a:pt x="13112" y="244"/>
                    <a:pt x="13054" y="244"/>
                  </a:cubicBezTo>
                  <a:cubicBezTo>
                    <a:pt x="12995" y="244"/>
                    <a:pt x="12995" y="162"/>
                    <a:pt x="12995" y="162"/>
                  </a:cubicBezTo>
                  <a:cubicBezTo>
                    <a:pt x="12995" y="81"/>
                    <a:pt x="12995" y="81"/>
                    <a:pt x="12995" y="81"/>
                  </a:cubicBezTo>
                  <a:cubicBezTo>
                    <a:pt x="12820" y="162"/>
                    <a:pt x="12820" y="162"/>
                    <a:pt x="12820" y="162"/>
                  </a:cubicBezTo>
                  <a:cubicBezTo>
                    <a:pt x="12820" y="162"/>
                    <a:pt x="12820" y="162"/>
                    <a:pt x="12820" y="162"/>
                  </a:cubicBezTo>
                  <a:cubicBezTo>
                    <a:pt x="12820" y="162"/>
                    <a:pt x="12702" y="81"/>
                    <a:pt x="12702" y="81"/>
                  </a:cubicBezTo>
                  <a:cubicBezTo>
                    <a:pt x="12702" y="0"/>
                    <a:pt x="12644" y="0"/>
                    <a:pt x="12644" y="0"/>
                  </a:cubicBezTo>
                  <a:cubicBezTo>
                    <a:pt x="12585" y="81"/>
                    <a:pt x="12585" y="81"/>
                    <a:pt x="12585" y="81"/>
                  </a:cubicBezTo>
                  <a:cubicBezTo>
                    <a:pt x="12468" y="81"/>
                    <a:pt x="12468" y="81"/>
                    <a:pt x="12468" y="81"/>
                  </a:cubicBezTo>
                  <a:cubicBezTo>
                    <a:pt x="12410" y="81"/>
                    <a:pt x="12410" y="81"/>
                    <a:pt x="12410" y="81"/>
                  </a:cubicBezTo>
                  <a:cubicBezTo>
                    <a:pt x="12351" y="0"/>
                    <a:pt x="12351" y="0"/>
                    <a:pt x="12351" y="0"/>
                  </a:cubicBezTo>
                  <a:cubicBezTo>
                    <a:pt x="12176" y="81"/>
                    <a:pt x="12117" y="81"/>
                    <a:pt x="12117" y="81"/>
                  </a:cubicBezTo>
                  <a:cubicBezTo>
                    <a:pt x="11941" y="162"/>
                    <a:pt x="11649" y="406"/>
                    <a:pt x="11649" y="568"/>
                  </a:cubicBezTo>
                  <a:cubicBezTo>
                    <a:pt x="11590" y="731"/>
                    <a:pt x="11649" y="1137"/>
                    <a:pt x="11532" y="1218"/>
                  </a:cubicBezTo>
                  <a:cubicBezTo>
                    <a:pt x="11356" y="1218"/>
                    <a:pt x="11180" y="1624"/>
                    <a:pt x="11122" y="1624"/>
                  </a:cubicBezTo>
                  <a:cubicBezTo>
                    <a:pt x="10595" y="2030"/>
                    <a:pt x="10595" y="2030"/>
                    <a:pt x="10595" y="2030"/>
                  </a:cubicBezTo>
                  <a:cubicBezTo>
                    <a:pt x="10595" y="2030"/>
                    <a:pt x="10185" y="2274"/>
                    <a:pt x="9951" y="2274"/>
                  </a:cubicBezTo>
                  <a:cubicBezTo>
                    <a:pt x="9717" y="2355"/>
                    <a:pt x="9541" y="2598"/>
                    <a:pt x="9541" y="2598"/>
                  </a:cubicBezTo>
                  <a:cubicBezTo>
                    <a:pt x="9249" y="3167"/>
                    <a:pt x="9249" y="3167"/>
                    <a:pt x="9249" y="3167"/>
                  </a:cubicBezTo>
                  <a:cubicBezTo>
                    <a:pt x="8780" y="3248"/>
                    <a:pt x="8780" y="3248"/>
                    <a:pt x="8780" y="3248"/>
                  </a:cubicBezTo>
                  <a:cubicBezTo>
                    <a:pt x="8546" y="2923"/>
                    <a:pt x="8546" y="2923"/>
                    <a:pt x="8546" y="2923"/>
                  </a:cubicBezTo>
                  <a:cubicBezTo>
                    <a:pt x="8312" y="3005"/>
                    <a:pt x="8312" y="3005"/>
                    <a:pt x="8312" y="3005"/>
                  </a:cubicBezTo>
                  <a:cubicBezTo>
                    <a:pt x="8254" y="2923"/>
                    <a:pt x="8254" y="2923"/>
                    <a:pt x="8254" y="2923"/>
                  </a:cubicBezTo>
                  <a:cubicBezTo>
                    <a:pt x="8137" y="3005"/>
                    <a:pt x="8137" y="3005"/>
                    <a:pt x="8137" y="3005"/>
                  </a:cubicBezTo>
                  <a:cubicBezTo>
                    <a:pt x="7434" y="2923"/>
                    <a:pt x="7434" y="2923"/>
                    <a:pt x="7434" y="2923"/>
                  </a:cubicBezTo>
                  <a:cubicBezTo>
                    <a:pt x="7083" y="3167"/>
                    <a:pt x="7083" y="3167"/>
                    <a:pt x="7083" y="3167"/>
                  </a:cubicBezTo>
                  <a:cubicBezTo>
                    <a:pt x="6439" y="3086"/>
                    <a:pt x="6439" y="3086"/>
                    <a:pt x="6439" y="3086"/>
                  </a:cubicBezTo>
                  <a:cubicBezTo>
                    <a:pt x="6439" y="3086"/>
                    <a:pt x="5971" y="3167"/>
                    <a:pt x="5854" y="3167"/>
                  </a:cubicBezTo>
                  <a:cubicBezTo>
                    <a:pt x="5678" y="3167"/>
                    <a:pt x="5678" y="3167"/>
                    <a:pt x="5678" y="3167"/>
                  </a:cubicBezTo>
                  <a:cubicBezTo>
                    <a:pt x="5561" y="3086"/>
                    <a:pt x="5444" y="2923"/>
                    <a:pt x="5444" y="2923"/>
                  </a:cubicBezTo>
                  <a:cubicBezTo>
                    <a:pt x="5444" y="2923"/>
                    <a:pt x="5210" y="3005"/>
                    <a:pt x="5151" y="3086"/>
                  </a:cubicBezTo>
                  <a:cubicBezTo>
                    <a:pt x="5093" y="3167"/>
                    <a:pt x="4859" y="3573"/>
                    <a:pt x="4859" y="3573"/>
                  </a:cubicBezTo>
                  <a:cubicBezTo>
                    <a:pt x="4859" y="3654"/>
                    <a:pt x="4859" y="3654"/>
                    <a:pt x="4859" y="3654"/>
                  </a:cubicBezTo>
                  <a:cubicBezTo>
                    <a:pt x="4976" y="4060"/>
                    <a:pt x="4976" y="4060"/>
                    <a:pt x="4976" y="4060"/>
                  </a:cubicBezTo>
                  <a:cubicBezTo>
                    <a:pt x="4741" y="4304"/>
                    <a:pt x="4741" y="4304"/>
                    <a:pt x="4741" y="4304"/>
                  </a:cubicBezTo>
                  <a:cubicBezTo>
                    <a:pt x="4741" y="4304"/>
                    <a:pt x="4741" y="4304"/>
                    <a:pt x="4741" y="4304"/>
                  </a:cubicBezTo>
                  <a:cubicBezTo>
                    <a:pt x="4741" y="4304"/>
                    <a:pt x="4741" y="4304"/>
                    <a:pt x="4741" y="4304"/>
                  </a:cubicBezTo>
                  <a:cubicBezTo>
                    <a:pt x="4741" y="4304"/>
                    <a:pt x="4741" y="4304"/>
                    <a:pt x="4741" y="4304"/>
                  </a:cubicBezTo>
                  <a:cubicBezTo>
                    <a:pt x="4741" y="4304"/>
                    <a:pt x="4741" y="4304"/>
                    <a:pt x="4741" y="4304"/>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466"/>
                    <a:pt x="4683" y="4466"/>
                    <a:pt x="4624" y="4466"/>
                  </a:cubicBezTo>
                  <a:cubicBezTo>
                    <a:pt x="4624" y="4547"/>
                    <a:pt x="4566"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449" y="4629"/>
                    <a:pt x="4449" y="4629"/>
                    <a:pt x="4449" y="4629"/>
                  </a:cubicBezTo>
                  <a:cubicBezTo>
                    <a:pt x="4273" y="4872"/>
                    <a:pt x="4273" y="4872"/>
                    <a:pt x="4273" y="4872"/>
                  </a:cubicBezTo>
                  <a:cubicBezTo>
                    <a:pt x="4039" y="4953"/>
                    <a:pt x="4039" y="4953"/>
                    <a:pt x="4039" y="495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6" name="Shape 2259">
              <a:extLst>
                <a:ext uri="{FF2B5EF4-FFF2-40B4-BE49-F238E27FC236}">
                  <a16:creationId xmlns:a16="http://schemas.microsoft.com/office/drawing/2014/main" id="{DA65EDAD-4144-131B-3AA2-80DB4C19DF8A}"/>
                </a:ext>
              </a:extLst>
            </p:cNvPr>
            <p:cNvSpPr/>
            <p:nvPr/>
          </p:nvSpPr>
          <p:spPr>
            <a:xfrm>
              <a:off x="5489919" y="4189233"/>
              <a:ext cx="2523129" cy="1700813"/>
            </a:xfrm>
            <a:custGeom>
              <a:avLst/>
              <a:gdLst/>
              <a:ahLst/>
              <a:cxnLst>
                <a:cxn ang="0">
                  <a:pos x="wd2" y="hd2"/>
                </a:cxn>
                <a:cxn ang="5400000">
                  <a:pos x="wd2" y="hd2"/>
                </a:cxn>
                <a:cxn ang="10800000">
                  <a:pos x="wd2" y="hd2"/>
                </a:cxn>
                <a:cxn ang="16200000">
                  <a:pos x="wd2" y="hd2"/>
                </a:cxn>
              </a:cxnLst>
              <a:rect l="0" t="0" r="r" b="b"/>
              <a:pathLst>
                <a:path w="21514" h="21513" extrusionOk="0">
                  <a:moveTo>
                    <a:pt x="4960" y="15342"/>
                  </a:moveTo>
                  <a:cubicBezTo>
                    <a:pt x="4995" y="15342"/>
                    <a:pt x="5101" y="15089"/>
                    <a:pt x="5207" y="15089"/>
                  </a:cubicBezTo>
                  <a:cubicBezTo>
                    <a:pt x="5277" y="15038"/>
                    <a:pt x="5242" y="14785"/>
                    <a:pt x="5277" y="14684"/>
                  </a:cubicBezTo>
                  <a:cubicBezTo>
                    <a:pt x="5312" y="14583"/>
                    <a:pt x="5488" y="14380"/>
                    <a:pt x="5593" y="14330"/>
                  </a:cubicBezTo>
                  <a:cubicBezTo>
                    <a:pt x="5629" y="14330"/>
                    <a:pt x="5629" y="14330"/>
                    <a:pt x="5629" y="14330"/>
                  </a:cubicBezTo>
                  <a:cubicBezTo>
                    <a:pt x="5629" y="14229"/>
                    <a:pt x="5629" y="14229"/>
                    <a:pt x="5629" y="14229"/>
                  </a:cubicBezTo>
                  <a:cubicBezTo>
                    <a:pt x="5629" y="14229"/>
                    <a:pt x="5734" y="14178"/>
                    <a:pt x="5734" y="14128"/>
                  </a:cubicBezTo>
                  <a:cubicBezTo>
                    <a:pt x="5769" y="14128"/>
                    <a:pt x="5769" y="14178"/>
                    <a:pt x="5769" y="14178"/>
                  </a:cubicBezTo>
                  <a:cubicBezTo>
                    <a:pt x="5769" y="14178"/>
                    <a:pt x="5805" y="14229"/>
                    <a:pt x="5840" y="14229"/>
                  </a:cubicBezTo>
                  <a:cubicBezTo>
                    <a:pt x="5840" y="14229"/>
                    <a:pt x="5875" y="14178"/>
                    <a:pt x="5875" y="14178"/>
                  </a:cubicBezTo>
                  <a:cubicBezTo>
                    <a:pt x="5875" y="14128"/>
                    <a:pt x="5875" y="14077"/>
                    <a:pt x="5875" y="14077"/>
                  </a:cubicBezTo>
                  <a:cubicBezTo>
                    <a:pt x="5840" y="14026"/>
                    <a:pt x="5840" y="13976"/>
                    <a:pt x="5840" y="13976"/>
                  </a:cubicBezTo>
                  <a:cubicBezTo>
                    <a:pt x="5840" y="13976"/>
                    <a:pt x="5840" y="13976"/>
                    <a:pt x="5840" y="13976"/>
                  </a:cubicBezTo>
                  <a:cubicBezTo>
                    <a:pt x="5840" y="13976"/>
                    <a:pt x="5875" y="13976"/>
                    <a:pt x="5875" y="13976"/>
                  </a:cubicBezTo>
                  <a:cubicBezTo>
                    <a:pt x="5875" y="13976"/>
                    <a:pt x="5910" y="13925"/>
                    <a:pt x="5910" y="13925"/>
                  </a:cubicBezTo>
                  <a:cubicBezTo>
                    <a:pt x="5980" y="13976"/>
                    <a:pt x="5980" y="13976"/>
                    <a:pt x="5980" y="13976"/>
                  </a:cubicBezTo>
                  <a:cubicBezTo>
                    <a:pt x="5980" y="13976"/>
                    <a:pt x="6016" y="13976"/>
                    <a:pt x="6016" y="13976"/>
                  </a:cubicBezTo>
                  <a:cubicBezTo>
                    <a:pt x="6051" y="14026"/>
                    <a:pt x="6086" y="13925"/>
                    <a:pt x="6086" y="13925"/>
                  </a:cubicBezTo>
                  <a:cubicBezTo>
                    <a:pt x="6121" y="13875"/>
                    <a:pt x="6121" y="13875"/>
                    <a:pt x="6121" y="13875"/>
                  </a:cubicBezTo>
                  <a:cubicBezTo>
                    <a:pt x="6121" y="13875"/>
                    <a:pt x="6121" y="13875"/>
                    <a:pt x="6121" y="13824"/>
                  </a:cubicBezTo>
                  <a:cubicBezTo>
                    <a:pt x="6121" y="13824"/>
                    <a:pt x="6156" y="13824"/>
                    <a:pt x="6192" y="13824"/>
                  </a:cubicBezTo>
                  <a:cubicBezTo>
                    <a:pt x="6192" y="13824"/>
                    <a:pt x="6262" y="13824"/>
                    <a:pt x="6297" y="13824"/>
                  </a:cubicBezTo>
                  <a:cubicBezTo>
                    <a:pt x="6332" y="13824"/>
                    <a:pt x="6332" y="13824"/>
                    <a:pt x="6332" y="13824"/>
                  </a:cubicBezTo>
                  <a:cubicBezTo>
                    <a:pt x="6403" y="13773"/>
                    <a:pt x="6403" y="13773"/>
                    <a:pt x="6403" y="13773"/>
                  </a:cubicBezTo>
                  <a:cubicBezTo>
                    <a:pt x="6403" y="13773"/>
                    <a:pt x="6438" y="13723"/>
                    <a:pt x="6438" y="13723"/>
                  </a:cubicBezTo>
                  <a:cubicBezTo>
                    <a:pt x="6438" y="13672"/>
                    <a:pt x="6438" y="13622"/>
                    <a:pt x="6438" y="13622"/>
                  </a:cubicBezTo>
                  <a:cubicBezTo>
                    <a:pt x="6438" y="13571"/>
                    <a:pt x="6508" y="13571"/>
                    <a:pt x="6508" y="13571"/>
                  </a:cubicBezTo>
                  <a:cubicBezTo>
                    <a:pt x="6508" y="13571"/>
                    <a:pt x="6508" y="13571"/>
                    <a:pt x="6508" y="13571"/>
                  </a:cubicBezTo>
                  <a:cubicBezTo>
                    <a:pt x="6543" y="13571"/>
                    <a:pt x="6543" y="13622"/>
                    <a:pt x="6543" y="13622"/>
                  </a:cubicBezTo>
                  <a:cubicBezTo>
                    <a:pt x="6543" y="13622"/>
                    <a:pt x="6579" y="13571"/>
                    <a:pt x="6579" y="13571"/>
                  </a:cubicBezTo>
                  <a:cubicBezTo>
                    <a:pt x="6579" y="13520"/>
                    <a:pt x="6614" y="13520"/>
                    <a:pt x="6614" y="13520"/>
                  </a:cubicBezTo>
                  <a:cubicBezTo>
                    <a:pt x="6614" y="13520"/>
                    <a:pt x="6684" y="13470"/>
                    <a:pt x="6684" y="13419"/>
                  </a:cubicBezTo>
                  <a:cubicBezTo>
                    <a:pt x="6719" y="13369"/>
                    <a:pt x="6719" y="13419"/>
                    <a:pt x="6719" y="13318"/>
                  </a:cubicBezTo>
                  <a:cubicBezTo>
                    <a:pt x="6719" y="13268"/>
                    <a:pt x="6754" y="13318"/>
                    <a:pt x="6754" y="13369"/>
                  </a:cubicBezTo>
                  <a:cubicBezTo>
                    <a:pt x="6754" y="13369"/>
                    <a:pt x="6754" y="13369"/>
                    <a:pt x="6790" y="13419"/>
                  </a:cubicBezTo>
                  <a:cubicBezTo>
                    <a:pt x="6790" y="13419"/>
                    <a:pt x="6790" y="13419"/>
                    <a:pt x="6860" y="13419"/>
                  </a:cubicBezTo>
                  <a:cubicBezTo>
                    <a:pt x="6895" y="13470"/>
                    <a:pt x="6895" y="13369"/>
                    <a:pt x="6965" y="13369"/>
                  </a:cubicBezTo>
                  <a:cubicBezTo>
                    <a:pt x="7036" y="13369"/>
                    <a:pt x="7001" y="13369"/>
                    <a:pt x="7036" y="13419"/>
                  </a:cubicBezTo>
                  <a:cubicBezTo>
                    <a:pt x="7071" y="13419"/>
                    <a:pt x="7071" y="13419"/>
                    <a:pt x="7106" y="13419"/>
                  </a:cubicBezTo>
                  <a:cubicBezTo>
                    <a:pt x="7141" y="13470"/>
                    <a:pt x="7141" y="13470"/>
                    <a:pt x="7141" y="13470"/>
                  </a:cubicBezTo>
                  <a:cubicBezTo>
                    <a:pt x="7141" y="13470"/>
                    <a:pt x="7177" y="13470"/>
                    <a:pt x="7212" y="13520"/>
                  </a:cubicBezTo>
                  <a:cubicBezTo>
                    <a:pt x="721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58" y="13622"/>
                    <a:pt x="7458" y="13622"/>
                    <a:pt x="7458" y="13622"/>
                  </a:cubicBezTo>
                  <a:cubicBezTo>
                    <a:pt x="7458" y="13622"/>
                    <a:pt x="7458" y="13723"/>
                    <a:pt x="7493" y="13723"/>
                  </a:cubicBezTo>
                  <a:cubicBezTo>
                    <a:pt x="7493" y="13773"/>
                    <a:pt x="7493" y="13773"/>
                    <a:pt x="7528" y="13773"/>
                  </a:cubicBezTo>
                  <a:cubicBezTo>
                    <a:pt x="7528" y="13773"/>
                    <a:pt x="7564" y="13672"/>
                    <a:pt x="7564" y="13622"/>
                  </a:cubicBezTo>
                  <a:cubicBezTo>
                    <a:pt x="7564" y="13622"/>
                    <a:pt x="7599" y="13672"/>
                    <a:pt x="7599" y="13672"/>
                  </a:cubicBezTo>
                  <a:cubicBezTo>
                    <a:pt x="7599" y="13672"/>
                    <a:pt x="7599" y="13773"/>
                    <a:pt x="7634" y="13773"/>
                  </a:cubicBezTo>
                  <a:cubicBezTo>
                    <a:pt x="7634" y="13723"/>
                    <a:pt x="7669" y="13723"/>
                    <a:pt x="7669" y="13723"/>
                  </a:cubicBezTo>
                  <a:cubicBezTo>
                    <a:pt x="7704" y="13723"/>
                    <a:pt x="7669" y="13672"/>
                    <a:pt x="7669" y="13672"/>
                  </a:cubicBezTo>
                  <a:cubicBezTo>
                    <a:pt x="7669" y="13672"/>
                    <a:pt x="7704" y="13622"/>
                    <a:pt x="7704" y="13622"/>
                  </a:cubicBezTo>
                  <a:cubicBezTo>
                    <a:pt x="7739" y="13622"/>
                    <a:pt x="7810" y="13622"/>
                    <a:pt x="7810" y="13622"/>
                  </a:cubicBezTo>
                  <a:cubicBezTo>
                    <a:pt x="7845" y="13622"/>
                    <a:pt x="7845" y="13723"/>
                    <a:pt x="7845" y="13723"/>
                  </a:cubicBezTo>
                  <a:cubicBezTo>
                    <a:pt x="7845" y="13723"/>
                    <a:pt x="7810" y="13824"/>
                    <a:pt x="7810" y="13824"/>
                  </a:cubicBezTo>
                  <a:cubicBezTo>
                    <a:pt x="7810" y="13824"/>
                    <a:pt x="7775" y="13875"/>
                    <a:pt x="7775" y="13925"/>
                  </a:cubicBezTo>
                  <a:cubicBezTo>
                    <a:pt x="7775" y="13925"/>
                    <a:pt x="7775" y="13925"/>
                    <a:pt x="7810" y="13875"/>
                  </a:cubicBezTo>
                  <a:cubicBezTo>
                    <a:pt x="7880" y="13875"/>
                    <a:pt x="7845" y="13824"/>
                    <a:pt x="7845" y="13824"/>
                  </a:cubicBezTo>
                  <a:cubicBezTo>
                    <a:pt x="7880" y="13723"/>
                    <a:pt x="7880" y="13723"/>
                    <a:pt x="7880" y="13723"/>
                  </a:cubicBezTo>
                  <a:cubicBezTo>
                    <a:pt x="7880" y="13723"/>
                    <a:pt x="7950" y="13773"/>
                    <a:pt x="7950" y="13824"/>
                  </a:cubicBezTo>
                  <a:cubicBezTo>
                    <a:pt x="7950" y="13824"/>
                    <a:pt x="7950" y="13875"/>
                    <a:pt x="7950" y="13875"/>
                  </a:cubicBezTo>
                  <a:cubicBezTo>
                    <a:pt x="7950" y="13925"/>
                    <a:pt x="7986" y="13925"/>
                    <a:pt x="7986" y="13976"/>
                  </a:cubicBezTo>
                  <a:cubicBezTo>
                    <a:pt x="8021" y="14026"/>
                    <a:pt x="7986" y="13976"/>
                    <a:pt x="7986" y="13976"/>
                  </a:cubicBezTo>
                  <a:cubicBezTo>
                    <a:pt x="7986" y="13925"/>
                    <a:pt x="8021" y="13824"/>
                    <a:pt x="8021" y="13824"/>
                  </a:cubicBezTo>
                  <a:cubicBezTo>
                    <a:pt x="8056" y="13723"/>
                    <a:pt x="8056" y="13723"/>
                    <a:pt x="8056" y="13723"/>
                  </a:cubicBezTo>
                  <a:cubicBezTo>
                    <a:pt x="8056" y="13723"/>
                    <a:pt x="8197" y="13723"/>
                    <a:pt x="8337" y="13723"/>
                  </a:cubicBezTo>
                  <a:cubicBezTo>
                    <a:pt x="8478" y="13723"/>
                    <a:pt x="8373" y="13672"/>
                    <a:pt x="8373" y="13672"/>
                  </a:cubicBezTo>
                  <a:cubicBezTo>
                    <a:pt x="8443" y="13672"/>
                    <a:pt x="8443" y="13672"/>
                    <a:pt x="8443" y="13672"/>
                  </a:cubicBezTo>
                  <a:cubicBezTo>
                    <a:pt x="8478" y="13875"/>
                    <a:pt x="8478" y="13875"/>
                    <a:pt x="8478" y="13875"/>
                  </a:cubicBezTo>
                  <a:cubicBezTo>
                    <a:pt x="8478" y="13875"/>
                    <a:pt x="8549" y="13976"/>
                    <a:pt x="8584" y="13976"/>
                  </a:cubicBezTo>
                  <a:cubicBezTo>
                    <a:pt x="8619" y="14026"/>
                    <a:pt x="8619" y="14026"/>
                    <a:pt x="8689" y="14077"/>
                  </a:cubicBezTo>
                  <a:cubicBezTo>
                    <a:pt x="8795" y="14077"/>
                    <a:pt x="8760" y="14077"/>
                    <a:pt x="8760" y="14077"/>
                  </a:cubicBezTo>
                  <a:cubicBezTo>
                    <a:pt x="8795" y="14077"/>
                    <a:pt x="8795" y="13976"/>
                    <a:pt x="8830" y="13925"/>
                  </a:cubicBezTo>
                  <a:cubicBezTo>
                    <a:pt x="8830" y="13875"/>
                    <a:pt x="8865" y="13875"/>
                    <a:pt x="8865" y="13875"/>
                  </a:cubicBezTo>
                  <a:cubicBezTo>
                    <a:pt x="8865" y="13875"/>
                    <a:pt x="8936" y="13976"/>
                    <a:pt x="8936" y="13976"/>
                  </a:cubicBezTo>
                  <a:cubicBezTo>
                    <a:pt x="8971" y="14026"/>
                    <a:pt x="8971" y="14077"/>
                    <a:pt x="8971" y="14077"/>
                  </a:cubicBezTo>
                  <a:cubicBezTo>
                    <a:pt x="9076" y="14128"/>
                    <a:pt x="9076" y="14128"/>
                    <a:pt x="9076" y="14128"/>
                  </a:cubicBezTo>
                  <a:cubicBezTo>
                    <a:pt x="9076" y="14178"/>
                    <a:pt x="9076" y="14178"/>
                    <a:pt x="9076" y="14178"/>
                  </a:cubicBezTo>
                  <a:cubicBezTo>
                    <a:pt x="9076" y="14330"/>
                    <a:pt x="9076" y="14330"/>
                    <a:pt x="9076" y="14330"/>
                  </a:cubicBezTo>
                  <a:cubicBezTo>
                    <a:pt x="9147" y="14380"/>
                    <a:pt x="9147" y="14380"/>
                    <a:pt x="9147" y="14380"/>
                  </a:cubicBezTo>
                  <a:cubicBezTo>
                    <a:pt x="9111" y="14482"/>
                    <a:pt x="9111" y="14482"/>
                    <a:pt x="9111" y="14482"/>
                  </a:cubicBezTo>
                  <a:cubicBezTo>
                    <a:pt x="9111" y="14482"/>
                    <a:pt x="9147" y="14583"/>
                    <a:pt x="9147" y="14633"/>
                  </a:cubicBezTo>
                  <a:cubicBezTo>
                    <a:pt x="9147" y="14633"/>
                    <a:pt x="9182" y="14735"/>
                    <a:pt x="9182" y="14735"/>
                  </a:cubicBezTo>
                  <a:cubicBezTo>
                    <a:pt x="9182" y="14886"/>
                    <a:pt x="9182" y="14886"/>
                    <a:pt x="9182" y="14886"/>
                  </a:cubicBezTo>
                  <a:cubicBezTo>
                    <a:pt x="9147" y="14987"/>
                    <a:pt x="9147" y="14987"/>
                    <a:pt x="9147" y="14987"/>
                  </a:cubicBezTo>
                  <a:cubicBezTo>
                    <a:pt x="9182" y="15038"/>
                    <a:pt x="9182" y="15038"/>
                    <a:pt x="9182" y="15038"/>
                  </a:cubicBezTo>
                  <a:cubicBezTo>
                    <a:pt x="9182" y="15038"/>
                    <a:pt x="9182" y="15190"/>
                    <a:pt x="9217" y="15240"/>
                  </a:cubicBezTo>
                  <a:cubicBezTo>
                    <a:pt x="9252" y="15342"/>
                    <a:pt x="9287" y="15190"/>
                    <a:pt x="9287" y="15190"/>
                  </a:cubicBezTo>
                  <a:cubicBezTo>
                    <a:pt x="9358" y="15190"/>
                    <a:pt x="9358" y="15190"/>
                    <a:pt x="9358" y="15190"/>
                  </a:cubicBezTo>
                  <a:cubicBezTo>
                    <a:pt x="9428" y="15342"/>
                    <a:pt x="9428" y="15342"/>
                    <a:pt x="9428" y="15342"/>
                  </a:cubicBezTo>
                  <a:cubicBezTo>
                    <a:pt x="9463" y="15342"/>
                    <a:pt x="9463" y="15342"/>
                    <a:pt x="9463" y="15342"/>
                  </a:cubicBezTo>
                  <a:cubicBezTo>
                    <a:pt x="9534" y="15392"/>
                    <a:pt x="9534" y="15392"/>
                    <a:pt x="9534" y="15392"/>
                  </a:cubicBezTo>
                  <a:cubicBezTo>
                    <a:pt x="9569" y="15544"/>
                    <a:pt x="9569" y="15544"/>
                    <a:pt x="9569" y="15544"/>
                  </a:cubicBezTo>
                  <a:cubicBezTo>
                    <a:pt x="9639" y="15493"/>
                    <a:pt x="9639" y="15493"/>
                    <a:pt x="9639" y="15493"/>
                  </a:cubicBezTo>
                  <a:cubicBezTo>
                    <a:pt x="9674" y="15342"/>
                    <a:pt x="9674" y="15342"/>
                    <a:pt x="9674" y="15342"/>
                  </a:cubicBezTo>
                  <a:cubicBezTo>
                    <a:pt x="9745" y="15392"/>
                    <a:pt x="9745" y="15392"/>
                    <a:pt x="9745" y="15392"/>
                  </a:cubicBezTo>
                  <a:cubicBezTo>
                    <a:pt x="9815" y="15392"/>
                    <a:pt x="9815" y="15392"/>
                    <a:pt x="9815" y="15392"/>
                  </a:cubicBezTo>
                  <a:cubicBezTo>
                    <a:pt x="9815" y="15594"/>
                    <a:pt x="9815" y="15594"/>
                    <a:pt x="9815" y="15594"/>
                  </a:cubicBezTo>
                  <a:cubicBezTo>
                    <a:pt x="9815" y="15594"/>
                    <a:pt x="9850" y="15645"/>
                    <a:pt x="9850" y="15696"/>
                  </a:cubicBezTo>
                  <a:cubicBezTo>
                    <a:pt x="9850" y="15696"/>
                    <a:pt x="9850" y="15797"/>
                    <a:pt x="9850" y="15797"/>
                  </a:cubicBezTo>
                  <a:cubicBezTo>
                    <a:pt x="9885" y="15898"/>
                    <a:pt x="9885" y="15898"/>
                    <a:pt x="9885" y="15898"/>
                  </a:cubicBezTo>
                  <a:cubicBezTo>
                    <a:pt x="9780" y="15949"/>
                    <a:pt x="9780" y="15949"/>
                    <a:pt x="9780" y="15949"/>
                  </a:cubicBezTo>
                  <a:cubicBezTo>
                    <a:pt x="9850" y="15999"/>
                    <a:pt x="9850" y="15999"/>
                    <a:pt x="9850" y="15999"/>
                  </a:cubicBezTo>
                  <a:cubicBezTo>
                    <a:pt x="9850" y="15999"/>
                    <a:pt x="9921" y="15999"/>
                    <a:pt x="9956" y="15999"/>
                  </a:cubicBezTo>
                  <a:cubicBezTo>
                    <a:pt x="9991" y="15999"/>
                    <a:pt x="9991" y="16151"/>
                    <a:pt x="9991" y="16151"/>
                  </a:cubicBezTo>
                  <a:cubicBezTo>
                    <a:pt x="9991" y="16151"/>
                    <a:pt x="9991" y="16202"/>
                    <a:pt x="9956" y="16252"/>
                  </a:cubicBezTo>
                  <a:cubicBezTo>
                    <a:pt x="9956" y="16252"/>
                    <a:pt x="9956" y="16303"/>
                    <a:pt x="9956" y="16353"/>
                  </a:cubicBezTo>
                  <a:cubicBezTo>
                    <a:pt x="9991" y="16353"/>
                    <a:pt x="10061" y="16404"/>
                    <a:pt x="10096" y="16404"/>
                  </a:cubicBezTo>
                  <a:cubicBezTo>
                    <a:pt x="10167" y="16404"/>
                    <a:pt x="10167" y="16404"/>
                    <a:pt x="10167" y="16404"/>
                  </a:cubicBezTo>
                  <a:cubicBezTo>
                    <a:pt x="10237" y="16404"/>
                    <a:pt x="10237" y="16404"/>
                    <a:pt x="10237" y="16404"/>
                  </a:cubicBezTo>
                  <a:cubicBezTo>
                    <a:pt x="10237" y="16404"/>
                    <a:pt x="10272" y="16454"/>
                    <a:pt x="10307" y="16454"/>
                  </a:cubicBezTo>
                  <a:cubicBezTo>
                    <a:pt x="10307" y="16404"/>
                    <a:pt x="10378" y="16404"/>
                    <a:pt x="10378" y="16404"/>
                  </a:cubicBezTo>
                  <a:cubicBezTo>
                    <a:pt x="10448" y="16505"/>
                    <a:pt x="10448" y="16505"/>
                    <a:pt x="10448" y="16505"/>
                  </a:cubicBezTo>
                  <a:cubicBezTo>
                    <a:pt x="10519" y="16454"/>
                    <a:pt x="10519" y="16454"/>
                    <a:pt x="10519" y="16454"/>
                  </a:cubicBezTo>
                  <a:cubicBezTo>
                    <a:pt x="10519" y="16556"/>
                    <a:pt x="10519" y="16556"/>
                    <a:pt x="10519" y="16556"/>
                  </a:cubicBezTo>
                  <a:cubicBezTo>
                    <a:pt x="10519" y="16556"/>
                    <a:pt x="10589" y="16758"/>
                    <a:pt x="10589" y="16758"/>
                  </a:cubicBezTo>
                  <a:cubicBezTo>
                    <a:pt x="10624" y="16809"/>
                    <a:pt x="10624" y="16910"/>
                    <a:pt x="10624" y="16960"/>
                  </a:cubicBezTo>
                  <a:cubicBezTo>
                    <a:pt x="10624" y="17011"/>
                    <a:pt x="10659" y="17112"/>
                    <a:pt x="10659" y="17112"/>
                  </a:cubicBezTo>
                  <a:cubicBezTo>
                    <a:pt x="10659" y="17112"/>
                    <a:pt x="10624" y="17112"/>
                    <a:pt x="10589" y="17163"/>
                  </a:cubicBezTo>
                  <a:cubicBezTo>
                    <a:pt x="10554" y="17213"/>
                    <a:pt x="10624" y="17264"/>
                    <a:pt x="10624" y="17264"/>
                  </a:cubicBezTo>
                  <a:cubicBezTo>
                    <a:pt x="10694" y="17264"/>
                    <a:pt x="10694" y="17264"/>
                    <a:pt x="10694" y="17264"/>
                  </a:cubicBezTo>
                  <a:cubicBezTo>
                    <a:pt x="10694" y="17264"/>
                    <a:pt x="10765" y="17365"/>
                    <a:pt x="10765" y="17416"/>
                  </a:cubicBezTo>
                  <a:cubicBezTo>
                    <a:pt x="10800" y="17466"/>
                    <a:pt x="10870" y="17416"/>
                    <a:pt x="10906" y="17416"/>
                  </a:cubicBezTo>
                  <a:cubicBezTo>
                    <a:pt x="10941" y="17365"/>
                    <a:pt x="11011" y="17416"/>
                    <a:pt x="11011" y="17466"/>
                  </a:cubicBezTo>
                  <a:cubicBezTo>
                    <a:pt x="11011" y="17466"/>
                    <a:pt x="10906" y="17517"/>
                    <a:pt x="10870" y="17517"/>
                  </a:cubicBezTo>
                  <a:cubicBezTo>
                    <a:pt x="10835" y="17567"/>
                    <a:pt x="10730" y="17567"/>
                    <a:pt x="10730" y="17567"/>
                  </a:cubicBezTo>
                  <a:cubicBezTo>
                    <a:pt x="10694" y="17719"/>
                    <a:pt x="10694" y="17719"/>
                    <a:pt x="10694" y="17719"/>
                  </a:cubicBezTo>
                  <a:cubicBezTo>
                    <a:pt x="10624" y="17770"/>
                    <a:pt x="10624" y="17770"/>
                    <a:pt x="10624" y="17770"/>
                  </a:cubicBezTo>
                  <a:cubicBezTo>
                    <a:pt x="10589" y="17618"/>
                    <a:pt x="10589" y="17618"/>
                    <a:pt x="10589" y="17618"/>
                  </a:cubicBezTo>
                  <a:cubicBezTo>
                    <a:pt x="10448" y="17466"/>
                    <a:pt x="10448" y="17466"/>
                    <a:pt x="10448" y="17466"/>
                  </a:cubicBezTo>
                  <a:cubicBezTo>
                    <a:pt x="10448" y="17618"/>
                    <a:pt x="10448" y="17618"/>
                    <a:pt x="10448" y="17618"/>
                  </a:cubicBezTo>
                  <a:cubicBezTo>
                    <a:pt x="10378" y="17669"/>
                    <a:pt x="10378" y="17669"/>
                    <a:pt x="10378" y="17669"/>
                  </a:cubicBezTo>
                  <a:cubicBezTo>
                    <a:pt x="10378" y="17669"/>
                    <a:pt x="10378" y="17719"/>
                    <a:pt x="10378" y="17770"/>
                  </a:cubicBezTo>
                  <a:cubicBezTo>
                    <a:pt x="10378" y="17820"/>
                    <a:pt x="10343" y="17820"/>
                    <a:pt x="10343" y="17820"/>
                  </a:cubicBezTo>
                  <a:cubicBezTo>
                    <a:pt x="10272" y="17770"/>
                    <a:pt x="10272" y="17770"/>
                    <a:pt x="10272" y="17770"/>
                  </a:cubicBezTo>
                  <a:cubicBezTo>
                    <a:pt x="10272" y="17770"/>
                    <a:pt x="10202" y="17770"/>
                    <a:pt x="10167" y="17770"/>
                  </a:cubicBezTo>
                  <a:cubicBezTo>
                    <a:pt x="10132" y="17770"/>
                    <a:pt x="10132" y="17669"/>
                    <a:pt x="10132" y="17669"/>
                  </a:cubicBezTo>
                  <a:cubicBezTo>
                    <a:pt x="10096" y="17719"/>
                    <a:pt x="10096" y="17719"/>
                    <a:pt x="10096" y="17719"/>
                  </a:cubicBezTo>
                  <a:cubicBezTo>
                    <a:pt x="10096" y="17719"/>
                    <a:pt x="10096" y="17770"/>
                    <a:pt x="10061" y="17820"/>
                  </a:cubicBezTo>
                  <a:cubicBezTo>
                    <a:pt x="10061" y="17871"/>
                    <a:pt x="10061" y="17820"/>
                    <a:pt x="9991" y="17820"/>
                  </a:cubicBezTo>
                  <a:cubicBezTo>
                    <a:pt x="9956" y="17871"/>
                    <a:pt x="9956" y="17770"/>
                    <a:pt x="9921" y="17719"/>
                  </a:cubicBezTo>
                  <a:cubicBezTo>
                    <a:pt x="9921" y="17618"/>
                    <a:pt x="9921" y="17719"/>
                    <a:pt x="9885" y="17719"/>
                  </a:cubicBezTo>
                  <a:cubicBezTo>
                    <a:pt x="9850" y="17719"/>
                    <a:pt x="9921" y="17871"/>
                    <a:pt x="9921" y="17871"/>
                  </a:cubicBezTo>
                  <a:cubicBezTo>
                    <a:pt x="9885" y="17921"/>
                    <a:pt x="9885" y="17921"/>
                    <a:pt x="9885" y="17921"/>
                  </a:cubicBezTo>
                  <a:cubicBezTo>
                    <a:pt x="9885" y="17921"/>
                    <a:pt x="9885" y="18023"/>
                    <a:pt x="9815" y="18073"/>
                  </a:cubicBezTo>
                  <a:cubicBezTo>
                    <a:pt x="9780" y="18073"/>
                    <a:pt x="9815" y="17972"/>
                    <a:pt x="9815" y="17972"/>
                  </a:cubicBezTo>
                  <a:cubicBezTo>
                    <a:pt x="9815" y="17770"/>
                    <a:pt x="9815" y="17770"/>
                    <a:pt x="9815" y="17770"/>
                  </a:cubicBezTo>
                  <a:cubicBezTo>
                    <a:pt x="9745" y="17517"/>
                    <a:pt x="9745" y="17517"/>
                    <a:pt x="9745" y="17517"/>
                  </a:cubicBezTo>
                  <a:cubicBezTo>
                    <a:pt x="9745" y="17517"/>
                    <a:pt x="9604" y="17719"/>
                    <a:pt x="9569" y="17719"/>
                  </a:cubicBezTo>
                  <a:cubicBezTo>
                    <a:pt x="9569" y="17770"/>
                    <a:pt x="9498" y="17972"/>
                    <a:pt x="9463" y="17972"/>
                  </a:cubicBezTo>
                  <a:cubicBezTo>
                    <a:pt x="9463" y="18023"/>
                    <a:pt x="9463" y="18124"/>
                    <a:pt x="9463" y="18124"/>
                  </a:cubicBezTo>
                  <a:cubicBezTo>
                    <a:pt x="9534" y="18276"/>
                    <a:pt x="9534" y="18276"/>
                    <a:pt x="9534" y="18276"/>
                  </a:cubicBezTo>
                  <a:cubicBezTo>
                    <a:pt x="9534" y="18427"/>
                    <a:pt x="9534" y="18427"/>
                    <a:pt x="9534" y="18427"/>
                  </a:cubicBezTo>
                  <a:cubicBezTo>
                    <a:pt x="9604" y="18528"/>
                    <a:pt x="9604" y="18528"/>
                    <a:pt x="9604" y="18528"/>
                  </a:cubicBezTo>
                  <a:cubicBezTo>
                    <a:pt x="9604" y="18528"/>
                    <a:pt x="9674" y="18528"/>
                    <a:pt x="9709" y="18579"/>
                  </a:cubicBezTo>
                  <a:cubicBezTo>
                    <a:pt x="9745" y="18579"/>
                    <a:pt x="9709" y="18680"/>
                    <a:pt x="9709" y="18680"/>
                  </a:cubicBezTo>
                  <a:cubicBezTo>
                    <a:pt x="9674" y="18883"/>
                    <a:pt x="9674" y="18883"/>
                    <a:pt x="9674" y="18883"/>
                  </a:cubicBezTo>
                  <a:cubicBezTo>
                    <a:pt x="9674" y="18883"/>
                    <a:pt x="9709" y="18933"/>
                    <a:pt x="9745" y="18984"/>
                  </a:cubicBezTo>
                  <a:cubicBezTo>
                    <a:pt x="9745" y="19034"/>
                    <a:pt x="9674" y="19135"/>
                    <a:pt x="9674" y="19135"/>
                  </a:cubicBezTo>
                  <a:cubicBezTo>
                    <a:pt x="9639" y="19135"/>
                    <a:pt x="9534" y="19287"/>
                    <a:pt x="9534" y="19287"/>
                  </a:cubicBezTo>
                  <a:cubicBezTo>
                    <a:pt x="9534" y="19287"/>
                    <a:pt x="9498" y="19338"/>
                    <a:pt x="9463" y="19338"/>
                  </a:cubicBezTo>
                  <a:cubicBezTo>
                    <a:pt x="9428" y="19338"/>
                    <a:pt x="9498" y="19490"/>
                    <a:pt x="9498" y="19490"/>
                  </a:cubicBezTo>
                  <a:cubicBezTo>
                    <a:pt x="9534" y="19641"/>
                    <a:pt x="9534" y="19641"/>
                    <a:pt x="9534" y="19641"/>
                  </a:cubicBezTo>
                  <a:cubicBezTo>
                    <a:pt x="9534" y="19641"/>
                    <a:pt x="9498" y="19692"/>
                    <a:pt x="9498" y="19692"/>
                  </a:cubicBezTo>
                  <a:cubicBezTo>
                    <a:pt x="9463" y="19743"/>
                    <a:pt x="9463" y="19844"/>
                    <a:pt x="9463" y="19844"/>
                  </a:cubicBezTo>
                  <a:cubicBezTo>
                    <a:pt x="9393" y="19844"/>
                    <a:pt x="9393" y="19844"/>
                    <a:pt x="9393" y="19844"/>
                  </a:cubicBezTo>
                  <a:cubicBezTo>
                    <a:pt x="9358" y="19945"/>
                    <a:pt x="9358" y="19945"/>
                    <a:pt x="9358" y="19945"/>
                  </a:cubicBezTo>
                  <a:cubicBezTo>
                    <a:pt x="9358" y="19945"/>
                    <a:pt x="9358" y="20097"/>
                    <a:pt x="9322" y="20097"/>
                  </a:cubicBezTo>
                  <a:cubicBezTo>
                    <a:pt x="9287" y="20097"/>
                    <a:pt x="9322" y="20198"/>
                    <a:pt x="9322" y="20198"/>
                  </a:cubicBezTo>
                  <a:cubicBezTo>
                    <a:pt x="9287" y="20299"/>
                    <a:pt x="9287" y="20299"/>
                    <a:pt x="9287" y="20299"/>
                  </a:cubicBezTo>
                  <a:cubicBezTo>
                    <a:pt x="9428" y="20400"/>
                    <a:pt x="9428" y="20400"/>
                    <a:pt x="9428" y="20400"/>
                  </a:cubicBezTo>
                  <a:cubicBezTo>
                    <a:pt x="9393" y="20501"/>
                    <a:pt x="9393" y="20501"/>
                    <a:pt x="9393" y="20501"/>
                  </a:cubicBezTo>
                  <a:cubicBezTo>
                    <a:pt x="9393" y="20602"/>
                    <a:pt x="9393" y="20602"/>
                    <a:pt x="9393" y="20602"/>
                  </a:cubicBezTo>
                  <a:cubicBezTo>
                    <a:pt x="9428" y="20602"/>
                    <a:pt x="9428" y="20602"/>
                    <a:pt x="9428" y="20602"/>
                  </a:cubicBezTo>
                  <a:cubicBezTo>
                    <a:pt x="9428" y="20602"/>
                    <a:pt x="9358" y="20653"/>
                    <a:pt x="9322" y="20653"/>
                  </a:cubicBezTo>
                  <a:cubicBezTo>
                    <a:pt x="9287" y="20704"/>
                    <a:pt x="9252" y="20653"/>
                    <a:pt x="9217" y="20704"/>
                  </a:cubicBezTo>
                  <a:cubicBezTo>
                    <a:pt x="9182" y="20704"/>
                    <a:pt x="9076" y="20754"/>
                    <a:pt x="9076" y="20754"/>
                  </a:cubicBezTo>
                  <a:cubicBezTo>
                    <a:pt x="9041" y="20957"/>
                    <a:pt x="9041" y="20957"/>
                    <a:pt x="9041" y="20957"/>
                  </a:cubicBezTo>
                  <a:cubicBezTo>
                    <a:pt x="8971" y="20957"/>
                    <a:pt x="8971" y="20957"/>
                    <a:pt x="8971" y="20957"/>
                  </a:cubicBezTo>
                  <a:cubicBezTo>
                    <a:pt x="8971" y="20855"/>
                    <a:pt x="8971" y="20855"/>
                    <a:pt x="8971" y="20855"/>
                  </a:cubicBezTo>
                  <a:cubicBezTo>
                    <a:pt x="8936" y="20805"/>
                    <a:pt x="8936" y="20805"/>
                    <a:pt x="8936" y="20805"/>
                  </a:cubicBezTo>
                  <a:cubicBezTo>
                    <a:pt x="8936" y="20906"/>
                    <a:pt x="8936" y="20957"/>
                    <a:pt x="8936" y="20957"/>
                  </a:cubicBezTo>
                  <a:cubicBezTo>
                    <a:pt x="9287" y="21311"/>
                    <a:pt x="9287" y="21311"/>
                    <a:pt x="9287" y="21311"/>
                  </a:cubicBezTo>
                  <a:cubicBezTo>
                    <a:pt x="9885" y="21513"/>
                    <a:pt x="9885" y="21513"/>
                    <a:pt x="9885" y="21513"/>
                  </a:cubicBezTo>
                  <a:cubicBezTo>
                    <a:pt x="10026" y="21159"/>
                    <a:pt x="10026" y="21159"/>
                    <a:pt x="10026" y="21159"/>
                  </a:cubicBezTo>
                  <a:cubicBezTo>
                    <a:pt x="10026" y="21159"/>
                    <a:pt x="10343" y="20350"/>
                    <a:pt x="10589" y="20400"/>
                  </a:cubicBezTo>
                  <a:cubicBezTo>
                    <a:pt x="10765" y="20451"/>
                    <a:pt x="11011" y="20552"/>
                    <a:pt x="11046" y="20552"/>
                  </a:cubicBezTo>
                  <a:cubicBezTo>
                    <a:pt x="11011" y="20248"/>
                    <a:pt x="10624" y="19743"/>
                    <a:pt x="10694" y="19641"/>
                  </a:cubicBezTo>
                  <a:cubicBezTo>
                    <a:pt x="10765" y="19490"/>
                    <a:pt x="10941" y="19135"/>
                    <a:pt x="11046" y="18933"/>
                  </a:cubicBezTo>
                  <a:cubicBezTo>
                    <a:pt x="11117" y="18731"/>
                    <a:pt x="11468" y="18579"/>
                    <a:pt x="11468" y="18579"/>
                  </a:cubicBezTo>
                  <a:cubicBezTo>
                    <a:pt x="11750" y="17820"/>
                    <a:pt x="11750" y="17820"/>
                    <a:pt x="11750" y="17820"/>
                  </a:cubicBezTo>
                  <a:cubicBezTo>
                    <a:pt x="11679" y="16657"/>
                    <a:pt x="11609" y="16353"/>
                    <a:pt x="12453" y="16202"/>
                  </a:cubicBezTo>
                  <a:cubicBezTo>
                    <a:pt x="12594" y="16151"/>
                    <a:pt x="12770" y="15999"/>
                    <a:pt x="12770" y="15999"/>
                  </a:cubicBezTo>
                  <a:cubicBezTo>
                    <a:pt x="13051" y="15847"/>
                    <a:pt x="13051" y="15847"/>
                    <a:pt x="13051" y="15847"/>
                  </a:cubicBezTo>
                  <a:cubicBezTo>
                    <a:pt x="13579" y="15746"/>
                    <a:pt x="13579" y="15746"/>
                    <a:pt x="13579" y="15746"/>
                  </a:cubicBezTo>
                  <a:cubicBezTo>
                    <a:pt x="13157" y="16100"/>
                    <a:pt x="13157" y="16100"/>
                    <a:pt x="13157" y="16100"/>
                  </a:cubicBezTo>
                  <a:cubicBezTo>
                    <a:pt x="12840" y="16606"/>
                    <a:pt x="12840" y="16606"/>
                    <a:pt x="12840" y="16606"/>
                  </a:cubicBezTo>
                  <a:cubicBezTo>
                    <a:pt x="13263" y="16758"/>
                    <a:pt x="13263" y="16758"/>
                    <a:pt x="13263" y="16758"/>
                  </a:cubicBezTo>
                  <a:cubicBezTo>
                    <a:pt x="13263" y="16758"/>
                    <a:pt x="13263" y="17213"/>
                    <a:pt x="13474" y="17112"/>
                  </a:cubicBezTo>
                  <a:cubicBezTo>
                    <a:pt x="13650" y="17011"/>
                    <a:pt x="14072" y="16758"/>
                    <a:pt x="14142" y="16758"/>
                  </a:cubicBezTo>
                  <a:cubicBezTo>
                    <a:pt x="14212" y="16707"/>
                    <a:pt x="14599" y="16556"/>
                    <a:pt x="14705" y="16556"/>
                  </a:cubicBezTo>
                  <a:cubicBezTo>
                    <a:pt x="14810" y="16556"/>
                    <a:pt x="15373" y="16454"/>
                    <a:pt x="15373" y="16454"/>
                  </a:cubicBezTo>
                  <a:cubicBezTo>
                    <a:pt x="15444" y="16910"/>
                    <a:pt x="15444" y="16910"/>
                    <a:pt x="15444" y="16910"/>
                  </a:cubicBezTo>
                  <a:cubicBezTo>
                    <a:pt x="15197" y="17365"/>
                    <a:pt x="15197" y="17365"/>
                    <a:pt x="15197" y="17365"/>
                  </a:cubicBezTo>
                  <a:cubicBezTo>
                    <a:pt x="14881" y="17820"/>
                    <a:pt x="14881" y="17820"/>
                    <a:pt x="14881" y="17820"/>
                  </a:cubicBezTo>
                  <a:cubicBezTo>
                    <a:pt x="14388" y="18478"/>
                    <a:pt x="14388" y="18478"/>
                    <a:pt x="14388" y="18478"/>
                  </a:cubicBezTo>
                  <a:cubicBezTo>
                    <a:pt x="14388" y="18478"/>
                    <a:pt x="14248" y="18832"/>
                    <a:pt x="14318" y="18883"/>
                  </a:cubicBezTo>
                  <a:cubicBezTo>
                    <a:pt x="14388" y="18933"/>
                    <a:pt x="14916" y="18832"/>
                    <a:pt x="14916" y="18832"/>
                  </a:cubicBezTo>
                  <a:cubicBezTo>
                    <a:pt x="15514" y="18883"/>
                    <a:pt x="15514" y="18883"/>
                    <a:pt x="15514" y="18883"/>
                  </a:cubicBezTo>
                  <a:cubicBezTo>
                    <a:pt x="15514" y="18883"/>
                    <a:pt x="15620" y="18933"/>
                    <a:pt x="15690" y="19237"/>
                  </a:cubicBezTo>
                  <a:cubicBezTo>
                    <a:pt x="15795" y="19591"/>
                    <a:pt x="15866" y="19743"/>
                    <a:pt x="15901" y="19844"/>
                  </a:cubicBezTo>
                  <a:cubicBezTo>
                    <a:pt x="15971" y="19995"/>
                    <a:pt x="16112" y="20299"/>
                    <a:pt x="16112" y="20299"/>
                  </a:cubicBezTo>
                  <a:cubicBezTo>
                    <a:pt x="16112" y="20299"/>
                    <a:pt x="15971" y="20501"/>
                    <a:pt x="16147" y="20451"/>
                  </a:cubicBezTo>
                  <a:cubicBezTo>
                    <a:pt x="16358" y="20451"/>
                    <a:pt x="16499" y="20400"/>
                    <a:pt x="16499" y="20400"/>
                  </a:cubicBezTo>
                  <a:cubicBezTo>
                    <a:pt x="16499" y="20400"/>
                    <a:pt x="16534" y="20097"/>
                    <a:pt x="16605" y="19995"/>
                  </a:cubicBezTo>
                  <a:cubicBezTo>
                    <a:pt x="16710" y="19945"/>
                    <a:pt x="16816" y="19793"/>
                    <a:pt x="16816" y="19793"/>
                  </a:cubicBezTo>
                  <a:cubicBezTo>
                    <a:pt x="16816" y="19793"/>
                    <a:pt x="16780" y="19490"/>
                    <a:pt x="16886" y="19388"/>
                  </a:cubicBezTo>
                  <a:cubicBezTo>
                    <a:pt x="16992" y="19338"/>
                    <a:pt x="17132" y="19287"/>
                    <a:pt x="17273" y="19237"/>
                  </a:cubicBezTo>
                  <a:cubicBezTo>
                    <a:pt x="17414" y="19135"/>
                    <a:pt x="17554" y="18781"/>
                    <a:pt x="17554" y="18781"/>
                  </a:cubicBezTo>
                  <a:cubicBezTo>
                    <a:pt x="17730" y="18579"/>
                    <a:pt x="17730" y="18579"/>
                    <a:pt x="17730" y="18579"/>
                  </a:cubicBezTo>
                  <a:cubicBezTo>
                    <a:pt x="18152" y="18377"/>
                    <a:pt x="18152" y="18377"/>
                    <a:pt x="18152" y="18377"/>
                  </a:cubicBezTo>
                  <a:cubicBezTo>
                    <a:pt x="18117" y="17871"/>
                    <a:pt x="18117" y="17871"/>
                    <a:pt x="18117" y="17871"/>
                  </a:cubicBezTo>
                  <a:cubicBezTo>
                    <a:pt x="18117" y="17871"/>
                    <a:pt x="18152" y="17770"/>
                    <a:pt x="18258" y="17770"/>
                  </a:cubicBezTo>
                  <a:cubicBezTo>
                    <a:pt x="18328" y="17719"/>
                    <a:pt x="19067" y="17365"/>
                    <a:pt x="19067" y="17365"/>
                  </a:cubicBezTo>
                  <a:cubicBezTo>
                    <a:pt x="19278" y="16859"/>
                    <a:pt x="19278" y="16859"/>
                    <a:pt x="19278" y="16859"/>
                  </a:cubicBezTo>
                  <a:cubicBezTo>
                    <a:pt x="19278" y="16353"/>
                    <a:pt x="19278" y="16353"/>
                    <a:pt x="19278" y="16353"/>
                  </a:cubicBezTo>
                  <a:cubicBezTo>
                    <a:pt x="19278" y="16353"/>
                    <a:pt x="19349" y="16050"/>
                    <a:pt x="19208" y="16050"/>
                  </a:cubicBezTo>
                  <a:cubicBezTo>
                    <a:pt x="19067" y="16050"/>
                    <a:pt x="18715" y="16556"/>
                    <a:pt x="18715" y="16556"/>
                  </a:cubicBezTo>
                  <a:cubicBezTo>
                    <a:pt x="18328" y="16606"/>
                    <a:pt x="18328" y="16606"/>
                    <a:pt x="18328" y="16606"/>
                  </a:cubicBezTo>
                  <a:cubicBezTo>
                    <a:pt x="18328" y="16606"/>
                    <a:pt x="18152" y="17061"/>
                    <a:pt x="18082" y="17061"/>
                  </a:cubicBezTo>
                  <a:cubicBezTo>
                    <a:pt x="18012" y="17112"/>
                    <a:pt x="17801" y="17213"/>
                    <a:pt x="17730" y="17163"/>
                  </a:cubicBezTo>
                  <a:cubicBezTo>
                    <a:pt x="17660" y="17163"/>
                    <a:pt x="17765" y="17719"/>
                    <a:pt x="17519" y="17061"/>
                  </a:cubicBezTo>
                  <a:cubicBezTo>
                    <a:pt x="17273" y="16404"/>
                    <a:pt x="17167" y="16404"/>
                    <a:pt x="17167" y="16404"/>
                  </a:cubicBezTo>
                  <a:cubicBezTo>
                    <a:pt x="16921" y="16404"/>
                    <a:pt x="16921" y="16404"/>
                    <a:pt x="16921" y="16404"/>
                  </a:cubicBezTo>
                  <a:cubicBezTo>
                    <a:pt x="16921" y="16404"/>
                    <a:pt x="16710" y="16556"/>
                    <a:pt x="16675" y="16454"/>
                  </a:cubicBezTo>
                  <a:cubicBezTo>
                    <a:pt x="16675" y="16353"/>
                    <a:pt x="16569" y="16050"/>
                    <a:pt x="16569" y="16050"/>
                  </a:cubicBezTo>
                  <a:cubicBezTo>
                    <a:pt x="16218" y="16050"/>
                    <a:pt x="16218" y="16050"/>
                    <a:pt x="16218" y="16050"/>
                  </a:cubicBezTo>
                  <a:cubicBezTo>
                    <a:pt x="16077" y="16151"/>
                    <a:pt x="16077" y="16151"/>
                    <a:pt x="16077" y="16151"/>
                  </a:cubicBezTo>
                  <a:cubicBezTo>
                    <a:pt x="15549" y="16100"/>
                    <a:pt x="15549" y="16100"/>
                    <a:pt x="15549" y="16100"/>
                  </a:cubicBezTo>
                  <a:cubicBezTo>
                    <a:pt x="15338" y="15898"/>
                    <a:pt x="15338" y="15898"/>
                    <a:pt x="15338" y="15898"/>
                  </a:cubicBezTo>
                  <a:cubicBezTo>
                    <a:pt x="15620" y="15696"/>
                    <a:pt x="15620" y="15696"/>
                    <a:pt x="15620" y="15696"/>
                  </a:cubicBezTo>
                  <a:cubicBezTo>
                    <a:pt x="15620" y="15696"/>
                    <a:pt x="15725" y="15847"/>
                    <a:pt x="15760" y="15847"/>
                  </a:cubicBezTo>
                  <a:cubicBezTo>
                    <a:pt x="15831" y="15797"/>
                    <a:pt x="15760" y="15645"/>
                    <a:pt x="15831" y="15594"/>
                  </a:cubicBezTo>
                  <a:cubicBezTo>
                    <a:pt x="15936" y="15544"/>
                    <a:pt x="16042" y="15392"/>
                    <a:pt x="16147" y="15493"/>
                  </a:cubicBezTo>
                  <a:cubicBezTo>
                    <a:pt x="16253" y="15544"/>
                    <a:pt x="16147" y="15847"/>
                    <a:pt x="16323" y="15645"/>
                  </a:cubicBezTo>
                  <a:cubicBezTo>
                    <a:pt x="16499" y="15443"/>
                    <a:pt x="16675" y="15493"/>
                    <a:pt x="16675" y="15493"/>
                  </a:cubicBezTo>
                  <a:cubicBezTo>
                    <a:pt x="16886" y="14987"/>
                    <a:pt x="16886" y="14987"/>
                    <a:pt x="16886" y="14987"/>
                  </a:cubicBezTo>
                  <a:cubicBezTo>
                    <a:pt x="17027" y="14532"/>
                    <a:pt x="17027" y="14532"/>
                    <a:pt x="17027" y="14532"/>
                  </a:cubicBezTo>
                  <a:cubicBezTo>
                    <a:pt x="17027" y="14532"/>
                    <a:pt x="17097" y="14583"/>
                    <a:pt x="17167" y="14633"/>
                  </a:cubicBezTo>
                  <a:cubicBezTo>
                    <a:pt x="17273" y="14633"/>
                    <a:pt x="17519" y="14026"/>
                    <a:pt x="17519" y="14026"/>
                  </a:cubicBezTo>
                  <a:cubicBezTo>
                    <a:pt x="17519" y="14026"/>
                    <a:pt x="17554" y="13419"/>
                    <a:pt x="17625" y="13419"/>
                  </a:cubicBezTo>
                  <a:cubicBezTo>
                    <a:pt x="17695" y="13369"/>
                    <a:pt x="18223" y="13116"/>
                    <a:pt x="18223" y="13116"/>
                  </a:cubicBezTo>
                  <a:cubicBezTo>
                    <a:pt x="18575" y="12812"/>
                    <a:pt x="18575" y="12812"/>
                    <a:pt x="18575" y="12812"/>
                  </a:cubicBezTo>
                  <a:cubicBezTo>
                    <a:pt x="18575" y="12812"/>
                    <a:pt x="18750" y="12458"/>
                    <a:pt x="18821" y="12408"/>
                  </a:cubicBezTo>
                  <a:cubicBezTo>
                    <a:pt x="18891" y="12408"/>
                    <a:pt x="18962" y="12205"/>
                    <a:pt x="19032" y="11952"/>
                  </a:cubicBezTo>
                  <a:cubicBezTo>
                    <a:pt x="19137" y="11750"/>
                    <a:pt x="19208" y="11598"/>
                    <a:pt x="19208" y="11598"/>
                  </a:cubicBezTo>
                  <a:cubicBezTo>
                    <a:pt x="19208" y="11598"/>
                    <a:pt x="19630" y="11446"/>
                    <a:pt x="19595" y="11396"/>
                  </a:cubicBezTo>
                  <a:cubicBezTo>
                    <a:pt x="19595" y="11295"/>
                    <a:pt x="19419" y="11092"/>
                    <a:pt x="19630" y="11092"/>
                  </a:cubicBezTo>
                  <a:cubicBezTo>
                    <a:pt x="19841" y="11092"/>
                    <a:pt x="19841" y="11092"/>
                    <a:pt x="19947" y="10991"/>
                  </a:cubicBezTo>
                  <a:cubicBezTo>
                    <a:pt x="20017" y="10941"/>
                    <a:pt x="19982" y="10890"/>
                    <a:pt x="20017" y="10738"/>
                  </a:cubicBezTo>
                  <a:cubicBezTo>
                    <a:pt x="20087" y="10637"/>
                    <a:pt x="20122" y="10485"/>
                    <a:pt x="20122" y="10384"/>
                  </a:cubicBezTo>
                  <a:cubicBezTo>
                    <a:pt x="20087" y="10283"/>
                    <a:pt x="19911" y="9878"/>
                    <a:pt x="19911" y="9777"/>
                  </a:cubicBezTo>
                  <a:cubicBezTo>
                    <a:pt x="19876" y="9625"/>
                    <a:pt x="19911" y="9322"/>
                    <a:pt x="19911" y="9322"/>
                  </a:cubicBezTo>
                  <a:cubicBezTo>
                    <a:pt x="19911" y="9322"/>
                    <a:pt x="20017" y="9271"/>
                    <a:pt x="20122" y="9221"/>
                  </a:cubicBezTo>
                  <a:cubicBezTo>
                    <a:pt x="20193" y="9120"/>
                    <a:pt x="20334" y="8765"/>
                    <a:pt x="20334" y="8765"/>
                  </a:cubicBezTo>
                  <a:cubicBezTo>
                    <a:pt x="20369" y="8513"/>
                    <a:pt x="20369" y="8513"/>
                    <a:pt x="20369" y="8513"/>
                  </a:cubicBezTo>
                  <a:cubicBezTo>
                    <a:pt x="20369" y="8513"/>
                    <a:pt x="20509" y="8361"/>
                    <a:pt x="20545" y="8361"/>
                  </a:cubicBezTo>
                  <a:cubicBezTo>
                    <a:pt x="20615" y="8310"/>
                    <a:pt x="21178" y="8007"/>
                    <a:pt x="21213" y="8007"/>
                  </a:cubicBezTo>
                  <a:cubicBezTo>
                    <a:pt x="21248" y="8007"/>
                    <a:pt x="21600" y="8057"/>
                    <a:pt x="21494" y="7804"/>
                  </a:cubicBezTo>
                  <a:cubicBezTo>
                    <a:pt x="21389" y="7602"/>
                    <a:pt x="21354" y="7501"/>
                    <a:pt x="21319" y="7349"/>
                  </a:cubicBezTo>
                  <a:cubicBezTo>
                    <a:pt x="21283" y="7197"/>
                    <a:pt x="21283" y="6843"/>
                    <a:pt x="21283" y="6793"/>
                  </a:cubicBezTo>
                  <a:cubicBezTo>
                    <a:pt x="21319" y="6742"/>
                    <a:pt x="21600" y="6590"/>
                    <a:pt x="21283" y="6540"/>
                  </a:cubicBezTo>
                  <a:cubicBezTo>
                    <a:pt x="20967" y="6489"/>
                    <a:pt x="21213" y="6337"/>
                    <a:pt x="21143" y="6236"/>
                  </a:cubicBezTo>
                  <a:cubicBezTo>
                    <a:pt x="21037" y="6135"/>
                    <a:pt x="20826" y="5933"/>
                    <a:pt x="20826" y="5933"/>
                  </a:cubicBezTo>
                  <a:cubicBezTo>
                    <a:pt x="20721" y="5933"/>
                    <a:pt x="20721" y="5933"/>
                    <a:pt x="20721" y="5933"/>
                  </a:cubicBezTo>
                  <a:cubicBezTo>
                    <a:pt x="20756" y="5427"/>
                    <a:pt x="20756" y="5427"/>
                    <a:pt x="20756" y="5427"/>
                  </a:cubicBezTo>
                  <a:cubicBezTo>
                    <a:pt x="20756" y="5427"/>
                    <a:pt x="20861" y="5224"/>
                    <a:pt x="20896" y="5224"/>
                  </a:cubicBezTo>
                  <a:cubicBezTo>
                    <a:pt x="20932" y="5174"/>
                    <a:pt x="20967" y="4972"/>
                    <a:pt x="20896" y="4972"/>
                  </a:cubicBezTo>
                  <a:cubicBezTo>
                    <a:pt x="20826" y="5022"/>
                    <a:pt x="20615" y="5073"/>
                    <a:pt x="20615" y="5073"/>
                  </a:cubicBezTo>
                  <a:cubicBezTo>
                    <a:pt x="20615" y="5073"/>
                    <a:pt x="20439" y="5073"/>
                    <a:pt x="20474" y="4972"/>
                  </a:cubicBezTo>
                  <a:cubicBezTo>
                    <a:pt x="20474" y="4820"/>
                    <a:pt x="20545" y="4820"/>
                    <a:pt x="20650" y="4668"/>
                  </a:cubicBezTo>
                  <a:cubicBezTo>
                    <a:pt x="20756" y="4516"/>
                    <a:pt x="20791" y="4415"/>
                    <a:pt x="20791" y="4415"/>
                  </a:cubicBezTo>
                  <a:cubicBezTo>
                    <a:pt x="20756" y="4112"/>
                    <a:pt x="20756" y="4112"/>
                    <a:pt x="20756" y="4112"/>
                  </a:cubicBezTo>
                  <a:cubicBezTo>
                    <a:pt x="20756" y="4112"/>
                    <a:pt x="20756" y="3909"/>
                    <a:pt x="20721" y="3909"/>
                  </a:cubicBezTo>
                  <a:cubicBezTo>
                    <a:pt x="20721" y="3859"/>
                    <a:pt x="20509" y="3252"/>
                    <a:pt x="20509" y="3252"/>
                  </a:cubicBezTo>
                  <a:cubicBezTo>
                    <a:pt x="20509" y="3252"/>
                    <a:pt x="20298" y="3150"/>
                    <a:pt x="20263" y="3252"/>
                  </a:cubicBezTo>
                  <a:cubicBezTo>
                    <a:pt x="20263" y="3353"/>
                    <a:pt x="20193" y="3555"/>
                    <a:pt x="20193" y="3555"/>
                  </a:cubicBezTo>
                  <a:cubicBezTo>
                    <a:pt x="19947" y="3555"/>
                    <a:pt x="19947" y="3555"/>
                    <a:pt x="19947" y="3555"/>
                  </a:cubicBezTo>
                  <a:cubicBezTo>
                    <a:pt x="19806" y="3403"/>
                    <a:pt x="19806" y="3403"/>
                    <a:pt x="19806" y="3403"/>
                  </a:cubicBezTo>
                  <a:cubicBezTo>
                    <a:pt x="19524" y="3302"/>
                    <a:pt x="19524" y="3302"/>
                    <a:pt x="19524" y="3302"/>
                  </a:cubicBezTo>
                  <a:cubicBezTo>
                    <a:pt x="19524" y="3302"/>
                    <a:pt x="19489" y="3353"/>
                    <a:pt x="19454" y="3403"/>
                  </a:cubicBezTo>
                  <a:cubicBezTo>
                    <a:pt x="19454" y="3454"/>
                    <a:pt x="19173" y="3201"/>
                    <a:pt x="19173" y="3201"/>
                  </a:cubicBezTo>
                  <a:cubicBezTo>
                    <a:pt x="19173" y="3201"/>
                    <a:pt x="19067" y="3403"/>
                    <a:pt x="19032" y="3454"/>
                  </a:cubicBezTo>
                  <a:cubicBezTo>
                    <a:pt x="19032" y="3454"/>
                    <a:pt x="18750" y="3353"/>
                    <a:pt x="18750" y="3353"/>
                  </a:cubicBezTo>
                  <a:cubicBezTo>
                    <a:pt x="18469" y="3403"/>
                    <a:pt x="18469" y="3403"/>
                    <a:pt x="18469" y="3403"/>
                  </a:cubicBezTo>
                  <a:cubicBezTo>
                    <a:pt x="18223" y="3454"/>
                    <a:pt x="18223" y="3454"/>
                    <a:pt x="18223" y="3454"/>
                  </a:cubicBezTo>
                  <a:cubicBezTo>
                    <a:pt x="18012" y="3302"/>
                    <a:pt x="18012" y="3302"/>
                    <a:pt x="18012" y="3302"/>
                  </a:cubicBezTo>
                  <a:cubicBezTo>
                    <a:pt x="17941" y="3454"/>
                    <a:pt x="17941" y="3454"/>
                    <a:pt x="17941" y="3454"/>
                  </a:cubicBezTo>
                  <a:cubicBezTo>
                    <a:pt x="17977" y="3707"/>
                    <a:pt x="17977" y="3707"/>
                    <a:pt x="17977" y="3707"/>
                  </a:cubicBezTo>
                  <a:cubicBezTo>
                    <a:pt x="17801" y="3859"/>
                    <a:pt x="17801" y="3859"/>
                    <a:pt x="17801" y="3859"/>
                  </a:cubicBezTo>
                  <a:cubicBezTo>
                    <a:pt x="17590" y="3656"/>
                    <a:pt x="17590" y="3656"/>
                    <a:pt x="17590" y="3656"/>
                  </a:cubicBezTo>
                  <a:cubicBezTo>
                    <a:pt x="17414" y="3606"/>
                    <a:pt x="17414" y="3606"/>
                    <a:pt x="17414" y="3606"/>
                  </a:cubicBezTo>
                  <a:cubicBezTo>
                    <a:pt x="17167" y="3252"/>
                    <a:pt x="17167" y="3252"/>
                    <a:pt x="17167" y="3252"/>
                  </a:cubicBezTo>
                  <a:cubicBezTo>
                    <a:pt x="16956" y="3150"/>
                    <a:pt x="16956" y="3150"/>
                    <a:pt x="16956" y="3150"/>
                  </a:cubicBezTo>
                  <a:cubicBezTo>
                    <a:pt x="16745" y="2999"/>
                    <a:pt x="16745" y="2999"/>
                    <a:pt x="16745" y="2999"/>
                  </a:cubicBezTo>
                  <a:cubicBezTo>
                    <a:pt x="16745" y="2999"/>
                    <a:pt x="16640" y="3403"/>
                    <a:pt x="16605" y="3454"/>
                  </a:cubicBezTo>
                  <a:cubicBezTo>
                    <a:pt x="16569" y="3454"/>
                    <a:pt x="16393" y="3555"/>
                    <a:pt x="16358" y="3555"/>
                  </a:cubicBezTo>
                  <a:cubicBezTo>
                    <a:pt x="16288" y="3606"/>
                    <a:pt x="16253" y="3859"/>
                    <a:pt x="16253" y="3859"/>
                  </a:cubicBezTo>
                  <a:cubicBezTo>
                    <a:pt x="16077" y="4010"/>
                    <a:pt x="16077" y="4010"/>
                    <a:pt x="16077" y="4010"/>
                  </a:cubicBezTo>
                  <a:cubicBezTo>
                    <a:pt x="16077" y="4010"/>
                    <a:pt x="15971" y="3909"/>
                    <a:pt x="15901" y="3909"/>
                  </a:cubicBezTo>
                  <a:cubicBezTo>
                    <a:pt x="15866" y="3909"/>
                    <a:pt x="15831" y="3960"/>
                    <a:pt x="15831" y="3960"/>
                  </a:cubicBezTo>
                  <a:cubicBezTo>
                    <a:pt x="15760" y="4112"/>
                    <a:pt x="15760" y="4112"/>
                    <a:pt x="15760" y="4112"/>
                  </a:cubicBezTo>
                  <a:cubicBezTo>
                    <a:pt x="15760" y="4112"/>
                    <a:pt x="15725" y="4112"/>
                    <a:pt x="15620" y="4010"/>
                  </a:cubicBezTo>
                  <a:cubicBezTo>
                    <a:pt x="15549" y="3960"/>
                    <a:pt x="15444" y="3859"/>
                    <a:pt x="15444" y="3859"/>
                  </a:cubicBezTo>
                  <a:cubicBezTo>
                    <a:pt x="15338" y="3808"/>
                    <a:pt x="15338" y="3808"/>
                    <a:pt x="15338" y="3808"/>
                  </a:cubicBezTo>
                  <a:cubicBezTo>
                    <a:pt x="15338" y="3808"/>
                    <a:pt x="15021" y="4010"/>
                    <a:pt x="14986" y="4061"/>
                  </a:cubicBezTo>
                  <a:cubicBezTo>
                    <a:pt x="14986" y="4112"/>
                    <a:pt x="14916" y="4263"/>
                    <a:pt x="14916" y="4263"/>
                  </a:cubicBezTo>
                  <a:cubicBezTo>
                    <a:pt x="14740" y="4061"/>
                    <a:pt x="14740" y="4061"/>
                    <a:pt x="14740" y="4061"/>
                  </a:cubicBezTo>
                  <a:cubicBezTo>
                    <a:pt x="14529" y="3859"/>
                    <a:pt x="14529" y="3859"/>
                    <a:pt x="14529" y="3859"/>
                  </a:cubicBezTo>
                  <a:cubicBezTo>
                    <a:pt x="14494" y="3505"/>
                    <a:pt x="14494" y="3505"/>
                    <a:pt x="14494" y="3505"/>
                  </a:cubicBezTo>
                  <a:cubicBezTo>
                    <a:pt x="14107" y="2999"/>
                    <a:pt x="14107" y="2999"/>
                    <a:pt x="14107" y="2999"/>
                  </a:cubicBezTo>
                  <a:cubicBezTo>
                    <a:pt x="14036" y="2493"/>
                    <a:pt x="14036" y="2493"/>
                    <a:pt x="14036" y="2493"/>
                  </a:cubicBezTo>
                  <a:cubicBezTo>
                    <a:pt x="13755" y="2189"/>
                    <a:pt x="13755" y="2189"/>
                    <a:pt x="13755" y="2189"/>
                  </a:cubicBezTo>
                  <a:cubicBezTo>
                    <a:pt x="13579" y="2493"/>
                    <a:pt x="13579" y="2493"/>
                    <a:pt x="13579" y="2493"/>
                  </a:cubicBezTo>
                  <a:cubicBezTo>
                    <a:pt x="13298" y="2442"/>
                    <a:pt x="13298" y="2442"/>
                    <a:pt x="13298" y="2442"/>
                  </a:cubicBezTo>
                  <a:cubicBezTo>
                    <a:pt x="13016" y="2543"/>
                    <a:pt x="13016" y="2543"/>
                    <a:pt x="13016" y="2543"/>
                  </a:cubicBezTo>
                  <a:cubicBezTo>
                    <a:pt x="13016" y="2543"/>
                    <a:pt x="12840" y="2796"/>
                    <a:pt x="12840" y="2695"/>
                  </a:cubicBezTo>
                  <a:cubicBezTo>
                    <a:pt x="12805" y="2594"/>
                    <a:pt x="12876" y="2392"/>
                    <a:pt x="12876" y="2291"/>
                  </a:cubicBezTo>
                  <a:cubicBezTo>
                    <a:pt x="12840" y="2240"/>
                    <a:pt x="12664" y="2392"/>
                    <a:pt x="12700" y="2189"/>
                  </a:cubicBezTo>
                  <a:cubicBezTo>
                    <a:pt x="12735" y="2088"/>
                    <a:pt x="12700" y="1936"/>
                    <a:pt x="12664" y="1886"/>
                  </a:cubicBezTo>
                  <a:cubicBezTo>
                    <a:pt x="12594" y="1785"/>
                    <a:pt x="12383" y="1785"/>
                    <a:pt x="12453" y="1582"/>
                  </a:cubicBezTo>
                  <a:cubicBezTo>
                    <a:pt x="12524" y="1431"/>
                    <a:pt x="12700" y="1329"/>
                    <a:pt x="12700" y="1329"/>
                  </a:cubicBezTo>
                  <a:cubicBezTo>
                    <a:pt x="12700" y="1228"/>
                    <a:pt x="12700" y="1228"/>
                    <a:pt x="12700" y="1228"/>
                  </a:cubicBezTo>
                  <a:cubicBezTo>
                    <a:pt x="12559" y="1026"/>
                    <a:pt x="12559" y="1026"/>
                    <a:pt x="12559" y="1026"/>
                  </a:cubicBezTo>
                  <a:cubicBezTo>
                    <a:pt x="12172" y="773"/>
                    <a:pt x="12172" y="773"/>
                    <a:pt x="12172" y="773"/>
                  </a:cubicBezTo>
                  <a:cubicBezTo>
                    <a:pt x="12172" y="773"/>
                    <a:pt x="12137" y="469"/>
                    <a:pt x="12066" y="469"/>
                  </a:cubicBezTo>
                  <a:cubicBezTo>
                    <a:pt x="12031" y="419"/>
                    <a:pt x="11926" y="267"/>
                    <a:pt x="11926" y="267"/>
                  </a:cubicBezTo>
                  <a:cubicBezTo>
                    <a:pt x="11926" y="267"/>
                    <a:pt x="11820" y="65"/>
                    <a:pt x="11679" y="14"/>
                  </a:cubicBezTo>
                  <a:cubicBezTo>
                    <a:pt x="11539" y="-87"/>
                    <a:pt x="11433" y="368"/>
                    <a:pt x="11433" y="368"/>
                  </a:cubicBezTo>
                  <a:cubicBezTo>
                    <a:pt x="11293" y="166"/>
                    <a:pt x="11293" y="166"/>
                    <a:pt x="11293" y="166"/>
                  </a:cubicBezTo>
                  <a:cubicBezTo>
                    <a:pt x="11011" y="318"/>
                    <a:pt x="11011" y="318"/>
                    <a:pt x="11011" y="318"/>
                  </a:cubicBezTo>
                  <a:cubicBezTo>
                    <a:pt x="10800" y="773"/>
                    <a:pt x="10800" y="773"/>
                    <a:pt x="10800" y="773"/>
                  </a:cubicBezTo>
                  <a:cubicBezTo>
                    <a:pt x="10659" y="824"/>
                    <a:pt x="10659" y="824"/>
                    <a:pt x="10659" y="824"/>
                  </a:cubicBezTo>
                  <a:cubicBezTo>
                    <a:pt x="10448" y="874"/>
                    <a:pt x="10448" y="874"/>
                    <a:pt x="10448" y="874"/>
                  </a:cubicBezTo>
                  <a:cubicBezTo>
                    <a:pt x="10132" y="975"/>
                    <a:pt x="10132" y="975"/>
                    <a:pt x="10132" y="975"/>
                  </a:cubicBezTo>
                  <a:cubicBezTo>
                    <a:pt x="10061" y="1279"/>
                    <a:pt x="10061" y="1279"/>
                    <a:pt x="10061" y="1279"/>
                  </a:cubicBezTo>
                  <a:cubicBezTo>
                    <a:pt x="10096" y="1582"/>
                    <a:pt x="10096" y="1582"/>
                    <a:pt x="10096" y="1582"/>
                  </a:cubicBezTo>
                  <a:cubicBezTo>
                    <a:pt x="9921" y="1785"/>
                    <a:pt x="9921" y="1785"/>
                    <a:pt x="9921" y="1785"/>
                  </a:cubicBezTo>
                  <a:cubicBezTo>
                    <a:pt x="9498" y="1734"/>
                    <a:pt x="9498" y="1734"/>
                    <a:pt x="9498" y="1734"/>
                  </a:cubicBezTo>
                  <a:cubicBezTo>
                    <a:pt x="9217" y="1835"/>
                    <a:pt x="9217" y="1835"/>
                    <a:pt x="9217" y="1835"/>
                  </a:cubicBezTo>
                  <a:cubicBezTo>
                    <a:pt x="9076" y="2139"/>
                    <a:pt x="9076" y="2139"/>
                    <a:pt x="9076" y="2139"/>
                  </a:cubicBezTo>
                  <a:cubicBezTo>
                    <a:pt x="8654" y="2139"/>
                    <a:pt x="8654" y="2139"/>
                    <a:pt x="8654" y="2139"/>
                  </a:cubicBezTo>
                  <a:cubicBezTo>
                    <a:pt x="8584" y="2746"/>
                    <a:pt x="8584" y="2746"/>
                    <a:pt x="8584" y="2746"/>
                  </a:cubicBezTo>
                  <a:cubicBezTo>
                    <a:pt x="8478" y="3150"/>
                    <a:pt x="8478" y="3150"/>
                    <a:pt x="8478" y="3150"/>
                  </a:cubicBezTo>
                  <a:cubicBezTo>
                    <a:pt x="8373" y="3606"/>
                    <a:pt x="8373" y="3606"/>
                    <a:pt x="8373" y="3606"/>
                  </a:cubicBezTo>
                  <a:cubicBezTo>
                    <a:pt x="8443" y="3859"/>
                    <a:pt x="8443" y="3859"/>
                    <a:pt x="8443" y="3859"/>
                  </a:cubicBezTo>
                  <a:cubicBezTo>
                    <a:pt x="8549" y="4213"/>
                    <a:pt x="8549" y="4213"/>
                    <a:pt x="8549" y="4213"/>
                  </a:cubicBezTo>
                  <a:cubicBezTo>
                    <a:pt x="8760" y="4567"/>
                    <a:pt x="8760" y="4567"/>
                    <a:pt x="8760" y="4567"/>
                  </a:cubicBezTo>
                  <a:cubicBezTo>
                    <a:pt x="8760" y="4567"/>
                    <a:pt x="8760" y="4567"/>
                    <a:pt x="8760" y="4567"/>
                  </a:cubicBezTo>
                  <a:cubicBezTo>
                    <a:pt x="8549" y="4668"/>
                    <a:pt x="8549" y="4668"/>
                    <a:pt x="8549" y="4668"/>
                  </a:cubicBezTo>
                  <a:cubicBezTo>
                    <a:pt x="8408" y="4719"/>
                    <a:pt x="8408" y="4719"/>
                    <a:pt x="8408" y="4719"/>
                  </a:cubicBezTo>
                  <a:cubicBezTo>
                    <a:pt x="8267" y="4415"/>
                    <a:pt x="8267" y="4415"/>
                    <a:pt x="8267" y="4415"/>
                  </a:cubicBezTo>
                  <a:cubicBezTo>
                    <a:pt x="8056" y="4314"/>
                    <a:pt x="8056" y="4314"/>
                    <a:pt x="8056" y="4314"/>
                  </a:cubicBezTo>
                  <a:cubicBezTo>
                    <a:pt x="7810" y="4466"/>
                    <a:pt x="7810" y="4466"/>
                    <a:pt x="7810" y="4466"/>
                  </a:cubicBezTo>
                  <a:cubicBezTo>
                    <a:pt x="7564" y="4567"/>
                    <a:pt x="7564" y="4567"/>
                    <a:pt x="7564" y="4567"/>
                  </a:cubicBezTo>
                  <a:cubicBezTo>
                    <a:pt x="7493" y="4567"/>
                    <a:pt x="7493" y="4567"/>
                    <a:pt x="7493" y="4567"/>
                  </a:cubicBezTo>
                  <a:cubicBezTo>
                    <a:pt x="7423" y="4769"/>
                    <a:pt x="7423" y="4769"/>
                    <a:pt x="7423" y="4769"/>
                  </a:cubicBezTo>
                  <a:cubicBezTo>
                    <a:pt x="7212" y="4921"/>
                    <a:pt x="7212" y="4921"/>
                    <a:pt x="7212" y="4921"/>
                  </a:cubicBezTo>
                  <a:cubicBezTo>
                    <a:pt x="7212" y="4921"/>
                    <a:pt x="7141" y="4820"/>
                    <a:pt x="7106" y="4769"/>
                  </a:cubicBezTo>
                  <a:cubicBezTo>
                    <a:pt x="7071" y="4719"/>
                    <a:pt x="6965" y="4617"/>
                    <a:pt x="6965" y="4617"/>
                  </a:cubicBezTo>
                  <a:cubicBezTo>
                    <a:pt x="6965" y="4617"/>
                    <a:pt x="6930" y="4516"/>
                    <a:pt x="6895" y="4466"/>
                  </a:cubicBezTo>
                  <a:cubicBezTo>
                    <a:pt x="6860" y="4466"/>
                    <a:pt x="6649" y="4668"/>
                    <a:pt x="6649" y="4668"/>
                  </a:cubicBezTo>
                  <a:cubicBezTo>
                    <a:pt x="6649" y="4668"/>
                    <a:pt x="6473" y="4820"/>
                    <a:pt x="6473" y="4870"/>
                  </a:cubicBezTo>
                  <a:cubicBezTo>
                    <a:pt x="6508" y="4870"/>
                    <a:pt x="6473" y="5123"/>
                    <a:pt x="6473" y="5123"/>
                  </a:cubicBezTo>
                  <a:cubicBezTo>
                    <a:pt x="6227" y="4820"/>
                    <a:pt x="6227" y="4820"/>
                    <a:pt x="6227" y="4820"/>
                  </a:cubicBezTo>
                  <a:cubicBezTo>
                    <a:pt x="6051" y="5022"/>
                    <a:pt x="6051" y="5022"/>
                    <a:pt x="6051" y="5022"/>
                  </a:cubicBezTo>
                  <a:cubicBezTo>
                    <a:pt x="5910" y="4870"/>
                    <a:pt x="5910" y="4870"/>
                    <a:pt x="5910" y="4870"/>
                  </a:cubicBezTo>
                  <a:cubicBezTo>
                    <a:pt x="5840" y="4820"/>
                    <a:pt x="5840" y="4820"/>
                    <a:pt x="5840" y="4820"/>
                  </a:cubicBezTo>
                  <a:cubicBezTo>
                    <a:pt x="5629" y="5174"/>
                    <a:pt x="5629" y="5174"/>
                    <a:pt x="5629" y="5174"/>
                  </a:cubicBezTo>
                  <a:cubicBezTo>
                    <a:pt x="5488" y="5073"/>
                    <a:pt x="5488" y="5073"/>
                    <a:pt x="5488" y="5073"/>
                  </a:cubicBezTo>
                  <a:cubicBezTo>
                    <a:pt x="5418" y="5427"/>
                    <a:pt x="5418" y="5427"/>
                    <a:pt x="5418" y="5427"/>
                  </a:cubicBezTo>
                  <a:cubicBezTo>
                    <a:pt x="5242" y="5224"/>
                    <a:pt x="5242" y="5224"/>
                    <a:pt x="5242" y="5224"/>
                  </a:cubicBezTo>
                  <a:cubicBezTo>
                    <a:pt x="5242" y="5224"/>
                    <a:pt x="5066" y="5174"/>
                    <a:pt x="5031" y="5174"/>
                  </a:cubicBezTo>
                  <a:cubicBezTo>
                    <a:pt x="4995" y="5174"/>
                    <a:pt x="4890" y="5376"/>
                    <a:pt x="4890" y="5376"/>
                  </a:cubicBezTo>
                  <a:cubicBezTo>
                    <a:pt x="4714" y="5174"/>
                    <a:pt x="4714" y="5174"/>
                    <a:pt x="4714" y="5174"/>
                  </a:cubicBezTo>
                  <a:cubicBezTo>
                    <a:pt x="4573" y="5022"/>
                    <a:pt x="4573" y="5022"/>
                    <a:pt x="4573" y="5022"/>
                  </a:cubicBezTo>
                  <a:cubicBezTo>
                    <a:pt x="4573" y="5022"/>
                    <a:pt x="4186" y="5073"/>
                    <a:pt x="4151" y="5073"/>
                  </a:cubicBezTo>
                  <a:cubicBezTo>
                    <a:pt x="4116" y="5073"/>
                    <a:pt x="3870" y="5022"/>
                    <a:pt x="3870" y="5022"/>
                  </a:cubicBezTo>
                  <a:cubicBezTo>
                    <a:pt x="3553" y="5123"/>
                    <a:pt x="3553" y="5123"/>
                    <a:pt x="3553" y="5123"/>
                  </a:cubicBezTo>
                  <a:cubicBezTo>
                    <a:pt x="3096" y="5123"/>
                    <a:pt x="3096" y="5123"/>
                    <a:pt x="3096" y="5123"/>
                  </a:cubicBezTo>
                  <a:cubicBezTo>
                    <a:pt x="2674" y="5174"/>
                    <a:pt x="2674" y="5174"/>
                    <a:pt x="2674" y="5174"/>
                  </a:cubicBezTo>
                  <a:cubicBezTo>
                    <a:pt x="2357" y="5174"/>
                    <a:pt x="2357" y="5174"/>
                    <a:pt x="2357" y="5174"/>
                  </a:cubicBezTo>
                  <a:cubicBezTo>
                    <a:pt x="2111" y="5427"/>
                    <a:pt x="2111" y="5427"/>
                    <a:pt x="2111" y="5427"/>
                  </a:cubicBezTo>
                  <a:cubicBezTo>
                    <a:pt x="1864" y="5477"/>
                    <a:pt x="1864" y="5477"/>
                    <a:pt x="1864" y="5477"/>
                  </a:cubicBezTo>
                  <a:cubicBezTo>
                    <a:pt x="1583" y="5528"/>
                    <a:pt x="1583" y="5528"/>
                    <a:pt x="1583" y="5528"/>
                  </a:cubicBezTo>
                  <a:cubicBezTo>
                    <a:pt x="1548" y="5528"/>
                    <a:pt x="1548" y="5528"/>
                    <a:pt x="1548" y="5528"/>
                  </a:cubicBezTo>
                  <a:cubicBezTo>
                    <a:pt x="1513" y="5579"/>
                    <a:pt x="1513" y="5579"/>
                    <a:pt x="1513" y="5579"/>
                  </a:cubicBezTo>
                  <a:cubicBezTo>
                    <a:pt x="1407" y="5680"/>
                    <a:pt x="1407" y="5680"/>
                    <a:pt x="1407" y="5680"/>
                  </a:cubicBezTo>
                  <a:cubicBezTo>
                    <a:pt x="1407" y="5730"/>
                    <a:pt x="1407" y="5730"/>
                    <a:pt x="1407" y="5730"/>
                  </a:cubicBezTo>
                  <a:cubicBezTo>
                    <a:pt x="1337" y="5832"/>
                    <a:pt x="1337" y="5832"/>
                    <a:pt x="1337" y="5832"/>
                  </a:cubicBezTo>
                  <a:cubicBezTo>
                    <a:pt x="1302" y="6084"/>
                    <a:pt x="1302" y="6084"/>
                    <a:pt x="1302" y="6084"/>
                  </a:cubicBezTo>
                  <a:cubicBezTo>
                    <a:pt x="1266" y="6186"/>
                    <a:pt x="1196" y="6287"/>
                    <a:pt x="1161" y="6388"/>
                  </a:cubicBezTo>
                  <a:cubicBezTo>
                    <a:pt x="1161" y="6388"/>
                    <a:pt x="1161" y="6388"/>
                    <a:pt x="1161" y="6388"/>
                  </a:cubicBezTo>
                  <a:cubicBezTo>
                    <a:pt x="1161" y="6388"/>
                    <a:pt x="1055" y="6337"/>
                    <a:pt x="1055" y="6439"/>
                  </a:cubicBezTo>
                  <a:cubicBezTo>
                    <a:pt x="1055" y="6489"/>
                    <a:pt x="1055" y="6489"/>
                    <a:pt x="1055" y="6489"/>
                  </a:cubicBezTo>
                  <a:cubicBezTo>
                    <a:pt x="950" y="6540"/>
                    <a:pt x="774" y="6439"/>
                    <a:pt x="774" y="6439"/>
                  </a:cubicBezTo>
                  <a:cubicBezTo>
                    <a:pt x="598" y="6590"/>
                    <a:pt x="598" y="6590"/>
                    <a:pt x="598" y="6590"/>
                  </a:cubicBezTo>
                  <a:cubicBezTo>
                    <a:pt x="598" y="6641"/>
                    <a:pt x="598" y="6691"/>
                    <a:pt x="633" y="6691"/>
                  </a:cubicBezTo>
                  <a:cubicBezTo>
                    <a:pt x="668" y="6742"/>
                    <a:pt x="668" y="6742"/>
                    <a:pt x="668" y="6793"/>
                  </a:cubicBezTo>
                  <a:cubicBezTo>
                    <a:pt x="704" y="6793"/>
                    <a:pt x="704" y="6843"/>
                    <a:pt x="704" y="6843"/>
                  </a:cubicBezTo>
                  <a:cubicBezTo>
                    <a:pt x="774" y="7096"/>
                    <a:pt x="774" y="7096"/>
                    <a:pt x="774" y="7096"/>
                  </a:cubicBezTo>
                  <a:cubicBezTo>
                    <a:pt x="774" y="7298"/>
                    <a:pt x="774" y="7298"/>
                    <a:pt x="774" y="7298"/>
                  </a:cubicBezTo>
                  <a:cubicBezTo>
                    <a:pt x="774" y="7298"/>
                    <a:pt x="774" y="7450"/>
                    <a:pt x="844" y="7450"/>
                  </a:cubicBezTo>
                  <a:cubicBezTo>
                    <a:pt x="915" y="7450"/>
                    <a:pt x="950" y="7501"/>
                    <a:pt x="950" y="7602"/>
                  </a:cubicBezTo>
                  <a:cubicBezTo>
                    <a:pt x="950" y="7703"/>
                    <a:pt x="1126" y="7804"/>
                    <a:pt x="1126" y="7804"/>
                  </a:cubicBezTo>
                  <a:cubicBezTo>
                    <a:pt x="1126" y="7804"/>
                    <a:pt x="1126" y="8007"/>
                    <a:pt x="1161" y="8057"/>
                  </a:cubicBezTo>
                  <a:cubicBezTo>
                    <a:pt x="1231" y="8108"/>
                    <a:pt x="1302" y="8158"/>
                    <a:pt x="1407" y="8158"/>
                  </a:cubicBezTo>
                  <a:cubicBezTo>
                    <a:pt x="1513" y="8209"/>
                    <a:pt x="1478" y="8411"/>
                    <a:pt x="1548" y="8462"/>
                  </a:cubicBezTo>
                  <a:cubicBezTo>
                    <a:pt x="1618" y="8513"/>
                    <a:pt x="1689" y="8614"/>
                    <a:pt x="1618" y="8614"/>
                  </a:cubicBezTo>
                  <a:cubicBezTo>
                    <a:pt x="1583" y="8664"/>
                    <a:pt x="1478" y="8664"/>
                    <a:pt x="1478" y="8664"/>
                  </a:cubicBezTo>
                  <a:cubicBezTo>
                    <a:pt x="1478" y="8664"/>
                    <a:pt x="1442" y="8715"/>
                    <a:pt x="1442" y="8816"/>
                  </a:cubicBezTo>
                  <a:cubicBezTo>
                    <a:pt x="1478" y="8867"/>
                    <a:pt x="1478" y="8867"/>
                    <a:pt x="1478" y="8867"/>
                  </a:cubicBezTo>
                  <a:cubicBezTo>
                    <a:pt x="1618" y="9120"/>
                    <a:pt x="1618" y="9120"/>
                    <a:pt x="1618" y="9120"/>
                  </a:cubicBezTo>
                  <a:cubicBezTo>
                    <a:pt x="1618" y="9423"/>
                    <a:pt x="1618" y="9423"/>
                    <a:pt x="1618" y="9423"/>
                  </a:cubicBezTo>
                  <a:cubicBezTo>
                    <a:pt x="1618" y="9423"/>
                    <a:pt x="1618" y="9524"/>
                    <a:pt x="1618" y="9625"/>
                  </a:cubicBezTo>
                  <a:cubicBezTo>
                    <a:pt x="1618" y="9676"/>
                    <a:pt x="1583" y="9777"/>
                    <a:pt x="1513" y="9777"/>
                  </a:cubicBezTo>
                  <a:cubicBezTo>
                    <a:pt x="1513" y="9777"/>
                    <a:pt x="1513" y="9777"/>
                    <a:pt x="1513" y="9777"/>
                  </a:cubicBezTo>
                  <a:cubicBezTo>
                    <a:pt x="1513" y="9777"/>
                    <a:pt x="1513" y="9777"/>
                    <a:pt x="1513" y="9777"/>
                  </a:cubicBezTo>
                  <a:cubicBezTo>
                    <a:pt x="1478" y="9777"/>
                    <a:pt x="1478" y="9777"/>
                    <a:pt x="1478" y="9777"/>
                  </a:cubicBezTo>
                  <a:cubicBezTo>
                    <a:pt x="1442" y="9828"/>
                    <a:pt x="1442" y="9929"/>
                    <a:pt x="1407" y="9929"/>
                  </a:cubicBezTo>
                  <a:cubicBezTo>
                    <a:pt x="1372" y="9980"/>
                    <a:pt x="1302" y="9828"/>
                    <a:pt x="1266" y="9980"/>
                  </a:cubicBezTo>
                  <a:cubicBezTo>
                    <a:pt x="1231" y="10182"/>
                    <a:pt x="1161" y="10334"/>
                    <a:pt x="1161" y="10384"/>
                  </a:cubicBezTo>
                  <a:cubicBezTo>
                    <a:pt x="1126" y="10435"/>
                    <a:pt x="1020" y="10485"/>
                    <a:pt x="1020" y="10587"/>
                  </a:cubicBezTo>
                  <a:cubicBezTo>
                    <a:pt x="985" y="10688"/>
                    <a:pt x="985" y="10587"/>
                    <a:pt x="915" y="10839"/>
                  </a:cubicBezTo>
                  <a:cubicBezTo>
                    <a:pt x="844" y="11092"/>
                    <a:pt x="809" y="11194"/>
                    <a:pt x="809" y="11194"/>
                  </a:cubicBezTo>
                  <a:cubicBezTo>
                    <a:pt x="493" y="11801"/>
                    <a:pt x="493" y="11801"/>
                    <a:pt x="493" y="11801"/>
                  </a:cubicBezTo>
                  <a:cubicBezTo>
                    <a:pt x="493" y="11801"/>
                    <a:pt x="317" y="12205"/>
                    <a:pt x="317" y="12256"/>
                  </a:cubicBezTo>
                  <a:cubicBezTo>
                    <a:pt x="317" y="12306"/>
                    <a:pt x="317" y="12509"/>
                    <a:pt x="317" y="12509"/>
                  </a:cubicBezTo>
                  <a:cubicBezTo>
                    <a:pt x="457" y="12711"/>
                    <a:pt x="457" y="12711"/>
                    <a:pt x="457" y="12711"/>
                  </a:cubicBezTo>
                  <a:cubicBezTo>
                    <a:pt x="457" y="12913"/>
                    <a:pt x="457" y="12913"/>
                    <a:pt x="457" y="12913"/>
                  </a:cubicBezTo>
                  <a:cubicBezTo>
                    <a:pt x="457" y="12913"/>
                    <a:pt x="457" y="13065"/>
                    <a:pt x="493" y="13116"/>
                  </a:cubicBezTo>
                  <a:cubicBezTo>
                    <a:pt x="528" y="13116"/>
                    <a:pt x="528" y="13116"/>
                    <a:pt x="528" y="13116"/>
                  </a:cubicBezTo>
                  <a:cubicBezTo>
                    <a:pt x="493" y="13268"/>
                    <a:pt x="493" y="13268"/>
                    <a:pt x="493" y="13268"/>
                  </a:cubicBezTo>
                  <a:cubicBezTo>
                    <a:pt x="493" y="13268"/>
                    <a:pt x="528" y="13419"/>
                    <a:pt x="563" y="13419"/>
                  </a:cubicBezTo>
                  <a:cubicBezTo>
                    <a:pt x="563" y="13419"/>
                    <a:pt x="633" y="13470"/>
                    <a:pt x="633" y="13470"/>
                  </a:cubicBezTo>
                  <a:cubicBezTo>
                    <a:pt x="633" y="13470"/>
                    <a:pt x="704" y="13571"/>
                    <a:pt x="704" y="13571"/>
                  </a:cubicBezTo>
                  <a:cubicBezTo>
                    <a:pt x="739" y="13622"/>
                    <a:pt x="704" y="13723"/>
                    <a:pt x="704" y="13723"/>
                  </a:cubicBezTo>
                  <a:cubicBezTo>
                    <a:pt x="704" y="13723"/>
                    <a:pt x="704" y="13773"/>
                    <a:pt x="668" y="13773"/>
                  </a:cubicBezTo>
                  <a:cubicBezTo>
                    <a:pt x="633" y="13773"/>
                    <a:pt x="633" y="13773"/>
                    <a:pt x="563" y="13773"/>
                  </a:cubicBezTo>
                  <a:cubicBezTo>
                    <a:pt x="563" y="13723"/>
                    <a:pt x="563" y="13723"/>
                    <a:pt x="528" y="13723"/>
                  </a:cubicBezTo>
                  <a:cubicBezTo>
                    <a:pt x="457" y="13723"/>
                    <a:pt x="457" y="13723"/>
                    <a:pt x="457" y="13723"/>
                  </a:cubicBezTo>
                  <a:cubicBezTo>
                    <a:pt x="422" y="13723"/>
                    <a:pt x="422" y="13723"/>
                    <a:pt x="387" y="13723"/>
                  </a:cubicBezTo>
                  <a:cubicBezTo>
                    <a:pt x="352" y="13723"/>
                    <a:pt x="352" y="13723"/>
                    <a:pt x="352" y="13723"/>
                  </a:cubicBezTo>
                  <a:cubicBezTo>
                    <a:pt x="317" y="13723"/>
                    <a:pt x="317" y="13723"/>
                    <a:pt x="281" y="13773"/>
                  </a:cubicBezTo>
                  <a:cubicBezTo>
                    <a:pt x="281" y="13824"/>
                    <a:pt x="281" y="13824"/>
                    <a:pt x="281" y="13824"/>
                  </a:cubicBezTo>
                  <a:cubicBezTo>
                    <a:pt x="281" y="13824"/>
                    <a:pt x="246" y="13875"/>
                    <a:pt x="246" y="13925"/>
                  </a:cubicBezTo>
                  <a:cubicBezTo>
                    <a:pt x="211" y="13925"/>
                    <a:pt x="211" y="14026"/>
                    <a:pt x="211" y="14026"/>
                  </a:cubicBezTo>
                  <a:cubicBezTo>
                    <a:pt x="211" y="14026"/>
                    <a:pt x="211" y="14077"/>
                    <a:pt x="211" y="14077"/>
                  </a:cubicBezTo>
                  <a:cubicBezTo>
                    <a:pt x="211" y="14077"/>
                    <a:pt x="211" y="14178"/>
                    <a:pt x="211" y="14178"/>
                  </a:cubicBezTo>
                  <a:cubicBezTo>
                    <a:pt x="176" y="14279"/>
                    <a:pt x="176" y="14279"/>
                    <a:pt x="176" y="14279"/>
                  </a:cubicBezTo>
                  <a:cubicBezTo>
                    <a:pt x="176" y="14279"/>
                    <a:pt x="141" y="14330"/>
                    <a:pt x="176" y="14380"/>
                  </a:cubicBezTo>
                  <a:cubicBezTo>
                    <a:pt x="176" y="14380"/>
                    <a:pt x="176" y="14431"/>
                    <a:pt x="176" y="14431"/>
                  </a:cubicBezTo>
                  <a:cubicBezTo>
                    <a:pt x="211" y="14482"/>
                    <a:pt x="211" y="14482"/>
                    <a:pt x="211" y="14482"/>
                  </a:cubicBezTo>
                  <a:cubicBezTo>
                    <a:pt x="141" y="14583"/>
                    <a:pt x="141" y="14583"/>
                    <a:pt x="141" y="14583"/>
                  </a:cubicBezTo>
                  <a:cubicBezTo>
                    <a:pt x="141" y="14684"/>
                    <a:pt x="141" y="14684"/>
                    <a:pt x="141" y="14684"/>
                  </a:cubicBezTo>
                  <a:cubicBezTo>
                    <a:pt x="141" y="14684"/>
                    <a:pt x="176" y="14735"/>
                    <a:pt x="141" y="14785"/>
                  </a:cubicBezTo>
                  <a:cubicBezTo>
                    <a:pt x="141" y="14785"/>
                    <a:pt x="106" y="14836"/>
                    <a:pt x="106" y="14836"/>
                  </a:cubicBezTo>
                  <a:cubicBezTo>
                    <a:pt x="106" y="14836"/>
                    <a:pt x="35" y="14937"/>
                    <a:pt x="35" y="14937"/>
                  </a:cubicBezTo>
                  <a:cubicBezTo>
                    <a:pt x="35" y="14937"/>
                    <a:pt x="35" y="14987"/>
                    <a:pt x="35" y="14987"/>
                  </a:cubicBezTo>
                  <a:cubicBezTo>
                    <a:pt x="35" y="14987"/>
                    <a:pt x="0" y="15089"/>
                    <a:pt x="0" y="15089"/>
                  </a:cubicBezTo>
                  <a:cubicBezTo>
                    <a:pt x="0" y="15089"/>
                    <a:pt x="0" y="15240"/>
                    <a:pt x="0" y="15240"/>
                  </a:cubicBezTo>
                  <a:cubicBezTo>
                    <a:pt x="0" y="15240"/>
                    <a:pt x="35" y="15291"/>
                    <a:pt x="35" y="15291"/>
                  </a:cubicBezTo>
                  <a:cubicBezTo>
                    <a:pt x="35" y="15291"/>
                    <a:pt x="35" y="15342"/>
                    <a:pt x="35" y="15392"/>
                  </a:cubicBezTo>
                  <a:cubicBezTo>
                    <a:pt x="0" y="15392"/>
                    <a:pt x="35" y="15443"/>
                    <a:pt x="35" y="15493"/>
                  </a:cubicBezTo>
                  <a:cubicBezTo>
                    <a:pt x="35" y="15493"/>
                    <a:pt x="35" y="15544"/>
                    <a:pt x="35" y="15544"/>
                  </a:cubicBezTo>
                  <a:cubicBezTo>
                    <a:pt x="0" y="15645"/>
                    <a:pt x="0" y="15645"/>
                    <a:pt x="0" y="15645"/>
                  </a:cubicBezTo>
                  <a:cubicBezTo>
                    <a:pt x="0" y="15645"/>
                    <a:pt x="0" y="15645"/>
                    <a:pt x="0" y="15645"/>
                  </a:cubicBezTo>
                  <a:cubicBezTo>
                    <a:pt x="0" y="15696"/>
                    <a:pt x="0" y="15696"/>
                    <a:pt x="0" y="15696"/>
                  </a:cubicBezTo>
                  <a:cubicBezTo>
                    <a:pt x="0" y="15797"/>
                    <a:pt x="0" y="15797"/>
                    <a:pt x="0" y="15797"/>
                  </a:cubicBezTo>
                  <a:cubicBezTo>
                    <a:pt x="70" y="15797"/>
                    <a:pt x="70" y="15797"/>
                    <a:pt x="70" y="15797"/>
                  </a:cubicBezTo>
                  <a:cubicBezTo>
                    <a:pt x="106" y="15746"/>
                    <a:pt x="106" y="15746"/>
                    <a:pt x="106" y="15746"/>
                  </a:cubicBezTo>
                  <a:cubicBezTo>
                    <a:pt x="281" y="15645"/>
                    <a:pt x="281" y="15645"/>
                    <a:pt x="281" y="15645"/>
                  </a:cubicBezTo>
                  <a:cubicBezTo>
                    <a:pt x="387" y="15797"/>
                    <a:pt x="387" y="15797"/>
                    <a:pt x="387" y="15797"/>
                  </a:cubicBezTo>
                  <a:cubicBezTo>
                    <a:pt x="493" y="15949"/>
                    <a:pt x="493" y="15949"/>
                    <a:pt x="493" y="15949"/>
                  </a:cubicBezTo>
                  <a:cubicBezTo>
                    <a:pt x="668" y="15949"/>
                    <a:pt x="668" y="15949"/>
                    <a:pt x="668" y="15949"/>
                  </a:cubicBezTo>
                  <a:cubicBezTo>
                    <a:pt x="774" y="16151"/>
                    <a:pt x="774" y="16151"/>
                    <a:pt x="774" y="16151"/>
                  </a:cubicBezTo>
                  <a:cubicBezTo>
                    <a:pt x="879" y="16303"/>
                    <a:pt x="879" y="16303"/>
                    <a:pt x="879" y="16303"/>
                  </a:cubicBezTo>
                  <a:cubicBezTo>
                    <a:pt x="1055" y="16252"/>
                    <a:pt x="1055" y="16252"/>
                    <a:pt x="1055" y="16252"/>
                  </a:cubicBezTo>
                  <a:cubicBezTo>
                    <a:pt x="1231" y="16404"/>
                    <a:pt x="1231" y="16404"/>
                    <a:pt x="1231" y="16404"/>
                  </a:cubicBezTo>
                  <a:cubicBezTo>
                    <a:pt x="1196" y="16556"/>
                    <a:pt x="1196" y="16556"/>
                    <a:pt x="1196" y="16556"/>
                  </a:cubicBezTo>
                  <a:cubicBezTo>
                    <a:pt x="1196" y="16556"/>
                    <a:pt x="1337" y="16303"/>
                    <a:pt x="1372" y="16252"/>
                  </a:cubicBezTo>
                  <a:cubicBezTo>
                    <a:pt x="1407" y="16202"/>
                    <a:pt x="1548" y="16151"/>
                    <a:pt x="1548" y="16151"/>
                  </a:cubicBezTo>
                  <a:cubicBezTo>
                    <a:pt x="1548" y="16151"/>
                    <a:pt x="1618" y="16252"/>
                    <a:pt x="1689" y="16303"/>
                  </a:cubicBezTo>
                  <a:cubicBezTo>
                    <a:pt x="1794" y="16303"/>
                    <a:pt x="1794" y="16303"/>
                    <a:pt x="1794" y="16303"/>
                  </a:cubicBezTo>
                  <a:cubicBezTo>
                    <a:pt x="1864" y="16303"/>
                    <a:pt x="2146" y="16252"/>
                    <a:pt x="2146" y="16252"/>
                  </a:cubicBezTo>
                  <a:cubicBezTo>
                    <a:pt x="2533" y="16303"/>
                    <a:pt x="2533" y="16303"/>
                    <a:pt x="2533" y="16303"/>
                  </a:cubicBezTo>
                  <a:cubicBezTo>
                    <a:pt x="2744" y="16151"/>
                    <a:pt x="2744" y="16151"/>
                    <a:pt x="2744" y="16151"/>
                  </a:cubicBezTo>
                  <a:cubicBezTo>
                    <a:pt x="3166" y="16202"/>
                    <a:pt x="3166" y="16202"/>
                    <a:pt x="3166" y="16202"/>
                  </a:cubicBezTo>
                  <a:cubicBezTo>
                    <a:pt x="3236" y="16151"/>
                    <a:pt x="3236" y="16151"/>
                    <a:pt x="3236" y="16151"/>
                  </a:cubicBezTo>
                  <a:cubicBezTo>
                    <a:pt x="3272" y="16202"/>
                    <a:pt x="3272" y="16202"/>
                    <a:pt x="3272" y="16202"/>
                  </a:cubicBezTo>
                  <a:cubicBezTo>
                    <a:pt x="3412" y="16151"/>
                    <a:pt x="3412" y="16151"/>
                    <a:pt x="3412" y="16151"/>
                  </a:cubicBezTo>
                  <a:cubicBezTo>
                    <a:pt x="3553" y="16353"/>
                    <a:pt x="3553" y="16353"/>
                    <a:pt x="3553" y="16353"/>
                  </a:cubicBezTo>
                  <a:cubicBezTo>
                    <a:pt x="3835" y="16303"/>
                    <a:pt x="3835" y="16303"/>
                    <a:pt x="3835" y="16303"/>
                  </a:cubicBezTo>
                  <a:cubicBezTo>
                    <a:pt x="4010" y="15949"/>
                    <a:pt x="4010" y="15949"/>
                    <a:pt x="4010" y="15949"/>
                  </a:cubicBezTo>
                  <a:cubicBezTo>
                    <a:pt x="4010" y="15949"/>
                    <a:pt x="4116" y="15797"/>
                    <a:pt x="4257" y="15746"/>
                  </a:cubicBezTo>
                  <a:cubicBezTo>
                    <a:pt x="4397" y="15746"/>
                    <a:pt x="4644" y="15594"/>
                    <a:pt x="4644" y="15594"/>
                  </a:cubicBezTo>
                  <a:lnTo>
                    <a:pt x="4960" y="15342"/>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7" name="Shape 2260">
              <a:extLst>
                <a:ext uri="{FF2B5EF4-FFF2-40B4-BE49-F238E27FC236}">
                  <a16:creationId xmlns:a16="http://schemas.microsoft.com/office/drawing/2014/main" id="{2747BB52-3CC7-5C10-60BB-B6455F38990A}"/>
                </a:ext>
              </a:extLst>
            </p:cNvPr>
            <p:cNvSpPr/>
            <p:nvPr/>
          </p:nvSpPr>
          <p:spPr>
            <a:xfrm>
              <a:off x="3795817" y="1034998"/>
              <a:ext cx="1163205" cy="3062297"/>
            </a:xfrm>
            <a:custGeom>
              <a:avLst/>
              <a:gdLst/>
              <a:ahLst/>
              <a:cxnLst>
                <a:cxn ang="0">
                  <a:pos x="wd2" y="hd2"/>
                </a:cxn>
                <a:cxn ang="5400000">
                  <a:pos x="wd2" y="hd2"/>
                </a:cxn>
                <a:cxn ang="10800000">
                  <a:pos x="wd2" y="hd2"/>
                </a:cxn>
                <a:cxn ang="16200000">
                  <a:pos x="wd2" y="hd2"/>
                </a:cxn>
              </a:cxnLst>
              <a:rect l="0" t="0" r="r" b="b"/>
              <a:pathLst>
                <a:path w="21600" h="21584" extrusionOk="0">
                  <a:moveTo>
                    <a:pt x="19532" y="2481"/>
                  </a:moveTo>
                  <a:cubicBezTo>
                    <a:pt x="19532" y="2453"/>
                    <a:pt x="19532" y="2453"/>
                    <a:pt x="19532" y="2453"/>
                  </a:cubicBezTo>
                  <a:cubicBezTo>
                    <a:pt x="19532" y="2453"/>
                    <a:pt x="19379" y="2340"/>
                    <a:pt x="19455" y="2284"/>
                  </a:cubicBezTo>
                  <a:cubicBezTo>
                    <a:pt x="19455" y="2284"/>
                    <a:pt x="19455" y="2284"/>
                    <a:pt x="19455" y="2256"/>
                  </a:cubicBezTo>
                  <a:cubicBezTo>
                    <a:pt x="19455" y="2228"/>
                    <a:pt x="19455" y="2228"/>
                    <a:pt x="19455" y="2228"/>
                  </a:cubicBezTo>
                  <a:cubicBezTo>
                    <a:pt x="19149" y="2256"/>
                    <a:pt x="19149" y="2256"/>
                    <a:pt x="19149" y="2256"/>
                  </a:cubicBezTo>
                  <a:cubicBezTo>
                    <a:pt x="18919" y="2143"/>
                    <a:pt x="18919" y="2143"/>
                    <a:pt x="18919" y="2143"/>
                  </a:cubicBezTo>
                  <a:cubicBezTo>
                    <a:pt x="18996" y="2002"/>
                    <a:pt x="18996" y="2002"/>
                    <a:pt x="18996" y="2002"/>
                  </a:cubicBezTo>
                  <a:cubicBezTo>
                    <a:pt x="18843" y="1664"/>
                    <a:pt x="18843" y="1664"/>
                    <a:pt x="18843" y="1664"/>
                  </a:cubicBezTo>
                  <a:cubicBezTo>
                    <a:pt x="18996" y="1495"/>
                    <a:pt x="18996" y="1495"/>
                    <a:pt x="18996" y="1495"/>
                  </a:cubicBezTo>
                  <a:cubicBezTo>
                    <a:pt x="18536" y="1410"/>
                    <a:pt x="18536" y="1410"/>
                    <a:pt x="18536" y="1410"/>
                  </a:cubicBezTo>
                  <a:cubicBezTo>
                    <a:pt x="18230" y="1241"/>
                    <a:pt x="18230" y="1241"/>
                    <a:pt x="18230" y="1241"/>
                  </a:cubicBezTo>
                  <a:cubicBezTo>
                    <a:pt x="18230" y="1241"/>
                    <a:pt x="18153" y="1297"/>
                    <a:pt x="18077" y="1269"/>
                  </a:cubicBezTo>
                  <a:cubicBezTo>
                    <a:pt x="18000" y="1241"/>
                    <a:pt x="17617" y="1015"/>
                    <a:pt x="17617" y="1015"/>
                  </a:cubicBezTo>
                  <a:cubicBezTo>
                    <a:pt x="16928" y="931"/>
                    <a:pt x="16928" y="931"/>
                    <a:pt x="16928" y="931"/>
                  </a:cubicBezTo>
                  <a:cubicBezTo>
                    <a:pt x="16621" y="874"/>
                    <a:pt x="16621" y="874"/>
                    <a:pt x="16621" y="874"/>
                  </a:cubicBezTo>
                  <a:cubicBezTo>
                    <a:pt x="16238" y="846"/>
                    <a:pt x="16238" y="846"/>
                    <a:pt x="16238" y="846"/>
                  </a:cubicBezTo>
                  <a:cubicBezTo>
                    <a:pt x="16238" y="846"/>
                    <a:pt x="16162" y="902"/>
                    <a:pt x="16085" y="846"/>
                  </a:cubicBezTo>
                  <a:cubicBezTo>
                    <a:pt x="16009" y="790"/>
                    <a:pt x="15855" y="733"/>
                    <a:pt x="15855" y="733"/>
                  </a:cubicBezTo>
                  <a:cubicBezTo>
                    <a:pt x="15549" y="761"/>
                    <a:pt x="15549" y="761"/>
                    <a:pt x="15549" y="761"/>
                  </a:cubicBezTo>
                  <a:cubicBezTo>
                    <a:pt x="15319" y="649"/>
                    <a:pt x="15319" y="649"/>
                    <a:pt x="15319" y="649"/>
                  </a:cubicBezTo>
                  <a:cubicBezTo>
                    <a:pt x="15319" y="649"/>
                    <a:pt x="15243" y="649"/>
                    <a:pt x="15166" y="649"/>
                  </a:cubicBezTo>
                  <a:cubicBezTo>
                    <a:pt x="15089" y="620"/>
                    <a:pt x="14936" y="592"/>
                    <a:pt x="14936" y="592"/>
                  </a:cubicBezTo>
                  <a:cubicBezTo>
                    <a:pt x="14706" y="451"/>
                    <a:pt x="14706" y="451"/>
                    <a:pt x="14706" y="451"/>
                  </a:cubicBezTo>
                  <a:cubicBezTo>
                    <a:pt x="14400" y="395"/>
                    <a:pt x="14400" y="395"/>
                    <a:pt x="14400" y="395"/>
                  </a:cubicBezTo>
                  <a:cubicBezTo>
                    <a:pt x="14017" y="338"/>
                    <a:pt x="14017" y="338"/>
                    <a:pt x="14017" y="338"/>
                  </a:cubicBezTo>
                  <a:cubicBezTo>
                    <a:pt x="14017" y="226"/>
                    <a:pt x="14017" y="226"/>
                    <a:pt x="14017" y="226"/>
                  </a:cubicBezTo>
                  <a:cubicBezTo>
                    <a:pt x="13481" y="113"/>
                    <a:pt x="13481" y="113"/>
                    <a:pt x="13481" y="113"/>
                  </a:cubicBezTo>
                  <a:cubicBezTo>
                    <a:pt x="13481" y="113"/>
                    <a:pt x="13404" y="56"/>
                    <a:pt x="13481" y="56"/>
                  </a:cubicBezTo>
                  <a:cubicBezTo>
                    <a:pt x="13557" y="28"/>
                    <a:pt x="13787" y="28"/>
                    <a:pt x="13940" y="28"/>
                  </a:cubicBezTo>
                  <a:cubicBezTo>
                    <a:pt x="13557" y="0"/>
                    <a:pt x="13557" y="0"/>
                    <a:pt x="13557" y="0"/>
                  </a:cubicBezTo>
                  <a:cubicBezTo>
                    <a:pt x="13098" y="141"/>
                    <a:pt x="13098" y="141"/>
                    <a:pt x="13098" y="141"/>
                  </a:cubicBezTo>
                  <a:cubicBezTo>
                    <a:pt x="12868" y="141"/>
                    <a:pt x="12868" y="141"/>
                    <a:pt x="12868" y="141"/>
                  </a:cubicBezTo>
                  <a:cubicBezTo>
                    <a:pt x="12868" y="141"/>
                    <a:pt x="12715" y="169"/>
                    <a:pt x="12715" y="197"/>
                  </a:cubicBezTo>
                  <a:cubicBezTo>
                    <a:pt x="12791" y="226"/>
                    <a:pt x="12945" y="479"/>
                    <a:pt x="13021" y="536"/>
                  </a:cubicBezTo>
                  <a:cubicBezTo>
                    <a:pt x="13098" y="564"/>
                    <a:pt x="13098" y="761"/>
                    <a:pt x="12791" y="902"/>
                  </a:cubicBezTo>
                  <a:cubicBezTo>
                    <a:pt x="13098" y="1015"/>
                    <a:pt x="13098" y="1015"/>
                    <a:pt x="13098" y="1015"/>
                  </a:cubicBezTo>
                  <a:cubicBezTo>
                    <a:pt x="12791" y="1156"/>
                    <a:pt x="12791" y="1156"/>
                    <a:pt x="12791" y="1156"/>
                  </a:cubicBezTo>
                  <a:cubicBezTo>
                    <a:pt x="12332" y="1184"/>
                    <a:pt x="12332" y="1184"/>
                    <a:pt x="12332" y="1184"/>
                  </a:cubicBezTo>
                  <a:cubicBezTo>
                    <a:pt x="12332" y="1184"/>
                    <a:pt x="11872" y="1156"/>
                    <a:pt x="11796" y="1128"/>
                  </a:cubicBezTo>
                  <a:cubicBezTo>
                    <a:pt x="11719" y="1100"/>
                    <a:pt x="11336" y="1043"/>
                    <a:pt x="11260" y="1043"/>
                  </a:cubicBezTo>
                  <a:cubicBezTo>
                    <a:pt x="11106" y="1072"/>
                    <a:pt x="10034" y="1043"/>
                    <a:pt x="10034" y="1043"/>
                  </a:cubicBezTo>
                  <a:cubicBezTo>
                    <a:pt x="9804" y="1156"/>
                    <a:pt x="9881" y="1748"/>
                    <a:pt x="9957" y="1833"/>
                  </a:cubicBezTo>
                  <a:cubicBezTo>
                    <a:pt x="9804" y="1946"/>
                    <a:pt x="9804" y="1946"/>
                    <a:pt x="9804" y="1946"/>
                  </a:cubicBezTo>
                  <a:cubicBezTo>
                    <a:pt x="9421" y="1946"/>
                    <a:pt x="9421" y="1946"/>
                    <a:pt x="9421" y="1946"/>
                  </a:cubicBezTo>
                  <a:cubicBezTo>
                    <a:pt x="8655" y="1805"/>
                    <a:pt x="8655" y="1805"/>
                    <a:pt x="8655" y="1805"/>
                  </a:cubicBezTo>
                  <a:cubicBezTo>
                    <a:pt x="8349" y="2030"/>
                    <a:pt x="8349" y="2030"/>
                    <a:pt x="8349" y="2030"/>
                  </a:cubicBezTo>
                  <a:cubicBezTo>
                    <a:pt x="8349" y="2030"/>
                    <a:pt x="8043" y="2143"/>
                    <a:pt x="8043" y="2199"/>
                  </a:cubicBezTo>
                  <a:cubicBezTo>
                    <a:pt x="8043" y="2228"/>
                    <a:pt x="7889" y="2340"/>
                    <a:pt x="7889" y="2340"/>
                  </a:cubicBezTo>
                  <a:cubicBezTo>
                    <a:pt x="7889" y="2369"/>
                    <a:pt x="7889" y="2566"/>
                    <a:pt x="7889" y="2566"/>
                  </a:cubicBezTo>
                  <a:cubicBezTo>
                    <a:pt x="7736" y="2679"/>
                    <a:pt x="7736" y="2679"/>
                    <a:pt x="7736" y="2679"/>
                  </a:cubicBezTo>
                  <a:cubicBezTo>
                    <a:pt x="7277" y="2792"/>
                    <a:pt x="7277" y="2792"/>
                    <a:pt x="7277" y="2792"/>
                  </a:cubicBezTo>
                  <a:cubicBezTo>
                    <a:pt x="7277" y="2933"/>
                    <a:pt x="7277" y="2933"/>
                    <a:pt x="7277" y="2933"/>
                  </a:cubicBezTo>
                  <a:cubicBezTo>
                    <a:pt x="7277" y="2933"/>
                    <a:pt x="7506" y="3102"/>
                    <a:pt x="7660" y="3130"/>
                  </a:cubicBezTo>
                  <a:cubicBezTo>
                    <a:pt x="7736" y="3186"/>
                    <a:pt x="7889" y="3412"/>
                    <a:pt x="7889" y="3412"/>
                  </a:cubicBezTo>
                  <a:cubicBezTo>
                    <a:pt x="7889" y="3412"/>
                    <a:pt x="7660" y="3609"/>
                    <a:pt x="7583" y="3666"/>
                  </a:cubicBezTo>
                  <a:cubicBezTo>
                    <a:pt x="7506" y="3722"/>
                    <a:pt x="6894" y="4004"/>
                    <a:pt x="6894" y="4004"/>
                  </a:cubicBezTo>
                  <a:cubicBezTo>
                    <a:pt x="6511" y="4371"/>
                    <a:pt x="6511" y="4371"/>
                    <a:pt x="6511" y="4371"/>
                  </a:cubicBezTo>
                  <a:cubicBezTo>
                    <a:pt x="6511" y="4625"/>
                    <a:pt x="6511" y="4625"/>
                    <a:pt x="6511" y="4625"/>
                  </a:cubicBezTo>
                  <a:cubicBezTo>
                    <a:pt x="6434" y="4766"/>
                    <a:pt x="6434" y="4766"/>
                    <a:pt x="6434" y="4766"/>
                  </a:cubicBezTo>
                  <a:cubicBezTo>
                    <a:pt x="5898" y="4963"/>
                    <a:pt x="5898" y="4963"/>
                    <a:pt x="5898" y="4963"/>
                  </a:cubicBezTo>
                  <a:cubicBezTo>
                    <a:pt x="5209" y="4991"/>
                    <a:pt x="5209" y="4991"/>
                    <a:pt x="5209" y="4991"/>
                  </a:cubicBezTo>
                  <a:cubicBezTo>
                    <a:pt x="4979" y="5076"/>
                    <a:pt x="4979" y="5076"/>
                    <a:pt x="4979" y="5076"/>
                  </a:cubicBezTo>
                  <a:cubicBezTo>
                    <a:pt x="5362" y="5555"/>
                    <a:pt x="5362" y="5555"/>
                    <a:pt x="5362" y="5555"/>
                  </a:cubicBezTo>
                  <a:cubicBezTo>
                    <a:pt x="5209" y="5781"/>
                    <a:pt x="5209" y="5781"/>
                    <a:pt x="5209" y="5781"/>
                  </a:cubicBezTo>
                  <a:cubicBezTo>
                    <a:pt x="5132" y="5978"/>
                    <a:pt x="5132" y="5978"/>
                    <a:pt x="5132" y="5978"/>
                  </a:cubicBezTo>
                  <a:cubicBezTo>
                    <a:pt x="5132" y="5978"/>
                    <a:pt x="4979" y="6147"/>
                    <a:pt x="5055" y="6175"/>
                  </a:cubicBezTo>
                  <a:cubicBezTo>
                    <a:pt x="5132" y="6232"/>
                    <a:pt x="5209" y="6345"/>
                    <a:pt x="5209" y="6345"/>
                  </a:cubicBezTo>
                  <a:cubicBezTo>
                    <a:pt x="4902" y="6429"/>
                    <a:pt x="4902" y="6429"/>
                    <a:pt x="4902" y="6429"/>
                  </a:cubicBezTo>
                  <a:cubicBezTo>
                    <a:pt x="4979" y="6598"/>
                    <a:pt x="4979" y="6598"/>
                    <a:pt x="4979" y="6598"/>
                  </a:cubicBezTo>
                  <a:cubicBezTo>
                    <a:pt x="3830" y="7332"/>
                    <a:pt x="3830" y="7332"/>
                    <a:pt x="3830" y="7332"/>
                  </a:cubicBezTo>
                  <a:cubicBezTo>
                    <a:pt x="3983" y="7473"/>
                    <a:pt x="3983" y="7473"/>
                    <a:pt x="3983" y="7473"/>
                  </a:cubicBezTo>
                  <a:cubicBezTo>
                    <a:pt x="4672" y="7529"/>
                    <a:pt x="4672" y="7529"/>
                    <a:pt x="4672" y="7529"/>
                  </a:cubicBezTo>
                  <a:cubicBezTo>
                    <a:pt x="4749" y="7980"/>
                    <a:pt x="4749" y="7980"/>
                    <a:pt x="4749" y="7980"/>
                  </a:cubicBezTo>
                  <a:cubicBezTo>
                    <a:pt x="4519" y="8178"/>
                    <a:pt x="4519" y="8178"/>
                    <a:pt x="4519" y="8178"/>
                  </a:cubicBezTo>
                  <a:cubicBezTo>
                    <a:pt x="4443" y="8234"/>
                    <a:pt x="4443" y="8234"/>
                    <a:pt x="4443" y="8234"/>
                  </a:cubicBezTo>
                  <a:cubicBezTo>
                    <a:pt x="2604" y="8262"/>
                    <a:pt x="2604" y="8262"/>
                    <a:pt x="2604" y="8262"/>
                  </a:cubicBezTo>
                  <a:cubicBezTo>
                    <a:pt x="1609" y="8742"/>
                    <a:pt x="1609" y="8742"/>
                    <a:pt x="1609" y="8742"/>
                  </a:cubicBezTo>
                  <a:cubicBezTo>
                    <a:pt x="1455" y="9023"/>
                    <a:pt x="1455" y="9023"/>
                    <a:pt x="1455" y="9023"/>
                  </a:cubicBezTo>
                  <a:cubicBezTo>
                    <a:pt x="1379" y="9221"/>
                    <a:pt x="1379" y="9221"/>
                    <a:pt x="1379" y="9221"/>
                  </a:cubicBezTo>
                  <a:cubicBezTo>
                    <a:pt x="1379" y="9221"/>
                    <a:pt x="1149" y="9334"/>
                    <a:pt x="1149" y="9390"/>
                  </a:cubicBezTo>
                  <a:cubicBezTo>
                    <a:pt x="1149" y="9418"/>
                    <a:pt x="1149" y="9587"/>
                    <a:pt x="1149" y="9587"/>
                  </a:cubicBezTo>
                  <a:cubicBezTo>
                    <a:pt x="1455" y="9813"/>
                    <a:pt x="1455" y="9813"/>
                    <a:pt x="1455" y="9813"/>
                  </a:cubicBezTo>
                  <a:cubicBezTo>
                    <a:pt x="1455" y="9982"/>
                    <a:pt x="1455" y="9982"/>
                    <a:pt x="1455" y="9982"/>
                  </a:cubicBezTo>
                  <a:cubicBezTo>
                    <a:pt x="1302" y="10067"/>
                    <a:pt x="1302" y="10067"/>
                    <a:pt x="1302" y="10067"/>
                  </a:cubicBezTo>
                  <a:cubicBezTo>
                    <a:pt x="1379" y="10264"/>
                    <a:pt x="1379" y="10264"/>
                    <a:pt x="1379" y="10264"/>
                  </a:cubicBezTo>
                  <a:cubicBezTo>
                    <a:pt x="1379" y="10264"/>
                    <a:pt x="1455" y="10321"/>
                    <a:pt x="1379" y="10349"/>
                  </a:cubicBezTo>
                  <a:cubicBezTo>
                    <a:pt x="1226" y="10405"/>
                    <a:pt x="1226" y="10462"/>
                    <a:pt x="1302" y="10518"/>
                  </a:cubicBezTo>
                  <a:cubicBezTo>
                    <a:pt x="1302" y="10546"/>
                    <a:pt x="1838" y="10913"/>
                    <a:pt x="1838" y="10913"/>
                  </a:cubicBezTo>
                  <a:cubicBezTo>
                    <a:pt x="1915" y="11787"/>
                    <a:pt x="1915" y="11787"/>
                    <a:pt x="1915" y="11787"/>
                  </a:cubicBezTo>
                  <a:cubicBezTo>
                    <a:pt x="2145" y="12013"/>
                    <a:pt x="2145" y="12013"/>
                    <a:pt x="2145" y="12013"/>
                  </a:cubicBezTo>
                  <a:cubicBezTo>
                    <a:pt x="2681" y="12154"/>
                    <a:pt x="2681" y="12154"/>
                    <a:pt x="2681" y="12154"/>
                  </a:cubicBezTo>
                  <a:cubicBezTo>
                    <a:pt x="3140" y="12295"/>
                    <a:pt x="3140" y="12295"/>
                    <a:pt x="3140" y="12295"/>
                  </a:cubicBezTo>
                  <a:cubicBezTo>
                    <a:pt x="3217" y="12548"/>
                    <a:pt x="3217" y="12548"/>
                    <a:pt x="3217" y="12548"/>
                  </a:cubicBezTo>
                  <a:cubicBezTo>
                    <a:pt x="3217" y="12548"/>
                    <a:pt x="3064" y="12746"/>
                    <a:pt x="3064" y="12774"/>
                  </a:cubicBezTo>
                  <a:cubicBezTo>
                    <a:pt x="3140" y="12802"/>
                    <a:pt x="2681" y="12802"/>
                    <a:pt x="2681" y="12802"/>
                  </a:cubicBezTo>
                  <a:cubicBezTo>
                    <a:pt x="2298" y="12830"/>
                    <a:pt x="2298" y="12830"/>
                    <a:pt x="2298" y="12830"/>
                  </a:cubicBezTo>
                  <a:cubicBezTo>
                    <a:pt x="1915" y="12971"/>
                    <a:pt x="1915" y="12971"/>
                    <a:pt x="1915" y="12971"/>
                  </a:cubicBezTo>
                  <a:cubicBezTo>
                    <a:pt x="2068" y="13140"/>
                    <a:pt x="2068" y="13140"/>
                    <a:pt x="2068" y="13140"/>
                  </a:cubicBezTo>
                  <a:cubicBezTo>
                    <a:pt x="2298" y="13394"/>
                    <a:pt x="2298" y="13394"/>
                    <a:pt x="2298" y="13394"/>
                  </a:cubicBezTo>
                  <a:cubicBezTo>
                    <a:pt x="2757" y="13592"/>
                    <a:pt x="2757" y="13592"/>
                    <a:pt x="2757" y="13592"/>
                  </a:cubicBezTo>
                  <a:cubicBezTo>
                    <a:pt x="2911" y="13761"/>
                    <a:pt x="2911" y="13761"/>
                    <a:pt x="2911" y="13761"/>
                  </a:cubicBezTo>
                  <a:cubicBezTo>
                    <a:pt x="2681" y="13930"/>
                    <a:pt x="2681" y="13930"/>
                    <a:pt x="2681" y="13930"/>
                  </a:cubicBezTo>
                  <a:cubicBezTo>
                    <a:pt x="2528" y="14015"/>
                    <a:pt x="2528" y="14015"/>
                    <a:pt x="2528" y="14015"/>
                  </a:cubicBezTo>
                  <a:cubicBezTo>
                    <a:pt x="2681" y="14156"/>
                    <a:pt x="2681" y="14156"/>
                    <a:pt x="2681" y="14156"/>
                  </a:cubicBezTo>
                  <a:cubicBezTo>
                    <a:pt x="2681" y="14297"/>
                    <a:pt x="2681" y="14297"/>
                    <a:pt x="2681" y="14297"/>
                  </a:cubicBezTo>
                  <a:cubicBezTo>
                    <a:pt x="2681" y="14297"/>
                    <a:pt x="2528" y="14381"/>
                    <a:pt x="2528" y="14409"/>
                  </a:cubicBezTo>
                  <a:cubicBezTo>
                    <a:pt x="2528" y="14438"/>
                    <a:pt x="2221" y="14522"/>
                    <a:pt x="2221" y="14522"/>
                  </a:cubicBezTo>
                  <a:cubicBezTo>
                    <a:pt x="1991" y="14607"/>
                    <a:pt x="1991" y="14607"/>
                    <a:pt x="1991" y="14607"/>
                  </a:cubicBezTo>
                  <a:cubicBezTo>
                    <a:pt x="1762" y="14635"/>
                    <a:pt x="1762" y="14635"/>
                    <a:pt x="1762" y="14635"/>
                  </a:cubicBezTo>
                  <a:cubicBezTo>
                    <a:pt x="1762" y="14635"/>
                    <a:pt x="1609" y="14607"/>
                    <a:pt x="1532" y="14635"/>
                  </a:cubicBezTo>
                  <a:cubicBezTo>
                    <a:pt x="1532" y="14635"/>
                    <a:pt x="1379" y="14691"/>
                    <a:pt x="1379" y="14691"/>
                  </a:cubicBezTo>
                  <a:cubicBezTo>
                    <a:pt x="1379" y="14776"/>
                    <a:pt x="1379" y="14776"/>
                    <a:pt x="1379" y="14776"/>
                  </a:cubicBezTo>
                  <a:cubicBezTo>
                    <a:pt x="1532" y="14832"/>
                    <a:pt x="1532" y="14832"/>
                    <a:pt x="1532" y="14832"/>
                  </a:cubicBezTo>
                  <a:cubicBezTo>
                    <a:pt x="1455" y="14973"/>
                    <a:pt x="1455" y="14973"/>
                    <a:pt x="1455" y="14973"/>
                  </a:cubicBezTo>
                  <a:cubicBezTo>
                    <a:pt x="1226" y="15058"/>
                    <a:pt x="1226" y="15058"/>
                    <a:pt x="1226" y="15058"/>
                  </a:cubicBezTo>
                  <a:cubicBezTo>
                    <a:pt x="996" y="15086"/>
                    <a:pt x="996" y="15086"/>
                    <a:pt x="996" y="15086"/>
                  </a:cubicBezTo>
                  <a:cubicBezTo>
                    <a:pt x="1149" y="15255"/>
                    <a:pt x="1149" y="15255"/>
                    <a:pt x="1149" y="15255"/>
                  </a:cubicBezTo>
                  <a:cubicBezTo>
                    <a:pt x="1455" y="15453"/>
                    <a:pt x="1455" y="15453"/>
                    <a:pt x="1455" y="15453"/>
                  </a:cubicBezTo>
                  <a:cubicBezTo>
                    <a:pt x="1455" y="15622"/>
                    <a:pt x="1455" y="15622"/>
                    <a:pt x="1455" y="15622"/>
                  </a:cubicBezTo>
                  <a:cubicBezTo>
                    <a:pt x="1226" y="15791"/>
                    <a:pt x="1226" y="15791"/>
                    <a:pt x="1226" y="15791"/>
                  </a:cubicBezTo>
                  <a:cubicBezTo>
                    <a:pt x="1149" y="15989"/>
                    <a:pt x="1149" y="15989"/>
                    <a:pt x="1149" y="15989"/>
                  </a:cubicBezTo>
                  <a:cubicBezTo>
                    <a:pt x="1072" y="16158"/>
                    <a:pt x="1072" y="16158"/>
                    <a:pt x="1072" y="16158"/>
                  </a:cubicBezTo>
                  <a:cubicBezTo>
                    <a:pt x="919" y="16186"/>
                    <a:pt x="919" y="16186"/>
                    <a:pt x="919" y="16186"/>
                  </a:cubicBezTo>
                  <a:cubicBezTo>
                    <a:pt x="689" y="16186"/>
                    <a:pt x="689" y="16186"/>
                    <a:pt x="689" y="16186"/>
                  </a:cubicBezTo>
                  <a:cubicBezTo>
                    <a:pt x="689" y="16186"/>
                    <a:pt x="689" y="16017"/>
                    <a:pt x="613" y="15989"/>
                  </a:cubicBezTo>
                  <a:cubicBezTo>
                    <a:pt x="613" y="15989"/>
                    <a:pt x="77" y="15819"/>
                    <a:pt x="77" y="15819"/>
                  </a:cubicBezTo>
                  <a:cubicBezTo>
                    <a:pt x="77" y="15989"/>
                    <a:pt x="77" y="15989"/>
                    <a:pt x="77" y="15989"/>
                  </a:cubicBezTo>
                  <a:cubicBezTo>
                    <a:pt x="0" y="16186"/>
                    <a:pt x="0" y="16186"/>
                    <a:pt x="0" y="16186"/>
                  </a:cubicBezTo>
                  <a:cubicBezTo>
                    <a:pt x="0" y="16186"/>
                    <a:pt x="77" y="16299"/>
                    <a:pt x="153" y="16327"/>
                  </a:cubicBezTo>
                  <a:cubicBezTo>
                    <a:pt x="230" y="16355"/>
                    <a:pt x="306" y="16552"/>
                    <a:pt x="306" y="16552"/>
                  </a:cubicBezTo>
                  <a:cubicBezTo>
                    <a:pt x="230" y="16750"/>
                    <a:pt x="230" y="16750"/>
                    <a:pt x="230" y="16750"/>
                  </a:cubicBezTo>
                  <a:cubicBezTo>
                    <a:pt x="230" y="16750"/>
                    <a:pt x="383" y="16891"/>
                    <a:pt x="383" y="16891"/>
                  </a:cubicBezTo>
                  <a:cubicBezTo>
                    <a:pt x="383" y="16919"/>
                    <a:pt x="460" y="17032"/>
                    <a:pt x="460" y="17032"/>
                  </a:cubicBezTo>
                  <a:cubicBezTo>
                    <a:pt x="766" y="17004"/>
                    <a:pt x="766" y="17004"/>
                    <a:pt x="766" y="17004"/>
                  </a:cubicBezTo>
                  <a:cubicBezTo>
                    <a:pt x="689" y="16919"/>
                    <a:pt x="689" y="16919"/>
                    <a:pt x="689" y="16919"/>
                  </a:cubicBezTo>
                  <a:cubicBezTo>
                    <a:pt x="919" y="17032"/>
                    <a:pt x="919" y="17032"/>
                    <a:pt x="919" y="17032"/>
                  </a:cubicBezTo>
                  <a:cubicBezTo>
                    <a:pt x="919" y="17032"/>
                    <a:pt x="766" y="17060"/>
                    <a:pt x="919" y="17032"/>
                  </a:cubicBezTo>
                  <a:cubicBezTo>
                    <a:pt x="996" y="17032"/>
                    <a:pt x="1149" y="16975"/>
                    <a:pt x="1149" y="16975"/>
                  </a:cubicBezTo>
                  <a:cubicBezTo>
                    <a:pt x="1072" y="17060"/>
                    <a:pt x="1072" y="17060"/>
                    <a:pt x="1072" y="17060"/>
                  </a:cubicBezTo>
                  <a:cubicBezTo>
                    <a:pt x="919" y="17173"/>
                    <a:pt x="919" y="17173"/>
                    <a:pt x="919" y="17173"/>
                  </a:cubicBezTo>
                  <a:cubicBezTo>
                    <a:pt x="996" y="17201"/>
                    <a:pt x="996" y="17201"/>
                    <a:pt x="996" y="17201"/>
                  </a:cubicBezTo>
                  <a:cubicBezTo>
                    <a:pt x="1226" y="17229"/>
                    <a:pt x="1226" y="17229"/>
                    <a:pt x="1226" y="17229"/>
                  </a:cubicBezTo>
                  <a:cubicBezTo>
                    <a:pt x="919" y="17370"/>
                    <a:pt x="919" y="17370"/>
                    <a:pt x="919" y="17370"/>
                  </a:cubicBezTo>
                  <a:cubicBezTo>
                    <a:pt x="919" y="17370"/>
                    <a:pt x="1072" y="17455"/>
                    <a:pt x="1149" y="17483"/>
                  </a:cubicBezTo>
                  <a:cubicBezTo>
                    <a:pt x="1149" y="17483"/>
                    <a:pt x="1455" y="17398"/>
                    <a:pt x="1455" y="17398"/>
                  </a:cubicBezTo>
                  <a:cubicBezTo>
                    <a:pt x="1455" y="17398"/>
                    <a:pt x="1455" y="17427"/>
                    <a:pt x="1455" y="17455"/>
                  </a:cubicBezTo>
                  <a:cubicBezTo>
                    <a:pt x="1455" y="17455"/>
                    <a:pt x="1226" y="17539"/>
                    <a:pt x="1226" y="17596"/>
                  </a:cubicBezTo>
                  <a:cubicBezTo>
                    <a:pt x="1302" y="17624"/>
                    <a:pt x="1685" y="17568"/>
                    <a:pt x="1609" y="17596"/>
                  </a:cubicBezTo>
                  <a:cubicBezTo>
                    <a:pt x="1532" y="17624"/>
                    <a:pt x="1532" y="17680"/>
                    <a:pt x="1532" y="17680"/>
                  </a:cubicBezTo>
                  <a:cubicBezTo>
                    <a:pt x="1532" y="17680"/>
                    <a:pt x="1302" y="17765"/>
                    <a:pt x="1455" y="17793"/>
                  </a:cubicBezTo>
                  <a:cubicBezTo>
                    <a:pt x="1532" y="17821"/>
                    <a:pt x="1762" y="17850"/>
                    <a:pt x="1685" y="17850"/>
                  </a:cubicBezTo>
                  <a:cubicBezTo>
                    <a:pt x="1685" y="17878"/>
                    <a:pt x="1455" y="17934"/>
                    <a:pt x="1455" y="17934"/>
                  </a:cubicBezTo>
                  <a:cubicBezTo>
                    <a:pt x="1455" y="17934"/>
                    <a:pt x="1379" y="17991"/>
                    <a:pt x="1455" y="18019"/>
                  </a:cubicBezTo>
                  <a:cubicBezTo>
                    <a:pt x="1532" y="18047"/>
                    <a:pt x="1762" y="18047"/>
                    <a:pt x="1762" y="18047"/>
                  </a:cubicBezTo>
                  <a:cubicBezTo>
                    <a:pt x="1762" y="18047"/>
                    <a:pt x="1762" y="17991"/>
                    <a:pt x="1762" y="18019"/>
                  </a:cubicBezTo>
                  <a:cubicBezTo>
                    <a:pt x="1762" y="18047"/>
                    <a:pt x="1685" y="18103"/>
                    <a:pt x="1685" y="18103"/>
                  </a:cubicBezTo>
                  <a:cubicBezTo>
                    <a:pt x="1685" y="18103"/>
                    <a:pt x="1609" y="18160"/>
                    <a:pt x="1685" y="18188"/>
                  </a:cubicBezTo>
                  <a:cubicBezTo>
                    <a:pt x="1762" y="18188"/>
                    <a:pt x="1915" y="18188"/>
                    <a:pt x="1915" y="18188"/>
                  </a:cubicBezTo>
                  <a:cubicBezTo>
                    <a:pt x="1915" y="18188"/>
                    <a:pt x="1915" y="18216"/>
                    <a:pt x="1915" y="18273"/>
                  </a:cubicBezTo>
                  <a:cubicBezTo>
                    <a:pt x="1915" y="18301"/>
                    <a:pt x="1915" y="18385"/>
                    <a:pt x="1915" y="18385"/>
                  </a:cubicBezTo>
                  <a:cubicBezTo>
                    <a:pt x="1915" y="18414"/>
                    <a:pt x="1915" y="18470"/>
                    <a:pt x="1915" y="18470"/>
                  </a:cubicBezTo>
                  <a:cubicBezTo>
                    <a:pt x="1915" y="18470"/>
                    <a:pt x="1838" y="18498"/>
                    <a:pt x="2068" y="18498"/>
                  </a:cubicBezTo>
                  <a:cubicBezTo>
                    <a:pt x="2221" y="18498"/>
                    <a:pt x="2221" y="18470"/>
                    <a:pt x="2298" y="18470"/>
                  </a:cubicBezTo>
                  <a:cubicBezTo>
                    <a:pt x="2374" y="18470"/>
                    <a:pt x="2374" y="18498"/>
                    <a:pt x="2451" y="18526"/>
                  </a:cubicBezTo>
                  <a:cubicBezTo>
                    <a:pt x="2451" y="18583"/>
                    <a:pt x="2451" y="18611"/>
                    <a:pt x="2451" y="18639"/>
                  </a:cubicBezTo>
                  <a:cubicBezTo>
                    <a:pt x="2528" y="18667"/>
                    <a:pt x="2834" y="18949"/>
                    <a:pt x="2834" y="18949"/>
                  </a:cubicBezTo>
                  <a:cubicBezTo>
                    <a:pt x="2834" y="18949"/>
                    <a:pt x="2911" y="19062"/>
                    <a:pt x="2987" y="19090"/>
                  </a:cubicBezTo>
                  <a:cubicBezTo>
                    <a:pt x="2987" y="19119"/>
                    <a:pt x="3064" y="19147"/>
                    <a:pt x="3140" y="19175"/>
                  </a:cubicBezTo>
                  <a:cubicBezTo>
                    <a:pt x="3140" y="19175"/>
                    <a:pt x="3294" y="19260"/>
                    <a:pt x="3294" y="19260"/>
                  </a:cubicBezTo>
                  <a:cubicBezTo>
                    <a:pt x="3523" y="19316"/>
                    <a:pt x="3523" y="19316"/>
                    <a:pt x="3523" y="19316"/>
                  </a:cubicBezTo>
                  <a:cubicBezTo>
                    <a:pt x="3830" y="19513"/>
                    <a:pt x="3830" y="19513"/>
                    <a:pt x="3830" y="19513"/>
                  </a:cubicBezTo>
                  <a:cubicBezTo>
                    <a:pt x="3830" y="19513"/>
                    <a:pt x="4060" y="19598"/>
                    <a:pt x="4060" y="19598"/>
                  </a:cubicBezTo>
                  <a:cubicBezTo>
                    <a:pt x="4136" y="19598"/>
                    <a:pt x="4289" y="19542"/>
                    <a:pt x="4289" y="19542"/>
                  </a:cubicBezTo>
                  <a:cubicBezTo>
                    <a:pt x="4289" y="19542"/>
                    <a:pt x="4519" y="19570"/>
                    <a:pt x="4519" y="19598"/>
                  </a:cubicBezTo>
                  <a:cubicBezTo>
                    <a:pt x="4443" y="19598"/>
                    <a:pt x="4366" y="19711"/>
                    <a:pt x="4366" y="19739"/>
                  </a:cubicBezTo>
                  <a:cubicBezTo>
                    <a:pt x="4443" y="19767"/>
                    <a:pt x="4443" y="19824"/>
                    <a:pt x="4443" y="19824"/>
                  </a:cubicBezTo>
                  <a:cubicBezTo>
                    <a:pt x="4289" y="19852"/>
                    <a:pt x="4289" y="19852"/>
                    <a:pt x="4289" y="19852"/>
                  </a:cubicBezTo>
                  <a:cubicBezTo>
                    <a:pt x="4136" y="19880"/>
                    <a:pt x="4136" y="19880"/>
                    <a:pt x="4136" y="19880"/>
                  </a:cubicBezTo>
                  <a:cubicBezTo>
                    <a:pt x="3830" y="19880"/>
                    <a:pt x="3830" y="19880"/>
                    <a:pt x="3830" y="19880"/>
                  </a:cubicBezTo>
                  <a:cubicBezTo>
                    <a:pt x="3753" y="19993"/>
                    <a:pt x="3753" y="19993"/>
                    <a:pt x="3753" y="19993"/>
                  </a:cubicBezTo>
                  <a:cubicBezTo>
                    <a:pt x="4060" y="20049"/>
                    <a:pt x="4060" y="20049"/>
                    <a:pt x="4060" y="20049"/>
                  </a:cubicBezTo>
                  <a:cubicBezTo>
                    <a:pt x="4060" y="20049"/>
                    <a:pt x="4213" y="20105"/>
                    <a:pt x="4289" y="20105"/>
                  </a:cubicBezTo>
                  <a:cubicBezTo>
                    <a:pt x="4289" y="20134"/>
                    <a:pt x="4289" y="20246"/>
                    <a:pt x="4289" y="20246"/>
                  </a:cubicBezTo>
                  <a:cubicBezTo>
                    <a:pt x="4213" y="20246"/>
                    <a:pt x="3906" y="20246"/>
                    <a:pt x="3906" y="20246"/>
                  </a:cubicBezTo>
                  <a:cubicBezTo>
                    <a:pt x="3906" y="20246"/>
                    <a:pt x="3753" y="20331"/>
                    <a:pt x="3753" y="20331"/>
                  </a:cubicBezTo>
                  <a:cubicBezTo>
                    <a:pt x="3753" y="20359"/>
                    <a:pt x="3677" y="20359"/>
                    <a:pt x="3830" y="20444"/>
                  </a:cubicBezTo>
                  <a:cubicBezTo>
                    <a:pt x="3906" y="20500"/>
                    <a:pt x="4289" y="20669"/>
                    <a:pt x="4289" y="20669"/>
                  </a:cubicBezTo>
                  <a:cubicBezTo>
                    <a:pt x="4289" y="20669"/>
                    <a:pt x="4596" y="20839"/>
                    <a:pt x="4596" y="20839"/>
                  </a:cubicBezTo>
                  <a:cubicBezTo>
                    <a:pt x="4596" y="20867"/>
                    <a:pt x="4826" y="20980"/>
                    <a:pt x="4826" y="20980"/>
                  </a:cubicBezTo>
                  <a:cubicBezTo>
                    <a:pt x="4902" y="20980"/>
                    <a:pt x="4902" y="21092"/>
                    <a:pt x="4902" y="21092"/>
                  </a:cubicBezTo>
                  <a:cubicBezTo>
                    <a:pt x="4826" y="21149"/>
                    <a:pt x="4826" y="21149"/>
                    <a:pt x="4826" y="21149"/>
                  </a:cubicBezTo>
                  <a:cubicBezTo>
                    <a:pt x="4749" y="21233"/>
                    <a:pt x="4749" y="21233"/>
                    <a:pt x="4749" y="21233"/>
                  </a:cubicBezTo>
                  <a:cubicBezTo>
                    <a:pt x="4672" y="21318"/>
                    <a:pt x="4672" y="21318"/>
                    <a:pt x="4672" y="21318"/>
                  </a:cubicBezTo>
                  <a:cubicBezTo>
                    <a:pt x="4749" y="21374"/>
                    <a:pt x="4749" y="21374"/>
                    <a:pt x="4749" y="21374"/>
                  </a:cubicBezTo>
                  <a:cubicBezTo>
                    <a:pt x="4672" y="21431"/>
                    <a:pt x="4672" y="21431"/>
                    <a:pt x="4672" y="21431"/>
                  </a:cubicBezTo>
                  <a:cubicBezTo>
                    <a:pt x="4519" y="21515"/>
                    <a:pt x="4519" y="21515"/>
                    <a:pt x="4519" y="21515"/>
                  </a:cubicBezTo>
                  <a:cubicBezTo>
                    <a:pt x="4902" y="21544"/>
                    <a:pt x="4902" y="21544"/>
                    <a:pt x="4902" y="21544"/>
                  </a:cubicBezTo>
                  <a:cubicBezTo>
                    <a:pt x="5362" y="21515"/>
                    <a:pt x="5362" y="21515"/>
                    <a:pt x="5362" y="21515"/>
                  </a:cubicBezTo>
                  <a:cubicBezTo>
                    <a:pt x="5362" y="21515"/>
                    <a:pt x="5438" y="21572"/>
                    <a:pt x="5438" y="21572"/>
                  </a:cubicBezTo>
                  <a:cubicBezTo>
                    <a:pt x="5515" y="21600"/>
                    <a:pt x="5898" y="21572"/>
                    <a:pt x="5898" y="21572"/>
                  </a:cubicBezTo>
                  <a:cubicBezTo>
                    <a:pt x="6204" y="21515"/>
                    <a:pt x="6204" y="21515"/>
                    <a:pt x="6204" y="21515"/>
                  </a:cubicBezTo>
                  <a:cubicBezTo>
                    <a:pt x="6434" y="21459"/>
                    <a:pt x="6434" y="21459"/>
                    <a:pt x="6434" y="21459"/>
                  </a:cubicBezTo>
                  <a:cubicBezTo>
                    <a:pt x="6434" y="21403"/>
                    <a:pt x="6434" y="21403"/>
                    <a:pt x="6434" y="21403"/>
                  </a:cubicBezTo>
                  <a:cubicBezTo>
                    <a:pt x="6434" y="21403"/>
                    <a:pt x="6587" y="21318"/>
                    <a:pt x="6587" y="21318"/>
                  </a:cubicBezTo>
                  <a:cubicBezTo>
                    <a:pt x="6664" y="21318"/>
                    <a:pt x="6894" y="21346"/>
                    <a:pt x="6894" y="21346"/>
                  </a:cubicBezTo>
                  <a:cubicBezTo>
                    <a:pt x="6894" y="21346"/>
                    <a:pt x="7123" y="21346"/>
                    <a:pt x="7123" y="21374"/>
                  </a:cubicBezTo>
                  <a:cubicBezTo>
                    <a:pt x="7123" y="21403"/>
                    <a:pt x="7277" y="21431"/>
                    <a:pt x="7277" y="21431"/>
                  </a:cubicBezTo>
                  <a:cubicBezTo>
                    <a:pt x="7506" y="21431"/>
                    <a:pt x="7506" y="21431"/>
                    <a:pt x="7506" y="21431"/>
                  </a:cubicBezTo>
                  <a:cubicBezTo>
                    <a:pt x="7736" y="21403"/>
                    <a:pt x="7736" y="21403"/>
                    <a:pt x="7736" y="21403"/>
                  </a:cubicBezTo>
                  <a:cubicBezTo>
                    <a:pt x="8043" y="21374"/>
                    <a:pt x="8043" y="21374"/>
                    <a:pt x="8043" y="21374"/>
                  </a:cubicBezTo>
                  <a:cubicBezTo>
                    <a:pt x="8043" y="21374"/>
                    <a:pt x="7966" y="21318"/>
                    <a:pt x="8043" y="21318"/>
                  </a:cubicBezTo>
                  <a:cubicBezTo>
                    <a:pt x="8119" y="21318"/>
                    <a:pt x="8349" y="21318"/>
                    <a:pt x="8349" y="21318"/>
                  </a:cubicBezTo>
                  <a:cubicBezTo>
                    <a:pt x="8349" y="21318"/>
                    <a:pt x="8426" y="21374"/>
                    <a:pt x="8502" y="21374"/>
                  </a:cubicBezTo>
                  <a:cubicBezTo>
                    <a:pt x="8502" y="21374"/>
                    <a:pt x="8655" y="21318"/>
                    <a:pt x="8579" y="21290"/>
                  </a:cubicBezTo>
                  <a:cubicBezTo>
                    <a:pt x="8502" y="21262"/>
                    <a:pt x="8196" y="21205"/>
                    <a:pt x="8196" y="21205"/>
                  </a:cubicBezTo>
                  <a:cubicBezTo>
                    <a:pt x="8196" y="21205"/>
                    <a:pt x="8043" y="21121"/>
                    <a:pt x="8043" y="21092"/>
                  </a:cubicBezTo>
                  <a:cubicBezTo>
                    <a:pt x="7966" y="21064"/>
                    <a:pt x="7966" y="20980"/>
                    <a:pt x="7889" y="20951"/>
                  </a:cubicBezTo>
                  <a:cubicBezTo>
                    <a:pt x="7813" y="20951"/>
                    <a:pt x="7736" y="20923"/>
                    <a:pt x="7736" y="20867"/>
                  </a:cubicBezTo>
                  <a:cubicBezTo>
                    <a:pt x="7813" y="20782"/>
                    <a:pt x="7813" y="20754"/>
                    <a:pt x="7813" y="20754"/>
                  </a:cubicBezTo>
                  <a:cubicBezTo>
                    <a:pt x="7813" y="20726"/>
                    <a:pt x="7813" y="20613"/>
                    <a:pt x="7813" y="20613"/>
                  </a:cubicBezTo>
                  <a:cubicBezTo>
                    <a:pt x="7813" y="20613"/>
                    <a:pt x="7736" y="20557"/>
                    <a:pt x="7966" y="20500"/>
                  </a:cubicBezTo>
                  <a:cubicBezTo>
                    <a:pt x="8196" y="20444"/>
                    <a:pt x="8196" y="20387"/>
                    <a:pt x="8272" y="20416"/>
                  </a:cubicBezTo>
                  <a:cubicBezTo>
                    <a:pt x="8349" y="20444"/>
                    <a:pt x="8502" y="20500"/>
                    <a:pt x="8579" y="20500"/>
                  </a:cubicBezTo>
                  <a:cubicBezTo>
                    <a:pt x="8579" y="20528"/>
                    <a:pt x="8655" y="20528"/>
                    <a:pt x="8732" y="20557"/>
                  </a:cubicBezTo>
                  <a:cubicBezTo>
                    <a:pt x="8732" y="20585"/>
                    <a:pt x="8655" y="20613"/>
                    <a:pt x="8809" y="20613"/>
                  </a:cubicBezTo>
                  <a:cubicBezTo>
                    <a:pt x="8885" y="20613"/>
                    <a:pt x="9038" y="20613"/>
                    <a:pt x="9038" y="20613"/>
                  </a:cubicBezTo>
                  <a:cubicBezTo>
                    <a:pt x="9038" y="20613"/>
                    <a:pt x="9115" y="20613"/>
                    <a:pt x="9115" y="20585"/>
                  </a:cubicBezTo>
                  <a:cubicBezTo>
                    <a:pt x="9115" y="20557"/>
                    <a:pt x="9115" y="20472"/>
                    <a:pt x="9038" y="20472"/>
                  </a:cubicBezTo>
                  <a:cubicBezTo>
                    <a:pt x="8962" y="20444"/>
                    <a:pt x="8885" y="20416"/>
                    <a:pt x="8885" y="20416"/>
                  </a:cubicBezTo>
                  <a:cubicBezTo>
                    <a:pt x="8885" y="20416"/>
                    <a:pt x="9038" y="20387"/>
                    <a:pt x="8809" y="20359"/>
                  </a:cubicBezTo>
                  <a:cubicBezTo>
                    <a:pt x="8579" y="20303"/>
                    <a:pt x="8579" y="20275"/>
                    <a:pt x="8655" y="20246"/>
                  </a:cubicBezTo>
                  <a:cubicBezTo>
                    <a:pt x="8809" y="20218"/>
                    <a:pt x="9115" y="20246"/>
                    <a:pt x="9115" y="20246"/>
                  </a:cubicBezTo>
                  <a:cubicBezTo>
                    <a:pt x="9345" y="20218"/>
                    <a:pt x="9345" y="20218"/>
                    <a:pt x="9345" y="20218"/>
                  </a:cubicBezTo>
                  <a:cubicBezTo>
                    <a:pt x="9345" y="20218"/>
                    <a:pt x="9498" y="20162"/>
                    <a:pt x="9651" y="20190"/>
                  </a:cubicBezTo>
                  <a:cubicBezTo>
                    <a:pt x="9728" y="20218"/>
                    <a:pt x="10034" y="20190"/>
                    <a:pt x="10034" y="20190"/>
                  </a:cubicBezTo>
                  <a:cubicBezTo>
                    <a:pt x="10417" y="20218"/>
                    <a:pt x="10417" y="20218"/>
                    <a:pt x="10417" y="20218"/>
                  </a:cubicBezTo>
                  <a:cubicBezTo>
                    <a:pt x="10570" y="20162"/>
                    <a:pt x="10570" y="20162"/>
                    <a:pt x="10570" y="20162"/>
                  </a:cubicBezTo>
                  <a:cubicBezTo>
                    <a:pt x="10953" y="20218"/>
                    <a:pt x="10953" y="20218"/>
                    <a:pt x="10953" y="20218"/>
                  </a:cubicBezTo>
                  <a:cubicBezTo>
                    <a:pt x="10953" y="20218"/>
                    <a:pt x="10877" y="20218"/>
                    <a:pt x="11106" y="20246"/>
                  </a:cubicBezTo>
                  <a:cubicBezTo>
                    <a:pt x="11260" y="20246"/>
                    <a:pt x="11489" y="20190"/>
                    <a:pt x="11489" y="20162"/>
                  </a:cubicBezTo>
                  <a:cubicBezTo>
                    <a:pt x="11566" y="20162"/>
                    <a:pt x="11872" y="19964"/>
                    <a:pt x="11872" y="19964"/>
                  </a:cubicBezTo>
                  <a:cubicBezTo>
                    <a:pt x="12102" y="19401"/>
                    <a:pt x="12102" y="19401"/>
                    <a:pt x="12102" y="19401"/>
                  </a:cubicBezTo>
                  <a:cubicBezTo>
                    <a:pt x="12102" y="19401"/>
                    <a:pt x="12409" y="19316"/>
                    <a:pt x="12332" y="19316"/>
                  </a:cubicBezTo>
                  <a:cubicBezTo>
                    <a:pt x="12332" y="19288"/>
                    <a:pt x="12332" y="19090"/>
                    <a:pt x="12332" y="19062"/>
                  </a:cubicBezTo>
                  <a:cubicBezTo>
                    <a:pt x="12332" y="19034"/>
                    <a:pt x="12485" y="18837"/>
                    <a:pt x="12485" y="18837"/>
                  </a:cubicBezTo>
                  <a:cubicBezTo>
                    <a:pt x="12485" y="18837"/>
                    <a:pt x="12791" y="18752"/>
                    <a:pt x="12638" y="18667"/>
                  </a:cubicBezTo>
                  <a:cubicBezTo>
                    <a:pt x="12562" y="18583"/>
                    <a:pt x="12485" y="18442"/>
                    <a:pt x="12485" y="18442"/>
                  </a:cubicBezTo>
                  <a:cubicBezTo>
                    <a:pt x="12485" y="18442"/>
                    <a:pt x="12409" y="18301"/>
                    <a:pt x="12409" y="18273"/>
                  </a:cubicBezTo>
                  <a:cubicBezTo>
                    <a:pt x="12409" y="18244"/>
                    <a:pt x="12715" y="18103"/>
                    <a:pt x="12715" y="18103"/>
                  </a:cubicBezTo>
                  <a:cubicBezTo>
                    <a:pt x="12485" y="17850"/>
                    <a:pt x="12485" y="17850"/>
                    <a:pt x="12485" y="17850"/>
                  </a:cubicBezTo>
                  <a:cubicBezTo>
                    <a:pt x="12485" y="17850"/>
                    <a:pt x="12638" y="17765"/>
                    <a:pt x="12638" y="17737"/>
                  </a:cubicBezTo>
                  <a:cubicBezTo>
                    <a:pt x="12638" y="17709"/>
                    <a:pt x="12485" y="17455"/>
                    <a:pt x="12485" y="17455"/>
                  </a:cubicBezTo>
                  <a:cubicBezTo>
                    <a:pt x="12485" y="17398"/>
                    <a:pt x="12485" y="17398"/>
                    <a:pt x="12485" y="17398"/>
                  </a:cubicBezTo>
                  <a:cubicBezTo>
                    <a:pt x="12485" y="17398"/>
                    <a:pt x="12715" y="17257"/>
                    <a:pt x="12638" y="17229"/>
                  </a:cubicBezTo>
                  <a:cubicBezTo>
                    <a:pt x="12638" y="17201"/>
                    <a:pt x="12638" y="17060"/>
                    <a:pt x="12638" y="17060"/>
                  </a:cubicBezTo>
                  <a:cubicBezTo>
                    <a:pt x="12485" y="16891"/>
                    <a:pt x="12485" y="16891"/>
                    <a:pt x="12485" y="16891"/>
                  </a:cubicBezTo>
                  <a:cubicBezTo>
                    <a:pt x="12485" y="16891"/>
                    <a:pt x="12638" y="16863"/>
                    <a:pt x="12562" y="16834"/>
                  </a:cubicBezTo>
                  <a:cubicBezTo>
                    <a:pt x="12485" y="16778"/>
                    <a:pt x="12409" y="16750"/>
                    <a:pt x="12409" y="16750"/>
                  </a:cubicBezTo>
                  <a:cubicBezTo>
                    <a:pt x="12409" y="16693"/>
                    <a:pt x="12409" y="16693"/>
                    <a:pt x="12409" y="16693"/>
                  </a:cubicBezTo>
                  <a:cubicBezTo>
                    <a:pt x="12485" y="16637"/>
                    <a:pt x="12485" y="16637"/>
                    <a:pt x="12485" y="16637"/>
                  </a:cubicBezTo>
                  <a:cubicBezTo>
                    <a:pt x="12638" y="16581"/>
                    <a:pt x="12638" y="16581"/>
                    <a:pt x="12638" y="16581"/>
                  </a:cubicBezTo>
                  <a:cubicBezTo>
                    <a:pt x="12562" y="16411"/>
                    <a:pt x="12562" y="16411"/>
                    <a:pt x="12562" y="16411"/>
                  </a:cubicBezTo>
                  <a:cubicBezTo>
                    <a:pt x="12255" y="16383"/>
                    <a:pt x="12255" y="16383"/>
                    <a:pt x="12255" y="16383"/>
                  </a:cubicBezTo>
                  <a:cubicBezTo>
                    <a:pt x="12255" y="16383"/>
                    <a:pt x="12255" y="16327"/>
                    <a:pt x="12332" y="16327"/>
                  </a:cubicBezTo>
                  <a:cubicBezTo>
                    <a:pt x="12485" y="16299"/>
                    <a:pt x="13021" y="16214"/>
                    <a:pt x="13021" y="16214"/>
                  </a:cubicBezTo>
                  <a:cubicBezTo>
                    <a:pt x="13021" y="16214"/>
                    <a:pt x="13174" y="16130"/>
                    <a:pt x="13251" y="16130"/>
                  </a:cubicBezTo>
                  <a:cubicBezTo>
                    <a:pt x="13251" y="16101"/>
                    <a:pt x="13864" y="15960"/>
                    <a:pt x="13864" y="15960"/>
                  </a:cubicBezTo>
                  <a:cubicBezTo>
                    <a:pt x="13864" y="15960"/>
                    <a:pt x="13864" y="15876"/>
                    <a:pt x="13864" y="15848"/>
                  </a:cubicBezTo>
                  <a:cubicBezTo>
                    <a:pt x="13940" y="15848"/>
                    <a:pt x="13940" y="15819"/>
                    <a:pt x="13940" y="15763"/>
                  </a:cubicBezTo>
                  <a:cubicBezTo>
                    <a:pt x="14017" y="15763"/>
                    <a:pt x="13864" y="15509"/>
                    <a:pt x="13864" y="15425"/>
                  </a:cubicBezTo>
                  <a:cubicBezTo>
                    <a:pt x="13940" y="15368"/>
                    <a:pt x="14094" y="15481"/>
                    <a:pt x="14094" y="15481"/>
                  </a:cubicBezTo>
                  <a:cubicBezTo>
                    <a:pt x="14170" y="15566"/>
                    <a:pt x="14170" y="15566"/>
                    <a:pt x="14170" y="15566"/>
                  </a:cubicBezTo>
                  <a:cubicBezTo>
                    <a:pt x="14170" y="15735"/>
                    <a:pt x="14170" y="15735"/>
                    <a:pt x="14170" y="15735"/>
                  </a:cubicBezTo>
                  <a:cubicBezTo>
                    <a:pt x="14400" y="15763"/>
                    <a:pt x="14400" y="15763"/>
                    <a:pt x="14400" y="15763"/>
                  </a:cubicBezTo>
                  <a:cubicBezTo>
                    <a:pt x="14477" y="15848"/>
                    <a:pt x="14477" y="15848"/>
                    <a:pt x="14477" y="15848"/>
                  </a:cubicBezTo>
                  <a:cubicBezTo>
                    <a:pt x="14477" y="15848"/>
                    <a:pt x="14400" y="15932"/>
                    <a:pt x="14477" y="15932"/>
                  </a:cubicBezTo>
                  <a:cubicBezTo>
                    <a:pt x="14553" y="15904"/>
                    <a:pt x="14553" y="15904"/>
                    <a:pt x="14553" y="15904"/>
                  </a:cubicBezTo>
                  <a:cubicBezTo>
                    <a:pt x="14630" y="15735"/>
                    <a:pt x="14630" y="15735"/>
                    <a:pt x="14630" y="15735"/>
                  </a:cubicBezTo>
                  <a:cubicBezTo>
                    <a:pt x="14630" y="15735"/>
                    <a:pt x="14936" y="15735"/>
                    <a:pt x="14860" y="15678"/>
                  </a:cubicBezTo>
                  <a:cubicBezTo>
                    <a:pt x="14860" y="15650"/>
                    <a:pt x="14783" y="15594"/>
                    <a:pt x="14860" y="15594"/>
                  </a:cubicBezTo>
                  <a:cubicBezTo>
                    <a:pt x="15319" y="15566"/>
                    <a:pt x="15166" y="15566"/>
                    <a:pt x="15396" y="15509"/>
                  </a:cubicBezTo>
                  <a:cubicBezTo>
                    <a:pt x="15396" y="15509"/>
                    <a:pt x="15549" y="15396"/>
                    <a:pt x="15549" y="15396"/>
                  </a:cubicBezTo>
                  <a:cubicBezTo>
                    <a:pt x="15549" y="15368"/>
                    <a:pt x="15626" y="15312"/>
                    <a:pt x="15626" y="15312"/>
                  </a:cubicBezTo>
                  <a:cubicBezTo>
                    <a:pt x="15472" y="15284"/>
                    <a:pt x="15472" y="15284"/>
                    <a:pt x="15472" y="15284"/>
                  </a:cubicBezTo>
                  <a:cubicBezTo>
                    <a:pt x="15396" y="15199"/>
                    <a:pt x="15396" y="15199"/>
                    <a:pt x="15396" y="15199"/>
                  </a:cubicBezTo>
                  <a:cubicBezTo>
                    <a:pt x="15396" y="15199"/>
                    <a:pt x="15472" y="15143"/>
                    <a:pt x="15549" y="15171"/>
                  </a:cubicBezTo>
                  <a:cubicBezTo>
                    <a:pt x="15549" y="15199"/>
                    <a:pt x="15626" y="15255"/>
                    <a:pt x="15702" y="15255"/>
                  </a:cubicBezTo>
                  <a:cubicBezTo>
                    <a:pt x="15779" y="15255"/>
                    <a:pt x="16009" y="15171"/>
                    <a:pt x="16009" y="15171"/>
                  </a:cubicBezTo>
                  <a:cubicBezTo>
                    <a:pt x="16009" y="15086"/>
                    <a:pt x="15472" y="14973"/>
                    <a:pt x="15319" y="14945"/>
                  </a:cubicBezTo>
                  <a:cubicBezTo>
                    <a:pt x="15319" y="14832"/>
                    <a:pt x="16085" y="14691"/>
                    <a:pt x="16085" y="14663"/>
                  </a:cubicBezTo>
                  <a:cubicBezTo>
                    <a:pt x="16162" y="14635"/>
                    <a:pt x="16162" y="14635"/>
                    <a:pt x="16162" y="14607"/>
                  </a:cubicBezTo>
                  <a:cubicBezTo>
                    <a:pt x="16162" y="14579"/>
                    <a:pt x="16085" y="14550"/>
                    <a:pt x="16009" y="14579"/>
                  </a:cubicBezTo>
                  <a:cubicBezTo>
                    <a:pt x="16009" y="14579"/>
                    <a:pt x="15932" y="14635"/>
                    <a:pt x="15855" y="14635"/>
                  </a:cubicBezTo>
                  <a:cubicBezTo>
                    <a:pt x="15855" y="14635"/>
                    <a:pt x="15702" y="14635"/>
                    <a:pt x="15702" y="14635"/>
                  </a:cubicBezTo>
                  <a:cubicBezTo>
                    <a:pt x="15702" y="14635"/>
                    <a:pt x="15626" y="14579"/>
                    <a:pt x="15702" y="14550"/>
                  </a:cubicBezTo>
                  <a:cubicBezTo>
                    <a:pt x="15779" y="14522"/>
                    <a:pt x="15702" y="14522"/>
                    <a:pt x="15855" y="14494"/>
                  </a:cubicBezTo>
                  <a:cubicBezTo>
                    <a:pt x="15932" y="14466"/>
                    <a:pt x="16009" y="14466"/>
                    <a:pt x="16085" y="14466"/>
                  </a:cubicBezTo>
                  <a:cubicBezTo>
                    <a:pt x="16085" y="14438"/>
                    <a:pt x="16162" y="14409"/>
                    <a:pt x="16238" y="14409"/>
                  </a:cubicBezTo>
                  <a:cubicBezTo>
                    <a:pt x="16315" y="14409"/>
                    <a:pt x="16698" y="14325"/>
                    <a:pt x="16698" y="14325"/>
                  </a:cubicBezTo>
                  <a:cubicBezTo>
                    <a:pt x="16774" y="14268"/>
                    <a:pt x="16774" y="14268"/>
                    <a:pt x="16774" y="14268"/>
                  </a:cubicBezTo>
                  <a:cubicBezTo>
                    <a:pt x="16774" y="14268"/>
                    <a:pt x="16545" y="14184"/>
                    <a:pt x="16545" y="14184"/>
                  </a:cubicBezTo>
                  <a:cubicBezTo>
                    <a:pt x="16545" y="14184"/>
                    <a:pt x="16162" y="14071"/>
                    <a:pt x="16162" y="14071"/>
                  </a:cubicBezTo>
                  <a:cubicBezTo>
                    <a:pt x="16162" y="14071"/>
                    <a:pt x="16009" y="14071"/>
                    <a:pt x="16009" y="14043"/>
                  </a:cubicBezTo>
                  <a:cubicBezTo>
                    <a:pt x="16009" y="14043"/>
                    <a:pt x="15855" y="13986"/>
                    <a:pt x="15855" y="13986"/>
                  </a:cubicBezTo>
                  <a:cubicBezTo>
                    <a:pt x="15702" y="13845"/>
                    <a:pt x="15549" y="13958"/>
                    <a:pt x="15243" y="13902"/>
                  </a:cubicBezTo>
                  <a:cubicBezTo>
                    <a:pt x="15243" y="13902"/>
                    <a:pt x="15089" y="13789"/>
                    <a:pt x="15089" y="13789"/>
                  </a:cubicBezTo>
                  <a:cubicBezTo>
                    <a:pt x="15089" y="13789"/>
                    <a:pt x="15243" y="13789"/>
                    <a:pt x="15243" y="13761"/>
                  </a:cubicBezTo>
                  <a:cubicBezTo>
                    <a:pt x="15243" y="13704"/>
                    <a:pt x="15089" y="13648"/>
                    <a:pt x="15089" y="13648"/>
                  </a:cubicBezTo>
                  <a:cubicBezTo>
                    <a:pt x="14936" y="13592"/>
                    <a:pt x="14936" y="13592"/>
                    <a:pt x="14936" y="13592"/>
                  </a:cubicBezTo>
                  <a:cubicBezTo>
                    <a:pt x="14630" y="13479"/>
                    <a:pt x="14706" y="13733"/>
                    <a:pt x="14477" y="13507"/>
                  </a:cubicBezTo>
                  <a:cubicBezTo>
                    <a:pt x="14477" y="13507"/>
                    <a:pt x="14400" y="13507"/>
                    <a:pt x="14323" y="13451"/>
                  </a:cubicBezTo>
                  <a:cubicBezTo>
                    <a:pt x="14247" y="13422"/>
                    <a:pt x="14017" y="13338"/>
                    <a:pt x="14017" y="13338"/>
                  </a:cubicBezTo>
                  <a:cubicBezTo>
                    <a:pt x="14017" y="13338"/>
                    <a:pt x="13940" y="13253"/>
                    <a:pt x="13940" y="13253"/>
                  </a:cubicBezTo>
                  <a:cubicBezTo>
                    <a:pt x="13864" y="13253"/>
                    <a:pt x="13787" y="13169"/>
                    <a:pt x="13787" y="13169"/>
                  </a:cubicBezTo>
                  <a:cubicBezTo>
                    <a:pt x="13404" y="13253"/>
                    <a:pt x="13404" y="13253"/>
                    <a:pt x="13404" y="13253"/>
                  </a:cubicBezTo>
                  <a:cubicBezTo>
                    <a:pt x="13174" y="13338"/>
                    <a:pt x="13174" y="13338"/>
                    <a:pt x="13174" y="13338"/>
                  </a:cubicBezTo>
                  <a:cubicBezTo>
                    <a:pt x="13174" y="13338"/>
                    <a:pt x="13098" y="13281"/>
                    <a:pt x="13098" y="13281"/>
                  </a:cubicBezTo>
                  <a:cubicBezTo>
                    <a:pt x="13098" y="13281"/>
                    <a:pt x="13098" y="13169"/>
                    <a:pt x="13098" y="13169"/>
                  </a:cubicBezTo>
                  <a:cubicBezTo>
                    <a:pt x="13098" y="13169"/>
                    <a:pt x="12868" y="13140"/>
                    <a:pt x="12791" y="13140"/>
                  </a:cubicBezTo>
                  <a:cubicBezTo>
                    <a:pt x="12791" y="13140"/>
                    <a:pt x="12562" y="13140"/>
                    <a:pt x="12562" y="13140"/>
                  </a:cubicBezTo>
                  <a:cubicBezTo>
                    <a:pt x="12255" y="13112"/>
                    <a:pt x="12255" y="13112"/>
                    <a:pt x="12255" y="13112"/>
                  </a:cubicBezTo>
                  <a:cubicBezTo>
                    <a:pt x="12255" y="13028"/>
                    <a:pt x="12255" y="13028"/>
                    <a:pt x="12255" y="13028"/>
                  </a:cubicBezTo>
                  <a:cubicBezTo>
                    <a:pt x="12255" y="13028"/>
                    <a:pt x="12409" y="12971"/>
                    <a:pt x="12332" y="12943"/>
                  </a:cubicBezTo>
                  <a:cubicBezTo>
                    <a:pt x="12332" y="12915"/>
                    <a:pt x="12102" y="12858"/>
                    <a:pt x="12102" y="12858"/>
                  </a:cubicBezTo>
                  <a:cubicBezTo>
                    <a:pt x="12102" y="12802"/>
                    <a:pt x="12102" y="12802"/>
                    <a:pt x="12102" y="12802"/>
                  </a:cubicBezTo>
                  <a:cubicBezTo>
                    <a:pt x="11872" y="12689"/>
                    <a:pt x="11872" y="12689"/>
                    <a:pt x="11872" y="12689"/>
                  </a:cubicBezTo>
                  <a:cubicBezTo>
                    <a:pt x="11872" y="12689"/>
                    <a:pt x="12026" y="12605"/>
                    <a:pt x="12026" y="12605"/>
                  </a:cubicBezTo>
                  <a:cubicBezTo>
                    <a:pt x="12026" y="12577"/>
                    <a:pt x="11719" y="12323"/>
                    <a:pt x="11719" y="12323"/>
                  </a:cubicBezTo>
                  <a:cubicBezTo>
                    <a:pt x="11719" y="12323"/>
                    <a:pt x="11872" y="12210"/>
                    <a:pt x="11872" y="12182"/>
                  </a:cubicBezTo>
                  <a:cubicBezTo>
                    <a:pt x="11872" y="12182"/>
                    <a:pt x="11719" y="12069"/>
                    <a:pt x="11719" y="12069"/>
                  </a:cubicBezTo>
                  <a:cubicBezTo>
                    <a:pt x="11566" y="12069"/>
                    <a:pt x="11566" y="12069"/>
                    <a:pt x="11566" y="12069"/>
                  </a:cubicBezTo>
                  <a:cubicBezTo>
                    <a:pt x="11566" y="11956"/>
                    <a:pt x="11566" y="11956"/>
                    <a:pt x="11566" y="11956"/>
                  </a:cubicBezTo>
                  <a:cubicBezTo>
                    <a:pt x="11643" y="11872"/>
                    <a:pt x="11643" y="11872"/>
                    <a:pt x="11643" y="11872"/>
                  </a:cubicBezTo>
                  <a:cubicBezTo>
                    <a:pt x="11489" y="11815"/>
                    <a:pt x="11489" y="11815"/>
                    <a:pt x="11489" y="11815"/>
                  </a:cubicBezTo>
                  <a:cubicBezTo>
                    <a:pt x="11489" y="11815"/>
                    <a:pt x="11566" y="11759"/>
                    <a:pt x="11643" y="11759"/>
                  </a:cubicBezTo>
                  <a:cubicBezTo>
                    <a:pt x="11643" y="11759"/>
                    <a:pt x="11643" y="11646"/>
                    <a:pt x="11643" y="11646"/>
                  </a:cubicBezTo>
                  <a:cubicBezTo>
                    <a:pt x="11643" y="11646"/>
                    <a:pt x="11719" y="11590"/>
                    <a:pt x="11796" y="11590"/>
                  </a:cubicBezTo>
                  <a:cubicBezTo>
                    <a:pt x="11796" y="11590"/>
                    <a:pt x="12026" y="11646"/>
                    <a:pt x="12026" y="11646"/>
                  </a:cubicBezTo>
                  <a:cubicBezTo>
                    <a:pt x="12026" y="11646"/>
                    <a:pt x="12255" y="11674"/>
                    <a:pt x="12255" y="11646"/>
                  </a:cubicBezTo>
                  <a:cubicBezTo>
                    <a:pt x="12255" y="11646"/>
                    <a:pt x="12179" y="11561"/>
                    <a:pt x="12179" y="11561"/>
                  </a:cubicBezTo>
                  <a:cubicBezTo>
                    <a:pt x="12179" y="11533"/>
                    <a:pt x="12026" y="11477"/>
                    <a:pt x="12026" y="11477"/>
                  </a:cubicBezTo>
                  <a:cubicBezTo>
                    <a:pt x="11949" y="11449"/>
                    <a:pt x="11949" y="11308"/>
                    <a:pt x="11949" y="11308"/>
                  </a:cubicBezTo>
                  <a:cubicBezTo>
                    <a:pt x="11949" y="11308"/>
                    <a:pt x="11796" y="11195"/>
                    <a:pt x="11872" y="11195"/>
                  </a:cubicBezTo>
                  <a:cubicBezTo>
                    <a:pt x="11872" y="11195"/>
                    <a:pt x="11949" y="11138"/>
                    <a:pt x="11949" y="11138"/>
                  </a:cubicBezTo>
                  <a:cubicBezTo>
                    <a:pt x="12026" y="10941"/>
                    <a:pt x="12026" y="10941"/>
                    <a:pt x="12026" y="10941"/>
                  </a:cubicBezTo>
                  <a:cubicBezTo>
                    <a:pt x="12102" y="10772"/>
                    <a:pt x="12102" y="10772"/>
                    <a:pt x="12102" y="10772"/>
                  </a:cubicBezTo>
                  <a:cubicBezTo>
                    <a:pt x="11872" y="10687"/>
                    <a:pt x="11872" y="10687"/>
                    <a:pt x="11872" y="10687"/>
                  </a:cubicBezTo>
                  <a:cubicBezTo>
                    <a:pt x="11796" y="10631"/>
                    <a:pt x="11796" y="10631"/>
                    <a:pt x="11796" y="10631"/>
                  </a:cubicBezTo>
                  <a:cubicBezTo>
                    <a:pt x="11643" y="10574"/>
                    <a:pt x="11643" y="10574"/>
                    <a:pt x="11643" y="10574"/>
                  </a:cubicBezTo>
                  <a:cubicBezTo>
                    <a:pt x="11796" y="10405"/>
                    <a:pt x="11796" y="10405"/>
                    <a:pt x="11796" y="10405"/>
                  </a:cubicBezTo>
                  <a:cubicBezTo>
                    <a:pt x="12102" y="10405"/>
                    <a:pt x="12102" y="10405"/>
                    <a:pt x="12102" y="10405"/>
                  </a:cubicBezTo>
                  <a:cubicBezTo>
                    <a:pt x="12255" y="10321"/>
                    <a:pt x="12255" y="10321"/>
                    <a:pt x="12255" y="10321"/>
                  </a:cubicBezTo>
                  <a:cubicBezTo>
                    <a:pt x="12255" y="10321"/>
                    <a:pt x="12485" y="10264"/>
                    <a:pt x="12485" y="10236"/>
                  </a:cubicBezTo>
                  <a:cubicBezTo>
                    <a:pt x="12485" y="10236"/>
                    <a:pt x="12562" y="10123"/>
                    <a:pt x="12562" y="10123"/>
                  </a:cubicBezTo>
                  <a:cubicBezTo>
                    <a:pt x="12485" y="10039"/>
                    <a:pt x="12485" y="10039"/>
                    <a:pt x="12485" y="10039"/>
                  </a:cubicBezTo>
                  <a:cubicBezTo>
                    <a:pt x="12638" y="10067"/>
                    <a:pt x="12638" y="10067"/>
                    <a:pt x="12638" y="10067"/>
                  </a:cubicBezTo>
                  <a:cubicBezTo>
                    <a:pt x="12638" y="9982"/>
                    <a:pt x="12638" y="9982"/>
                    <a:pt x="12638" y="9982"/>
                  </a:cubicBezTo>
                  <a:cubicBezTo>
                    <a:pt x="12638" y="9982"/>
                    <a:pt x="12715" y="9898"/>
                    <a:pt x="12715" y="9898"/>
                  </a:cubicBezTo>
                  <a:cubicBezTo>
                    <a:pt x="12791" y="9898"/>
                    <a:pt x="12868" y="9869"/>
                    <a:pt x="12868" y="9869"/>
                  </a:cubicBezTo>
                  <a:cubicBezTo>
                    <a:pt x="12868" y="9869"/>
                    <a:pt x="13021" y="9757"/>
                    <a:pt x="13021" y="9757"/>
                  </a:cubicBezTo>
                  <a:cubicBezTo>
                    <a:pt x="13021" y="9757"/>
                    <a:pt x="13098" y="9785"/>
                    <a:pt x="13174" y="9757"/>
                  </a:cubicBezTo>
                  <a:cubicBezTo>
                    <a:pt x="13251" y="9728"/>
                    <a:pt x="13251" y="9728"/>
                    <a:pt x="13251" y="9700"/>
                  </a:cubicBezTo>
                  <a:cubicBezTo>
                    <a:pt x="13328" y="9644"/>
                    <a:pt x="13481" y="9531"/>
                    <a:pt x="13481" y="9531"/>
                  </a:cubicBezTo>
                  <a:cubicBezTo>
                    <a:pt x="13481" y="9531"/>
                    <a:pt x="13481" y="9503"/>
                    <a:pt x="13481" y="9475"/>
                  </a:cubicBezTo>
                  <a:cubicBezTo>
                    <a:pt x="13557" y="9475"/>
                    <a:pt x="13711" y="9475"/>
                    <a:pt x="13711" y="9446"/>
                  </a:cubicBezTo>
                  <a:cubicBezTo>
                    <a:pt x="13634" y="9418"/>
                    <a:pt x="13481" y="9334"/>
                    <a:pt x="13481" y="9334"/>
                  </a:cubicBezTo>
                  <a:cubicBezTo>
                    <a:pt x="13711" y="9249"/>
                    <a:pt x="13711" y="9249"/>
                    <a:pt x="13711" y="9249"/>
                  </a:cubicBezTo>
                  <a:cubicBezTo>
                    <a:pt x="13711" y="9249"/>
                    <a:pt x="13940" y="9164"/>
                    <a:pt x="13940" y="9164"/>
                  </a:cubicBezTo>
                  <a:cubicBezTo>
                    <a:pt x="13940" y="9193"/>
                    <a:pt x="14017" y="9193"/>
                    <a:pt x="14094" y="9164"/>
                  </a:cubicBezTo>
                  <a:cubicBezTo>
                    <a:pt x="14094" y="9164"/>
                    <a:pt x="14170" y="9136"/>
                    <a:pt x="14247" y="9108"/>
                  </a:cubicBezTo>
                  <a:cubicBezTo>
                    <a:pt x="14247" y="9108"/>
                    <a:pt x="14323" y="9080"/>
                    <a:pt x="14400" y="9080"/>
                  </a:cubicBezTo>
                  <a:cubicBezTo>
                    <a:pt x="14400" y="9052"/>
                    <a:pt x="14477" y="8995"/>
                    <a:pt x="14477" y="8967"/>
                  </a:cubicBezTo>
                  <a:cubicBezTo>
                    <a:pt x="14477" y="8967"/>
                    <a:pt x="14630" y="8826"/>
                    <a:pt x="14630" y="8826"/>
                  </a:cubicBezTo>
                  <a:cubicBezTo>
                    <a:pt x="14630" y="8742"/>
                    <a:pt x="14630" y="8742"/>
                    <a:pt x="14630" y="8742"/>
                  </a:cubicBezTo>
                  <a:cubicBezTo>
                    <a:pt x="14706" y="8713"/>
                    <a:pt x="14706" y="8713"/>
                    <a:pt x="14706" y="8713"/>
                  </a:cubicBezTo>
                  <a:cubicBezTo>
                    <a:pt x="14860" y="8657"/>
                    <a:pt x="14860" y="8657"/>
                    <a:pt x="14860" y="8657"/>
                  </a:cubicBezTo>
                  <a:cubicBezTo>
                    <a:pt x="14860" y="8657"/>
                    <a:pt x="15013" y="8629"/>
                    <a:pt x="15013" y="8657"/>
                  </a:cubicBezTo>
                  <a:cubicBezTo>
                    <a:pt x="15013" y="8657"/>
                    <a:pt x="14936" y="8713"/>
                    <a:pt x="14936" y="8713"/>
                  </a:cubicBezTo>
                  <a:cubicBezTo>
                    <a:pt x="15166" y="8713"/>
                    <a:pt x="15166" y="8713"/>
                    <a:pt x="15166" y="8713"/>
                  </a:cubicBezTo>
                  <a:cubicBezTo>
                    <a:pt x="15166" y="8713"/>
                    <a:pt x="15166" y="8657"/>
                    <a:pt x="15166" y="8685"/>
                  </a:cubicBezTo>
                  <a:cubicBezTo>
                    <a:pt x="15243" y="8685"/>
                    <a:pt x="15319" y="8713"/>
                    <a:pt x="15319" y="8713"/>
                  </a:cubicBezTo>
                  <a:cubicBezTo>
                    <a:pt x="15319" y="8685"/>
                    <a:pt x="15396" y="8629"/>
                    <a:pt x="15396" y="8629"/>
                  </a:cubicBezTo>
                  <a:cubicBezTo>
                    <a:pt x="15396" y="8544"/>
                    <a:pt x="15396" y="8544"/>
                    <a:pt x="15396" y="8544"/>
                  </a:cubicBezTo>
                  <a:cubicBezTo>
                    <a:pt x="15396" y="8544"/>
                    <a:pt x="15549" y="8488"/>
                    <a:pt x="15626" y="8460"/>
                  </a:cubicBezTo>
                  <a:cubicBezTo>
                    <a:pt x="15626" y="8431"/>
                    <a:pt x="15855" y="8347"/>
                    <a:pt x="15855" y="8347"/>
                  </a:cubicBezTo>
                  <a:cubicBezTo>
                    <a:pt x="16085" y="8319"/>
                    <a:pt x="16085" y="8319"/>
                    <a:pt x="16085" y="8319"/>
                  </a:cubicBezTo>
                  <a:cubicBezTo>
                    <a:pt x="16085" y="8319"/>
                    <a:pt x="16162" y="8290"/>
                    <a:pt x="16238" y="8290"/>
                  </a:cubicBezTo>
                  <a:cubicBezTo>
                    <a:pt x="16238" y="8290"/>
                    <a:pt x="16468" y="8178"/>
                    <a:pt x="16468" y="8178"/>
                  </a:cubicBezTo>
                  <a:cubicBezTo>
                    <a:pt x="16468" y="8178"/>
                    <a:pt x="16468" y="8149"/>
                    <a:pt x="16545" y="8121"/>
                  </a:cubicBezTo>
                  <a:cubicBezTo>
                    <a:pt x="16545" y="8093"/>
                    <a:pt x="16698" y="8093"/>
                    <a:pt x="16698" y="8065"/>
                  </a:cubicBezTo>
                  <a:cubicBezTo>
                    <a:pt x="16774" y="8065"/>
                    <a:pt x="16928" y="7924"/>
                    <a:pt x="16928" y="7924"/>
                  </a:cubicBezTo>
                  <a:cubicBezTo>
                    <a:pt x="16928" y="7924"/>
                    <a:pt x="17004" y="7924"/>
                    <a:pt x="17004" y="7896"/>
                  </a:cubicBezTo>
                  <a:cubicBezTo>
                    <a:pt x="17004" y="7839"/>
                    <a:pt x="17081" y="7783"/>
                    <a:pt x="17081" y="7783"/>
                  </a:cubicBezTo>
                  <a:cubicBezTo>
                    <a:pt x="17234" y="7670"/>
                    <a:pt x="17234" y="7670"/>
                    <a:pt x="17234" y="7670"/>
                  </a:cubicBezTo>
                  <a:cubicBezTo>
                    <a:pt x="17234" y="7501"/>
                    <a:pt x="17234" y="7501"/>
                    <a:pt x="17234" y="7501"/>
                  </a:cubicBezTo>
                  <a:cubicBezTo>
                    <a:pt x="17387" y="7360"/>
                    <a:pt x="17387" y="7360"/>
                    <a:pt x="17387" y="7360"/>
                  </a:cubicBezTo>
                  <a:cubicBezTo>
                    <a:pt x="17387" y="7360"/>
                    <a:pt x="17464" y="7332"/>
                    <a:pt x="17464" y="7303"/>
                  </a:cubicBezTo>
                  <a:cubicBezTo>
                    <a:pt x="17540" y="7303"/>
                    <a:pt x="17617" y="7219"/>
                    <a:pt x="17617" y="7219"/>
                  </a:cubicBezTo>
                  <a:cubicBezTo>
                    <a:pt x="17617" y="7219"/>
                    <a:pt x="17847" y="7106"/>
                    <a:pt x="17847" y="7106"/>
                  </a:cubicBezTo>
                  <a:cubicBezTo>
                    <a:pt x="17847" y="7106"/>
                    <a:pt x="17923" y="7021"/>
                    <a:pt x="17923" y="6993"/>
                  </a:cubicBezTo>
                  <a:cubicBezTo>
                    <a:pt x="18000" y="6993"/>
                    <a:pt x="18000" y="6993"/>
                    <a:pt x="18000" y="6993"/>
                  </a:cubicBezTo>
                  <a:cubicBezTo>
                    <a:pt x="18000" y="6909"/>
                    <a:pt x="18000" y="6909"/>
                    <a:pt x="18000" y="6909"/>
                  </a:cubicBezTo>
                  <a:cubicBezTo>
                    <a:pt x="17847" y="6796"/>
                    <a:pt x="17847" y="6796"/>
                    <a:pt x="17847" y="6796"/>
                  </a:cubicBezTo>
                  <a:cubicBezTo>
                    <a:pt x="17540" y="6711"/>
                    <a:pt x="17540" y="6711"/>
                    <a:pt x="17540" y="6711"/>
                  </a:cubicBezTo>
                  <a:cubicBezTo>
                    <a:pt x="17311" y="6711"/>
                    <a:pt x="17311" y="6711"/>
                    <a:pt x="17311" y="6711"/>
                  </a:cubicBezTo>
                  <a:cubicBezTo>
                    <a:pt x="17157" y="6655"/>
                    <a:pt x="17157" y="6655"/>
                    <a:pt x="17157" y="6655"/>
                  </a:cubicBezTo>
                  <a:cubicBezTo>
                    <a:pt x="17234" y="6598"/>
                    <a:pt x="17234" y="6598"/>
                    <a:pt x="17234" y="6598"/>
                  </a:cubicBezTo>
                  <a:cubicBezTo>
                    <a:pt x="17081" y="6514"/>
                    <a:pt x="17081" y="6514"/>
                    <a:pt x="17081" y="6514"/>
                  </a:cubicBezTo>
                  <a:cubicBezTo>
                    <a:pt x="17004" y="6457"/>
                    <a:pt x="17004" y="6457"/>
                    <a:pt x="17004" y="6457"/>
                  </a:cubicBezTo>
                  <a:cubicBezTo>
                    <a:pt x="16851" y="6401"/>
                    <a:pt x="16851" y="6401"/>
                    <a:pt x="16851" y="6401"/>
                  </a:cubicBezTo>
                  <a:cubicBezTo>
                    <a:pt x="16851" y="6401"/>
                    <a:pt x="17004" y="6316"/>
                    <a:pt x="17004" y="6316"/>
                  </a:cubicBezTo>
                  <a:cubicBezTo>
                    <a:pt x="17004" y="6316"/>
                    <a:pt x="17081" y="6288"/>
                    <a:pt x="17081" y="6260"/>
                  </a:cubicBezTo>
                  <a:cubicBezTo>
                    <a:pt x="17081" y="6260"/>
                    <a:pt x="17234" y="6175"/>
                    <a:pt x="17234" y="6175"/>
                  </a:cubicBezTo>
                  <a:cubicBezTo>
                    <a:pt x="17234" y="6175"/>
                    <a:pt x="17387" y="6091"/>
                    <a:pt x="17387" y="6091"/>
                  </a:cubicBezTo>
                  <a:cubicBezTo>
                    <a:pt x="17387" y="6091"/>
                    <a:pt x="17464" y="6063"/>
                    <a:pt x="17464" y="6034"/>
                  </a:cubicBezTo>
                  <a:cubicBezTo>
                    <a:pt x="17464" y="6006"/>
                    <a:pt x="17387" y="5893"/>
                    <a:pt x="17387" y="5893"/>
                  </a:cubicBezTo>
                  <a:cubicBezTo>
                    <a:pt x="17387" y="5893"/>
                    <a:pt x="17387" y="5809"/>
                    <a:pt x="17464" y="5809"/>
                  </a:cubicBezTo>
                  <a:cubicBezTo>
                    <a:pt x="17464" y="5781"/>
                    <a:pt x="17540" y="5752"/>
                    <a:pt x="17540" y="5752"/>
                  </a:cubicBezTo>
                  <a:cubicBezTo>
                    <a:pt x="17540" y="5752"/>
                    <a:pt x="17617" y="5752"/>
                    <a:pt x="17694" y="5781"/>
                  </a:cubicBezTo>
                  <a:cubicBezTo>
                    <a:pt x="17770" y="5781"/>
                    <a:pt x="17770" y="5724"/>
                    <a:pt x="17770" y="5724"/>
                  </a:cubicBezTo>
                  <a:cubicBezTo>
                    <a:pt x="17770" y="5724"/>
                    <a:pt x="17770" y="5640"/>
                    <a:pt x="17694" y="5640"/>
                  </a:cubicBezTo>
                  <a:cubicBezTo>
                    <a:pt x="17617" y="5640"/>
                    <a:pt x="17540" y="5583"/>
                    <a:pt x="17540" y="5583"/>
                  </a:cubicBezTo>
                  <a:cubicBezTo>
                    <a:pt x="17540" y="5583"/>
                    <a:pt x="17617" y="5555"/>
                    <a:pt x="17617" y="5555"/>
                  </a:cubicBezTo>
                  <a:cubicBezTo>
                    <a:pt x="17617" y="5527"/>
                    <a:pt x="17770" y="5499"/>
                    <a:pt x="17770" y="5499"/>
                  </a:cubicBezTo>
                  <a:cubicBezTo>
                    <a:pt x="18000" y="5470"/>
                    <a:pt x="18000" y="5470"/>
                    <a:pt x="18000" y="5470"/>
                  </a:cubicBezTo>
                  <a:cubicBezTo>
                    <a:pt x="17923" y="5386"/>
                    <a:pt x="17923" y="5386"/>
                    <a:pt x="17923" y="5386"/>
                  </a:cubicBezTo>
                  <a:cubicBezTo>
                    <a:pt x="17923" y="5301"/>
                    <a:pt x="17923" y="5301"/>
                    <a:pt x="17923" y="5301"/>
                  </a:cubicBezTo>
                  <a:cubicBezTo>
                    <a:pt x="17923" y="5301"/>
                    <a:pt x="18230" y="5330"/>
                    <a:pt x="18230" y="5330"/>
                  </a:cubicBezTo>
                  <a:cubicBezTo>
                    <a:pt x="18230" y="5358"/>
                    <a:pt x="18306" y="5414"/>
                    <a:pt x="18383" y="5414"/>
                  </a:cubicBezTo>
                  <a:cubicBezTo>
                    <a:pt x="18383" y="5386"/>
                    <a:pt x="18383" y="5330"/>
                    <a:pt x="18383" y="5330"/>
                  </a:cubicBezTo>
                  <a:cubicBezTo>
                    <a:pt x="18383" y="5330"/>
                    <a:pt x="18460" y="5245"/>
                    <a:pt x="18536" y="5273"/>
                  </a:cubicBezTo>
                  <a:cubicBezTo>
                    <a:pt x="18689" y="5301"/>
                    <a:pt x="18766" y="5245"/>
                    <a:pt x="18843" y="5245"/>
                  </a:cubicBezTo>
                  <a:cubicBezTo>
                    <a:pt x="18843" y="5217"/>
                    <a:pt x="18919" y="5160"/>
                    <a:pt x="18919" y="5160"/>
                  </a:cubicBezTo>
                  <a:cubicBezTo>
                    <a:pt x="18919" y="5160"/>
                    <a:pt x="18996" y="5076"/>
                    <a:pt x="18919" y="5048"/>
                  </a:cubicBezTo>
                  <a:cubicBezTo>
                    <a:pt x="18843" y="5048"/>
                    <a:pt x="18766" y="5048"/>
                    <a:pt x="18766" y="5019"/>
                  </a:cubicBezTo>
                  <a:cubicBezTo>
                    <a:pt x="18766" y="5019"/>
                    <a:pt x="18843" y="4963"/>
                    <a:pt x="18919" y="4963"/>
                  </a:cubicBezTo>
                  <a:cubicBezTo>
                    <a:pt x="18996" y="4963"/>
                    <a:pt x="18996" y="4963"/>
                    <a:pt x="19149" y="4935"/>
                  </a:cubicBezTo>
                  <a:cubicBezTo>
                    <a:pt x="19226" y="4907"/>
                    <a:pt x="19226" y="4878"/>
                    <a:pt x="19226" y="4878"/>
                  </a:cubicBezTo>
                  <a:cubicBezTo>
                    <a:pt x="19226" y="4878"/>
                    <a:pt x="19455" y="4850"/>
                    <a:pt x="19455" y="4850"/>
                  </a:cubicBezTo>
                  <a:cubicBezTo>
                    <a:pt x="19762" y="4794"/>
                    <a:pt x="19762" y="4794"/>
                    <a:pt x="19762" y="4794"/>
                  </a:cubicBezTo>
                  <a:cubicBezTo>
                    <a:pt x="19762" y="4737"/>
                    <a:pt x="19762" y="4737"/>
                    <a:pt x="19762" y="4737"/>
                  </a:cubicBezTo>
                  <a:cubicBezTo>
                    <a:pt x="19762" y="4737"/>
                    <a:pt x="19915" y="4737"/>
                    <a:pt x="19915" y="4737"/>
                  </a:cubicBezTo>
                  <a:cubicBezTo>
                    <a:pt x="19991" y="4737"/>
                    <a:pt x="20068" y="4766"/>
                    <a:pt x="20068" y="4766"/>
                  </a:cubicBezTo>
                  <a:cubicBezTo>
                    <a:pt x="20068" y="4766"/>
                    <a:pt x="20221" y="4766"/>
                    <a:pt x="20221" y="4766"/>
                  </a:cubicBezTo>
                  <a:cubicBezTo>
                    <a:pt x="20221" y="4737"/>
                    <a:pt x="20145" y="4709"/>
                    <a:pt x="20221" y="4709"/>
                  </a:cubicBezTo>
                  <a:cubicBezTo>
                    <a:pt x="20298" y="4737"/>
                    <a:pt x="20298" y="4737"/>
                    <a:pt x="20298" y="4766"/>
                  </a:cubicBezTo>
                  <a:cubicBezTo>
                    <a:pt x="20374" y="4766"/>
                    <a:pt x="20374" y="4766"/>
                    <a:pt x="20374" y="4766"/>
                  </a:cubicBezTo>
                  <a:cubicBezTo>
                    <a:pt x="20451" y="4766"/>
                    <a:pt x="20528" y="4794"/>
                    <a:pt x="20604" y="4822"/>
                  </a:cubicBezTo>
                  <a:cubicBezTo>
                    <a:pt x="20604" y="4822"/>
                    <a:pt x="20604" y="4850"/>
                    <a:pt x="20604" y="4878"/>
                  </a:cubicBezTo>
                  <a:cubicBezTo>
                    <a:pt x="20604" y="4907"/>
                    <a:pt x="20604" y="4907"/>
                    <a:pt x="20604" y="4935"/>
                  </a:cubicBezTo>
                  <a:cubicBezTo>
                    <a:pt x="20604" y="4963"/>
                    <a:pt x="20604" y="4963"/>
                    <a:pt x="20604" y="4963"/>
                  </a:cubicBezTo>
                  <a:cubicBezTo>
                    <a:pt x="20604" y="4963"/>
                    <a:pt x="20834" y="5019"/>
                    <a:pt x="20834" y="4991"/>
                  </a:cubicBezTo>
                  <a:cubicBezTo>
                    <a:pt x="20834" y="4963"/>
                    <a:pt x="20834" y="4991"/>
                    <a:pt x="20834" y="4935"/>
                  </a:cubicBezTo>
                  <a:cubicBezTo>
                    <a:pt x="20757" y="4907"/>
                    <a:pt x="20834" y="4878"/>
                    <a:pt x="20834" y="4850"/>
                  </a:cubicBezTo>
                  <a:cubicBezTo>
                    <a:pt x="20757" y="4822"/>
                    <a:pt x="20681" y="4766"/>
                    <a:pt x="20681" y="4737"/>
                  </a:cubicBezTo>
                  <a:cubicBezTo>
                    <a:pt x="20681" y="4737"/>
                    <a:pt x="20757" y="4709"/>
                    <a:pt x="20834" y="4709"/>
                  </a:cubicBezTo>
                  <a:cubicBezTo>
                    <a:pt x="20911" y="4709"/>
                    <a:pt x="20834" y="4681"/>
                    <a:pt x="20911" y="4709"/>
                  </a:cubicBezTo>
                  <a:cubicBezTo>
                    <a:pt x="20987" y="4737"/>
                    <a:pt x="20987" y="4766"/>
                    <a:pt x="21064" y="4766"/>
                  </a:cubicBezTo>
                  <a:cubicBezTo>
                    <a:pt x="21140" y="4766"/>
                    <a:pt x="21140" y="4766"/>
                    <a:pt x="21140" y="4766"/>
                  </a:cubicBezTo>
                  <a:cubicBezTo>
                    <a:pt x="21140" y="4794"/>
                    <a:pt x="21217" y="4822"/>
                    <a:pt x="21217" y="4850"/>
                  </a:cubicBezTo>
                  <a:cubicBezTo>
                    <a:pt x="21217" y="4878"/>
                    <a:pt x="21217" y="4878"/>
                    <a:pt x="21217" y="4907"/>
                  </a:cubicBezTo>
                  <a:cubicBezTo>
                    <a:pt x="21217" y="4907"/>
                    <a:pt x="21370" y="4991"/>
                    <a:pt x="21370" y="4991"/>
                  </a:cubicBezTo>
                  <a:cubicBezTo>
                    <a:pt x="21370" y="4991"/>
                    <a:pt x="21523" y="4935"/>
                    <a:pt x="21523" y="4935"/>
                  </a:cubicBezTo>
                  <a:cubicBezTo>
                    <a:pt x="21523" y="4907"/>
                    <a:pt x="21523" y="4878"/>
                    <a:pt x="21523" y="4878"/>
                  </a:cubicBezTo>
                  <a:cubicBezTo>
                    <a:pt x="21523" y="4850"/>
                    <a:pt x="21523" y="4822"/>
                    <a:pt x="21523" y="4822"/>
                  </a:cubicBezTo>
                  <a:cubicBezTo>
                    <a:pt x="21523" y="4794"/>
                    <a:pt x="21294" y="4709"/>
                    <a:pt x="21294" y="4709"/>
                  </a:cubicBezTo>
                  <a:cubicBezTo>
                    <a:pt x="21294" y="4709"/>
                    <a:pt x="21294" y="4681"/>
                    <a:pt x="21370" y="4653"/>
                  </a:cubicBezTo>
                  <a:cubicBezTo>
                    <a:pt x="21370" y="4653"/>
                    <a:pt x="21447" y="4625"/>
                    <a:pt x="21600" y="4596"/>
                  </a:cubicBezTo>
                  <a:cubicBezTo>
                    <a:pt x="21140" y="4230"/>
                    <a:pt x="21140" y="4230"/>
                    <a:pt x="21140" y="4230"/>
                  </a:cubicBezTo>
                  <a:cubicBezTo>
                    <a:pt x="20681" y="4145"/>
                    <a:pt x="20681" y="4145"/>
                    <a:pt x="20681" y="4145"/>
                  </a:cubicBezTo>
                  <a:cubicBezTo>
                    <a:pt x="20374" y="4032"/>
                    <a:pt x="20374" y="4032"/>
                    <a:pt x="20374" y="4032"/>
                  </a:cubicBezTo>
                  <a:cubicBezTo>
                    <a:pt x="20374" y="3891"/>
                    <a:pt x="20374" y="3891"/>
                    <a:pt x="20374" y="3891"/>
                  </a:cubicBezTo>
                  <a:cubicBezTo>
                    <a:pt x="20145" y="3779"/>
                    <a:pt x="20145" y="3779"/>
                    <a:pt x="20145" y="3779"/>
                  </a:cubicBezTo>
                  <a:cubicBezTo>
                    <a:pt x="20145" y="3779"/>
                    <a:pt x="20221" y="3694"/>
                    <a:pt x="20221" y="3666"/>
                  </a:cubicBezTo>
                  <a:cubicBezTo>
                    <a:pt x="20298" y="3638"/>
                    <a:pt x="20451" y="3497"/>
                    <a:pt x="20451" y="3497"/>
                  </a:cubicBezTo>
                  <a:cubicBezTo>
                    <a:pt x="20451" y="3497"/>
                    <a:pt x="20374" y="3384"/>
                    <a:pt x="20374" y="3356"/>
                  </a:cubicBezTo>
                  <a:cubicBezTo>
                    <a:pt x="20374" y="3327"/>
                    <a:pt x="20451" y="3186"/>
                    <a:pt x="20451" y="3186"/>
                  </a:cubicBezTo>
                  <a:cubicBezTo>
                    <a:pt x="20374" y="3045"/>
                    <a:pt x="20374" y="3045"/>
                    <a:pt x="20374" y="3045"/>
                  </a:cubicBezTo>
                  <a:cubicBezTo>
                    <a:pt x="19455" y="2651"/>
                    <a:pt x="19455" y="2651"/>
                    <a:pt x="19455" y="2651"/>
                  </a:cubicBezTo>
                  <a:cubicBezTo>
                    <a:pt x="19532" y="2481"/>
                    <a:pt x="19532" y="2481"/>
                    <a:pt x="19532" y="2481"/>
                  </a:cubicBezTo>
                  <a:cubicBezTo>
                    <a:pt x="19532" y="2481"/>
                    <a:pt x="19532" y="2481"/>
                    <a:pt x="19532" y="2481"/>
                  </a:cubicBezTo>
                  <a:close/>
                  <a:moveTo>
                    <a:pt x="12638" y="20021"/>
                  </a:moveTo>
                  <a:cubicBezTo>
                    <a:pt x="12638" y="20021"/>
                    <a:pt x="12638" y="20021"/>
                    <a:pt x="12638" y="20021"/>
                  </a:cubicBezTo>
                  <a:cubicBezTo>
                    <a:pt x="12715" y="19795"/>
                    <a:pt x="12715" y="19795"/>
                    <a:pt x="12715" y="19795"/>
                  </a:cubicBezTo>
                  <a:cubicBezTo>
                    <a:pt x="12715" y="19795"/>
                    <a:pt x="12562" y="19711"/>
                    <a:pt x="12562" y="19711"/>
                  </a:cubicBezTo>
                  <a:cubicBezTo>
                    <a:pt x="12562" y="19683"/>
                    <a:pt x="12485" y="19626"/>
                    <a:pt x="12485" y="19542"/>
                  </a:cubicBezTo>
                  <a:cubicBezTo>
                    <a:pt x="12562" y="19457"/>
                    <a:pt x="12562" y="19429"/>
                    <a:pt x="12638" y="19372"/>
                  </a:cubicBezTo>
                  <a:cubicBezTo>
                    <a:pt x="12638" y="19316"/>
                    <a:pt x="12791" y="19288"/>
                    <a:pt x="12791" y="19231"/>
                  </a:cubicBezTo>
                  <a:cubicBezTo>
                    <a:pt x="12791" y="19147"/>
                    <a:pt x="12791" y="19119"/>
                    <a:pt x="12868" y="19062"/>
                  </a:cubicBezTo>
                  <a:cubicBezTo>
                    <a:pt x="12868" y="19006"/>
                    <a:pt x="12945" y="18949"/>
                    <a:pt x="13021" y="18949"/>
                  </a:cubicBezTo>
                  <a:cubicBezTo>
                    <a:pt x="13021" y="18921"/>
                    <a:pt x="13174" y="18808"/>
                    <a:pt x="13174" y="18808"/>
                  </a:cubicBezTo>
                  <a:cubicBezTo>
                    <a:pt x="13251" y="18667"/>
                    <a:pt x="13251" y="18667"/>
                    <a:pt x="13251" y="18667"/>
                  </a:cubicBezTo>
                  <a:cubicBezTo>
                    <a:pt x="13251" y="18667"/>
                    <a:pt x="13404" y="18526"/>
                    <a:pt x="13404" y="18498"/>
                  </a:cubicBezTo>
                  <a:cubicBezTo>
                    <a:pt x="13404" y="18470"/>
                    <a:pt x="13328" y="18357"/>
                    <a:pt x="13328" y="18329"/>
                  </a:cubicBezTo>
                  <a:cubicBezTo>
                    <a:pt x="13404" y="18301"/>
                    <a:pt x="13557" y="18244"/>
                    <a:pt x="13557" y="18244"/>
                  </a:cubicBezTo>
                  <a:cubicBezTo>
                    <a:pt x="13787" y="18244"/>
                    <a:pt x="13787" y="18244"/>
                    <a:pt x="13787" y="18244"/>
                  </a:cubicBezTo>
                  <a:cubicBezTo>
                    <a:pt x="13787" y="18244"/>
                    <a:pt x="13787" y="18329"/>
                    <a:pt x="13711" y="18357"/>
                  </a:cubicBezTo>
                  <a:cubicBezTo>
                    <a:pt x="13634" y="18357"/>
                    <a:pt x="13557" y="18385"/>
                    <a:pt x="13557" y="18385"/>
                  </a:cubicBezTo>
                  <a:cubicBezTo>
                    <a:pt x="13557" y="18414"/>
                    <a:pt x="13711" y="18470"/>
                    <a:pt x="13711" y="18470"/>
                  </a:cubicBezTo>
                  <a:cubicBezTo>
                    <a:pt x="13711" y="18583"/>
                    <a:pt x="13711" y="18583"/>
                    <a:pt x="13711" y="18583"/>
                  </a:cubicBezTo>
                  <a:cubicBezTo>
                    <a:pt x="13557" y="18696"/>
                    <a:pt x="13557" y="18696"/>
                    <a:pt x="13557" y="18696"/>
                  </a:cubicBezTo>
                  <a:cubicBezTo>
                    <a:pt x="13404" y="18837"/>
                    <a:pt x="13404" y="18837"/>
                    <a:pt x="13404" y="18837"/>
                  </a:cubicBezTo>
                  <a:cubicBezTo>
                    <a:pt x="13404" y="18978"/>
                    <a:pt x="13404" y="18978"/>
                    <a:pt x="13404" y="18978"/>
                  </a:cubicBezTo>
                  <a:cubicBezTo>
                    <a:pt x="13328" y="19062"/>
                    <a:pt x="13328" y="19062"/>
                    <a:pt x="13328" y="19062"/>
                  </a:cubicBezTo>
                  <a:cubicBezTo>
                    <a:pt x="13251" y="19147"/>
                    <a:pt x="13251" y="19147"/>
                    <a:pt x="13251" y="19147"/>
                  </a:cubicBezTo>
                  <a:cubicBezTo>
                    <a:pt x="13098" y="19316"/>
                    <a:pt x="13098" y="19316"/>
                    <a:pt x="13098" y="19316"/>
                  </a:cubicBezTo>
                  <a:cubicBezTo>
                    <a:pt x="13174" y="19457"/>
                    <a:pt x="13174" y="19457"/>
                    <a:pt x="13174" y="19457"/>
                  </a:cubicBezTo>
                  <a:cubicBezTo>
                    <a:pt x="12945" y="19626"/>
                    <a:pt x="12945" y="19626"/>
                    <a:pt x="12945" y="19626"/>
                  </a:cubicBezTo>
                  <a:cubicBezTo>
                    <a:pt x="12945" y="19626"/>
                    <a:pt x="12945" y="19711"/>
                    <a:pt x="12945" y="19739"/>
                  </a:cubicBezTo>
                  <a:cubicBezTo>
                    <a:pt x="12945" y="19767"/>
                    <a:pt x="12945" y="19936"/>
                    <a:pt x="12945" y="19936"/>
                  </a:cubicBezTo>
                  <a:cubicBezTo>
                    <a:pt x="12945" y="19936"/>
                    <a:pt x="12945" y="20021"/>
                    <a:pt x="12868" y="20021"/>
                  </a:cubicBezTo>
                  <a:cubicBezTo>
                    <a:pt x="12791" y="20021"/>
                    <a:pt x="12638" y="20021"/>
                    <a:pt x="12638" y="20021"/>
                  </a:cubicBezTo>
                  <a:close/>
                  <a:moveTo>
                    <a:pt x="15779" y="18301"/>
                  </a:moveTo>
                  <a:cubicBezTo>
                    <a:pt x="15779" y="18301"/>
                    <a:pt x="15779" y="18301"/>
                    <a:pt x="15779" y="18301"/>
                  </a:cubicBezTo>
                  <a:cubicBezTo>
                    <a:pt x="15702" y="18244"/>
                    <a:pt x="15702" y="18244"/>
                    <a:pt x="15702" y="18244"/>
                  </a:cubicBezTo>
                  <a:cubicBezTo>
                    <a:pt x="15932" y="18216"/>
                    <a:pt x="15932" y="18216"/>
                    <a:pt x="15932" y="18216"/>
                  </a:cubicBezTo>
                  <a:cubicBezTo>
                    <a:pt x="15932" y="18216"/>
                    <a:pt x="15855" y="18103"/>
                    <a:pt x="15855" y="18075"/>
                  </a:cubicBezTo>
                  <a:cubicBezTo>
                    <a:pt x="15855" y="18047"/>
                    <a:pt x="15779" y="18075"/>
                    <a:pt x="15702" y="18019"/>
                  </a:cubicBezTo>
                  <a:cubicBezTo>
                    <a:pt x="15626" y="17991"/>
                    <a:pt x="15626" y="17906"/>
                    <a:pt x="15626" y="17906"/>
                  </a:cubicBezTo>
                  <a:cubicBezTo>
                    <a:pt x="15626" y="17878"/>
                    <a:pt x="15702" y="17793"/>
                    <a:pt x="15702" y="17793"/>
                  </a:cubicBezTo>
                  <a:cubicBezTo>
                    <a:pt x="15702" y="17793"/>
                    <a:pt x="15932" y="17680"/>
                    <a:pt x="16085" y="17624"/>
                  </a:cubicBezTo>
                  <a:cubicBezTo>
                    <a:pt x="16315" y="17539"/>
                    <a:pt x="16238" y="17539"/>
                    <a:pt x="16238" y="17483"/>
                  </a:cubicBezTo>
                  <a:cubicBezTo>
                    <a:pt x="16162" y="17455"/>
                    <a:pt x="16315" y="17427"/>
                    <a:pt x="16315" y="17427"/>
                  </a:cubicBezTo>
                  <a:cubicBezTo>
                    <a:pt x="16545" y="17342"/>
                    <a:pt x="16545" y="17342"/>
                    <a:pt x="16545" y="17342"/>
                  </a:cubicBezTo>
                  <a:cubicBezTo>
                    <a:pt x="16698" y="17201"/>
                    <a:pt x="16698" y="17201"/>
                    <a:pt x="16698" y="17201"/>
                  </a:cubicBezTo>
                  <a:cubicBezTo>
                    <a:pt x="16698" y="17201"/>
                    <a:pt x="16928" y="17286"/>
                    <a:pt x="16928" y="17286"/>
                  </a:cubicBezTo>
                  <a:cubicBezTo>
                    <a:pt x="17004" y="17286"/>
                    <a:pt x="17004" y="17257"/>
                    <a:pt x="17004" y="17229"/>
                  </a:cubicBezTo>
                  <a:cubicBezTo>
                    <a:pt x="17004" y="17201"/>
                    <a:pt x="17157" y="17201"/>
                    <a:pt x="17157" y="17201"/>
                  </a:cubicBezTo>
                  <a:cubicBezTo>
                    <a:pt x="17234" y="17201"/>
                    <a:pt x="17464" y="17173"/>
                    <a:pt x="17464" y="17173"/>
                  </a:cubicBezTo>
                  <a:cubicBezTo>
                    <a:pt x="17540" y="17116"/>
                    <a:pt x="17540" y="17116"/>
                    <a:pt x="17540" y="17116"/>
                  </a:cubicBezTo>
                  <a:cubicBezTo>
                    <a:pt x="17540" y="17116"/>
                    <a:pt x="17847" y="17088"/>
                    <a:pt x="18000" y="17116"/>
                  </a:cubicBezTo>
                  <a:cubicBezTo>
                    <a:pt x="18077" y="17145"/>
                    <a:pt x="17923" y="17145"/>
                    <a:pt x="17923" y="17173"/>
                  </a:cubicBezTo>
                  <a:cubicBezTo>
                    <a:pt x="17923" y="17201"/>
                    <a:pt x="17923" y="17201"/>
                    <a:pt x="17923" y="17229"/>
                  </a:cubicBezTo>
                  <a:cubicBezTo>
                    <a:pt x="17923" y="17257"/>
                    <a:pt x="17847" y="17286"/>
                    <a:pt x="17617" y="17286"/>
                  </a:cubicBezTo>
                  <a:cubicBezTo>
                    <a:pt x="17387" y="17314"/>
                    <a:pt x="17540" y="17370"/>
                    <a:pt x="17540" y="17370"/>
                  </a:cubicBezTo>
                  <a:cubicBezTo>
                    <a:pt x="17540" y="17370"/>
                    <a:pt x="17540" y="17483"/>
                    <a:pt x="17540" y="17483"/>
                  </a:cubicBezTo>
                  <a:cubicBezTo>
                    <a:pt x="17464" y="17511"/>
                    <a:pt x="17311" y="17568"/>
                    <a:pt x="17157" y="17568"/>
                  </a:cubicBezTo>
                  <a:cubicBezTo>
                    <a:pt x="17081" y="17596"/>
                    <a:pt x="17081" y="17652"/>
                    <a:pt x="17081" y="17652"/>
                  </a:cubicBezTo>
                  <a:cubicBezTo>
                    <a:pt x="17081" y="17680"/>
                    <a:pt x="17157" y="17737"/>
                    <a:pt x="17157" y="17793"/>
                  </a:cubicBezTo>
                  <a:cubicBezTo>
                    <a:pt x="17157" y="17821"/>
                    <a:pt x="17157" y="17821"/>
                    <a:pt x="17234" y="17878"/>
                  </a:cubicBezTo>
                  <a:cubicBezTo>
                    <a:pt x="17234" y="17906"/>
                    <a:pt x="17387" y="17906"/>
                    <a:pt x="17464" y="17906"/>
                  </a:cubicBezTo>
                  <a:cubicBezTo>
                    <a:pt x="17464" y="17934"/>
                    <a:pt x="17617" y="17991"/>
                    <a:pt x="17540" y="18019"/>
                  </a:cubicBezTo>
                  <a:cubicBezTo>
                    <a:pt x="17464" y="18047"/>
                    <a:pt x="17387" y="18075"/>
                    <a:pt x="17311" y="18075"/>
                  </a:cubicBezTo>
                  <a:cubicBezTo>
                    <a:pt x="17311" y="18103"/>
                    <a:pt x="17157" y="18188"/>
                    <a:pt x="17157" y="18188"/>
                  </a:cubicBezTo>
                  <a:cubicBezTo>
                    <a:pt x="17157" y="18188"/>
                    <a:pt x="17234" y="18244"/>
                    <a:pt x="17157" y="18301"/>
                  </a:cubicBezTo>
                  <a:cubicBezTo>
                    <a:pt x="17157" y="18357"/>
                    <a:pt x="17004" y="18329"/>
                    <a:pt x="16928" y="18357"/>
                  </a:cubicBezTo>
                  <a:cubicBezTo>
                    <a:pt x="16928" y="18357"/>
                    <a:pt x="16698" y="18442"/>
                    <a:pt x="16698" y="18442"/>
                  </a:cubicBezTo>
                  <a:cubicBezTo>
                    <a:pt x="16621" y="18442"/>
                    <a:pt x="16545" y="18555"/>
                    <a:pt x="16545" y="18611"/>
                  </a:cubicBezTo>
                  <a:cubicBezTo>
                    <a:pt x="16545" y="18639"/>
                    <a:pt x="16545" y="18696"/>
                    <a:pt x="16545" y="18724"/>
                  </a:cubicBezTo>
                  <a:cubicBezTo>
                    <a:pt x="16545" y="18752"/>
                    <a:pt x="16545" y="18724"/>
                    <a:pt x="16391" y="18808"/>
                  </a:cubicBezTo>
                  <a:cubicBezTo>
                    <a:pt x="16162" y="18893"/>
                    <a:pt x="16238" y="18837"/>
                    <a:pt x="16009" y="18808"/>
                  </a:cubicBezTo>
                  <a:cubicBezTo>
                    <a:pt x="15702" y="18808"/>
                    <a:pt x="16009" y="18780"/>
                    <a:pt x="16085" y="18724"/>
                  </a:cubicBezTo>
                  <a:cubicBezTo>
                    <a:pt x="16162" y="18667"/>
                    <a:pt x="16238" y="18611"/>
                    <a:pt x="16238" y="18611"/>
                  </a:cubicBezTo>
                  <a:cubicBezTo>
                    <a:pt x="16162" y="18498"/>
                    <a:pt x="16162" y="18498"/>
                    <a:pt x="16162" y="18498"/>
                  </a:cubicBezTo>
                  <a:cubicBezTo>
                    <a:pt x="16009" y="18414"/>
                    <a:pt x="16009" y="18414"/>
                    <a:pt x="16009" y="18414"/>
                  </a:cubicBezTo>
                  <a:lnTo>
                    <a:pt x="15779" y="1830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8" name="Shape 2261">
              <a:extLst>
                <a:ext uri="{FF2B5EF4-FFF2-40B4-BE49-F238E27FC236}">
                  <a16:creationId xmlns:a16="http://schemas.microsoft.com/office/drawing/2014/main" id="{C1E1B0E2-25CB-8C37-3695-D8AD4A6FC730}"/>
                </a:ext>
              </a:extLst>
            </p:cNvPr>
            <p:cNvSpPr/>
            <p:nvPr/>
          </p:nvSpPr>
          <p:spPr>
            <a:xfrm>
              <a:off x="3090091" y="487624"/>
              <a:ext cx="2208344" cy="3036587"/>
            </a:xfrm>
            <a:custGeom>
              <a:avLst/>
              <a:gdLst/>
              <a:ahLst/>
              <a:cxnLst>
                <a:cxn ang="0">
                  <a:pos x="wd2" y="hd2"/>
                </a:cxn>
                <a:cxn ang="5400000">
                  <a:pos x="wd2" y="hd2"/>
                </a:cxn>
                <a:cxn ang="10800000">
                  <a:pos x="wd2" y="hd2"/>
                </a:cxn>
                <a:cxn ang="16200000">
                  <a:pos x="wd2" y="hd2"/>
                </a:cxn>
              </a:cxnLst>
              <a:rect l="0" t="0" r="r" b="b"/>
              <a:pathLst>
                <a:path w="21496" h="21580" extrusionOk="0">
                  <a:moveTo>
                    <a:pt x="14815" y="1620"/>
                  </a:moveTo>
                  <a:cubicBezTo>
                    <a:pt x="14735" y="1620"/>
                    <a:pt x="14614" y="1648"/>
                    <a:pt x="14614" y="1592"/>
                  </a:cubicBezTo>
                  <a:cubicBezTo>
                    <a:pt x="14614" y="1563"/>
                    <a:pt x="14494" y="1478"/>
                    <a:pt x="14494" y="1478"/>
                  </a:cubicBezTo>
                  <a:cubicBezTo>
                    <a:pt x="14494" y="1449"/>
                    <a:pt x="14414" y="1393"/>
                    <a:pt x="14534" y="1364"/>
                  </a:cubicBezTo>
                  <a:cubicBezTo>
                    <a:pt x="14614" y="1307"/>
                    <a:pt x="14895" y="1222"/>
                    <a:pt x="14935" y="1222"/>
                  </a:cubicBezTo>
                  <a:cubicBezTo>
                    <a:pt x="14935" y="1222"/>
                    <a:pt x="15056" y="1080"/>
                    <a:pt x="15096" y="1052"/>
                  </a:cubicBezTo>
                  <a:cubicBezTo>
                    <a:pt x="15136" y="1052"/>
                    <a:pt x="15377" y="1052"/>
                    <a:pt x="15377" y="1052"/>
                  </a:cubicBezTo>
                  <a:cubicBezTo>
                    <a:pt x="15377" y="1052"/>
                    <a:pt x="15417" y="1080"/>
                    <a:pt x="15498" y="1080"/>
                  </a:cubicBezTo>
                  <a:cubicBezTo>
                    <a:pt x="15578" y="1108"/>
                    <a:pt x="15738" y="1023"/>
                    <a:pt x="15658" y="1108"/>
                  </a:cubicBezTo>
                  <a:cubicBezTo>
                    <a:pt x="15538" y="1165"/>
                    <a:pt x="15498" y="1194"/>
                    <a:pt x="15457" y="1194"/>
                  </a:cubicBezTo>
                  <a:cubicBezTo>
                    <a:pt x="15417" y="1222"/>
                    <a:pt x="15217" y="1336"/>
                    <a:pt x="15217" y="1393"/>
                  </a:cubicBezTo>
                  <a:cubicBezTo>
                    <a:pt x="15176" y="1449"/>
                    <a:pt x="15217" y="1449"/>
                    <a:pt x="15176" y="1478"/>
                  </a:cubicBezTo>
                  <a:cubicBezTo>
                    <a:pt x="15096" y="1506"/>
                    <a:pt x="14855" y="1592"/>
                    <a:pt x="14815" y="1620"/>
                  </a:cubicBezTo>
                  <a:close/>
                  <a:moveTo>
                    <a:pt x="15337" y="1734"/>
                  </a:moveTo>
                  <a:cubicBezTo>
                    <a:pt x="15337" y="1734"/>
                    <a:pt x="15337" y="1734"/>
                    <a:pt x="15337" y="1734"/>
                  </a:cubicBezTo>
                  <a:cubicBezTo>
                    <a:pt x="15337" y="1734"/>
                    <a:pt x="15457" y="1762"/>
                    <a:pt x="15457" y="1734"/>
                  </a:cubicBezTo>
                  <a:cubicBezTo>
                    <a:pt x="15457" y="1734"/>
                    <a:pt x="15498" y="1677"/>
                    <a:pt x="15498" y="1592"/>
                  </a:cubicBezTo>
                  <a:cubicBezTo>
                    <a:pt x="15538" y="1506"/>
                    <a:pt x="15618" y="1506"/>
                    <a:pt x="15658" y="1478"/>
                  </a:cubicBezTo>
                  <a:cubicBezTo>
                    <a:pt x="15698" y="1449"/>
                    <a:pt x="15658" y="1449"/>
                    <a:pt x="15698" y="1393"/>
                  </a:cubicBezTo>
                  <a:cubicBezTo>
                    <a:pt x="15698" y="1336"/>
                    <a:pt x="15658" y="1336"/>
                    <a:pt x="15578" y="1307"/>
                  </a:cubicBezTo>
                  <a:cubicBezTo>
                    <a:pt x="15457" y="1307"/>
                    <a:pt x="15457" y="1364"/>
                    <a:pt x="15377" y="1364"/>
                  </a:cubicBezTo>
                  <a:cubicBezTo>
                    <a:pt x="15337" y="1393"/>
                    <a:pt x="15337" y="1449"/>
                    <a:pt x="15377" y="1478"/>
                  </a:cubicBezTo>
                  <a:cubicBezTo>
                    <a:pt x="15377" y="1506"/>
                    <a:pt x="15297" y="1535"/>
                    <a:pt x="15217" y="1563"/>
                  </a:cubicBezTo>
                  <a:cubicBezTo>
                    <a:pt x="15136" y="1620"/>
                    <a:pt x="15136" y="1677"/>
                    <a:pt x="15136" y="1677"/>
                  </a:cubicBezTo>
                  <a:cubicBezTo>
                    <a:pt x="15337" y="1734"/>
                    <a:pt x="15337" y="1734"/>
                    <a:pt x="15337" y="1734"/>
                  </a:cubicBezTo>
                  <a:close/>
                  <a:moveTo>
                    <a:pt x="14534" y="3581"/>
                  </a:moveTo>
                  <a:cubicBezTo>
                    <a:pt x="14534" y="3581"/>
                    <a:pt x="14534" y="3581"/>
                    <a:pt x="14534" y="3581"/>
                  </a:cubicBezTo>
                  <a:cubicBezTo>
                    <a:pt x="14695" y="3609"/>
                    <a:pt x="14695" y="3609"/>
                    <a:pt x="14695" y="3609"/>
                  </a:cubicBezTo>
                  <a:cubicBezTo>
                    <a:pt x="14976" y="3837"/>
                    <a:pt x="14976" y="3837"/>
                    <a:pt x="14976" y="3837"/>
                  </a:cubicBezTo>
                  <a:cubicBezTo>
                    <a:pt x="15217" y="4036"/>
                    <a:pt x="15217" y="4036"/>
                    <a:pt x="15217" y="4036"/>
                  </a:cubicBezTo>
                  <a:cubicBezTo>
                    <a:pt x="15217" y="4036"/>
                    <a:pt x="15578" y="4235"/>
                    <a:pt x="15658" y="4263"/>
                  </a:cubicBezTo>
                  <a:cubicBezTo>
                    <a:pt x="15738" y="4292"/>
                    <a:pt x="16180" y="4348"/>
                    <a:pt x="16220" y="4377"/>
                  </a:cubicBezTo>
                  <a:cubicBezTo>
                    <a:pt x="16341" y="4263"/>
                    <a:pt x="16341" y="4263"/>
                    <a:pt x="16341" y="4263"/>
                  </a:cubicBezTo>
                  <a:cubicBezTo>
                    <a:pt x="16501" y="4178"/>
                    <a:pt x="16501" y="4178"/>
                    <a:pt x="16501" y="4178"/>
                  </a:cubicBezTo>
                  <a:cubicBezTo>
                    <a:pt x="16461" y="4121"/>
                    <a:pt x="16461" y="4121"/>
                    <a:pt x="16461" y="4121"/>
                  </a:cubicBezTo>
                  <a:cubicBezTo>
                    <a:pt x="16662" y="4036"/>
                    <a:pt x="16662" y="4036"/>
                    <a:pt x="16662" y="4036"/>
                  </a:cubicBezTo>
                  <a:cubicBezTo>
                    <a:pt x="16822" y="4121"/>
                    <a:pt x="16822" y="4121"/>
                    <a:pt x="16822" y="4121"/>
                  </a:cubicBezTo>
                  <a:cubicBezTo>
                    <a:pt x="17224" y="4178"/>
                    <a:pt x="17224" y="4178"/>
                    <a:pt x="17224" y="4178"/>
                  </a:cubicBezTo>
                  <a:cubicBezTo>
                    <a:pt x="17385" y="4263"/>
                    <a:pt x="17385" y="4263"/>
                    <a:pt x="17385" y="4263"/>
                  </a:cubicBezTo>
                  <a:cubicBezTo>
                    <a:pt x="17385" y="4263"/>
                    <a:pt x="17385" y="4263"/>
                    <a:pt x="17425" y="4263"/>
                  </a:cubicBezTo>
                  <a:cubicBezTo>
                    <a:pt x="17425" y="4263"/>
                    <a:pt x="17425" y="4263"/>
                    <a:pt x="17425" y="4263"/>
                  </a:cubicBezTo>
                  <a:cubicBezTo>
                    <a:pt x="17425" y="4263"/>
                    <a:pt x="17425" y="4263"/>
                    <a:pt x="17425" y="4263"/>
                  </a:cubicBezTo>
                  <a:cubicBezTo>
                    <a:pt x="17465" y="4235"/>
                    <a:pt x="17465" y="4235"/>
                    <a:pt x="17465" y="4235"/>
                  </a:cubicBezTo>
                  <a:cubicBezTo>
                    <a:pt x="17465" y="4235"/>
                    <a:pt x="17465" y="4235"/>
                    <a:pt x="17465" y="4235"/>
                  </a:cubicBezTo>
                  <a:cubicBezTo>
                    <a:pt x="17465" y="4235"/>
                    <a:pt x="17465" y="4235"/>
                    <a:pt x="17465" y="4235"/>
                  </a:cubicBezTo>
                  <a:cubicBezTo>
                    <a:pt x="17465" y="4235"/>
                    <a:pt x="17465" y="4235"/>
                    <a:pt x="17465" y="4235"/>
                  </a:cubicBezTo>
                  <a:cubicBezTo>
                    <a:pt x="17465" y="4235"/>
                    <a:pt x="17505" y="4235"/>
                    <a:pt x="17505" y="4235"/>
                  </a:cubicBezTo>
                  <a:cubicBezTo>
                    <a:pt x="17505" y="4235"/>
                    <a:pt x="17505" y="4235"/>
                    <a:pt x="17505" y="4235"/>
                  </a:cubicBezTo>
                  <a:cubicBezTo>
                    <a:pt x="17505" y="4235"/>
                    <a:pt x="17505" y="4235"/>
                    <a:pt x="17505" y="4235"/>
                  </a:cubicBezTo>
                  <a:cubicBezTo>
                    <a:pt x="17505" y="4235"/>
                    <a:pt x="17505" y="4235"/>
                    <a:pt x="17505" y="4235"/>
                  </a:cubicBezTo>
                  <a:cubicBezTo>
                    <a:pt x="17505" y="4235"/>
                    <a:pt x="17505" y="4235"/>
                    <a:pt x="1750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178"/>
                    <a:pt x="17545" y="4178"/>
                    <a:pt x="17545" y="4178"/>
                  </a:cubicBezTo>
                  <a:cubicBezTo>
                    <a:pt x="17545" y="4149"/>
                    <a:pt x="17545" y="3979"/>
                    <a:pt x="17545" y="3979"/>
                  </a:cubicBezTo>
                  <a:cubicBezTo>
                    <a:pt x="17545" y="3979"/>
                    <a:pt x="17425" y="3922"/>
                    <a:pt x="17545" y="3865"/>
                  </a:cubicBezTo>
                  <a:cubicBezTo>
                    <a:pt x="17666" y="3780"/>
                    <a:pt x="17826" y="3695"/>
                    <a:pt x="17826" y="3695"/>
                  </a:cubicBezTo>
                  <a:cubicBezTo>
                    <a:pt x="17826" y="3695"/>
                    <a:pt x="17906" y="3666"/>
                    <a:pt x="17906" y="3581"/>
                  </a:cubicBezTo>
                  <a:cubicBezTo>
                    <a:pt x="17906" y="3496"/>
                    <a:pt x="17826" y="3268"/>
                    <a:pt x="17826" y="3268"/>
                  </a:cubicBezTo>
                  <a:cubicBezTo>
                    <a:pt x="17826" y="3268"/>
                    <a:pt x="17746" y="3126"/>
                    <a:pt x="17746" y="3069"/>
                  </a:cubicBezTo>
                  <a:cubicBezTo>
                    <a:pt x="17826" y="2728"/>
                    <a:pt x="17625" y="2501"/>
                    <a:pt x="17746" y="2444"/>
                  </a:cubicBezTo>
                  <a:cubicBezTo>
                    <a:pt x="17746" y="2444"/>
                    <a:pt x="17746" y="2444"/>
                    <a:pt x="17746" y="2444"/>
                  </a:cubicBezTo>
                  <a:cubicBezTo>
                    <a:pt x="17746" y="2444"/>
                    <a:pt x="17746" y="2444"/>
                    <a:pt x="17746" y="2444"/>
                  </a:cubicBezTo>
                  <a:cubicBezTo>
                    <a:pt x="17826" y="2416"/>
                    <a:pt x="17826" y="2416"/>
                    <a:pt x="17826" y="2416"/>
                  </a:cubicBezTo>
                  <a:cubicBezTo>
                    <a:pt x="17947" y="2359"/>
                    <a:pt x="17947" y="2359"/>
                    <a:pt x="17947" y="2359"/>
                  </a:cubicBezTo>
                  <a:cubicBezTo>
                    <a:pt x="17947" y="2359"/>
                    <a:pt x="17947" y="2331"/>
                    <a:pt x="17947" y="2331"/>
                  </a:cubicBezTo>
                  <a:cubicBezTo>
                    <a:pt x="17947" y="2188"/>
                    <a:pt x="17706" y="2046"/>
                    <a:pt x="17987" y="2018"/>
                  </a:cubicBezTo>
                  <a:cubicBezTo>
                    <a:pt x="18107" y="1961"/>
                    <a:pt x="18107" y="1961"/>
                    <a:pt x="18107" y="1961"/>
                  </a:cubicBezTo>
                  <a:cubicBezTo>
                    <a:pt x="18469" y="1961"/>
                    <a:pt x="18469" y="1961"/>
                    <a:pt x="18469" y="1961"/>
                  </a:cubicBezTo>
                  <a:cubicBezTo>
                    <a:pt x="18549" y="1791"/>
                    <a:pt x="18549" y="1791"/>
                    <a:pt x="18549" y="1791"/>
                  </a:cubicBezTo>
                  <a:cubicBezTo>
                    <a:pt x="18709" y="1677"/>
                    <a:pt x="18709" y="1677"/>
                    <a:pt x="18709" y="1677"/>
                  </a:cubicBezTo>
                  <a:cubicBezTo>
                    <a:pt x="18830" y="1677"/>
                    <a:pt x="18990" y="1648"/>
                    <a:pt x="19071" y="1677"/>
                  </a:cubicBezTo>
                  <a:cubicBezTo>
                    <a:pt x="19151" y="1762"/>
                    <a:pt x="19151" y="1819"/>
                    <a:pt x="19312" y="1847"/>
                  </a:cubicBezTo>
                  <a:cubicBezTo>
                    <a:pt x="19793" y="1961"/>
                    <a:pt x="19793" y="1961"/>
                    <a:pt x="19793" y="1961"/>
                  </a:cubicBezTo>
                  <a:cubicBezTo>
                    <a:pt x="20034" y="1989"/>
                    <a:pt x="20034" y="1989"/>
                    <a:pt x="20034" y="1989"/>
                  </a:cubicBezTo>
                  <a:cubicBezTo>
                    <a:pt x="20034" y="1989"/>
                    <a:pt x="20034" y="1989"/>
                    <a:pt x="20034" y="1989"/>
                  </a:cubicBezTo>
                  <a:cubicBezTo>
                    <a:pt x="20074" y="1989"/>
                    <a:pt x="20074" y="1989"/>
                    <a:pt x="20074" y="1989"/>
                  </a:cubicBezTo>
                  <a:cubicBezTo>
                    <a:pt x="20074" y="1989"/>
                    <a:pt x="20074" y="1989"/>
                    <a:pt x="20074" y="1989"/>
                  </a:cubicBezTo>
                  <a:cubicBezTo>
                    <a:pt x="20155" y="2046"/>
                    <a:pt x="20155" y="2046"/>
                    <a:pt x="20155" y="2046"/>
                  </a:cubicBezTo>
                  <a:cubicBezTo>
                    <a:pt x="20155" y="2046"/>
                    <a:pt x="20155" y="2046"/>
                    <a:pt x="20155" y="2046"/>
                  </a:cubicBezTo>
                  <a:cubicBezTo>
                    <a:pt x="20155" y="2046"/>
                    <a:pt x="20155" y="2046"/>
                    <a:pt x="20155" y="2046"/>
                  </a:cubicBezTo>
                  <a:cubicBezTo>
                    <a:pt x="20155" y="2046"/>
                    <a:pt x="20155" y="2046"/>
                    <a:pt x="20155" y="2046"/>
                  </a:cubicBezTo>
                  <a:cubicBezTo>
                    <a:pt x="20155" y="2103"/>
                    <a:pt x="20155" y="2160"/>
                    <a:pt x="20195" y="2188"/>
                  </a:cubicBezTo>
                  <a:cubicBezTo>
                    <a:pt x="20195" y="2245"/>
                    <a:pt x="20235" y="2331"/>
                    <a:pt x="20235" y="2331"/>
                  </a:cubicBezTo>
                  <a:cubicBezTo>
                    <a:pt x="20235" y="2331"/>
                    <a:pt x="20195" y="2416"/>
                    <a:pt x="20195" y="2473"/>
                  </a:cubicBezTo>
                  <a:cubicBezTo>
                    <a:pt x="20155" y="2501"/>
                    <a:pt x="20155" y="2586"/>
                    <a:pt x="20155" y="2615"/>
                  </a:cubicBezTo>
                  <a:cubicBezTo>
                    <a:pt x="20155" y="2643"/>
                    <a:pt x="20155" y="2672"/>
                    <a:pt x="20155" y="2700"/>
                  </a:cubicBezTo>
                  <a:cubicBezTo>
                    <a:pt x="20155" y="2757"/>
                    <a:pt x="20195" y="2842"/>
                    <a:pt x="20235" y="2871"/>
                  </a:cubicBezTo>
                  <a:cubicBezTo>
                    <a:pt x="20235" y="2899"/>
                    <a:pt x="20436" y="2984"/>
                    <a:pt x="20436" y="2984"/>
                  </a:cubicBezTo>
                  <a:cubicBezTo>
                    <a:pt x="20436" y="2984"/>
                    <a:pt x="20436" y="2984"/>
                    <a:pt x="20396" y="3013"/>
                  </a:cubicBezTo>
                  <a:cubicBezTo>
                    <a:pt x="20396" y="3013"/>
                    <a:pt x="20396" y="3041"/>
                    <a:pt x="20436" y="3041"/>
                  </a:cubicBezTo>
                  <a:cubicBezTo>
                    <a:pt x="20516" y="3041"/>
                    <a:pt x="20637" y="3013"/>
                    <a:pt x="20637" y="3013"/>
                  </a:cubicBezTo>
                  <a:cubicBezTo>
                    <a:pt x="20637" y="3013"/>
                    <a:pt x="20637" y="2757"/>
                    <a:pt x="20596" y="2672"/>
                  </a:cubicBezTo>
                  <a:cubicBezTo>
                    <a:pt x="20556" y="2558"/>
                    <a:pt x="20757" y="2444"/>
                    <a:pt x="20757" y="2444"/>
                  </a:cubicBezTo>
                  <a:cubicBezTo>
                    <a:pt x="21038" y="2245"/>
                    <a:pt x="21038" y="2245"/>
                    <a:pt x="21038" y="2245"/>
                  </a:cubicBezTo>
                  <a:cubicBezTo>
                    <a:pt x="20998" y="2018"/>
                    <a:pt x="20998" y="2018"/>
                    <a:pt x="20998" y="2018"/>
                  </a:cubicBezTo>
                  <a:cubicBezTo>
                    <a:pt x="21319" y="2046"/>
                    <a:pt x="21319" y="2046"/>
                    <a:pt x="21319" y="2046"/>
                  </a:cubicBezTo>
                  <a:cubicBezTo>
                    <a:pt x="21319" y="2046"/>
                    <a:pt x="21560" y="1961"/>
                    <a:pt x="21480" y="1847"/>
                  </a:cubicBezTo>
                  <a:cubicBezTo>
                    <a:pt x="21399" y="1705"/>
                    <a:pt x="21319" y="1478"/>
                    <a:pt x="21239" y="1535"/>
                  </a:cubicBezTo>
                  <a:cubicBezTo>
                    <a:pt x="21118" y="1592"/>
                    <a:pt x="20918" y="1762"/>
                    <a:pt x="20918" y="1762"/>
                  </a:cubicBezTo>
                  <a:cubicBezTo>
                    <a:pt x="20877" y="1478"/>
                    <a:pt x="20877" y="1478"/>
                    <a:pt x="20877" y="1478"/>
                  </a:cubicBezTo>
                  <a:cubicBezTo>
                    <a:pt x="20556" y="1563"/>
                    <a:pt x="20556" y="1563"/>
                    <a:pt x="20556" y="1563"/>
                  </a:cubicBezTo>
                  <a:cubicBezTo>
                    <a:pt x="20235" y="1506"/>
                    <a:pt x="20235" y="1506"/>
                    <a:pt x="20235" y="1506"/>
                  </a:cubicBezTo>
                  <a:cubicBezTo>
                    <a:pt x="20235" y="1506"/>
                    <a:pt x="20115" y="1393"/>
                    <a:pt x="19994" y="1421"/>
                  </a:cubicBezTo>
                  <a:cubicBezTo>
                    <a:pt x="19874" y="1421"/>
                    <a:pt x="19673" y="1421"/>
                    <a:pt x="19673" y="1421"/>
                  </a:cubicBezTo>
                  <a:cubicBezTo>
                    <a:pt x="19673" y="1421"/>
                    <a:pt x="19512" y="1336"/>
                    <a:pt x="19593" y="1307"/>
                  </a:cubicBezTo>
                  <a:cubicBezTo>
                    <a:pt x="19713" y="1307"/>
                    <a:pt x="19954" y="1336"/>
                    <a:pt x="20074" y="1307"/>
                  </a:cubicBezTo>
                  <a:cubicBezTo>
                    <a:pt x="20155" y="1307"/>
                    <a:pt x="20797" y="1194"/>
                    <a:pt x="20797" y="1194"/>
                  </a:cubicBezTo>
                  <a:cubicBezTo>
                    <a:pt x="20837" y="995"/>
                    <a:pt x="20837" y="995"/>
                    <a:pt x="20837" y="995"/>
                  </a:cubicBezTo>
                  <a:cubicBezTo>
                    <a:pt x="21118" y="824"/>
                    <a:pt x="21118" y="824"/>
                    <a:pt x="21118" y="824"/>
                  </a:cubicBezTo>
                  <a:cubicBezTo>
                    <a:pt x="20637" y="568"/>
                    <a:pt x="20637" y="568"/>
                    <a:pt x="20637" y="568"/>
                  </a:cubicBezTo>
                  <a:cubicBezTo>
                    <a:pt x="20436" y="341"/>
                    <a:pt x="20436" y="341"/>
                    <a:pt x="20436" y="341"/>
                  </a:cubicBezTo>
                  <a:cubicBezTo>
                    <a:pt x="20436" y="341"/>
                    <a:pt x="20396" y="256"/>
                    <a:pt x="20315" y="256"/>
                  </a:cubicBezTo>
                  <a:cubicBezTo>
                    <a:pt x="20195" y="256"/>
                    <a:pt x="19874" y="369"/>
                    <a:pt x="19874" y="369"/>
                  </a:cubicBezTo>
                  <a:cubicBezTo>
                    <a:pt x="19633" y="256"/>
                    <a:pt x="19633" y="256"/>
                    <a:pt x="19633" y="256"/>
                  </a:cubicBezTo>
                  <a:cubicBezTo>
                    <a:pt x="19272" y="284"/>
                    <a:pt x="19272" y="284"/>
                    <a:pt x="19272" y="284"/>
                  </a:cubicBezTo>
                  <a:cubicBezTo>
                    <a:pt x="18750" y="171"/>
                    <a:pt x="18750" y="171"/>
                    <a:pt x="18750" y="171"/>
                  </a:cubicBezTo>
                  <a:cubicBezTo>
                    <a:pt x="18750" y="256"/>
                    <a:pt x="18750" y="256"/>
                    <a:pt x="18750" y="256"/>
                  </a:cubicBezTo>
                  <a:cubicBezTo>
                    <a:pt x="18750" y="256"/>
                    <a:pt x="18589" y="227"/>
                    <a:pt x="18549" y="171"/>
                  </a:cubicBezTo>
                  <a:cubicBezTo>
                    <a:pt x="18549" y="114"/>
                    <a:pt x="18549" y="57"/>
                    <a:pt x="18549" y="57"/>
                  </a:cubicBezTo>
                  <a:cubicBezTo>
                    <a:pt x="18348" y="85"/>
                    <a:pt x="18348" y="85"/>
                    <a:pt x="18348" y="85"/>
                  </a:cubicBezTo>
                  <a:cubicBezTo>
                    <a:pt x="18268" y="85"/>
                    <a:pt x="18268" y="85"/>
                    <a:pt x="18268" y="85"/>
                  </a:cubicBezTo>
                  <a:cubicBezTo>
                    <a:pt x="18027" y="0"/>
                    <a:pt x="18027" y="0"/>
                    <a:pt x="18027" y="0"/>
                  </a:cubicBezTo>
                  <a:cubicBezTo>
                    <a:pt x="17906" y="171"/>
                    <a:pt x="17906" y="171"/>
                    <a:pt x="17906" y="171"/>
                  </a:cubicBezTo>
                  <a:cubicBezTo>
                    <a:pt x="18067" y="369"/>
                    <a:pt x="18067" y="369"/>
                    <a:pt x="18067" y="369"/>
                  </a:cubicBezTo>
                  <a:cubicBezTo>
                    <a:pt x="17906" y="597"/>
                    <a:pt x="17906" y="597"/>
                    <a:pt x="17906" y="597"/>
                  </a:cubicBezTo>
                  <a:cubicBezTo>
                    <a:pt x="18027" y="739"/>
                    <a:pt x="18027" y="739"/>
                    <a:pt x="18027" y="739"/>
                  </a:cubicBezTo>
                  <a:cubicBezTo>
                    <a:pt x="18027" y="938"/>
                    <a:pt x="18027" y="938"/>
                    <a:pt x="18027" y="938"/>
                  </a:cubicBezTo>
                  <a:cubicBezTo>
                    <a:pt x="17866" y="1165"/>
                    <a:pt x="17866" y="1165"/>
                    <a:pt x="17866" y="1165"/>
                  </a:cubicBezTo>
                  <a:cubicBezTo>
                    <a:pt x="17625" y="1023"/>
                    <a:pt x="17625" y="1023"/>
                    <a:pt x="17625" y="1023"/>
                  </a:cubicBezTo>
                  <a:cubicBezTo>
                    <a:pt x="17666" y="824"/>
                    <a:pt x="17666" y="824"/>
                    <a:pt x="17666" y="824"/>
                  </a:cubicBezTo>
                  <a:cubicBezTo>
                    <a:pt x="17786" y="597"/>
                    <a:pt x="17786" y="597"/>
                    <a:pt x="17786" y="597"/>
                  </a:cubicBezTo>
                  <a:cubicBezTo>
                    <a:pt x="17625" y="369"/>
                    <a:pt x="17625" y="369"/>
                    <a:pt x="17625" y="369"/>
                  </a:cubicBezTo>
                  <a:cubicBezTo>
                    <a:pt x="17304" y="568"/>
                    <a:pt x="17304" y="568"/>
                    <a:pt x="17304" y="568"/>
                  </a:cubicBezTo>
                  <a:cubicBezTo>
                    <a:pt x="17304" y="853"/>
                    <a:pt x="17304" y="853"/>
                    <a:pt x="17304" y="853"/>
                  </a:cubicBezTo>
                  <a:cubicBezTo>
                    <a:pt x="17144" y="1052"/>
                    <a:pt x="17144" y="1052"/>
                    <a:pt x="17144" y="1052"/>
                  </a:cubicBezTo>
                  <a:cubicBezTo>
                    <a:pt x="17144" y="1307"/>
                    <a:pt x="17144" y="1307"/>
                    <a:pt x="17144" y="1307"/>
                  </a:cubicBezTo>
                  <a:cubicBezTo>
                    <a:pt x="17063" y="1506"/>
                    <a:pt x="17063" y="1506"/>
                    <a:pt x="17063" y="1506"/>
                  </a:cubicBezTo>
                  <a:cubicBezTo>
                    <a:pt x="17023" y="1762"/>
                    <a:pt x="17023" y="1762"/>
                    <a:pt x="17023" y="1762"/>
                  </a:cubicBezTo>
                  <a:cubicBezTo>
                    <a:pt x="17023" y="1762"/>
                    <a:pt x="17023" y="1819"/>
                    <a:pt x="16943" y="1819"/>
                  </a:cubicBezTo>
                  <a:cubicBezTo>
                    <a:pt x="16863" y="1847"/>
                    <a:pt x="16702" y="1791"/>
                    <a:pt x="16702" y="1791"/>
                  </a:cubicBezTo>
                  <a:cubicBezTo>
                    <a:pt x="16702" y="1421"/>
                    <a:pt x="16702" y="1421"/>
                    <a:pt x="16702" y="1421"/>
                  </a:cubicBezTo>
                  <a:cubicBezTo>
                    <a:pt x="16782" y="1222"/>
                    <a:pt x="16782" y="1222"/>
                    <a:pt x="16782" y="1222"/>
                  </a:cubicBezTo>
                  <a:cubicBezTo>
                    <a:pt x="16903" y="1052"/>
                    <a:pt x="16903" y="1052"/>
                    <a:pt x="16903" y="1052"/>
                  </a:cubicBezTo>
                  <a:cubicBezTo>
                    <a:pt x="17063" y="824"/>
                    <a:pt x="17063" y="824"/>
                    <a:pt x="17063" y="824"/>
                  </a:cubicBezTo>
                  <a:cubicBezTo>
                    <a:pt x="17063" y="824"/>
                    <a:pt x="17063" y="682"/>
                    <a:pt x="17023" y="654"/>
                  </a:cubicBezTo>
                  <a:cubicBezTo>
                    <a:pt x="17023" y="654"/>
                    <a:pt x="16943" y="625"/>
                    <a:pt x="16983" y="625"/>
                  </a:cubicBezTo>
                  <a:cubicBezTo>
                    <a:pt x="16983" y="597"/>
                    <a:pt x="17144" y="483"/>
                    <a:pt x="17144" y="483"/>
                  </a:cubicBezTo>
                  <a:cubicBezTo>
                    <a:pt x="17144" y="483"/>
                    <a:pt x="17144" y="398"/>
                    <a:pt x="17023" y="341"/>
                  </a:cubicBezTo>
                  <a:cubicBezTo>
                    <a:pt x="16943" y="313"/>
                    <a:pt x="16863" y="256"/>
                    <a:pt x="16782" y="284"/>
                  </a:cubicBezTo>
                  <a:cubicBezTo>
                    <a:pt x="16742" y="313"/>
                    <a:pt x="16541" y="369"/>
                    <a:pt x="16541" y="398"/>
                  </a:cubicBezTo>
                  <a:cubicBezTo>
                    <a:pt x="16501" y="426"/>
                    <a:pt x="16541" y="483"/>
                    <a:pt x="16582" y="512"/>
                  </a:cubicBezTo>
                  <a:cubicBezTo>
                    <a:pt x="16622" y="512"/>
                    <a:pt x="16662" y="540"/>
                    <a:pt x="16702" y="540"/>
                  </a:cubicBezTo>
                  <a:cubicBezTo>
                    <a:pt x="16702" y="568"/>
                    <a:pt x="16742" y="654"/>
                    <a:pt x="16702" y="682"/>
                  </a:cubicBezTo>
                  <a:cubicBezTo>
                    <a:pt x="16662" y="711"/>
                    <a:pt x="16702" y="796"/>
                    <a:pt x="16582" y="767"/>
                  </a:cubicBezTo>
                  <a:cubicBezTo>
                    <a:pt x="16501" y="739"/>
                    <a:pt x="16260" y="625"/>
                    <a:pt x="16260" y="625"/>
                  </a:cubicBezTo>
                  <a:cubicBezTo>
                    <a:pt x="16220" y="625"/>
                    <a:pt x="16260" y="512"/>
                    <a:pt x="16180" y="625"/>
                  </a:cubicBezTo>
                  <a:cubicBezTo>
                    <a:pt x="16100" y="711"/>
                    <a:pt x="16060" y="739"/>
                    <a:pt x="16100" y="796"/>
                  </a:cubicBezTo>
                  <a:cubicBezTo>
                    <a:pt x="16140" y="853"/>
                    <a:pt x="16180" y="853"/>
                    <a:pt x="16180" y="881"/>
                  </a:cubicBezTo>
                  <a:cubicBezTo>
                    <a:pt x="16180" y="909"/>
                    <a:pt x="16019" y="909"/>
                    <a:pt x="16019" y="938"/>
                  </a:cubicBezTo>
                  <a:cubicBezTo>
                    <a:pt x="16019" y="966"/>
                    <a:pt x="15979" y="995"/>
                    <a:pt x="16060" y="1052"/>
                  </a:cubicBezTo>
                  <a:cubicBezTo>
                    <a:pt x="16140" y="1080"/>
                    <a:pt x="16220" y="1108"/>
                    <a:pt x="16220" y="1108"/>
                  </a:cubicBezTo>
                  <a:cubicBezTo>
                    <a:pt x="16220" y="1108"/>
                    <a:pt x="16301" y="1194"/>
                    <a:pt x="16260" y="1194"/>
                  </a:cubicBezTo>
                  <a:cubicBezTo>
                    <a:pt x="16260" y="1222"/>
                    <a:pt x="16019" y="1194"/>
                    <a:pt x="16019" y="1222"/>
                  </a:cubicBezTo>
                  <a:cubicBezTo>
                    <a:pt x="16019" y="1251"/>
                    <a:pt x="16019" y="1307"/>
                    <a:pt x="16019" y="1336"/>
                  </a:cubicBezTo>
                  <a:cubicBezTo>
                    <a:pt x="16019" y="1364"/>
                    <a:pt x="16019" y="1421"/>
                    <a:pt x="16019" y="1421"/>
                  </a:cubicBezTo>
                  <a:cubicBezTo>
                    <a:pt x="16019" y="1449"/>
                    <a:pt x="15859" y="1449"/>
                    <a:pt x="15819" y="1478"/>
                  </a:cubicBezTo>
                  <a:cubicBezTo>
                    <a:pt x="15738" y="1506"/>
                    <a:pt x="15698" y="1592"/>
                    <a:pt x="15698" y="1648"/>
                  </a:cubicBezTo>
                  <a:cubicBezTo>
                    <a:pt x="15658" y="1705"/>
                    <a:pt x="15658" y="1762"/>
                    <a:pt x="15658" y="1791"/>
                  </a:cubicBezTo>
                  <a:cubicBezTo>
                    <a:pt x="15658" y="1819"/>
                    <a:pt x="15578" y="1876"/>
                    <a:pt x="15578" y="1876"/>
                  </a:cubicBezTo>
                  <a:cubicBezTo>
                    <a:pt x="15578" y="1876"/>
                    <a:pt x="15578" y="1904"/>
                    <a:pt x="15498" y="1876"/>
                  </a:cubicBezTo>
                  <a:cubicBezTo>
                    <a:pt x="15417" y="1876"/>
                    <a:pt x="15136" y="1762"/>
                    <a:pt x="15096" y="1762"/>
                  </a:cubicBezTo>
                  <a:cubicBezTo>
                    <a:pt x="15016" y="1762"/>
                    <a:pt x="14935" y="1791"/>
                    <a:pt x="14935" y="1847"/>
                  </a:cubicBezTo>
                  <a:cubicBezTo>
                    <a:pt x="14935" y="1876"/>
                    <a:pt x="15056" y="1961"/>
                    <a:pt x="15096" y="1961"/>
                  </a:cubicBezTo>
                  <a:cubicBezTo>
                    <a:pt x="15096" y="1961"/>
                    <a:pt x="15297" y="1989"/>
                    <a:pt x="15337" y="2018"/>
                  </a:cubicBezTo>
                  <a:cubicBezTo>
                    <a:pt x="15337" y="2046"/>
                    <a:pt x="15337" y="2245"/>
                    <a:pt x="15337" y="2245"/>
                  </a:cubicBezTo>
                  <a:cubicBezTo>
                    <a:pt x="15337" y="2245"/>
                    <a:pt x="15498" y="2473"/>
                    <a:pt x="15217" y="2274"/>
                  </a:cubicBezTo>
                  <a:cubicBezTo>
                    <a:pt x="14895" y="2075"/>
                    <a:pt x="14895" y="2046"/>
                    <a:pt x="14855" y="2018"/>
                  </a:cubicBezTo>
                  <a:cubicBezTo>
                    <a:pt x="14815" y="2018"/>
                    <a:pt x="14534" y="1961"/>
                    <a:pt x="14534" y="1961"/>
                  </a:cubicBezTo>
                  <a:cubicBezTo>
                    <a:pt x="14534" y="1961"/>
                    <a:pt x="14494" y="1876"/>
                    <a:pt x="14454" y="1961"/>
                  </a:cubicBezTo>
                  <a:cubicBezTo>
                    <a:pt x="14414" y="2018"/>
                    <a:pt x="14534" y="2160"/>
                    <a:pt x="14534" y="2160"/>
                  </a:cubicBezTo>
                  <a:cubicBezTo>
                    <a:pt x="14494" y="2132"/>
                    <a:pt x="14494" y="2132"/>
                    <a:pt x="14494" y="2132"/>
                  </a:cubicBezTo>
                  <a:cubicBezTo>
                    <a:pt x="14494" y="2132"/>
                    <a:pt x="14373" y="2075"/>
                    <a:pt x="14293" y="2046"/>
                  </a:cubicBezTo>
                  <a:cubicBezTo>
                    <a:pt x="14253" y="1989"/>
                    <a:pt x="14132" y="2046"/>
                    <a:pt x="14132" y="2046"/>
                  </a:cubicBezTo>
                  <a:cubicBezTo>
                    <a:pt x="14132" y="2046"/>
                    <a:pt x="14092" y="2075"/>
                    <a:pt x="14012" y="2132"/>
                  </a:cubicBezTo>
                  <a:cubicBezTo>
                    <a:pt x="13972" y="2160"/>
                    <a:pt x="13811" y="2046"/>
                    <a:pt x="13972" y="2188"/>
                  </a:cubicBezTo>
                  <a:cubicBezTo>
                    <a:pt x="14092" y="2302"/>
                    <a:pt x="14213" y="2331"/>
                    <a:pt x="14253" y="2359"/>
                  </a:cubicBezTo>
                  <a:cubicBezTo>
                    <a:pt x="14253" y="2359"/>
                    <a:pt x="14414" y="2387"/>
                    <a:pt x="14454" y="2416"/>
                  </a:cubicBezTo>
                  <a:cubicBezTo>
                    <a:pt x="14494" y="2444"/>
                    <a:pt x="14494" y="2529"/>
                    <a:pt x="14494" y="2558"/>
                  </a:cubicBezTo>
                  <a:cubicBezTo>
                    <a:pt x="14494" y="2558"/>
                    <a:pt x="14614" y="2672"/>
                    <a:pt x="14414" y="2586"/>
                  </a:cubicBezTo>
                  <a:cubicBezTo>
                    <a:pt x="14213" y="2473"/>
                    <a:pt x="14213" y="2444"/>
                    <a:pt x="14132" y="2444"/>
                  </a:cubicBezTo>
                  <a:cubicBezTo>
                    <a:pt x="14092" y="2444"/>
                    <a:pt x="14012" y="2501"/>
                    <a:pt x="14012" y="2501"/>
                  </a:cubicBezTo>
                  <a:cubicBezTo>
                    <a:pt x="14012" y="2501"/>
                    <a:pt x="13771" y="2473"/>
                    <a:pt x="13771" y="2387"/>
                  </a:cubicBezTo>
                  <a:cubicBezTo>
                    <a:pt x="13731" y="2302"/>
                    <a:pt x="13811" y="2160"/>
                    <a:pt x="13651" y="2188"/>
                  </a:cubicBezTo>
                  <a:cubicBezTo>
                    <a:pt x="13450" y="2188"/>
                    <a:pt x="13410" y="2245"/>
                    <a:pt x="13410" y="2274"/>
                  </a:cubicBezTo>
                  <a:cubicBezTo>
                    <a:pt x="13410" y="2302"/>
                    <a:pt x="13289" y="2331"/>
                    <a:pt x="13410" y="2416"/>
                  </a:cubicBezTo>
                  <a:cubicBezTo>
                    <a:pt x="13530" y="2501"/>
                    <a:pt x="13611" y="2558"/>
                    <a:pt x="13651" y="2558"/>
                  </a:cubicBezTo>
                  <a:cubicBezTo>
                    <a:pt x="13651" y="2558"/>
                    <a:pt x="13892" y="2558"/>
                    <a:pt x="13771" y="2586"/>
                  </a:cubicBezTo>
                  <a:cubicBezTo>
                    <a:pt x="13691" y="2643"/>
                    <a:pt x="13530" y="2643"/>
                    <a:pt x="13490" y="2643"/>
                  </a:cubicBezTo>
                  <a:cubicBezTo>
                    <a:pt x="13450" y="2643"/>
                    <a:pt x="13490" y="2615"/>
                    <a:pt x="13450" y="2643"/>
                  </a:cubicBezTo>
                  <a:cubicBezTo>
                    <a:pt x="13370" y="2672"/>
                    <a:pt x="13169" y="2814"/>
                    <a:pt x="13169" y="2814"/>
                  </a:cubicBezTo>
                  <a:cubicBezTo>
                    <a:pt x="13169" y="2814"/>
                    <a:pt x="13129" y="2757"/>
                    <a:pt x="13129" y="2728"/>
                  </a:cubicBezTo>
                  <a:cubicBezTo>
                    <a:pt x="13129" y="2700"/>
                    <a:pt x="13289" y="2643"/>
                    <a:pt x="13289" y="2586"/>
                  </a:cubicBezTo>
                  <a:cubicBezTo>
                    <a:pt x="13289" y="2529"/>
                    <a:pt x="13209" y="2331"/>
                    <a:pt x="13209" y="2331"/>
                  </a:cubicBezTo>
                  <a:cubicBezTo>
                    <a:pt x="13209" y="2331"/>
                    <a:pt x="13048" y="2274"/>
                    <a:pt x="13048" y="2274"/>
                  </a:cubicBezTo>
                  <a:cubicBezTo>
                    <a:pt x="13008" y="2245"/>
                    <a:pt x="12888" y="2188"/>
                    <a:pt x="12848" y="2217"/>
                  </a:cubicBezTo>
                  <a:cubicBezTo>
                    <a:pt x="12808" y="2245"/>
                    <a:pt x="12727" y="2331"/>
                    <a:pt x="12808" y="2387"/>
                  </a:cubicBezTo>
                  <a:cubicBezTo>
                    <a:pt x="12888" y="2473"/>
                    <a:pt x="12968" y="2529"/>
                    <a:pt x="12928" y="2529"/>
                  </a:cubicBezTo>
                  <a:cubicBezTo>
                    <a:pt x="12848" y="2558"/>
                    <a:pt x="12808" y="2586"/>
                    <a:pt x="12767" y="2558"/>
                  </a:cubicBezTo>
                  <a:cubicBezTo>
                    <a:pt x="12727" y="2558"/>
                    <a:pt x="12647" y="2501"/>
                    <a:pt x="12527" y="2529"/>
                  </a:cubicBezTo>
                  <a:cubicBezTo>
                    <a:pt x="12406" y="2558"/>
                    <a:pt x="12286" y="2728"/>
                    <a:pt x="12286" y="2728"/>
                  </a:cubicBezTo>
                  <a:cubicBezTo>
                    <a:pt x="12286" y="2728"/>
                    <a:pt x="12406" y="2899"/>
                    <a:pt x="12446" y="2927"/>
                  </a:cubicBezTo>
                  <a:cubicBezTo>
                    <a:pt x="12486" y="2927"/>
                    <a:pt x="12527" y="2984"/>
                    <a:pt x="12527" y="3041"/>
                  </a:cubicBezTo>
                  <a:cubicBezTo>
                    <a:pt x="12486" y="3098"/>
                    <a:pt x="12527" y="3013"/>
                    <a:pt x="12446" y="3041"/>
                  </a:cubicBezTo>
                  <a:cubicBezTo>
                    <a:pt x="12326" y="3069"/>
                    <a:pt x="12286" y="3098"/>
                    <a:pt x="12205" y="3098"/>
                  </a:cubicBezTo>
                  <a:cubicBezTo>
                    <a:pt x="12125" y="3098"/>
                    <a:pt x="11924" y="3268"/>
                    <a:pt x="11924" y="3268"/>
                  </a:cubicBezTo>
                  <a:cubicBezTo>
                    <a:pt x="12045" y="3382"/>
                    <a:pt x="12045" y="3382"/>
                    <a:pt x="12045" y="3382"/>
                  </a:cubicBezTo>
                  <a:cubicBezTo>
                    <a:pt x="12045" y="3382"/>
                    <a:pt x="11724" y="3467"/>
                    <a:pt x="11643" y="3496"/>
                  </a:cubicBezTo>
                  <a:cubicBezTo>
                    <a:pt x="11603" y="3496"/>
                    <a:pt x="11764" y="3467"/>
                    <a:pt x="11563" y="3496"/>
                  </a:cubicBezTo>
                  <a:cubicBezTo>
                    <a:pt x="11402" y="3553"/>
                    <a:pt x="11282" y="3666"/>
                    <a:pt x="11242" y="3723"/>
                  </a:cubicBezTo>
                  <a:cubicBezTo>
                    <a:pt x="11242" y="3752"/>
                    <a:pt x="11081" y="3752"/>
                    <a:pt x="11081" y="3837"/>
                  </a:cubicBezTo>
                  <a:cubicBezTo>
                    <a:pt x="11081" y="3894"/>
                    <a:pt x="11121" y="4007"/>
                    <a:pt x="11081" y="4036"/>
                  </a:cubicBezTo>
                  <a:cubicBezTo>
                    <a:pt x="11081" y="4064"/>
                    <a:pt x="11081" y="4064"/>
                    <a:pt x="11081" y="4121"/>
                  </a:cubicBezTo>
                  <a:cubicBezTo>
                    <a:pt x="11081" y="4178"/>
                    <a:pt x="11041" y="4235"/>
                    <a:pt x="11161" y="4235"/>
                  </a:cubicBezTo>
                  <a:cubicBezTo>
                    <a:pt x="11282" y="4235"/>
                    <a:pt x="11443" y="4178"/>
                    <a:pt x="11483" y="4149"/>
                  </a:cubicBezTo>
                  <a:cubicBezTo>
                    <a:pt x="11483" y="4121"/>
                    <a:pt x="11523" y="4007"/>
                    <a:pt x="11563" y="4064"/>
                  </a:cubicBezTo>
                  <a:cubicBezTo>
                    <a:pt x="11643" y="4093"/>
                    <a:pt x="11643" y="4206"/>
                    <a:pt x="11643" y="4206"/>
                  </a:cubicBezTo>
                  <a:cubicBezTo>
                    <a:pt x="11643" y="4206"/>
                    <a:pt x="11643" y="4320"/>
                    <a:pt x="11643" y="4348"/>
                  </a:cubicBezTo>
                  <a:cubicBezTo>
                    <a:pt x="11603" y="4405"/>
                    <a:pt x="11884" y="4348"/>
                    <a:pt x="11603" y="4434"/>
                  </a:cubicBezTo>
                  <a:cubicBezTo>
                    <a:pt x="11322" y="4547"/>
                    <a:pt x="11242" y="4547"/>
                    <a:pt x="11242" y="4576"/>
                  </a:cubicBezTo>
                  <a:cubicBezTo>
                    <a:pt x="11242" y="4633"/>
                    <a:pt x="11402" y="4775"/>
                    <a:pt x="11202" y="4718"/>
                  </a:cubicBezTo>
                  <a:cubicBezTo>
                    <a:pt x="11001" y="4689"/>
                    <a:pt x="11001" y="4718"/>
                    <a:pt x="11001" y="4689"/>
                  </a:cubicBezTo>
                  <a:cubicBezTo>
                    <a:pt x="10961" y="4661"/>
                    <a:pt x="11041" y="4832"/>
                    <a:pt x="10800" y="4576"/>
                  </a:cubicBezTo>
                  <a:cubicBezTo>
                    <a:pt x="10559" y="4320"/>
                    <a:pt x="10559" y="4348"/>
                    <a:pt x="10559" y="4292"/>
                  </a:cubicBezTo>
                  <a:cubicBezTo>
                    <a:pt x="10559" y="4235"/>
                    <a:pt x="10519" y="4036"/>
                    <a:pt x="10519" y="4036"/>
                  </a:cubicBezTo>
                  <a:cubicBezTo>
                    <a:pt x="10519" y="4036"/>
                    <a:pt x="10479" y="3837"/>
                    <a:pt x="10359" y="3922"/>
                  </a:cubicBezTo>
                  <a:cubicBezTo>
                    <a:pt x="10198" y="4007"/>
                    <a:pt x="10198" y="4149"/>
                    <a:pt x="10198" y="4149"/>
                  </a:cubicBezTo>
                  <a:cubicBezTo>
                    <a:pt x="10198" y="4149"/>
                    <a:pt x="9997" y="4292"/>
                    <a:pt x="9957" y="4320"/>
                  </a:cubicBezTo>
                  <a:cubicBezTo>
                    <a:pt x="9917" y="4320"/>
                    <a:pt x="9837" y="4320"/>
                    <a:pt x="9716" y="4377"/>
                  </a:cubicBezTo>
                  <a:cubicBezTo>
                    <a:pt x="9636" y="4462"/>
                    <a:pt x="9355" y="4746"/>
                    <a:pt x="9355" y="4746"/>
                  </a:cubicBezTo>
                  <a:cubicBezTo>
                    <a:pt x="9355" y="4746"/>
                    <a:pt x="9194" y="4945"/>
                    <a:pt x="9234" y="5002"/>
                  </a:cubicBezTo>
                  <a:cubicBezTo>
                    <a:pt x="9274" y="5059"/>
                    <a:pt x="9395" y="5144"/>
                    <a:pt x="9395" y="5144"/>
                  </a:cubicBezTo>
                  <a:cubicBezTo>
                    <a:pt x="9395" y="5144"/>
                    <a:pt x="9435" y="5116"/>
                    <a:pt x="9435" y="5201"/>
                  </a:cubicBezTo>
                  <a:cubicBezTo>
                    <a:pt x="9435" y="5286"/>
                    <a:pt x="9636" y="5315"/>
                    <a:pt x="9636" y="5315"/>
                  </a:cubicBezTo>
                  <a:cubicBezTo>
                    <a:pt x="9636" y="5315"/>
                    <a:pt x="9716" y="5343"/>
                    <a:pt x="9636" y="5400"/>
                  </a:cubicBezTo>
                  <a:cubicBezTo>
                    <a:pt x="9515" y="5457"/>
                    <a:pt x="9194" y="5485"/>
                    <a:pt x="9194" y="5485"/>
                  </a:cubicBezTo>
                  <a:cubicBezTo>
                    <a:pt x="8873" y="5485"/>
                    <a:pt x="8873" y="5485"/>
                    <a:pt x="8873" y="5485"/>
                  </a:cubicBezTo>
                  <a:cubicBezTo>
                    <a:pt x="8873" y="5485"/>
                    <a:pt x="8712" y="5627"/>
                    <a:pt x="8672" y="5627"/>
                  </a:cubicBezTo>
                  <a:cubicBezTo>
                    <a:pt x="8592" y="5656"/>
                    <a:pt x="8472" y="5713"/>
                    <a:pt x="8431" y="5798"/>
                  </a:cubicBezTo>
                  <a:cubicBezTo>
                    <a:pt x="8431" y="5855"/>
                    <a:pt x="8070" y="6082"/>
                    <a:pt x="8070" y="6082"/>
                  </a:cubicBezTo>
                  <a:cubicBezTo>
                    <a:pt x="8070" y="6082"/>
                    <a:pt x="8070" y="6167"/>
                    <a:pt x="8070" y="6196"/>
                  </a:cubicBezTo>
                  <a:cubicBezTo>
                    <a:pt x="8070" y="6224"/>
                    <a:pt x="7909" y="6281"/>
                    <a:pt x="7990" y="6309"/>
                  </a:cubicBezTo>
                  <a:cubicBezTo>
                    <a:pt x="8070" y="6338"/>
                    <a:pt x="8190" y="6366"/>
                    <a:pt x="8271" y="6253"/>
                  </a:cubicBezTo>
                  <a:cubicBezTo>
                    <a:pt x="8351" y="6167"/>
                    <a:pt x="8351" y="6025"/>
                    <a:pt x="8351" y="6025"/>
                  </a:cubicBezTo>
                  <a:cubicBezTo>
                    <a:pt x="8351" y="6025"/>
                    <a:pt x="8431" y="5968"/>
                    <a:pt x="8512" y="5968"/>
                  </a:cubicBezTo>
                  <a:cubicBezTo>
                    <a:pt x="8632" y="5968"/>
                    <a:pt x="8753" y="5883"/>
                    <a:pt x="8873" y="5855"/>
                  </a:cubicBezTo>
                  <a:cubicBezTo>
                    <a:pt x="8993" y="5855"/>
                    <a:pt x="9154" y="5713"/>
                    <a:pt x="9194" y="5713"/>
                  </a:cubicBezTo>
                  <a:cubicBezTo>
                    <a:pt x="9274" y="5713"/>
                    <a:pt x="9234" y="5741"/>
                    <a:pt x="9395" y="5713"/>
                  </a:cubicBezTo>
                  <a:cubicBezTo>
                    <a:pt x="9556" y="5713"/>
                    <a:pt x="9716" y="5713"/>
                    <a:pt x="9756" y="5684"/>
                  </a:cubicBezTo>
                  <a:cubicBezTo>
                    <a:pt x="9837" y="5656"/>
                    <a:pt x="10158" y="5798"/>
                    <a:pt x="10198" y="5826"/>
                  </a:cubicBezTo>
                  <a:cubicBezTo>
                    <a:pt x="10198" y="5855"/>
                    <a:pt x="9917" y="5883"/>
                    <a:pt x="10037" y="5940"/>
                  </a:cubicBezTo>
                  <a:cubicBezTo>
                    <a:pt x="10198" y="5997"/>
                    <a:pt x="10198" y="6025"/>
                    <a:pt x="10238" y="6025"/>
                  </a:cubicBezTo>
                  <a:cubicBezTo>
                    <a:pt x="10278" y="6025"/>
                    <a:pt x="10359" y="5997"/>
                    <a:pt x="10479" y="5968"/>
                  </a:cubicBezTo>
                  <a:cubicBezTo>
                    <a:pt x="10559" y="5912"/>
                    <a:pt x="10399" y="5826"/>
                    <a:pt x="10640" y="5883"/>
                  </a:cubicBezTo>
                  <a:cubicBezTo>
                    <a:pt x="10840" y="5940"/>
                    <a:pt x="10840" y="5997"/>
                    <a:pt x="10840" y="5997"/>
                  </a:cubicBezTo>
                  <a:cubicBezTo>
                    <a:pt x="10800" y="6054"/>
                    <a:pt x="10800" y="6054"/>
                    <a:pt x="10800" y="6054"/>
                  </a:cubicBezTo>
                  <a:cubicBezTo>
                    <a:pt x="10640" y="6082"/>
                    <a:pt x="10640" y="6082"/>
                    <a:pt x="10640" y="6082"/>
                  </a:cubicBezTo>
                  <a:cubicBezTo>
                    <a:pt x="10399" y="6054"/>
                    <a:pt x="10399" y="6054"/>
                    <a:pt x="10399" y="6054"/>
                  </a:cubicBezTo>
                  <a:cubicBezTo>
                    <a:pt x="10238" y="6111"/>
                    <a:pt x="10238" y="6111"/>
                    <a:pt x="10238" y="6111"/>
                  </a:cubicBezTo>
                  <a:cubicBezTo>
                    <a:pt x="10238" y="6111"/>
                    <a:pt x="10198" y="6139"/>
                    <a:pt x="10158" y="6139"/>
                  </a:cubicBezTo>
                  <a:cubicBezTo>
                    <a:pt x="10158" y="6139"/>
                    <a:pt x="9796" y="6167"/>
                    <a:pt x="9796" y="6167"/>
                  </a:cubicBezTo>
                  <a:cubicBezTo>
                    <a:pt x="9636" y="6338"/>
                    <a:pt x="9636" y="6338"/>
                    <a:pt x="9636" y="6338"/>
                  </a:cubicBezTo>
                  <a:cubicBezTo>
                    <a:pt x="9636" y="6338"/>
                    <a:pt x="9756" y="6452"/>
                    <a:pt x="9756" y="6452"/>
                  </a:cubicBezTo>
                  <a:cubicBezTo>
                    <a:pt x="9796" y="6452"/>
                    <a:pt x="10037" y="6395"/>
                    <a:pt x="10037" y="6423"/>
                  </a:cubicBezTo>
                  <a:cubicBezTo>
                    <a:pt x="10077" y="6423"/>
                    <a:pt x="10118" y="6480"/>
                    <a:pt x="10077" y="6508"/>
                  </a:cubicBezTo>
                  <a:cubicBezTo>
                    <a:pt x="10077" y="6537"/>
                    <a:pt x="9917" y="6622"/>
                    <a:pt x="9917" y="6622"/>
                  </a:cubicBezTo>
                  <a:cubicBezTo>
                    <a:pt x="9837" y="6736"/>
                    <a:pt x="9837" y="6736"/>
                    <a:pt x="9837" y="6736"/>
                  </a:cubicBezTo>
                  <a:cubicBezTo>
                    <a:pt x="9837" y="6736"/>
                    <a:pt x="9997" y="6764"/>
                    <a:pt x="10037" y="6764"/>
                  </a:cubicBezTo>
                  <a:cubicBezTo>
                    <a:pt x="10037" y="6764"/>
                    <a:pt x="10278" y="6764"/>
                    <a:pt x="10238" y="6793"/>
                  </a:cubicBezTo>
                  <a:cubicBezTo>
                    <a:pt x="10238" y="6793"/>
                    <a:pt x="9877" y="6821"/>
                    <a:pt x="9877" y="6821"/>
                  </a:cubicBezTo>
                  <a:cubicBezTo>
                    <a:pt x="9877" y="6821"/>
                    <a:pt x="9556" y="6793"/>
                    <a:pt x="9596" y="6793"/>
                  </a:cubicBezTo>
                  <a:cubicBezTo>
                    <a:pt x="9596" y="6821"/>
                    <a:pt x="9556" y="6878"/>
                    <a:pt x="9556" y="6906"/>
                  </a:cubicBezTo>
                  <a:cubicBezTo>
                    <a:pt x="9556" y="6906"/>
                    <a:pt x="9475" y="6992"/>
                    <a:pt x="9475" y="6992"/>
                  </a:cubicBezTo>
                  <a:cubicBezTo>
                    <a:pt x="9435" y="6992"/>
                    <a:pt x="9355" y="6992"/>
                    <a:pt x="9315" y="7020"/>
                  </a:cubicBezTo>
                  <a:cubicBezTo>
                    <a:pt x="9315" y="7048"/>
                    <a:pt x="9274" y="7105"/>
                    <a:pt x="9274" y="7162"/>
                  </a:cubicBezTo>
                  <a:cubicBezTo>
                    <a:pt x="9274" y="7191"/>
                    <a:pt x="9395" y="7276"/>
                    <a:pt x="9395" y="7276"/>
                  </a:cubicBezTo>
                  <a:cubicBezTo>
                    <a:pt x="9355" y="7333"/>
                    <a:pt x="9355" y="7333"/>
                    <a:pt x="9355" y="7333"/>
                  </a:cubicBezTo>
                  <a:cubicBezTo>
                    <a:pt x="9194" y="7446"/>
                    <a:pt x="9194" y="7446"/>
                    <a:pt x="9194" y="7446"/>
                  </a:cubicBezTo>
                  <a:cubicBezTo>
                    <a:pt x="9194" y="7446"/>
                    <a:pt x="9114" y="7475"/>
                    <a:pt x="9114" y="7503"/>
                  </a:cubicBezTo>
                  <a:cubicBezTo>
                    <a:pt x="9154" y="7503"/>
                    <a:pt x="8993" y="7560"/>
                    <a:pt x="8993" y="7560"/>
                  </a:cubicBezTo>
                  <a:cubicBezTo>
                    <a:pt x="8712" y="7674"/>
                    <a:pt x="8712" y="7674"/>
                    <a:pt x="8712" y="7674"/>
                  </a:cubicBezTo>
                  <a:cubicBezTo>
                    <a:pt x="8712" y="7674"/>
                    <a:pt x="8753" y="7759"/>
                    <a:pt x="8753" y="7787"/>
                  </a:cubicBezTo>
                  <a:cubicBezTo>
                    <a:pt x="8753" y="7787"/>
                    <a:pt x="8873" y="7844"/>
                    <a:pt x="8793" y="7901"/>
                  </a:cubicBezTo>
                  <a:cubicBezTo>
                    <a:pt x="8712" y="7929"/>
                    <a:pt x="8632" y="7958"/>
                    <a:pt x="8592" y="7986"/>
                  </a:cubicBezTo>
                  <a:cubicBezTo>
                    <a:pt x="8592" y="7986"/>
                    <a:pt x="8512" y="8015"/>
                    <a:pt x="8512" y="8100"/>
                  </a:cubicBezTo>
                  <a:cubicBezTo>
                    <a:pt x="8552" y="8157"/>
                    <a:pt x="8472" y="8242"/>
                    <a:pt x="8431" y="8242"/>
                  </a:cubicBezTo>
                  <a:cubicBezTo>
                    <a:pt x="8431" y="8242"/>
                    <a:pt x="8351" y="8271"/>
                    <a:pt x="8351" y="8356"/>
                  </a:cubicBezTo>
                  <a:cubicBezTo>
                    <a:pt x="8391" y="8413"/>
                    <a:pt x="8351" y="8612"/>
                    <a:pt x="8351" y="8612"/>
                  </a:cubicBezTo>
                  <a:cubicBezTo>
                    <a:pt x="8351" y="8612"/>
                    <a:pt x="8472" y="8725"/>
                    <a:pt x="8512" y="8725"/>
                  </a:cubicBezTo>
                  <a:cubicBezTo>
                    <a:pt x="8512" y="8725"/>
                    <a:pt x="8712" y="8668"/>
                    <a:pt x="8753" y="8697"/>
                  </a:cubicBezTo>
                  <a:cubicBezTo>
                    <a:pt x="8833" y="8697"/>
                    <a:pt x="8953" y="8754"/>
                    <a:pt x="8953" y="8754"/>
                  </a:cubicBezTo>
                  <a:cubicBezTo>
                    <a:pt x="8953" y="8754"/>
                    <a:pt x="8913" y="8896"/>
                    <a:pt x="8873" y="8924"/>
                  </a:cubicBezTo>
                  <a:cubicBezTo>
                    <a:pt x="8833" y="8924"/>
                    <a:pt x="8592" y="8953"/>
                    <a:pt x="8592" y="8953"/>
                  </a:cubicBezTo>
                  <a:cubicBezTo>
                    <a:pt x="8592" y="8953"/>
                    <a:pt x="8472" y="8896"/>
                    <a:pt x="8431" y="8896"/>
                  </a:cubicBezTo>
                  <a:cubicBezTo>
                    <a:pt x="8391" y="8924"/>
                    <a:pt x="8190" y="9066"/>
                    <a:pt x="8190" y="9066"/>
                  </a:cubicBezTo>
                  <a:cubicBezTo>
                    <a:pt x="8190" y="9066"/>
                    <a:pt x="8190" y="9152"/>
                    <a:pt x="8150" y="9152"/>
                  </a:cubicBezTo>
                  <a:cubicBezTo>
                    <a:pt x="8070" y="9180"/>
                    <a:pt x="8030" y="9123"/>
                    <a:pt x="8030" y="9180"/>
                  </a:cubicBezTo>
                  <a:cubicBezTo>
                    <a:pt x="8030" y="9208"/>
                    <a:pt x="8030" y="9294"/>
                    <a:pt x="8030" y="9322"/>
                  </a:cubicBezTo>
                  <a:cubicBezTo>
                    <a:pt x="8030" y="9379"/>
                    <a:pt x="8030" y="9464"/>
                    <a:pt x="8030" y="9464"/>
                  </a:cubicBezTo>
                  <a:cubicBezTo>
                    <a:pt x="8030" y="9464"/>
                    <a:pt x="7950" y="9578"/>
                    <a:pt x="7909" y="9635"/>
                  </a:cubicBezTo>
                  <a:cubicBezTo>
                    <a:pt x="7869" y="9692"/>
                    <a:pt x="7789" y="9834"/>
                    <a:pt x="7789" y="9862"/>
                  </a:cubicBezTo>
                  <a:cubicBezTo>
                    <a:pt x="7829" y="9891"/>
                    <a:pt x="7909" y="10033"/>
                    <a:pt x="7909" y="10033"/>
                  </a:cubicBezTo>
                  <a:cubicBezTo>
                    <a:pt x="7628" y="10146"/>
                    <a:pt x="7628" y="10146"/>
                    <a:pt x="7628" y="10146"/>
                  </a:cubicBezTo>
                  <a:cubicBezTo>
                    <a:pt x="7709" y="10288"/>
                    <a:pt x="7709" y="10288"/>
                    <a:pt x="7709" y="10288"/>
                  </a:cubicBezTo>
                  <a:cubicBezTo>
                    <a:pt x="7709" y="10288"/>
                    <a:pt x="7749" y="10288"/>
                    <a:pt x="7749" y="10317"/>
                  </a:cubicBezTo>
                  <a:cubicBezTo>
                    <a:pt x="7749" y="10374"/>
                    <a:pt x="7548" y="10459"/>
                    <a:pt x="7548" y="10459"/>
                  </a:cubicBezTo>
                  <a:cubicBezTo>
                    <a:pt x="7548" y="10459"/>
                    <a:pt x="7548" y="10601"/>
                    <a:pt x="7548" y="10629"/>
                  </a:cubicBezTo>
                  <a:cubicBezTo>
                    <a:pt x="7548" y="10658"/>
                    <a:pt x="7347" y="10544"/>
                    <a:pt x="7347" y="10544"/>
                  </a:cubicBezTo>
                  <a:cubicBezTo>
                    <a:pt x="7187" y="10573"/>
                    <a:pt x="7187" y="10573"/>
                    <a:pt x="7187" y="10573"/>
                  </a:cubicBezTo>
                  <a:cubicBezTo>
                    <a:pt x="7187" y="10686"/>
                    <a:pt x="7187" y="10686"/>
                    <a:pt x="7187" y="10686"/>
                  </a:cubicBezTo>
                  <a:cubicBezTo>
                    <a:pt x="7106" y="10800"/>
                    <a:pt x="7106" y="10800"/>
                    <a:pt x="7106" y="10800"/>
                  </a:cubicBezTo>
                  <a:cubicBezTo>
                    <a:pt x="6825" y="10800"/>
                    <a:pt x="6825" y="10800"/>
                    <a:pt x="6825" y="10800"/>
                  </a:cubicBezTo>
                  <a:cubicBezTo>
                    <a:pt x="6825" y="10800"/>
                    <a:pt x="6585" y="10914"/>
                    <a:pt x="6585" y="10914"/>
                  </a:cubicBezTo>
                  <a:cubicBezTo>
                    <a:pt x="6625" y="10942"/>
                    <a:pt x="6504" y="11027"/>
                    <a:pt x="6625" y="11027"/>
                  </a:cubicBezTo>
                  <a:cubicBezTo>
                    <a:pt x="6705" y="11027"/>
                    <a:pt x="6745" y="11027"/>
                    <a:pt x="6785" y="11027"/>
                  </a:cubicBezTo>
                  <a:cubicBezTo>
                    <a:pt x="6866" y="10999"/>
                    <a:pt x="7026" y="10942"/>
                    <a:pt x="7066" y="10942"/>
                  </a:cubicBezTo>
                  <a:cubicBezTo>
                    <a:pt x="7106" y="10942"/>
                    <a:pt x="7227" y="10942"/>
                    <a:pt x="7147" y="10999"/>
                  </a:cubicBezTo>
                  <a:cubicBezTo>
                    <a:pt x="7066" y="11056"/>
                    <a:pt x="6986" y="11056"/>
                    <a:pt x="6946" y="11084"/>
                  </a:cubicBezTo>
                  <a:cubicBezTo>
                    <a:pt x="6866" y="11113"/>
                    <a:pt x="6745" y="11113"/>
                    <a:pt x="6745" y="11198"/>
                  </a:cubicBezTo>
                  <a:cubicBezTo>
                    <a:pt x="6745" y="11283"/>
                    <a:pt x="6705" y="11368"/>
                    <a:pt x="6705" y="11368"/>
                  </a:cubicBezTo>
                  <a:cubicBezTo>
                    <a:pt x="6986" y="11312"/>
                    <a:pt x="6986" y="11312"/>
                    <a:pt x="6986" y="11312"/>
                  </a:cubicBezTo>
                  <a:cubicBezTo>
                    <a:pt x="6986" y="11312"/>
                    <a:pt x="7066" y="11283"/>
                    <a:pt x="7066" y="11368"/>
                  </a:cubicBezTo>
                  <a:cubicBezTo>
                    <a:pt x="7106" y="11482"/>
                    <a:pt x="6986" y="11511"/>
                    <a:pt x="6906" y="11511"/>
                  </a:cubicBezTo>
                  <a:cubicBezTo>
                    <a:pt x="6866" y="11511"/>
                    <a:pt x="6665" y="11397"/>
                    <a:pt x="6665" y="11397"/>
                  </a:cubicBezTo>
                  <a:cubicBezTo>
                    <a:pt x="6504" y="11482"/>
                    <a:pt x="6504" y="11482"/>
                    <a:pt x="6504" y="11482"/>
                  </a:cubicBezTo>
                  <a:cubicBezTo>
                    <a:pt x="6504" y="11482"/>
                    <a:pt x="6464" y="11454"/>
                    <a:pt x="6303" y="11539"/>
                  </a:cubicBezTo>
                  <a:cubicBezTo>
                    <a:pt x="6143" y="11653"/>
                    <a:pt x="6063" y="11795"/>
                    <a:pt x="6063" y="11823"/>
                  </a:cubicBezTo>
                  <a:cubicBezTo>
                    <a:pt x="6063" y="11852"/>
                    <a:pt x="6063" y="11908"/>
                    <a:pt x="5942" y="11965"/>
                  </a:cubicBezTo>
                  <a:cubicBezTo>
                    <a:pt x="5862" y="11994"/>
                    <a:pt x="5741" y="12079"/>
                    <a:pt x="5741" y="12079"/>
                  </a:cubicBezTo>
                  <a:cubicBezTo>
                    <a:pt x="5741" y="12079"/>
                    <a:pt x="5701" y="12164"/>
                    <a:pt x="5661" y="12221"/>
                  </a:cubicBezTo>
                  <a:cubicBezTo>
                    <a:pt x="5621" y="12278"/>
                    <a:pt x="5621" y="12278"/>
                    <a:pt x="5621" y="12278"/>
                  </a:cubicBezTo>
                  <a:cubicBezTo>
                    <a:pt x="5782" y="12392"/>
                    <a:pt x="5782" y="12392"/>
                    <a:pt x="5782" y="12392"/>
                  </a:cubicBezTo>
                  <a:cubicBezTo>
                    <a:pt x="5501" y="12505"/>
                    <a:pt x="5501" y="12505"/>
                    <a:pt x="5501" y="12505"/>
                  </a:cubicBezTo>
                  <a:cubicBezTo>
                    <a:pt x="5380" y="12562"/>
                    <a:pt x="5380" y="12562"/>
                    <a:pt x="5380" y="12562"/>
                  </a:cubicBezTo>
                  <a:cubicBezTo>
                    <a:pt x="5380" y="12562"/>
                    <a:pt x="5139" y="12733"/>
                    <a:pt x="5300" y="12761"/>
                  </a:cubicBezTo>
                  <a:cubicBezTo>
                    <a:pt x="5501" y="12789"/>
                    <a:pt x="5621" y="12789"/>
                    <a:pt x="5621" y="12789"/>
                  </a:cubicBezTo>
                  <a:cubicBezTo>
                    <a:pt x="5621" y="12789"/>
                    <a:pt x="5581" y="12960"/>
                    <a:pt x="5621" y="12960"/>
                  </a:cubicBezTo>
                  <a:cubicBezTo>
                    <a:pt x="5661" y="12960"/>
                    <a:pt x="6022" y="12960"/>
                    <a:pt x="6022" y="12960"/>
                  </a:cubicBezTo>
                  <a:cubicBezTo>
                    <a:pt x="6223" y="12846"/>
                    <a:pt x="6223" y="12846"/>
                    <a:pt x="6223" y="12846"/>
                  </a:cubicBezTo>
                  <a:cubicBezTo>
                    <a:pt x="6344" y="12789"/>
                    <a:pt x="6344" y="12789"/>
                    <a:pt x="6344" y="12789"/>
                  </a:cubicBezTo>
                  <a:cubicBezTo>
                    <a:pt x="6424" y="12903"/>
                    <a:pt x="6424" y="12903"/>
                    <a:pt x="6424" y="12903"/>
                  </a:cubicBezTo>
                  <a:cubicBezTo>
                    <a:pt x="6424" y="12903"/>
                    <a:pt x="6344" y="12988"/>
                    <a:pt x="6263" y="12988"/>
                  </a:cubicBezTo>
                  <a:cubicBezTo>
                    <a:pt x="6143" y="12988"/>
                    <a:pt x="6183" y="12988"/>
                    <a:pt x="6103" y="13045"/>
                  </a:cubicBezTo>
                  <a:cubicBezTo>
                    <a:pt x="5982" y="13131"/>
                    <a:pt x="5942" y="13159"/>
                    <a:pt x="5862" y="13159"/>
                  </a:cubicBezTo>
                  <a:cubicBezTo>
                    <a:pt x="5822" y="13159"/>
                    <a:pt x="5741" y="13244"/>
                    <a:pt x="5661" y="13131"/>
                  </a:cubicBezTo>
                  <a:cubicBezTo>
                    <a:pt x="5621" y="13045"/>
                    <a:pt x="5541" y="12960"/>
                    <a:pt x="5541" y="12960"/>
                  </a:cubicBezTo>
                  <a:cubicBezTo>
                    <a:pt x="5179" y="12846"/>
                    <a:pt x="5179" y="12846"/>
                    <a:pt x="5179" y="12846"/>
                  </a:cubicBezTo>
                  <a:cubicBezTo>
                    <a:pt x="5099" y="12875"/>
                    <a:pt x="5099" y="12875"/>
                    <a:pt x="5099" y="12875"/>
                  </a:cubicBezTo>
                  <a:cubicBezTo>
                    <a:pt x="5099" y="12875"/>
                    <a:pt x="5059" y="12988"/>
                    <a:pt x="5019" y="12988"/>
                  </a:cubicBezTo>
                  <a:cubicBezTo>
                    <a:pt x="4979" y="12988"/>
                    <a:pt x="4738" y="12988"/>
                    <a:pt x="4657" y="12988"/>
                  </a:cubicBezTo>
                  <a:cubicBezTo>
                    <a:pt x="4617" y="12988"/>
                    <a:pt x="4537" y="12988"/>
                    <a:pt x="4537" y="12960"/>
                  </a:cubicBezTo>
                  <a:cubicBezTo>
                    <a:pt x="4497" y="12903"/>
                    <a:pt x="4537" y="12903"/>
                    <a:pt x="4497" y="12875"/>
                  </a:cubicBezTo>
                  <a:cubicBezTo>
                    <a:pt x="4457" y="12846"/>
                    <a:pt x="4376" y="12733"/>
                    <a:pt x="4296" y="12761"/>
                  </a:cubicBezTo>
                  <a:cubicBezTo>
                    <a:pt x="4256" y="12761"/>
                    <a:pt x="4055" y="12818"/>
                    <a:pt x="4055" y="12818"/>
                  </a:cubicBezTo>
                  <a:cubicBezTo>
                    <a:pt x="4015" y="13045"/>
                    <a:pt x="4015" y="13045"/>
                    <a:pt x="4015" y="13045"/>
                  </a:cubicBezTo>
                  <a:cubicBezTo>
                    <a:pt x="4015" y="13045"/>
                    <a:pt x="3895" y="13045"/>
                    <a:pt x="3935" y="13102"/>
                  </a:cubicBezTo>
                  <a:cubicBezTo>
                    <a:pt x="3935" y="13159"/>
                    <a:pt x="4095" y="13216"/>
                    <a:pt x="4095" y="13216"/>
                  </a:cubicBezTo>
                  <a:cubicBezTo>
                    <a:pt x="4095" y="13216"/>
                    <a:pt x="4176" y="13273"/>
                    <a:pt x="4176" y="13301"/>
                  </a:cubicBezTo>
                  <a:cubicBezTo>
                    <a:pt x="4216" y="13358"/>
                    <a:pt x="4095" y="13415"/>
                    <a:pt x="4095" y="13415"/>
                  </a:cubicBezTo>
                  <a:cubicBezTo>
                    <a:pt x="4095" y="13415"/>
                    <a:pt x="3895" y="13415"/>
                    <a:pt x="3854" y="13472"/>
                  </a:cubicBezTo>
                  <a:cubicBezTo>
                    <a:pt x="3854" y="13500"/>
                    <a:pt x="3895" y="13585"/>
                    <a:pt x="3854" y="13585"/>
                  </a:cubicBezTo>
                  <a:cubicBezTo>
                    <a:pt x="3814" y="13614"/>
                    <a:pt x="3774" y="13671"/>
                    <a:pt x="3774" y="13699"/>
                  </a:cubicBezTo>
                  <a:cubicBezTo>
                    <a:pt x="3774" y="13699"/>
                    <a:pt x="3854" y="13841"/>
                    <a:pt x="3854" y="13841"/>
                  </a:cubicBezTo>
                  <a:cubicBezTo>
                    <a:pt x="3854" y="13841"/>
                    <a:pt x="3854" y="13955"/>
                    <a:pt x="3774" y="13898"/>
                  </a:cubicBezTo>
                  <a:cubicBezTo>
                    <a:pt x="3694" y="13841"/>
                    <a:pt x="3453" y="13756"/>
                    <a:pt x="3453" y="13756"/>
                  </a:cubicBezTo>
                  <a:cubicBezTo>
                    <a:pt x="3292" y="13671"/>
                    <a:pt x="3292" y="13671"/>
                    <a:pt x="3292" y="13671"/>
                  </a:cubicBezTo>
                  <a:cubicBezTo>
                    <a:pt x="3292" y="13671"/>
                    <a:pt x="3132" y="13756"/>
                    <a:pt x="3092" y="13756"/>
                  </a:cubicBezTo>
                  <a:cubicBezTo>
                    <a:pt x="3092" y="13784"/>
                    <a:pt x="2811" y="13756"/>
                    <a:pt x="2730" y="13784"/>
                  </a:cubicBezTo>
                  <a:cubicBezTo>
                    <a:pt x="2690" y="13813"/>
                    <a:pt x="2690" y="13841"/>
                    <a:pt x="2650" y="13898"/>
                  </a:cubicBezTo>
                  <a:cubicBezTo>
                    <a:pt x="2570" y="13955"/>
                    <a:pt x="2449" y="13955"/>
                    <a:pt x="2570" y="14040"/>
                  </a:cubicBezTo>
                  <a:cubicBezTo>
                    <a:pt x="2650" y="14125"/>
                    <a:pt x="2851" y="14154"/>
                    <a:pt x="2851" y="14154"/>
                  </a:cubicBezTo>
                  <a:cubicBezTo>
                    <a:pt x="2851" y="14154"/>
                    <a:pt x="2931" y="14182"/>
                    <a:pt x="2851" y="14267"/>
                  </a:cubicBezTo>
                  <a:cubicBezTo>
                    <a:pt x="2770" y="14381"/>
                    <a:pt x="2610" y="14296"/>
                    <a:pt x="2570" y="14296"/>
                  </a:cubicBezTo>
                  <a:cubicBezTo>
                    <a:pt x="2530" y="14267"/>
                    <a:pt x="2369" y="14182"/>
                    <a:pt x="2329" y="14211"/>
                  </a:cubicBezTo>
                  <a:cubicBezTo>
                    <a:pt x="2289" y="14239"/>
                    <a:pt x="2168" y="14381"/>
                    <a:pt x="2168" y="14381"/>
                  </a:cubicBezTo>
                  <a:cubicBezTo>
                    <a:pt x="2168" y="14381"/>
                    <a:pt x="2048" y="14409"/>
                    <a:pt x="2008" y="14381"/>
                  </a:cubicBezTo>
                  <a:cubicBezTo>
                    <a:pt x="1967" y="14381"/>
                    <a:pt x="1847" y="14239"/>
                    <a:pt x="1807" y="14267"/>
                  </a:cubicBezTo>
                  <a:cubicBezTo>
                    <a:pt x="1767" y="14296"/>
                    <a:pt x="1727" y="14353"/>
                    <a:pt x="1727" y="14381"/>
                  </a:cubicBezTo>
                  <a:cubicBezTo>
                    <a:pt x="1727" y="14409"/>
                    <a:pt x="1807" y="14466"/>
                    <a:pt x="1767" y="14495"/>
                  </a:cubicBezTo>
                  <a:cubicBezTo>
                    <a:pt x="1767" y="14523"/>
                    <a:pt x="1566" y="14552"/>
                    <a:pt x="1526" y="14580"/>
                  </a:cubicBezTo>
                  <a:cubicBezTo>
                    <a:pt x="1526" y="14608"/>
                    <a:pt x="1526" y="14552"/>
                    <a:pt x="1446" y="14665"/>
                  </a:cubicBezTo>
                  <a:cubicBezTo>
                    <a:pt x="1405" y="14779"/>
                    <a:pt x="1446" y="14779"/>
                    <a:pt x="1405" y="14779"/>
                  </a:cubicBezTo>
                  <a:cubicBezTo>
                    <a:pt x="1325" y="14807"/>
                    <a:pt x="1164" y="14722"/>
                    <a:pt x="1164" y="14722"/>
                  </a:cubicBezTo>
                  <a:cubicBezTo>
                    <a:pt x="1164" y="14722"/>
                    <a:pt x="1044" y="14637"/>
                    <a:pt x="1044" y="14722"/>
                  </a:cubicBezTo>
                  <a:cubicBezTo>
                    <a:pt x="1044" y="14836"/>
                    <a:pt x="1004" y="14949"/>
                    <a:pt x="1004" y="14949"/>
                  </a:cubicBezTo>
                  <a:cubicBezTo>
                    <a:pt x="1124" y="15006"/>
                    <a:pt x="1124" y="15006"/>
                    <a:pt x="1124" y="15006"/>
                  </a:cubicBezTo>
                  <a:cubicBezTo>
                    <a:pt x="1124" y="15006"/>
                    <a:pt x="1084" y="15063"/>
                    <a:pt x="1044" y="15063"/>
                  </a:cubicBezTo>
                  <a:cubicBezTo>
                    <a:pt x="1044" y="15063"/>
                    <a:pt x="964" y="15035"/>
                    <a:pt x="924" y="14978"/>
                  </a:cubicBezTo>
                  <a:cubicBezTo>
                    <a:pt x="883" y="14949"/>
                    <a:pt x="924" y="14949"/>
                    <a:pt x="803" y="14921"/>
                  </a:cubicBezTo>
                  <a:cubicBezTo>
                    <a:pt x="683" y="14893"/>
                    <a:pt x="602" y="14836"/>
                    <a:pt x="602" y="14893"/>
                  </a:cubicBezTo>
                  <a:cubicBezTo>
                    <a:pt x="602" y="14921"/>
                    <a:pt x="562" y="14978"/>
                    <a:pt x="602" y="15006"/>
                  </a:cubicBezTo>
                  <a:cubicBezTo>
                    <a:pt x="643" y="15063"/>
                    <a:pt x="723" y="15120"/>
                    <a:pt x="723" y="15120"/>
                  </a:cubicBezTo>
                  <a:cubicBezTo>
                    <a:pt x="763" y="15120"/>
                    <a:pt x="763" y="15120"/>
                    <a:pt x="763" y="15120"/>
                  </a:cubicBezTo>
                  <a:cubicBezTo>
                    <a:pt x="763" y="15120"/>
                    <a:pt x="723" y="15205"/>
                    <a:pt x="683" y="15205"/>
                  </a:cubicBezTo>
                  <a:cubicBezTo>
                    <a:pt x="643" y="15234"/>
                    <a:pt x="602" y="15177"/>
                    <a:pt x="562" y="15177"/>
                  </a:cubicBezTo>
                  <a:cubicBezTo>
                    <a:pt x="562" y="15177"/>
                    <a:pt x="442" y="15234"/>
                    <a:pt x="442" y="15234"/>
                  </a:cubicBezTo>
                  <a:cubicBezTo>
                    <a:pt x="442" y="15234"/>
                    <a:pt x="482" y="15291"/>
                    <a:pt x="482" y="15319"/>
                  </a:cubicBezTo>
                  <a:cubicBezTo>
                    <a:pt x="482" y="15347"/>
                    <a:pt x="361" y="15376"/>
                    <a:pt x="361" y="15404"/>
                  </a:cubicBezTo>
                  <a:cubicBezTo>
                    <a:pt x="321" y="15404"/>
                    <a:pt x="281" y="15433"/>
                    <a:pt x="281" y="15461"/>
                  </a:cubicBezTo>
                  <a:cubicBezTo>
                    <a:pt x="281" y="15489"/>
                    <a:pt x="321" y="15575"/>
                    <a:pt x="361" y="15546"/>
                  </a:cubicBezTo>
                  <a:cubicBezTo>
                    <a:pt x="402" y="15546"/>
                    <a:pt x="602" y="15575"/>
                    <a:pt x="602" y="15575"/>
                  </a:cubicBezTo>
                  <a:cubicBezTo>
                    <a:pt x="602" y="15575"/>
                    <a:pt x="562" y="15632"/>
                    <a:pt x="522" y="15660"/>
                  </a:cubicBezTo>
                  <a:cubicBezTo>
                    <a:pt x="482" y="15660"/>
                    <a:pt x="442" y="15717"/>
                    <a:pt x="402" y="15745"/>
                  </a:cubicBezTo>
                  <a:cubicBezTo>
                    <a:pt x="361" y="15802"/>
                    <a:pt x="442" y="15916"/>
                    <a:pt x="522" y="15944"/>
                  </a:cubicBezTo>
                  <a:cubicBezTo>
                    <a:pt x="643" y="15973"/>
                    <a:pt x="763" y="15973"/>
                    <a:pt x="763" y="16029"/>
                  </a:cubicBezTo>
                  <a:cubicBezTo>
                    <a:pt x="723" y="16058"/>
                    <a:pt x="522" y="16172"/>
                    <a:pt x="482" y="16200"/>
                  </a:cubicBezTo>
                  <a:cubicBezTo>
                    <a:pt x="442" y="16200"/>
                    <a:pt x="361" y="16228"/>
                    <a:pt x="361" y="16285"/>
                  </a:cubicBezTo>
                  <a:cubicBezTo>
                    <a:pt x="361" y="16342"/>
                    <a:pt x="361" y="16371"/>
                    <a:pt x="281" y="16399"/>
                  </a:cubicBezTo>
                  <a:cubicBezTo>
                    <a:pt x="201" y="16427"/>
                    <a:pt x="161" y="16399"/>
                    <a:pt x="161" y="16484"/>
                  </a:cubicBezTo>
                  <a:cubicBezTo>
                    <a:pt x="161" y="16541"/>
                    <a:pt x="201" y="16569"/>
                    <a:pt x="241" y="16569"/>
                  </a:cubicBezTo>
                  <a:cubicBezTo>
                    <a:pt x="281" y="16569"/>
                    <a:pt x="281" y="16569"/>
                    <a:pt x="281" y="16569"/>
                  </a:cubicBezTo>
                  <a:cubicBezTo>
                    <a:pt x="602" y="16541"/>
                    <a:pt x="602" y="16541"/>
                    <a:pt x="602" y="16541"/>
                  </a:cubicBezTo>
                  <a:cubicBezTo>
                    <a:pt x="602" y="16541"/>
                    <a:pt x="562" y="16626"/>
                    <a:pt x="562" y="16655"/>
                  </a:cubicBezTo>
                  <a:cubicBezTo>
                    <a:pt x="562" y="16683"/>
                    <a:pt x="321" y="16854"/>
                    <a:pt x="321" y="16854"/>
                  </a:cubicBezTo>
                  <a:cubicBezTo>
                    <a:pt x="321" y="16854"/>
                    <a:pt x="361" y="16939"/>
                    <a:pt x="321" y="16939"/>
                  </a:cubicBezTo>
                  <a:cubicBezTo>
                    <a:pt x="241" y="16967"/>
                    <a:pt x="161" y="16996"/>
                    <a:pt x="121" y="17024"/>
                  </a:cubicBezTo>
                  <a:cubicBezTo>
                    <a:pt x="121" y="17053"/>
                    <a:pt x="121" y="17109"/>
                    <a:pt x="121" y="17138"/>
                  </a:cubicBezTo>
                  <a:cubicBezTo>
                    <a:pt x="161" y="17195"/>
                    <a:pt x="241" y="17280"/>
                    <a:pt x="241" y="17308"/>
                  </a:cubicBezTo>
                  <a:cubicBezTo>
                    <a:pt x="281" y="17337"/>
                    <a:pt x="201" y="17394"/>
                    <a:pt x="201" y="17394"/>
                  </a:cubicBezTo>
                  <a:cubicBezTo>
                    <a:pt x="121" y="17621"/>
                    <a:pt x="121" y="17621"/>
                    <a:pt x="121" y="17621"/>
                  </a:cubicBezTo>
                  <a:cubicBezTo>
                    <a:pt x="121" y="17621"/>
                    <a:pt x="121" y="17735"/>
                    <a:pt x="121" y="17763"/>
                  </a:cubicBezTo>
                  <a:cubicBezTo>
                    <a:pt x="121" y="17792"/>
                    <a:pt x="-40" y="17820"/>
                    <a:pt x="40" y="17905"/>
                  </a:cubicBezTo>
                  <a:cubicBezTo>
                    <a:pt x="121" y="17962"/>
                    <a:pt x="161" y="17991"/>
                    <a:pt x="201" y="18019"/>
                  </a:cubicBezTo>
                  <a:cubicBezTo>
                    <a:pt x="281" y="18019"/>
                    <a:pt x="482" y="18019"/>
                    <a:pt x="482" y="18047"/>
                  </a:cubicBezTo>
                  <a:cubicBezTo>
                    <a:pt x="482" y="18047"/>
                    <a:pt x="482" y="18076"/>
                    <a:pt x="361" y="18104"/>
                  </a:cubicBezTo>
                  <a:cubicBezTo>
                    <a:pt x="281" y="18104"/>
                    <a:pt x="201" y="18076"/>
                    <a:pt x="201" y="18133"/>
                  </a:cubicBezTo>
                  <a:cubicBezTo>
                    <a:pt x="161" y="18161"/>
                    <a:pt x="0" y="18332"/>
                    <a:pt x="0" y="18332"/>
                  </a:cubicBezTo>
                  <a:cubicBezTo>
                    <a:pt x="201" y="18502"/>
                    <a:pt x="201" y="18502"/>
                    <a:pt x="201" y="18502"/>
                  </a:cubicBezTo>
                  <a:cubicBezTo>
                    <a:pt x="201" y="18502"/>
                    <a:pt x="281" y="18445"/>
                    <a:pt x="321" y="18445"/>
                  </a:cubicBezTo>
                  <a:cubicBezTo>
                    <a:pt x="361" y="18417"/>
                    <a:pt x="482" y="18445"/>
                    <a:pt x="482" y="18474"/>
                  </a:cubicBezTo>
                  <a:cubicBezTo>
                    <a:pt x="482" y="18474"/>
                    <a:pt x="402" y="18559"/>
                    <a:pt x="361" y="18559"/>
                  </a:cubicBezTo>
                  <a:cubicBezTo>
                    <a:pt x="361" y="18587"/>
                    <a:pt x="241" y="18616"/>
                    <a:pt x="241" y="18644"/>
                  </a:cubicBezTo>
                  <a:cubicBezTo>
                    <a:pt x="241" y="18644"/>
                    <a:pt x="361" y="18758"/>
                    <a:pt x="361" y="18758"/>
                  </a:cubicBezTo>
                  <a:cubicBezTo>
                    <a:pt x="361" y="18758"/>
                    <a:pt x="442" y="18758"/>
                    <a:pt x="442" y="18815"/>
                  </a:cubicBezTo>
                  <a:cubicBezTo>
                    <a:pt x="442" y="18843"/>
                    <a:pt x="281" y="18900"/>
                    <a:pt x="281" y="18900"/>
                  </a:cubicBezTo>
                  <a:cubicBezTo>
                    <a:pt x="321" y="18985"/>
                    <a:pt x="321" y="18985"/>
                    <a:pt x="321" y="18985"/>
                  </a:cubicBezTo>
                  <a:cubicBezTo>
                    <a:pt x="201" y="19156"/>
                    <a:pt x="201" y="19156"/>
                    <a:pt x="201" y="19156"/>
                  </a:cubicBezTo>
                  <a:cubicBezTo>
                    <a:pt x="402" y="19241"/>
                    <a:pt x="402" y="19241"/>
                    <a:pt x="402" y="19241"/>
                  </a:cubicBezTo>
                  <a:cubicBezTo>
                    <a:pt x="402" y="19241"/>
                    <a:pt x="562" y="19241"/>
                    <a:pt x="522" y="19326"/>
                  </a:cubicBezTo>
                  <a:cubicBezTo>
                    <a:pt x="442" y="19383"/>
                    <a:pt x="321" y="19440"/>
                    <a:pt x="321" y="19468"/>
                  </a:cubicBezTo>
                  <a:cubicBezTo>
                    <a:pt x="321" y="19525"/>
                    <a:pt x="281" y="19582"/>
                    <a:pt x="361" y="19611"/>
                  </a:cubicBezTo>
                  <a:cubicBezTo>
                    <a:pt x="442" y="19611"/>
                    <a:pt x="442" y="19639"/>
                    <a:pt x="482" y="19611"/>
                  </a:cubicBezTo>
                  <a:cubicBezTo>
                    <a:pt x="562" y="19582"/>
                    <a:pt x="643" y="19554"/>
                    <a:pt x="643" y="19554"/>
                  </a:cubicBezTo>
                  <a:cubicBezTo>
                    <a:pt x="643" y="19554"/>
                    <a:pt x="763" y="19497"/>
                    <a:pt x="843" y="19497"/>
                  </a:cubicBezTo>
                  <a:cubicBezTo>
                    <a:pt x="883" y="19497"/>
                    <a:pt x="964" y="19525"/>
                    <a:pt x="1004" y="19554"/>
                  </a:cubicBezTo>
                  <a:cubicBezTo>
                    <a:pt x="1004" y="19582"/>
                    <a:pt x="1004" y="19611"/>
                    <a:pt x="1044" y="19639"/>
                  </a:cubicBezTo>
                  <a:cubicBezTo>
                    <a:pt x="1084" y="19639"/>
                    <a:pt x="1004" y="19781"/>
                    <a:pt x="1004" y="19781"/>
                  </a:cubicBezTo>
                  <a:cubicBezTo>
                    <a:pt x="883" y="19895"/>
                    <a:pt x="883" y="19895"/>
                    <a:pt x="883" y="19895"/>
                  </a:cubicBezTo>
                  <a:cubicBezTo>
                    <a:pt x="883" y="19895"/>
                    <a:pt x="1004" y="20008"/>
                    <a:pt x="964" y="20008"/>
                  </a:cubicBezTo>
                  <a:cubicBezTo>
                    <a:pt x="964" y="20008"/>
                    <a:pt x="763" y="20037"/>
                    <a:pt x="723" y="20037"/>
                  </a:cubicBezTo>
                  <a:cubicBezTo>
                    <a:pt x="683" y="20037"/>
                    <a:pt x="643" y="20008"/>
                    <a:pt x="643" y="20065"/>
                  </a:cubicBezTo>
                  <a:cubicBezTo>
                    <a:pt x="602" y="20122"/>
                    <a:pt x="482" y="20264"/>
                    <a:pt x="482" y="20264"/>
                  </a:cubicBezTo>
                  <a:cubicBezTo>
                    <a:pt x="482" y="20264"/>
                    <a:pt x="442" y="20321"/>
                    <a:pt x="482" y="20378"/>
                  </a:cubicBezTo>
                  <a:cubicBezTo>
                    <a:pt x="522" y="20435"/>
                    <a:pt x="683" y="20634"/>
                    <a:pt x="683" y="20634"/>
                  </a:cubicBezTo>
                  <a:cubicBezTo>
                    <a:pt x="683" y="20662"/>
                    <a:pt x="763" y="20747"/>
                    <a:pt x="883" y="20804"/>
                  </a:cubicBezTo>
                  <a:cubicBezTo>
                    <a:pt x="1004" y="20861"/>
                    <a:pt x="1084" y="20861"/>
                    <a:pt x="1084" y="20918"/>
                  </a:cubicBezTo>
                  <a:cubicBezTo>
                    <a:pt x="1124" y="20975"/>
                    <a:pt x="1124" y="20975"/>
                    <a:pt x="1124" y="20975"/>
                  </a:cubicBezTo>
                  <a:cubicBezTo>
                    <a:pt x="1285" y="21088"/>
                    <a:pt x="1285" y="21088"/>
                    <a:pt x="1285" y="21088"/>
                  </a:cubicBezTo>
                  <a:cubicBezTo>
                    <a:pt x="1285" y="21088"/>
                    <a:pt x="1365" y="21117"/>
                    <a:pt x="1486" y="21117"/>
                  </a:cubicBezTo>
                  <a:cubicBezTo>
                    <a:pt x="1606" y="21145"/>
                    <a:pt x="1767" y="21145"/>
                    <a:pt x="1767" y="21174"/>
                  </a:cubicBezTo>
                  <a:cubicBezTo>
                    <a:pt x="1807" y="21174"/>
                    <a:pt x="1646" y="21259"/>
                    <a:pt x="1646" y="21259"/>
                  </a:cubicBezTo>
                  <a:cubicBezTo>
                    <a:pt x="1646" y="21259"/>
                    <a:pt x="1446" y="21373"/>
                    <a:pt x="1526" y="21401"/>
                  </a:cubicBezTo>
                  <a:cubicBezTo>
                    <a:pt x="1606" y="21429"/>
                    <a:pt x="2168" y="21515"/>
                    <a:pt x="2168" y="21515"/>
                  </a:cubicBezTo>
                  <a:cubicBezTo>
                    <a:pt x="2168" y="21515"/>
                    <a:pt x="2248" y="21543"/>
                    <a:pt x="2248" y="21572"/>
                  </a:cubicBezTo>
                  <a:cubicBezTo>
                    <a:pt x="2248" y="21600"/>
                    <a:pt x="2369" y="21543"/>
                    <a:pt x="2369" y="21543"/>
                  </a:cubicBezTo>
                  <a:cubicBezTo>
                    <a:pt x="2409" y="21515"/>
                    <a:pt x="2570" y="21572"/>
                    <a:pt x="2610" y="21572"/>
                  </a:cubicBezTo>
                  <a:cubicBezTo>
                    <a:pt x="2610" y="21572"/>
                    <a:pt x="2851" y="21543"/>
                    <a:pt x="2851" y="21543"/>
                  </a:cubicBezTo>
                  <a:cubicBezTo>
                    <a:pt x="3051" y="21486"/>
                    <a:pt x="3051" y="21486"/>
                    <a:pt x="3051" y="21486"/>
                  </a:cubicBezTo>
                  <a:cubicBezTo>
                    <a:pt x="3051" y="21486"/>
                    <a:pt x="3172" y="21344"/>
                    <a:pt x="3252" y="21373"/>
                  </a:cubicBezTo>
                  <a:cubicBezTo>
                    <a:pt x="3373" y="21401"/>
                    <a:pt x="3332" y="21458"/>
                    <a:pt x="3413" y="21458"/>
                  </a:cubicBezTo>
                  <a:cubicBezTo>
                    <a:pt x="3453" y="21458"/>
                    <a:pt x="3533" y="21458"/>
                    <a:pt x="3614" y="21373"/>
                  </a:cubicBezTo>
                  <a:cubicBezTo>
                    <a:pt x="3694" y="21316"/>
                    <a:pt x="3774" y="21259"/>
                    <a:pt x="3814" y="21231"/>
                  </a:cubicBezTo>
                  <a:cubicBezTo>
                    <a:pt x="3854" y="21231"/>
                    <a:pt x="4336" y="21032"/>
                    <a:pt x="4336" y="21032"/>
                  </a:cubicBezTo>
                  <a:cubicBezTo>
                    <a:pt x="4657" y="20634"/>
                    <a:pt x="4657" y="20634"/>
                    <a:pt x="4657" y="20634"/>
                  </a:cubicBezTo>
                  <a:cubicBezTo>
                    <a:pt x="4778" y="20349"/>
                    <a:pt x="4778" y="20349"/>
                    <a:pt x="4778" y="20349"/>
                  </a:cubicBezTo>
                  <a:cubicBezTo>
                    <a:pt x="4778" y="20349"/>
                    <a:pt x="4938" y="20207"/>
                    <a:pt x="5059" y="20207"/>
                  </a:cubicBezTo>
                  <a:cubicBezTo>
                    <a:pt x="5139" y="20207"/>
                    <a:pt x="5420" y="20122"/>
                    <a:pt x="5380" y="20065"/>
                  </a:cubicBezTo>
                  <a:cubicBezTo>
                    <a:pt x="5380" y="19980"/>
                    <a:pt x="5501" y="19952"/>
                    <a:pt x="5501" y="20065"/>
                  </a:cubicBezTo>
                  <a:cubicBezTo>
                    <a:pt x="5541" y="20179"/>
                    <a:pt x="5501" y="20293"/>
                    <a:pt x="5581" y="20236"/>
                  </a:cubicBezTo>
                  <a:cubicBezTo>
                    <a:pt x="5701" y="20179"/>
                    <a:pt x="5902" y="20008"/>
                    <a:pt x="5902" y="20008"/>
                  </a:cubicBezTo>
                  <a:cubicBezTo>
                    <a:pt x="5902" y="20008"/>
                    <a:pt x="6022" y="19923"/>
                    <a:pt x="6103" y="19895"/>
                  </a:cubicBezTo>
                  <a:cubicBezTo>
                    <a:pt x="6183" y="19895"/>
                    <a:pt x="6303" y="19696"/>
                    <a:pt x="6303" y="19696"/>
                  </a:cubicBezTo>
                  <a:cubicBezTo>
                    <a:pt x="6303" y="19696"/>
                    <a:pt x="6464" y="19611"/>
                    <a:pt x="6544" y="19696"/>
                  </a:cubicBezTo>
                  <a:cubicBezTo>
                    <a:pt x="6585" y="19809"/>
                    <a:pt x="6745" y="19952"/>
                    <a:pt x="6745" y="20008"/>
                  </a:cubicBezTo>
                  <a:cubicBezTo>
                    <a:pt x="6745" y="20008"/>
                    <a:pt x="6825" y="20037"/>
                    <a:pt x="6906" y="20065"/>
                  </a:cubicBezTo>
                  <a:cubicBezTo>
                    <a:pt x="6906" y="20008"/>
                    <a:pt x="6906" y="20008"/>
                    <a:pt x="6906" y="20008"/>
                  </a:cubicBezTo>
                  <a:cubicBezTo>
                    <a:pt x="6906" y="19838"/>
                    <a:pt x="6906" y="19838"/>
                    <a:pt x="6906" y="19838"/>
                  </a:cubicBezTo>
                  <a:cubicBezTo>
                    <a:pt x="6906" y="19838"/>
                    <a:pt x="7187" y="20008"/>
                    <a:pt x="7187" y="20008"/>
                  </a:cubicBezTo>
                  <a:cubicBezTo>
                    <a:pt x="7227" y="20037"/>
                    <a:pt x="7227" y="20207"/>
                    <a:pt x="7227" y="20207"/>
                  </a:cubicBezTo>
                  <a:cubicBezTo>
                    <a:pt x="7307" y="20207"/>
                    <a:pt x="7307" y="20207"/>
                    <a:pt x="7307" y="20207"/>
                  </a:cubicBezTo>
                  <a:cubicBezTo>
                    <a:pt x="7307" y="20179"/>
                    <a:pt x="7307" y="20179"/>
                    <a:pt x="7307" y="20179"/>
                  </a:cubicBezTo>
                  <a:cubicBezTo>
                    <a:pt x="7388" y="20207"/>
                    <a:pt x="7388" y="20207"/>
                    <a:pt x="7388" y="20207"/>
                  </a:cubicBezTo>
                  <a:cubicBezTo>
                    <a:pt x="7428" y="20179"/>
                    <a:pt x="7428" y="20179"/>
                    <a:pt x="7428" y="20179"/>
                  </a:cubicBezTo>
                  <a:cubicBezTo>
                    <a:pt x="7468" y="20008"/>
                    <a:pt x="7468" y="20008"/>
                    <a:pt x="7468" y="20008"/>
                  </a:cubicBezTo>
                  <a:cubicBezTo>
                    <a:pt x="7508" y="19809"/>
                    <a:pt x="7508" y="19809"/>
                    <a:pt x="7508" y="19809"/>
                  </a:cubicBezTo>
                  <a:cubicBezTo>
                    <a:pt x="7628" y="19639"/>
                    <a:pt x="7628" y="19639"/>
                    <a:pt x="7628" y="19639"/>
                  </a:cubicBezTo>
                  <a:cubicBezTo>
                    <a:pt x="7628" y="19468"/>
                    <a:pt x="7628" y="19468"/>
                    <a:pt x="7628" y="19468"/>
                  </a:cubicBezTo>
                  <a:cubicBezTo>
                    <a:pt x="7468" y="19269"/>
                    <a:pt x="7468" y="19269"/>
                    <a:pt x="7468" y="19269"/>
                  </a:cubicBezTo>
                  <a:cubicBezTo>
                    <a:pt x="7388" y="19099"/>
                    <a:pt x="7388" y="19099"/>
                    <a:pt x="7388" y="19099"/>
                  </a:cubicBezTo>
                  <a:cubicBezTo>
                    <a:pt x="7508" y="19071"/>
                    <a:pt x="7508" y="19071"/>
                    <a:pt x="7508" y="19071"/>
                  </a:cubicBezTo>
                  <a:cubicBezTo>
                    <a:pt x="7508" y="19042"/>
                    <a:pt x="7508" y="19042"/>
                    <a:pt x="7508" y="19042"/>
                  </a:cubicBezTo>
                  <a:cubicBezTo>
                    <a:pt x="7548" y="19042"/>
                    <a:pt x="7548" y="19042"/>
                    <a:pt x="7548" y="19042"/>
                  </a:cubicBezTo>
                  <a:cubicBezTo>
                    <a:pt x="7628" y="18985"/>
                    <a:pt x="7628" y="18985"/>
                    <a:pt x="7628" y="18985"/>
                  </a:cubicBezTo>
                  <a:cubicBezTo>
                    <a:pt x="7669" y="18843"/>
                    <a:pt x="7669" y="18843"/>
                    <a:pt x="7669" y="18843"/>
                  </a:cubicBezTo>
                  <a:cubicBezTo>
                    <a:pt x="7588" y="18786"/>
                    <a:pt x="7588" y="18786"/>
                    <a:pt x="7588" y="18786"/>
                  </a:cubicBezTo>
                  <a:cubicBezTo>
                    <a:pt x="7588" y="18701"/>
                    <a:pt x="7588" y="18701"/>
                    <a:pt x="7588" y="18701"/>
                  </a:cubicBezTo>
                  <a:cubicBezTo>
                    <a:pt x="7588" y="18701"/>
                    <a:pt x="7669" y="18644"/>
                    <a:pt x="7669" y="18644"/>
                  </a:cubicBezTo>
                  <a:cubicBezTo>
                    <a:pt x="7669" y="18644"/>
                    <a:pt x="7669" y="18644"/>
                    <a:pt x="7669" y="18644"/>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49" y="18616"/>
                    <a:pt x="7749" y="18616"/>
                    <a:pt x="7749" y="18616"/>
                  </a:cubicBezTo>
                  <a:cubicBezTo>
                    <a:pt x="7749" y="18616"/>
                    <a:pt x="7749" y="18616"/>
                    <a:pt x="7749" y="18616"/>
                  </a:cubicBezTo>
                  <a:cubicBezTo>
                    <a:pt x="7749" y="18616"/>
                    <a:pt x="7749" y="18616"/>
                    <a:pt x="7749" y="18616"/>
                  </a:cubicBezTo>
                  <a:cubicBezTo>
                    <a:pt x="7749" y="18616"/>
                    <a:pt x="7749" y="18616"/>
                    <a:pt x="7749" y="18616"/>
                  </a:cubicBezTo>
                  <a:cubicBezTo>
                    <a:pt x="7749" y="18616"/>
                    <a:pt x="7789" y="18587"/>
                    <a:pt x="7789" y="18587"/>
                  </a:cubicBezTo>
                  <a:cubicBezTo>
                    <a:pt x="7829" y="18587"/>
                    <a:pt x="7909" y="18587"/>
                    <a:pt x="7909" y="18587"/>
                  </a:cubicBezTo>
                  <a:cubicBezTo>
                    <a:pt x="7950" y="18587"/>
                    <a:pt x="7950" y="18587"/>
                    <a:pt x="7950" y="18587"/>
                  </a:cubicBezTo>
                  <a:cubicBezTo>
                    <a:pt x="8030" y="18531"/>
                    <a:pt x="8030" y="18531"/>
                    <a:pt x="8030" y="18531"/>
                  </a:cubicBezTo>
                  <a:cubicBezTo>
                    <a:pt x="8030" y="18531"/>
                    <a:pt x="8190" y="18445"/>
                    <a:pt x="8190" y="18417"/>
                  </a:cubicBezTo>
                  <a:cubicBezTo>
                    <a:pt x="8190" y="18388"/>
                    <a:pt x="8271" y="18303"/>
                    <a:pt x="8271" y="18303"/>
                  </a:cubicBezTo>
                  <a:cubicBezTo>
                    <a:pt x="8271" y="18161"/>
                    <a:pt x="8271" y="18161"/>
                    <a:pt x="8271" y="18161"/>
                  </a:cubicBezTo>
                  <a:cubicBezTo>
                    <a:pt x="8190" y="18019"/>
                    <a:pt x="8190" y="18019"/>
                    <a:pt x="8190" y="18019"/>
                  </a:cubicBezTo>
                  <a:cubicBezTo>
                    <a:pt x="8271" y="17934"/>
                    <a:pt x="8271" y="17934"/>
                    <a:pt x="8271" y="17934"/>
                  </a:cubicBezTo>
                  <a:cubicBezTo>
                    <a:pt x="8391" y="17763"/>
                    <a:pt x="8391" y="17763"/>
                    <a:pt x="8391" y="17763"/>
                  </a:cubicBezTo>
                  <a:cubicBezTo>
                    <a:pt x="8311" y="17593"/>
                    <a:pt x="8311" y="17593"/>
                    <a:pt x="8311" y="17593"/>
                  </a:cubicBezTo>
                  <a:cubicBezTo>
                    <a:pt x="8070" y="17394"/>
                    <a:pt x="8070" y="17394"/>
                    <a:pt x="8070" y="17394"/>
                  </a:cubicBezTo>
                  <a:cubicBezTo>
                    <a:pt x="7950" y="17138"/>
                    <a:pt x="7950" y="17138"/>
                    <a:pt x="7950" y="17138"/>
                  </a:cubicBezTo>
                  <a:cubicBezTo>
                    <a:pt x="7869" y="16967"/>
                    <a:pt x="7869" y="16967"/>
                    <a:pt x="7869" y="16967"/>
                  </a:cubicBezTo>
                  <a:cubicBezTo>
                    <a:pt x="8070" y="16825"/>
                    <a:pt x="8070" y="16825"/>
                    <a:pt x="8070" y="16825"/>
                  </a:cubicBezTo>
                  <a:cubicBezTo>
                    <a:pt x="8110" y="16797"/>
                    <a:pt x="8110" y="16797"/>
                    <a:pt x="8110" y="16797"/>
                  </a:cubicBezTo>
                  <a:cubicBezTo>
                    <a:pt x="8110" y="16797"/>
                    <a:pt x="8110" y="16797"/>
                    <a:pt x="8110" y="16797"/>
                  </a:cubicBezTo>
                  <a:cubicBezTo>
                    <a:pt x="8150" y="16797"/>
                    <a:pt x="8150" y="16797"/>
                    <a:pt x="8150" y="16797"/>
                  </a:cubicBezTo>
                  <a:cubicBezTo>
                    <a:pt x="8271" y="16797"/>
                    <a:pt x="8271" y="16797"/>
                    <a:pt x="8271" y="16797"/>
                  </a:cubicBezTo>
                  <a:cubicBezTo>
                    <a:pt x="8271" y="16797"/>
                    <a:pt x="8472" y="16797"/>
                    <a:pt x="8472" y="16768"/>
                  </a:cubicBezTo>
                  <a:cubicBezTo>
                    <a:pt x="8472" y="16768"/>
                    <a:pt x="8472" y="16768"/>
                    <a:pt x="8472" y="16768"/>
                  </a:cubicBezTo>
                  <a:cubicBezTo>
                    <a:pt x="8472" y="16768"/>
                    <a:pt x="8472" y="16768"/>
                    <a:pt x="8472" y="16768"/>
                  </a:cubicBezTo>
                  <a:cubicBezTo>
                    <a:pt x="8472" y="16768"/>
                    <a:pt x="8472" y="16768"/>
                    <a:pt x="8472" y="16768"/>
                  </a:cubicBezTo>
                  <a:cubicBezTo>
                    <a:pt x="8472" y="16768"/>
                    <a:pt x="8472" y="16768"/>
                    <a:pt x="8472" y="16768"/>
                  </a:cubicBezTo>
                  <a:cubicBezTo>
                    <a:pt x="8472" y="16768"/>
                    <a:pt x="8472" y="16768"/>
                    <a:pt x="8472" y="16768"/>
                  </a:cubicBezTo>
                  <a:cubicBezTo>
                    <a:pt x="8472" y="16740"/>
                    <a:pt x="8472" y="16740"/>
                    <a:pt x="8472" y="16740"/>
                  </a:cubicBezTo>
                  <a:cubicBezTo>
                    <a:pt x="8472" y="16740"/>
                    <a:pt x="8472" y="16740"/>
                    <a:pt x="8472" y="16740"/>
                  </a:cubicBezTo>
                  <a:cubicBezTo>
                    <a:pt x="8472" y="16740"/>
                    <a:pt x="8472" y="16740"/>
                    <a:pt x="8472" y="16740"/>
                  </a:cubicBezTo>
                  <a:cubicBezTo>
                    <a:pt x="8472" y="16740"/>
                    <a:pt x="8472" y="16740"/>
                    <a:pt x="8472" y="16740"/>
                  </a:cubicBezTo>
                  <a:cubicBezTo>
                    <a:pt x="8512" y="16740"/>
                    <a:pt x="8512" y="16740"/>
                    <a:pt x="8512" y="16740"/>
                  </a:cubicBezTo>
                  <a:cubicBezTo>
                    <a:pt x="8512" y="16740"/>
                    <a:pt x="8512" y="16740"/>
                    <a:pt x="8512" y="16740"/>
                  </a:cubicBezTo>
                  <a:cubicBezTo>
                    <a:pt x="8512" y="16740"/>
                    <a:pt x="8512" y="16740"/>
                    <a:pt x="8512" y="16740"/>
                  </a:cubicBezTo>
                  <a:cubicBezTo>
                    <a:pt x="8512" y="16740"/>
                    <a:pt x="8512" y="16740"/>
                    <a:pt x="8512" y="16740"/>
                  </a:cubicBezTo>
                  <a:cubicBezTo>
                    <a:pt x="8512" y="16740"/>
                    <a:pt x="8512" y="16740"/>
                    <a:pt x="8512" y="16740"/>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683"/>
                    <a:pt x="8512" y="16683"/>
                    <a:pt x="8512" y="16683"/>
                  </a:cubicBezTo>
                  <a:cubicBezTo>
                    <a:pt x="8512" y="16683"/>
                    <a:pt x="8512" y="16683"/>
                    <a:pt x="8512" y="16683"/>
                  </a:cubicBezTo>
                  <a:cubicBezTo>
                    <a:pt x="8512" y="16683"/>
                    <a:pt x="8512" y="16683"/>
                    <a:pt x="8512" y="16683"/>
                  </a:cubicBezTo>
                  <a:cubicBezTo>
                    <a:pt x="8512" y="16683"/>
                    <a:pt x="8512" y="16683"/>
                    <a:pt x="8512" y="16683"/>
                  </a:cubicBezTo>
                  <a:cubicBezTo>
                    <a:pt x="8512" y="16683"/>
                    <a:pt x="8512" y="16683"/>
                    <a:pt x="8512" y="16683"/>
                  </a:cubicBezTo>
                  <a:cubicBezTo>
                    <a:pt x="8512" y="16683"/>
                    <a:pt x="8512" y="16683"/>
                    <a:pt x="8512" y="16683"/>
                  </a:cubicBezTo>
                  <a:cubicBezTo>
                    <a:pt x="8512" y="16655"/>
                    <a:pt x="8512" y="16655"/>
                    <a:pt x="8512" y="16655"/>
                  </a:cubicBezTo>
                  <a:cubicBezTo>
                    <a:pt x="8512" y="16655"/>
                    <a:pt x="8512" y="16655"/>
                    <a:pt x="8512" y="16655"/>
                  </a:cubicBezTo>
                  <a:cubicBezTo>
                    <a:pt x="8512" y="16655"/>
                    <a:pt x="8512" y="16655"/>
                    <a:pt x="8512" y="16655"/>
                  </a:cubicBezTo>
                  <a:cubicBezTo>
                    <a:pt x="8512" y="16655"/>
                    <a:pt x="8512" y="16655"/>
                    <a:pt x="8512" y="16655"/>
                  </a:cubicBezTo>
                  <a:cubicBezTo>
                    <a:pt x="8512" y="16655"/>
                    <a:pt x="8512" y="16655"/>
                    <a:pt x="8512" y="16655"/>
                  </a:cubicBezTo>
                  <a:cubicBezTo>
                    <a:pt x="8512" y="16626"/>
                    <a:pt x="8512" y="16626"/>
                    <a:pt x="8512" y="16626"/>
                  </a:cubicBezTo>
                  <a:cubicBezTo>
                    <a:pt x="8512" y="16626"/>
                    <a:pt x="8512" y="16626"/>
                    <a:pt x="8512" y="16626"/>
                  </a:cubicBezTo>
                  <a:cubicBezTo>
                    <a:pt x="8512" y="16626"/>
                    <a:pt x="8512" y="16626"/>
                    <a:pt x="8512" y="16626"/>
                  </a:cubicBezTo>
                  <a:cubicBezTo>
                    <a:pt x="8512" y="16626"/>
                    <a:pt x="8512" y="16626"/>
                    <a:pt x="8512" y="16626"/>
                  </a:cubicBezTo>
                  <a:cubicBezTo>
                    <a:pt x="8512" y="16626"/>
                    <a:pt x="8512" y="16626"/>
                    <a:pt x="8512" y="16626"/>
                  </a:cubicBezTo>
                  <a:cubicBezTo>
                    <a:pt x="8512" y="16626"/>
                    <a:pt x="8512" y="16626"/>
                    <a:pt x="8512" y="16626"/>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52" y="16569"/>
                    <a:pt x="8552" y="16569"/>
                    <a:pt x="8552" y="16569"/>
                  </a:cubicBezTo>
                  <a:cubicBezTo>
                    <a:pt x="8552" y="16569"/>
                    <a:pt x="8552" y="16569"/>
                    <a:pt x="8552" y="16569"/>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12" y="16285"/>
                    <a:pt x="8512" y="16285"/>
                    <a:pt x="8512" y="16285"/>
                  </a:cubicBezTo>
                  <a:cubicBezTo>
                    <a:pt x="8271" y="16143"/>
                    <a:pt x="8271" y="16143"/>
                    <a:pt x="8271" y="16143"/>
                  </a:cubicBezTo>
                  <a:cubicBezTo>
                    <a:pt x="7990" y="16001"/>
                    <a:pt x="7990" y="16001"/>
                    <a:pt x="7990" y="16001"/>
                  </a:cubicBezTo>
                  <a:cubicBezTo>
                    <a:pt x="7869" y="15774"/>
                    <a:pt x="7869" y="15774"/>
                    <a:pt x="7869" y="15774"/>
                  </a:cubicBezTo>
                  <a:cubicBezTo>
                    <a:pt x="7829" y="14893"/>
                    <a:pt x="7829" y="14893"/>
                    <a:pt x="7829" y="14893"/>
                  </a:cubicBezTo>
                  <a:cubicBezTo>
                    <a:pt x="7829" y="14893"/>
                    <a:pt x="7548" y="14523"/>
                    <a:pt x="7548" y="14495"/>
                  </a:cubicBezTo>
                  <a:cubicBezTo>
                    <a:pt x="7508" y="14438"/>
                    <a:pt x="7508" y="14381"/>
                    <a:pt x="7588" y="14324"/>
                  </a:cubicBezTo>
                  <a:cubicBezTo>
                    <a:pt x="7628" y="14296"/>
                    <a:pt x="7588" y="14239"/>
                    <a:pt x="7588" y="14239"/>
                  </a:cubicBezTo>
                  <a:cubicBezTo>
                    <a:pt x="7548" y="14040"/>
                    <a:pt x="7548" y="14040"/>
                    <a:pt x="7548" y="14040"/>
                  </a:cubicBezTo>
                  <a:cubicBezTo>
                    <a:pt x="7628" y="13955"/>
                    <a:pt x="7628" y="13955"/>
                    <a:pt x="7628" y="13955"/>
                  </a:cubicBezTo>
                  <a:cubicBezTo>
                    <a:pt x="7628" y="13784"/>
                    <a:pt x="7628" y="13784"/>
                    <a:pt x="7628" y="13784"/>
                  </a:cubicBezTo>
                  <a:cubicBezTo>
                    <a:pt x="7468" y="13557"/>
                    <a:pt x="7468" y="13557"/>
                    <a:pt x="7468" y="13557"/>
                  </a:cubicBezTo>
                  <a:cubicBezTo>
                    <a:pt x="7468" y="13557"/>
                    <a:pt x="7468" y="13386"/>
                    <a:pt x="7468" y="13358"/>
                  </a:cubicBezTo>
                  <a:cubicBezTo>
                    <a:pt x="7468" y="13301"/>
                    <a:pt x="7588" y="13187"/>
                    <a:pt x="7588" y="13187"/>
                  </a:cubicBezTo>
                  <a:cubicBezTo>
                    <a:pt x="7628" y="12988"/>
                    <a:pt x="7628" y="12988"/>
                    <a:pt x="7628" y="12988"/>
                  </a:cubicBezTo>
                  <a:cubicBezTo>
                    <a:pt x="7709" y="12704"/>
                    <a:pt x="7709" y="12704"/>
                    <a:pt x="7709" y="12704"/>
                  </a:cubicBezTo>
                  <a:cubicBezTo>
                    <a:pt x="8231" y="12221"/>
                    <a:pt x="8231" y="12221"/>
                    <a:pt x="8231" y="12221"/>
                  </a:cubicBezTo>
                  <a:cubicBezTo>
                    <a:pt x="8351" y="12221"/>
                    <a:pt x="8351" y="12221"/>
                    <a:pt x="8351" y="12221"/>
                  </a:cubicBezTo>
                  <a:cubicBezTo>
                    <a:pt x="9194" y="12193"/>
                    <a:pt x="9194" y="12193"/>
                    <a:pt x="9194" y="12193"/>
                  </a:cubicBezTo>
                  <a:cubicBezTo>
                    <a:pt x="9234" y="12136"/>
                    <a:pt x="9234" y="12136"/>
                    <a:pt x="9234" y="12136"/>
                  </a:cubicBezTo>
                  <a:cubicBezTo>
                    <a:pt x="9274" y="12107"/>
                    <a:pt x="9274" y="12107"/>
                    <a:pt x="9274" y="12107"/>
                  </a:cubicBezTo>
                  <a:cubicBezTo>
                    <a:pt x="9355" y="11937"/>
                    <a:pt x="9355" y="11937"/>
                    <a:pt x="9355" y="11937"/>
                  </a:cubicBezTo>
                  <a:cubicBezTo>
                    <a:pt x="9315" y="11482"/>
                    <a:pt x="9315" y="11482"/>
                    <a:pt x="9315" y="11482"/>
                  </a:cubicBezTo>
                  <a:cubicBezTo>
                    <a:pt x="8953" y="11425"/>
                    <a:pt x="8953" y="11425"/>
                    <a:pt x="8953" y="11425"/>
                  </a:cubicBezTo>
                  <a:cubicBezTo>
                    <a:pt x="8873" y="11283"/>
                    <a:pt x="8873" y="11283"/>
                    <a:pt x="8873" y="11283"/>
                  </a:cubicBezTo>
                  <a:cubicBezTo>
                    <a:pt x="9475" y="10544"/>
                    <a:pt x="9475" y="10544"/>
                    <a:pt x="9475" y="10544"/>
                  </a:cubicBezTo>
                  <a:cubicBezTo>
                    <a:pt x="9435" y="10374"/>
                    <a:pt x="9435" y="10374"/>
                    <a:pt x="9435" y="10374"/>
                  </a:cubicBezTo>
                  <a:cubicBezTo>
                    <a:pt x="9596" y="10288"/>
                    <a:pt x="9596" y="10288"/>
                    <a:pt x="9596" y="10288"/>
                  </a:cubicBezTo>
                  <a:cubicBezTo>
                    <a:pt x="9596" y="10288"/>
                    <a:pt x="9556" y="10175"/>
                    <a:pt x="9515" y="10118"/>
                  </a:cubicBezTo>
                  <a:cubicBezTo>
                    <a:pt x="9475" y="10089"/>
                    <a:pt x="9556" y="9919"/>
                    <a:pt x="9556" y="9919"/>
                  </a:cubicBezTo>
                  <a:cubicBezTo>
                    <a:pt x="9596" y="9720"/>
                    <a:pt x="9596" y="9720"/>
                    <a:pt x="9596" y="9720"/>
                  </a:cubicBezTo>
                  <a:cubicBezTo>
                    <a:pt x="9676" y="9493"/>
                    <a:pt x="9676" y="9493"/>
                    <a:pt x="9676" y="9493"/>
                  </a:cubicBezTo>
                  <a:cubicBezTo>
                    <a:pt x="9475" y="9009"/>
                    <a:pt x="9475" y="9009"/>
                    <a:pt x="9475" y="9009"/>
                  </a:cubicBezTo>
                  <a:cubicBezTo>
                    <a:pt x="9596" y="8924"/>
                    <a:pt x="9596" y="8924"/>
                    <a:pt x="9596" y="8924"/>
                  </a:cubicBezTo>
                  <a:cubicBezTo>
                    <a:pt x="9756" y="8924"/>
                    <a:pt x="9756" y="8924"/>
                    <a:pt x="9756" y="8924"/>
                  </a:cubicBezTo>
                  <a:cubicBezTo>
                    <a:pt x="9796" y="8924"/>
                    <a:pt x="9877" y="8896"/>
                    <a:pt x="9957" y="8896"/>
                  </a:cubicBezTo>
                  <a:cubicBezTo>
                    <a:pt x="10037" y="8867"/>
                    <a:pt x="10077" y="8839"/>
                    <a:pt x="10198" y="8754"/>
                  </a:cubicBezTo>
                  <a:cubicBezTo>
                    <a:pt x="10238" y="8697"/>
                    <a:pt x="10238" y="8697"/>
                    <a:pt x="10238" y="8697"/>
                  </a:cubicBezTo>
                  <a:cubicBezTo>
                    <a:pt x="10278" y="8555"/>
                    <a:pt x="10278" y="8555"/>
                    <a:pt x="10278" y="8555"/>
                  </a:cubicBezTo>
                  <a:cubicBezTo>
                    <a:pt x="10278" y="8299"/>
                    <a:pt x="10278" y="8299"/>
                    <a:pt x="10278" y="8299"/>
                  </a:cubicBezTo>
                  <a:cubicBezTo>
                    <a:pt x="10479" y="7929"/>
                    <a:pt x="10479" y="7929"/>
                    <a:pt x="10479" y="7929"/>
                  </a:cubicBezTo>
                  <a:cubicBezTo>
                    <a:pt x="10479" y="7929"/>
                    <a:pt x="10800" y="7645"/>
                    <a:pt x="10840" y="7588"/>
                  </a:cubicBezTo>
                  <a:cubicBezTo>
                    <a:pt x="10880" y="7532"/>
                    <a:pt x="11001" y="7333"/>
                    <a:pt x="11001" y="7333"/>
                  </a:cubicBezTo>
                  <a:cubicBezTo>
                    <a:pt x="11001" y="7333"/>
                    <a:pt x="10921" y="7105"/>
                    <a:pt x="10880" y="7048"/>
                  </a:cubicBezTo>
                  <a:cubicBezTo>
                    <a:pt x="10800" y="7020"/>
                    <a:pt x="10680" y="6849"/>
                    <a:pt x="10680" y="6849"/>
                  </a:cubicBezTo>
                  <a:cubicBezTo>
                    <a:pt x="10680" y="6707"/>
                    <a:pt x="10680" y="6707"/>
                    <a:pt x="10680" y="6707"/>
                  </a:cubicBezTo>
                  <a:cubicBezTo>
                    <a:pt x="10921" y="6594"/>
                    <a:pt x="10921" y="6594"/>
                    <a:pt x="10921" y="6594"/>
                  </a:cubicBezTo>
                  <a:cubicBezTo>
                    <a:pt x="11001" y="6480"/>
                    <a:pt x="11001" y="6480"/>
                    <a:pt x="11001" y="6480"/>
                  </a:cubicBezTo>
                  <a:cubicBezTo>
                    <a:pt x="11001" y="6480"/>
                    <a:pt x="11001" y="6281"/>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196"/>
                    <a:pt x="11001" y="6196"/>
                    <a:pt x="11001" y="6196"/>
                  </a:cubicBezTo>
                  <a:cubicBezTo>
                    <a:pt x="11001" y="6196"/>
                    <a:pt x="11001" y="6196"/>
                    <a:pt x="11001" y="6196"/>
                  </a:cubicBezTo>
                  <a:cubicBezTo>
                    <a:pt x="11001" y="6196"/>
                    <a:pt x="11001" y="6196"/>
                    <a:pt x="11001" y="6196"/>
                  </a:cubicBezTo>
                  <a:cubicBezTo>
                    <a:pt x="11001" y="6196"/>
                    <a:pt x="11001" y="6196"/>
                    <a:pt x="11001" y="6196"/>
                  </a:cubicBezTo>
                  <a:cubicBezTo>
                    <a:pt x="11041" y="6196"/>
                    <a:pt x="11041" y="6196"/>
                    <a:pt x="11041" y="6196"/>
                  </a:cubicBezTo>
                  <a:cubicBezTo>
                    <a:pt x="11041" y="6196"/>
                    <a:pt x="11041" y="6196"/>
                    <a:pt x="11041" y="6196"/>
                  </a:cubicBezTo>
                  <a:cubicBezTo>
                    <a:pt x="11041" y="6196"/>
                    <a:pt x="11041" y="6196"/>
                    <a:pt x="11041" y="6196"/>
                  </a:cubicBezTo>
                  <a:cubicBezTo>
                    <a:pt x="11041" y="6196"/>
                    <a:pt x="11041" y="6196"/>
                    <a:pt x="11041" y="6196"/>
                  </a:cubicBezTo>
                  <a:cubicBezTo>
                    <a:pt x="11041" y="6196"/>
                    <a:pt x="11041" y="6196"/>
                    <a:pt x="11041" y="6196"/>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81" y="6139"/>
                    <a:pt x="11081" y="6139"/>
                    <a:pt x="11081" y="6139"/>
                  </a:cubicBezTo>
                  <a:cubicBezTo>
                    <a:pt x="11081" y="6139"/>
                    <a:pt x="11081" y="6139"/>
                    <a:pt x="11081" y="6139"/>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054"/>
                    <a:pt x="11242" y="5940"/>
                    <a:pt x="11242" y="5940"/>
                  </a:cubicBezTo>
                  <a:cubicBezTo>
                    <a:pt x="11402" y="5713"/>
                    <a:pt x="11402" y="5713"/>
                    <a:pt x="11402" y="5713"/>
                  </a:cubicBezTo>
                  <a:cubicBezTo>
                    <a:pt x="11804" y="5855"/>
                    <a:pt x="11804" y="5855"/>
                    <a:pt x="11804" y="5855"/>
                  </a:cubicBezTo>
                  <a:cubicBezTo>
                    <a:pt x="12005" y="5855"/>
                    <a:pt x="12005" y="5855"/>
                    <a:pt x="12005" y="5855"/>
                  </a:cubicBezTo>
                  <a:cubicBezTo>
                    <a:pt x="12085" y="5741"/>
                    <a:pt x="12085" y="5741"/>
                    <a:pt x="12085" y="5741"/>
                  </a:cubicBezTo>
                  <a:cubicBezTo>
                    <a:pt x="12045" y="5656"/>
                    <a:pt x="12005" y="5059"/>
                    <a:pt x="12125" y="4945"/>
                  </a:cubicBezTo>
                  <a:cubicBezTo>
                    <a:pt x="12125" y="4945"/>
                    <a:pt x="12687" y="4974"/>
                    <a:pt x="12767" y="4945"/>
                  </a:cubicBezTo>
                  <a:cubicBezTo>
                    <a:pt x="12808" y="4945"/>
                    <a:pt x="13008" y="5002"/>
                    <a:pt x="13048" y="5031"/>
                  </a:cubicBezTo>
                  <a:cubicBezTo>
                    <a:pt x="13048" y="5031"/>
                    <a:pt x="13048" y="5031"/>
                    <a:pt x="13048" y="5031"/>
                  </a:cubicBezTo>
                  <a:cubicBezTo>
                    <a:pt x="13048" y="5031"/>
                    <a:pt x="13048" y="5031"/>
                    <a:pt x="13048" y="5031"/>
                  </a:cubicBezTo>
                  <a:cubicBezTo>
                    <a:pt x="13089" y="5059"/>
                    <a:pt x="13129" y="5059"/>
                    <a:pt x="13169" y="5059"/>
                  </a:cubicBezTo>
                  <a:cubicBezTo>
                    <a:pt x="13249" y="5087"/>
                    <a:pt x="13330" y="5087"/>
                    <a:pt x="13330" y="5087"/>
                  </a:cubicBezTo>
                  <a:cubicBezTo>
                    <a:pt x="13570" y="5059"/>
                    <a:pt x="13570" y="5059"/>
                    <a:pt x="13570" y="5059"/>
                  </a:cubicBezTo>
                  <a:cubicBezTo>
                    <a:pt x="13731" y="4917"/>
                    <a:pt x="13731" y="4917"/>
                    <a:pt x="13731" y="4917"/>
                  </a:cubicBezTo>
                  <a:cubicBezTo>
                    <a:pt x="13570" y="4803"/>
                    <a:pt x="13570" y="4803"/>
                    <a:pt x="13570" y="4803"/>
                  </a:cubicBezTo>
                  <a:cubicBezTo>
                    <a:pt x="13731" y="4661"/>
                    <a:pt x="13731" y="4462"/>
                    <a:pt x="13691" y="4434"/>
                  </a:cubicBezTo>
                  <a:cubicBezTo>
                    <a:pt x="13651" y="4377"/>
                    <a:pt x="13570" y="4121"/>
                    <a:pt x="13530" y="4093"/>
                  </a:cubicBezTo>
                  <a:cubicBezTo>
                    <a:pt x="13530" y="4064"/>
                    <a:pt x="13611" y="4036"/>
                    <a:pt x="13611" y="4036"/>
                  </a:cubicBezTo>
                  <a:cubicBezTo>
                    <a:pt x="13691" y="4036"/>
                    <a:pt x="13691" y="4036"/>
                    <a:pt x="13691" y="4036"/>
                  </a:cubicBezTo>
                  <a:cubicBezTo>
                    <a:pt x="13691" y="4036"/>
                    <a:pt x="13731" y="4007"/>
                    <a:pt x="13771" y="4007"/>
                  </a:cubicBezTo>
                  <a:cubicBezTo>
                    <a:pt x="13972" y="3894"/>
                    <a:pt x="13972" y="3894"/>
                    <a:pt x="13972" y="3894"/>
                  </a:cubicBezTo>
                  <a:cubicBezTo>
                    <a:pt x="14173" y="3922"/>
                    <a:pt x="14173" y="3922"/>
                    <a:pt x="14173" y="3922"/>
                  </a:cubicBezTo>
                  <a:cubicBezTo>
                    <a:pt x="14173" y="3922"/>
                    <a:pt x="14173" y="3894"/>
                    <a:pt x="14213" y="3894"/>
                  </a:cubicBezTo>
                  <a:cubicBezTo>
                    <a:pt x="14253" y="3894"/>
                    <a:pt x="14253" y="3865"/>
                    <a:pt x="14253" y="3865"/>
                  </a:cubicBezTo>
                  <a:cubicBezTo>
                    <a:pt x="14253" y="3865"/>
                    <a:pt x="14132" y="3695"/>
                    <a:pt x="14213" y="3609"/>
                  </a:cubicBezTo>
                  <a:cubicBezTo>
                    <a:pt x="14253" y="3553"/>
                    <a:pt x="1429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94" y="3553"/>
                    <a:pt x="14494" y="3553"/>
                    <a:pt x="14494" y="3553"/>
                  </a:cubicBezTo>
                  <a:cubicBezTo>
                    <a:pt x="14494" y="3553"/>
                    <a:pt x="14494" y="3553"/>
                    <a:pt x="14494" y="3553"/>
                  </a:cubicBezTo>
                  <a:cubicBezTo>
                    <a:pt x="14494" y="3553"/>
                    <a:pt x="14494" y="3553"/>
                    <a:pt x="14494" y="3553"/>
                  </a:cubicBezTo>
                  <a:cubicBezTo>
                    <a:pt x="14494" y="3553"/>
                    <a:pt x="14494" y="3553"/>
                    <a:pt x="14494" y="3553"/>
                  </a:cubicBezTo>
                  <a:cubicBezTo>
                    <a:pt x="14534" y="3553"/>
                    <a:pt x="14534" y="3553"/>
                    <a:pt x="14534" y="3553"/>
                  </a:cubicBezTo>
                  <a:cubicBezTo>
                    <a:pt x="14534" y="3553"/>
                    <a:pt x="14534" y="3553"/>
                    <a:pt x="14534" y="3553"/>
                  </a:cubicBezTo>
                  <a:cubicBezTo>
                    <a:pt x="14534" y="3553"/>
                    <a:pt x="14534" y="3553"/>
                    <a:pt x="14534" y="3553"/>
                  </a:cubicBezTo>
                  <a:cubicBezTo>
                    <a:pt x="14534" y="3553"/>
                    <a:pt x="14534" y="3553"/>
                    <a:pt x="14534" y="3553"/>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9" name="Shape 2262">
              <a:extLst>
                <a:ext uri="{FF2B5EF4-FFF2-40B4-BE49-F238E27FC236}">
                  <a16:creationId xmlns:a16="http://schemas.microsoft.com/office/drawing/2014/main" id="{7A76E06A-F1D9-A242-98F5-6815B2AEE5E5}"/>
                </a:ext>
              </a:extLst>
            </p:cNvPr>
            <p:cNvSpPr/>
            <p:nvPr/>
          </p:nvSpPr>
          <p:spPr>
            <a:xfrm>
              <a:off x="5151895" y="0"/>
              <a:ext cx="6100353" cy="5959543"/>
            </a:xfrm>
            <a:custGeom>
              <a:avLst/>
              <a:gdLst/>
              <a:ahLst/>
              <a:cxnLst>
                <a:cxn ang="0">
                  <a:pos x="wd2" y="hd2"/>
                </a:cxn>
                <a:cxn ang="5400000">
                  <a:pos x="wd2" y="hd2"/>
                </a:cxn>
                <a:cxn ang="10800000">
                  <a:pos x="wd2" y="hd2"/>
                </a:cxn>
                <a:cxn ang="16200000">
                  <a:pos x="wd2" y="hd2"/>
                </a:cxn>
              </a:cxnLst>
              <a:rect l="0" t="0" r="r" b="b"/>
              <a:pathLst>
                <a:path w="21600" h="21559" extrusionOk="0">
                  <a:moveTo>
                    <a:pt x="6718" y="15856"/>
                  </a:moveTo>
                  <a:cubicBezTo>
                    <a:pt x="6601" y="15885"/>
                    <a:pt x="6601" y="15885"/>
                    <a:pt x="6601" y="15885"/>
                  </a:cubicBezTo>
                  <a:cubicBezTo>
                    <a:pt x="6601" y="15885"/>
                    <a:pt x="6528" y="15958"/>
                    <a:pt x="6528" y="15929"/>
                  </a:cubicBezTo>
                  <a:cubicBezTo>
                    <a:pt x="6514" y="15900"/>
                    <a:pt x="6543" y="15842"/>
                    <a:pt x="6543" y="15813"/>
                  </a:cubicBezTo>
                  <a:cubicBezTo>
                    <a:pt x="6528" y="15799"/>
                    <a:pt x="6455" y="15842"/>
                    <a:pt x="6470" y="15784"/>
                  </a:cubicBezTo>
                  <a:cubicBezTo>
                    <a:pt x="6484" y="15755"/>
                    <a:pt x="6470" y="15712"/>
                    <a:pt x="6455" y="15697"/>
                  </a:cubicBezTo>
                  <a:cubicBezTo>
                    <a:pt x="6426" y="15668"/>
                    <a:pt x="6338" y="15668"/>
                    <a:pt x="6368" y="15610"/>
                  </a:cubicBezTo>
                  <a:cubicBezTo>
                    <a:pt x="6397" y="15567"/>
                    <a:pt x="6470" y="15538"/>
                    <a:pt x="6470" y="15538"/>
                  </a:cubicBezTo>
                  <a:cubicBezTo>
                    <a:pt x="6470" y="15509"/>
                    <a:pt x="6470" y="15509"/>
                    <a:pt x="6470" y="15509"/>
                  </a:cubicBezTo>
                  <a:cubicBezTo>
                    <a:pt x="6411" y="15451"/>
                    <a:pt x="6411" y="15451"/>
                    <a:pt x="6411" y="15451"/>
                  </a:cubicBezTo>
                  <a:cubicBezTo>
                    <a:pt x="6251" y="15379"/>
                    <a:pt x="6251" y="15379"/>
                    <a:pt x="6251" y="15379"/>
                  </a:cubicBezTo>
                  <a:cubicBezTo>
                    <a:pt x="6251" y="15379"/>
                    <a:pt x="6236" y="15292"/>
                    <a:pt x="6207" y="15292"/>
                  </a:cubicBezTo>
                  <a:cubicBezTo>
                    <a:pt x="6192" y="15278"/>
                    <a:pt x="6148" y="15234"/>
                    <a:pt x="6148" y="15234"/>
                  </a:cubicBezTo>
                  <a:cubicBezTo>
                    <a:pt x="6148" y="15234"/>
                    <a:pt x="6105" y="15176"/>
                    <a:pt x="6046" y="15162"/>
                  </a:cubicBezTo>
                  <a:cubicBezTo>
                    <a:pt x="5988" y="15133"/>
                    <a:pt x="5944" y="15263"/>
                    <a:pt x="5944" y="15263"/>
                  </a:cubicBezTo>
                  <a:cubicBezTo>
                    <a:pt x="5886" y="15205"/>
                    <a:pt x="5886" y="15205"/>
                    <a:pt x="5886" y="15205"/>
                  </a:cubicBezTo>
                  <a:cubicBezTo>
                    <a:pt x="5769" y="15249"/>
                    <a:pt x="5769" y="15249"/>
                    <a:pt x="5769" y="15249"/>
                  </a:cubicBezTo>
                  <a:cubicBezTo>
                    <a:pt x="5681" y="15379"/>
                    <a:pt x="5681" y="15379"/>
                    <a:pt x="5681" y="15379"/>
                  </a:cubicBezTo>
                  <a:cubicBezTo>
                    <a:pt x="5623" y="15393"/>
                    <a:pt x="5623" y="15393"/>
                    <a:pt x="5623" y="15393"/>
                  </a:cubicBezTo>
                  <a:cubicBezTo>
                    <a:pt x="5535" y="15408"/>
                    <a:pt x="5535" y="15408"/>
                    <a:pt x="5535" y="15408"/>
                  </a:cubicBezTo>
                  <a:cubicBezTo>
                    <a:pt x="5404" y="15437"/>
                    <a:pt x="5404" y="15437"/>
                    <a:pt x="5404" y="15437"/>
                  </a:cubicBezTo>
                  <a:cubicBezTo>
                    <a:pt x="5374" y="15524"/>
                    <a:pt x="5374" y="15524"/>
                    <a:pt x="5374" y="15524"/>
                  </a:cubicBezTo>
                  <a:cubicBezTo>
                    <a:pt x="5389" y="15610"/>
                    <a:pt x="5389" y="15610"/>
                    <a:pt x="5389" y="15610"/>
                  </a:cubicBezTo>
                  <a:cubicBezTo>
                    <a:pt x="5316" y="15668"/>
                    <a:pt x="5316" y="15668"/>
                    <a:pt x="5316" y="15668"/>
                  </a:cubicBezTo>
                  <a:cubicBezTo>
                    <a:pt x="5141" y="15654"/>
                    <a:pt x="5141" y="15654"/>
                    <a:pt x="5141" y="15654"/>
                  </a:cubicBezTo>
                  <a:cubicBezTo>
                    <a:pt x="5170" y="15654"/>
                    <a:pt x="5170" y="15654"/>
                    <a:pt x="5170" y="15654"/>
                  </a:cubicBezTo>
                  <a:cubicBezTo>
                    <a:pt x="5068" y="15596"/>
                    <a:pt x="5068" y="15596"/>
                    <a:pt x="5068" y="15596"/>
                  </a:cubicBezTo>
                  <a:cubicBezTo>
                    <a:pt x="5068" y="15553"/>
                    <a:pt x="5068" y="15553"/>
                    <a:pt x="5068" y="15553"/>
                  </a:cubicBezTo>
                  <a:cubicBezTo>
                    <a:pt x="5009" y="15553"/>
                    <a:pt x="5009" y="15553"/>
                    <a:pt x="5009" y="15553"/>
                  </a:cubicBezTo>
                  <a:cubicBezTo>
                    <a:pt x="4966" y="15538"/>
                    <a:pt x="4966" y="15538"/>
                    <a:pt x="4966" y="15538"/>
                  </a:cubicBezTo>
                  <a:cubicBezTo>
                    <a:pt x="4995" y="15509"/>
                    <a:pt x="4995" y="15509"/>
                    <a:pt x="4995" y="15509"/>
                  </a:cubicBezTo>
                  <a:cubicBezTo>
                    <a:pt x="4966" y="15466"/>
                    <a:pt x="4966" y="15466"/>
                    <a:pt x="4966" y="15466"/>
                  </a:cubicBezTo>
                  <a:cubicBezTo>
                    <a:pt x="4922" y="15379"/>
                    <a:pt x="4922" y="15379"/>
                    <a:pt x="4922" y="15379"/>
                  </a:cubicBezTo>
                  <a:cubicBezTo>
                    <a:pt x="4951" y="15350"/>
                    <a:pt x="4951" y="15350"/>
                    <a:pt x="4951" y="15350"/>
                  </a:cubicBezTo>
                  <a:cubicBezTo>
                    <a:pt x="4892" y="15321"/>
                    <a:pt x="4892" y="15321"/>
                    <a:pt x="4892" y="15321"/>
                  </a:cubicBezTo>
                  <a:cubicBezTo>
                    <a:pt x="4863" y="15292"/>
                    <a:pt x="4863" y="15292"/>
                    <a:pt x="4863" y="15292"/>
                  </a:cubicBezTo>
                  <a:cubicBezTo>
                    <a:pt x="4892" y="15234"/>
                    <a:pt x="4892" y="15234"/>
                    <a:pt x="4892" y="15234"/>
                  </a:cubicBezTo>
                  <a:cubicBezTo>
                    <a:pt x="4863" y="15191"/>
                    <a:pt x="4863" y="15191"/>
                    <a:pt x="4863" y="15191"/>
                  </a:cubicBezTo>
                  <a:cubicBezTo>
                    <a:pt x="4819" y="15133"/>
                    <a:pt x="4819" y="15133"/>
                    <a:pt x="4819" y="15133"/>
                  </a:cubicBezTo>
                  <a:cubicBezTo>
                    <a:pt x="4746" y="15119"/>
                    <a:pt x="4746" y="15119"/>
                    <a:pt x="4746" y="15119"/>
                  </a:cubicBezTo>
                  <a:cubicBezTo>
                    <a:pt x="4688" y="15075"/>
                    <a:pt x="4688" y="15075"/>
                    <a:pt x="4688" y="15075"/>
                  </a:cubicBezTo>
                  <a:cubicBezTo>
                    <a:pt x="4688" y="15032"/>
                    <a:pt x="4688" y="15032"/>
                    <a:pt x="4688" y="15032"/>
                  </a:cubicBezTo>
                  <a:cubicBezTo>
                    <a:pt x="4717" y="14930"/>
                    <a:pt x="4717" y="14930"/>
                    <a:pt x="4717" y="14930"/>
                  </a:cubicBezTo>
                  <a:cubicBezTo>
                    <a:pt x="4717" y="14930"/>
                    <a:pt x="4717" y="14916"/>
                    <a:pt x="4776" y="14887"/>
                  </a:cubicBezTo>
                  <a:cubicBezTo>
                    <a:pt x="4834" y="14873"/>
                    <a:pt x="4849" y="14887"/>
                    <a:pt x="4849" y="14887"/>
                  </a:cubicBezTo>
                  <a:cubicBezTo>
                    <a:pt x="4936" y="14916"/>
                    <a:pt x="4936" y="14916"/>
                    <a:pt x="4936" y="14916"/>
                  </a:cubicBezTo>
                  <a:cubicBezTo>
                    <a:pt x="5039" y="14887"/>
                    <a:pt x="5039" y="14887"/>
                    <a:pt x="5039" y="14887"/>
                  </a:cubicBezTo>
                  <a:cubicBezTo>
                    <a:pt x="5039" y="14887"/>
                    <a:pt x="5141" y="14800"/>
                    <a:pt x="5155" y="14786"/>
                  </a:cubicBezTo>
                  <a:cubicBezTo>
                    <a:pt x="5185" y="14771"/>
                    <a:pt x="5155" y="14699"/>
                    <a:pt x="5155" y="14699"/>
                  </a:cubicBezTo>
                  <a:cubicBezTo>
                    <a:pt x="5214" y="14685"/>
                    <a:pt x="5214" y="14685"/>
                    <a:pt x="5214" y="14685"/>
                  </a:cubicBezTo>
                  <a:cubicBezTo>
                    <a:pt x="5243" y="14641"/>
                    <a:pt x="5243" y="14641"/>
                    <a:pt x="5243" y="14641"/>
                  </a:cubicBezTo>
                  <a:cubicBezTo>
                    <a:pt x="5243" y="14554"/>
                    <a:pt x="5243" y="14554"/>
                    <a:pt x="5243" y="14554"/>
                  </a:cubicBezTo>
                  <a:cubicBezTo>
                    <a:pt x="5170" y="14525"/>
                    <a:pt x="5170" y="14525"/>
                    <a:pt x="5170" y="14525"/>
                  </a:cubicBezTo>
                  <a:cubicBezTo>
                    <a:pt x="5112" y="14511"/>
                    <a:pt x="5112" y="14511"/>
                    <a:pt x="5112" y="14511"/>
                  </a:cubicBezTo>
                  <a:cubicBezTo>
                    <a:pt x="5053" y="14468"/>
                    <a:pt x="5053" y="14468"/>
                    <a:pt x="5053" y="14468"/>
                  </a:cubicBezTo>
                  <a:cubicBezTo>
                    <a:pt x="5082" y="14395"/>
                    <a:pt x="5082" y="14395"/>
                    <a:pt x="5082" y="14395"/>
                  </a:cubicBezTo>
                  <a:cubicBezTo>
                    <a:pt x="5009" y="14395"/>
                    <a:pt x="5009" y="14395"/>
                    <a:pt x="5009" y="14395"/>
                  </a:cubicBezTo>
                  <a:cubicBezTo>
                    <a:pt x="4936" y="14381"/>
                    <a:pt x="4936" y="14381"/>
                    <a:pt x="4936" y="14381"/>
                  </a:cubicBezTo>
                  <a:cubicBezTo>
                    <a:pt x="4878" y="14366"/>
                    <a:pt x="4878" y="14366"/>
                    <a:pt x="4878" y="14366"/>
                  </a:cubicBezTo>
                  <a:cubicBezTo>
                    <a:pt x="4834" y="14381"/>
                    <a:pt x="4834" y="14381"/>
                    <a:pt x="4834" y="14381"/>
                  </a:cubicBezTo>
                  <a:cubicBezTo>
                    <a:pt x="4790" y="14424"/>
                    <a:pt x="4790" y="14424"/>
                    <a:pt x="4790" y="14424"/>
                  </a:cubicBezTo>
                  <a:cubicBezTo>
                    <a:pt x="4717" y="14424"/>
                    <a:pt x="4717" y="14424"/>
                    <a:pt x="4717" y="14424"/>
                  </a:cubicBezTo>
                  <a:cubicBezTo>
                    <a:pt x="4703" y="14294"/>
                    <a:pt x="4703" y="14294"/>
                    <a:pt x="4703" y="14294"/>
                  </a:cubicBezTo>
                  <a:cubicBezTo>
                    <a:pt x="4673" y="14236"/>
                    <a:pt x="4673" y="14236"/>
                    <a:pt x="4673" y="14236"/>
                  </a:cubicBezTo>
                  <a:cubicBezTo>
                    <a:pt x="4600" y="14207"/>
                    <a:pt x="4600" y="14207"/>
                    <a:pt x="4600" y="14207"/>
                  </a:cubicBezTo>
                  <a:cubicBezTo>
                    <a:pt x="4440" y="14178"/>
                    <a:pt x="4440" y="14178"/>
                    <a:pt x="4440" y="14178"/>
                  </a:cubicBezTo>
                  <a:cubicBezTo>
                    <a:pt x="4367" y="14077"/>
                    <a:pt x="4367" y="14077"/>
                    <a:pt x="4367" y="14077"/>
                  </a:cubicBezTo>
                  <a:cubicBezTo>
                    <a:pt x="4352" y="14033"/>
                    <a:pt x="4352" y="14033"/>
                    <a:pt x="4352" y="14033"/>
                  </a:cubicBezTo>
                  <a:cubicBezTo>
                    <a:pt x="4352" y="14033"/>
                    <a:pt x="4338" y="14033"/>
                    <a:pt x="4294" y="14019"/>
                  </a:cubicBezTo>
                  <a:cubicBezTo>
                    <a:pt x="4250" y="14019"/>
                    <a:pt x="4279" y="13976"/>
                    <a:pt x="4279" y="13976"/>
                  </a:cubicBezTo>
                  <a:cubicBezTo>
                    <a:pt x="4279" y="13903"/>
                    <a:pt x="4279" y="13903"/>
                    <a:pt x="4279" y="13903"/>
                  </a:cubicBezTo>
                  <a:cubicBezTo>
                    <a:pt x="4221" y="13903"/>
                    <a:pt x="4221" y="13903"/>
                    <a:pt x="4221" y="13903"/>
                  </a:cubicBezTo>
                  <a:cubicBezTo>
                    <a:pt x="4162" y="13845"/>
                    <a:pt x="4162" y="13845"/>
                    <a:pt x="4162" y="13845"/>
                  </a:cubicBezTo>
                  <a:cubicBezTo>
                    <a:pt x="4060" y="13816"/>
                    <a:pt x="4060" y="13816"/>
                    <a:pt x="4060" y="13816"/>
                  </a:cubicBezTo>
                  <a:cubicBezTo>
                    <a:pt x="4104" y="13701"/>
                    <a:pt x="4104" y="13701"/>
                    <a:pt x="4104" y="13701"/>
                  </a:cubicBezTo>
                  <a:cubicBezTo>
                    <a:pt x="4104" y="13657"/>
                    <a:pt x="4104" y="13657"/>
                    <a:pt x="4104" y="13657"/>
                  </a:cubicBezTo>
                  <a:cubicBezTo>
                    <a:pt x="4118" y="13585"/>
                    <a:pt x="4118" y="13585"/>
                    <a:pt x="4118" y="13585"/>
                  </a:cubicBezTo>
                  <a:cubicBezTo>
                    <a:pt x="4075" y="13542"/>
                    <a:pt x="4075" y="13542"/>
                    <a:pt x="4075" y="13542"/>
                  </a:cubicBezTo>
                  <a:cubicBezTo>
                    <a:pt x="3987" y="13484"/>
                    <a:pt x="3987" y="13484"/>
                    <a:pt x="3987" y="13484"/>
                  </a:cubicBezTo>
                  <a:cubicBezTo>
                    <a:pt x="3987" y="13440"/>
                    <a:pt x="3987" y="13440"/>
                    <a:pt x="3987" y="13440"/>
                  </a:cubicBezTo>
                  <a:cubicBezTo>
                    <a:pt x="3987" y="13397"/>
                    <a:pt x="3987" y="13397"/>
                    <a:pt x="3987" y="13397"/>
                  </a:cubicBezTo>
                  <a:cubicBezTo>
                    <a:pt x="3987" y="13281"/>
                    <a:pt x="3987" y="13281"/>
                    <a:pt x="3987" y="13281"/>
                  </a:cubicBezTo>
                  <a:cubicBezTo>
                    <a:pt x="3958" y="13223"/>
                    <a:pt x="3958" y="13223"/>
                    <a:pt x="3958" y="13223"/>
                  </a:cubicBezTo>
                  <a:cubicBezTo>
                    <a:pt x="3899" y="13252"/>
                    <a:pt x="3899" y="13252"/>
                    <a:pt x="3899" y="13252"/>
                  </a:cubicBezTo>
                  <a:cubicBezTo>
                    <a:pt x="3885" y="13223"/>
                    <a:pt x="3885" y="13223"/>
                    <a:pt x="3885" y="13223"/>
                  </a:cubicBezTo>
                  <a:cubicBezTo>
                    <a:pt x="3841" y="13238"/>
                    <a:pt x="3841" y="13238"/>
                    <a:pt x="3841" y="13238"/>
                  </a:cubicBezTo>
                  <a:cubicBezTo>
                    <a:pt x="3797" y="13209"/>
                    <a:pt x="3797" y="13209"/>
                    <a:pt x="3797" y="13209"/>
                  </a:cubicBezTo>
                  <a:cubicBezTo>
                    <a:pt x="3753" y="13165"/>
                    <a:pt x="3753" y="13165"/>
                    <a:pt x="3753" y="13165"/>
                  </a:cubicBezTo>
                  <a:cubicBezTo>
                    <a:pt x="3622" y="13137"/>
                    <a:pt x="3622" y="13137"/>
                    <a:pt x="3622" y="13137"/>
                  </a:cubicBezTo>
                  <a:cubicBezTo>
                    <a:pt x="3622" y="13137"/>
                    <a:pt x="3578" y="13151"/>
                    <a:pt x="3520" y="13165"/>
                  </a:cubicBezTo>
                  <a:cubicBezTo>
                    <a:pt x="3476" y="13180"/>
                    <a:pt x="3490" y="13194"/>
                    <a:pt x="3461" y="13194"/>
                  </a:cubicBezTo>
                  <a:cubicBezTo>
                    <a:pt x="3432" y="13209"/>
                    <a:pt x="3417" y="13238"/>
                    <a:pt x="3417" y="13267"/>
                  </a:cubicBezTo>
                  <a:cubicBezTo>
                    <a:pt x="3403" y="13296"/>
                    <a:pt x="3344" y="13310"/>
                    <a:pt x="3330" y="13310"/>
                  </a:cubicBezTo>
                  <a:cubicBezTo>
                    <a:pt x="3301" y="13325"/>
                    <a:pt x="3271" y="13281"/>
                    <a:pt x="3271" y="13281"/>
                  </a:cubicBezTo>
                  <a:cubicBezTo>
                    <a:pt x="3271" y="13238"/>
                    <a:pt x="3271" y="13238"/>
                    <a:pt x="3271" y="13238"/>
                  </a:cubicBezTo>
                  <a:cubicBezTo>
                    <a:pt x="3257" y="13151"/>
                    <a:pt x="3257" y="13151"/>
                    <a:pt x="3257" y="13151"/>
                  </a:cubicBezTo>
                  <a:cubicBezTo>
                    <a:pt x="3140" y="13151"/>
                    <a:pt x="3140" y="13151"/>
                    <a:pt x="3140" y="13151"/>
                  </a:cubicBezTo>
                  <a:cubicBezTo>
                    <a:pt x="3038" y="13180"/>
                    <a:pt x="3038" y="13180"/>
                    <a:pt x="3038" y="13180"/>
                  </a:cubicBezTo>
                  <a:cubicBezTo>
                    <a:pt x="3023" y="13209"/>
                    <a:pt x="3023" y="13209"/>
                    <a:pt x="3023" y="13209"/>
                  </a:cubicBezTo>
                  <a:cubicBezTo>
                    <a:pt x="2950" y="13209"/>
                    <a:pt x="2950" y="13209"/>
                    <a:pt x="2950" y="13209"/>
                  </a:cubicBezTo>
                  <a:cubicBezTo>
                    <a:pt x="2921" y="13151"/>
                    <a:pt x="2921" y="13151"/>
                    <a:pt x="2921" y="13151"/>
                  </a:cubicBezTo>
                  <a:cubicBezTo>
                    <a:pt x="2877" y="13137"/>
                    <a:pt x="2877" y="13137"/>
                    <a:pt x="2877" y="13137"/>
                  </a:cubicBezTo>
                  <a:cubicBezTo>
                    <a:pt x="2804" y="13165"/>
                    <a:pt x="2804" y="13165"/>
                    <a:pt x="2804" y="13165"/>
                  </a:cubicBezTo>
                  <a:cubicBezTo>
                    <a:pt x="2804" y="13165"/>
                    <a:pt x="2789" y="13194"/>
                    <a:pt x="2775" y="13194"/>
                  </a:cubicBezTo>
                  <a:cubicBezTo>
                    <a:pt x="2760" y="13209"/>
                    <a:pt x="2746" y="13194"/>
                    <a:pt x="2731" y="13194"/>
                  </a:cubicBezTo>
                  <a:cubicBezTo>
                    <a:pt x="2716" y="13194"/>
                    <a:pt x="2687" y="13180"/>
                    <a:pt x="2673" y="13165"/>
                  </a:cubicBezTo>
                  <a:cubicBezTo>
                    <a:pt x="2673" y="13151"/>
                    <a:pt x="2673" y="13137"/>
                    <a:pt x="2673" y="13122"/>
                  </a:cubicBezTo>
                  <a:cubicBezTo>
                    <a:pt x="2673" y="13108"/>
                    <a:pt x="2673" y="13079"/>
                    <a:pt x="2673" y="13079"/>
                  </a:cubicBezTo>
                  <a:cubicBezTo>
                    <a:pt x="2687" y="13006"/>
                    <a:pt x="2687" y="13006"/>
                    <a:pt x="2687" y="13006"/>
                  </a:cubicBezTo>
                  <a:cubicBezTo>
                    <a:pt x="2687" y="13006"/>
                    <a:pt x="2629" y="12963"/>
                    <a:pt x="2614" y="12948"/>
                  </a:cubicBezTo>
                  <a:cubicBezTo>
                    <a:pt x="2614" y="12919"/>
                    <a:pt x="2600" y="12876"/>
                    <a:pt x="2600" y="12876"/>
                  </a:cubicBezTo>
                  <a:cubicBezTo>
                    <a:pt x="2600" y="12876"/>
                    <a:pt x="2570" y="12862"/>
                    <a:pt x="2556" y="12847"/>
                  </a:cubicBezTo>
                  <a:cubicBezTo>
                    <a:pt x="2541" y="12847"/>
                    <a:pt x="2527" y="12833"/>
                    <a:pt x="2527" y="12833"/>
                  </a:cubicBezTo>
                  <a:cubicBezTo>
                    <a:pt x="2541" y="12789"/>
                    <a:pt x="2541" y="12789"/>
                    <a:pt x="2541" y="12789"/>
                  </a:cubicBezTo>
                  <a:cubicBezTo>
                    <a:pt x="2483" y="12760"/>
                    <a:pt x="2483" y="12760"/>
                    <a:pt x="2483" y="12760"/>
                  </a:cubicBezTo>
                  <a:cubicBezTo>
                    <a:pt x="2410" y="12702"/>
                    <a:pt x="2410" y="12702"/>
                    <a:pt x="2410" y="12702"/>
                  </a:cubicBezTo>
                  <a:cubicBezTo>
                    <a:pt x="2439" y="12659"/>
                    <a:pt x="2439" y="12659"/>
                    <a:pt x="2439" y="12659"/>
                  </a:cubicBezTo>
                  <a:cubicBezTo>
                    <a:pt x="2381" y="12616"/>
                    <a:pt x="2381" y="12616"/>
                    <a:pt x="2381" y="12616"/>
                  </a:cubicBezTo>
                  <a:cubicBezTo>
                    <a:pt x="2322" y="12659"/>
                    <a:pt x="2322" y="12659"/>
                    <a:pt x="2322" y="12659"/>
                  </a:cubicBezTo>
                  <a:cubicBezTo>
                    <a:pt x="2322" y="12601"/>
                    <a:pt x="2322" y="12601"/>
                    <a:pt x="2322" y="12601"/>
                  </a:cubicBezTo>
                  <a:cubicBezTo>
                    <a:pt x="2293" y="12485"/>
                    <a:pt x="2293" y="12485"/>
                    <a:pt x="2293" y="12485"/>
                  </a:cubicBezTo>
                  <a:cubicBezTo>
                    <a:pt x="2322" y="12442"/>
                    <a:pt x="2322" y="12442"/>
                    <a:pt x="2322" y="12442"/>
                  </a:cubicBezTo>
                  <a:cubicBezTo>
                    <a:pt x="2308" y="12297"/>
                    <a:pt x="2308" y="12297"/>
                    <a:pt x="2308" y="12297"/>
                  </a:cubicBezTo>
                  <a:cubicBezTo>
                    <a:pt x="2308" y="12297"/>
                    <a:pt x="2278" y="12283"/>
                    <a:pt x="2264" y="12283"/>
                  </a:cubicBezTo>
                  <a:cubicBezTo>
                    <a:pt x="2249" y="12283"/>
                    <a:pt x="2205" y="12254"/>
                    <a:pt x="2205" y="12254"/>
                  </a:cubicBezTo>
                  <a:cubicBezTo>
                    <a:pt x="2147" y="12240"/>
                    <a:pt x="2147" y="12240"/>
                    <a:pt x="2147" y="12240"/>
                  </a:cubicBezTo>
                  <a:cubicBezTo>
                    <a:pt x="2147" y="12196"/>
                    <a:pt x="2147" y="12196"/>
                    <a:pt x="2147" y="12196"/>
                  </a:cubicBezTo>
                  <a:cubicBezTo>
                    <a:pt x="2103" y="12153"/>
                    <a:pt x="2103" y="12153"/>
                    <a:pt x="2103" y="12153"/>
                  </a:cubicBezTo>
                  <a:cubicBezTo>
                    <a:pt x="2059" y="12167"/>
                    <a:pt x="2059" y="12167"/>
                    <a:pt x="2059" y="12167"/>
                  </a:cubicBezTo>
                  <a:cubicBezTo>
                    <a:pt x="2059" y="12167"/>
                    <a:pt x="2045" y="12167"/>
                    <a:pt x="2045" y="12153"/>
                  </a:cubicBezTo>
                  <a:cubicBezTo>
                    <a:pt x="2045" y="12138"/>
                    <a:pt x="2015" y="12080"/>
                    <a:pt x="2015" y="12080"/>
                  </a:cubicBezTo>
                  <a:cubicBezTo>
                    <a:pt x="2059" y="12037"/>
                    <a:pt x="2059" y="12037"/>
                    <a:pt x="2059" y="12037"/>
                  </a:cubicBezTo>
                  <a:cubicBezTo>
                    <a:pt x="2059" y="12037"/>
                    <a:pt x="2059" y="11979"/>
                    <a:pt x="2059" y="11965"/>
                  </a:cubicBezTo>
                  <a:cubicBezTo>
                    <a:pt x="2059" y="11936"/>
                    <a:pt x="2132" y="11936"/>
                    <a:pt x="2132" y="11936"/>
                  </a:cubicBezTo>
                  <a:cubicBezTo>
                    <a:pt x="2161" y="11921"/>
                    <a:pt x="2161" y="11921"/>
                    <a:pt x="2161" y="11921"/>
                  </a:cubicBezTo>
                  <a:cubicBezTo>
                    <a:pt x="2176" y="11863"/>
                    <a:pt x="2176" y="11863"/>
                    <a:pt x="2176" y="11863"/>
                  </a:cubicBezTo>
                  <a:cubicBezTo>
                    <a:pt x="2176" y="11863"/>
                    <a:pt x="2132" y="11863"/>
                    <a:pt x="2103" y="11834"/>
                  </a:cubicBezTo>
                  <a:cubicBezTo>
                    <a:pt x="2088" y="11805"/>
                    <a:pt x="2103" y="11834"/>
                    <a:pt x="2103" y="11820"/>
                  </a:cubicBezTo>
                  <a:cubicBezTo>
                    <a:pt x="2103" y="11805"/>
                    <a:pt x="2088" y="11820"/>
                    <a:pt x="2088" y="11820"/>
                  </a:cubicBezTo>
                  <a:cubicBezTo>
                    <a:pt x="2088" y="11820"/>
                    <a:pt x="2074" y="11805"/>
                    <a:pt x="2074" y="11791"/>
                  </a:cubicBezTo>
                  <a:cubicBezTo>
                    <a:pt x="2074" y="11777"/>
                    <a:pt x="2074" y="11748"/>
                    <a:pt x="2059" y="11733"/>
                  </a:cubicBezTo>
                  <a:cubicBezTo>
                    <a:pt x="2045" y="11719"/>
                    <a:pt x="2015" y="11704"/>
                    <a:pt x="2015" y="11704"/>
                  </a:cubicBezTo>
                  <a:cubicBezTo>
                    <a:pt x="2001" y="11690"/>
                    <a:pt x="2001" y="11704"/>
                    <a:pt x="1972" y="11675"/>
                  </a:cubicBezTo>
                  <a:cubicBezTo>
                    <a:pt x="1957" y="11646"/>
                    <a:pt x="1957" y="11632"/>
                    <a:pt x="1957" y="11632"/>
                  </a:cubicBezTo>
                  <a:cubicBezTo>
                    <a:pt x="1913" y="11603"/>
                    <a:pt x="1942" y="11531"/>
                    <a:pt x="1913" y="11502"/>
                  </a:cubicBezTo>
                  <a:cubicBezTo>
                    <a:pt x="1855" y="11444"/>
                    <a:pt x="1855" y="11343"/>
                    <a:pt x="1826" y="11314"/>
                  </a:cubicBezTo>
                  <a:cubicBezTo>
                    <a:pt x="1782" y="11241"/>
                    <a:pt x="1811" y="11227"/>
                    <a:pt x="1826" y="11183"/>
                  </a:cubicBezTo>
                  <a:cubicBezTo>
                    <a:pt x="1840" y="11097"/>
                    <a:pt x="1884" y="11024"/>
                    <a:pt x="1899" y="10880"/>
                  </a:cubicBezTo>
                  <a:cubicBezTo>
                    <a:pt x="1899" y="10778"/>
                    <a:pt x="1899" y="10778"/>
                    <a:pt x="1899" y="10778"/>
                  </a:cubicBezTo>
                  <a:cubicBezTo>
                    <a:pt x="1972" y="10720"/>
                    <a:pt x="1972" y="10720"/>
                    <a:pt x="1972" y="10720"/>
                  </a:cubicBezTo>
                  <a:cubicBezTo>
                    <a:pt x="1972" y="10691"/>
                    <a:pt x="1972" y="10691"/>
                    <a:pt x="1972" y="10691"/>
                  </a:cubicBezTo>
                  <a:cubicBezTo>
                    <a:pt x="1899" y="10663"/>
                    <a:pt x="1899" y="10663"/>
                    <a:pt x="1899" y="10663"/>
                  </a:cubicBezTo>
                  <a:cubicBezTo>
                    <a:pt x="1899" y="10663"/>
                    <a:pt x="1899" y="10663"/>
                    <a:pt x="1899" y="10663"/>
                  </a:cubicBezTo>
                  <a:cubicBezTo>
                    <a:pt x="1899" y="10634"/>
                    <a:pt x="1899" y="10634"/>
                    <a:pt x="1899" y="10634"/>
                  </a:cubicBezTo>
                  <a:cubicBezTo>
                    <a:pt x="1855" y="10474"/>
                    <a:pt x="1855" y="10474"/>
                    <a:pt x="1855" y="10474"/>
                  </a:cubicBezTo>
                  <a:cubicBezTo>
                    <a:pt x="1869" y="10402"/>
                    <a:pt x="1869" y="10402"/>
                    <a:pt x="1869" y="10402"/>
                  </a:cubicBezTo>
                  <a:cubicBezTo>
                    <a:pt x="1913" y="10446"/>
                    <a:pt x="1913" y="10446"/>
                    <a:pt x="1913" y="10446"/>
                  </a:cubicBezTo>
                  <a:cubicBezTo>
                    <a:pt x="1957" y="10460"/>
                    <a:pt x="1957" y="10460"/>
                    <a:pt x="1957" y="10460"/>
                  </a:cubicBezTo>
                  <a:cubicBezTo>
                    <a:pt x="2001" y="10417"/>
                    <a:pt x="2001" y="10417"/>
                    <a:pt x="2001" y="10417"/>
                  </a:cubicBezTo>
                  <a:cubicBezTo>
                    <a:pt x="1986" y="10344"/>
                    <a:pt x="1986" y="10344"/>
                    <a:pt x="1986" y="10344"/>
                  </a:cubicBezTo>
                  <a:cubicBezTo>
                    <a:pt x="1986" y="10344"/>
                    <a:pt x="2001" y="10301"/>
                    <a:pt x="2015" y="10301"/>
                  </a:cubicBezTo>
                  <a:cubicBezTo>
                    <a:pt x="2030" y="10315"/>
                    <a:pt x="2118" y="10315"/>
                    <a:pt x="2118" y="10315"/>
                  </a:cubicBezTo>
                  <a:cubicBezTo>
                    <a:pt x="2161" y="10272"/>
                    <a:pt x="2161" y="10272"/>
                    <a:pt x="2161" y="10272"/>
                  </a:cubicBezTo>
                  <a:cubicBezTo>
                    <a:pt x="2161" y="10185"/>
                    <a:pt x="2161" y="10185"/>
                    <a:pt x="2161" y="10185"/>
                  </a:cubicBezTo>
                  <a:cubicBezTo>
                    <a:pt x="2205" y="10127"/>
                    <a:pt x="2205" y="10127"/>
                    <a:pt x="2205" y="10127"/>
                  </a:cubicBezTo>
                  <a:cubicBezTo>
                    <a:pt x="2293" y="10113"/>
                    <a:pt x="2293" y="10113"/>
                    <a:pt x="2293" y="10113"/>
                  </a:cubicBezTo>
                  <a:cubicBezTo>
                    <a:pt x="2293" y="10113"/>
                    <a:pt x="2454" y="10113"/>
                    <a:pt x="2468" y="10127"/>
                  </a:cubicBezTo>
                  <a:cubicBezTo>
                    <a:pt x="2483" y="10127"/>
                    <a:pt x="2556" y="10127"/>
                    <a:pt x="2570" y="10127"/>
                  </a:cubicBezTo>
                  <a:cubicBezTo>
                    <a:pt x="2585" y="10127"/>
                    <a:pt x="2673" y="10127"/>
                    <a:pt x="2673" y="10127"/>
                  </a:cubicBezTo>
                  <a:cubicBezTo>
                    <a:pt x="2702" y="10069"/>
                    <a:pt x="2702" y="10069"/>
                    <a:pt x="2702" y="10069"/>
                  </a:cubicBezTo>
                  <a:cubicBezTo>
                    <a:pt x="2585" y="10040"/>
                    <a:pt x="2585" y="10040"/>
                    <a:pt x="2585" y="10040"/>
                  </a:cubicBezTo>
                  <a:cubicBezTo>
                    <a:pt x="2497" y="10026"/>
                    <a:pt x="2497" y="10026"/>
                    <a:pt x="2497" y="10026"/>
                  </a:cubicBezTo>
                  <a:cubicBezTo>
                    <a:pt x="2454" y="9954"/>
                    <a:pt x="2454" y="9954"/>
                    <a:pt x="2454" y="9954"/>
                  </a:cubicBezTo>
                  <a:cubicBezTo>
                    <a:pt x="2366" y="9954"/>
                    <a:pt x="2366" y="9954"/>
                    <a:pt x="2366" y="9954"/>
                  </a:cubicBezTo>
                  <a:cubicBezTo>
                    <a:pt x="2249" y="9983"/>
                    <a:pt x="2249" y="9983"/>
                    <a:pt x="2249" y="9983"/>
                  </a:cubicBezTo>
                  <a:cubicBezTo>
                    <a:pt x="2176" y="9997"/>
                    <a:pt x="2176" y="9997"/>
                    <a:pt x="2176" y="9997"/>
                  </a:cubicBezTo>
                  <a:cubicBezTo>
                    <a:pt x="2074" y="9983"/>
                    <a:pt x="2074" y="9983"/>
                    <a:pt x="2074" y="9983"/>
                  </a:cubicBezTo>
                  <a:cubicBezTo>
                    <a:pt x="2045" y="9939"/>
                    <a:pt x="2045" y="9939"/>
                    <a:pt x="2045" y="9939"/>
                  </a:cubicBezTo>
                  <a:cubicBezTo>
                    <a:pt x="2045" y="9939"/>
                    <a:pt x="1972" y="9925"/>
                    <a:pt x="1957" y="9925"/>
                  </a:cubicBezTo>
                  <a:cubicBezTo>
                    <a:pt x="1942" y="9925"/>
                    <a:pt x="1928" y="9925"/>
                    <a:pt x="1913" y="9910"/>
                  </a:cubicBezTo>
                  <a:cubicBezTo>
                    <a:pt x="1884" y="9910"/>
                    <a:pt x="1840" y="9809"/>
                    <a:pt x="1840" y="9809"/>
                  </a:cubicBezTo>
                  <a:cubicBezTo>
                    <a:pt x="1840" y="9751"/>
                    <a:pt x="1840" y="9751"/>
                    <a:pt x="1840" y="9751"/>
                  </a:cubicBezTo>
                  <a:cubicBezTo>
                    <a:pt x="1884" y="9809"/>
                    <a:pt x="1884" y="9809"/>
                    <a:pt x="1884" y="9809"/>
                  </a:cubicBezTo>
                  <a:cubicBezTo>
                    <a:pt x="1884" y="9809"/>
                    <a:pt x="1913" y="9823"/>
                    <a:pt x="1913" y="9809"/>
                  </a:cubicBezTo>
                  <a:cubicBezTo>
                    <a:pt x="1913" y="9795"/>
                    <a:pt x="1899" y="9708"/>
                    <a:pt x="1899" y="9708"/>
                  </a:cubicBezTo>
                  <a:cubicBezTo>
                    <a:pt x="1899" y="9708"/>
                    <a:pt x="1913" y="9621"/>
                    <a:pt x="1869" y="9635"/>
                  </a:cubicBezTo>
                  <a:cubicBezTo>
                    <a:pt x="1826" y="9650"/>
                    <a:pt x="1782" y="9679"/>
                    <a:pt x="1782" y="9708"/>
                  </a:cubicBezTo>
                  <a:cubicBezTo>
                    <a:pt x="1782" y="9722"/>
                    <a:pt x="1753" y="9766"/>
                    <a:pt x="1753" y="9795"/>
                  </a:cubicBezTo>
                  <a:cubicBezTo>
                    <a:pt x="1738" y="9809"/>
                    <a:pt x="1723" y="9823"/>
                    <a:pt x="1709" y="9838"/>
                  </a:cubicBezTo>
                  <a:cubicBezTo>
                    <a:pt x="1694" y="9852"/>
                    <a:pt x="1621" y="9867"/>
                    <a:pt x="1621" y="9867"/>
                  </a:cubicBezTo>
                  <a:cubicBezTo>
                    <a:pt x="1563" y="9867"/>
                    <a:pt x="1563" y="9867"/>
                    <a:pt x="1563" y="9867"/>
                  </a:cubicBezTo>
                  <a:cubicBezTo>
                    <a:pt x="1606" y="9809"/>
                    <a:pt x="1606" y="9809"/>
                    <a:pt x="1606" y="9809"/>
                  </a:cubicBezTo>
                  <a:cubicBezTo>
                    <a:pt x="1636" y="9737"/>
                    <a:pt x="1636" y="9737"/>
                    <a:pt x="1636" y="9737"/>
                  </a:cubicBezTo>
                  <a:cubicBezTo>
                    <a:pt x="1636" y="9737"/>
                    <a:pt x="1709" y="9606"/>
                    <a:pt x="1709" y="9577"/>
                  </a:cubicBezTo>
                  <a:cubicBezTo>
                    <a:pt x="1723" y="9534"/>
                    <a:pt x="1738" y="9505"/>
                    <a:pt x="1753" y="9462"/>
                  </a:cubicBezTo>
                  <a:cubicBezTo>
                    <a:pt x="1767" y="9433"/>
                    <a:pt x="1811" y="9418"/>
                    <a:pt x="1811" y="9418"/>
                  </a:cubicBezTo>
                  <a:cubicBezTo>
                    <a:pt x="1855" y="9274"/>
                    <a:pt x="1855" y="9274"/>
                    <a:pt x="1855" y="9274"/>
                  </a:cubicBezTo>
                  <a:cubicBezTo>
                    <a:pt x="2045" y="8898"/>
                    <a:pt x="2045" y="8898"/>
                    <a:pt x="2045" y="8898"/>
                  </a:cubicBezTo>
                  <a:cubicBezTo>
                    <a:pt x="2045" y="8898"/>
                    <a:pt x="2074" y="8782"/>
                    <a:pt x="2088" y="8767"/>
                  </a:cubicBezTo>
                  <a:cubicBezTo>
                    <a:pt x="2088" y="8738"/>
                    <a:pt x="2132" y="8652"/>
                    <a:pt x="2132" y="8623"/>
                  </a:cubicBezTo>
                  <a:cubicBezTo>
                    <a:pt x="2132" y="8594"/>
                    <a:pt x="2176" y="8492"/>
                    <a:pt x="2176" y="8492"/>
                  </a:cubicBezTo>
                  <a:cubicBezTo>
                    <a:pt x="2176" y="8492"/>
                    <a:pt x="2220" y="8333"/>
                    <a:pt x="2220" y="8304"/>
                  </a:cubicBezTo>
                  <a:cubicBezTo>
                    <a:pt x="2220" y="8275"/>
                    <a:pt x="2249" y="8261"/>
                    <a:pt x="2278" y="8246"/>
                  </a:cubicBezTo>
                  <a:cubicBezTo>
                    <a:pt x="2293" y="8232"/>
                    <a:pt x="2337" y="8102"/>
                    <a:pt x="2337" y="8073"/>
                  </a:cubicBezTo>
                  <a:cubicBezTo>
                    <a:pt x="2351" y="8044"/>
                    <a:pt x="2381" y="7784"/>
                    <a:pt x="2381" y="7784"/>
                  </a:cubicBezTo>
                  <a:cubicBezTo>
                    <a:pt x="2351" y="7610"/>
                    <a:pt x="2351" y="7610"/>
                    <a:pt x="2351" y="7610"/>
                  </a:cubicBezTo>
                  <a:cubicBezTo>
                    <a:pt x="2264" y="7538"/>
                    <a:pt x="2264" y="7538"/>
                    <a:pt x="2264" y="7538"/>
                  </a:cubicBezTo>
                  <a:cubicBezTo>
                    <a:pt x="2176" y="7494"/>
                    <a:pt x="2176" y="7494"/>
                    <a:pt x="2176" y="7494"/>
                  </a:cubicBezTo>
                  <a:cubicBezTo>
                    <a:pt x="2176" y="7494"/>
                    <a:pt x="2074" y="7436"/>
                    <a:pt x="2059" y="7422"/>
                  </a:cubicBezTo>
                  <a:cubicBezTo>
                    <a:pt x="2045" y="7407"/>
                    <a:pt x="1986" y="7378"/>
                    <a:pt x="1972" y="7378"/>
                  </a:cubicBezTo>
                  <a:cubicBezTo>
                    <a:pt x="1942" y="7364"/>
                    <a:pt x="1869" y="7349"/>
                    <a:pt x="1855" y="7349"/>
                  </a:cubicBezTo>
                  <a:cubicBezTo>
                    <a:pt x="1840" y="7349"/>
                    <a:pt x="1782" y="7306"/>
                    <a:pt x="1738" y="7277"/>
                  </a:cubicBezTo>
                  <a:cubicBezTo>
                    <a:pt x="1694" y="7248"/>
                    <a:pt x="1636" y="7176"/>
                    <a:pt x="1636" y="7176"/>
                  </a:cubicBezTo>
                  <a:cubicBezTo>
                    <a:pt x="1709" y="7060"/>
                    <a:pt x="1709" y="7060"/>
                    <a:pt x="1709" y="7060"/>
                  </a:cubicBezTo>
                  <a:cubicBezTo>
                    <a:pt x="1709" y="7060"/>
                    <a:pt x="1723" y="6973"/>
                    <a:pt x="1723" y="6944"/>
                  </a:cubicBezTo>
                  <a:cubicBezTo>
                    <a:pt x="1723" y="6930"/>
                    <a:pt x="1723" y="6887"/>
                    <a:pt x="1723" y="6887"/>
                  </a:cubicBezTo>
                  <a:cubicBezTo>
                    <a:pt x="1694" y="6829"/>
                    <a:pt x="1694" y="6829"/>
                    <a:pt x="1694" y="6829"/>
                  </a:cubicBezTo>
                  <a:cubicBezTo>
                    <a:pt x="1650" y="6756"/>
                    <a:pt x="1650" y="6756"/>
                    <a:pt x="1650" y="6756"/>
                  </a:cubicBezTo>
                  <a:cubicBezTo>
                    <a:pt x="1650" y="6756"/>
                    <a:pt x="1592" y="6742"/>
                    <a:pt x="1563" y="6742"/>
                  </a:cubicBezTo>
                  <a:cubicBezTo>
                    <a:pt x="1548" y="6756"/>
                    <a:pt x="1548" y="6713"/>
                    <a:pt x="1533" y="6684"/>
                  </a:cubicBezTo>
                  <a:cubicBezTo>
                    <a:pt x="1533" y="6655"/>
                    <a:pt x="1504" y="6655"/>
                    <a:pt x="1475" y="6641"/>
                  </a:cubicBezTo>
                  <a:cubicBezTo>
                    <a:pt x="1431" y="6612"/>
                    <a:pt x="1417" y="6568"/>
                    <a:pt x="1417" y="6568"/>
                  </a:cubicBezTo>
                  <a:cubicBezTo>
                    <a:pt x="1460" y="6481"/>
                    <a:pt x="1460" y="6481"/>
                    <a:pt x="1460" y="6481"/>
                  </a:cubicBezTo>
                  <a:cubicBezTo>
                    <a:pt x="1460" y="6481"/>
                    <a:pt x="1446" y="6438"/>
                    <a:pt x="1431" y="6424"/>
                  </a:cubicBezTo>
                  <a:cubicBezTo>
                    <a:pt x="1431" y="6409"/>
                    <a:pt x="1373" y="6409"/>
                    <a:pt x="1373" y="6409"/>
                  </a:cubicBezTo>
                  <a:cubicBezTo>
                    <a:pt x="1271" y="6395"/>
                    <a:pt x="1271" y="6395"/>
                    <a:pt x="1271" y="6395"/>
                  </a:cubicBezTo>
                  <a:cubicBezTo>
                    <a:pt x="1198" y="6279"/>
                    <a:pt x="1198" y="6279"/>
                    <a:pt x="1198" y="6279"/>
                  </a:cubicBezTo>
                  <a:cubicBezTo>
                    <a:pt x="1198" y="6279"/>
                    <a:pt x="1212" y="6178"/>
                    <a:pt x="1227" y="6163"/>
                  </a:cubicBezTo>
                  <a:cubicBezTo>
                    <a:pt x="1241" y="6134"/>
                    <a:pt x="1227" y="6120"/>
                    <a:pt x="1227" y="6120"/>
                  </a:cubicBezTo>
                  <a:cubicBezTo>
                    <a:pt x="1154" y="6091"/>
                    <a:pt x="1154" y="6091"/>
                    <a:pt x="1154" y="6091"/>
                  </a:cubicBezTo>
                  <a:cubicBezTo>
                    <a:pt x="1183" y="6033"/>
                    <a:pt x="1183" y="6033"/>
                    <a:pt x="1183" y="6033"/>
                  </a:cubicBezTo>
                  <a:cubicBezTo>
                    <a:pt x="1139" y="5946"/>
                    <a:pt x="1139" y="5946"/>
                    <a:pt x="1139" y="5946"/>
                  </a:cubicBezTo>
                  <a:cubicBezTo>
                    <a:pt x="1154" y="5888"/>
                    <a:pt x="1154" y="5888"/>
                    <a:pt x="1154" y="5888"/>
                  </a:cubicBezTo>
                  <a:cubicBezTo>
                    <a:pt x="1110" y="5830"/>
                    <a:pt x="1110" y="5830"/>
                    <a:pt x="1110" y="5830"/>
                  </a:cubicBezTo>
                  <a:cubicBezTo>
                    <a:pt x="1110" y="5787"/>
                    <a:pt x="1110" y="5787"/>
                    <a:pt x="1110" y="5787"/>
                  </a:cubicBezTo>
                  <a:cubicBezTo>
                    <a:pt x="1154" y="5715"/>
                    <a:pt x="1154" y="5715"/>
                    <a:pt x="1154" y="5715"/>
                  </a:cubicBezTo>
                  <a:cubicBezTo>
                    <a:pt x="1168" y="5642"/>
                    <a:pt x="1168" y="5642"/>
                    <a:pt x="1168" y="5642"/>
                  </a:cubicBezTo>
                  <a:cubicBezTo>
                    <a:pt x="1110" y="5541"/>
                    <a:pt x="1110" y="5541"/>
                    <a:pt x="1110" y="5541"/>
                  </a:cubicBezTo>
                  <a:cubicBezTo>
                    <a:pt x="1110" y="5541"/>
                    <a:pt x="1066" y="5469"/>
                    <a:pt x="1066" y="5454"/>
                  </a:cubicBezTo>
                  <a:cubicBezTo>
                    <a:pt x="1066" y="5440"/>
                    <a:pt x="949" y="5367"/>
                    <a:pt x="949" y="5367"/>
                  </a:cubicBezTo>
                  <a:cubicBezTo>
                    <a:pt x="905" y="5266"/>
                    <a:pt x="905" y="5266"/>
                    <a:pt x="905" y="5266"/>
                  </a:cubicBezTo>
                  <a:cubicBezTo>
                    <a:pt x="789" y="5136"/>
                    <a:pt x="789" y="5136"/>
                    <a:pt x="789" y="5136"/>
                  </a:cubicBezTo>
                  <a:cubicBezTo>
                    <a:pt x="701" y="5035"/>
                    <a:pt x="701" y="5035"/>
                    <a:pt x="701" y="5035"/>
                  </a:cubicBezTo>
                  <a:cubicBezTo>
                    <a:pt x="643" y="4977"/>
                    <a:pt x="643" y="4977"/>
                    <a:pt x="643" y="4977"/>
                  </a:cubicBezTo>
                  <a:cubicBezTo>
                    <a:pt x="599" y="4876"/>
                    <a:pt x="599" y="4876"/>
                    <a:pt x="599" y="4876"/>
                  </a:cubicBezTo>
                  <a:cubicBezTo>
                    <a:pt x="599" y="4876"/>
                    <a:pt x="628" y="4760"/>
                    <a:pt x="628" y="4745"/>
                  </a:cubicBezTo>
                  <a:cubicBezTo>
                    <a:pt x="628" y="4716"/>
                    <a:pt x="672" y="4615"/>
                    <a:pt x="672" y="4543"/>
                  </a:cubicBezTo>
                  <a:cubicBezTo>
                    <a:pt x="657" y="4485"/>
                    <a:pt x="701" y="4413"/>
                    <a:pt x="701" y="4413"/>
                  </a:cubicBezTo>
                  <a:cubicBezTo>
                    <a:pt x="716" y="4282"/>
                    <a:pt x="716" y="4282"/>
                    <a:pt x="716" y="4282"/>
                  </a:cubicBezTo>
                  <a:cubicBezTo>
                    <a:pt x="672" y="4239"/>
                    <a:pt x="672" y="4239"/>
                    <a:pt x="672" y="4239"/>
                  </a:cubicBezTo>
                  <a:cubicBezTo>
                    <a:pt x="584" y="4181"/>
                    <a:pt x="584" y="4181"/>
                    <a:pt x="584" y="4181"/>
                  </a:cubicBezTo>
                  <a:cubicBezTo>
                    <a:pt x="526" y="4109"/>
                    <a:pt x="526" y="4109"/>
                    <a:pt x="526" y="4109"/>
                  </a:cubicBezTo>
                  <a:cubicBezTo>
                    <a:pt x="526" y="4109"/>
                    <a:pt x="497" y="4022"/>
                    <a:pt x="394" y="3993"/>
                  </a:cubicBezTo>
                  <a:cubicBezTo>
                    <a:pt x="292" y="3979"/>
                    <a:pt x="277" y="3993"/>
                    <a:pt x="277" y="3993"/>
                  </a:cubicBezTo>
                  <a:cubicBezTo>
                    <a:pt x="175" y="3935"/>
                    <a:pt x="175" y="3935"/>
                    <a:pt x="175" y="3935"/>
                  </a:cubicBezTo>
                  <a:cubicBezTo>
                    <a:pt x="102" y="3819"/>
                    <a:pt x="102" y="3819"/>
                    <a:pt x="102" y="3819"/>
                  </a:cubicBezTo>
                  <a:cubicBezTo>
                    <a:pt x="44" y="3733"/>
                    <a:pt x="44" y="3733"/>
                    <a:pt x="44" y="3733"/>
                  </a:cubicBezTo>
                  <a:cubicBezTo>
                    <a:pt x="88" y="3675"/>
                    <a:pt x="88" y="3675"/>
                    <a:pt x="88" y="3675"/>
                  </a:cubicBezTo>
                  <a:cubicBezTo>
                    <a:pt x="102" y="3588"/>
                    <a:pt x="102" y="3588"/>
                    <a:pt x="102" y="3588"/>
                  </a:cubicBezTo>
                  <a:cubicBezTo>
                    <a:pt x="102" y="3530"/>
                    <a:pt x="102" y="3530"/>
                    <a:pt x="102" y="3530"/>
                  </a:cubicBezTo>
                  <a:cubicBezTo>
                    <a:pt x="102" y="3458"/>
                    <a:pt x="102" y="3458"/>
                    <a:pt x="102" y="3458"/>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14"/>
                    <a:pt x="0" y="3414"/>
                    <a:pt x="0" y="3414"/>
                  </a:cubicBezTo>
                  <a:cubicBezTo>
                    <a:pt x="0" y="3414"/>
                    <a:pt x="0" y="3414"/>
                    <a:pt x="0" y="3414"/>
                  </a:cubicBezTo>
                  <a:cubicBezTo>
                    <a:pt x="0" y="3414"/>
                    <a:pt x="0" y="3414"/>
                    <a:pt x="0" y="3414"/>
                  </a:cubicBezTo>
                  <a:cubicBezTo>
                    <a:pt x="0" y="3414"/>
                    <a:pt x="0" y="3414"/>
                    <a:pt x="0"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00"/>
                    <a:pt x="15" y="3400"/>
                    <a:pt x="15" y="3400"/>
                  </a:cubicBezTo>
                  <a:cubicBezTo>
                    <a:pt x="15" y="3400"/>
                    <a:pt x="15" y="3400"/>
                    <a:pt x="15" y="3400"/>
                  </a:cubicBezTo>
                  <a:cubicBezTo>
                    <a:pt x="15" y="3400"/>
                    <a:pt x="15" y="3400"/>
                    <a:pt x="15" y="3400"/>
                  </a:cubicBezTo>
                  <a:cubicBezTo>
                    <a:pt x="29" y="3400"/>
                    <a:pt x="29" y="3400"/>
                    <a:pt x="29" y="3400"/>
                  </a:cubicBezTo>
                  <a:cubicBezTo>
                    <a:pt x="29" y="3400"/>
                    <a:pt x="29" y="3400"/>
                    <a:pt x="29" y="3400"/>
                  </a:cubicBezTo>
                  <a:cubicBezTo>
                    <a:pt x="29" y="3400"/>
                    <a:pt x="29" y="3400"/>
                    <a:pt x="29" y="3400"/>
                  </a:cubicBezTo>
                  <a:cubicBezTo>
                    <a:pt x="29" y="3400"/>
                    <a:pt x="29" y="3400"/>
                    <a:pt x="29" y="3400"/>
                  </a:cubicBezTo>
                  <a:cubicBezTo>
                    <a:pt x="29" y="3400"/>
                    <a:pt x="29" y="3400"/>
                    <a:pt x="29" y="3400"/>
                  </a:cubicBezTo>
                  <a:cubicBezTo>
                    <a:pt x="29" y="3385"/>
                    <a:pt x="29" y="3385"/>
                    <a:pt x="29" y="3385"/>
                  </a:cubicBezTo>
                  <a:cubicBezTo>
                    <a:pt x="29" y="3385"/>
                    <a:pt x="29" y="3385"/>
                    <a:pt x="29" y="3385"/>
                  </a:cubicBezTo>
                  <a:cubicBezTo>
                    <a:pt x="29" y="3385"/>
                    <a:pt x="29" y="3385"/>
                    <a:pt x="29" y="3385"/>
                  </a:cubicBezTo>
                  <a:cubicBezTo>
                    <a:pt x="44" y="3385"/>
                    <a:pt x="44" y="3385"/>
                    <a:pt x="44" y="3385"/>
                  </a:cubicBezTo>
                  <a:cubicBezTo>
                    <a:pt x="44" y="3385"/>
                    <a:pt x="44" y="3385"/>
                    <a:pt x="44" y="3385"/>
                  </a:cubicBezTo>
                  <a:cubicBezTo>
                    <a:pt x="44" y="3385"/>
                    <a:pt x="44" y="3385"/>
                    <a:pt x="44" y="3385"/>
                  </a:cubicBezTo>
                  <a:cubicBezTo>
                    <a:pt x="44" y="3385"/>
                    <a:pt x="44" y="3385"/>
                    <a:pt x="44" y="3385"/>
                  </a:cubicBezTo>
                  <a:cubicBezTo>
                    <a:pt x="44" y="3371"/>
                    <a:pt x="44" y="3371"/>
                    <a:pt x="44" y="3371"/>
                  </a:cubicBezTo>
                  <a:cubicBezTo>
                    <a:pt x="58" y="3371"/>
                    <a:pt x="58" y="3371"/>
                    <a:pt x="58" y="3371"/>
                  </a:cubicBezTo>
                  <a:cubicBezTo>
                    <a:pt x="58" y="3371"/>
                    <a:pt x="58" y="3371"/>
                    <a:pt x="58" y="3371"/>
                  </a:cubicBezTo>
                  <a:cubicBezTo>
                    <a:pt x="58" y="3371"/>
                    <a:pt x="58" y="3371"/>
                    <a:pt x="58" y="3371"/>
                  </a:cubicBezTo>
                  <a:cubicBezTo>
                    <a:pt x="58" y="3371"/>
                    <a:pt x="58" y="3371"/>
                    <a:pt x="58" y="3371"/>
                  </a:cubicBezTo>
                  <a:cubicBezTo>
                    <a:pt x="58" y="3356"/>
                    <a:pt x="58" y="3356"/>
                    <a:pt x="58" y="3356"/>
                  </a:cubicBezTo>
                  <a:cubicBezTo>
                    <a:pt x="58" y="3356"/>
                    <a:pt x="58" y="3356"/>
                    <a:pt x="58"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88" y="3328"/>
                    <a:pt x="102" y="3313"/>
                    <a:pt x="117" y="3313"/>
                  </a:cubicBezTo>
                  <a:cubicBezTo>
                    <a:pt x="117" y="3313"/>
                    <a:pt x="117" y="3299"/>
                    <a:pt x="117" y="3299"/>
                  </a:cubicBezTo>
                  <a:cubicBezTo>
                    <a:pt x="131" y="3299"/>
                    <a:pt x="146" y="3299"/>
                    <a:pt x="175" y="3299"/>
                  </a:cubicBezTo>
                  <a:cubicBezTo>
                    <a:pt x="175" y="3299"/>
                    <a:pt x="204" y="3168"/>
                    <a:pt x="190" y="3125"/>
                  </a:cubicBezTo>
                  <a:cubicBezTo>
                    <a:pt x="175" y="3067"/>
                    <a:pt x="248" y="3009"/>
                    <a:pt x="248" y="3009"/>
                  </a:cubicBezTo>
                  <a:cubicBezTo>
                    <a:pt x="351" y="2908"/>
                    <a:pt x="351" y="2908"/>
                    <a:pt x="351" y="2908"/>
                  </a:cubicBezTo>
                  <a:cubicBezTo>
                    <a:pt x="336" y="2792"/>
                    <a:pt x="336" y="2792"/>
                    <a:pt x="336" y="2792"/>
                  </a:cubicBezTo>
                  <a:cubicBezTo>
                    <a:pt x="453" y="2807"/>
                    <a:pt x="453" y="2807"/>
                    <a:pt x="453" y="2807"/>
                  </a:cubicBezTo>
                  <a:cubicBezTo>
                    <a:pt x="453" y="2807"/>
                    <a:pt x="540" y="2763"/>
                    <a:pt x="511" y="2705"/>
                  </a:cubicBezTo>
                  <a:cubicBezTo>
                    <a:pt x="497" y="2676"/>
                    <a:pt x="482" y="2633"/>
                    <a:pt x="467" y="2604"/>
                  </a:cubicBezTo>
                  <a:cubicBezTo>
                    <a:pt x="482" y="2590"/>
                    <a:pt x="482" y="2590"/>
                    <a:pt x="482" y="2575"/>
                  </a:cubicBezTo>
                  <a:cubicBezTo>
                    <a:pt x="482" y="2575"/>
                    <a:pt x="511" y="2532"/>
                    <a:pt x="511" y="2532"/>
                  </a:cubicBezTo>
                  <a:cubicBezTo>
                    <a:pt x="555" y="2532"/>
                    <a:pt x="555" y="2532"/>
                    <a:pt x="555" y="2532"/>
                  </a:cubicBezTo>
                  <a:cubicBezTo>
                    <a:pt x="599" y="2546"/>
                    <a:pt x="599" y="2546"/>
                    <a:pt x="599" y="2546"/>
                  </a:cubicBezTo>
                  <a:cubicBezTo>
                    <a:pt x="599" y="2546"/>
                    <a:pt x="628" y="2561"/>
                    <a:pt x="643" y="2561"/>
                  </a:cubicBezTo>
                  <a:cubicBezTo>
                    <a:pt x="672" y="2561"/>
                    <a:pt x="716" y="2532"/>
                    <a:pt x="716" y="2532"/>
                  </a:cubicBezTo>
                  <a:cubicBezTo>
                    <a:pt x="672" y="2474"/>
                    <a:pt x="672" y="2474"/>
                    <a:pt x="672" y="2474"/>
                  </a:cubicBezTo>
                  <a:cubicBezTo>
                    <a:pt x="686" y="2416"/>
                    <a:pt x="686" y="2416"/>
                    <a:pt x="686" y="2416"/>
                  </a:cubicBezTo>
                  <a:cubicBezTo>
                    <a:pt x="745" y="2416"/>
                    <a:pt x="745" y="2416"/>
                    <a:pt x="745" y="2416"/>
                  </a:cubicBezTo>
                  <a:cubicBezTo>
                    <a:pt x="774" y="2416"/>
                    <a:pt x="774" y="2416"/>
                    <a:pt x="774" y="2416"/>
                  </a:cubicBezTo>
                  <a:cubicBezTo>
                    <a:pt x="716" y="2329"/>
                    <a:pt x="716" y="2329"/>
                    <a:pt x="716" y="2329"/>
                  </a:cubicBezTo>
                  <a:cubicBezTo>
                    <a:pt x="716" y="2329"/>
                    <a:pt x="730" y="2286"/>
                    <a:pt x="759" y="2300"/>
                  </a:cubicBezTo>
                  <a:cubicBezTo>
                    <a:pt x="774" y="2300"/>
                    <a:pt x="789" y="2329"/>
                    <a:pt x="803" y="2329"/>
                  </a:cubicBezTo>
                  <a:cubicBezTo>
                    <a:pt x="818" y="2329"/>
                    <a:pt x="862" y="2344"/>
                    <a:pt x="862" y="2344"/>
                  </a:cubicBezTo>
                  <a:cubicBezTo>
                    <a:pt x="920" y="2358"/>
                    <a:pt x="920" y="2358"/>
                    <a:pt x="920" y="2358"/>
                  </a:cubicBezTo>
                  <a:cubicBezTo>
                    <a:pt x="978" y="2358"/>
                    <a:pt x="978" y="2358"/>
                    <a:pt x="978" y="2358"/>
                  </a:cubicBezTo>
                  <a:cubicBezTo>
                    <a:pt x="1052" y="2358"/>
                    <a:pt x="1052" y="2358"/>
                    <a:pt x="1052" y="2358"/>
                  </a:cubicBezTo>
                  <a:cubicBezTo>
                    <a:pt x="1081" y="2402"/>
                    <a:pt x="1081" y="2402"/>
                    <a:pt x="1081" y="2402"/>
                  </a:cubicBezTo>
                  <a:cubicBezTo>
                    <a:pt x="1081" y="2402"/>
                    <a:pt x="1095" y="2431"/>
                    <a:pt x="1081" y="2445"/>
                  </a:cubicBezTo>
                  <a:cubicBezTo>
                    <a:pt x="1081" y="2459"/>
                    <a:pt x="1066" y="2503"/>
                    <a:pt x="1066" y="2503"/>
                  </a:cubicBezTo>
                  <a:cubicBezTo>
                    <a:pt x="1052" y="2503"/>
                    <a:pt x="1037" y="2503"/>
                    <a:pt x="1022" y="2517"/>
                  </a:cubicBezTo>
                  <a:cubicBezTo>
                    <a:pt x="1008" y="2517"/>
                    <a:pt x="935" y="2517"/>
                    <a:pt x="935" y="2517"/>
                  </a:cubicBezTo>
                  <a:cubicBezTo>
                    <a:pt x="876" y="2517"/>
                    <a:pt x="876" y="2517"/>
                    <a:pt x="876" y="2517"/>
                  </a:cubicBezTo>
                  <a:cubicBezTo>
                    <a:pt x="832" y="2517"/>
                    <a:pt x="832" y="2517"/>
                    <a:pt x="832" y="2517"/>
                  </a:cubicBezTo>
                  <a:cubicBezTo>
                    <a:pt x="818" y="2546"/>
                    <a:pt x="818" y="2546"/>
                    <a:pt x="818" y="2546"/>
                  </a:cubicBezTo>
                  <a:cubicBezTo>
                    <a:pt x="818" y="2546"/>
                    <a:pt x="862" y="2561"/>
                    <a:pt x="876" y="2575"/>
                  </a:cubicBezTo>
                  <a:cubicBezTo>
                    <a:pt x="905" y="2575"/>
                    <a:pt x="905" y="2575"/>
                    <a:pt x="905" y="2575"/>
                  </a:cubicBezTo>
                  <a:cubicBezTo>
                    <a:pt x="920" y="2590"/>
                    <a:pt x="949" y="2619"/>
                    <a:pt x="949" y="2619"/>
                  </a:cubicBezTo>
                  <a:cubicBezTo>
                    <a:pt x="935" y="2662"/>
                    <a:pt x="935" y="2662"/>
                    <a:pt x="935" y="2662"/>
                  </a:cubicBezTo>
                  <a:cubicBezTo>
                    <a:pt x="935" y="2662"/>
                    <a:pt x="978" y="2604"/>
                    <a:pt x="978" y="2604"/>
                  </a:cubicBezTo>
                  <a:cubicBezTo>
                    <a:pt x="993" y="2604"/>
                    <a:pt x="1066" y="2604"/>
                    <a:pt x="1066" y="2604"/>
                  </a:cubicBezTo>
                  <a:cubicBezTo>
                    <a:pt x="1066" y="2604"/>
                    <a:pt x="1125" y="2575"/>
                    <a:pt x="1139" y="2575"/>
                  </a:cubicBezTo>
                  <a:cubicBezTo>
                    <a:pt x="1139" y="2575"/>
                    <a:pt x="1125" y="2619"/>
                    <a:pt x="1125" y="2619"/>
                  </a:cubicBezTo>
                  <a:cubicBezTo>
                    <a:pt x="1183" y="2590"/>
                    <a:pt x="1183" y="2590"/>
                    <a:pt x="1183" y="2590"/>
                  </a:cubicBezTo>
                  <a:cubicBezTo>
                    <a:pt x="1241" y="2561"/>
                    <a:pt x="1241" y="2561"/>
                    <a:pt x="1241" y="2561"/>
                  </a:cubicBezTo>
                  <a:cubicBezTo>
                    <a:pt x="1271" y="2561"/>
                    <a:pt x="1271" y="2561"/>
                    <a:pt x="1271" y="2561"/>
                  </a:cubicBezTo>
                  <a:cubicBezTo>
                    <a:pt x="1271" y="2561"/>
                    <a:pt x="1285" y="2604"/>
                    <a:pt x="1285" y="2619"/>
                  </a:cubicBezTo>
                  <a:cubicBezTo>
                    <a:pt x="1271" y="2633"/>
                    <a:pt x="1271" y="2633"/>
                    <a:pt x="1271" y="2662"/>
                  </a:cubicBezTo>
                  <a:cubicBezTo>
                    <a:pt x="1271" y="2676"/>
                    <a:pt x="1256" y="2691"/>
                    <a:pt x="1271" y="2705"/>
                  </a:cubicBezTo>
                  <a:cubicBezTo>
                    <a:pt x="1271" y="2705"/>
                    <a:pt x="1271" y="2720"/>
                    <a:pt x="1285" y="2720"/>
                  </a:cubicBezTo>
                  <a:cubicBezTo>
                    <a:pt x="1300" y="2734"/>
                    <a:pt x="1314" y="2720"/>
                    <a:pt x="1314" y="2720"/>
                  </a:cubicBezTo>
                  <a:cubicBezTo>
                    <a:pt x="1344" y="2648"/>
                    <a:pt x="1344" y="2648"/>
                    <a:pt x="1344" y="2648"/>
                  </a:cubicBezTo>
                  <a:cubicBezTo>
                    <a:pt x="1344" y="2648"/>
                    <a:pt x="1373" y="2619"/>
                    <a:pt x="1373" y="2619"/>
                  </a:cubicBezTo>
                  <a:cubicBezTo>
                    <a:pt x="1387" y="2619"/>
                    <a:pt x="1431" y="2590"/>
                    <a:pt x="1431" y="2590"/>
                  </a:cubicBezTo>
                  <a:cubicBezTo>
                    <a:pt x="1504" y="2590"/>
                    <a:pt x="1504" y="2590"/>
                    <a:pt x="1504" y="2590"/>
                  </a:cubicBezTo>
                  <a:cubicBezTo>
                    <a:pt x="1504" y="2590"/>
                    <a:pt x="1577" y="2575"/>
                    <a:pt x="1592" y="2575"/>
                  </a:cubicBezTo>
                  <a:cubicBezTo>
                    <a:pt x="1592" y="2590"/>
                    <a:pt x="1621" y="2590"/>
                    <a:pt x="1636" y="2590"/>
                  </a:cubicBezTo>
                  <a:cubicBezTo>
                    <a:pt x="1665" y="2590"/>
                    <a:pt x="1680" y="2590"/>
                    <a:pt x="1709" y="2590"/>
                  </a:cubicBezTo>
                  <a:cubicBezTo>
                    <a:pt x="1723" y="2590"/>
                    <a:pt x="1738" y="2590"/>
                    <a:pt x="1738" y="2590"/>
                  </a:cubicBezTo>
                  <a:cubicBezTo>
                    <a:pt x="1738" y="2590"/>
                    <a:pt x="1767" y="2561"/>
                    <a:pt x="1767" y="2561"/>
                  </a:cubicBezTo>
                  <a:cubicBezTo>
                    <a:pt x="1767" y="2546"/>
                    <a:pt x="1767" y="2532"/>
                    <a:pt x="1767" y="2532"/>
                  </a:cubicBezTo>
                  <a:cubicBezTo>
                    <a:pt x="1782" y="2517"/>
                    <a:pt x="1796" y="2488"/>
                    <a:pt x="1811" y="2488"/>
                  </a:cubicBezTo>
                  <a:cubicBezTo>
                    <a:pt x="1826" y="2488"/>
                    <a:pt x="2045" y="2517"/>
                    <a:pt x="2045" y="2517"/>
                  </a:cubicBezTo>
                  <a:cubicBezTo>
                    <a:pt x="2234" y="2575"/>
                    <a:pt x="2234" y="2575"/>
                    <a:pt x="2234" y="2575"/>
                  </a:cubicBezTo>
                  <a:cubicBezTo>
                    <a:pt x="2366" y="2604"/>
                    <a:pt x="2366" y="2604"/>
                    <a:pt x="2366" y="2604"/>
                  </a:cubicBezTo>
                  <a:cubicBezTo>
                    <a:pt x="2366" y="2604"/>
                    <a:pt x="2468" y="2662"/>
                    <a:pt x="2483" y="2662"/>
                  </a:cubicBezTo>
                  <a:cubicBezTo>
                    <a:pt x="2497" y="2676"/>
                    <a:pt x="2687" y="2705"/>
                    <a:pt x="2687" y="2705"/>
                  </a:cubicBezTo>
                  <a:cubicBezTo>
                    <a:pt x="2775" y="2763"/>
                    <a:pt x="2775" y="2763"/>
                    <a:pt x="2775" y="2763"/>
                  </a:cubicBezTo>
                  <a:cubicBezTo>
                    <a:pt x="2775" y="2763"/>
                    <a:pt x="2862" y="2792"/>
                    <a:pt x="2862" y="2807"/>
                  </a:cubicBezTo>
                  <a:cubicBezTo>
                    <a:pt x="2862" y="2821"/>
                    <a:pt x="2921" y="2850"/>
                    <a:pt x="2921" y="2850"/>
                  </a:cubicBezTo>
                  <a:cubicBezTo>
                    <a:pt x="2979" y="2821"/>
                    <a:pt x="2979" y="2821"/>
                    <a:pt x="2979" y="2821"/>
                  </a:cubicBezTo>
                  <a:cubicBezTo>
                    <a:pt x="2979" y="2821"/>
                    <a:pt x="3052" y="2836"/>
                    <a:pt x="3052" y="2836"/>
                  </a:cubicBezTo>
                  <a:cubicBezTo>
                    <a:pt x="3067" y="2850"/>
                    <a:pt x="3213" y="2894"/>
                    <a:pt x="3213" y="2894"/>
                  </a:cubicBezTo>
                  <a:cubicBezTo>
                    <a:pt x="3213" y="2894"/>
                    <a:pt x="3315" y="2922"/>
                    <a:pt x="3330" y="2922"/>
                  </a:cubicBezTo>
                  <a:cubicBezTo>
                    <a:pt x="3344" y="2922"/>
                    <a:pt x="3403" y="2908"/>
                    <a:pt x="3403" y="2908"/>
                  </a:cubicBezTo>
                  <a:cubicBezTo>
                    <a:pt x="3403" y="2865"/>
                    <a:pt x="3403" y="2865"/>
                    <a:pt x="3403" y="2865"/>
                  </a:cubicBezTo>
                  <a:cubicBezTo>
                    <a:pt x="3403" y="2865"/>
                    <a:pt x="3388" y="2836"/>
                    <a:pt x="3417" y="2850"/>
                  </a:cubicBezTo>
                  <a:cubicBezTo>
                    <a:pt x="3447" y="2850"/>
                    <a:pt x="3461" y="2850"/>
                    <a:pt x="3476" y="2865"/>
                  </a:cubicBezTo>
                  <a:cubicBezTo>
                    <a:pt x="3476" y="2879"/>
                    <a:pt x="3505" y="2879"/>
                    <a:pt x="3520" y="2894"/>
                  </a:cubicBezTo>
                  <a:cubicBezTo>
                    <a:pt x="3534" y="2922"/>
                    <a:pt x="3593" y="2937"/>
                    <a:pt x="3593" y="2937"/>
                  </a:cubicBezTo>
                  <a:cubicBezTo>
                    <a:pt x="3666" y="2966"/>
                    <a:pt x="3666" y="2966"/>
                    <a:pt x="3666" y="2966"/>
                  </a:cubicBezTo>
                  <a:cubicBezTo>
                    <a:pt x="3680" y="3009"/>
                    <a:pt x="3680" y="3009"/>
                    <a:pt x="3680" y="3009"/>
                  </a:cubicBezTo>
                  <a:cubicBezTo>
                    <a:pt x="3695" y="3024"/>
                    <a:pt x="3695" y="3024"/>
                    <a:pt x="3695" y="3024"/>
                  </a:cubicBezTo>
                  <a:cubicBezTo>
                    <a:pt x="3710" y="2995"/>
                    <a:pt x="3710" y="2995"/>
                    <a:pt x="3710" y="2995"/>
                  </a:cubicBezTo>
                  <a:cubicBezTo>
                    <a:pt x="3724" y="2980"/>
                    <a:pt x="3739" y="2980"/>
                    <a:pt x="3739" y="2980"/>
                  </a:cubicBezTo>
                  <a:cubicBezTo>
                    <a:pt x="3768" y="2995"/>
                    <a:pt x="3768" y="2995"/>
                    <a:pt x="3768" y="2995"/>
                  </a:cubicBezTo>
                  <a:cubicBezTo>
                    <a:pt x="3768" y="2995"/>
                    <a:pt x="3797" y="2995"/>
                    <a:pt x="3797" y="2995"/>
                  </a:cubicBezTo>
                  <a:cubicBezTo>
                    <a:pt x="3812" y="2995"/>
                    <a:pt x="3856" y="2980"/>
                    <a:pt x="3856" y="2980"/>
                  </a:cubicBezTo>
                  <a:cubicBezTo>
                    <a:pt x="3856" y="2995"/>
                    <a:pt x="3885" y="3024"/>
                    <a:pt x="3899" y="3024"/>
                  </a:cubicBezTo>
                  <a:cubicBezTo>
                    <a:pt x="3899" y="3038"/>
                    <a:pt x="3929" y="3082"/>
                    <a:pt x="3929" y="3082"/>
                  </a:cubicBezTo>
                  <a:cubicBezTo>
                    <a:pt x="3929" y="3082"/>
                    <a:pt x="3929" y="3096"/>
                    <a:pt x="3929" y="3125"/>
                  </a:cubicBezTo>
                  <a:cubicBezTo>
                    <a:pt x="3929" y="3139"/>
                    <a:pt x="3943" y="3154"/>
                    <a:pt x="3943" y="3154"/>
                  </a:cubicBezTo>
                  <a:cubicBezTo>
                    <a:pt x="3972" y="3183"/>
                    <a:pt x="3972" y="3183"/>
                    <a:pt x="3972" y="3183"/>
                  </a:cubicBezTo>
                  <a:cubicBezTo>
                    <a:pt x="4045" y="3299"/>
                    <a:pt x="4045" y="3299"/>
                    <a:pt x="4045" y="3299"/>
                  </a:cubicBezTo>
                  <a:cubicBezTo>
                    <a:pt x="4075" y="3328"/>
                    <a:pt x="4075" y="3328"/>
                    <a:pt x="4075" y="3328"/>
                  </a:cubicBezTo>
                  <a:cubicBezTo>
                    <a:pt x="4104" y="3299"/>
                    <a:pt x="4104" y="3299"/>
                    <a:pt x="4104" y="3299"/>
                  </a:cubicBezTo>
                  <a:cubicBezTo>
                    <a:pt x="4148" y="3299"/>
                    <a:pt x="4148" y="3299"/>
                    <a:pt x="4148" y="3299"/>
                  </a:cubicBezTo>
                  <a:cubicBezTo>
                    <a:pt x="4191" y="3400"/>
                    <a:pt x="4191" y="3400"/>
                    <a:pt x="4191" y="3400"/>
                  </a:cubicBezTo>
                  <a:cubicBezTo>
                    <a:pt x="4235" y="3530"/>
                    <a:pt x="4235" y="3530"/>
                    <a:pt x="4235" y="3530"/>
                  </a:cubicBezTo>
                  <a:cubicBezTo>
                    <a:pt x="4206" y="3704"/>
                    <a:pt x="4206" y="3704"/>
                    <a:pt x="4206" y="3704"/>
                  </a:cubicBezTo>
                  <a:cubicBezTo>
                    <a:pt x="4206" y="3819"/>
                    <a:pt x="4206" y="3819"/>
                    <a:pt x="4206" y="3819"/>
                  </a:cubicBezTo>
                  <a:cubicBezTo>
                    <a:pt x="4206" y="3819"/>
                    <a:pt x="4177" y="3906"/>
                    <a:pt x="4177" y="3921"/>
                  </a:cubicBezTo>
                  <a:cubicBezTo>
                    <a:pt x="4177" y="3950"/>
                    <a:pt x="4104" y="4051"/>
                    <a:pt x="4104" y="4051"/>
                  </a:cubicBezTo>
                  <a:cubicBezTo>
                    <a:pt x="4104" y="4051"/>
                    <a:pt x="4060" y="4138"/>
                    <a:pt x="4045" y="4152"/>
                  </a:cubicBezTo>
                  <a:cubicBezTo>
                    <a:pt x="4031" y="4181"/>
                    <a:pt x="3972" y="4297"/>
                    <a:pt x="3972" y="4297"/>
                  </a:cubicBezTo>
                  <a:cubicBezTo>
                    <a:pt x="3797" y="4470"/>
                    <a:pt x="3797" y="4470"/>
                    <a:pt x="3797" y="4470"/>
                  </a:cubicBezTo>
                  <a:cubicBezTo>
                    <a:pt x="3797" y="4470"/>
                    <a:pt x="3710" y="4514"/>
                    <a:pt x="3680" y="4528"/>
                  </a:cubicBezTo>
                  <a:cubicBezTo>
                    <a:pt x="3666" y="4557"/>
                    <a:pt x="3520" y="4572"/>
                    <a:pt x="3520" y="4572"/>
                  </a:cubicBezTo>
                  <a:cubicBezTo>
                    <a:pt x="3403" y="4572"/>
                    <a:pt x="3403" y="4572"/>
                    <a:pt x="3403" y="4572"/>
                  </a:cubicBezTo>
                  <a:cubicBezTo>
                    <a:pt x="3228" y="4528"/>
                    <a:pt x="3228" y="4528"/>
                    <a:pt x="3228" y="4528"/>
                  </a:cubicBezTo>
                  <a:cubicBezTo>
                    <a:pt x="3125" y="4557"/>
                    <a:pt x="3125" y="4557"/>
                    <a:pt x="3125" y="4557"/>
                  </a:cubicBezTo>
                  <a:cubicBezTo>
                    <a:pt x="2994" y="4601"/>
                    <a:pt x="2994" y="4601"/>
                    <a:pt x="2994" y="4601"/>
                  </a:cubicBezTo>
                  <a:cubicBezTo>
                    <a:pt x="2877" y="4601"/>
                    <a:pt x="2877" y="4601"/>
                    <a:pt x="2877" y="4601"/>
                  </a:cubicBezTo>
                  <a:cubicBezTo>
                    <a:pt x="2731" y="4630"/>
                    <a:pt x="2731" y="4630"/>
                    <a:pt x="2731" y="4630"/>
                  </a:cubicBezTo>
                  <a:cubicBezTo>
                    <a:pt x="2731" y="4630"/>
                    <a:pt x="2702" y="4630"/>
                    <a:pt x="2673" y="4630"/>
                  </a:cubicBezTo>
                  <a:cubicBezTo>
                    <a:pt x="2658" y="4630"/>
                    <a:pt x="2570" y="4601"/>
                    <a:pt x="2570" y="4601"/>
                  </a:cubicBezTo>
                  <a:cubicBezTo>
                    <a:pt x="2468" y="4572"/>
                    <a:pt x="2468" y="4572"/>
                    <a:pt x="2468" y="4572"/>
                  </a:cubicBezTo>
                  <a:cubicBezTo>
                    <a:pt x="2395" y="4572"/>
                    <a:pt x="2395" y="4572"/>
                    <a:pt x="2395" y="4572"/>
                  </a:cubicBezTo>
                  <a:cubicBezTo>
                    <a:pt x="2381" y="4630"/>
                    <a:pt x="2381" y="4630"/>
                    <a:pt x="2381" y="4630"/>
                  </a:cubicBezTo>
                  <a:cubicBezTo>
                    <a:pt x="2381" y="4630"/>
                    <a:pt x="2381" y="4630"/>
                    <a:pt x="2351" y="4630"/>
                  </a:cubicBezTo>
                  <a:cubicBezTo>
                    <a:pt x="2322" y="4630"/>
                    <a:pt x="2293" y="4630"/>
                    <a:pt x="2293" y="4630"/>
                  </a:cubicBezTo>
                  <a:cubicBezTo>
                    <a:pt x="2293" y="4572"/>
                    <a:pt x="2293" y="4572"/>
                    <a:pt x="2293" y="4572"/>
                  </a:cubicBezTo>
                  <a:cubicBezTo>
                    <a:pt x="2191" y="4572"/>
                    <a:pt x="2191" y="4572"/>
                    <a:pt x="2191" y="4572"/>
                  </a:cubicBezTo>
                  <a:cubicBezTo>
                    <a:pt x="2191" y="4572"/>
                    <a:pt x="2147" y="4586"/>
                    <a:pt x="2118" y="4586"/>
                  </a:cubicBezTo>
                  <a:cubicBezTo>
                    <a:pt x="2074" y="4586"/>
                    <a:pt x="2030" y="4543"/>
                    <a:pt x="2015" y="4543"/>
                  </a:cubicBezTo>
                  <a:cubicBezTo>
                    <a:pt x="2001" y="4543"/>
                    <a:pt x="2001" y="4557"/>
                    <a:pt x="2001" y="4557"/>
                  </a:cubicBezTo>
                  <a:cubicBezTo>
                    <a:pt x="2001" y="4601"/>
                    <a:pt x="2001" y="4601"/>
                    <a:pt x="2001" y="4601"/>
                  </a:cubicBezTo>
                  <a:cubicBezTo>
                    <a:pt x="1928" y="4601"/>
                    <a:pt x="1928" y="4601"/>
                    <a:pt x="1928" y="4601"/>
                  </a:cubicBezTo>
                  <a:cubicBezTo>
                    <a:pt x="1840" y="4572"/>
                    <a:pt x="1840" y="4572"/>
                    <a:pt x="1840" y="4572"/>
                  </a:cubicBezTo>
                  <a:cubicBezTo>
                    <a:pt x="1767" y="4514"/>
                    <a:pt x="1767" y="4514"/>
                    <a:pt x="1767" y="4514"/>
                  </a:cubicBezTo>
                  <a:cubicBezTo>
                    <a:pt x="1709" y="4456"/>
                    <a:pt x="1709" y="4456"/>
                    <a:pt x="1709" y="4456"/>
                  </a:cubicBezTo>
                  <a:cubicBezTo>
                    <a:pt x="1709" y="4427"/>
                    <a:pt x="1709" y="4427"/>
                    <a:pt x="1709" y="4427"/>
                  </a:cubicBezTo>
                  <a:cubicBezTo>
                    <a:pt x="1636" y="4427"/>
                    <a:pt x="1636" y="4427"/>
                    <a:pt x="1636" y="4427"/>
                  </a:cubicBezTo>
                  <a:cubicBezTo>
                    <a:pt x="1533" y="4427"/>
                    <a:pt x="1533" y="4427"/>
                    <a:pt x="1533" y="4427"/>
                  </a:cubicBezTo>
                  <a:cubicBezTo>
                    <a:pt x="1475" y="4456"/>
                    <a:pt x="1475" y="4456"/>
                    <a:pt x="1475" y="4456"/>
                  </a:cubicBezTo>
                  <a:cubicBezTo>
                    <a:pt x="1548" y="4470"/>
                    <a:pt x="1548" y="4470"/>
                    <a:pt x="1548" y="4470"/>
                  </a:cubicBezTo>
                  <a:cubicBezTo>
                    <a:pt x="1592" y="4485"/>
                    <a:pt x="1592" y="4485"/>
                    <a:pt x="1592" y="4485"/>
                  </a:cubicBezTo>
                  <a:cubicBezTo>
                    <a:pt x="1592" y="4485"/>
                    <a:pt x="1650" y="4470"/>
                    <a:pt x="1650" y="4514"/>
                  </a:cubicBezTo>
                  <a:cubicBezTo>
                    <a:pt x="1650" y="4543"/>
                    <a:pt x="1621" y="4543"/>
                    <a:pt x="1650" y="4572"/>
                  </a:cubicBezTo>
                  <a:cubicBezTo>
                    <a:pt x="1665" y="4601"/>
                    <a:pt x="1723" y="4630"/>
                    <a:pt x="1723" y="4630"/>
                  </a:cubicBezTo>
                  <a:cubicBezTo>
                    <a:pt x="1723" y="4630"/>
                    <a:pt x="1753" y="4630"/>
                    <a:pt x="1767" y="4630"/>
                  </a:cubicBezTo>
                  <a:cubicBezTo>
                    <a:pt x="1782" y="4630"/>
                    <a:pt x="1796" y="4630"/>
                    <a:pt x="1796" y="4630"/>
                  </a:cubicBezTo>
                  <a:cubicBezTo>
                    <a:pt x="1826" y="4673"/>
                    <a:pt x="1826" y="4673"/>
                    <a:pt x="1826" y="4673"/>
                  </a:cubicBezTo>
                  <a:cubicBezTo>
                    <a:pt x="1826" y="4673"/>
                    <a:pt x="1811" y="4687"/>
                    <a:pt x="1840" y="4687"/>
                  </a:cubicBezTo>
                  <a:cubicBezTo>
                    <a:pt x="1855" y="4687"/>
                    <a:pt x="1928" y="4687"/>
                    <a:pt x="1928" y="4687"/>
                  </a:cubicBezTo>
                  <a:cubicBezTo>
                    <a:pt x="2001" y="4716"/>
                    <a:pt x="2001" y="4716"/>
                    <a:pt x="2001" y="4716"/>
                  </a:cubicBezTo>
                  <a:cubicBezTo>
                    <a:pt x="2001" y="4760"/>
                    <a:pt x="2001" y="4760"/>
                    <a:pt x="2001" y="4760"/>
                  </a:cubicBezTo>
                  <a:cubicBezTo>
                    <a:pt x="2001" y="4760"/>
                    <a:pt x="1986" y="4789"/>
                    <a:pt x="2015" y="4789"/>
                  </a:cubicBezTo>
                  <a:cubicBezTo>
                    <a:pt x="2030" y="4803"/>
                    <a:pt x="2088" y="4789"/>
                    <a:pt x="2088" y="4789"/>
                  </a:cubicBezTo>
                  <a:cubicBezTo>
                    <a:pt x="2088" y="4789"/>
                    <a:pt x="2074" y="4774"/>
                    <a:pt x="2103" y="4789"/>
                  </a:cubicBezTo>
                  <a:cubicBezTo>
                    <a:pt x="2118" y="4803"/>
                    <a:pt x="2132" y="4818"/>
                    <a:pt x="2132" y="4818"/>
                  </a:cubicBezTo>
                  <a:cubicBezTo>
                    <a:pt x="2132" y="4818"/>
                    <a:pt x="2147" y="4847"/>
                    <a:pt x="2147" y="4861"/>
                  </a:cubicBezTo>
                  <a:cubicBezTo>
                    <a:pt x="2147" y="4876"/>
                    <a:pt x="2161" y="4904"/>
                    <a:pt x="2161" y="4904"/>
                  </a:cubicBezTo>
                  <a:cubicBezTo>
                    <a:pt x="2161" y="4904"/>
                    <a:pt x="2118" y="4919"/>
                    <a:pt x="2191" y="4919"/>
                  </a:cubicBezTo>
                  <a:cubicBezTo>
                    <a:pt x="2264" y="4919"/>
                    <a:pt x="2264" y="4919"/>
                    <a:pt x="2264" y="4919"/>
                  </a:cubicBezTo>
                  <a:cubicBezTo>
                    <a:pt x="2322" y="4919"/>
                    <a:pt x="2322" y="4919"/>
                    <a:pt x="2322" y="4919"/>
                  </a:cubicBezTo>
                  <a:cubicBezTo>
                    <a:pt x="2381" y="4933"/>
                    <a:pt x="2381" y="4933"/>
                    <a:pt x="2381" y="4933"/>
                  </a:cubicBezTo>
                  <a:cubicBezTo>
                    <a:pt x="2483" y="4977"/>
                    <a:pt x="2483" y="4977"/>
                    <a:pt x="2483" y="4977"/>
                  </a:cubicBezTo>
                  <a:cubicBezTo>
                    <a:pt x="2585" y="5035"/>
                    <a:pt x="2585" y="5035"/>
                    <a:pt x="2585" y="5035"/>
                  </a:cubicBezTo>
                  <a:cubicBezTo>
                    <a:pt x="2585" y="5035"/>
                    <a:pt x="2570" y="5078"/>
                    <a:pt x="2600" y="5078"/>
                  </a:cubicBezTo>
                  <a:cubicBezTo>
                    <a:pt x="2614" y="5078"/>
                    <a:pt x="2673" y="5078"/>
                    <a:pt x="2673" y="5078"/>
                  </a:cubicBezTo>
                  <a:cubicBezTo>
                    <a:pt x="2716" y="5194"/>
                    <a:pt x="2716" y="5194"/>
                    <a:pt x="2716" y="5194"/>
                  </a:cubicBezTo>
                  <a:cubicBezTo>
                    <a:pt x="2643" y="5194"/>
                    <a:pt x="2643" y="5194"/>
                    <a:pt x="2643" y="5194"/>
                  </a:cubicBezTo>
                  <a:cubicBezTo>
                    <a:pt x="2687" y="5310"/>
                    <a:pt x="2687" y="5310"/>
                    <a:pt x="2687" y="5310"/>
                  </a:cubicBezTo>
                  <a:cubicBezTo>
                    <a:pt x="2716" y="5367"/>
                    <a:pt x="2716" y="5367"/>
                    <a:pt x="2716" y="5367"/>
                  </a:cubicBezTo>
                  <a:cubicBezTo>
                    <a:pt x="2702" y="5440"/>
                    <a:pt x="2702" y="5440"/>
                    <a:pt x="2702" y="5440"/>
                  </a:cubicBezTo>
                  <a:cubicBezTo>
                    <a:pt x="2658" y="5483"/>
                    <a:pt x="2658" y="5483"/>
                    <a:pt x="2658" y="5483"/>
                  </a:cubicBezTo>
                  <a:cubicBezTo>
                    <a:pt x="2658" y="5483"/>
                    <a:pt x="2658" y="5512"/>
                    <a:pt x="2658" y="5512"/>
                  </a:cubicBezTo>
                  <a:cubicBezTo>
                    <a:pt x="2658" y="5527"/>
                    <a:pt x="2687" y="5527"/>
                    <a:pt x="2687" y="5527"/>
                  </a:cubicBezTo>
                  <a:cubicBezTo>
                    <a:pt x="2687" y="5527"/>
                    <a:pt x="2716" y="5556"/>
                    <a:pt x="2716" y="5570"/>
                  </a:cubicBezTo>
                  <a:cubicBezTo>
                    <a:pt x="2716" y="5584"/>
                    <a:pt x="2760" y="5599"/>
                    <a:pt x="2760" y="5613"/>
                  </a:cubicBezTo>
                  <a:cubicBezTo>
                    <a:pt x="2775" y="5628"/>
                    <a:pt x="2819" y="5671"/>
                    <a:pt x="2819" y="5671"/>
                  </a:cubicBezTo>
                  <a:cubicBezTo>
                    <a:pt x="2833" y="5700"/>
                    <a:pt x="2833" y="5700"/>
                    <a:pt x="2833" y="5700"/>
                  </a:cubicBezTo>
                  <a:cubicBezTo>
                    <a:pt x="2892" y="5729"/>
                    <a:pt x="2892" y="5729"/>
                    <a:pt x="2892" y="5729"/>
                  </a:cubicBezTo>
                  <a:cubicBezTo>
                    <a:pt x="2892" y="5729"/>
                    <a:pt x="2892" y="5729"/>
                    <a:pt x="2892" y="5744"/>
                  </a:cubicBezTo>
                  <a:cubicBezTo>
                    <a:pt x="2892" y="5773"/>
                    <a:pt x="2921" y="5801"/>
                    <a:pt x="2921" y="5801"/>
                  </a:cubicBezTo>
                  <a:cubicBezTo>
                    <a:pt x="2979" y="5845"/>
                    <a:pt x="2979" y="5845"/>
                    <a:pt x="2979" y="5845"/>
                  </a:cubicBezTo>
                  <a:cubicBezTo>
                    <a:pt x="2979" y="5845"/>
                    <a:pt x="2979" y="5830"/>
                    <a:pt x="2979" y="5859"/>
                  </a:cubicBezTo>
                  <a:cubicBezTo>
                    <a:pt x="2979" y="5888"/>
                    <a:pt x="2979" y="5932"/>
                    <a:pt x="2979" y="5932"/>
                  </a:cubicBezTo>
                  <a:cubicBezTo>
                    <a:pt x="3038" y="5932"/>
                    <a:pt x="3038" y="5932"/>
                    <a:pt x="3038" y="5932"/>
                  </a:cubicBezTo>
                  <a:cubicBezTo>
                    <a:pt x="3023" y="5990"/>
                    <a:pt x="3023" y="5990"/>
                    <a:pt x="3023" y="5990"/>
                  </a:cubicBezTo>
                  <a:cubicBezTo>
                    <a:pt x="3023" y="5990"/>
                    <a:pt x="2994" y="5990"/>
                    <a:pt x="3023" y="6033"/>
                  </a:cubicBezTo>
                  <a:cubicBezTo>
                    <a:pt x="3052" y="6062"/>
                    <a:pt x="3052" y="6091"/>
                    <a:pt x="3052" y="6091"/>
                  </a:cubicBezTo>
                  <a:cubicBezTo>
                    <a:pt x="3155" y="6163"/>
                    <a:pt x="3155" y="6163"/>
                    <a:pt x="3155" y="6163"/>
                  </a:cubicBezTo>
                  <a:cubicBezTo>
                    <a:pt x="3213" y="6163"/>
                    <a:pt x="3213" y="6163"/>
                    <a:pt x="3213" y="6163"/>
                  </a:cubicBezTo>
                  <a:cubicBezTo>
                    <a:pt x="3271" y="6149"/>
                    <a:pt x="3271" y="6149"/>
                    <a:pt x="3271" y="6149"/>
                  </a:cubicBezTo>
                  <a:cubicBezTo>
                    <a:pt x="3301" y="6091"/>
                    <a:pt x="3301" y="6091"/>
                    <a:pt x="3301" y="6091"/>
                  </a:cubicBezTo>
                  <a:cubicBezTo>
                    <a:pt x="3301" y="6091"/>
                    <a:pt x="3344" y="6091"/>
                    <a:pt x="3388" y="6105"/>
                  </a:cubicBezTo>
                  <a:cubicBezTo>
                    <a:pt x="3417" y="6120"/>
                    <a:pt x="3476" y="6105"/>
                    <a:pt x="3476" y="6105"/>
                  </a:cubicBezTo>
                  <a:cubicBezTo>
                    <a:pt x="3476" y="6105"/>
                    <a:pt x="3476" y="6105"/>
                    <a:pt x="3476" y="6134"/>
                  </a:cubicBezTo>
                  <a:cubicBezTo>
                    <a:pt x="3490" y="6163"/>
                    <a:pt x="3520" y="6149"/>
                    <a:pt x="3520" y="6149"/>
                  </a:cubicBezTo>
                  <a:cubicBezTo>
                    <a:pt x="3520" y="6149"/>
                    <a:pt x="3563" y="6149"/>
                    <a:pt x="3563" y="6163"/>
                  </a:cubicBezTo>
                  <a:cubicBezTo>
                    <a:pt x="3563" y="6178"/>
                    <a:pt x="3593" y="6192"/>
                    <a:pt x="3607" y="6221"/>
                  </a:cubicBezTo>
                  <a:cubicBezTo>
                    <a:pt x="3622" y="6250"/>
                    <a:pt x="3622" y="6235"/>
                    <a:pt x="3637" y="6250"/>
                  </a:cubicBezTo>
                  <a:cubicBezTo>
                    <a:pt x="3637" y="6264"/>
                    <a:pt x="3578" y="6279"/>
                    <a:pt x="3651" y="6279"/>
                  </a:cubicBezTo>
                  <a:cubicBezTo>
                    <a:pt x="3710" y="6293"/>
                    <a:pt x="3856" y="6308"/>
                    <a:pt x="3856" y="6308"/>
                  </a:cubicBezTo>
                  <a:cubicBezTo>
                    <a:pt x="3856" y="6308"/>
                    <a:pt x="3943" y="6279"/>
                    <a:pt x="3987" y="6279"/>
                  </a:cubicBezTo>
                  <a:cubicBezTo>
                    <a:pt x="4031" y="6279"/>
                    <a:pt x="4031" y="6293"/>
                    <a:pt x="4031" y="6293"/>
                  </a:cubicBezTo>
                  <a:cubicBezTo>
                    <a:pt x="4075" y="6293"/>
                    <a:pt x="4075" y="6293"/>
                    <a:pt x="4075" y="6293"/>
                  </a:cubicBezTo>
                  <a:cubicBezTo>
                    <a:pt x="4075" y="6293"/>
                    <a:pt x="4104" y="6279"/>
                    <a:pt x="4104" y="6264"/>
                  </a:cubicBezTo>
                  <a:cubicBezTo>
                    <a:pt x="4104" y="6250"/>
                    <a:pt x="4118" y="6207"/>
                    <a:pt x="4118" y="6207"/>
                  </a:cubicBezTo>
                  <a:cubicBezTo>
                    <a:pt x="4118" y="6207"/>
                    <a:pt x="4104" y="6178"/>
                    <a:pt x="4133" y="6178"/>
                  </a:cubicBezTo>
                  <a:cubicBezTo>
                    <a:pt x="4162" y="6178"/>
                    <a:pt x="4177" y="6163"/>
                    <a:pt x="4177" y="6163"/>
                  </a:cubicBezTo>
                  <a:cubicBezTo>
                    <a:pt x="4221" y="6134"/>
                    <a:pt x="4221" y="6134"/>
                    <a:pt x="4221" y="6134"/>
                  </a:cubicBezTo>
                  <a:cubicBezTo>
                    <a:pt x="4206" y="6018"/>
                    <a:pt x="4206" y="6018"/>
                    <a:pt x="4206" y="6018"/>
                  </a:cubicBezTo>
                  <a:cubicBezTo>
                    <a:pt x="4206" y="6018"/>
                    <a:pt x="4206" y="5975"/>
                    <a:pt x="4191" y="5961"/>
                  </a:cubicBezTo>
                  <a:cubicBezTo>
                    <a:pt x="4162" y="5946"/>
                    <a:pt x="4118" y="5903"/>
                    <a:pt x="4118" y="5903"/>
                  </a:cubicBezTo>
                  <a:cubicBezTo>
                    <a:pt x="4104" y="5859"/>
                    <a:pt x="4104" y="5859"/>
                    <a:pt x="4104" y="5859"/>
                  </a:cubicBezTo>
                  <a:cubicBezTo>
                    <a:pt x="4045" y="5816"/>
                    <a:pt x="4045" y="5816"/>
                    <a:pt x="4045" y="5816"/>
                  </a:cubicBezTo>
                  <a:cubicBezTo>
                    <a:pt x="4045" y="5816"/>
                    <a:pt x="4031" y="5787"/>
                    <a:pt x="4016" y="5787"/>
                  </a:cubicBezTo>
                  <a:cubicBezTo>
                    <a:pt x="4002" y="5801"/>
                    <a:pt x="4016" y="5801"/>
                    <a:pt x="3987" y="5845"/>
                  </a:cubicBezTo>
                  <a:cubicBezTo>
                    <a:pt x="3958" y="5874"/>
                    <a:pt x="3914" y="5888"/>
                    <a:pt x="3914" y="5888"/>
                  </a:cubicBezTo>
                  <a:cubicBezTo>
                    <a:pt x="3826" y="5917"/>
                    <a:pt x="3826" y="5917"/>
                    <a:pt x="3826" y="5917"/>
                  </a:cubicBezTo>
                  <a:cubicBezTo>
                    <a:pt x="3826" y="5917"/>
                    <a:pt x="3768" y="5888"/>
                    <a:pt x="3753" y="5859"/>
                  </a:cubicBezTo>
                  <a:cubicBezTo>
                    <a:pt x="3739" y="5845"/>
                    <a:pt x="3637" y="5758"/>
                    <a:pt x="3637" y="5758"/>
                  </a:cubicBezTo>
                  <a:cubicBezTo>
                    <a:pt x="3637" y="5758"/>
                    <a:pt x="3578" y="5715"/>
                    <a:pt x="3563" y="5715"/>
                  </a:cubicBezTo>
                  <a:cubicBezTo>
                    <a:pt x="3534" y="5715"/>
                    <a:pt x="3505" y="5715"/>
                    <a:pt x="3505" y="5715"/>
                  </a:cubicBezTo>
                  <a:cubicBezTo>
                    <a:pt x="3461" y="5642"/>
                    <a:pt x="3461" y="5642"/>
                    <a:pt x="3461" y="5642"/>
                  </a:cubicBezTo>
                  <a:cubicBezTo>
                    <a:pt x="3447" y="5628"/>
                    <a:pt x="3447" y="5628"/>
                    <a:pt x="3447" y="5628"/>
                  </a:cubicBezTo>
                  <a:cubicBezTo>
                    <a:pt x="3447" y="5628"/>
                    <a:pt x="3403" y="5584"/>
                    <a:pt x="3432" y="5584"/>
                  </a:cubicBezTo>
                  <a:cubicBezTo>
                    <a:pt x="3476" y="5584"/>
                    <a:pt x="3490" y="5541"/>
                    <a:pt x="3490" y="5541"/>
                  </a:cubicBezTo>
                  <a:cubicBezTo>
                    <a:pt x="3490" y="5498"/>
                    <a:pt x="3490" y="5498"/>
                    <a:pt x="3490" y="5498"/>
                  </a:cubicBezTo>
                  <a:cubicBezTo>
                    <a:pt x="3490" y="5469"/>
                    <a:pt x="3490" y="5469"/>
                    <a:pt x="3490" y="5469"/>
                  </a:cubicBezTo>
                  <a:cubicBezTo>
                    <a:pt x="3476" y="5396"/>
                    <a:pt x="3476" y="5396"/>
                    <a:pt x="3476" y="5396"/>
                  </a:cubicBezTo>
                  <a:cubicBezTo>
                    <a:pt x="3476" y="5396"/>
                    <a:pt x="3461" y="5324"/>
                    <a:pt x="3476" y="5310"/>
                  </a:cubicBezTo>
                  <a:cubicBezTo>
                    <a:pt x="3505" y="5310"/>
                    <a:pt x="3593" y="5295"/>
                    <a:pt x="3593" y="5295"/>
                  </a:cubicBezTo>
                  <a:cubicBezTo>
                    <a:pt x="3593" y="5295"/>
                    <a:pt x="3637" y="5310"/>
                    <a:pt x="3680" y="5324"/>
                  </a:cubicBezTo>
                  <a:cubicBezTo>
                    <a:pt x="3710" y="5324"/>
                    <a:pt x="3739" y="5339"/>
                    <a:pt x="3739" y="5339"/>
                  </a:cubicBezTo>
                  <a:cubicBezTo>
                    <a:pt x="3739" y="5339"/>
                    <a:pt x="3826" y="5382"/>
                    <a:pt x="3841" y="5396"/>
                  </a:cubicBezTo>
                  <a:cubicBezTo>
                    <a:pt x="3841" y="5411"/>
                    <a:pt x="3870" y="5425"/>
                    <a:pt x="3899" y="5440"/>
                  </a:cubicBezTo>
                  <a:cubicBezTo>
                    <a:pt x="3943" y="5469"/>
                    <a:pt x="4031" y="5440"/>
                    <a:pt x="4031" y="5440"/>
                  </a:cubicBezTo>
                  <a:cubicBezTo>
                    <a:pt x="4031" y="5440"/>
                    <a:pt x="4075" y="5425"/>
                    <a:pt x="4104" y="5425"/>
                  </a:cubicBezTo>
                  <a:cubicBezTo>
                    <a:pt x="4118" y="5425"/>
                    <a:pt x="4250" y="5425"/>
                    <a:pt x="4250" y="5425"/>
                  </a:cubicBezTo>
                  <a:cubicBezTo>
                    <a:pt x="4250" y="5425"/>
                    <a:pt x="4308" y="5425"/>
                    <a:pt x="4323" y="5425"/>
                  </a:cubicBezTo>
                  <a:cubicBezTo>
                    <a:pt x="4338" y="5425"/>
                    <a:pt x="4396" y="5425"/>
                    <a:pt x="4396" y="5425"/>
                  </a:cubicBezTo>
                  <a:cubicBezTo>
                    <a:pt x="4513" y="5454"/>
                    <a:pt x="4513" y="5454"/>
                    <a:pt x="4513" y="5454"/>
                  </a:cubicBezTo>
                  <a:cubicBezTo>
                    <a:pt x="4600" y="5411"/>
                    <a:pt x="4600" y="5411"/>
                    <a:pt x="4600" y="5411"/>
                  </a:cubicBezTo>
                  <a:cubicBezTo>
                    <a:pt x="4600" y="5411"/>
                    <a:pt x="4600" y="5339"/>
                    <a:pt x="4630" y="5339"/>
                  </a:cubicBezTo>
                  <a:cubicBezTo>
                    <a:pt x="4644" y="5339"/>
                    <a:pt x="4673" y="5339"/>
                    <a:pt x="4703" y="5339"/>
                  </a:cubicBezTo>
                  <a:cubicBezTo>
                    <a:pt x="4732" y="5353"/>
                    <a:pt x="4819" y="5324"/>
                    <a:pt x="4819" y="5324"/>
                  </a:cubicBezTo>
                  <a:cubicBezTo>
                    <a:pt x="4732" y="5208"/>
                    <a:pt x="4732" y="5208"/>
                    <a:pt x="4732" y="5208"/>
                  </a:cubicBezTo>
                  <a:cubicBezTo>
                    <a:pt x="4732" y="5208"/>
                    <a:pt x="4732" y="5208"/>
                    <a:pt x="4703" y="5150"/>
                  </a:cubicBezTo>
                  <a:cubicBezTo>
                    <a:pt x="4688" y="5093"/>
                    <a:pt x="4644" y="5035"/>
                    <a:pt x="4644" y="5035"/>
                  </a:cubicBezTo>
                  <a:cubicBezTo>
                    <a:pt x="4644" y="5035"/>
                    <a:pt x="4586" y="5020"/>
                    <a:pt x="4542" y="5006"/>
                  </a:cubicBezTo>
                  <a:cubicBezTo>
                    <a:pt x="4498" y="4991"/>
                    <a:pt x="4527" y="5006"/>
                    <a:pt x="4498" y="4977"/>
                  </a:cubicBezTo>
                  <a:cubicBezTo>
                    <a:pt x="4469" y="4962"/>
                    <a:pt x="4338" y="4890"/>
                    <a:pt x="4338" y="4890"/>
                  </a:cubicBezTo>
                  <a:cubicBezTo>
                    <a:pt x="4338" y="4890"/>
                    <a:pt x="4279" y="4876"/>
                    <a:pt x="4265" y="4847"/>
                  </a:cubicBezTo>
                  <a:cubicBezTo>
                    <a:pt x="4250" y="4803"/>
                    <a:pt x="4265" y="4673"/>
                    <a:pt x="4265" y="4673"/>
                  </a:cubicBezTo>
                  <a:cubicBezTo>
                    <a:pt x="4279" y="4601"/>
                    <a:pt x="4279" y="4601"/>
                    <a:pt x="4279" y="4601"/>
                  </a:cubicBezTo>
                  <a:cubicBezTo>
                    <a:pt x="4352" y="4456"/>
                    <a:pt x="4352" y="4456"/>
                    <a:pt x="4352" y="4456"/>
                  </a:cubicBezTo>
                  <a:cubicBezTo>
                    <a:pt x="4381" y="4326"/>
                    <a:pt x="4381" y="4326"/>
                    <a:pt x="4381" y="4326"/>
                  </a:cubicBezTo>
                  <a:cubicBezTo>
                    <a:pt x="4527" y="4152"/>
                    <a:pt x="4527" y="4152"/>
                    <a:pt x="4527" y="4152"/>
                  </a:cubicBezTo>
                  <a:cubicBezTo>
                    <a:pt x="4571" y="4022"/>
                    <a:pt x="4571" y="4022"/>
                    <a:pt x="4571" y="4022"/>
                  </a:cubicBezTo>
                  <a:cubicBezTo>
                    <a:pt x="4600" y="3892"/>
                    <a:pt x="4600" y="3892"/>
                    <a:pt x="4600" y="3892"/>
                  </a:cubicBezTo>
                  <a:cubicBezTo>
                    <a:pt x="4600" y="3762"/>
                    <a:pt x="4600" y="3762"/>
                    <a:pt x="4600" y="3762"/>
                  </a:cubicBezTo>
                  <a:cubicBezTo>
                    <a:pt x="4600" y="3660"/>
                    <a:pt x="4600" y="3660"/>
                    <a:pt x="4600" y="3660"/>
                  </a:cubicBezTo>
                  <a:cubicBezTo>
                    <a:pt x="4790" y="3660"/>
                    <a:pt x="4790" y="3660"/>
                    <a:pt x="4790" y="3660"/>
                  </a:cubicBezTo>
                  <a:cubicBezTo>
                    <a:pt x="4790" y="3704"/>
                    <a:pt x="4790" y="3704"/>
                    <a:pt x="4790" y="3704"/>
                  </a:cubicBezTo>
                  <a:cubicBezTo>
                    <a:pt x="4790" y="3704"/>
                    <a:pt x="4819" y="3646"/>
                    <a:pt x="4834" y="3646"/>
                  </a:cubicBezTo>
                  <a:cubicBezTo>
                    <a:pt x="4849" y="3646"/>
                    <a:pt x="4966" y="3573"/>
                    <a:pt x="4966" y="3573"/>
                  </a:cubicBezTo>
                  <a:cubicBezTo>
                    <a:pt x="5009" y="3602"/>
                    <a:pt x="5009" y="3602"/>
                    <a:pt x="5009" y="3602"/>
                  </a:cubicBezTo>
                  <a:cubicBezTo>
                    <a:pt x="5126" y="3631"/>
                    <a:pt x="5126" y="3631"/>
                    <a:pt x="5126" y="3631"/>
                  </a:cubicBezTo>
                  <a:cubicBezTo>
                    <a:pt x="5126" y="3631"/>
                    <a:pt x="5170" y="3646"/>
                    <a:pt x="5155" y="3675"/>
                  </a:cubicBezTo>
                  <a:cubicBezTo>
                    <a:pt x="5141" y="3704"/>
                    <a:pt x="5141" y="3704"/>
                    <a:pt x="5155" y="3704"/>
                  </a:cubicBezTo>
                  <a:cubicBezTo>
                    <a:pt x="5170" y="3704"/>
                    <a:pt x="5228" y="3660"/>
                    <a:pt x="5228" y="3660"/>
                  </a:cubicBezTo>
                  <a:cubicBezTo>
                    <a:pt x="5331" y="3704"/>
                    <a:pt x="5331" y="3704"/>
                    <a:pt x="5331" y="3704"/>
                  </a:cubicBezTo>
                  <a:cubicBezTo>
                    <a:pt x="5243" y="3602"/>
                    <a:pt x="5243" y="3602"/>
                    <a:pt x="5243" y="3602"/>
                  </a:cubicBezTo>
                  <a:cubicBezTo>
                    <a:pt x="5243" y="3602"/>
                    <a:pt x="5228" y="3530"/>
                    <a:pt x="5228" y="3501"/>
                  </a:cubicBezTo>
                  <a:cubicBezTo>
                    <a:pt x="5228" y="3472"/>
                    <a:pt x="5214" y="3356"/>
                    <a:pt x="5214" y="3356"/>
                  </a:cubicBezTo>
                  <a:cubicBezTo>
                    <a:pt x="5199" y="3270"/>
                    <a:pt x="5199" y="3270"/>
                    <a:pt x="5199" y="3270"/>
                  </a:cubicBezTo>
                  <a:cubicBezTo>
                    <a:pt x="5170" y="3197"/>
                    <a:pt x="5170" y="3197"/>
                    <a:pt x="5170" y="3197"/>
                  </a:cubicBezTo>
                  <a:cubicBezTo>
                    <a:pt x="5126" y="3154"/>
                    <a:pt x="5126" y="3154"/>
                    <a:pt x="5126" y="3154"/>
                  </a:cubicBezTo>
                  <a:cubicBezTo>
                    <a:pt x="5112" y="3082"/>
                    <a:pt x="5112" y="3082"/>
                    <a:pt x="5112" y="3082"/>
                  </a:cubicBezTo>
                  <a:cubicBezTo>
                    <a:pt x="5082" y="3024"/>
                    <a:pt x="5082" y="3024"/>
                    <a:pt x="5082" y="3024"/>
                  </a:cubicBezTo>
                  <a:cubicBezTo>
                    <a:pt x="4980" y="2966"/>
                    <a:pt x="4980" y="2966"/>
                    <a:pt x="4980" y="2966"/>
                  </a:cubicBezTo>
                  <a:cubicBezTo>
                    <a:pt x="4907" y="2951"/>
                    <a:pt x="4907" y="2951"/>
                    <a:pt x="4907" y="2951"/>
                  </a:cubicBezTo>
                  <a:cubicBezTo>
                    <a:pt x="4849" y="2966"/>
                    <a:pt x="4849" y="2966"/>
                    <a:pt x="4849" y="2966"/>
                  </a:cubicBezTo>
                  <a:cubicBezTo>
                    <a:pt x="4790" y="2966"/>
                    <a:pt x="4790" y="2966"/>
                    <a:pt x="4790" y="2966"/>
                  </a:cubicBezTo>
                  <a:cubicBezTo>
                    <a:pt x="4746" y="2894"/>
                    <a:pt x="4746" y="2894"/>
                    <a:pt x="4746" y="2894"/>
                  </a:cubicBezTo>
                  <a:cubicBezTo>
                    <a:pt x="4746" y="2894"/>
                    <a:pt x="4732" y="2792"/>
                    <a:pt x="4732" y="2778"/>
                  </a:cubicBezTo>
                  <a:cubicBezTo>
                    <a:pt x="4732" y="2763"/>
                    <a:pt x="4703" y="2662"/>
                    <a:pt x="4703" y="2662"/>
                  </a:cubicBezTo>
                  <a:cubicBezTo>
                    <a:pt x="4688" y="2546"/>
                    <a:pt x="4688" y="2546"/>
                    <a:pt x="4688" y="2546"/>
                  </a:cubicBezTo>
                  <a:cubicBezTo>
                    <a:pt x="4644" y="2431"/>
                    <a:pt x="4644" y="2431"/>
                    <a:pt x="4644" y="2431"/>
                  </a:cubicBezTo>
                  <a:cubicBezTo>
                    <a:pt x="4644" y="2431"/>
                    <a:pt x="4615" y="2358"/>
                    <a:pt x="4600" y="2329"/>
                  </a:cubicBezTo>
                  <a:cubicBezTo>
                    <a:pt x="4586" y="2300"/>
                    <a:pt x="4557" y="2242"/>
                    <a:pt x="4557" y="2242"/>
                  </a:cubicBezTo>
                  <a:cubicBezTo>
                    <a:pt x="4527" y="2141"/>
                    <a:pt x="4527" y="2141"/>
                    <a:pt x="4527" y="2141"/>
                  </a:cubicBezTo>
                  <a:cubicBezTo>
                    <a:pt x="4411" y="2112"/>
                    <a:pt x="4411" y="2112"/>
                    <a:pt x="4411" y="2112"/>
                  </a:cubicBezTo>
                  <a:cubicBezTo>
                    <a:pt x="4221" y="2054"/>
                    <a:pt x="4221" y="2054"/>
                    <a:pt x="4221" y="2054"/>
                  </a:cubicBezTo>
                  <a:cubicBezTo>
                    <a:pt x="4118" y="2011"/>
                    <a:pt x="4118" y="2011"/>
                    <a:pt x="4118" y="2011"/>
                  </a:cubicBezTo>
                  <a:cubicBezTo>
                    <a:pt x="4133" y="1968"/>
                    <a:pt x="4133" y="1968"/>
                    <a:pt x="4133" y="1968"/>
                  </a:cubicBezTo>
                  <a:cubicBezTo>
                    <a:pt x="4191" y="1953"/>
                    <a:pt x="4191" y="1953"/>
                    <a:pt x="4191" y="1953"/>
                  </a:cubicBezTo>
                  <a:cubicBezTo>
                    <a:pt x="4191" y="1953"/>
                    <a:pt x="4221" y="1953"/>
                    <a:pt x="4250" y="1953"/>
                  </a:cubicBezTo>
                  <a:cubicBezTo>
                    <a:pt x="4294" y="1953"/>
                    <a:pt x="4323" y="1953"/>
                    <a:pt x="4352" y="1953"/>
                  </a:cubicBezTo>
                  <a:cubicBezTo>
                    <a:pt x="4381" y="1953"/>
                    <a:pt x="4425" y="1953"/>
                    <a:pt x="4425" y="1953"/>
                  </a:cubicBezTo>
                  <a:cubicBezTo>
                    <a:pt x="4484" y="1881"/>
                    <a:pt x="4484" y="1881"/>
                    <a:pt x="4484" y="1881"/>
                  </a:cubicBezTo>
                  <a:cubicBezTo>
                    <a:pt x="4703" y="1765"/>
                    <a:pt x="4703" y="1765"/>
                    <a:pt x="4703" y="1765"/>
                  </a:cubicBezTo>
                  <a:cubicBezTo>
                    <a:pt x="4805" y="1751"/>
                    <a:pt x="4805" y="1751"/>
                    <a:pt x="4805" y="1751"/>
                  </a:cubicBezTo>
                  <a:cubicBezTo>
                    <a:pt x="4907" y="1751"/>
                    <a:pt x="4907" y="1751"/>
                    <a:pt x="4907" y="1751"/>
                  </a:cubicBezTo>
                  <a:cubicBezTo>
                    <a:pt x="4907" y="1751"/>
                    <a:pt x="4907" y="1808"/>
                    <a:pt x="4936" y="1823"/>
                  </a:cubicBezTo>
                  <a:cubicBezTo>
                    <a:pt x="4966" y="1837"/>
                    <a:pt x="4980" y="1837"/>
                    <a:pt x="4995" y="1852"/>
                  </a:cubicBezTo>
                  <a:cubicBezTo>
                    <a:pt x="5024" y="1852"/>
                    <a:pt x="5112" y="1866"/>
                    <a:pt x="5112" y="1866"/>
                  </a:cubicBezTo>
                  <a:cubicBezTo>
                    <a:pt x="5170" y="1895"/>
                    <a:pt x="5170" y="1895"/>
                    <a:pt x="5170" y="1895"/>
                  </a:cubicBezTo>
                  <a:cubicBezTo>
                    <a:pt x="5228" y="1982"/>
                    <a:pt x="5228" y="1982"/>
                    <a:pt x="5228" y="1982"/>
                  </a:cubicBezTo>
                  <a:cubicBezTo>
                    <a:pt x="5331" y="2040"/>
                    <a:pt x="5331" y="2040"/>
                    <a:pt x="5331" y="2040"/>
                  </a:cubicBezTo>
                  <a:cubicBezTo>
                    <a:pt x="5331" y="2040"/>
                    <a:pt x="5345" y="2083"/>
                    <a:pt x="5331" y="2098"/>
                  </a:cubicBezTo>
                  <a:cubicBezTo>
                    <a:pt x="5316" y="2112"/>
                    <a:pt x="5331" y="2156"/>
                    <a:pt x="5272" y="2185"/>
                  </a:cubicBezTo>
                  <a:cubicBezTo>
                    <a:pt x="5214" y="2214"/>
                    <a:pt x="5141" y="2271"/>
                    <a:pt x="5126" y="2271"/>
                  </a:cubicBezTo>
                  <a:cubicBezTo>
                    <a:pt x="5112" y="2286"/>
                    <a:pt x="5068" y="2344"/>
                    <a:pt x="5068" y="2344"/>
                  </a:cubicBezTo>
                  <a:cubicBezTo>
                    <a:pt x="5039" y="2402"/>
                    <a:pt x="5039" y="2402"/>
                    <a:pt x="5039" y="2402"/>
                  </a:cubicBezTo>
                  <a:cubicBezTo>
                    <a:pt x="5053" y="2445"/>
                    <a:pt x="5053" y="2445"/>
                    <a:pt x="5053" y="2445"/>
                  </a:cubicBezTo>
                  <a:cubicBezTo>
                    <a:pt x="5053" y="2445"/>
                    <a:pt x="5053" y="2459"/>
                    <a:pt x="5053" y="2474"/>
                  </a:cubicBezTo>
                  <a:cubicBezTo>
                    <a:pt x="5039" y="2503"/>
                    <a:pt x="5024" y="2546"/>
                    <a:pt x="5024" y="2546"/>
                  </a:cubicBezTo>
                  <a:cubicBezTo>
                    <a:pt x="5039" y="2619"/>
                    <a:pt x="5039" y="2619"/>
                    <a:pt x="5039" y="2619"/>
                  </a:cubicBezTo>
                  <a:cubicBezTo>
                    <a:pt x="5039" y="2619"/>
                    <a:pt x="5053" y="2648"/>
                    <a:pt x="5068" y="2676"/>
                  </a:cubicBezTo>
                  <a:cubicBezTo>
                    <a:pt x="5068" y="2691"/>
                    <a:pt x="5199" y="2720"/>
                    <a:pt x="5199" y="2720"/>
                  </a:cubicBezTo>
                  <a:cubicBezTo>
                    <a:pt x="5331" y="2734"/>
                    <a:pt x="5331" y="2734"/>
                    <a:pt x="5331" y="2734"/>
                  </a:cubicBezTo>
                  <a:cubicBezTo>
                    <a:pt x="5433" y="2836"/>
                    <a:pt x="5433" y="2836"/>
                    <a:pt x="5433" y="2836"/>
                  </a:cubicBezTo>
                  <a:cubicBezTo>
                    <a:pt x="5520" y="2879"/>
                    <a:pt x="5520" y="2879"/>
                    <a:pt x="5520" y="2879"/>
                  </a:cubicBezTo>
                  <a:cubicBezTo>
                    <a:pt x="5623" y="2865"/>
                    <a:pt x="5623" y="2865"/>
                    <a:pt x="5623" y="2865"/>
                  </a:cubicBezTo>
                  <a:cubicBezTo>
                    <a:pt x="5725" y="2792"/>
                    <a:pt x="5725" y="2792"/>
                    <a:pt x="5725" y="2792"/>
                  </a:cubicBezTo>
                  <a:cubicBezTo>
                    <a:pt x="5798" y="2749"/>
                    <a:pt x="5798" y="2749"/>
                    <a:pt x="5798" y="2749"/>
                  </a:cubicBezTo>
                  <a:cubicBezTo>
                    <a:pt x="5798" y="2749"/>
                    <a:pt x="5842" y="2691"/>
                    <a:pt x="5856" y="2676"/>
                  </a:cubicBezTo>
                  <a:cubicBezTo>
                    <a:pt x="5871" y="2662"/>
                    <a:pt x="5915" y="2619"/>
                    <a:pt x="5915" y="2619"/>
                  </a:cubicBezTo>
                  <a:cubicBezTo>
                    <a:pt x="5915" y="2619"/>
                    <a:pt x="5944" y="2590"/>
                    <a:pt x="5944" y="2575"/>
                  </a:cubicBezTo>
                  <a:cubicBezTo>
                    <a:pt x="5944" y="2561"/>
                    <a:pt x="5929" y="2445"/>
                    <a:pt x="5929" y="2445"/>
                  </a:cubicBezTo>
                  <a:cubicBezTo>
                    <a:pt x="5900" y="2358"/>
                    <a:pt x="5900" y="2358"/>
                    <a:pt x="5900" y="2358"/>
                  </a:cubicBezTo>
                  <a:cubicBezTo>
                    <a:pt x="5856" y="2257"/>
                    <a:pt x="5856" y="2257"/>
                    <a:pt x="5856" y="2257"/>
                  </a:cubicBezTo>
                  <a:cubicBezTo>
                    <a:pt x="5856" y="2257"/>
                    <a:pt x="5827" y="2214"/>
                    <a:pt x="5827" y="2185"/>
                  </a:cubicBezTo>
                  <a:cubicBezTo>
                    <a:pt x="5827" y="2170"/>
                    <a:pt x="5813" y="2112"/>
                    <a:pt x="5813" y="2112"/>
                  </a:cubicBezTo>
                  <a:cubicBezTo>
                    <a:pt x="5754" y="2054"/>
                    <a:pt x="5754" y="2054"/>
                    <a:pt x="5754" y="2054"/>
                  </a:cubicBezTo>
                  <a:cubicBezTo>
                    <a:pt x="5783" y="1997"/>
                    <a:pt x="5783" y="1997"/>
                    <a:pt x="5783" y="1997"/>
                  </a:cubicBezTo>
                  <a:cubicBezTo>
                    <a:pt x="5813" y="1953"/>
                    <a:pt x="5813" y="1953"/>
                    <a:pt x="5813" y="1953"/>
                  </a:cubicBezTo>
                  <a:cubicBezTo>
                    <a:pt x="5886" y="1866"/>
                    <a:pt x="5886" y="1866"/>
                    <a:pt x="5886" y="1866"/>
                  </a:cubicBezTo>
                  <a:cubicBezTo>
                    <a:pt x="5915" y="1808"/>
                    <a:pt x="5915" y="1808"/>
                    <a:pt x="5915" y="1808"/>
                  </a:cubicBezTo>
                  <a:cubicBezTo>
                    <a:pt x="5856" y="1736"/>
                    <a:pt x="5856" y="1736"/>
                    <a:pt x="5856" y="1736"/>
                  </a:cubicBezTo>
                  <a:cubicBezTo>
                    <a:pt x="5813" y="1722"/>
                    <a:pt x="5813" y="1722"/>
                    <a:pt x="5813" y="1722"/>
                  </a:cubicBezTo>
                  <a:cubicBezTo>
                    <a:pt x="5900" y="1678"/>
                    <a:pt x="5900" y="1678"/>
                    <a:pt x="5900" y="1678"/>
                  </a:cubicBezTo>
                  <a:cubicBezTo>
                    <a:pt x="5959" y="1649"/>
                    <a:pt x="5959" y="1649"/>
                    <a:pt x="5959" y="1649"/>
                  </a:cubicBezTo>
                  <a:cubicBezTo>
                    <a:pt x="6032" y="1476"/>
                    <a:pt x="6032" y="1476"/>
                    <a:pt x="6032" y="1476"/>
                  </a:cubicBezTo>
                  <a:cubicBezTo>
                    <a:pt x="6075" y="1374"/>
                    <a:pt x="6075" y="1374"/>
                    <a:pt x="6075" y="1374"/>
                  </a:cubicBezTo>
                  <a:cubicBezTo>
                    <a:pt x="6134" y="1215"/>
                    <a:pt x="6134" y="1215"/>
                    <a:pt x="6134" y="1215"/>
                  </a:cubicBezTo>
                  <a:cubicBezTo>
                    <a:pt x="6134" y="1215"/>
                    <a:pt x="6163" y="1100"/>
                    <a:pt x="6163" y="1085"/>
                  </a:cubicBezTo>
                  <a:cubicBezTo>
                    <a:pt x="6163" y="1071"/>
                    <a:pt x="6207" y="1042"/>
                    <a:pt x="6207" y="1042"/>
                  </a:cubicBezTo>
                  <a:cubicBezTo>
                    <a:pt x="6265" y="969"/>
                    <a:pt x="6265" y="969"/>
                    <a:pt x="6265" y="969"/>
                  </a:cubicBezTo>
                  <a:cubicBezTo>
                    <a:pt x="6309" y="883"/>
                    <a:pt x="6309" y="883"/>
                    <a:pt x="6309" y="883"/>
                  </a:cubicBezTo>
                  <a:cubicBezTo>
                    <a:pt x="6338" y="825"/>
                    <a:pt x="6338" y="825"/>
                    <a:pt x="6338" y="825"/>
                  </a:cubicBezTo>
                  <a:cubicBezTo>
                    <a:pt x="6411" y="709"/>
                    <a:pt x="6411" y="709"/>
                    <a:pt x="6411" y="709"/>
                  </a:cubicBezTo>
                  <a:cubicBezTo>
                    <a:pt x="6470" y="738"/>
                    <a:pt x="6470" y="738"/>
                    <a:pt x="6470" y="738"/>
                  </a:cubicBezTo>
                  <a:cubicBezTo>
                    <a:pt x="6470" y="738"/>
                    <a:pt x="6499" y="767"/>
                    <a:pt x="6499" y="796"/>
                  </a:cubicBezTo>
                  <a:cubicBezTo>
                    <a:pt x="6499" y="825"/>
                    <a:pt x="6484" y="839"/>
                    <a:pt x="6499" y="839"/>
                  </a:cubicBezTo>
                  <a:cubicBezTo>
                    <a:pt x="6528" y="839"/>
                    <a:pt x="6514" y="839"/>
                    <a:pt x="6528" y="825"/>
                  </a:cubicBezTo>
                  <a:cubicBezTo>
                    <a:pt x="6557" y="796"/>
                    <a:pt x="6572" y="738"/>
                    <a:pt x="6572" y="723"/>
                  </a:cubicBezTo>
                  <a:cubicBezTo>
                    <a:pt x="6572" y="709"/>
                    <a:pt x="6601" y="709"/>
                    <a:pt x="6572" y="694"/>
                  </a:cubicBezTo>
                  <a:cubicBezTo>
                    <a:pt x="6528" y="680"/>
                    <a:pt x="6470" y="651"/>
                    <a:pt x="6470" y="651"/>
                  </a:cubicBezTo>
                  <a:cubicBezTo>
                    <a:pt x="6470" y="651"/>
                    <a:pt x="6411" y="637"/>
                    <a:pt x="6411" y="622"/>
                  </a:cubicBezTo>
                  <a:cubicBezTo>
                    <a:pt x="6426" y="608"/>
                    <a:pt x="6470" y="477"/>
                    <a:pt x="6470" y="477"/>
                  </a:cubicBezTo>
                  <a:cubicBezTo>
                    <a:pt x="6528" y="333"/>
                    <a:pt x="6528" y="333"/>
                    <a:pt x="6528" y="333"/>
                  </a:cubicBezTo>
                  <a:cubicBezTo>
                    <a:pt x="6528" y="246"/>
                    <a:pt x="6528" y="246"/>
                    <a:pt x="6528" y="246"/>
                  </a:cubicBezTo>
                  <a:cubicBezTo>
                    <a:pt x="6572" y="174"/>
                    <a:pt x="6572" y="174"/>
                    <a:pt x="6572" y="174"/>
                  </a:cubicBezTo>
                  <a:cubicBezTo>
                    <a:pt x="6616" y="116"/>
                    <a:pt x="6645" y="29"/>
                    <a:pt x="6718" y="0"/>
                  </a:cubicBezTo>
                  <a:cubicBezTo>
                    <a:pt x="21600" y="0"/>
                    <a:pt x="21600" y="0"/>
                    <a:pt x="21600" y="0"/>
                  </a:cubicBezTo>
                  <a:cubicBezTo>
                    <a:pt x="21600" y="10648"/>
                    <a:pt x="21600" y="10648"/>
                    <a:pt x="21600" y="10648"/>
                  </a:cubicBezTo>
                  <a:cubicBezTo>
                    <a:pt x="21396" y="10720"/>
                    <a:pt x="21396" y="10720"/>
                    <a:pt x="21396" y="10720"/>
                  </a:cubicBezTo>
                  <a:cubicBezTo>
                    <a:pt x="21366" y="10720"/>
                    <a:pt x="20957" y="10663"/>
                    <a:pt x="20972" y="10793"/>
                  </a:cubicBezTo>
                  <a:cubicBezTo>
                    <a:pt x="20987" y="10865"/>
                    <a:pt x="21060" y="10880"/>
                    <a:pt x="21060" y="10880"/>
                  </a:cubicBezTo>
                  <a:cubicBezTo>
                    <a:pt x="21249" y="11053"/>
                    <a:pt x="21249" y="11053"/>
                    <a:pt x="21249" y="11053"/>
                  </a:cubicBezTo>
                  <a:cubicBezTo>
                    <a:pt x="21235" y="11154"/>
                    <a:pt x="21235" y="11154"/>
                    <a:pt x="21235" y="11154"/>
                  </a:cubicBezTo>
                  <a:cubicBezTo>
                    <a:pt x="21352" y="11183"/>
                    <a:pt x="21352" y="11183"/>
                    <a:pt x="21352" y="11183"/>
                  </a:cubicBezTo>
                  <a:cubicBezTo>
                    <a:pt x="21600" y="11183"/>
                    <a:pt x="21600" y="11183"/>
                    <a:pt x="21600" y="11183"/>
                  </a:cubicBezTo>
                  <a:cubicBezTo>
                    <a:pt x="21600" y="11357"/>
                    <a:pt x="21600" y="11357"/>
                    <a:pt x="21600" y="11357"/>
                  </a:cubicBezTo>
                  <a:cubicBezTo>
                    <a:pt x="21454" y="11371"/>
                    <a:pt x="21293" y="11400"/>
                    <a:pt x="21264" y="11415"/>
                  </a:cubicBezTo>
                  <a:cubicBezTo>
                    <a:pt x="21103" y="11588"/>
                    <a:pt x="21103" y="11588"/>
                    <a:pt x="21103" y="11588"/>
                  </a:cubicBezTo>
                  <a:cubicBezTo>
                    <a:pt x="21293" y="11834"/>
                    <a:pt x="21293" y="11834"/>
                    <a:pt x="21293" y="11834"/>
                  </a:cubicBezTo>
                  <a:cubicBezTo>
                    <a:pt x="21279" y="11994"/>
                    <a:pt x="21279" y="11994"/>
                    <a:pt x="21279" y="11994"/>
                  </a:cubicBezTo>
                  <a:cubicBezTo>
                    <a:pt x="21118" y="12109"/>
                    <a:pt x="21118" y="12109"/>
                    <a:pt x="21118" y="12109"/>
                  </a:cubicBezTo>
                  <a:cubicBezTo>
                    <a:pt x="21249" y="12240"/>
                    <a:pt x="21249" y="12240"/>
                    <a:pt x="21249" y="12240"/>
                  </a:cubicBezTo>
                  <a:cubicBezTo>
                    <a:pt x="21483" y="12240"/>
                    <a:pt x="21483" y="12240"/>
                    <a:pt x="21483" y="12240"/>
                  </a:cubicBezTo>
                  <a:cubicBezTo>
                    <a:pt x="21600" y="12326"/>
                    <a:pt x="21600" y="12326"/>
                    <a:pt x="21600" y="12326"/>
                  </a:cubicBezTo>
                  <a:cubicBezTo>
                    <a:pt x="21600" y="13006"/>
                    <a:pt x="21600" y="13006"/>
                    <a:pt x="21600" y="13006"/>
                  </a:cubicBezTo>
                  <a:cubicBezTo>
                    <a:pt x="21556" y="13006"/>
                    <a:pt x="21498" y="13021"/>
                    <a:pt x="21425" y="13021"/>
                  </a:cubicBezTo>
                  <a:cubicBezTo>
                    <a:pt x="21323" y="13194"/>
                    <a:pt x="21323" y="13194"/>
                    <a:pt x="21323" y="13194"/>
                  </a:cubicBezTo>
                  <a:cubicBezTo>
                    <a:pt x="20578" y="13064"/>
                    <a:pt x="20578" y="13064"/>
                    <a:pt x="20578" y="13064"/>
                  </a:cubicBezTo>
                  <a:cubicBezTo>
                    <a:pt x="20329" y="12919"/>
                    <a:pt x="20329" y="12919"/>
                    <a:pt x="20329" y="12919"/>
                  </a:cubicBezTo>
                  <a:cubicBezTo>
                    <a:pt x="20140" y="13050"/>
                    <a:pt x="20183" y="12992"/>
                    <a:pt x="20023" y="13165"/>
                  </a:cubicBezTo>
                  <a:cubicBezTo>
                    <a:pt x="19585" y="13050"/>
                    <a:pt x="19585" y="13050"/>
                    <a:pt x="19585" y="13050"/>
                  </a:cubicBezTo>
                  <a:cubicBezTo>
                    <a:pt x="19307" y="13180"/>
                    <a:pt x="19307" y="13180"/>
                    <a:pt x="19307" y="13180"/>
                  </a:cubicBezTo>
                  <a:cubicBezTo>
                    <a:pt x="18986" y="13498"/>
                    <a:pt x="18986" y="13498"/>
                    <a:pt x="18986" y="13498"/>
                  </a:cubicBezTo>
                  <a:cubicBezTo>
                    <a:pt x="18445" y="13469"/>
                    <a:pt x="18445" y="13469"/>
                    <a:pt x="18445" y="13469"/>
                  </a:cubicBezTo>
                  <a:cubicBezTo>
                    <a:pt x="18329" y="13310"/>
                    <a:pt x="18329" y="13310"/>
                    <a:pt x="18329" y="13310"/>
                  </a:cubicBezTo>
                  <a:cubicBezTo>
                    <a:pt x="18299" y="13455"/>
                    <a:pt x="18299" y="13455"/>
                    <a:pt x="18299" y="13455"/>
                  </a:cubicBezTo>
                  <a:cubicBezTo>
                    <a:pt x="18416" y="13599"/>
                    <a:pt x="18416" y="13599"/>
                    <a:pt x="18416" y="13599"/>
                  </a:cubicBezTo>
                  <a:cubicBezTo>
                    <a:pt x="18212" y="13701"/>
                    <a:pt x="18212" y="13701"/>
                    <a:pt x="18212" y="13701"/>
                  </a:cubicBezTo>
                  <a:cubicBezTo>
                    <a:pt x="18139" y="13498"/>
                    <a:pt x="18139" y="13498"/>
                    <a:pt x="18139" y="13498"/>
                  </a:cubicBezTo>
                  <a:cubicBezTo>
                    <a:pt x="17963" y="13281"/>
                    <a:pt x="17963" y="13281"/>
                    <a:pt x="17963" y="13281"/>
                  </a:cubicBezTo>
                  <a:cubicBezTo>
                    <a:pt x="17701" y="13223"/>
                    <a:pt x="17701" y="13223"/>
                    <a:pt x="17701" y="13223"/>
                  </a:cubicBezTo>
                  <a:cubicBezTo>
                    <a:pt x="17555" y="13122"/>
                    <a:pt x="17555" y="13122"/>
                    <a:pt x="17555" y="13122"/>
                  </a:cubicBezTo>
                  <a:cubicBezTo>
                    <a:pt x="17525" y="13108"/>
                    <a:pt x="16985" y="13165"/>
                    <a:pt x="16883" y="13180"/>
                  </a:cubicBezTo>
                  <a:cubicBezTo>
                    <a:pt x="16751" y="13093"/>
                    <a:pt x="16737" y="13093"/>
                    <a:pt x="16591" y="13021"/>
                  </a:cubicBezTo>
                  <a:cubicBezTo>
                    <a:pt x="16445" y="13137"/>
                    <a:pt x="16445" y="13137"/>
                    <a:pt x="16445" y="13137"/>
                  </a:cubicBezTo>
                  <a:cubicBezTo>
                    <a:pt x="16445" y="13137"/>
                    <a:pt x="16372" y="13267"/>
                    <a:pt x="16255" y="13267"/>
                  </a:cubicBezTo>
                  <a:cubicBezTo>
                    <a:pt x="16123" y="13267"/>
                    <a:pt x="16138" y="13093"/>
                    <a:pt x="16138" y="13093"/>
                  </a:cubicBezTo>
                  <a:cubicBezTo>
                    <a:pt x="15948" y="13122"/>
                    <a:pt x="15948" y="13122"/>
                    <a:pt x="15948" y="13122"/>
                  </a:cubicBezTo>
                  <a:cubicBezTo>
                    <a:pt x="15700" y="13469"/>
                    <a:pt x="15700" y="13469"/>
                    <a:pt x="15700" y="13469"/>
                  </a:cubicBezTo>
                  <a:cubicBezTo>
                    <a:pt x="15393" y="13730"/>
                    <a:pt x="15393" y="13730"/>
                    <a:pt x="15393" y="13730"/>
                  </a:cubicBezTo>
                  <a:cubicBezTo>
                    <a:pt x="15218" y="13990"/>
                    <a:pt x="15218" y="13990"/>
                    <a:pt x="15218" y="13990"/>
                  </a:cubicBezTo>
                  <a:cubicBezTo>
                    <a:pt x="14882" y="14120"/>
                    <a:pt x="14882" y="14120"/>
                    <a:pt x="14882" y="14120"/>
                  </a:cubicBezTo>
                  <a:cubicBezTo>
                    <a:pt x="14897" y="14236"/>
                    <a:pt x="14897" y="14236"/>
                    <a:pt x="14897" y="14236"/>
                  </a:cubicBezTo>
                  <a:cubicBezTo>
                    <a:pt x="15232" y="14525"/>
                    <a:pt x="15232" y="14525"/>
                    <a:pt x="15232" y="14525"/>
                  </a:cubicBezTo>
                  <a:cubicBezTo>
                    <a:pt x="14999" y="14685"/>
                    <a:pt x="14999" y="14685"/>
                    <a:pt x="14999" y="14685"/>
                  </a:cubicBezTo>
                  <a:cubicBezTo>
                    <a:pt x="14648" y="14323"/>
                    <a:pt x="14780" y="14598"/>
                    <a:pt x="14342" y="14265"/>
                  </a:cubicBezTo>
                  <a:cubicBezTo>
                    <a:pt x="14269" y="14525"/>
                    <a:pt x="14254" y="14453"/>
                    <a:pt x="14298" y="14670"/>
                  </a:cubicBezTo>
                  <a:cubicBezTo>
                    <a:pt x="14108" y="14800"/>
                    <a:pt x="14108" y="14800"/>
                    <a:pt x="14108" y="14800"/>
                  </a:cubicBezTo>
                  <a:cubicBezTo>
                    <a:pt x="14210" y="15191"/>
                    <a:pt x="14137" y="15061"/>
                    <a:pt x="14385" y="15321"/>
                  </a:cubicBezTo>
                  <a:cubicBezTo>
                    <a:pt x="14239" y="15625"/>
                    <a:pt x="14269" y="15495"/>
                    <a:pt x="14283" y="15856"/>
                  </a:cubicBezTo>
                  <a:cubicBezTo>
                    <a:pt x="14619" y="15958"/>
                    <a:pt x="14619" y="15958"/>
                    <a:pt x="14619" y="15958"/>
                  </a:cubicBezTo>
                  <a:cubicBezTo>
                    <a:pt x="14707" y="16160"/>
                    <a:pt x="14707" y="16160"/>
                    <a:pt x="14707" y="16160"/>
                  </a:cubicBezTo>
                  <a:cubicBezTo>
                    <a:pt x="14926" y="16261"/>
                    <a:pt x="14926" y="16261"/>
                    <a:pt x="14926" y="16261"/>
                  </a:cubicBezTo>
                  <a:cubicBezTo>
                    <a:pt x="15145" y="16117"/>
                    <a:pt x="15145" y="16117"/>
                    <a:pt x="15145" y="16117"/>
                  </a:cubicBezTo>
                  <a:cubicBezTo>
                    <a:pt x="15466" y="16276"/>
                    <a:pt x="15466" y="16276"/>
                    <a:pt x="15466" y="16276"/>
                  </a:cubicBezTo>
                  <a:cubicBezTo>
                    <a:pt x="15890" y="16594"/>
                    <a:pt x="15890" y="16594"/>
                    <a:pt x="15890" y="16594"/>
                  </a:cubicBezTo>
                  <a:cubicBezTo>
                    <a:pt x="16138" y="16898"/>
                    <a:pt x="16138" y="16898"/>
                    <a:pt x="16138" y="16898"/>
                  </a:cubicBezTo>
                  <a:cubicBezTo>
                    <a:pt x="15992" y="16782"/>
                    <a:pt x="15992" y="16782"/>
                    <a:pt x="15992" y="16782"/>
                  </a:cubicBezTo>
                  <a:cubicBezTo>
                    <a:pt x="15904" y="16826"/>
                    <a:pt x="15904" y="16826"/>
                    <a:pt x="15904" y="16826"/>
                  </a:cubicBezTo>
                  <a:cubicBezTo>
                    <a:pt x="15963" y="16927"/>
                    <a:pt x="15963" y="16927"/>
                    <a:pt x="15963" y="16927"/>
                  </a:cubicBezTo>
                  <a:cubicBezTo>
                    <a:pt x="16269" y="17014"/>
                    <a:pt x="16269" y="17014"/>
                    <a:pt x="16269" y="17014"/>
                  </a:cubicBezTo>
                  <a:cubicBezTo>
                    <a:pt x="16255" y="17245"/>
                    <a:pt x="16255" y="17245"/>
                    <a:pt x="16255" y="17245"/>
                  </a:cubicBezTo>
                  <a:cubicBezTo>
                    <a:pt x="16021" y="18113"/>
                    <a:pt x="16021" y="18113"/>
                    <a:pt x="16021" y="18113"/>
                  </a:cubicBezTo>
                  <a:cubicBezTo>
                    <a:pt x="15831" y="18518"/>
                    <a:pt x="15831" y="18518"/>
                    <a:pt x="15831" y="18518"/>
                  </a:cubicBezTo>
                  <a:cubicBezTo>
                    <a:pt x="15787" y="18764"/>
                    <a:pt x="15787" y="18764"/>
                    <a:pt x="15787" y="18764"/>
                  </a:cubicBezTo>
                  <a:cubicBezTo>
                    <a:pt x="15758" y="19010"/>
                    <a:pt x="15758" y="19010"/>
                    <a:pt x="15758" y="19010"/>
                  </a:cubicBezTo>
                  <a:cubicBezTo>
                    <a:pt x="15817" y="19213"/>
                    <a:pt x="15817" y="19213"/>
                    <a:pt x="15817" y="19213"/>
                  </a:cubicBezTo>
                  <a:cubicBezTo>
                    <a:pt x="15817" y="19213"/>
                    <a:pt x="15817" y="19271"/>
                    <a:pt x="15875" y="19329"/>
                  </a:cubicBezTo>
                  <a:cubicBezTo>
                    <a:pt x="15933" y="19386"/>
                    <a:pt x="15948" y="19444"/>
                    <a:pt x="16021" y="19502"/>
                  </a:cubicBezTo>
                  <a:cubicBezTo>
                    <a:pt x="16094" y="19546"/>
                    <a:pt x="16065" y="19575"/>
                    <a:pt x="16328" y="19589"/>
                  </a:cubicBezTo>
                  <a:cubicBezTo>
                    <a:pt x="16576" y="19618"/>
                    <a:pt x="16342" y="19734"/>
                    <a:pt x="16357" y="19777"/>
                  </a:cubicBezTo>
                  <a:cubicBezTo>
                    <a:pt x="16372" y="19806"/>
                    <a:pt x="16386" y="20009"/>
                    <a:pt x="16488" y="20211"/>
                  </a:cubicBezTo>
                  <a:cubicBezTo>
                    <a:pt x="16591" y="20414"/>
                    <a:pt x="16649" y="20385"/>
                    <a:pt x="16810" y="20472"/>
                  </a:cubicBezTo>
                  <a:cubicBezTo>
                    <a:pt x="16970" y="20544"/>
                    <a:pt x="16897" y="20573"/>
                    <a:pt x="17000" y="20775"/>
                  </a:cubicBezTo>
                  <a:cubicBezTo>
                    <a:pt x="17102" y="20963"/>
                    <a:pt x="17350" y="20877"/>
                    <a:pt x="17394" y="20877"/>
                  </a:cubicBezTo>
                  <a:cubicBezTo>
                    <a:pt x="17423" y="20877"/>
                    <a:pt x="17452" y="20920"/>
                    <a:pt x="17496" y="20978"/>
                  </a:cubicBezTo>
                  <a:cubicBezTo>
                    <a:pt x="17496" y="20978"/>
                    <a:pt x="17496" y="20978"/>
                    <a:pt x="17496" y="20978"/>
                  </a:cubicBezTo>
                  <a:cubicBezTo>
                    <a:pt x="17496" y="20978"/>
                    <a:pt x="17409" y="21065"/>
                    <a:pt x="17379" y="21079"/>
                  </a:cubicBezTo>
                  <a:cubicBezTo>
                    <a:pt x="17365" y="21094"/>
                    <a:pt x="17350" y="21108"/>
                    <a:pt x="17335" y="21123"/>
                  </a:cubicBezTo>
                  <a:cubicBezTo>
                    <a:pt x="17321" y="21152"/>
                    <a:pt x="17365" y="21166"/>
                    <a:pt x="17335" y="21180"/>
                  </a:cubicBezTo>
                  <a:cubicBezTo>
                    <a:pt x="17306" y="21195"/>
                    <a:pt x="17277" y="21253"/>
                    <a:pt x="17277" y="21282"/>
                  </a:cubicBezTo>
                  <a:cubicBezTo>
                    <a:pt x="17292" y="21311"/>
                    <a:pt x="17262" y="21354"/>
                    <a:pt x="17262" y="21354"/>
                  </a:cubicBezTo>
                  <a:cubicBezTo>
                    <a:pt x="17262" y="21354"/>
                    <a:pt x="17204" y="21426"/>
                    <a:pt x="17131" y="21426"/>
                  </a:cubicBezTo>
                  <a:cubicBezTo>
                    <a:pt x="17073" y="21441"/>
                    <a:pt x="17029" y="21412"/>
                    <a:pt x="16970" y="21397"/>
                  </a:cubicBezTo>
                  <a:cubicBezTo>
                    <a:pt x="16912" y="21383"/>
                    <a:pt x="16912" y="21383"/>
                    <a:pt x="16912" y="21383"/>
                  </a:cubicBezTo>
                  <a:cubicBezTo>
                    <a:pt x="16912" y="21383"/>
                    <a:pt x="16868" y="21383"/>
                    <a:pt x="16810" y="21369"/>
                  </a:cubicBezTo>
                  <a:cubicBezTo>
                    <a:pt x="16751" y="21340"/>
                    <a:pt x="16795" y="21340"/>
                    <a:pt x="16795" y="21340"/>
                  </a:cubicBezTo>
                  <a:cubicBezTo>
                    <a:pt x="16737" y="21282"/>
                    <a:pt x="16737" y="21282"/>
                    <a:pt x="16737" y="21282"/>
                  </a:cubicBezTo>
                  <a:cubicBezTo>
                    <a:pt x="16678" y="21209"/>
                    <a:pt x="16678" y="21209"/>
                    <a:pt x="16678" y="21209"/>
                  </a:cubicBezTo>
                  <a:cubicBezTo>
                    <a:pt x="16678" y="21209"/>
                    <a:pt x="16664" y="21195"/>
                    <a:pt x="16664" y="21166"/>
                  </a:cubicBezTo>
                  <a:cubicBezTo>
                    <a:pt x="16649" y="21137"/>
                    <a:pt x="16649" y="21166"/>
                    <a:pt x="16620" y="21166"/>
                  </a:cubicBezTo>
                  <a:cubicBezTo>
                    <a:pt x="16591" y="21166"/>
                    <a:pt x="16576" y="21180"/>
                    <a:pt x="16547" y="21166"/>
                  </a:cubicBezTo>
                  <a:cubicBezTo>
                    <a:pt x="16532" y="21152"/>
                    <a:pt x="16532" y="21137"/>
                    <a:pt x="16532" y="21123"/>
                  </a:cubicBezTo>
                  <a:cubicBezTo>
                    <a:pt x="16532" y="21108"/>
                    <a:pt x="16488" y="21079"/>
                    <a:pt x="16445" y="21079"/>
                  </a:cubicBezTo>
                  <a:cubicBezTo>
                    <a:pt x="16401" y="21065"/>
                    <a:pt x="16415" y="21036"/>
                    <a:pt x="16357" y="21036"/>
                  </a:cubicBezTo>
                  <a:cubicBezTo>
                    <a:pt x="16299" y="21036"/>
                    <a:pt x="16342" y="20992"/>
                    <a:pt x="16342" y="20963"/>
                  </a:cubicBezTo>
                  <a:cubicBezTo>
                    <a:pt x="16328" y="20949"/>
                    <a:pt x="16284" y="20992"/>
                    <a:pt x="16269" y="21007"/>
                  </a:cubicBezTo>
                  <a:cubicBezTo>
                    <a:pt x="16255" y="21021"/>
                    <a:pt x="16240" y="21050"/>
                    <a:pt x="16211" y="21050"/>
                  </a:cubicBezTo>
                  <a:cubicBezTo>
                    <a:pt x="16196" y="21065"/>
                    <a:pt x="16182" y="20978"/>
                    <a:pt x="16182" y="20978"/>
                  </a:cubicBezTo>
                  <a:cubicBezTo>
                    <a:pt x="16182" y="20978"/>
                    <a:pt x="16182" y="20978"/>
                    <a:pt x="16123" y="20978"/>
                  </a:cubicBezTo>
                  <a:cubicBezTo>
                    <a:pt x="16050" y="20978"/>
                    <a:pt x="16094" y="21007"/>
                    <a:pt x="16094" y="21007"/>
                  </a:cubicBezTo>
                  <a:cubicBezTo>
                    <a:pt x="16050" y="21108"/>
                    <a:pt x="16050" y="21108"/>
                    <a:pt x="16050" y="21108"/>
                  </a:cubicBezTo>
                  <a:cubicBezTo>
                    <a:pt x="15977" y="21166"/>
                    <a:pt x="15977" y="21166"/>
                    <a:pt x="15977" y="21166"/>
                  </a:cubicBezTo>
                  <a:cubicBezTo>
                    <a:pt x="15977" y="21166"/>
                    <a:pt x="15992" y="21209"/>
                    <a:pt x="16006" y="21238"/>
                  </a:cubicBezTo>
                  <a:cubicBezTo>
                    <a:pt x="16006" y="21267"/>
                    <a:pt x="16050" y="21282"/>
                    <a:pt x="16050" y="21282"/>
                  </a:cubicBezTo>
                  <a:cubicBezTo>
                    <a:pt x="16050" y="21282"/>
                    <a:pt x="16094" y="21311"/>
                    <a:pt x="16138" y="21340"/>
                  </a:cubicBezTo>
                  <a:cubicBezTo>
                    <a:pt x="16182" y="21369"/>
                    <a:pt x="16167" y="21369"/>
                    <a:pt x="16196" y="21369"/>
                  </a:cubicBezTo>
                  <a:cubicBezTo>
                    <a:pt x="16226" y="21383"/>
                    <a:pt x="16269" y="21397"/>
                    <a:pt x="16328" y="21426"/>
                  </a:cubicBezTo>
                  <a:cubicBezTo>
                    <a:pt x="16386" y="21441"/>
                    <a:pt x="16357" y="21426"/>
                    <a:pt x="16445" y="21499"/>
                  </a:cubicBezTo>
                  <a:cubicBezTo>
                    <a:pt x="16518" y="21557"/>
                    <a:pt x="16430" y="21499"/>
                    <a:pt x="16415" y="21542"/>
                  </a:cubicBezTo>
                  <a:cubicBezTo>
                    <a:pt x="16401" y="21600"/>
                    <a:pt x="16313" y="21484"/>
                    <a:pt x="16255" y="21513"/>
                  </a:cubicBezTo>
                  <a:cubicBezTo>
                    <a:pt x="16196" y="21528"/>
                    <a:pt x="16182" y="21484"/>
                    <a:pt x="16138" y="21499"/>
                  </a:cubicBezTo>
                  <a:cubicBezTo>
                    <a:pt x="16138" y="21499"/>
                    <a:pt x="16138" y="21499"/>
                    <a:pt x="16138" y="21499"/>
                  </a:cubicBezTo>
                  <a:cubicBezTo>
                    <a:pt x="16123" y="21499"/>
                    <a:pt x="16123" y="21499"/>
                    <a:pt x="16123" y="21499"/>
                  </a:cubicBezTo>
                  <a:cubicBezTo>
                    <a:pt x="16123" y="21484"/>
                    <a:pt x="16109" y="21470"/>
                    <a:pt x="16109" y="21455"/>
                  </a:cubicBezTo>
                  <a:cubicBezTo>
                    <a:pt x="16094" y="21441"/>
                    <a:pt x="16021" y="21441"/>
                    <a:pt x="16021" y="21441"/>
                  </a:cubicBezTo>
                  <a:cubicBezTo>
                    <a:pt x="15963" y="21426"/>
                    <a:pt x="15963" y="21426"/>
                    <a:pt x="15963" y="21426"/>
                  </a:cubicBezTo>
                  <a:cubicBezTo>
                    <a:pt x="15919" y="21412"/>
                    <a:pt x="15919" y="21412"/>
                    <a:pt x="15919" y="21412"/>
                  </a:cubicBezTo>
                  <a:cubicBezTo>
                    <a:pt x="15875" y="21340"/>
                    <a:pt x="15875" y="21340"/>
                    <a:pt x="15875" y="21340"/>
                  </a:cubicBezTo>
                  <a:cubicBezTo>
                    <a:pt x="15831" y="21311"/>
                    <a:pt x="15831" y="21311"/>
                    <a:pt x="15831" y="21311"/>
                  </a:cubicBezTo>
                  <a:cubicBezTo>
                    <a:pt x="15787" y="21253"/>
                    <a:pt x="15787" y="21253"/>
                    <a:pt x="15787" y="21253"/>
                  </a:cubicBezTo>
                  <a:cubicBezTo>
                    <a:pt x="15802" y="21224"/>
                    <a:pt x="15802" y="21224"/>
                    <a:pt x="15802" y="21224"/>
                  </a:cubicBezTo>
                  <a:cubicBezTo>
                    <a:pt x="15846" y="21166"/>
                    <a:pt x="15846" y="21166"/>
                    <a:pt x="15846" y="21166"/>
                  </a:cubicBezTo>
                  <a:cubicBezTo>
                    <a:pt x="15846" y="21166"/>
                    <a:pt x="15860" y="21166"/>
                    <a:pt x="15875" y="21137"/>
                  </a:cubicBezTo>
                  <a:cubicBezTo>
                    <a:pt x="15904" y="21094"/>
                    <a:pt x="15875" y="21094"/>
                    <a:pt x="15875" y="21094"/>
                  </a:cubicBezTo>
                  <a:cubicBezTo>
                    <a:pt x="15875" y="21094"/>
                    <a:pt x="15817" y="21065"/>
                    <a:pt x="15787" y="21050"/>
                  </a:cubicBezTo>
                  <a:cubicBezTo>
                    <a:pt x="15758" y="21036"/>
                    <a:pt x="15714" y="21079"/>
                    <a:pt x="15714" y="21079"/>
                  </a:cubicBezTo>
                  <a:cubicBezTo>
                    <a:pt x="15627" y="21065"/>
                    <a:pt x="15627" y="21065"/>
                    <a:pt x="15627" y="21065"/>
                  </a:cubicBezTo>
                  <a:cubicBezTo>
                    <a:pt x="15554" y="21065"/>
                    <a:pt x="15554" y="21065"/>
                    <a:pt x="15554" y="21065"/>
                  </a:cubicBezTo>
                  <a:cubicBezTo>
                    <a:pt x="15495" y="21007"/>
                    <a:pt x="15495" y="21007"/>
                    <a:pt x="15495" y="21007"/>
                  </a:cubicBezTo>
                  <a:cubicBezTo>
                    <a:pt x="15393" y="20978"/>
                    <a:pt x="15393" y="20978"/>
                    <a:pt x="15393" y="20978"/>
                  </a:cubicBezTo>
                  <a:cubicBezTo>
                    <a:pt x="15335" y="20949"/>
                    <a:pt x="15335" y="20949"/>
                    <a:pt x="15335" y="20949"/>
                  </a:cubicBezTo>
                  <a:cubicBezTo>
                    <a:pt x="15335" y="20949"/>
                    <a:pt x="15335" y="20833"/>
                    <a:pt x="15335" y="20819"/>
                  </a:cubicBezTo>
                  <a:cubicBezTo>
                    <a:pt x="15335" y="20790"/>
                    <a:pt x="15335" y="20746"/>
                    <a:pt x="15335" y="20746"/>
                  </a:cubicBezTo>
                  <a:cubicBezTo>
                    <a:pt x="15335" y="20746"/>
                    <a:pt x="15247" y="20732"/>
                    <a:pt x="15203" y="20746"/>
                  </a:cubicBezTo>
                  <a:cubicBezTo>
                    <a:pt x="15174" y="20761"/>
                    <a:pt x="15130" y="20746"/>
                    <a:pt x="15130" y="20746"/>
                  </a:cubicBezTo>
                  <a:cubicBezTo>
                    <a:pt x="15130" y="20746"/>
                    <a:pt x="15013" y="20732"/>
                    <a:pt x="14999" y="20703"/>
                  </a:cubicBezTo>
                  <a:cubicBezTo>
                    <a:pt x="14999" y="20674"/>
                    <a:pt x="14999" y="20689"/>
                    <a:pt x="14984" y="20689"/>
                  </a:cubicBezTo>
                  <a:cubicBezTo>
                    <a:pt x="14955" y="20689"/>
                    <a:pt x="14867" y="20689"/>
                    <a:pt x="14867" y="20689"/>
                  </a:cubicBezTo>
                  <a:cubicBezTo>
                    <a:pt x="14780" y="20660"/>
                    <a:pt x="14780" y="20660"/>
                    <a:pt x="14780" y="20660"/>
                  </a:cubicBezTo>
                  <a:cubicBezTo>
                    <a:pt x="14780" y="20790"/>
                    <a:pt x="14780" y="20790"/>
                    <a:pt x="14780" y="20790"/>
                  </a:cubicBezTo>
                  <a:cubicBezTo>
                    <a:pt x="14765" y="20761"/>
                    <a:pt x="14765" y="20761"/>
                    <a:pt x="14765" y="20761"/>
                  </a:cubicBezTo>
                  <a:cubicBezTo>
                    <a:pt x="14619" y="20746"/>
                    <a:pt x="14619" y="20746"/>
                    <a:pt x="14619" y="20746"/>
                  </a:cubicBezTo>
                  <a:cubicBezTo>
                    <a:pt x="14531" y="20790"/>
                    <a:pt x="14531" y="20790"/>
                    <a:pt x="14531" y="20790"/>
                  </a:cubicBezTo>
                  <a:cubicBezTo>
                    <a:pt x="14458" y="20819"/>
                    <a:pt x="14458" y="20819"/>
                    <a:pt x="14458" y="20819"/>
                  </a:cubicBezTo>
                  <a:cubicBezTo>
                    <a:pt x="14458" y="20862"/>
                    <a:pt x="14458" y="20862"/>
                    <a:pt x="14458" y="20862"/>
                  </a:cubicBezTo>
                  <a:cubicBezTo>
                    <a:pt x="14429" y="20906"/>
                    <a:pt x="14429" y="20906"/>
                    <a:pt x="14429" y="20906"/>
                  </a:cubicBezTo>
                  <a:cubicBezTo>
                    <a:pt x="14429" y="20906"/>
                    <a:pt x="14385" y="20920"/>
                    <a:pt x="14356" y="20920"/>
                  </a:cubicBezTo>
                  <a:cubicBezTo>
                    <a:pt x="14356" y="20934"/>
                    <a:pt x="14342" y="20963"/>
                    <a:pt x="14342" y="20978"/>
                  </a:cubicBezTo>
                  <a:cubicBezTo>
                    <a:pt x="14327" y="20992"/>
                    <a:pt x="14298" y="20992"/>
                    <a:pt x="14298" y="20992"/>
                  </a:cubicBezTo>
                  <a:cubicBezTo>
                    <a:pt x="14239" y="20978"/>
                    <a:pt x="14239" y="20978"/>
                    <a:pt x="14239" y="20978"/>
                  </a:cubicBezTo>
                  <a:cubicBezTo>
                    <a:pt x="14196" y="20978"/>
                    <a:pt x="14196" y="20978"/>
                    <a:pt x="14196" y="20978"/>
                  </a:cubicBezTo>
                  <a:cubicBezTo>
                    <a:pt x="14166" y="20949"/>
                    <a:pt x="14166" y="20949"/>
                    <a:pt x="14166" y="20949"/>
                  </a:cubicBezTo>
                  <a:cubicBezTo>
                    <a:pt x="14196" y="20891"/>
                    <a:pt x="14196" y="20891"/>
                    <a:pt x="14196" y="20891"/>
                  </a:cubicBezTo>
                  <a:cubicBezTo>
                    <a:pt x="14196" y="20862"/>
                    <a:pt x="14196" y="20862"/>
                    <a:pt x="14196" y="20862"/>
                  </a:cubicBezTo>
                  <a:cubicBezTo>
                    <a:pt x="14196" y="20862"/>
                    <a:pt x="14196" y="20862"/>
                    <a:pt x="14196" y="20862"/>
                  </a:cubicBezTo>
                  <a:cubicBezTo>
                    <a:pt x="14196" y="20862"/>
                    <a:pt x="14196" y="20862"/>
                    <a:pt x="14196" y="20862"/>
                  </a:cubicBezTo>
                  <a:cubicBezTo>
                    <a:pt x="14108" y="20862"/>
                    <a:pt x="14108" y="20862"/>
                    <a:pt x="14108" y="20862"/>
                  </a:cubicBezTo>
                  <a:cubicBezTo>
                    <a:pt x="14020" y="20833"/>
                    <a:pt x="14020" y="20833"/>
                    <a:pt x="14020" y="20833"/>
                  </a:cubicBezTo>
                  <a:cubicBezTo>
                    <a:pt x="13830" y="20819"/>
                    <a:pt x="13830" y="20819"/>
                    <a:pt x="13830" y="20819"/>
                  </a:cubicBezTo>
                  <a:cubicBezTo>
                    <a:pt x="13714" y="20790"/>
                    <a:pt x="13714" y="20790"/>
                    <a:pt x="13714" y="20790"/>
                  </a:cubicBezTo>
                  <a:cubicBezTo>
                    <a:pt x="13641" y="20717"/>
                    <a:pt x="13641" y="20717"/>
                    <a:pt x="13641" y="20717"/>
                  </a:cubicBezTo>
                  <a:cubicBezTo>
                    <a:pt x="13524" y="20689"/>
                    <a:pt x="13524" y="20689"/>
                    <a:pt x="13524" y="20689"/>
                  </a:cubicBezTo>
                  <a:cubicBezTo>
                    <a:pt x="13422" y="20761"/>
                    <a:pt x="13422" y="20761"/>
                    <a:pt x="13422" y="20761"/>
                  </a:cubicBezTo>
                  <a:cubicBezTo>
                    <a:pt x="13422" y="20761"/>
                    <a:pt x="13319" y="20717"/>
                    <a:pt x="13275" y="20717"/>
                  </a:cubicBezTo>
                  <a:cubicBezTo>
                    <a:pt x="13246" y="20732"/>
                    <a:pt x="13188" y="20746"/>
                    <a:pt x="13173" y="20761"/>
                  </a:cubicBezTo>
                  <a:cubicBezTo>
                    <a:pt x="13159" y="20761"/>
                    <a:pt x="13159" y="20775"/>
                    <a:pt x="13144" y="20775"/>
                  </a:cubicBezTo>
                  <a:cubicBezTo>
                    <a:pt x="13144" y="20775"/>
                    <a:pt x="13144" y="20775"/>
                    <a:pt x="13144" y="20775"/>
                  </a:cubicBezTo>
                  <a:cubicBezTo>
                    <a:pt x="13144" y="20775"/>
                    <a:pt x="13144" y="20775"/>
                    <a:pt x="13144" y="20775"/>
                  </a:cubicBezTo>
                  <a:cubicBezTo>
                    <a:pt x="13144" y="20775"/>
                    <a:pt x="13144" y="20775"/>
                    <a:pt x="13144" y="20775"/>
                  </a:cubicBezTo>
                  <a:cubicBezTo>
                    <a:pt x="13144" y="20790"/>
                    <a:pt x="13144" y="20790"/>
                    <a:pt x="13144" y="20790"/>
                  </a:cubicBezTo>
                  <a:cubicBezTo>
                    <a:pt x="13144" y="20790"/>
                    <a:pt x="13144" y="20790"/>
                    <a:pt x="13144" y="20790"/>
                  </a:cubicBezTo>
                  <a:cubicBezTo>
                    <a:pt x="13144" y="20790"/>
                    <a:pt x="13144" y="20790"/>
                    <a:pt x="13144" y="20790"/>
                  </a:cubicBezTo>
                  <a:cubicBezTo>
                    <a:pt x="13144" y="20790"/>
                    <a:pt x="13144" y="20790"/>
                    <a:pt x="13144" y="20790"/>
                  </a:cubicBezTo>
                  <a:cubicBezTo>
                    <a:pt x="13144" y="20790"/>
                    <a:pt x="13144" y="20790"/>
                    <a:pt x="13144" y="20790"/>
                  </a:cubicBezTo>
                  <a:cubicBezTo>
                    <a:pt x="13144" y="20790"/>
                    <a:pt x="13144" y="20790"/>
                    <a:pt x="13144"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086" y="20819"/>
                    <a:pt x="13056" y="20804"/>
                    <a:pt x="13027" y="20804"/>
                  </a:cubicBezTo>
                  <a:cubicBezTo>
                    <a:pt x="13013" y="20819"/>
                    <a:pt x="12998" y="20833"/>
                    <a:pt x="12969" y="20833"/>
                  </a:cubicBezTo>
                  <a:cubicBezTo>
                    <a:pt x="12940" y="20833"/>
                    <a:pt x="12925" y="20819"/>
                    <a:pt x="12896" y="20819"/>
                  </a:cubicBezTo>
                  <a:cubicBezTo>
                    <a:pt x="12881" y="20833"/>
                    <a:pt x="12867" y="20848"/>
                    <a:pt x="12837" y="20848"/>
                  </a:cubicBezTo>
                  <a:cubicBezTo>
                    <a:pt x="12808" y="20848"/>
                    <a:pt x="12794" y="20819"/>
                    <a:pt x="12794" y="20819"/>
                  </a:cubicBezTo>
                  <a:cubicBezTo>
                    <a:pt x="12750" y="20819"/>
                    <a:pt x="12750" y="20819"/>
                    <a:pt x="12750" y="20819"/>
                  </a:cubicBezTo>
                  <a:cubicBezTo>
                    <a:pt x="12706" y="20775"/>
                    <a:pt x="12706" y="20775"/>
                    <a:pt x="12706" y="20775"/>
                  </a:cubicBezTo>
                  <a:cubicBezTo>
                    <a:pt x="12706" y="20775"/>
                    <a:pt x="12691" y="20804"/>
                    <a:pt x="12647" y="20804"/>
                  </a:cubicBezTo>
                  <a:cubicBezTo>
                    <a:pt x="12618" y="20790"/>
                    <a:pt x="12589" y="20775"/>
                    <a:pt x="12560" y="20790"/>
                  </a:cubicBezTo>
                  <a:cubicBezTo>
                    <a:pt x="12531" y="20790"/>
                    <a:pt x="12487" y="20804"/>
                    <a:pt x="12487" y="20804"/>
                  </a:cubicBezTo>
                  <a:cubicBezTo>
                    <a:pt x="12370" y="20761"/>
                    <a:pt x="12370" y="20761"/>
                    <a:pt x="12370" y="20761"/>
                  </a:cubicBezTo>
                  <a:cubicBezTo>
                    <a:pt x="12297" y="20746"/>
                    <a:pt x="12297" y="20746"/>
                    <a:pt x="12297" y="20746"/>
                  </a:cubicBezTo>
                  <a:cubicBezTo>
                    <a:pt x="12239" y="20732"/>
                    <a:pt x="12239" y="20732"/>
                    <a:pt x="12239" y="20732"/>
                  </a:cubicBezTo>
                  <a:cubicBezTo>
                    <a:pt x="12209" y="20775"/>
                    <a:pt x="12209" y="20775"/>
                    <a:pt x="12209" y="20775"/>
                  </a:cubicBezTo>
                  <a:cubicBezTo>
                    <a:pt x="12136" y="20775"/>
                    <a:pt x="12136" y="20775"/>
                    <a:pt x="12136" y="20775"/>
                  </a:cubicBezTo>
                  <a:cubicBezTo>
                    <a:pt x="12136" y="20775"/>
                    <a:pt x="12049" y="20746"/>
                    <a:pt x="11990" y="20761"/>
                  </a:cubicBezTo>
                  <a:cubicBezTo>
                    <a:pt x="11976" y="20761"/>
                    <a:pt x="11932" y="20804"/>
                    <a:pt x="11917" y="20804"/>
                  </a:cubicBezTo>
                  <a:cubicBezTo>
                    <a:pt x="11903" y="20819"/>
                    <a:pt x="11961" y="20862"/>
                    <a:pt x="11932" y="20862"/>
                  </a:cubicBezTo>
                  <a:cubicBezTo>
                    <a:pt x="11494" y="20819"/>
                    <a:pt x="10983" y="20645"/>
                    <a:pt x="10544" y="20529"/>
                  </a:cubicBezTo>
                  <a:cubicBezTo>
                    <a:pt x="10544" y="20529"/>
                    <a:pt x="10179" y="20443"/>
                    <a:pt x="10121" y="20443"/>
                  </a:cubicBezTo>
                  <a:cubicBezTo>
                    <a:pt x="10062" y="20443"/>
                    <a:pt x="9946" y="20283"/>
                    <a:pt x="9946" y="20240"/>
                  </a:cubicBezTo>
                  <a:cubicBezTo>
                    <a:pt x="9946" y="20197"/>
                    <a:pt x="9931" y="20066"/>
                    <a:pt x="9989" y="20038"/>
                  </a:cubicBezTo>
                  <a:cubicBezTo>
                    <a:pt x="10048" y="20009"/>
                    <a:pt x="10048" y="20009"/>
                    <a:pt x="10150" y="19922"/>
                  </a:cubicBezTo>
                  <a:cubicBezTo>
                    <a:pt x="10238" y="19820"/>
                    <a:pt x="10238" y="19748"/>
                    <a:pt x="10238" y="19748"/>
                  </a:cubicBezTo>
                  <a:cubicBezTo>
                    <a:pt x="10019" y="19618"/>
                    <a:pt x="10019" y="19618"/>
                    <a:pt x="10019" y="19618"/>
                  </a:cubicBezTo>
                  <a:cubicBezTo>
                    <a:pt x="10019" y="19618"/>
                    <a:pt x="9770" y="19748"/>
                    <a:pt x="9727" y="19719"/>
                  </a:cubicBezTo>
                  <a:cubicBezTo>
                    <a:pt x="9668" y="19690"/>
                    <a:pt x="9434" y="19849"/>
                    <a:pt x="9434" y="19849"/>
                  </a:cubicBezTo>
                  <a:cubicBezTo>
                    <a:pt x="9201" y="19864"/>
                    <a:pt x="9201" y="19864"/>
                    <a:pt x="9201" y="19864"/>
                  </a:cubicBezTo>
                  <a:cubicBezTo>
                    <a:pt x="9201" y="19835"/>
                    <a:pt x="9201" y="19835"/>
                    <a:pt x="9201" y="19835"/>
                  </a:cubicBezTo>
                  <a:cubicBezTo>
                    <a:pt x="9201" y="19835"/>
                    <a:pt x="9245" y="19690"/>
                    <a:pt x="9303" y="19719"/>
                  </a:cubicBezTo>
                  <a:cubicBezTo>
                    <a:pt x="9361" y="19546"/>
                    <a:pt x="9361" y="19546"/>
                    <a:pt x="9361" y="19546"/>
                  </a:cubicBezTo>
                  <a:cubicBezTo>
                    <a:pt x="9332" y="19343"/>
                    <a:pt x="9332" y="19343"/>
                    <a:pt x="9332" y="19343"/>
                  </a:cubicBezTo>
                  <a:cubicBezTo>
                    <a:pt x="9274" y="19068"/>
                    <a:pt x="9274" y="19068"/>
                    <a:pt x="9274" y="19068"/>
                  </a:cubicBezTo>
                  <a:cubicBezTo>
                    <a:pt x="9566" y="19054"/>
                    <a:pt x="9566" y="19054"/>
                    <a:pt x="9566" y="19054"/>
                  </a:cubicBezTo>
                  <a:cubicBezTo>
                    <a:pt x="9829" y="18909"/>
                    <a:pt x="9829" y="18909"/>
                    <a:pt x="9829" y="18909"/>
                  </a:cubicBezTo>
                  <a:cubicBezTo>
                    <a:pt x="9741" y="18764"/>
                    <a:pt x="9741" y="18764"/>
                    <a:pt x="9741" y="18764"/>
                  </a:cubicBezTo>
                  <a:cubicBezTo>
                    <a:pt x="9493" y="18851"/>
                    <a:pt x="9493" y="18851"/>
                    <a:pt x="9493" y="18851"/>
                  </a:cubicBezTo>
                  <a:cubicBezTo>
                    <a:pt x="9259" y="18808"/>
                    <a:pt x="9259" y="18808"/>
                    <a:pt x="9259" y="18808"/>
                  </a:cubicBezTo>
                  <a:cubicBezTo>
                    <a:pt x="8953" y="19068"/>
                    <a:pt x="8953" y="19068"/>
                    <a:pt x="8953" y="19068"/>
                  </a:cubicBezTo>
                  <a:cubicBezTo>
                    <a:pt x="8602" y="19068"/>
                    <a:pt x="8602" y="19068"/>
                    <a:pt x="8602" y="19068"/>
                  </a:cubicBezTo>
                  <a:cubicBezTo>
                    <a:pt x="8485" y="19054"/>
                    <a:pt x="8485" y="19054"/>
                    <a:pt x="8485" y="19054"/>
                  </a:cubicBezTo>
                  <a:cubicBezTo>
                    <a:pt x="8500" y="19025"/>
                    <a:pt x="8500" y="18996"/>
                    <a:pt x="8514" y="18996"/>
                  </a:cubicBezTo>
                  <a:cubicBezTo>
                    <a:pt x="8544" y="18981"/>
                    <a:pt x="8763" y="18909"/>
                    <a:pt x="8763" y="18909"/>
                  </a:cubicBezTo>
                  <a:cubicBezTo>
                    <a:pt x="8909" y="18822"/>
                    <a:pt x="8909" y="18822"/>
                    <a:pt x="8909" y="18822"/>
                  </a:cubicBezTo>
                  <a:cubicBezTo>
                    <a:pt x="8909" y="18822"/>
                    <a:pt x="8982" y="18721"/>
                    <a:pt x="9011" y="18706"/>
                  </a:cubicBezTo>
                  <a:cubicBezTo>
                    <a:pt x="9040" y="18706"/>
                    <a:pt x="9069" y="18649"/>
                    <a:pt x="9099" y="18576"/>
                  </a:cubicBezTo>
                  <a:cubicBezTo>
                    <a:pt x="9142" y="18518"/>
                    <a:pt x="9172" y="18475"/>
                    <a:pt x="9172" y="18475"/>
                  </a:cubicBezTo>
                  <a:cubicBezTo>
                    <a:pt x="9172" y="18475"/>
                    <a:pt x="9347" y="18432"/>
                    <a:pt x="9332" y="18417"/>
                  </a:cubicBezTo>
                  <a:cubicBezTo>
                    <a:pt x="9332" y="18388"/>
                    <a:pt x="9259" y="18330"/>
                    <a:pt x="9347" y="18330"/>
                  </a:cubicBezTo>
                  <a:cubicBezTo>
                    <a:pt x="9434" y="18330"/>
                    <a:pt x="9434" y="18330"/>
                    <a:pt x="9478" y="18301"/>
                  </a:cubicBezTo>
                  <a:cubicBezTo>
                    <a:pt x="9508" y="18287"/>
                    <a:pt x="9493" y="18272"/>
                    <a:pt x="9508" y="18229"/>
                  </a:cubicBezTo>
                  <a:cubicBezTo>
                    <a:pt x="9537" y="18200"/>
                    <a:pt x="9551" y="18157"/>
                    <a:pt x="9551" y="18128"/>
                  </a:cubicBezTo>
                  <a:cubicBezTo>
                    <a:pt x="9537" y="18099"/>
                    <a:pt x="9464" y="17983"/>
                    <a:pt x="9464" y="17954"/>
                  </a:cubicBezTo>
                  <a:cubicBezTo>
                    <a:pt x="9449" y="17911"/>
                    <a:pt x="9464" y="17824"/>
                    <a:pt x="9464" y="17824"/>
                  </a:cubicBezTo>
                  <a:cubicBezTo>
                    <a:pt x="9464" y="17824"/>
                    <a:pt x="9508" y="17810"/>
                    <a:pt x="9551" y="17795"/>
                  </a:cubicBezTo>
                  <a:cubicBezTo>
                    <a:pt x="9581" y="17766"/>
                    <a:pt x="9639" y="17665"/>
                    <a:pt x="9639" y="17665"/>
                  </a:cubicBezTo>
                  <a:cubicBezTo>
                    <a:pt x="9654" y="17592"/>
                    <a:pt x="9654" y="17592"/>
                    <a:pt x="9654" y="17592"/>
                  </a:cubicBezTo>
                  <a:cubicBezTo>
                    <a:pt x="9654" y="17592"/>
                    <a:pt x="9712" y="17549"/>
                    <a:pt x="9727" y="17549"/>
                  </a:cubicBezTo>
                  <a:cubicBezTo>
                    <a:pt x="9756" y="17535"/>
                    <a:pt x="9989" y="17448"/>
                    <a:pt x="10004" y="17448"/>
                  </a:cubicBezTo>
                  <a:cubicBezTo>
                    <a:pt x="10019" y="17448"/>
                    <a:pt x="10165" y="17462"/>
                    <a:pt x="10121" y="17390"/>
                  </a:cubicBezTo>
                  <a:cubicBezTo>
                    <a:pt x="10077" y="17332"/>
                    <a:pt x="10062" y="17303"/>
                    <a:pt x="10048" y="17260"/>
                  </a:cubicBezTo>
                  <a:cubicBezTo>
                    <a:pt x="10033" y="17216"/>
                    <a:pt x="10033" y="17115"/>
                    <a:pt x="10033" y="17101"/>
                  </a:cubicBezTo>
                  <a:cubicBezTo>
                    <a:pt x="10048" y="17086"/>
                    <a:pt x="10165" y="17043"/>
                    <a:pt x="10033" y="17028"/>
                  </a:cubicBezTo>
                  <a:cubicBezTo>
                    <a:pt x="9902" y="17014"/>
                    <a:pt x="10004" y="16970"/>
                    <a:pt x="9975" y="16941"/>
                  </a:cubicBezTo>
                  <a:cubicBezTo>
                    <a:pt x="9931" y="16913"/>
                    <a:pt x="9843" y="16855"/>
                    <a:pt x="9843" y="16855"/>
                  </a:cubicBezTo>
                  <a:cubicBezTo>
                    <a:pt x="9800" y="16855"/>
                    <a:pt x="9800" y="16855"/>
                    <a:pt x="9800" y="16855"/>
                  </a:cubicBezTo>
                  <a:cubicBezTo>
                    <a:pt x="9814" y="16710"/>
                    <a:pt x="9814" y="16710"/>
                    <a:pt x="9814" y="16710"/>
                  </a:cubicBezTo>
                  <a:cubicBezTo>
                    <a:pt x="9814" y="16710"/>
                    <a:pt x="9858" y="16652"/>
                    <a:pt x="9873" y="16652"/>
                  </a:cubicBezTo>
                  <a:cubicBezTo>
                    <a:pt x="9887" y="16638"/>
                    <a:pt x="9902" y="16580"/>
                    <a:pt x="9873" y="16580"/>
                  </a:cubicBezTo>
                  <a:cubicBezTo>
                    <a:pt x="9843" y="16594"/>
                    <a:pt x="9756" y="16609"/>
                    <a:pt x="9756" y="16609"/>
                  </a:cubicBezTo>
                  <a:cubicBezTo>
                    <a:pt x="9756" y="16609"/>
                    <a:pt x="9683" y="16609"/>
                    <a:pt x="9697" y="16580"/>
                  </a:cubicBezTo>
                  <a:cubicBezTo>
                    <a:pt x="9697" y="16536"/>
                    <a:pt x="9727" y="16536"/>
                    <a:pt x="9770" y="16493"/>
                  </a:cubicBezTo>
                  <a:cubicBezTo>
                    <a:pt x="9814" y="16450"/>
                    <a:pt x="9829" y="16421"/>
                    <a:pt x="9829" y="16421"/>
                  </a:cubicBezTo>
                  <a:cubicBezTo>
                    <a:pt x="9814" y="16334"/>
                    <a:pt x="9814" y="16334"/>
                    <a:pt x="9814" y="16334"/>
                  </a:cubicBezTo>
                  <a:cubicBezTo>
                    <a:pt x="9814" y="16334"/>
                    <a:pt x="9814" y="16276"/>
                    <a:pt x="9800" y="16276"/>
                  </a:cubicBezTo>
                  <a:cubicBezTo>
                    <a:pt x="9800" y="16261"/>
                    <a:pt x="9712" y="16088"/>
                    <a:pt x="9712" y="16088"/>
                  </a:cubicBezTo>
                  <a:cubicBezTo>
                    <a:pt x="9712" y="16088"/>
                    <a:pt x="9624" y="16059"/>
                    <a:pt x="9610" y="16088"/>
                  </a:cubicBezTo>
                  <a:cubicBezTo>
                    <a:pt x="9610" y="16117"/>
                    <a:pt x="9581" y="16175"/>
                    <a:pt x="9581" y="16175"/>
                  </a:cubicBezTo>
                  <a:cubicBezTo>
                    <a:pt x="9478" y="16175"/>
                    <a:pt x="9478" y="16175"/>
                    <a:pt x="9478" y="16175"/>
                  </a:cubicBezTo>
                  <a:cubicBezTo>
                    <a:pt x="9420" y="16131"/>
                    <a:pt x="9420" y="16131"/>
                    <a:pt x="9420" y="16131"/>
                  </a:cubicBezTo>
                  <a:cubicBezTo>
                    <a:pt x="9303" y="16102"/>
                    <a:pt x="9303" y="16102"/>
                    <a:pt x="9303" y="16102"/>
                  </a:cubicBezTo>
                  <a:cubicBezTo>
                    <a:pt x="9303" y="16102"/>
                    <a:pt x="9288" y="16117"/>
                    <a:pt x="9274" y="16131"/>
                  </a:cubicBezTo>
                  <a:cubicBezTo>
                    <a:pt x="9274" y="16146"/>
                    <a:pt x="9157" y="16073"/>
                    <a:pt x="9157" y="16073"/>
                  </a:cubicBezTo>
                  <a:cubicBezTo>
                    <a:pt x="9157" y="16073"/>
                    <a:pt x="9113" y="16131"/>
                    <a:pt x="9099" y="16146"/>
                  </a:cubicBezTo>
                  <a:cubicBezTo>
                    <a:pt x="9099" y="16146"/>
                    <a:pt x="8982" y="16117"/>
                    <a:pt x="8982" y="16117"/>
                  </a:cubicBezTo>
                  <a:cubicBezTo>
                    <a:pt x="8865" y="16131"/>
                    <a:pt x="8865" y="16131"/>
                    <a:pt x="8865" y="16131"/>
                  </a:cubicBezTo>
                  <a:cubicBezTo>
                    <a:pt x="8763" y="16146"/>
                    <a:pt x="8763" y="16146"/>
                    <a:pt x="8763" y="16146"/>
                  </a:cubicBezTo>
                  <a:cubicBezTo>
                    <a:pt x="8675" y="16102"/>
                    <a:pt x="8675" y="16102"/>
                    <a:pt x="8675" y="16102"/>
                  </a:cubicBezTo>
                  <a:cubicBezTo>
                    <a:pt x="8646" y="16146"/>
                    <a:pt x="8646" y="16146"/>
                    <a:pt x="8646" y="16146"/>
                  </a:cubicBezTo>
                  <a:cubicBezTo>
                    <a:pt x="8660" y="16218"/>
                    <a:pt x="8660" y="16218"/>
                    <a:pt x="8660" y="16218"/>
                  </a:cubicBezTo>
                  <a:cubicBezTo>
                    <a:pt x="8587" y="16261"/>
                    <a:pt x="8587" y="16261"/>
                    <a:pt x="8587" y="16261"/>
                  </a:cubicBezTo>
                  <a:cubicBezTo>
                    <a:pt x="8500" y="16204"/>
                    <a:pt x="8500" y="16204"/>
                    <a:pt x="8500" y="16204"/>
                  </a:cubicBezTo>
                  <a:cubicBezTo>
                    <a:pt x="8427" y="16189"/>
                    <a:pt x="8427" y="16189"/>
                    <a:pt x="8427" y="16189"/>
                  </a:cubicBezTo>
                  <a:cubicBezTo>
                    <a:pt x="8325" y="16088"/>
                    <a:pt x="8325" y="16088"/>
                    <a:pt x="8325" y="16088"/>
                  </a:cubicBezTo>
                  <a:cubicBezTo>
                    <a:pt x="8237" y="16059"/>
                    <a:pt x="8237" y="16059"/>
                    <a:pt x="8237" y="16059"/>
                  </a:cubicBezTo>
                  <a:cubicBezTo>
                    <a:pt x="8149" y="16016"/>
                    <a:pt x="8149" y="16016"/>
                    <a:pt x="8149" y="16016"/>
                  </a:cubicBezTo>
                  <a:cubicBezTo>
                    <a:pt x="8149" y="16016"/>
                    <a:pt x="8105" y="16131"/>
                    <a:pt x="8091" y="16146"/>
                  </a:cubicBezTo>
                  <a:cubicBezTo>
                    <a:pt x="8076" y="16146"/>
                    <a:pt x="8003" y="16175"/>
                    <a:pt x="7989" y="16175"/>
                  </a:cubicBezTo>
                  <a:cubicBezTo>
                    <a:pt x="7959" y="16189"/>
                    <a:pt x="7945" y="16261"/>
                    <a:pt x="7945" y="16261"/>
                  </a:cubicBezTo>
                  <a:cubicBezTo>
                    <a:pt x="7872" y="16305"/>
                    <a:pt x="7872" y="16305"/>
                    <a:pt x="7872" y="16305"/>
                  </a:cubicBezTo>
                  <a:cubicBezTo>
                    <a:pt x="7872" y="16305"/>
                    <a:pt x="7828" y="16276"/>
                    <a:pt x="7799" y="16276"/>
                  </a:cubicBezTo>
                  <a:cubicBezTo>
                    <a:pt x="7784" y="16276"/>
                    <a:pt x="7770" y="16290"/>
                    <a:pt x="7770" y="16290"/>
                  </a:cubicBezTo>
                  <a:cubicBezTo>
                    <a:pt x="7740" y="16334"/>
                    <a:pt x="7740" y="16334"/>
                    <a:pt x="7740" y="16334"/>
                  </a:cubicBezTo>
                  <a:cubicBezTo>
                    <a:pt x="7740" y="16334"/>
                    <a:pt x="7726" y="16334"/>
                    <a:pt x="7682" y="16305"/>
                  </a:cubicBezTo>
                  <a:cubicBezTo>
                    <a:pt x="7653" y="16290"/>
                    <a:pt x="7609" y="16261"/>
                    <a:pt x="7609" y="16261"/>
                  </a:cubicBezTo>
                  <a:cubicBezTo>
                    <a:pt x="7565" y="16247"/>
                    <a:pt x="7565" y="16247"/>
                    <a:pt x="7565" y="16247"/>
                  </a:cubicBezTo>
                  <a:cubicBezTo>
                    <a:pt x="7565" y="16247"/>
                    <a:pt x="7434" y="16305"/>
                    <a:pt x="7419" y="16319"/>
                  </a:cubicBezTo>
                  <a:cubicBezTo>
                    <a:pt x="7419" y="16334"/>
                    <a:pt x="7390" y="16377"/>
                    <a:pt x="7390" y="16377"/>
                  </a:cubicBezTo>
                  <a:cubicBezTo>
                    <a:pt x="7317" y="16319"/>
                    <a:pt x="7317" y="16319"/>
                    <a:pt x="7317" y="16319"/>
                  </a:cubicBezTo>
                  <a:cubicBezTo>
                    <a:pt x="7229" y="16261"/>
                    <a:pt x="7229" y="16261"/>
                    <a:pt x="7229" y="16261"/>
                  </a:cubicBezTo>
                  <a:cubicBezTo>
                    <a:pt x="7215" y="16160"/>
                    <a:pt x="7215" y="16160"/>
                    <a:pt x="7215" y="16160"/>
                  </a:cubicBezTo>
                  <a:cubicBezTo>
                    <a:pt x="7054" y="16016"/>
                    <a:pt x="7054" y="16016"/>
                    <a:pt x="7054" y="16016"/>
                  </a:cubicBezTo>
                  <a:cubicBezTo>
                    <a:pt x="7025" y="15871"/>
                    <a:pt x="7025" y="15871"/>
                    <a:pt x="7025" y="15871"/>
                  </a:cubicBezTo>
                  <a:cubicBezTo>
                    <a:pt x="6908" y="15784"/>
                    <a:pt x="6908" y="15784"/>
                    <a:pt x="6908" y="15784"/>
                  </a:cubicBezTo>
                  <a:cubicBezTo>
                    <a:pt x="6835" y="15871"/>
                    <a:pt x="6835" y="15871"/>
                    <a:pt x="6835" y="15871"/>
                  </a:cubicBezTo>
                  <a:cubicBezTo>
                    <a:pt x="6718" y="15856"/>
                    <a:pt x="6718" y="15856"/>
                    <a:pt x="6718" y="15856"/>
                  </a:cubicBezTo>
                  <a:close/>
                  <a:moveTo>
                    <a:pt x="5214" y="1056"/>
                  </a:moveTo>
                  <a:cubicBezTo>
                    <a:pt x="5214" y="1056"/>
                    <a:pt x="5214" y="1056"/>
                    <a:pt x="5214" y="1056"/>
                  </a:cubicBezTo>
                  <a:cubicBezTo>
                    <a:pt x="5228" y="1071"/>
                    <a:pt x="5228" y="1071"/>
                    <a:pt x="5228" y="1071"/>
                  </a:cubicBezTo>
                  <a:cubicBezTo>
                    <a:pt x="5228" y="1071"/>
                    <a:pt x="5316" y="1157"/>
                    <a:pt x="5389" y="1157"/>
                  </a:cubicBezTo>
                  <a:cubicBezTo>
                    <a:pt x="5462" y="1157"/>
                    <a:pt x="5404" y="1157"/>
                    <a:pt x="5477" y="1143"/>
                  </a:cubicBezTo>
                  <a:cubicBezTo>
                    <a:pt x="5535" y="1114"/>
                    <a:pt x="5550" y="1071"/>
                    <a:pt x="5579" y="1027"/>
                  </a:cubicBezTo>
                  <a:cubicBezTo>
                    <a:pt x="5608" y="984"/>
                    <a:pt x="5608" y="984"/>
                    <a:pt x="5608" y="940"/>
                  </a:cubicBezTo>
                  <a:cubicBezTo>
                    <a:pt x="5608" y="897"/>
                    <a:pt x="5608" y="825"/>
                    <a:pt x="5608" y="781"/>
                  </a:cubicBezTo>
                  <a:cubicBezTo>
                    <a:pt x="5608" y="738"/>
                    <a:pt x="5652" y="752"/>
                    <a:pt x="5696" y="752"/>
                  </a:cubicBezTo>
                  <a:cubicBezTo>
                    <a:pt x="5725" y="752"/>
                    <a:pt x="5667" y="637"/>
                    <a:pt x="5667" y="637"/>
                  </a:cubicBezTo>
                  <a:cubicBezTo>
                    <a:pt x="5667" y="637"/>
                    <a:pt x="5535" y="579"/>
                    <a:pt x="5477" y="579"/>
                  </a:cubicBezTo>
                  <a:cubicBezTo>
                    <a:pt x="5418" y="579"/>
                    <a:pt x="5287" y="564"/>
                    <a:pt x="5287" y="564"/>
                  </a:cubicBezTo>
                  <a:cubicBezTo>
                    <a:pt x="5126" y="767"/>
                    <a:pt x="5126" y="767"/>
                    <a:pt x="5126" y="767"/>
                  </a:cubicBezTo>
                  <a:cubicBezTo>
                    <a:pt x="5126" y="767"/>
                    <a:pt x="5185" y="1042"/>
                    <a:pt x="5214" y="1056"/>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0" name="Shape 2263">
              <a:extLst>
                <a:ext uri="{FF2B5EF4-FFF2-40B4-BE49-F238E27FC236}">
                  <a16:creationId xmlns:a16="http://schemas.microsoft.com/office/drawing/2014/main" id="{3D99DA5F-45FA-0250-37CC-A06AFE4568AC}"/>
                </a:ext>
              </a:extLst>
            </p:cNvPr>
            <p:cNvSpPr/>
            <p:nvPr/>
          </p:nvSpPr>
          <p:spPr>
            <a:xfrm>
              <a:off x="1362041" y="2850581"/>
              <a:ext cx="1200983" cy="2201059"/>
            </a:xfrm>
            <a:custGeom>
              <a:avLst/>
              <a:gdLst/>
              <a:ahLst/>
              <a:cxnLst>
                <a:cxn ang="0">
                  <a:pos x="wd2" y="hd2"/>
                </a:cxn>
                <a:cxn ang="5400000">
                  <a:pos x="wd2" y="hd2"/>
                </a:cxn>
                <a:cxn ang="10800000">
                  <a:pos x="wd2" y="hd2"/>
                </a:cxn>
                <a:cxn ang="16200000">
                  <a:pos x="wd2" y="hd2"/>
                </a:cxn>
              </a:cxnLst>
              <a:rect l="0" t="0" r="r" b="b"/>
              <a:pathLst>
                <a:path w="21600" h="21600" extrusionOk="0">
                  <a:moveTo>
                    <a:pt x="5419" y="19676"/>
                  </a:moveTo>
                  <a:cubicBezTo>
                    <a:pt x="5122" y="19793"/>
                    <a:pt x="5122" y="19793"/>
                    <a:pt x="5122" y="19793"/>
                  </a:cubicBezTo>
                  <a:cubicBezTo>
                    <a:pt x="5122" y="19951"/>
                    <a:pt x="5122" y="19951"/>
                    <a:pt x="5122" y="19951"/>
                  </a:cubicBezTo>
                  <a:cubicBezTo>
                    <a:pt x="4973" y="20108"/>
                    <a:pt x="4973" y="20108"/>
                    <a:pt x="4973" y="20108"/>
                  </a:cubicBezTo>
                  <a:cubicBezTo>
                    <a:pt x="4973" y="20108"/>
                    <a:pt x="4825" y="20147"/>
                    <a:pt x="4825" y="20186"/>
                  </a:cubicBezTo>
                  <a:cubicBezTo>
                    <a:pt x="4751" y="20225"/>
                    <a:pt x="4454" y="20343"/>
                    <a:pt x="4454" y="20343"/>
                  </a:cubicBezTo>
                  <a:cubicBezTo>
                    <a:pt x="4454" y="20343"/>
                    <a:pt x="4454" y="20383"/>
                    <a:pt x="4379" y="20383"/>
                  </a:cubicBezTo>
                  <a:cubicBezTo>
                    <a:pt x="4305" y="20383"/>
                    <a:pt x="3786" y="20500"/>
                    <a:pt x="3786" y="20500"/>
                  </a:cubicBezTo>
                  <a:cubicBezTo>
                    <a:pt x="3637" y="20657"/>
                    <a:pt x="3637" y="20657"/>
                    <a:pt x="3637" y="20657"/>
                  </a:cubicBezTo>
                  <a:cubicBezTo>
                    <a:pt x="3340" y="20697"/>
                    <a:pt x="3340" y="20697"/>
                    <a:pt x="3340" y="20697"/>
                  </a:cubicBezTo>
                  <a:cubicBezTo>
                    <a:pt x="3118" y="20893"/>
                    <a:pt x="3118" y="20893"/>
                    <a:pt x="3118" y="20893"/>
                  </a:cubicBezTo>
                  <a:cubicBezTo>
                    <a:pt x="2746" y="20972"/>
                    <a:pt x="2746" y="20972"/>
                    <a:pt x="2746" y="20972"/>
                  </a:cubicBezTo>
                  <a:cubicBezTo>
                    <a:pt x="2449" y="21011"/>
                    <a:pt x="2449" y="21011"/>
                    <a:pt x="2449" y="21011"/>
                  </a:cubicBezTo>
                  <a:cubicBezTo>
                    <a:pt x="2153" y="20932"/>
                    <a:pt x="2153" y="20932"/>
                    <a:pt x="2153" y="20932"/>
                  </a:cubicBezTo>
                  <a:cubicBezTo>
                    <a:pt x="1930" y="21011"/>
                    <a:pt x="1930" y="21011"/>
                    <a:pt x="1930" y="21011"/>
                  </a:cubicBezTo>
                  <a:cubicBezTo>
                    <a:pt x="1707" y="21089"/>
                    <a:pt x="1707" y="21089"/>
                    <a:pt x="1707" y="21089"/>
                  </a:cubicBezTo>
                  <a:cubicBezTo>
                    <a:pt x="1781" y="21247"/>
                    <a:pt x="1781" y="21247"/>
                    <a:pt x="1781" y="21247"/>
                  </a:cubicBezTo>
                  <a:cubicBezTo>
                    <a:pt x="2004" y="21325"/>
                    <a:pt x="2004" y="21325"/>
                    <a:pt x="2004" y="21325"/>
                  </a:cubicBezTo>
                  <a:cubicBezTo>
                    <a:pt x="2153" y="21207"/>
                    <a:pt x="2153" y="21207"/>
                    <a:pt x="2153" y="21207"/>
                  </a:cubicBezTo>
                  <a:cubicBezTo>
                    <a:pt x="2598" y="21286"/>
                    <a:pt x="2598" y="21286"/>
                    <a:pt x="2598" y="21286"/>
                  </a:cubicBezTo>
                  <a:cubicBezTo>
                    <a:pt x="2598" y="21286"/>
                    <a:pt x="2746" y="21404"/>
                    <a:pt x="2821" y="21443"/>
                  </a:cubicBezTo>
                  <a:cubicBezTo>
                    <a:pt x="2821" y="21482"/>
                    <a:pt x="2821" y="21600"/>
                    <a:pt x="2895" y="21600"/>
                  </a:cubicBezTo>
                  <a:cubicBezTo>
                    <a:pt x="2969" y="21561"/>
                    <a:pt x="3340" y="21443"/>
                    <a:pt x="3340" y="21443"/>
                  </a:cubicBezTo>
                  <a:cubicBezTo>
                    <a:pt x="3192" y="21286"/>
                    <a:pt x="3192" y="21286"/>
                    <a:pt x="3192" y="21286"/>
                  </a:cubicBezTo>
                  <a:cubicBezTo>
                    <a:pt x="3192" y="21286"/>
                    <a:pt x="3414" y="21247"/>
                    <a:pt x="3563" y="21247"/>
                  </a:cubicBezTo>
                  <a:cubicBezTo>
                    <a:pt x="3711" y="21247"/>
                    <a:pt x="3860" y="21286"/>
                    <a:pt x="3934" y="21207"/>
                  </a:cubicBezTo>
                  <a:cubicBezTo>
                    <a:pt x="3934" y="21168"/>
                    <a:pt x="4157" y="21168"/>
                    <a:pt x="4157" y="21168"/>
                  </a:cubicBezTo>
                  <a:cubicBezTo>
                    <a:pt x="4157" y="21168"/>
                    <a:pt x="4305" y="21050"/>
                    <a:pt x="4305" y="21050"/>
                  </a:cubicBezTo>
                  <a:cubicBezTo>
                    <a:pt x="4305" y="21011"/>
                    <a:pt x="4528" y="20932"/>
                    <a:pt x="4528" y="20932"/>
                  </a:cubicBezTo>
                  <a:cubicBezTo>
                    <a:pt x="4528" y="20932"/>
                    <a:pt x="5047" y="21050"/>
                    <a:pt x="5122" y="21050"/>
                  </a:cubicBezTo>
                  <a:cubicBezTo>
                    <a:pt x="5196" y="21050"/>
                    <a:pt x="5715" y="20972"/>
                    <a:pt x="5715" y="20972"/>
                  </a:cubicBezTo>
                  <a:cubicBezTo>
                    <a:pt x="5938" y="21089"/>
                    <a:pt x="5938" y="21089"/>
                    <a:pt x="5938" y="21089"/>
                  </a:cubicBezTo>
                  <a:cubicBezTo>
                    <a:pt x="5938" y="21089"/>
                    <a:pt x="5938" y="21168"/>
                    <a:pt x="6087" y="21207"/>
                  </a:cubicBezTo>
                  <a:cubicBezTo>
                    <a:pt x="6235" y="21207"/>
                    <a:pt x="6309" y="21207"/>
                    <a:pt x="6309" y="21207"/>
                  </a:cubicBezTo>
                  <a:cubicBezTo>
                    <a:pt x="6532" y="21364"/>
                    <a:pt x="6532" y="21364"/>
                    <a:pt x="6532" y="21364"/>
                  </a:cubicBezTo>
                  <a:cubicBezTo>
                    <a:pt x="6755" y="21443"/>
                    <a:pt x="6755" y="21443"/>
                    <a:pt x="6755" y="21443"/>
                  </a:cubicBezTo>
                  <a:cubicBezTo>
                    <a:pt x="6755" y="21443"/>
                    <a:pt x="6977" y="21443"/>
                    <a:pt x="6977" y="21404"/>
                  </a:cubicBezTo>
                  <a:cubicBezTo>
                    <a:pt x="6977" y="21364"/>
                    <a:pt x="7052" y="21286"/>
                    <a:pt x="7126" y="21247"/>
                  </a:cubicBezTo>
                  <a:cubicBezTo>
                    <a:pt x="7200" y="21247"/>
                    <a:pt x="7423" y="21207"/>
                    <a:pt x="7423" y="21207"/>
                  </a:cubicBezTo>
                  <a:cubicBezTo>
                    <a:pt x="7423" y="21207"/>
                    <a:pt x="7423" y="21129"/>
                    <a:pt x="7423" y="21089"/>
                  </a:cubicBezTo>
                  <a:cubicBezTo>
                    <a:pt x="7423" y="21011"/>
                    <a:pt x="7423" y="20893"/>
                    <a:pt x="7497" y="20854"/>
                  </a:cubicBezTo>
                  <a:cubicBezTo>
                    <a:pt x="7497" y="20854"/>
                    <a:pt x="7720" y="20697"/>
                    <a:pt x="7720" y="20697"/>
                  </a:cubicBezTo>
                  <a:cubicBezTo>
                    <a:pt x="8091" y="20657"/>
                    <a:pt x="8091" y="20657"/>
                    <a:pt x="8091" y="20657"/>
                  </a:cubicBezTo>
                  <a:cubicBezTo>
                    <a:pt x="8981" y="20618"/>
                    <a:pt x="8981" y="20618"/>
                    <a:pt x="8981" y="20618"/>
                  </a:cubicBezTo>
                  <a:cubicBezTo>
                    <a:pt x="9278" y="20618"/>
                    <a:pt x="9278" y="20618"/>
                    <a:pt x="9278" y="20618"/>
                  </a:cubicBezTo>
                  <a:cubicBezTo>
                    <a:pt x="9649" y="20775"/>
                    <a:pt x="9649" y="20775"/>
                    <a:pt x="9649" y="20775"/>
                  </a:cubicBezTo>
                  <a:cubicBezTo>
                    <a:pt x="10021" y="20972"/>
                    <a:pt x="10021" y="20972"/>
                    <a:pt x="10021" y="20972"/>
                  </a:cubicBezTo>
                  <a:cubicBezTo>
                    <a:pt x="10021" y="20972"/>
                    <a:pt x="10243" y="21129"/>
                    <a:pt x="10243" y="21089"/>
                  </a:cubicBezTo>
                  <a:cubicBezTo>
                    <a:pt x="10318" y="21011"/>
                    <a:pt x="10392" y="20854"/>
                    <a:pt x="10466" y="20854"/>
                  </a:cubicBezTo>
                  <a:cubicBezTo>
                    <a:pt x="10540" y="20854"/>
                    <a:pt x="10763" y="21011"/>
                    <a:pt x="10763" y="21011"/>
                  </a:cubicBezTo>
                  <a:cubicBezTo>
                    <a:pt x="11060" y="21050"/>
                    <a:pt x="11060" y="21050"/>
                    <a:pt x="11060" y="21050"/>
                  </a:cubicBezTo>
                  <a:cubicBezTo>
                    <a:pt x="11282" y="21050"/>
                    <a:pt x="11282" y="21050"/>
                    <a:pt x="11282" y="21050"/>
                  </a:cubicBezTo>
                  <a:cubicBezTo>
                    <a:pt x="11505" y="20932"/>
                    <a:pt x="11505" y="20932"/>
                    <a:pt x="11505" y="20932"/>
                  </a:cubicBezTo>
                  <a:cubicBezTo>
                    <a:pt x="11357" y="20815"/>
                    <a:pt x="11357" y="20815"/>
                    <a:pt x="11357" y="20815"/>
                  </a:cubicBezTo>
                  <a:cubicBezTo>
                    <a:pt x="11654" y="20854"/>
                    <a:pt x="11654" y="20854"/>
                    <a:pt x="11654" y="20854"/>
                  </a:cubicBezTo>
                  <a:cubicBezTo>
                    <a:pt x="12470" y="20893"/>
                    <a:pt x="12470" y="20893"/>
                    <a:pt x="12470" y="20893"/>
                  </a:cubicBezTo>
                  <a:cubicBezTo>
                    <a:pt x="12841" y="20854"/>
                    <a:pt x="12841" y="20854"/>
                    <a:pt x="12841" y="20854"/>
                  </a:cubicBezTo>
                  <a:cubicBezTo>
                    <a:pt x="13138" y="20815"/>
                    <a:pt x="13138" y="20815"/>
                    <a:pt x="13138" y="20815"/>
                  </a:cubicBezTo>
                  <a:cubicBezTo>
                    <a:pt x="13138" y="20893"/>
                    <a:pt x="13138" y="20893"/>
                    <a:pt x="13138" y="20893"/>
                  </a:cubicBezTo>
                  <a:cubicBezTo>
                    <a:pt x="12693" y="20972"/>
                    <a:pt x="12693" y="20972"/>
                    <a:pt x="12693" y="20972"/>
                  </a:cubicBezTo>
                  <a:cubicBezTo>
                    <a:pt x="12693" y="20972"/>
                    <a:pt x="12470" y="20972"/>
                    <a:pt x="12544" y="21011"/>
                  </a:cubicBezTo>
                  <a:cubicBezTo>
                    <a:pt x="12619" y="21089"/>
                    <a:pt x="12990" y="21168"/>
                    <a:pt x="12990" y="21168"/>
                  </a:cubicBezTo>
                  <a:cubicBezTo>
                    <a:pt x="12990" y="21168"/>
                    <a:pt x="12767" y="21207"/>
                    <a:pt x="13064" y="21207"/>
                  </a:cubicBezTo>
                  <a:cubicBezTo>
                    <a:pt x="13361" y="21207"/>
                    <a:pt x="13509" y="21168"/>
                    <a:pt x="13509" y="21168"/>
                  </a:cubicBezTo>
                  <a:cubicBezTo>
                    <a:pt x="13732" y="21050"/>
                    <a:pt x="13732" y="21050"/>
                    <a:pt x="13732" y="21050"/>
                  </a:cubicBezTo>
                  <a:cubicBezTo>
                    <a:pt x="13584" y="20972"/>
                    <a:pt x="13584" y="20972"/>
                    <a:pt x="13584" y="20972"/>
                  </a:cubicBezTo>
                  <a:cubicBezTo>
                    <a:pt x="13212" y="20932"/>
                    <a:pt x="13212" y="20932"/>
                    <a:pt x="13212" y="20932"/>
                  </a:cubicBezTo>
                  <a:cubicBezTo>
                    <a:pt x="13287" y="20775"/>
                    <a:pt x="13287" y="20775"/>
                    <a:pt x="13287" y="20775"/>
                  </a:cubicBezTo>
                  <a:cubicBezTo>
                    <a:pt x="13361" y="20775"/>
                    <a:pt x="13361" y="20775"/>
                    <a:pt x="13361" y="20775"/>
                  </a:cubicBezTo>
                  <a:cubicBezTo>
                    <a:pt x="13584" y="20893"/>
                    <a:pt x="13584" y="20893"/>
                    <a:pt x="13584" y="20893"/>
                  </a:cubicBezTo>
                  <a:cubicBezTo>
                    <a:pt x="13806" y="20815"/>
                    <a:pt x="13806" y="20815"/>
                    <a:pt x="13806" y="20815"/>
                  </a:cubicBezTo>
                  <a:cubicBezTo>
                    <a:pt x="14103" y="20854"/>
                    <a:pt x="14103" y="20854"/>
                    <a:pt x="14103" y="20854"/>
                  </a:cubicBezTo>
                  <a:cubicBezTo>
                    <a:pt x="14252" y="21011"/>
                    <a:pt x="14252" y="21011"/>
                    <a:pt x="14252" y="21011"/>
                  </a:cubicBezTo>
                  <a:cubicBezTo>
                    <a:pt x="14252" y="21011"/>
                    <a:pt x="14400" y="21089"/>
                    <a:pt x="14548" y="21011"/>
                  </a:cubicBezTo>
                  <a:cubicBezTo>
                    <a:pt x="14697" y="20972"/>
                    <a:pt x="14845" y="20932"/>
                    <a:pt x="14845" y="20932"/>
                  </a:cubicBezTo>
                  <a:cubicBezTo>
                    <a:pt x="15736" y="20972"/>
                    <a:pt x="15736" y="20972"/>
                    <a:pt x="15736" y="20972"/>
                  </a:cubicBezTo>
                  <a:cubicBezTo>
                    <a:pt x="15736" y="20972"/>
                    <a:pt x="16181" y="20932"/>
                    <a:pt x="16256" y="21011"/>
                  </a:cubicBezTo>
                  <a:cubicBezTo>
                    <a:pt x="16330" y="21050"/>
                    <a:pt x="16553" y="21129"/>
                    <a:pt x="16553" y="21129"/>
                  </a:cubicBezTo>
                  <a:cubicBezTo>
                    <a:pt x="16924" y="21168"/>
                    <a:pt x="16924" y="21168"/>
                    <a:pt x="16924" y="21168"/>
                  </a:cubicBezTo>
                  <a:cubicBezTo>
                    <a:pt x="17295" y="21168"/>
                    <a:pt x="17295" y="21168"/>
                    <a:pt x="17295" y="21168"/>
                  </a:cubicBezTo>
                  <a:cubicBezTo>
                    <a:pt x="17295" y="21168"/>
                    <a:pt x="17443" y="21089"/>
                    <a:pt x="17518" y="21050"/>
                  </a:cubicBezTo>
                  <a:cubicBezTo>
                    <a:pt x="17666" y="21050"/>
                    <a:pt x="17889" y="20972"/>
                    <a:pt x="17963" y="20972"/>
                  </a:cubicBezTo>
                  <a:cubicBezTo>
                    <a:pt x="18111" y="20972"/>
                    <a:pt x="18482" y="20932"/>
                    <a:pt x="18482" y="20932"/>
                  </a:cubicBezTo>
                  <a:cubicBezTo>
                    <a:pt x="18557" y="20932"/>
                    <a:pt x="18631" y="20972"/>
                    <a:pt x="18779" y="20932"/>
                  </a:cubicBezTo>
                  <a:cubicBezTo>
                    <a:pt x="18854" y="20932"/>
                    <a:pt x="19076" y="20736"/>
                    <a:pt x="19076" y="20736"/>
                  </a:cubicBezTo>
                  <a:cubicBezTo>
                    <a:pt x="19076" y="20736"/>
                    <a:pt x="19151" y="20657"/>
                    <a:pt x="19299" y="20657"/>
                  </a:cubicBezTo>
                  <a:cubicBezTo>
                    <a:pt x="19447" y="20657"/>
                    <a:pt x="19670" y="20657"/>
                    <a:pt x="19744" y="20618"/>
                  </a:cubicBezTo>
                  <a:cubicBezTo>
                    <a:pt x="19819" y="20540"/>
                    <a:pt x="19893" y="20500"/>
                    <a:pt x="19967" y="20461"/>
                  </a:cubicBezTo>
                  <a:cubicBezTo>
                    <a:pt x="20041" y="20422"/>
                    <a:pt x="20190" y="20304"/>
                    <a:pt x="20115" y="20265"/>
                  </a:cubicBezTo>
                  <a:cubicBezTo>
                    <a:pt x="20115" y="20225"/>
                    <a:pt x="20190" y="20068"/>
                    <a:pt x="20190" y="20068"/>
                  </a:cubicBezTo>
                  <a:cubicBezTo>
                    <a:pt x="20190" y="20068"/>
                    <a:pt x="19967" y="20068"/>
                    <a:pt x="19893" y="20068"/>
                  </a:cubicBezTo>
                  <a:cubicBezTo>
                    <a:pt x="19819" y="20029"/>
                    <a:pt x="19522" y="20068"/>
                    <a:pt x="19447" y="20029"/>
                  </a:cubicBezTo>
                  <a:cubicBezTo>
                    <a:pt x="19373" y="20029"/>
                    <a:pt x="19076" y="20029"/>
                    <a:pt x="19076" y="20029"/>
                  </a:cubicBezTo>
                  <a:cubicBezTo>
                    <a:pt x="19002" y="19951"/>
                    <a:pt x="19002" y="19951"/>
                    <a:pt x="19002" y="19951"/>
                  </a:cubicBezTo>
                  <a:cubicBezTo>
                    <a:pt x="19002" y="19951"/>
                    <a:pt x="18928" y="19911"/>
                    <a:pt x="18854" y="19872"/>
                  </a:cubicBezTo>
                  <a:cubicBezTo>
                    <a:pt x="18779" y="19872"/>
                    <a:pt x="18854" y="19872"/>
                    <a:pt x="18705" y="19833"/>
                  </a:cubicBezTo>
                  <a:cubicBezTo>
                    <a:pt x="18631" y="19833"/>
                    <a:pt x="18482" y="19754"/>
                    <a:pt x="18482" y="19754"/>
                  </a:cubicBezTo>
                  <a:cubicBezTo>
                    <a:pt x="18260" y="19715"/>
                    <a:pt x="18260" y="19715"/>
                    <a:pt x="18260" y="19715"/>
                  </a:cubicBezTo>
                  <a:cubicBezTo>
                    <a:pt x="17963" y="19715"/>
                    <a:pt x="17963" y="19715"/>
                    <a:pt x="17963" y="19715"/>
                  </a:cubicBezTo>
                  <a:cubicBezTo>
                    <a:pt x="18260" y="19636"/>
                    <a:pt x="18260" y="19636"/>
                    <a:pt x="18260" y="19636"/>
                  </a:cubicBezTo>
                  <a:cubicBezTo>
                    <a:pt x="18260" y="19636"/>
                    <a:pt x="18557" y="19636"/>
                    <a:pt x="18631" y="19636"/>
                  </a:cubicBezTo>
                  <a:cubicBezTo>
                    <a:pt x="18705" y="19676"/>
                    <a:pt x="19002" y="19676"/>
                    <a:pt x="19002" y="19636"/>
                  </a:cubicBezTo>
                  <a:cubicBezTo>
                    <a:pt x="19076" y="19636"/>
                    <a:pt x="19299" y="19440"/>
                    <a:pt x="19299" y="19440"/>
                  </a:cubicBezTo>
                  <a:cubicBezTo>
                    <a:pt x="19225" y="19322"/>
                    <a:pt x="19225" y="19322"/>
                    <a:pt x="19225" y="19322"/>
                  </a:cubicBezTo>
                  <a:cubicBezTo>
                    <a:pt x="19076" y="19244"/>
                    <a:pt x="19076" y="19244"/>
                    <a:pt x="19076" y="19244"/>
                  </a:cubicBezTo>
                  <a:cubicBezTo>
                    <a:pt x="18779" y="19283"/>
                    <a:pt x="18779" y="19283"/>
                    <a:pt x="18779" y="19283"/>
                  </a:cubicBezTo>
                  <a:cubicBezTo>
                    <a:pt x="19225" y="19165"/>
                    <a:pt x="19225" y="19165"/>
                    <a:pt x="19225" y="19165"/>
                  </a:cubicBezTo>
                  <a:cubicBezTo>
                    <a:pt x="19373" y="19087"/>
                    <a:pt x="19373" y="19087"/>
                    <a:pt x="19373" y="19087"/>
                  </a:cubicBezTo>
                  <a:cubicBezTo>
                    <a:pt x="19596" y="19165"/>
                    <a:pt x="19596" y="19165"/>
                    <a:pt x="19596" y="19165"/>
                  </a:cubicBezTo>
                  <a:cubicBezTo>
                    <a:pt x="19596" y="19165"/>
                    <a:pt x="19967" y="19204"/>
                    <a:pt x="19967" y="19165"/>
                  </a:cubicBezTo>
                  <a:cubicBezTo>
                    <a:pt x="20041" y="19126"/>
                    <a:pt x="20115" y="19047"/>
                    <a:pt x="20115" y="19047"/>
                  </a:cubicBezTo>
                  <a:cubicBezTo>
                    <a:pt x="20115" y="18929"/>
                    <a:pt x="20115" y="18929"/>
                    <a:pt x="20115" y="18929"/>
                  </a:cubicBezTo>
                  <a:cubicBezTo>
                    <a:pt x="20858" y="18655"/>
                    <a:pt x="20858" y="18655"/>
                    <a:pt x="20858" y="18655"/>
                  </a:cubicBezTo>
                  <a:cubicBezTo>
                    <a:pt x="21155" y="18419"/>
                    <a:pt x="21155" y="18419"/>
                    <a:pt x="21155" y="18419"/>
                  </a:cubicBezTo>
                  <a:cubicBezTo>
                    <a:pt x="21229" y="18183"/>
                    <a:pt x="21229" y="18183"/>
                    <a:pt x="21229" y="18183"/>
                  </a:cubicBezTo>
                  <a:cubicBezTo>
                    <a:pt x="21600" y="17830"/>
                    <a:pt x="21600" y="17830"/>
                    <a:pt x="21600" y="17830"/>
                  </a:cubicBezTo>
                  <a:cubicBezTo>
                    <a:pt x="21526" y="17359"/>
                    <a:pt x="21526" y="17359"/>
                    <a:pt x="21526" y="17359"/>
                  </a:cubicBezTo>
                  <a:cubicBezTo>
                    <a:pt x="21155" y="17044"/>
                    <a:pt x="21155" y="17044"/>
                    <a:pt x="21155" y="17044"/>
                  </a:cubicBezTo>
                  <a:cubicBezTo>
                    <a:pt x="21155" y="17044"/>
                    <a:pt x="20709" y="16848"/>
                    <a:pt x="20561" y="16809"/>
                  </a:cubicBezTo>
                  <a:cubicBezTo>
                    <a:pt x="20412" y="16809"/>
                    <a:pt x="19596" y="16691"/>
                    <a:pt x="19596" y="16691"/>
                  </a:cubicBezTo>
                  <a:cubicBezTo>
                    <a:pt x="19002" y="16612"/>
                    <a:pt x="19002" y="16612"/>
                    <a:pt x="19002" y="16612"/>
                  </a:cubicBezTo>
                  <a:cubicBezTo>
                    <a:pt x="18705" y="16691"/>
                    <a:pt x="18705" y="16691"/>
                    <a:pt x="18705" y="16691"/>
                  </a:cubicBezTo>
                  <a:cubicBezTo>
                    <a:pt x="18631" y="16809"/>
                    <a:pt x="18631" y="16809"/>
                    <a:pt x="18631" y="16809"/>
                  </a:cubicBezTo>
                  <a:cubicBezTo>
                    <a:pt x="18408" y="16887"/>
                    <a:pt x="18408" y="16887"/>
                    <a:pt x="18408" y="16887"/>
                  </a:cubicBezTo>
                  <a:cubicBezTo>
                    <a:pt x="18408" y="16887"/>
                    <a:pt x="18186" y="16966"/>
                    <a:pt x="18186" y="16966"/>
                  </a:cubicBezTo>
                  <a:cubicBezTo>
                    <a:pt x="18111" y="16966"/>
                    <a:pt x="17963" y="16848"/>
                    <a:pt x="17963" y="16848"/>
                  </a:cubicBezTo>
                  <a:cubicBezTo>
                    <a:pt x="17963" y="16848"/>
                    <a:pt x="17740" y="16730"/>
                    <a:pt x="17740" y="16730"/>
                  </a:cubicBezTo>
                  <a:cubicBezTo>
                    <a:pt x="17666" y="16730"/>
                    <a:pt x="17443" y="16691"/>
                    <a:pt x="17443" y="16691"/>
                  </a:cubicBezTo>
                  <a:cubicBezTo>
                    <a:pt x="17740" y="16573"/>
                    <a:pt x="17740" y="16573"/>
                    <a:pt x="17740" y="16573"/>
                  </a:cubicBezTo>
                  <a:cubicBezTo>
                    <a:pt x="18111" y="16495"/>
                    <a:pt x="18111" y="16495"/>
                    <a:pt x="18111" y="16495"/>
                  </a:cubicBezTo>
                  <a:cubicBezTo>
                    <a:pt x="18111" y="16495"/>
                    <a:pt x="18260" y="16416"/>
                    <a:pt x="18260" y="16377"/>
                  </a:cubicBezTo>
                  <a:cubicBezTo>
                    <a:pt x="18334" y="16377"/>
                    <a:pt x="18482" y="16298"/>
                    <a:pt x="18482" y="16298"/>
                  </a:cubicBezTo>
                  <a:cubicBezTo>
                    <a:pt x="18557" y="15984"/>
                    <a:pt x="18557" y="15984"/>
                    <a:pt x="18557" y="15984"/>
                  </a:cubicBezTo>
                  <a:cubicBezTo>
                    <a:pt x="18408" y="15670"/>
                    <a:pt x="18408" y="15670"/>
                    <a:pt x="18408" y="15670"/>
                  </a:cubicBezTo>
                  <a:cubicBezTo>
                    <a:pt x="18186" y="15513"/>
                    <a:pt x="18186" y="15513"/>
                    <a:pt x="18186" y="15513"/>
                  </a:cubicBezTo>
                  <a:cubicBezTo>
                    <a:pt x="18037" y="15356"/>
                    <a:pt x="18037" y="15356"/>
                    <a:pt x="18037" y="15356"/>
                  </a:cubicBezTo>
                  <a:cubicBezTo>
                    <a:pt x="17889" y="15356"/>
                    <a:pt x="17889" y="15356"/>
                    <a:pt x="17889" y="15356"/>
                  </a:cubicBezTo>
                  <a:cubicBezTo>
                    <a:pt x="17592" y="15238"/>
                    <a:pt x="17592" y="15238"/>
                    <a:pt x="17592" y="15238"/>
                  </a:cubicBezTo>
                  <a:cubicBezTo>
                    <a:pt x="17369" y="15081"/>
                    <a:pt x="17369" y="15081"/>
                    <a:pt x="17369" y="15081"/>
                  </a:cubicBezTo>
                  <a:cubicBezTo>
                    <a:pt x="17295" y="14963"/>
                    <a:pt x="17295" y="14963"/>
                    <a:pt x="17295" y="14963"/>
                  </a:cubicBezTo>
                  <a:cubicBezTo>
                    <a:pt x="17369" y="14884"/>
                    <a:pt x="17369" y="14884"/>
                    <a:pt x="17369" y="14884"/>
                  </a:cubicBezTo>
                  <a:cubicBezTo>
                    <a:pt x="17443" y="14924"/>
                    <a:pt x="17443" y="14924"/>
                    <a:pt x="17443" y="14924"/>
                  </a:cubicBezTo>
                  <a:cubicBezTo>
                    <a:pt x="17443" y="14924"/>
                    <a:pt x="17443" y="15002"/>
                    <a:pt x="17518" y="15002"/>
                  </a:cubicBezTo>
                  <a:cubicBezTo>
                    <a:pt x="17518" y="15041"/>
                    <a:pt x="17592" y="15081"/>
                    <a:pt x="17592" y="15081"/>
                  </a:cubicBezTo>
                  <a:cubicBezTo>
                    <a:pt x="17666" y="15120"/>
                    <a:pt x="17963" y="15199"/>
                    <a:pt x="17963" y="15199"/>
                  </a:cubicBezTo>
                  <a:cubicBezTo>
                    <a:pt x="18111" y="15199"/>
                    <a:pt x="18111" y="15199"/>
                    <a:pt x="18111" y="15199"/>
                  </a:cubicBezTo>
                  <a:cubicBezTo>
                    <a:pt x="18260" y="15316"/>
                    <a:pt x="18260" y="15316"/>
                    <a:pt x="18260" y="15316"/>
                  </a:cubicBezTo>
                  <a:cubicBezTo>
                    <a:pt x="18260" y="15316"/>
                    <a:pt x="18334" y="15199"/>
                    <a:pt x="18334" y="15199"/>
                  </a:cubicBezTo>
                  <a:cubicBezTo>
                    <a:pt x="18334" y="15159"/>
                    <a:pt x="18111" y="15002"/>
                    <a:pt x="18111" y="15002"/>
                  </a:cubicBezTo>
                  <a:cubicBezTo>
                    <a:pt x="18037" y="15002"/>
                    <a:pt x="17963" y="14845"/>
                    <a:pt x="17963" y="14845"/>
                  </a:cubicBezTo>
                  <a:cubicBezTo>
                    <a:pt x="17889" y="14806"/>
                    <a:pt x="17740" y="14570"/>
                    <a:pt x="17740" y="14570"/>
                  </a:cubicBezTo>
                  <a:cubicBezTo>
                    <a:pt x="17740" y="14570"/>
                    <a:pt x="17666" y="14492"/>
                    <a:pt x="17666" y="14452"/>
                  </a:cubicBezTo>
                  <a:cubicBezTo>
                    <a:pt x="17666" y="14452"/>
                    <a:pt x="17666" y="14256"/>
                    <a:pt x="17666" y="14256"/>
                  </a:cubicBezTo>
                  <a:cubicBezTo>
                    <a:pt x="17814" y="14217"/>
                    <a:pt x="17814" y="14217"/>
                    <a:pt x="17814" y="14217"/>
                  </a:cubicBezTo>
                  <a:cubicBezTo>
                    <a:pt x="17963" y="14138"/>
                    <a:pt x="17963" y="14138"/>
                    <a:pt x="17963" y="14138"/>
                  </a:cubicBezTo>
                  <a:cubicBezTo>
                    <a:pt x="17963" y="14138"/>
                    <a:pt x="17889" y="14138"/>
                    <a:pt x="17889" y="14099"/>
                  </a:cubicBezTo>
                  <a:cubicBezTo>
                    <a:pt x="17814" y="14020"/>
                    <a:pt x="17666" y="13942"/>
                    <a:pt x="17666" y="13942"/>
                  </a:cubicBezTo>
                  <a:cubicBezTo>
                    <a:pt x="17666" y="13942"/>
                    <a:pt x="17518" y="13903"/>
                    <a:pt x="17443" y="13863"/>
                  </a:cubicBezTo>
                  <a:cubicBezTo>
                    <a:pt x="17443" y="13785"/>
                    <a:pt x="17369" y="13706"/>
                    <a:pt x="17369" y="13706"/>
                  </a:cubicBezTo>
                  <a:cubicBezTo>
                    <a:pt x="17369" y="13667"/>
                    <a:pt x="17295" y="13431"/>
                    <a:pt x="17295" y="13431"/>
                  </a:cubicBezTo>
                  <a:cubicBezTo>
                    <a:pt x="16924" y="13235"/>
                    <a:pt x="16924" y="13235"/>
                    <a:pt x="16924" y="13235"/>
                  </a:cubicBezTo>
                  <a:cubicBezTo>
                    <a:pt x="16924" y="13235"/>
                    <a:pt x="16775" y="13156"/>
                    <a:pt x="16701" y="13117"/>
                  </a:cubicBezTo>
                  <a:cubicBezTo>
                    <a:pt x="16701" y="13117"/>
                    <a:pt x="16478" y="13078"/>
                    <a:pt x="16478" y="13078"/>
                  </a:cubicBezTo>
                  <a:cubicBezTo>
                    <a:pt x="16404" y="13078"/>
                    <a:pt x="16033" y="12960"/>
                    <a:pt x="16033" y="12960"/>
                  </a:cubicBezTo>
                  <a:cubicBezTo>
                    <a:pt x="16033" y="12960"/>
                    <a:pt x="15736" y="12764"/>
                    <a:pt x="15736" y="12724"/>
                  </a:cubicBezTo>
                  <a:cubicBezTo>
                    <a:pt x="15736" y="12685"/>
                    <a:pt x="15588" y="12449"/>
                    <a:pt x="15588" y="12449"/>
                  </a:cubicBezTo>
                  <a:cubicBezTo>
                    <a:pt x="15588" y="12292"/>
                    <a:pt x="15588" y="12292"/>
                    <a:pt x="15588" y="12292"/>
                  </a:cubicBezTo>
                  <a:cubicBezTo>
                    <a:pt x="15439" y="11978"/>
                    <a:pt x="15439" y="11978"/>
                    <a:pt x="15439" y="11978"/>
                  </a:cubicBezTo>
                  <a:cubicBezTo>
                    <a:pt x="15365" y="11664"/>
                    <a:pt x="15365" y="11664"/>
                    <a:pt x="15365" y="11664"/>
                  </a:cubicBezTo>
                  <a:cubicBezTo>
                    <a:pt x="15365" y="11350"/>
                    <a:pt x="15365" y="11350"/>
                    <a:pt x="15365" y="11350"/>
                  </a:cubicBezTo>
                  <a:cubicBezTo>
                    <a:pt x="15365" y="11075"/>
                    <a:pt x="15365" y="11075"/>
                    <a:pt x="15365" y="11075"/>
                  </a:cubicBezTo>
                  <a:cubicBezTo>
                    <a:pt x="15365" y="10839"/>
                    <a:pt x="15365" y="10839"/>
                    <a:pt x="15365" y="10839"/>
                  </a:cubicBezTo>
                  <a:cubicBezTo>
                    <a:pt x="14994" y="10604"/>
                    <a:pt x="14994" y="10604"/>
                    <a:pt x="14994" y="10604"/>
                  </a:cubicBezTo>
                  <a:cubicBezTo>
                    <a:pt x="14845" y="10368"/>
                    <a:pt x="14845" y="10368"/>
                    <a:pt x="14845" y="10368"/>
                  </a:cubicBezTo>
                  <a:cubicBezTo>
                    <a:pt x="14400" y="10132"/>
                    <a:pt x="14400" y="10132"/>
                    <a:pt x="14400" y="10132"/>
                  </a:cubicBezTo>
                  <a:cubicBezTo>
                    <a:pt x="14103" y="9936"/>
                    <a:pt x="14103" y="9936"/>
                    <a:pt x="14103" y="9936"/>
                  </a:cubicBezTo>
                  <a:cubicBezTo>
                    <a:pt x="13880" y="9897"/>
                    <a:pt x="13880" y="9897"/>
                    <a:pt x="13880" y="9897"/>
                  </a:cubicBezTo>
                  <a:cubicBezTo>
                    <a:pt x="13509" y="9661"/>
                    <a:pt x="13509" y="9661"/>
                    <a:pt x="13509" y="9661"/>
                  </a:cubicBezTo>
                  <a:cubicBezTo>
                    <a:pt x="13212" y="9622"/>
                    <a:pt x="13212" y="9622"/>
                    <a:pt x="13212" y="9622"/>
                  </a:cubicBezTo>
                  <a:cubicBezTo>
                    <a:pt x="12915" y="9700"/>
                    <a:pt x="12915" y="9700"/>
                    <a:pt x="12915" y="9700"/>
                  </a:cubicBezTo>
                  <a:cubicBezTo>
                    <a:pt x="12619" y="9740"/>
                    <a:pt x="12619" y="9740"/>
                    <a:pt x="12619" y="9740"/>
                  </a:cubicBezTo>
                  <a:cubicBezTo>
                    <a:pt x="12322" y="9779"/>
                    <a:pt x="12322" y="9779"/>
                    <a:pt x="12322" y="9779"/>
                  </a:cubicBezTo>
                  <a:cubicBezTo>
                    <a:pt x="11802" y="9661"/>
                    <a:pt x="11802" y="9661"/>
                    <a:pt x="11802" y="9661"/>
                  </a:cubicBezTo>
                  <a:cubicBezTo>
                    <a:pt x="11579" y="9543"/>
                    <a:pt x="11579" y="9543"/>
                    <a:pt x="11579" y="9543"/>
                  </a:cubicBezTo>
                  <a:cubicBezTo>
                    <a:pt x="11282" y="9504"/>
                    <a:pt x="11282" y="9504"/>
                    <a:pt x="11282" y="9504"/>
                  </a:cubicBezTo>
                  <a:cubicBezTo>
                    <a:pt x="11134" y="9504"/>
                    <a:pt x="11134" y="9504"/>
                    <a:pt x="11134" y="9504"/>
                  </a:cubicBezTo>
                  <a:cubicBezTo>
                    <a:pt x="11134" y="9504"/>
                    <a:pt x="11134" y="9465"/>
                    <a:pt x="11134" y="9465"/>
                  </a:cubicBezTo>
                  <a:cubicBezTo>
                    <a:pt x="11134" y="9465"/>
                    <a:pt x="11282" y="9465"/>
                    <a:pt x="11282" y="9465"/>
                  </a:cubicBezTo>
                  <a:cubicBezTo>
                    <a:pt x="11282" y="9465"/>
                    <a:pt x="11431" y="9504"/>
                    <a:pt x="11505" y="9504"/>
                  </a:cubicBezTo>
                  <a:cubicBezTo>
                    <a:pt x="11505" y="9504"/>
                    <a:pt x="11728" y="9543"/>
                    <a:pt x="11728" y="9543"/>
                  </a:cubicBezTo>
                  <a:cubicBezTo>
                    <a:pt x="11728" y="9543"/>
                    <a:pt x="11802" y="9583"/>
                    <a:pt x="11876" y="9583"/>
                  </a:cubicBezTo>
                  <a:cubicBezTo>
                    <a:pt x="11951" y="9583"/>
                    <a:pt x="12173" y="9583"/>
                    <a:pt x="12173" y="9583"/>
                  </a:cubicBezTo>
                  <a:cubicBezTo>
                    <a:pt x="12396" y="9504"/>
                    <a:pt x="12396" y="9504"/>
                    <a:pt x="12396" y="9504"/>
                  </a:cubicBezTo>
                  <a:cubicBezTo>
                    <a:pt x="12470" y="9386"/>
                    <a:pt x="12470" y="9386"/>
                    <a:pt x="12470" y="9386"/>
                  </a:cubicBezTo>
                  <a:cubicBezTo>
                    <a:pt x="12693" y="9347"/>
                    <a:pt x="12693" y="9347"/>
                    <a:pt x="12693" y="9347"/>
                  </a:cubicBezTo>
                  <a:cubicBezTo>
                    <a:pt x="12841" y="9308"/>
                    <a:pt x="12841" y="9308"/>
                    <a:pt x="12841" y="9308"/>
                  </a:cubicBezTo>
                  <a:cubicBezTo>
                    <a:pt x="12990" y="9308"/>
                    <a:pt x="12990" y="9308"/>
                    <a:pt x="12990" y="9308"/>
                  </a:cubicBezTo>
                  <a:cubicBezTo>
                    <a:pt x="12990" y="9308"/>
                    <a:pt x="13064" y="9386"/>
                    <a:pt x="13212" y="9347"/>
                  </a:cubicBezTo>
                  <a:cubicBezTo>
                    <a:pt x="13361" y="9347"/>
                    <a:pt x="13435" y="9308"/>
                    <a:pt x="13435" y="9308"/>
                  </a:cubicBezTo>
                  <a:cubicBezTo>
                    <a:pt x="13435" y="9308"/>
                    <a:pt x="13732" y="9229"/>
                    <a:pt x="13658" y="9229"/>
                  </a:cubicBezTo>
                  <a:cubicBezTo>
                    <a:pt x="13658" y="9190"/>
                    <a:pt x="13658" y="9151"/>
                    <a:pt x="13584" y="9151"/>
                  </a:cubicBezTo>
                  <a:cubicBezTo>
                    <a:pt x="13584" y="9111"/>
                    <a:pt x="13435" y="9033"/>
                    <a:pt x="13435" y="9033"/>
                  </a:cubicBezTo>
                  <a:cubicBezTo>
                    <a:pt x="13435" y="9033"/>
                    <a:pt x="13361" y="9033"/>
                    <a:pt x="13361" y="8993"/>
                  </a:cubicBezTo>
                  <a:cubicBezTo>
                    <a:pt x="13361" y="8954"/>
                    <a:pt x="13361" y="8876"/>
                    <a:pt x="13361" y="8876"/>
                  </a:cubicBezTo>
                  <a:cubicBezTo>
                    <a:pt x="13212" y="8797"/>
                    <a:pt x="13212" y="8797"/>
                    <a:pt x="13212" y="8797"/>
                  </a:cubicBezTo>
                  <a:cubicBezTo>
                    <a:pt x="13212" y="8797"/>
                    <a:pt x="13138" y="8797"/>
                    <a:pt x="13064" y="8797"/>
                  </a:cubicBezTo>
                  <a:cubicBezTo>
                    <a:pt x="12990" y="8797"/>
                    <a:pt x="12915" y="8836"/>
                    <a:pt x="12915" y="8836"/>
                  </a:cubicBezTo>
                  <a:cubicBezTo>
                    <a:pt x="12619" y="8876"/>
                    <a:pt x="12619" y="8876"/>
                    <a:pt x="12619" y="8876"/>
                  </a:cubicBezTo>
                  <a:cubicBezTo>
                    <a:pt x="12247" y="8915"/>
                    <a:pt x="12247" y="8915"/>
                    <a:pt x="12247" y="8915"/>
                  </a:cubicBezTo>
                  <a:cubicBezTo>
                    <a:pt x="12247" y="8876"/>
                    <a:pt x="12247" y="8876"/>
                    <a:pt x="12247" y="8876"/>
                  </a:cubicBezTo>
                  <a:cubicBezTo>
                    <a:pt x="12619" y="8836"/>
                    <a:pt x="12619" y="8836"/>
                    <a:pt x="12619" y="8836"/>
                  </a:cubicBezTo>
                  <a:cubicBezTo>
                    <a:pt x="12841" y="8758"/>
                    <a:pt x="12841" y="8758"/>
                    <a:pt x="12841" y="8758"/>
                  </a:cubicBezTo>
                  <a:cubicBezTo>
                    <a:pt x="12841" y="8758"/>
                    <a:pt x="12841" y="8719"/>
                    <a:pt x="12915" y="8719"/>
                  </a:cubicBezTo>
                  <a:cubicBezTo>
                    <a:pt x="12990" y="8719"/>
                    <a:pt x="13212" y="8758"/>
                    <a:pt x="13212" y="8758"/>
                  </a:cubicBezTo>
                  <a:cubicBezTo>
                    <a:pt x="13287" y="8758"/>
                    <a:pt x="13584" y="8758"/>
                    <a:pt x="13584" y="8758"/>
                  </a:cubicBezTo>
                  <a:cubicBezTo>
                    <a:pt x="13584" y="8758"/>
                    <a:pt x="13806" y="8679"/>
                    <a:pt x="13806" y="8640"/>
                  </a:cubicBezTo>
                  <a:cubicBezTo>
                    <a:pt x="13880" y="8640"/>
                    <a:pt x="14177" y="8561"/>
                    <a:pt x="14177" y="8561"/>
                  </a:cubicBezTo>
                  <a:cubicBezTo>
                    <a:pt x="14177" y="8444"/>
                    <a:pt x="14177" y="8444"/>
                    <a:pt x="14177" y="8444"/>
                  </a:cubicBezTo>
                  <a:cubicBezTo>
                    <a:pt x="14177" y="8444"/>
                    <a:pt x="14252" y="8326"/>
                    <a:pt x="14326" y="8326"/>
                  </a:cubicBezTo>
                  <a:cubicBezTo>
                    <a:pt x="14326" y="8326"/>
                    <a:pt x="14623" y="8208"/>
                    <a:pt x="14623" y="8208"/>
                  </a:cubicBezTo>
                  <a:cubicBezTo>
                    <a:pt x="14920" y="8051"/>
                    <a:pt x="14920" y="8051"/>
                    <a:pt x="14920" y="8051"/>
                  </a:cubicBezTo>
                  <a:cubicBezTo>
                    <a:pt x="15068" y="7855"/>
                    <a:pt x="15068" y="7855"/>
                    <a:pt x="15068" y="7855"/>
                  </a:cubicBezTo>
                  <a:cubicBezTo>
                    <a:pt x="15216" y="7697"/>
                    <a:pt x="15216" y="7697"/>
                    <a:pt x="15216" y="7697"/>
                  </a:cubicBezTo>
                  <a:cubicBezTo>
                    <a:pt x="15216" y="7697"/>
                    <a:pt x="15513" y="7580"/>
                    <a:pt x="15439" y="7540"/>
                  </a:cubicBezTo>
                  <a:cubicBezTo>
                    <a:pt x="15439" y="7462"/>
                    <a:pt x="15439" y="7344"/>
                    <a:pt x="15439" y="7344"/>
                  </a:cubicBezTo>
                  <a:cubicBezTo>
                    <a:pt x="15439" y="7344"/>
                    <a:pt x="15662" y="7265"/>
                    <a:pt x="15736" y="7226"/>
                  </a:cubicBezTo>
                  <a:cubicBezTo>
                    <a:pt x="15736" y="7187"/>
                    <a:pt x="16256" y="6991"/>
                    <a:pt x="16256" y="6991"/>
                  </a:cubicBezTo>
                  <a:cubicBezTo>
                    <a:pt x="16330" y="6794"/>
                    <a:pt x="16330" y="6794"/>
                    <a:pt x="16330" y="6794"/>
                  </a:cubicBezTo>
                  <a:cubicBezTo>
                    <a:pt x="16256" y="6716"/>
                    <a:pt x="16256" y="6716"/>
                    <a:pt x="16256" y="6716"/>
                  </a:cubicBezTo>
                  <a:cubicBezTo>
                    <a:pt x="16181" y="6598"/>
                    <a:pt x="16181" y="6598"/>
                    <a:pt x="16181" y="6598"/>
                  </a:cubicBezTo>
                  <a:cubicBezTo>
                    <a:pt x="16033" y="6480"/>
                    <a:pt x="16033" y="6480"/>
                    <a:pt x="16033" y="6480"/>
                  </a:cubicBezTo>
                  <a:cubicBezTo>
                    <a:pt x="15885" y="6362"/>
                    <a:pt x="15885" y="6362"/>
                    <a:pt x="15885" y="6362"/>
                  </a:cubicBezTo>
                  <a:cubicBezTo>
                    <a:pt x="15588" y="6362"/>
                    <a:pt x="15588" y="6362"/>
                    <a:pt x="15588" y="6362"/>
                  </a:cubicBezTo>
                  <a:cubicBezTo>
                    <a:pt x="15588" y="6362"/>
                    <a:pt x="15513" y="6441"/>
                    <a:pt x="15513" y="6401"/>
                  </a:cubicBezTo>
                  <a:cubicBezTo>
                    <a:pt x="15439" y="6401"/>
                    <a:pt x="15291" y="6323"/>
                    <a:pt x="15291" y="6323"/>
                  </a:cubicBezTo>
                  <a:cubicBezTo>
                    <a:pt x="14994" y="6362"/>
                    <a:pt x="14994" y="6362"/>
                    <a:pt x="14994" y="6362"/>
                  </a:cubicBezTo>
                  <a:cubicBezTo>
                    <a:pt x="14623" y="6323"/>
                    <a:pt x="14623" y="6323"/>
                    <a:pt x="14623" y="6323"/>
                  </a:cubicBezTo>
                  <a:cubicBezTo>
                    <a:pt x="14548" y="6244"/>
                    <a:pt x="14548" y="6244"/>
                    <a:pt x="14548" y="6244"/>
                  </a:cubicBezTo>
                  <a:cubicBezTo>
                    <a:pt x="14252" y="6244"/>
                    <a:pt x="14252" y="6244"/>
                    <a:pt x="14252" y="6244"/>
                  </a:cubicBezTo>
                  <a:cubicBezTo>
                    <a:pt x="14103" y="6205"/>
                    <a:pt x="14103" y="6205"/>
                    <a:pt x="14103" y="6205"/>
                  </a:cubicBezTo>
                  <a:cubicBezTo>
                    <a:pt x="13806" y="6244"/>
                    <a:pt x="13806" y="6244"/>
                    <a:pt x="13806" y="6244"/>
                  </a:cubicBezTo>
                  <a:cubicBezTo>
                    <a:pt x="13584" y="6244"/>
                    <a:pt x="13584" y="6244"/>
                    <a:pt x="13584" y="6244"/>
                  </a:cubicBezTo>
                  <a:cubicBezTo>
                    <a:pt x="13435" y="6205"/>
                    <a:pt x="13435" y="6205"/>
                    <a:pt x="13435" y="6205"/>
                  </a:cubicBezTo>
                  <a:cubicBezTo>
                    <a:pt x="13212" y="6087"/>
                    <a:pt x="13212" y="6087"/>
                    <a:pt x="13212" y="6087"/>
                  </a:cubicBezTo>
                  <a:cubicBezTo>
                    <a:pt x="12767" y="6087"/>
                    <a:pt x="12767" y="6087"/>
                    <a:pt x="12767" y="6087"/>
                  </a:cubicBezTo>
                  <a:cubicBezTo>
                    <a:pt x="12693" y="6166"/>
                    <a:pt x="12693" y="6166"/>
                    <a:pt x="12693" y="6166"/>
                  </a:cubicBezTo>
                  <a:cubicBezTo>
                    <a:pt x="12396" y="6166"/>
                    <a:pt x="12396" y="6166"/>
                    <a:pt x="12396" y="6166"/>
                  </a:cubicBezTo>
                  <a:cubicBezTo>
                    <a:pt x="12396" y="6166"/>
                    <a:pt x="12322" y="6166"/>
                    <a:pt x="12247" y="6166"/>
                  </a:cubicBezTo>
                  <a:cubicBezTo>
                    <a:pt x="12247" y="6166"/>
                    <a:pt x="12099" y="6205"/>
                    <a:pt x="12099" y="6205"/>
                  </a:cubicBezTo>
                  <a:cubicBezTo>
                    <a:pt x="11951" y="6244"/>
                    <a:pt x="11951" y="6244"/>
                    <a:pt x="11951" y="6244"/>
                  </a:cubicBezTo>
                  <a:cubicBezTo>
                    <a:pt x="11802" y="6244"/>
                    <a:pt x="11802" y="6244"/>
                    <a:pt x="11802" y="6244"/>
                  </a:cubicBezTo>
                  <a:cubicBezTo>
                    <a:pt x="11505" y="6205"/>
                    <a:pt x="11505" y="6205"/>
                    <a:pt x="11505" y="6205"/>
                  </a:cubicBezTo>
                  <a:cubicBezTo>
                    <a:pt x="11357" y="6323"/>
                    <a:pt x="11357" y="6323"/>
                    <a:pt x="11357" y="6323"/>
                  </a:cubicBezTo>
                  <a:cubicBezTo>
                    <a:pt x="11134" y="6362"/>
                    <a:pt x="11134" y="6362"/>
                    <a:pt x="11134" y="6362"/>
                  </a:cubicBezTo>
                  <a:cubicBezTo>
                    <a:pt x="10911" y="6480"/>
                    <a:pt x="10911" y="6480"/>
                    <a:pt x="10911" y="6480"/>
                  </a:cubicBezTo>
                  <a:cubicBezTo>
                    <a:pt x="10986" y="6362"/>
                    <a:pt x="10986" y="6362"/>
                    <a:pt x="10986" y="6362"/>
                  </a:cubicBezTo>
                  <a:cubicBezTo>
                    <a:pt x="11134" y="6284"/>
                    <a:pt x="11134" y="6284"/>
                    <a:pt x="11134" y="6284"/>
                  </a:cubicBezTo>
                  <a:cubicBezTo>
                    <a:pt x="11357" y="6244"/>
                    <a:pt x="11357" y="6244"/>
                    <a:pt x="11357" y="6244"/>
                  </a:cubicBezTo>
                  <a:cubicBezTo>
                    <a:pt x="11505" y="6127"/>
                    <a:pt x="11505" y="6127"/>
                    <a:pt x="11505" y="6127"/>
                  </a:cubicBezTo>
                  <a:cubicBezTo>
                    <a:pt x="11505" y="6127"/>
                    <a:pt x="11654" y="6087"/>
                    <a:pt x="11654" y="6048"/>
                  </a:cubicBezTo>
                  <a:cubicBezTo>
                    <a:pt x="11728" y="6048"/>
                    <a:pt x="11876" y="5969"/>
                    <a:pt x="11876" y="5969"/>
                  </a:cubicBezTo>
                  <a:cubicBezTo>
                    <a:pt x="11654" y="5930"/>
                    <a:pt x="11654" y="5930"/>
                    <a:pt x="11654" y="5930"/>
                  </a:cubicBezTo>
                  <a:cubicBezTo>
                    <a:pt x="11431" y="6009"/>
                    <a:pt x="11431" y="6009"/>
                    <a:pt x="11431" y="6009"/>
                  </a:cubicBezTo>
                  <a:cubicBezTo>
                    <a:pt x="11431" y="6009"/>
                    <a:pt x="11357" y="6009"/>
                    <a:pt x="11282" y="6009"/>
                  </a:cubicBezTo>
                  <a:cubicBezTo>
                    <a:pt x="11282" y="6009"/>
                    <a:pt x="11060" y="6048"/>
                    <a:pt x="11060" y="6048"/>
                  </a:cubicBezTo>
                  <a:cubicBezTo>
                    <a:pt x="10614" y="6127"/>
                    <a:pt x="10614" y="6127"/>
                    <a:pt x="10614" y="6127"/>
                  </a:cubicBezTo>
                  <a:cubicBezTo>
                    <a:pt x="11060" y="6009"/>
                    <a:pt x="11060" y="6009"/>
                    <a:pt x="11060" y="6009"/>
                  </a:cubicBezTo>
                  <a:cubicBezTo>
                    <a:pt x="11060" y="6009"/>
                    <a:pt x="11208" y="5969"/>
                    <a:pt x="11282" y="5930"/>
                  </a:cubicBezTo>
                  <a:cubicBezTo>
                    <a:pt x="11357" y="5930"/>
                    <a:pt x="11505" y="5891"/>
                    <a:pt x="11505" y="5891"/>
                  </a:cubicBezTo>
                  <a:cubicBezTo>
                    <a:pt x="11579" y="5891"/>
                    <a:pt x="11728" y="5852"/>
                    <a:pt x="11728" y="5852"/>
                  </a:cubicBezTo>
                  <a:cubicBezTo>
                    <a:pt x="11802" y="5891"/>
                    <a:pt x="11951" y="5930"/>
                    <a:pt x="12025" y="5891"/>
                  </a:cubicBezTo>
                  <a:cubicBezTo>
                    <a:pt x="12025" y="5891"/>
                    <a:pt x="12099" y="5812"/>
                    <a:pt x="12173" y="5812"/>
                  </a:cubicBezTo>
                  <a:cubicBezTo>
                    <a:pt x="12173" y="5773"/>
                    <a:pt x="12322" y="5695"/>
                    <a:pt x="12322" y="5695"/>
                  </a:cubicBezTo>
                  <a:cubicBezTo>
                    <a:pt x="11876" y="5695"/>
                    <a:pt x="11876" y="5695"/>
                    <a:pt x="11876" y="5695"/>
                  </a:cubicBezTo>
                  <a:cubicBezTo>
                    <a:pt x="11876" y="5695"/>
                    <a:pt x="11802" y="5734"/>
                    <a:pt x="11728" y="5734"/>
                  </a:cubicBezTo>
                  <a:cubicBezTo>
                    <a:pt x="11654" y="5695"/>
                    <a:pt x="11505" y="5695"/>
                    <a:pt x="11431" y="5655"/>
                  </a:cubicBezTo>
                  <a:cubicBezTo>
                    <a:pt x="11431" y="5655"/>
                    <a:pt x="11357" y="5616"/>
                    <a:pt x="11357" y="5616"/>
                  </a:cubicBezTo>
                  <a:cubicBezTo>
                    <a:pt x="11282" y="5616"/>
                    <a:pt x="11134" y="5537"/>
                    <a:pt x="11134" y="5537"/>
                  </a:cubicBezTo>
                  <a:cubicBezTo>
                    <a:pt x="11208" y="5498"/>
                    <a:pt x="11208" y="5498"/>
                    <a:pt x="11208" y="5498"/>
                  </a:cubicBezTo>
                  <a:cubicBezTo>
                    <a:pt x="11357" y="5577"/>
                    <a:pt x="11357" y="5577"/>
                    <a:pt x="11357" y="5577"/>
                  </a:cubicBezTo>
                  <a:cubicBezTo>
                    <a:pt x="11357" y="5577"/>
                    <a:pt x="11431" y="5616"/>
                    <a:pt x="11505" y="5616"/>
                  </a:cubicBezTo>
                  <a:cubicBezTo>
                    <a:pt x="11579" y="5616"/>
                    <a:pt x="11654" y="5577"/>
                    <a:pt x="11802" y="5577"/>
                  </a:cubicBezTo>
                  <a:cubicBezTo>
                    <a:pt x="11876" y="5616"/>
                    <a:pt x="12025" y="5498"/>
                    <a:pt x="12025" y="5498"/>
                  </a:cubicBezTo>
                  <a:cubicBezTo>
                    <a:pt x="12025" y="5498"/>
                    <a:pt x="11876" y="5498"/>
                    <a:pt x="12099" y="5459"/>
                  </a:cubicBezTo>
                  <a:cubicBezTo>
                    <a:pt x="12247" y="5380"/>
                    <a:pt x="12173" y="5420"/>
                    <a:pt x="12322" y="5341"/>
                  </a:cubicBezTo>
                  <a:cubicBezTo>
                    <a:pt x="12470" y="5302"/>
                    <a:pt x="12841" y="5184"/>
                    <a:pt x="12841" y="5184"/>
                  </a:cubicBezTo>
                  <a:cubicBezTo>
                    <a:pt x="13287" y="5105"/>
                    <a:pt x="13287" y="5105"/>
                    <a:pt x="13287" y="5105"/>
                  </a:cubicBezTo>
                  <a:cubicBezTo>
                    <a:pt x="13584" y="4909"/>
                    <a:pt x="13584" y="4909"/>
                    <a:pt x="13584" y="4909"/>
                  </a:cubicBezTo>
                  <a:cubicBezTo>
                    <a:pt x="13806" y="4909"/>
                    <a:pt x="13806" y="4909"/>
                    <a:pt x="13806" y="4909"/>
                  </a:cubicBezTo>
                  <a:cubicBezTo>
                    <a:pt x="14103" y="4752"/>
                    <a:pt x="14103" y="4752"/>
                    <a:pt x="14103" y="4752"/>
                  </a:cubicBezTo>
                  <a:cubicBezTo>
                    <a:pt x="14252" y="4673"/>
                    <a:pt x="14252" y="4673"/>
                    <a:pt x="14252" y="4673"/>
                  </a:cubicBezTo>
                  <a:cubicBezTo>
                    <a:pt x="14177" y="4477"/>
                    <a:pt x="14177" y="4477"/>
                    <a:pt x="14177" y="4477"/>
                  </a:cubicBezTo>
                  <a:cubicBezTo>
                    <a:pt x="14326" y="4320"/>
                    <a:pt x="14326" y="4320"/>
                    <a:pt x="14326" y="4320"/>
                  </a:cubicBezTo>
                  <a:cubicBezTo>
                    <a:pt x="14326" y="4202"/>
                    <a:pt x="14326" y="4202"/>
                    <a:pt x="14326" y="4202"/>
                  </a:cubicBezTo>
                  <a:cubicBezTo>
                    <a:pt x="14103" y="4163"/>
                    <a:pt x="14103" y="4163"/>
                    <a:pt x="14103" y="4163"/>
                  </a:cubicBezTo>
                  <a:cubicBezTo>
                    <a:pt x="13658" y="4163"/>
                    <a:pt x="13658" y="4163"/>
                    <a:pt x="13658" y="4163"/>
                  </a:cubicBezTo>
                  <a:cubicBezTo>
                    <a:pt x="13658" y="4163"/>
                    <a:pt x="13584" y="4281"/>
                    <a:pt x="13509" y="4241"/>
                  </a:cubicBezTo>
                  <a:cubicBezTo>
                    <a:pt x="13509" y="4241"/>
                    <a:pt x="13212" y="4124"/>
                    <a:pt x="13138" y="4124"/>
                  </a:cubicBezTo>
                  <a:cubicBezTo>
                    <a:pt x="13138" y="4124"/>
                    <a:pt x="12841" y="4241"/>
                    <a:pt x="12841" y="4241"/>
                  </a:cubicBezTo>
                  <a:cubicBezTo>
                    <a:pt x="12693" y="4241"/>
                    <a:pt x="12693" y="4241"/>
                    <a:pt x="12693" y="4241"/>
                  </a:cubicBezTo>
                  <a:cubicBezTo>
                    <a:pt x="12693" y="4241"/>
                    <a:pt x="12619" y="4241"/>
                    <a:pt x="12470" y="4241"/>
                  </a:cubicBezTo>
                  <a:cubicBezTo>
                    <a:pt x="12322" y="4202"/>
                    <a:pt x="12025" y="4163"/>
                    <a:pt x="12025" y="4163"/>
                  </a:cubicBezTo>
                  <a:cubicBezTo>
                    <a:pt x="11802" y="4241"/>
                    <a:pt x="11802" y="4241"/>
                    <a:pt x="11802" y="4241"/>
                  </a:cubicBezTo>
                  <a:cubicBezTo>
                    <a:pt x="11654" y="4202"/>
                    <a:pt x="11654" y="4202"/>
                    <a:pt x="11654" y="4202"/>
                  </a:cubicBezTo>
                  <a:cubicBezTo>
                    <a:pt x="11357" y="4320"/>
                    <a:pt x="11357" y="4320"/>
                    <a:pt x="11357" y="4320"/>
                  </a:cubicBezTo>
                  <a:cubicBezTo>
                    <a:pt x="11357" y="4241"/>
                    <a:pt x="11357" y="4241"/>
                    <a:pt x="11357" y="4241"/>
                  </a:cubicBezTo>
                  <a:cubicBezTo>
                    <a:pt x="11505" y="4124"/>
                    <a:pt x="11505" y="4124"/>
                    <a:pt x="11505" y="4124"/>
                  </a:cubicBezTo>
                  <a:cubicBezTo>
                    <a:pt x="11505" y="4124"/>
                    <a:pt x="11431" y="4084"/>
                    <a:pt x="11357" y="4084"/>
                  </a:cubicBezTo>
                  <a:cubicBezTo>
                    <a:pt x="11357" y="4084"/>
                    <a:pt x="11208" y="4045"/>
                    <a:pt x="11208" y="4045"/>
                  </a:cubicBezTo>
                  <a:cubicBezTo>
                    <a:pt x="11060" y="4163"/>
                    <a:pt x="11060" y="4163"/>
                    <a:pt x="11060" y="4163"/>
                  </a:cubicBezTo>
                  <a:cubicBezTo>
                    <a:pt x="10763" y="4241"/>
                    <a:pt x="10763" y="4241"/>
                    <a:pt x="10763" y="4241"/>
                  </a:cubicBezTo>
                  <a:cubicBezTo>
                    <a:pt x="10837" y="4202"/>
                    <a:pt x="10837" y="4202"/>
                    <a:pt x="10837" y="4202"/>
                  </a:cubicBezTo>
                  <a:cubicBezTo>
                    <a:pt x="11060" y="4124"/>
                    <a:pt x="11060" y="4124"/>
                    <a:pt x="11060" y="4124"/>
                  </a:cubicBezTo>
                  <a:cubicBezTo>
                    <a:pt x="11060" y="4045"/>
                    <a:pt x="11060" y="4045"/>
                    <a:pt x="11060" y="4045"/>
                  </a:cubicBezTo>
                  <a:cubicBezTo>
                    <a:pt x="11060" y="4045"/>
                    <a:pt x="10986" y="4045"/>
                    <a:pt x="10986" y="4045"/>
                  </a:cubicBezTo>
                  <a:cubicBezTo>
                    <a:pt x="10911" y="4045"/>
                    <a:pt x="10837" y="4006"/>
                    <a:pt x="10837" y="4006"/>
                  </a:cubicBezTo>
                  <a:cubicBezTo>
                    <a:pt x="10689" y="3967"/>
                    <a:pt x="10689" y="3967"/>
                    <a:pt x="10689" y="3967"/>
                  </a:cubicBezTo>
                  <a:cubicBezTo>
                    <a:pt x="10614" y="3888"/>
                    <a:pt x="10614" y="3888"/>
                    <a:pt x="10614" y="3888"/>
                  </a:cubicBezTo>
                  <a:cubicBezTo>
                    <a:pt x="10392" y="3927"/>
                    <a:pt x="10392" y="3927"/>
                    <a:pt x="10392" y="3927"/>
                  </a:cubicBezTo>
                  <a:cubicBezTo>
                    <a:pt x="10318" y="4006"/>
                    <a:pt x="10318" y="4006"/>
                    <a:pt x="10318" y="4006"/>
                  </a:cubicBezTo>
                  <a:cubicBezTo>
                    <a:pt x="10169" y="4045"/>
                    <a:pt x="10169" y="4045"/>
                    <a:pt x="10169" y="4045"/>
                  </a:cubicBezTo>
                  <a:cubicBezTo>
                    <a:pt x="10021" y="4045"/>
                    <a:pt x="10021" y="4045"/>
                    <a:pt x="10021" y="4045"/>
                  </a:cubicBezTo>
                  <a:cubicBezTo>
                    <a:pt x="10095" y="4163"/>
                    <a:pt x="10095" y="4163"/>
                    <a:pt x="10095" y="4163"/>
                  </a:cubicBezTo>
                  <a:cubicBezTo>
                    <a:pt x="10021" y="4281"/>
                    <a:pt x="10021" y="4281"/>
                    <a:pt x="10021" y="4281"/>
                  </a:cubicBezTo>
                  <a:cubicBezTo>
                    <a:pt x="9798" y="4281"/>
                    <a:pt x="9798" y="4281"/>
                    <a:pt x="9798" y="4281"/>
                  </a:cubicBezTo>
                  <a:cubicBezTo>
                    <a:pt x="9798" y="4281"/>
                    <a:pt x="9798" y="4438"/>
                    <a:pt x="9872" y="4438"/>
                  </a:cubicBezTo>
                  <a:cubicBezTo>
                    <a:pt x="9872" y="4438"/>
                    <a:pt x="9946" y="4516"/>
                    <a:pt x="9946" y="4516"/>
                  </a:cubicBezTo>
                  <a:cubicBezTo>
                    <a:pt x="9946" y="4595"/>
                    <a:pt x="9946" y="4595"/>
                    <a:pt x="9946" y="4595"/>
                  </a:cubicBezTo>
                  <a:cubicBezTo>
                    <a:pt x="10021" y="4634"/>
                    <a:pt x="10021" y="4634"/>
                    <a:pt x="10021" y="4634"/>
                  </a:cubicBezTo>
                  <a:cubicBezTo>
                    <a:pt x="10021" y="4634"/>
                    <a:pt x="9946" y="4634"/>
                    <a:pt x="9872" y="4634"/>
                  </a:cubicBezTo>
                  <a:cubicBezTo>
                    <a:pt x="9872" y="4634"/>
                    <a:pt x="9798" y="4556"/>
                    <a:pt x="9798" y="4556"/>
                  </a:cubicBezTo>
                  <a:cubicBezTo>
                    <a:pt x="9501" y="4556"/>
                    <a:pt x="9501" y="4556"/>
                    <a:pt x="9501" y="4556"/>
                  </a:cubicBezTo>
                  <a:cubicBezTo>
                    <a:pt x="9427" y="4556"/>
                    <a:pt x="9427" y="4556"/>
                    <a:pt x="9427" y="4556"/>
                  </a:cubicBezTo>
                  <a:cubicBezTo>
                    <a:pt x="9353" y="4673"/>
                    <a:pt x="9353" y="4673"/>
                    <a:pt x="9353" y="4673"/>
                  </a:cubicBezTo>
                  <a:cubicBezTo>
                    <a:pt x="9427" y="4791"/>
                    <a:pt x="9427" y="4791"/>
                    <a:pt x="9427" y="4791"/>
                  </a:cubicBezTo>
                  <a:cubicBezTo>
                    <a:pt x="9353" y="4870"/>
                    <a:pt x="9353" y="4870"/>
                    <a:pt x="9353" y="4870"/>
                  </a:cubicBezTo>
                  <a:cubicBezTo>
                    <a:pt x="9278" y="4909"/>
                    <a:pt x="9278" y="4909"/>
                    <a:pt x="9278" y="4909"/>
                  </a:cubicBezTo>
                  <a:cubicBezTo>
                    <a:pt x="9278" y="4909"/>
                    <a:pt x="9130" y="4988"/>
                    <a:pt x="9130" y="4988"/>
                  </a:cubicBezTo>
                  <a:cubicBezTo>
                    <a:pt x="9130" y="5027"/>
                    <a:pt x="9204" y="5145"/>
                    <a:pt x="9204" y="5145"/>
                  </a:cubicBezTo>
                  <a:cubicBezTo>
                    <a:pt x="9204" y="5145"/>
                    <a:pt x="9278" y="5223"/>
                    <a:pt x="9353" y="5223"/>
                  </a:cubicBezTo>
                  <a:cubicBezTo>
                    <a:pt x="9353" y="5263"/>
                    <a:pt x="9501" y="5302"/>
                    <a:pt x="9501" y="5302"/>
                  </a:cubicBezTo>
                  <a:cubicBezTo>
                    <a:pt x="9501" y="5420"/>
                    <a:pt x="9501" y="5420"/>
                    <a:pt x="9501" y="5420"/>
                  </a:cubicBezTo>
                  <a:cubicBezTo>
                    <a:pt x="9353" y="5302"/>
                    <a:pt x="9353" y="5302"/>
                    <a:pt x="9353" y="5302"/>
                  </a:cubicBezTo>
                  <a:cubicBezTo>
                    <a:pt x="9353" y="5302"/>
                    <a:pt x="9278" y="5263"/>
                    <a:pt x="9204" y="5223"/>
                  </a:cubicBezTo>
                  <a:cubicBezTo>
                    <a:pt x="9204" y="5223"/>
                    <a:pt x="9130" y="5145"/>
                    <a:pt x="9130" y="5145"/>
                  </a:cubicBezTo>
                  <a:cubicBezTo>
                    <a:pt x="9130" y="5145"/>
                    <a:pt x="8981" y="5184"/>
                    <a:pt x="8981" y="5184"/>
                  </a:cubicBezTo>
                  <a:cubicBezTo>
                    <a:pt x="8981" y="5184"/>
                    <a:pt x="8907" y="5184"/>
                    <a:pt x="8981" y="5223"/>
                  </a:cubicBezTo>
                  <a:cubicBezTo>
                    <a:pt x="8981" y="5263"/>
                    <a:pt x="8833" y="5302"/>
                    <a:pt x="8833" y="5302"/>
                  </a:cubicBezTo>
                  <a:cubicBezTo>
                    <a:pt x="8833" y="5302"/>
                    <a:pt x="8610" y="5341"/>
                    <a:pt x="8610" y="5302"/>
                  </a:cubicBezTo>
                  <a:cubicBezTo>
                    <a:pt x="8610" y="5263"/>
                    <a:pt x="8610" y="5223"/>
                    <a:pt x="8536" y="5184"/>
                  </a:cubicBezTo>
                  <a:cubicBezTo>
                    <a:pt x="8536" y="5184"/>
                    <a:pt x="8462" y="5184"/>
                    <a:pt x="8462" y="5184"/>
                  </a:cubicBezTo>
                  <a:cubicBezTo>
                    <a:pt x="8462" y="5223"/>
                    <a:pt x="8388" y="5263"/>
                    <a:pt x="8388" y="5263"/>
                  </a:cubicBezTo>
                  <a:cubicBezTo>
                    <a:pt x="8462" y="5380"/>
                    <a:pt x="8462" y="5380"/>
                    <a:pt x="8462" y="5380"/>
                  </a:cubicBezTo>
                  <a:cubicBezTo>
                    <a:pt x="8462" y="5380"/>
                    <a:pt x="8388" y="5459"/>
                    <a:pt x="8388" y="5459"/>
                  </a:cubicBezTo>
                  <a:cubicBezTo>
                    <a:pt x="8388" y="5420"/>
                    <a:pt x="8313" y="5341"/>
                    <a:pt x="8313" y="5302"/>
                  </a:cubicBezTo>
                  <a:cubicBezTo>
                    <a:pt x="8313" y="5302"/>
                    <a:pt x="8313" y="5223"/>
                    <a:pt x="8239" y="5223"/>
                  </a:cubicBezTo>
                  <a:cubicBezTo>
                    <a:pt x="8239" y="5223"/>
                    <a:pt x="8091" y="5302"/>
                    <a:pt x="8091" y="5302"/>
                  </a:cubicBezTo>
                  <a:cubicBezTo>
                    <a:pt x="8091" y="5302"/>
                    <a:pt x="8016" y="5302"/>
                    <a:pt x="8016" y="5341"/>
                  </a:cubicBezTo>
                  <a:cubicBezTo>
                    <a:pt x="8016" y="5341"/>
                    <a:pt x="7942" y="5459"/>
                    <a:pt x="8016" y="5498"/>
                  </a:cubicBezTo>
                  <a:cubicBezTo>
                    <a:pt x="8091" y="5537"/>
                    <a:pt x="8091" y="5537"/>
                    <a:pt x="8165" y="5537"/>
                  </a:cubicBezTo>
                  <a:cubicBezTo>
                    <a:pt x="8239" y="5537"/>
                    <a:pt x="8239" y="5577"/>
                    <a:pt x="8239" y="5577"/>
                  </a:cubicBezTo>
                  <a:cubicBezTo>
                    <a:pt x="7942" y="5577"/>
                    <a:pt x="7942" y="5577"/>
                    <a:pt x="7942" y="5577"/>
                  </a:cubicBezTo>
                  <a:cubicBezTo>
                    <a:pt x="7942" y="5577"/>
                    <a:pt x="7868" y="5616"/>
                    <a:pt x="7942" y="5655"/>
                  </a:cubicBezTo>
                  <a:cubicBezTo>
                    <a:pt x="7942" y="5655"/>
                    <a:pt x="7942" y="5734"/>
                    <a:pt x="7942" y="5734"/>
                  </a:cubicBezTo>
                  <a:cubicBezTo>
                    <a:pt x="7942" y="5734"/>
                    <a:pt x="8091" y="5812"/>
                    <a:pt x="8091" y="5812"/>
                  </a:cubicBezTo>
                  <a:cubicBezTo>
                    <a:pt x="8091" y="5812"/>
                    <a:pt x="8016" y="5891"/>
                    <a:pt x="8016" y="5891"/>
                  </a:cubicBezTo>
                  <a:cubicBezTo>
                    <a:pt x="8016" y="5891"/>
                    <a:pt x="7868" y="5852"/>
                    <a:pt x="7868" y="5852"/>
                  </a:cubicBezTo>
                  <a:cubicBezTo>
                    <a:pt x="7794" y="5812"/>
                    <a:pt x="7794" y="5852"/>
                    <a:pt x="7720" y="5852"/>
                  </a:cubicBezTo>
                  <a:cubicBezTo>
                    <a:pt x="7720" y="5891"/>
                    <a:pt x="7645" y="5930"/>
                    <a:pt x="7645" y="5969"/>
                  </a:cubicBezTo>
                  <a:cubicBezTo>
                    <a:pt x="7645" y="5969"/>
                    <a:pt x="7720" y="6009"/>
                    <a:pt x="7720" y="6048"/>
                  </a:cubicBezTo>
                  <a:cubicBezTo>
                    <a:pt x="7645" y="6127"/>
                    <a:pt x="7645" y="6205"/>
                    <a:pt x="7645" y="6205"/>
                  </a:cubicBezTo>
                  <a:cubicBezTo>
                    <a:pt x="7645" y="6205"/>
                    <a:pt x="7571" y="6205"/>
                    <a:pt x="7645" y="6244"/>
                  </a:cubicBezTo>
                  <a:cubicBezTo>
                    <a:pt x="7720" y="6284"/>
                    <a:pt x="7868" y="6284"/>
                    <a:pt x="7942" y="6284"/>
                  </a:cubicBezTo>
                  <a:cubicBezTo>
                    <a:pt x="8016" y="6284"/>
                    <a:pt x="8016" y="6284"/>
                    <a:pt x="8016" y="6284"/>
                  </a:cubicBezTo>
                  <a:cubicBezTo>
                    <a:pt x="8091" y="6284"/>
                    <a:pt x="8165" y="6284"/>
                    <a:pt x="8239" y="6323"/>
                  </a:cubicBezTo>
                  <a:cubicBezTo>
                    <a:pt x="8239" y="6323"/>
                    <a:pt x="8313" y="6323"/>
                    <a:pt x="8313" y="6323"/>
                  </a:cubicBezTo>
                  <a:cubicBezTo>
                    <a:pt x="8313" y="6323"/>
                    <a:pt x="8239" y="6401"/>
                    <a:pt x="8165" y="6362"/>
                  </a:cubicBezTo>
                  <a:cubicBezTo>
                    <a:pt x="8091" y="6323"/>
                    <a:pt x="7942" y="6323"/>
                    <a:pt x="7868" y="6323"/>
                  </a:cubicBezTo>
                  <a:cubicBezTo>
                    <a:pt x="7794" y="6323"/>
                    <a:pt x="7868" y="6401"/>
                    <a:pt x="7868" y="6401"/>
                  </a:cubicBezTo>
                  <a:cubicBezTo>
                    <a:pt x="7942" y="6480"/>
                    <a:pt x="7942" y="6480"/>
                    <a:pt x="7942" y="6480"/>
                  </a:cubicBezTo>
                  <a:cubicBezTo>
                    <a:pt x="7942" y="6480"/>
                    <a:pt x="8016" y="6519"/>
                    <a:pt x="7942" y="6519"/>
                  </a:cubicBezTo>
                  <a:cubicBezTo>
                    <a:pt x="7868" y="6519"/>
                    <a:pt x="7720" y="6480"/>
                    <a:pt x="7720" y="6480"/>
                  </a:cubicBezTo>
                  <a:cubicBezTo>
                    <a:pt x="7720" y="6480"/>
                    <a:pt x="7720" y="6480"/>
                    <a:pt x="7645" y="6480"/>
                  </a:cubicBezTo>
                  <a:cubicBezTo>
                    <a:pt x="7645" y="6480"/>
                    <a:pt x="7571" y="6519"/>
                    <a:pt x="7497" y="6519"/>
                  </a:cubicBezTo>
                  <a:cubicBezTo>
                    <a:pt x="7423" y="6519"/>
                    <a:pt x="7423" y="6519"/>
                    <a:pt x="7348" y="6480"/>
                  </a:cubicBezTo>
                  <a:cubicBezTo>
                    <a:pt x="7274" y="6480"/>
                    <a:pt x="7126" y="6401"/>
                    <a:pt x="7126" y="6401"/>
                  </a:cubicBezTo>
                  <a:cubicBezTo>
                    <a:pt x="7126" y="6401"/>
                    <a:pt x="7052" y="6401"/>
                    <a:pt x="7052" y="6362"/>
                  </a:cubicBezTo>
                  <a:cubicBezTo>
                    <a:pt x="7052" y="6323"/>
                    <a:pt x="7126" y="6244"/>
                    <a:pt x="7126" y="6244"/>
                  </a:cubicBezTo>
                  <a:cubicBezTo>
                    <a:pt x="7200" y="6205"/>
                    <a:pt x="7126" y="6205"/>
                    <a:pt x="7200" y="6205"/>
                  </a:cubicBezTo>
                  <a:cubicBezTo>
                    <a:pt x="7274" y="6205"/>
                    <a:pt x="7497" y="6205"/>
                    <a:pt x="7348" y="6127"/>
                  </a:cubicBezTo>
                  <a:cubicBezTo>
                    <a:pt x="7274" y="6048"/>
                    <a:pt x="7274" y="6048"/>
                    <a:pt x="7200" y="6048"/>
                  </a:cubicBezTo>
                  <a:cubicBezTo>
                    <a:pt x="7126" y="6087"/>
                    <a:pt x="6977" y="6127"/>
                    <a:pt x="6977" y="6127"/>
                  </a:cubicBezTo>
                  <a:cubicBezTo>
                    <a:pt x="6977" y="6127"/>
                    <a:pt x="6903" y="6087"/>
                    <a:pt x="6977" y="5969"/>
                  </a:cubicBezTo>
                  <a:cubicBezTo>
                    <a:pt x="7052" y="5852"/>
                    <a:pt x="6977" y="5852"/>
                    <a:pt x="7052" y="5812"/>
                  </a:cubicBezTo>
                  <a:cubicBezTo>
                    <a:pt x="7126" y="5773"/>
                    <a:pt x="7200" y="5734"/>
                    <a:pt x="7200" y="5734"/>
                  </a:cubicBezTo>
                  <a:cubicBezTo>
                    <a:pt x="7200" y="5734"/>
                    <a:pt x="7200" y="5695"/>
                    <a:pt x="7052" y="5616"/>
                  </a:cubicBezTo>
                  <a:cubicBezTo>
                    <a:pt x="6977" y="5537"/>
                    <a:pt x="6903" y="5459"/>
                    <a:pt x="6903" y="5459"/>
                  </a:cubicBezTo>
                  <a:cubicBezTo>
                    <a:pt x="6829" y="5420"/>
                    <a:pt x="6680" y="5498"/>
                    <a:pt x="6680" y="5498"/>
                  </a:cubicBezTo>
                  <a:cubicBezTo>
                    <a:pt x="6680" y="5537"/>
                    <a:pt x="6606" y="5616"/>
                    <a:pt x="6680" y="5655"/>
                  </a:cubicBezTo>
                  <a:cubicBezTo>
                    <a:pt x="6680" y="5695"/>
                    <a:pt x="6680" y="5734"/>
                    <a:pt x="6606" y="5773"/>
                  </a:cubicBezTo>
                  <a:cubicBezTo>
                    <a:pt x="6532" y="5773"/>
                    <a:pt x="6532" y="5812"/>
                    <a:pt x="6458" y="5773"/>
                  </a:cubicBezTo>
                  <a:cubicBezTo>
                    <a:pt x="6384" y="5734"/>
                    <a:pt x="6458" y="5773"/>
                    <a:pt x="6384" y="5695"/>
                  </a:cubicBezTo>
                  <a:cubicBezTo>
                    <a:pt x="6309" y="5655"/>
                    <a:pt x="6384" y="5655"/>
                    <a:pt x="6309" y="5655"/>
                  </a:cubicBezTo>
                  <a:cubicBezTo>
                    <a:pt x="6235" y="5616"/>
                    <a:pt x="6161" y="5577"/>
                    <a:pt x="6161" y="5577"/>
                  </a:cubicBezTo>
                  <a:cubicBezTo>
                    <a:pt x="6161" y="5577"/>
                    <a:pt x="5938" y="5537"/>
                    <a:pt x="5938" y="5577"/>
                  </a:cubicBezTo>
                  <a:cubicBezTo>
                    <a:pt x="5938" y="5616"/>
                    <a:pt x="5938" y="5616"/>
                    <a:pt x="6012" y="5655"/>
                  </a:cubicBezTo>
                  <a:cubicBezTo>
                    <a:pt x="6012" y="5695"/>
                    <a:pt x="6087" y="5695"/>
                    <a:pt x="6087" y="5734"/>
                  </a:cubicBezTo>
                  <a:cubicBezTo>
                    <a:pt x="6087" y="5773"/>
                    <a:pt x="6012" y="5773"/>
                    <a:pt x="6012" y="5773"/>
                  </a:cubicBezTo>
                  <a:cubicBezTo>
                    <a:pt x="6012" y="5773"/>
                    <a:pt x="5938" y="5734"/>
                    <a:pt x="5864" y="5734"/>
                  </a:cubicBezTo>
                  <a:cubicBezTo>
                    <a:pt x="5864" y="5734"/>
                    <a:pt x="5715" y="5812"/>
                    <a:pt x="5715" y="5812"/>
                  </a:cubicBezTo>
                  <a:cubicBezTo>
                    <a:pt x="5715" y="5812"/>
                    <a:pt x="5715" y="5852"/>
                    <a:pt x="5715" y="5891"/>
                  </a:cubicBezTo>
                  <a:cubicBezTo>
                    <a:pt x="5715" y="5891"/>
                    <a:pt x="5715" y="5930"/>
                    <a:pt x="5715" y="5969"/>
                  </a:cubicBezTo>
                  <a:cubicBezTo>
                    <a:pt x="5790" y="6009"/>
                    <a:pt x="5790" y="6087"/>
                    <a:pt x="5864" y="6087"/>
                  </a:cubicBezTo>
                  <a:cubicBezTo>
                    <a:pt x="6012" y="6087"/>
                    <a:pt x="6309" y="6009"/>
                    <a:pt x="6309" y="6009"/>
                  </a:cubicBezTo>
                  <a:cubicBezTo>
                    <a:pt x="6309" y="6048"/>
                    <a:pt x="6458" y="6087"/>
                    <a:pt x="6532" y="6127"/>
                  </a:cubicBezTo>
                  <a:cubicBezTo>
                    <a:pt x="6532" y="6127"/>
                    <a:pt x="6532" y="6205"/>
                    <a:pt x="6532" y="6205"/>
                  </a:cubicBezTo>
                  <a:cubicBezTo>
                    <a:pt x="6532" y="6205"/>
                    <a:pt x="6458" y="6244"/>
                    <a:pt x="6384" y="6244"/>
                  </a:cubicBezTo>
                  <a:cubicBezTo>
                    <a:pt x="6309" y="6244"/>
                    <a:pt x="6235" y="6166"/>
                    <a:pt x="6235" y="6244"/>
                  </a:cubicBezTo>
                  <a:cubicBezTo>
                    <a:pt x="6235" y="6284"/>
                    <a:pt x="6161" y="6362"/>
                    <a:pt x="6235" y="6401"/>
                  </a:cubicBezTo>
                  <a:cubicBezTo>
                    <a:pt x="6309" y="6441"/>
                    <a:pt x="6309" y="6519"/>
                    <a:pt x="6458" y="6519"/>
                  </a:cubicBezTo>
                  <a:cubicBezTo>
                    <a:pt x="6606" y="6559"/>
                    <a:pt x="6606" y="6598"/>
                    <a:pt x="6680" y="6559"/>
                  </a:cubicBezTo>
                  <a:cubicBezTo>
                    <a:pt x="6755" y="6519"/>
                    <a:pt x="6755" y="6480"/>
                    <a:pt x="6829" y="6519"/>
                  </a:cubicBezTo>
                  <a:cubicBezTo>
                    <a:pt x="6903" y="6519"/>
                    <a:pt x="6977" y="6519"/>
                    <a:pt x="7052" y="6559"/>
                  </a:cubicBezTo>
                  <a:cubicBezTo>
                    <a:pt x="7052" y="6598"/>
                    <a:pt x="6977" y="6598"/>
                    <a:pt x="6977" y="6598"/>
                  </a:cubicBezTo>
                  <a:cubicBezTo>
                    <a:pt x="6977" y="6598"/>
                    <a:pt x="6903" y="6598"/>
                    <a:pt x="6903" y="6637"/>
                  </a:cubicBezTo>
                  <a:cubicBezTo>
                    <a:pt x="6903" y="6637"/>
                    <a:pt x="6829" y="6676"/>
                    <a:pt x="6903" y="6676"/>
                  </a:cubicBezTo>
                  <a:cubicBezTo>
                    <a:pt x="7052" y="6676"/>
                    <a:pt x="7126" y="6676"/>
                    <a:pt x="7126" y="6676"/>
                  </a:cubicBezTo>
                  <a:cubicBezTo>
                    <a:pt x="7126" y="6676"/>
                    <a:pt x="7200" y="6598"/>
                    <a:pt x="7274" y="6637"/>
                  </a:cubicBezTo>
                  <a:cubicBezTo>
                    <a:pt x="7274" y="6676"/>
                    <a:pt x="7200" y="6676"/>
                    <a:pt x="7126" y="6716"/>
                  </a:cubicBezTo>
                  <a:cubicBezTo>
                    <a:pt x="7052" y="6755"/>
                    <a:pt x="7052" y="6755"/>
                    <a:pt x="7052" y="6794"/>
                  </a:cubicBezTo>
                  <a:cubicBezTo>
                    <a:pt x="7052" y="6833"/>
                    <a:pt x="6977" y="6833"/>
                    <a:pt x="6977" y="6873"/>
                  </a:cubicBezTo>
                  <a:cubicBezTo>
                    <a:pt x="6977" y="6912"/>
                    <a:pt x="6829" y="7069"/>
                    <a:pt x="7052" y="6951"/>
                  </a:cubicBezTo>
                  <a:cubicBezTo>
                    <a:pt x="7348" y="6833"/>
                    <a:pt x="7348" y="6873"/>
                    <a:pt x="7348" y="6833"/>
                  </a:cubicBezTo>
                  <a:cubicBezTo>
                    <a:pt x="7348" y="6794"/>
                    <a:pt x="7348" y="6794"/>
                    <a:pt x="7497" y="6755"/>
                  </a:cubicBezTo>
                  <a:cubicBezTo>
                    <a:pt x="7571" y="6716"/>
                    <a:pt x="7645" y="6716"/>
                    <a:pt x="7720" y="6716"/>
                  </a:cubicBezTo>
                  <a:cubicBezTo>
                    <a:pt x="7720" y="6676"/>
                    <a:pt x="7868" y="6676"/>
                    <a:pt x="7794" y="6716"/>
                  </a:cubicBezTo>
                  <a:cubicBezTo>
                    <a:pt x="7720" y="6755"/>
                    <a:pt x="7645" y="6716"/>
                    <a:pt x="7720" y="6755"/>
                  </a:cubicBezTo>
                  <a:cubicBezTo>
                    <a:pt x="7794" y="6794"/>
                    <a:pt x="7794" y="6833"/>
                    <a:pt x="7868" y="6833"/>
                  </a:cubicBezTo>
                  <a:cubicBezTo>
                    <a:pt x="7942" y="6833"/>
                    <a:pt x="7942" y="6833"/>
                    <a:pt x="7942" y="6833"/>
                  </a:cubicBezTo>
                  <a:cubicBezTo>
                    <a:pt x="7942" y="6833"/>
                    <a:pt x="7794" y="6833"/>
                    <a:pt x="7720" y="6833"/>
                  </a:cubicBezTo>
                  <a:cubicBezTo>
                    <a:pt x="7720" y="6833"/>
                    <a:pt x="7645" y="6833"/>
                    <a:pt x="7645" y="6833"/>
                  </a:cubicBezTo>
                  <a:cubicBezTo>
                    <a:pt x="7571" y="6833"/>
                    <a:pt x="7571" y="6873"/>
                    <a:pt x="7571" y="6873"/>
                  </a:cubicBezTo>
                  <a:cubicBezTo>
                    <a:pt x="7497" y="6912"/>
                    <a:pt x="7497" y="6912"/>
                    <a:pt x="7497" y="6912"/>
                  </a:cubicBezTo>
                  <a:cubicBezTo>
                    <a:pt x="7497" y="6912"/>
                    <a:pt x="7571" y="6951"/>
                    <a:pt x="7571" y="6991"/>
                  </a:cubicBezTo>
                  <a:cubicBezTo>
                    <a:pt x="7571" y="6991"/>
                    <a:pt x="7571" y="6991"/>
                    <a:pt x="7497" y="6991"/>
                  </a:cubicBezTo>
                  <a:cubicBezTo>
                    <a:pt x="7423" y="6991"/>
                    <a:pt x="7497" y="6951"/>
                    <a:pt x="7348" y="6991"/>
                  </a:cubicBezTo>
                  <a:cubicBezTo>
                    <a:pt x="7200" y="6991"/>
                    <a:pt x="7274" y="6912"/>
                    <a:pt x="7200" y="7030"/>
                  </a:cubicBezTo>
                  <a:cubicBezTo>
                    <a:pt x="7126" y="7148"/>
                    <a:pt x="7052" y="7148"/>
                    <a:pt x="7052" y="7148"/>
                  </a:cubicBezTo>
                  <a:cubicBezTo>
                    <a:pt x="7052" y="7148"/>
                    <a:pt x="7052" y="7148"/>
                    <a:pt x="7052" y="7187"/>
                  </a:cubicBezTo>
                  <a:cubicBezTo>
                    <a:pt x="7052" y="7187"/>
                    <a:pt x="7126" y="7226"/>
                    <a:pt x="7200" y="7265"/>
                  </a:cubicBezTo>
                  <a:cubicBezTo>
                    <a:pt x="7348" y="7305"/>
                    <a:pt x="7423" y="7344"/>
                    <a:pt x="7423" y="7344"/>
                  </a:cubicBezTo>
                  <a:cubicBezTo>
                    <a:pt x="7423" y="7344"/>
                    <a:pt x="7348" y="7344"/>
                    <a:pt x="7274" y="7344"/>
                  </a:cubicBezTo>
                  <a:cubicBezTo>
                    <a:pt x="7126" y="7383"/>
                    <a:pt x="7052" y="7383"/>
                    <a:pt x="6977" y="7423"/>
                  </a:cubicBezTo>
                  <a:cubicBezTo>
                    <a:pt x="6977" y="7423"/>
                    <a:pt x="6903" y="7462"/>
                    <a:pt x="6829" y="7462"/>
                  </a:cubicBezTo>
                  <a:cubicBezTo>
                    <a:pt x="6755" y="7462"/>
                    <a:pt x="6532" y="7423"/>
                    <a:pt x="6458" y="7462"/>
                  </a:cubicBezTo>
                  <a:cubicBezTo>
                    <a:pt x="6384" y="7462"/>
                    <a:pt x="6309" y="7462"/>
                    <a:pt x="6235" y="7501"/>
                  </a:cubicBezTo>
                  <a:cubicBezTo>
                    <a:pt x="6235" y="7501"/>
                    <a:pt x="6235" y="7540"/>
                    <a:pt x="6235" y="7540"/>
                  </a:cubicBezTo>
                  <a:cubicBezTo>
                    <a:pt x="6235" y="7540"/>
                    <a:pt x="6161" y="7580"/>
                    <a:pt x="6235" y="7580"/>
                  </a:cubicBezTo>
                  <a:cubicBezTo>
                    <a:pt x="6309" y="7580"/>
                    <a:pt x="6606" y="7580"/>
                    <a:pt x="6606" y="7580"/>
                  </a:cubicBezTo>
                  <a:cubicBezTo>
                    <a:pt x="6680" y="7580"/>
                    <a:pt x="6680" y="7619"/>
                    <a:pt x="6680" y="7619"/>
                  </a:cubicBezTo>
                  <a:cubicBezTo>
                    <a:pt x="6532" y="7619"/>
                    <a:pt x="6532" y="7619"/>
                    <a:pt x="6532" y="7619"/>
                  </a:cubicBezTo>
                  <a:cubicBezTo>
                    <a:pt x="6532" y="7619"/>
                    <a:pt x="6384" y="7619"/>
                    <a:pt x="6309" y="7619"/>
                  </a:cubicBezTo>
                  <a:cubicBezTo>
                    <a:pt x="6309" y="7619"/>
                    <a:pt x="6087" y="7658"/>
                    <a:pt x="6087" y="7658"/>
                  </a:cubicBezTo>
                  <a:cubicBezTo>
                    <a:pt x="6087" y="7658"/>
                    <a:pt x="5938" y="7737"/>
                    <a:pt x="5938" y="7776"/>
                  </a:cubicBezTo>
                  <a:cubicBezTo>
                    <a:pt x="5938" y="7776"/>
                    <a:pt x="5938" y="7815"/>
                    <a:pt x="6012" y="7894"/>
                  </a:cubicBezTo>
                  <a:cubicBezTo>
                    <a:pt x="6161" y="7933"/>
                    <a:pt x="6161" y="7972"/>
                    <a:pt x="6161" y="8012"/>
                  </a:cubicBezTo>
                  <a:cubicBezTo>
                    <a:pt x="6161" y="8012"/>
                    <a:pt x="6161" y="8012"/>
                    <a:pt x="6161" y="8051"/>
                  </a:cubicBezTo>
                  <a:cubicBezTo>
                    <a:pt x="6087" y="8051"/>
                    <a:pt x="5938" y="8129"/>
                    <a:pt x="5938" y="8129"/>
                  </a:cubicBezTo>
                  <a:cubicBezTo>
                    <a:pt x="5938" y="8129"/>
                    <a:pt x="5938" y="8129"/>
                    <a:pt x="5938" y="8208"/>
                  </a:cubicBezTo>
                  <a:cubicBezTo>
                    <a:pt x="5864" y="8247"/>
                    <a:pt x="5715" y="8365"/>
                    <a:pt x="5864" y="8365"/>
                  </a:cubicBezTo>
                  <a:cubicBezTo>
                    <a:pt x="6012" y="8404"/>
                    <a:pt x="5938" y="8444"/>
                    <a:pt x="6087" y="8404"/>
                  </a:cubicBezTo>
                  <a:cubicBezTo>
                    <a:pt x="6309" y="8365"/>
                    <a:pt x="6087" y="8326"/>
                    <a:pt x="6384" y="8365"/>
                  </a:cubicBezTo>
                  <a:cubicBezTo>
                    <a:pt x="6680" y="8404"/>
                    <a:pt x="6755" y="8365"/>
                    <a:pt x="6829" y="8365"/>
                  </a:cubicBezTo>
                  <a:cubicBezTo>
                    <a:pt x="6903" y="8326"/>
                    <a:pt x="6903" y="8326"/>
                    <a:pt x="6977" y="8287"/>
                  </a:cubicBezTo>
                  <a:cubicBezTo>
                    <a:pt x="6977" y="8287"/>
                    <a:pt x="6829" y="8247"/>
                    <a:pt x="7052" y="8247"/>
                  </a:cubicBezTo>
                  <a:cubicBezTo>
                    <a:pt x="7274" y="8208"/>
                    <a:pt x="7274" y="8208"/>
                    <a:pt x="7274" y="8208"/>
                  </a:cubicBezTo>
                  <a:cubicBezTo>
                    <a:pt x="7274" y="8208"/>
                    <a:pt x="7126" y="8090"/>
                    <a:pt x="7274" y="8169"/>
                  </a:cubicBezTo>
                  <a:cubicBezTo>
                    <a:pt x="7497" y="8247"/>
                    <a:pt x="7497" y="8287"/>
                    <a:pt x="7497" y="8287"/>
                  </a:cubicBezTo>
                  <a:cubicBezTo>
                    <a:pt x="7348" y="8365"/>
                    <a:pt x="7348" y="8365"/>
                    <a:pt x="7348" y="8365"/>
                  </a:cubicBezTo>
                  <a:cubicBezTo>
                    <a:pt x="7348" y="8404"/>
                    <a:pt x="7348" y="8404"/>
                    <a:pt x="7348" y="8404"/>
                  </a:cubicBezTo>
                  <a:cubicBezTo>
                    <a:pt x="7348" y="8404"/>
                    <a:pt x="7200" y="8404"/>
                    <a:pt x="7126" y="8483"/>
                  </a:cubicBezTo>
                  <a:cubicBezTo>
                    <a:pt x="7052" y="8561"/>
                    <a:pt x="6829" y="8679"/>
                    <a:pt x="6829" y="8719"/>
                  </a:cubicBezTo>
                  <a:cubicBezTo>
                    <a:pt x="6829" y="8719"/>
                    <a:pt x="6903" y="8679"/>
                    <a:pt x="6755" y="8758"/>
                  </a:cubicBezTo>
                  <a:cubicBezTo>
                    <a:pt x="6532" y="8836"/>
                    <a:pt x="6458" y="8836"/>
                    <a:pt x="6309" y="8876"/>
                  </a:cubicBezTo>
                  <a:cubicBezTo>
                    <a:pt x="6235" y="8954"/>
                    <a:pt x="6235" y="8915"/>
                    <a:pt x="6161" y="8954"/>
                  </a:cubicBezTo>
                  <a:cubicBezTo>
                    <a:pt x="6161" y="8993"/>
                    <a:pt x="6087" y="9033"/>
                    <a:pt x="6087" y="9033"/>
                  </a:cubicBezTo>
                  <a:cubicBezTo>
                    <a:pt x="6012" y="9111"/>
                    <a:pt x="6012" y="9111"/>
                    <a:pt x="6012" y="9111"/>
                  </a:cubicBezTo>
                  <a:cubicBezTo>
                    <a:pt x="5790" y="9151"/>
                    <a:pt x="5790" y="9151"/>
                    <a:pt x="5790" y="9151"/>
                  </a:cubicBezTo>
                  <a:cubicBezTo>
                    <a:pt x="5567" y="9111"/>
                    <a:pt x="5567" y="9111"/>
                    <a:pt x="5567" y="9111"/>
                  </a:cubicBezTo>
                  <a:cubicBezTo>
                    <a:pt x="5419" y="9190"/>
                    <a:pt x="5419" y="9190"/>
                    <a:pt x="5419" y="9190"/>
                  </a:cubicBezTo>
                  <a:cubicBezTo>
                    <a:pt x="5419" y="9190"/>
                    <a:pt x="5196" y="9151"/>
                    <a:pt x="5122" y="9151"/>
                  </a:cubicBezTo>
                  <a:cubicBezTo>
                    <a:pt x="5047" y="9190"/>
                    <a:pt x="4973" y="9229"/>
                    <a:pt x="4973" y="9229"/>
                  </a:cubicBezTo>
                  <a:cubicBezTo>
                    <a:pt x="4973" y="9229"/>
                    <a:pt x="4899" y="9229"/>
                    <a:pt x="4899" y="9308"/>
                  </a:cubicBezTo>
                  <a:cubicBezTo>
                    <a:pt x="4899" y="9347"/>
                    <a:pt x="4825" y="9465"/>
                    <a:pt x="4825" y="9465"/>
                  </a:cubicBezTo>
                  <a:cubicBezTo>
                    <a:pt x="4676" y="9543"/>
                    <a:pt x="4676" y="9543"/>
                    <a:pt x="4676" y="9543"/>
                  </a:cubicBezTo>
                  <a:cubicBezTo>
                    <a:pt x="4676" y="9543"/>
                    <a:pt x="4602" y="9622"/>
                    <a:pt x="4751" y="9583"/>
                  </a:cubicBezTo>
                  <a:cubicBezTo>
                    <a:pt x="4899" y="9543"/>
                    <a:pt x="4973" y="9504"/>
                    <a:pt x="5047" y="9465"/>
                  </a:cubicBezTo>
                  <a:cubicBezTo>
                    <a:pt x="5047" y="9465"/>
                    <a:pt x="5196" y="9425"/>
                    <a:pt x="5196" y="9425"/>
                  </a:cubicBezTo>
                  <a:cubicBezTo>
                    <a:pt x="5196" y="9504"/>
                    <a:pt x="5196" y="9504"/>
                    <a:pt x="5196" y="9504"/>
                  </a:cubicBezTo>
                  <a:cubicBezTo>
                    <a:pt x="5122" y="9661"/>
                    <a:pt x="5122" y="9661"/>
                    <a:pt x="5122" y="9661"/>
                  </a:cubicBezTo>
                  <a:cubicBezTo>
                    <a:pt x="5047" y="9700"/>
                    <a:pt x="5047" y="9700"/>
                    <a:pt x="5047" y="9700"/>
                  </a:cubicBezTo>
                  <a:cubicBezTo>
                    <a:pt x="4973" y="9740"/>
                    <a:pt x="4973" y="9740"/>
                    <a:pt x="4973" y="9740"/>
                  </a:cubicBezTo>
                  <a:cubicBezTo>
                    <a:pt x="4973" y="9740"/>
                    <a:pt x="4825" y="9897"/>
                    <a:pt x="4973" y="9897"/>
                  </a:cubicBezTo>
                  <a:cubicBezTo>
                    <a:pt x="5122" y="9857"/>
                    <a:pt x="5047" y="9857"/>
                    <a:pt x="5196" y="9818"/>
                  </a:cubicBezTo>
                  <a:cubicBezTo>
                    <a:pt x="5344" y="9818"/>
                    <a:pt x="5270" y="9779"/>
                    <a:pt x="5567" y="9740"/>
                  </a:cubicBezTo>
                  <a:cubicBezTo>
                    <a:pt x="5790" y="9740"/>
                    <a:pt x="5790" y="9661"/>
                    <a:pt x="5790" y="9622"/>
                  </a:cubicBezTo>
                  <a:cubicBezTo>
                    <a:pt x="5790" y="9622"/>
                    <a:pt x="5790" y="9583"/>
                    <a:pt x="5790" y="9543"/>
                  </a:cubicBezTo>
                  <a:cubicBezTo>
                    <a:pt x="5790" y="9504"/>
                    <a:pt x="5641" y="9465"/>
                    <a:pt x="5864" y="9425"/>
                  </a:cubicBezTo>
                  <a:cubicBezTo>
                    <a:pt x="6012" y="9425"/>
                    <a:pt x="5938" y="9465"/>
                    <a:pt x="6012" y="9425"/>
                  </a:cubicBezTo>
                  <a:cubicBezTo>
                    <a:pt x="6087" y="9386"/>
                    <a:pt x="6087" y="9465"/>
                    <a:pt x="6087" y="9347"/>
                  </a:cubicBezTo>
                  <a:cubicBezTo>
                    <a:pt x="6087" y="9268"/>
                    <a:pt x="6087" y="9268"/>
                    <a:pt x="6235" y="9229"/>
                  </a:cubicBezTo>
                  <a:cubicBezTo>
                    <a:pt x="6384" y="9151"/>
                    <a:pt x="6309" y="9190"/>
                    <a:pt x="6384" y="9151"/>
                  </a:cubicBezTo>
                  <a:cubicBezTo>
                    <a:pt x="6458" y="9111"/>
                    <a:pt x="6384" y="9111"/>
                    <a:pt x="6458" y="9072"/>
                  </a:cubicBezTo>
                  <a:cubicBezTo>
                    <a:pt x="6606" y="9033"/>
                    <a:pt x="6606" y="9033"/>
                    <a:pt x="6606" y="9033"/>
                  </a:cubicBezTo>
                  <a:cubicBezTo>
                    <a:pt x="6606" y="8993"/>
                    <a:pt x="6829" y="8915"/>
                    <a:pt x="6829" y="8915"/>
                  </a:cubicBezTo>
                  <a:cubicBezTo>
                    <a:pt x="6829" y="8836"/>
                    <a:pt x="6829" y="8836"/>
                    <a:pt x="6829" y="8836"/>
                  </a:cubicBezTo>
                  <a:cubicBezTo>
                    <a:pt x="7126" y="8758"/>
                    <a:pt x="7126" y="8758"/>
                    <a:pt x="7126" y="8758"/>
                  </a:cubicBezTo>
                  <a:cubicBezTo>
                    <a:pt x="7126" y="8758"/>
                    <a:pt x="7200" y="8719"/>
                    <a:pt x="7200" y="8758"/>
                  </a:cubicBezTo>
                  <a:cubicBezTo>
                    <a:pt x="7126" y="8797"/>
                    <a:pt x="7052" y="8876"/>
                    <a:pt x="7052" y="8876"/>
                  </a:cubicBezTo>
                  <a:cubicBezTo>
                    <a:pt x="7052" y="8954"/>
                    <a:pt x="7052" y="8954"/>
                    <a:pt x="7052" y="8954"/>
                  </a:cubicBezTo>
                  <a:cubicBezTo>
                    <a:pt x="6829" y="9033"/>
                    <a:pt x="6829" y="9033"/>
                    <a:pt x="6829" y="9033"/>
                  </a:cubicBezTo>
                  <a:cubicBezTo>
                    <a:pt x="6829" y="9033"/>
                    <a:pt x="6977" y="9072"/>
                    <a:pt x="6903" y="9111"/>
                  </a:cubicBezTo>
                  <a:cubicBezTo>
                    <a:pt x="6829" y="9151"/>
                    <a:pt x="6680" y="9190"/>
                    <a:pt x="6680" y="9190"/>
                  </a:cubicBezTo>
                  <a:cubicBezTo>
                    <a:pt x="6680" y="9268"/>
                    <a:pt x="6680" y="9268"/>
                    <a:pt x="6680" y="9268"/>
                  </a:cubicBezTo>
                  <a:cubicBezTo>
                    <a:pt x="6755" y="9308"/>
                    <a:pt x="6755" y="9308"/>
                    <a:pt x="6755" y="9308"/>
                  </a:cubicBezTo>
                  <a:cubicBezTo>
                    <a:pt x="6606" y="9465"/>
                    <a:pt x="6606" y="9465"/>
                    <a:pt x="6606" y="9465"/>
                  </a:cubicBezTo>
                  <a:cubicBezTo>
                    <a:pt x="6755" y="9543"/>
                    <a:pt x="6755" y="9543"/>
                    <a:pt x="6755" y="9543"/>
                  </a:cubicBezTo>
                  <a:cubicBezTo>
                    <a:pt x="6829" y="9622"/>
                    <a:pt x="6829" y="9622"/>
                    <a:pt x="6829" y="9622"/>
                  </a:cubicBezTo>
                  <a:cubicBezTo>
                    <a:pt x="6829" y="9622"/>
                    <a:pt x="6755" y="9661"/>
                    <a:pt x="6680" y="9700"/>
                  </a:cubicBezTo>
                  <a:cubicBezTo>
                    <a:pt x="6606" y="9700"/>
                    <a:pt x="6458" y="9818"/>
                    <a:pt x="6458" y="9818"/>
                  </a:cubicBezTo>
                  <a:cubicBezTo>
                    <a:pt x="6309" y="9936"/>
                    <a:pt x="6309" y="9936"/>
                    <a:pt x="6309" y="9936"/>
                  </a:cubicBezTo>
                  <a:cubicBezTo>
                    <a:pt x="6161" y="10054"/>
                    <a:pt x="6161" y="10054"/>
                    <a:pt x="6161" y="10054"/>
                  </a:cubicBezTo>
                  <a:cubicBezTo>
                    <a:pt x="6161" y="10172"/>
                    <a:pt x="6161" y="10172"/>
                    <a:pt x="6161" y="10172"/>
                  </a:cubicBezTo>
                  <a:cubicBezTo>
                    <a:pt x="6087" y="10329"/>
                    <a:pt x="6087" y="10329"/>
                    <a:pt x="6087" y="10329"/>
                  </a:cubicBezTo>
                  <a:cubicBezTo>
                    <a:pt x="5938" y="10368"/>
                    <a:pt x="5938" y="10368"/>
                    <a:pt x="5938" y="10368"/>
                  </a:cubicBezTo>
                  <a:cubicBezTo>
                    <a:pt x="5938" y="10368"/>
                    <a:pt x="5864" y="10486"/>
                    <a:pt x="6012" y="10486"/>
                  </a:cubicBezTo>
                  <a:cubicBezTo>
                    <a:pt x="6161" y="10525"/>
                    <a:pt x="6161" y="10525"/>
                    <a:pt x="6235" y="10525"/>
                  </a:cubicBezTo>
                  <a:cubicBezTo>
                    <a:pt x="6384" y="10525"/>
                    <a:pt x="6309" y="10525"/>
                    <a:pt x="6384" y="10525"/>
                  </a:cubicBezTo>
                  <a:cubicBezTo>
                    <a:pt x="6458" y="10525"/>
                    <a:pt x="6606" y="10525"/>
                    <a:pt x="6606" y="10447"/>
                  </a:cubicBezTo>
                  <a:cubicBezTo>
                    <a:pt x="6606" y="10368"/>
                    <a:pt x="6606" y="10289"/>
                    <a:pt x="6606" y="10250"/>
                  </a:cubicBezTo>
                  <a:cubicBezTo>
                    <a:pt x="6606" y="10250"/>
                    <a:pt x="6755" y="10132"/>
                    <a:pt x="6755" y="10132"/>
                  </a:cubicBezTo>
                  <a:cubicBezTo>
                    <a:pt x="6755" y="9975"/>
                    <a:pt x="6755" y="9975"/>
                    <a:pt x="6755" y="9975"/>
                  </a:cubicBezTo>
                  <a:cubicBezTo>
                    <a:pt x="6755" y="9975"/>
                    <a:pt x="6755" y="9936"/>
                    <a:pt x="6903" y="9857"/>
                  </a:cubicBezTo>
                  <a:cubicBezTo>
                    <a:pt x="7052" y="9818"/>
                    <a:pt x="6977" y="9818"/>
                    <a:pt x="7052" y="9818"/>
                  </a:cubicBezTo>
                  <a:cubicBezTo>
                    <a:pt x="7126" y="9779"/>
                    <a:pt x="7126" y="9740"/>
                    <a:pt x="7126" y="9700"/>
                  </a:cubicBezTo>
                  <a:cubicBezTo>
                    <a:pt x="7200" y="9661"/>
                    <a:pt x="7200" y="9661"/>
                    <a:pt x="7200" y="9661"/>
                  </a:cubicBezTo>
                  <a:cubicBezTo>
                    <a:pt x="7274" y="9583"/>
                    <a:pt x="7274" y="9583"/>
                    <a:pt x="7274" y="9583"/>
                  </a:cubicBezTo>
                  <a:cubicBezTo>
                    <a:pt x="7274" y="9268"/>
                    <a:pt x="7274" y="9268"/>
                    <a:pt x="7274" y="9268"/>
                  </a:cubicBezTo>
                  <a:cubicBezTo>
                    <a:pt x="7274" y="9268"/>
                    <a:pt x="7274" y="9190"/>
                    <a:pt x="7348" y="9190"/>
                  </a:cubicBezTo>
                  <a:cubicBezTo>
                    <a:pt x="7423" y="9190"/>
                    <a:pt x="7497" y="9190"/>
                    <a:pt x="7497" y="9190"/>
                  </a:cubicBezTo>
                  <a:cubicBezTo>
                    <a:pt x="7497" y="9190"/>
                    <a:pt x="7497" y="9229"/>
                    <a:pt x="7497" y="9308"/>
                  </a:cubicBezTo>
                  <a:cubicBezTo>
                    <a:pt x="7423" y="9386"/>
                    <a:pt x="7497" y="9504"/>
                    <a:pt x="7497" y="9504"/>
                  </a:cubicBezTo>
                  <a:cubicBezTo>
                    <a:pt x="8016" y="9740"/>
                    <a:pt x="8016" y="9740"/>
                    <a:pt x="8016" y="9740"/>
                  </a:cubicBezTo>
                  <a:cubicBezTo>
                    <a:pt x="8016" y="9740"/>
                    <a:pt x="8239" y="9936"/>
                    <a:pt x="8239" y="9975"/>
                  </a:cubicBezTo>
                  <a:cubicBezTo>
                    <a:pt x="8239" y="9975"/>
                    <a:pt x="8610" y="10132"/>
                    <a:pt x="8610" y="10132"/>
                  </a:cubicBezTo>
                  <a:cubicBezTo>
                    <a:pt x="8610" y="10132"/>
                    <a:pt x="8685" y="10172"/>
                    <a:pt x="8610" y="10211"/>
                  </a:cubicBezTo>
                  <a:cubicBezTo>
                    <a:pt x="8610" y="10250"/>
                    <a:pt x="8685" y="10289"/>
                    <a:pt x="8685" y="10329"/>
                  </a:cubicBezTo>
                  <a:cubicBezTo>
                    <a:pt x="8610" y="10368"/>
                    <a:pt x="8536" y="10486"/>
                    <a:pt x="8536" y="10486"/>
                  </a:cubicBezTo>
                  <a:cubicBezTo>
                    <a:pt x="8388" y="10525"/>
                    <a:pt x="8388" y="10525"/>
                    <a:pt x="8388" y="10525"/>
                  </a:cubicBezTo>
                  <a:cubicBezTo>
                    <a:pt x="8165" y="10643"/>
                    <a:pt x="8165" y="10643"/>
                    <a:pt x="8165" y="10643"/>
                  </a:cubicBezTo>
                  <a:cubicBezTo>
                    <a:pt x="8091" y="10800"/>
                    <a:pt x="8091" y="10800"/>
                    <a:pt x="8091" y="10800"/>
                  </a:cubicBezTo>
                  <a:cubicBezTo>
                    <a:pt x="7942" y="10918"/>
                    <a:pt x="7942" y="10918"/>
                    <a:pt x="7942" y="10918"/>
                  </a:cubicBezTo>
                  <a:cubicBezTo>
                    <a:pt x="7645" y="10996"/>
                    <a:pt x="7645" y="10996"/>
                    <a:pt x="7645" y="10996"/>
                  </a:cubicBezTo>
                  <a:cubicBezTo>
                    <a:pt x="7274" y="11193"/>
                    <a:pt x="7274" y="11193"/>
                    <a:pt x="7274" y="11193"/>
                  </a:cubicBezTo>
                  <a:cubicBezTo>
                    <a:pt x="7126" y="11350"/>
                    <a:pt x="7126" y="11350"/>
                    <a:pt x="7126" y="11350"/>
                  </a:cubicBezTo>
                  <a:cubicBezTo>
                    <a:pt x="6903" y="11507"/>
                    <a:pt x="6903" y="11507"/>
                    <a:pt x="6903" y="11507"/>
                  </a:cubicBezTo>
                  <a:cubicBezTo>
                    <a:pt x="6903" y="11625"/>
                    <a:pt x="6903" y="11625"/>
                    <a:pt x="6903" y="11625"/>
                  </a:cubicBezTo>
                  <a:cubicBezTo>
                    <a:pt x="6903" y="11625"/>
                    <a:pt x="7052" y="11782"/>
                    <a:pt x="7126" y="11782"/>
                  </a:cubicBezTo>
                  <a:cubicBezTo>
                    <a:pt x="7126" y="11782"/>
                    <a:pt x="7200" y="11821"/>
                    <a:pt x="7200" y="11821"/>
                  </a:cubicBezTo>
                  <a:cubicBezTo>
                    <a:pt x="7274" y="12017"/>
                    <a:pt x="7274" y="12017"/>
                    <a:pt x="7274" y="12017"/>
                  </a:cubicBezTo>
                  <a:cubicBezTo>
                    <a:pt x="7274" y="12017"/>
                    <a:pt x="7274" y="12135"/>
                    <a:pt x="7348" y="12135"/>
                  </a:cubicBezTo>
                  <a:cubicBezTo>
                    <a:pt x="7423" y="12096"/>
                    <a:pt x="7497" y="11978"/>
                    <a:pt x="7497" y="11978"/>
                  </a:cubicBezTo>
                  <a:cubicBezTo>
                    <a:pt x="7497" y="11978"/>
                    <a:pt x="7348" y="11900"/>
                    <a:pt x="7348" y="11821"/>
                  </a:cubicBezTo>
                  <a:cubicBezTo>
                    <a:pt x="7348" y="11743"/>
                    <a:pt x="7497" y="11625"/>
                    <a:pt x="7497" y="11625"/>
                  </a:cubicBezTo>
                  <a:cubicBezTo>
                    <a:pt x="7645" y="11585"/>
                    <a:pt x="7645" y="11585"/>
                    <a:pt x="7645" y="11585"/>
                  </a:cubicBezTo>
                  <a:cubicBezTo>
                    <a:pt x="7645" y="11585"/>
                    <a:pt x="7571" y="11585"/>
                    <a:pt x="7645" y="11625"/>
                  </a:cubicBezTo>
                  <a:cubicBezTo>
                    <a:pt x="7720" y="11703"/>
                    <a:pt x="7720" y="11664"/>
                    <a:pt x="7794" y="11703"/>
                  </a:cubicBezTo>
                  <a:cubicBezTo>
                    <a:pt x="7794" y="11743"/>
                    <a:pt x="8016" y="11860"/>
                    <a:pt x="8016" y="11860"/>
                  </a:cubicBezTo>
                  <a:cubicBezTo>
                    <a:pt x="8016" y="11860"/>
                    <a:pt x="8239" y="11978"/>
                    <a:pt x="8313" y="12017"/>
                  </a:cubicBezTo>
                  <a:cubicBezTo>
                    <a:pt x="8388" y="12057"/>
                    <a:pt x="8462" y="12135"/>
                    <a:pt x="8536" y="12135"/>
                  </a:cubicBezTo>
                  <a:cubicBezTo>
                    <a:pt x="8610" y="12096"/>
                    <a:pt x="8685" y="12135"/>
                    <a:pt x="8685" y="12057"/>
                  </a:cubicBezTo>
                  <a:cubicBezTo>
                    <a:pt x="8685" y="11978"/>
                    <a:pt x="8759" y="11978"/>
                    <a:pt x="8759" y="11900"/>
                  </a:cubicBezTo>
                  <a:cubicBezTo>
                    <a:pt x="8685" y="11860"/>
                    <a:pt x="8685" y="11743"/>
                    <a:pt x="8685" y="11743"/>
                  </a:cubicBezTo>
                  <a:cubicBezTo>
                    <a:pt x="8685" y="11743"/>
                    <a:pt x="8685" y="11703"/>
                    <a:pt x="8759" y="11703"/>
                  </a:cubicBezTo>
                  <a:cubicBezTo>
                    <a:pt x="8907" y="11703"/>
                    <a:pt x="8907" y="11782"/>
                    <a:pt x="8907" y="11782"/>
                  </a:cubicBezTo>
                  <a:cubicBezTo>
                    <a:pt x="8907" y="11782"/>
                    <a:pt x="8981" y="11900"/>
                    <a:pt x="9056" y="11939"/>
                  </a:cubicBezTo>
                  <a:cubicBezTo>
                    <a:pt x="9130" y="11939"/>
                    <a:pt x="9204" y="11939"/>
                    <a:pt x="9278" y="11978"/>
                  </a:cubicBezTo>
                  <a:cubicBezTo>
                    <a:pt x="9353" y="12057"/>
                    <a:pt x="9724" y="12096"/>
                    <a:pt x="9724" y="12096"/>
                  </a:cubicBezTo>
                  <a:cubicBezTo>
                    <a:pt x="9724" y="12096"/>
                    <a:pt x="9798" y="12057"/>
                    <a:pt x="9872" y="12017"/>
                  </a:cubicBezTo>
                  <a:cubicBezTo>
                    <a:pt x="9872" y="11978"/>
                    <a:pt x="10021" y="11978"/>
                    <a:pt x="10021" y="11978"/>
                  </a:cubicBezTo>
                  <a:cubicBezTo>
                    <a:pt x="10021" y="11978"/>
                    <a:pt x="9946" y="11900"/>
                    <a:pt x="10169" y="11939"/>
                  </a:cubicBezTo>
                  <a:cubicBezTo>
                    <a:pt x="10318" y="11939"/>
                    <a:pt x="10392" y="11978"/>
                    <a:pt x="10392" y="11939"/>
                  </a:cubicBezTo>
                  <a:cubicBezTo>
                    <a:pt x="10466" y="11900"/>
                    <a:pt x="10614" y="11743"/>
                    <a:pt x="10614" y="11743"/>
                  </a:cubicBezTo>
                  <a:cubicBezTo>
                    <a:pt x="10614" y="11743"/>
                    <a:pt x="10540" y="11625"/>
                    <a:pt x="10763" y="11664"/>
                  </a:cubicBezTo>
                  <a:cubicBezTo>
                    <a:pt x="10911" y="11743"/>
                    <a:pt x="11728" y="11821"/>
                    <a:pt x="11728" y="11821"/>
                  </a:cubicBezTo>
                  <a:cubicBezTo>
                    <a:pt x="11654" y="11900"/>
                    <a:pt x="11654" y="11900"/>
                    <a:pt x="11654" y="11900"/>
                  </a:cubicBezTo>
                  <a:cubicBezTo>
                    <a:pt x="11357" y="11860"/>
                    <a:pt x="11357" y="11860"/>
                    <a:pt x="11357" y="11860"/>
                  </a:cubicBezTo>
                  <a:cubicBezTo>
                    <a:pt x="11134" y="11900"/>
                    <a:pt x="11134" y="11900"/>
                    <a:pt x="11134" y="11900"/>
                  </a:cubicBezTo>
                  <a:cubicBezTo>
                    <a:pt x="11134" y="11900"/>
                    <a:pt x="11060" y="11900"/>
                    <a:pt x="10986" y="11978"/>
                  </a:cubicBezTo>
                  <a:cubicBezTo>
                    <a:pt x="10986" y="12017"/>
                    <a:pt x="10986" y="12057"/>
                    <a:pt x="10911" y="12096"/>
                  </a:cubicBezTo>
                  <a:cubicBezTo>
                    <a:pt x="10911" y="12135"/>
                    <a:pt x="10837" y="12175"/>
                    <a:pt x="10763" y="12175"/>
                  </a:cubicBezTo>
                  <a:cubicBezTo>
                    <a:pt x="10763" y="12214"/>
                    <a:pt x="10466" y="12332"/>
                    <a:pt x="10466" y="12332"/>
                  </a:cubicBezTo>
                  <a:cubicBezTo>
                    <a:pt x="10318" y="12449"/>
                    <a:pt x="10318" y="12449"/>
                    <a:pt x="10318" y="12449"/>
                  </a:cubicBezTo>
                  <a:cubicBezTo>
                    <a:pt x="10169" y="12646"/>
                    <a:pt x="10169" y="12646"/>
                    <a:pt x="10169" y="12646"/>
                  </a:cubicBezTo>
                  <a:cubicBezTo>
                    <a:pt x="10169" y="12646"/>
                    <a:pt x="10169" y="12803"/>
                    <a:pt x="10243" y="12803"/>
                  </a:cubicBezTo>
                  <a:cubicBezTo>
                    <a:pt x="10318" y="12842"/>
                    <a:pt x="10466" y="12960"/>
                    <a:pt x="10466" y="12960"/>
                  </a:cubicBezTo>
                  <a:cubicBezTo>
                    <a:pt x="10466" y="12960"/>
                    <a:pt x="10466" y="13039"/>
                    <a:pt x="10466" y="13078"/>
                  </a:cubicBezTo>
                  <a:cubicBezTo>
                    <a:pt x="10466" y="13117"/>
                    <a:pt x="10466" y="13156"/>
                    <a:pt x="10540" y="13235"/>
                  </a:cubicBezTo>
                  <a:cubicBezTo>
                    <a:pt x="10614" y="13274"/>
                    <a:pt x="10689" y="13431"/>
                    <a:pt x="10689" y="13431"/>
                  </a:cubicBezTo>
                  <a:cubicBezTo>
                    <a:pt x="10763" y="13431"/>
                    <a:pt x="10763" y="13431"/>
                    <a:pt x="10763" y="13431"/>
                  </a:cubicBezTo>
                  <a:cubicBezTo>
                    <a:pt x="10763" y="13549"/>
                    <a:pt x="10763" y="13549"/>
                    <a:pt x="10763" y="13549"/>
                  </a:cubicBezTo>
                  <a:cubicBezTo>
                    <a:pt x="10763" y="13549"/>
                    <a:pt x="10763" y="13667"/>
                    <a:pt x="10837" y="13667"/>
                  </a:cubicBezTo>
                  <a:cubicBezTo>
                    <a:pt x="10986" y="13667"/>
                    <a:pt x="11208" y="13588"/>
                    <a:pt x="11208" y="13588"/>
                  </a:cubicBezTo>
                  <a:cubicBezTo>
                    <a:pt x="11802" y="13510"/>
                    <a:pt x="11802" y="13510"/>
                    <a:pt x="11802" y="13510"/>
                  </a:cubicBezTo>
                  <a:cubicBezTo>
                    <a:pt x="11802" y="13510"/>
                    <a:pt x="11728" y="13667"/>
                    <a:pt x="11728" y="13706"/>
                  </a:cubicBezTo>
                  <a:cubicBezTo>
                    <a:pt x="11728" y="13745"/>
                    <a:pt x="11579" y="13745"/>
                    <a:pt x="11505" y="13785"/>
                  </a:cubicBezTo>
                  <a:cubicBezTo>
                    <a:pt x="11505" y="13824"/>
                    <a:pt x="11505" y="13863"/>
                    <a:pt x="11505" y="13863"/>
                  </a:cubicBezTo>
                  <a:cubicBezTo>
                    <a:pt x="11505" y="13863"/>
                    <a:pt x="11431" y="13981"/>
                    <a:pt x="11357" y="13981"/>
                  </a:cubicBezTo>
                  <a:cubicBezTo>
                    <a:pt x="11208" y="13981"/>
                    <a:pt x="11060" y="14020"/>
                    <a:pt x="11060" y="14020"/>
                  </a:cubicBezTo>
                  <a:cubicBezTo>
                    <a:pt x="11060" y="14020"/>
                    <a:pt x="10986" y="13942"/>
                    <a:pt x="10986" y="14060"/>
                  </a:cubicBezTo>
                  <a:cubicBezTo>
                    <a:pt x="10911" y="14138"/>
                    <a:pt x="10837" y="14217"/>
                    <a:pt x="10837" y="14256"/>
                  </a:cubicBezTo>
                  <a:cubicBezTo>
                    <a:pt x="10837" y="14295"/>
                    <a:pt x="10689" y="14335"/>
                    <a:pt x="10911" y="14374"/>
                  </a:cubicBezTo>
                  <a:cubicBezTo>
                    <a:pt x="11060" y="14374"/>
                    <a:pt x="11060" y="14492"/>
                    <a:pt x="11060" y="14492"/>
                  </a:cubicBezTo>
                  <a:cubicBezTo>
                    <a:pt x="11060" y="14492"/>
                    <a:pt x="10911" y="14570"/>
                    <a:pt x="10837" y="14609"/>
                  </a:cubicBezTo>
                  <a:cubicBezTo>
                    <a:pt x="10763" y="14649"/>
                    <a:pt x="10689" y="14609"/>
                    <a:pt x="10689" y="14649"/>
                  </a:cubicBezTo>
                  <a:cubicBezTo>
                    <a:pt x="10689" y="14688"/>
                    <a:pt x="10837" y="14884"/>
                    <a:pt x="10837" y="14884"/>
                  </a:cubicBezTo>
                  <a:cubicBezTo>
                    <a:pt x="10837" y="14884"/>
                    <a:pt x="10837" y="15002"/>
                    <a:pt x="10689" y="15002"/>
                  </a:cubicBezTo>
                  <a:cubicBezTo>
                    <a:pt x="10540" y="15002"/>
                    <a:pt x="10540" y="15002"/>
                    <a:pt x="10466" y="15002"/>
                  </a:cubicBezTo>
                  <a:cubicBezTo>
                    <a:pt x="10392" y="15002"/>
                    <a:pt x="10318" y="15002"/>
                    <a:pt x="10318" y="15002"/>
                  </a:cubicBezTo>
                  <a:cubicBezTo>
                    <a:pt x="10318" y="15002"/>
                    <a:pt x="10392" y="15041"/>
                    <a:pt x="10392" y="15120"/>
                  </a:cubicBezTo>
                  <a:cubicBezTo>
                    <a:pt x="10392" y="15199"/>
                    <a:pt x="10392" y="15277"/>
                    <a:pt x="10392" y="15277"/>
                  </a:cubicBezTo>
                  <a:cubicBezTo>
                    <a:pt x="10169" y="15238"/>
                    <a:pt x="10169" y="15238"/>
                    <a:pt x="10169" y="15238"/>
                  </a:cubicBezTo>
                  <a:cubicBezTo>
                    <a:pt x="9946" y="15120"/>
                    <a:pt x="9946" y="15120"/>
                    <a:pt x="9946" y="15120"/>
                  </a:cubicBezTo>
                  <a:cubicBezTo>
                    <a:pt x="9946" y="15120"/>
                    <a:pt x="9724" y="15120"/>
                    <a:pt x="9649" y="15120"/>
                  </a:cubicBezTo>
                  <a:cubicBezTo>
                    <a:pt x="9575" y="15159"/>
                    <a:pt x="9353" y="15159"/>
                    <a:pt x="9353" y="15159"/>
                  </a:cubicBezTo>
                  <a:cubicBezTo>
                    <a:pt x="9353" y="15159"/>
                    <a:pt x="8981" y="15081"/>
                    <a:pt x="8907" y="15041"/>
                  </a:cubicBezTo>
                  <a:cubicBezTo>
                    <a:pt x="8907" y="15002"/>
                    <a:pt x="8907" y="15002"/>
                    <a:pt x="8833" y="15041"/>
                  </a:cubicBezTo>
                  <a:cubicBezTo>
                    <a:pt x="8833" y="15041"/>
                    <a:pt x="8907" y="15041"/>
                    <a:pt x="8833" y="15041"/>
                  </a:cubicBezTo>
                  <a:cubicBezTo>
                    <a:pt x="8759" y="15081"/>
                    <a:pt x="8907" y="15081"/>
                    <a:pt x="8610" y="15081"/>
                  </a:cubicBezTo>
                  <a:cubicBezTo>
                    <a:pt x="8313" y="15120"/>
                    <a:pt x="8016" y="15159"/>
                    <a:pt x="8016" y="15159"/>
                  </a:cubicBezTo>
                  <a:cubicBezTo>
                    <a:pt x="8016" y="15159"/>
                    <a:pt x="8239" y="15041"/>
                    <a:pt x="8165" y="15002"/>
                  </a:cubicBezTo>
                  <a:cubicBezTo>
                    <a:pt x="8091" y="14963"/>
                    <a:pt x="8165" y="15002"/>
                    <a:pt x="8016" y="14963"/>
                  </a:cubicBezTo>
                  <a:cubicBezTo>
                    <a:pt x="7942" y="14924"/>
                    <a:pt x="7794" y="14845"/>
                    <a:pt x="7794" y="14806"/>
                  </a:cubicBezTo>
                  <a:cubicBezTo>
                    <a:pt x="7794" y="14767"/>
                    <a:pt x="7794" y="14688"/>
                    <a:pt x="7645" y="14688"/>
                  </a:cubicBezTo>
                  <a:cubicBezTo>
                    <a:pt x="7571" y="14688"/>
                    <a:pt x="7497" y="14609"/>
                    <a:pt x="7348" y="14688"/>
                  </a:cubicBezTo>
                  <a:cubicBezTo>
                    <a:pt x="7274" y="14727"/>
                    <a:pt x="7200" y="14727"/>
                    <a:pt x="7200" y="14767"/>
                  </a:cubicBezTo>
                  <a:cubicBezTo>
                    <a:pt x="7126" y="14806"/>
                    <a:pt x="6829" y="14845"/>
                    <a:pt x="6829" y="14845"/>
                  </a:cubicBezTo>
                  <a:cubicBezTo>
                    <a:pt x="6829" y="14845"/>
                    <a:pt x="7052" y="15002"/>
                    <a:pt x="7052" y="15041"/>
                  </a:cubicBezTo>
                  <a:cubicBezTo>
                    <a:pt x="7052" y="15081"/>
                    <a:pt x="7200" y="15238"/>
                    <a:pt x="7200" y="15238"/>
                  </a:cubicBezTo>
                  <a:cubicBezTo>
                    <a:pt x="7720" y="15238"/>
                    <a:pt x="7720" y="15238"/>
                    <a:pt x="7720" y="15238"/>
                  </a:cubicBezTo>
                  <a:cubicBezTo>
                    <a:pt x="7720" y="15238"/>
                    <a:pt x="7348" y="15316"/>
                    <a:pt x="7348" y="15395"/>
                  </a:cubicBezTo>
                  <a:cubicBezTo>
                    <a:pt x="7274" y="15434"/>
                    <a:pt x="7274" y="15473"/>
                    <a:pt x="7200" y="15513"/>
                  </a:cubicBezTo>
                  <a:cubicBezTo>
                    <a:pt x="7126" y="15552"/>
                    <a:pt x="7126" y="15591"/>
                    <a:pt x="6977" y="15631"/>
                  </a:cubicBezTo>
                  <a:cubicBezTo>
                    <a:pt x="6755" y="15631"/>
                    <a:pt x="6532" y="15670"/>
                    <a:pt x="6384" y="15709"/>
                  </a:cubicBezTo>
                  <a:cubicBezTo>
                    <a:pt x="6309" y="15748"/>
                    <a:pt x="6235" y="15748"/>
                    <a:pt x="6235" y="15788"/>
                  </a:cubicBezTo>
                  <a:cubicBezTo>
                    <a:pt x="6235" y="15866"/>
                    <a:pt x="5790" y="15827"/>
                    <a:pt x="6235" y="15905"/>
                  </a:cubicBezTo>
                  <a:cubicBezTo>
                    <a:pt x="6680" y="15945"/>
                    <a:pt x="6755" y="15984"/>
                    <a:pt x="6755" y="15984"/>
                  </a:cubicBezTo>
                  <a:cubicBezTo>
                    <a:pt x="6755" y="15984"/>
                    <a:pt x="6977" y="15866"/>
                    <a:pt x="7052" y="15827"/>
                  </a:cubicBezTo>
                  <a:cubicBezTo>
                    <a:pt x="7200" y="15748"/>
                    <a:pt x="7200" y="15748"/>
                    <a:pt x="7497" y="15748"/>
                  </a:cubicBezTo>
                  <a:cubicBezTo>
                    <a:pt x="7794" y="15788"/>
                    <a:pt x="7794" y="15748"/>
                    <a:pt x="7794" y="15788"/>
                  </a:cubicBezTo>
                  <a:cubicBezTo>
                    <a:pt x="7794" y="15866"/>
                    <a:pt x="7794" y="15905"/>
                    <a:pt x="7794" y="15984"/>
                  </a:cubicBezTo>
                  <a:cubicBezTo>
                    <a:pt x="7720" y="16063"/>
                    <a:pt x="7571" y="16102"/>
                    <a:pt x="7720" y="16220"/>
                  </a:cubicBezTo>
                  <a:cubicBezTo>
                    <a:pt x="7868" y="16298"/>
                    <a:pt x="7645" y="16377"/>
                    <a:pt x="7645" y="16416"/>
                  </a:cubicBezTo>
                  <a:cubicBezTo>
                    <a:pt x="7645" y="16416"/>
                    <a:pt x="7497" y="16534"/>
                    <a:pt x="7571" y="16534"/>
                  </a:cubicBezTo>
                  <a:cubicBezTo>
                    <a:pt x="7645" y="16573"/>
                    <a:pt x="7645" y="16573"/>
                    <a:pt x="7645" y="16573"/>
                  </a:cubicBezTo>
                  <a:cubicBezTo>
                    <a:pt x="7645" y="16573"/>
                    <a:pt x="7497" y="16769"/>
                    <a:pt x="7497" y="16809"/>
                  </a:cubicBezTo>
                  <a:cubicBezTo>
                    <a:pt x="7497" y="16809"/>
                    <a:pt x="7274" y="17044"/>
                    <a:pt x="7200" y="17044"/>
                  </a:cubicBezTo>
                  <a:cubicBezTo>
                    <a:pt x="7126" y="17084"/>
                    <a:pt x="7274" y="17084"/>
                    <a:pt x="6829" y="17162"/>
                  </a:cubicBezTo>
                  <a:cubicBezTo>
                    <a:pt x="6384" y="17201"/>
                    <a:pt x="6161" y="17241"/>
                    <a:pt x="6161" y="17241"/>
                  </a:cubicBezTo>
                  <a:cubicBezTo>
                    <a:pt x="5790" y="17319"/>
                    <a:pt x="5790" y="17319"/>
                    <a:pt x="5790" y="17319"/>
                  </a:cubicBezTo>
                  <a:cubicBezTo>
                    <a:pt x="5493" y="17437"/>
                    <a:pt x="5493" y="17437"/>
                    <a:pt x="5493" y="17437"/>
                  </a:cubicBezTo>
                  <a:cubicBezTo>
                    <a:pt x="5270" y="17437"/>
                    <a:pt x="5270" y="17437"/>
                    <a:pt x="5270" y="17437"/>
                  </a:cubicBezTo>
                  <a:cubicBezTo>
                    <a:pt x="4899" y="17398"/>
                    <a:pt x="4899" y="17398"/>
                    <a:pt x="4899" y="17398"/>
                  </a:cubicBezTo>
                  <a:cubicBezTo>
                    <a:pt x="4899" y="17398"/>
                    <a:pt x="4528" y="17516"/>
                    <a:pt x="4528" y="17555"/>
                  </a:cubicBezTo>
                  <a:cubicBezTo>
                    <a:pt x="4528" y="17555"/>
                    <a:pt x="4305" y="17594"/>
                    <a:pt x="4231" y="17633"/>
                  </a:cubicBezTo>
                  <a:cubicBezTo>
                    <a:pt x="4231" y="17673"/>
                    <a:pt x="4602" y="17751"/>
                    <a:pt x="4602" y="17751"/>
                  </a:cubicBezTo>
                  <a:cubicBezTo>
                    <a:pt x="4676" y="17869"/>
                    <a:pt x="4676" y="17869"/>
                    <a:pt x="4676" y="17869"/>
                  </a:cubicBezTo>
                  <a:cubicBezTo>
                    <a:pt x="4528" y="17869"/>
                    <a:pt x="4528" y="17869"/>
                    <a:pt x="4528" y="17869"/>
                  </a:cubicBezTo>
                  <a:cubicBezTo>
                    <a:pt x="4231" y="17908"/>
                    <a:pt x="4231" y="17908"/>
                    <a:pt x="4231" y="17908"/>
                  </a:cubicBezTo>
                  <a:cubicBezTo>
                    <a:pt x="4231" y="17987"/>
                    <a:pt x="4231" y="17987"/>
                    <a:pt x="4231" y="17987"/>
                  </a:cubicBezTo>
                  <a:cubicBezTo>
                    <a:pt x="4379" y="18026"/>
                    <a:pt x="4379" y="18026"/>
                    <a:pt x="4379" y="18026"/>
                  </a:cubicBezTo>
                  <a:cubicBezTo>
                    <a:pt x="4379" y="18026"/>
                    <a:pt x="4454" y="18065"/>
                    <a:pt x="4528" y="18065"/>
                  </a:cubicBezTo>
                  <a:cubicBezTo>
                    <a:pt x="4676" y="18065"/>
                    <a:pt x="4973" y="17987"/>
                    <a:pt x="4973" y="17987"/>
                  </a:cubicBezTo>
                  <a:cubicBezTo>
                    <a:pt x="4602" y="18105"/>
                    <a:pt x="4602" y="18105"/>
                    <a:pt x="4602" y="18105"/>
                  </a:cubicBezTo>
                  <a:cubicBezTo>
                    <a:pt x="4528" y="18223"/>
                    <a:pt x="4528" y="18223"/>
                    <a:pt x="4528" y="18223"/>
                  </a:cubicBezTo>
                  <a:cubicBezTo>
                    <a:pt x="4528" y="18223"/>
                    <a:pt x="4454" y="18301"/>
                    <a:pt x="4602" y="18301"/>
                  </a:cubicBezTo>
                  <a:cubicBezTo>
                    <a:pt x="4751" y="18301"/>
                    <a:pt x="4899" y="18301"/>
                    <a:pt x="4899" y="18301"/>
                  </a:cubicBezTo>
                  <a:cubicBezTo>
                    <a:pt x="4899" y="18301"/>
                    <a:pt x="4973" y="18223"/>
                    <a:pt x="5122" y="18223"/>
                  </a:cubicBezTo>
                  <a:cubicBezTo>
                    <a:pt x="5344" y="18262"/>
                    <a:pt x="5344" y="18262"/>
                    <a:pt x="5344" y="18262"/>
                  </a:cubicBezTo>
                  <a:cubicBezTo>
                    <a:pt x="5344" y="18262"/>
                    <a:pt x="5419" y="18144"/>
                    <a:pt x="5493" y="18144"/>
                  </a:cubicBezTo>
                  <a:cubicBezTo>
                    <a:pt x="5493" y="18144"/>
                    <a:pt x="5419" y="18144"/>
                    <a:pt x="5641" y="18144"/>
                  </a:cubicBezTo>
                  <a:cubicBezTo>
                    <a:pt x="5790" y="18183"/>
                    <a:pt x="6309" y="18144"/>
                    <a:pt x="6309" y="18144"/>
                  </a:cubicBezTo>
                  <a:cubicBezTo>
                    <a:pt x="6309" y="18144"/>
                    <a:pt x="6384" y="18144"/>
                    <a:pt x="6384" y="18183"/>
                  </a:cubicBezTo>
                  <a:cubicBezTo>
                    <a:pt x="6384" y="18262"/>
                    <a:pt x="6532" y="18262"/>
                    <a:pt x="6606" y="18340"/>
                  </a:cubicBezTo>
                  <a:cubicBezTo>
                    <a:pt x="6755" y="18380"/>
                    <a:pt x="7052" y="18419"/>
                    <a:pt x="7052" y="18419"/>
                  </a:cubicBezTo>
                  <a:cubicBezTo>
                    <a:pt x="6829" y="18458"/>
                    <a:pt x="6829" y="18458"/>
                    <a:pt x="6829" y="18458"/>
                  </a:cubicBezTo>
                  <a:cubicBezTo>
                    <a:pt x="6532" y="18419"/>
                    <a:pt x="6532" y="18419"/>
                    <a:pt x="6532" y="18419"/>
                  </a:cubicBezTo>
                  <a:cubicBezTo>
                    <a:pt x="6532" y="18419"/>
                    <a:pt x="6384" y="18380"/>
                    <a:pt x="6384" y="18419"/>
                  </a:cubicBezTo>
                  <a:cubicBezTo>
                    <a:pt x="6384" y="18497"/>
                    <a:pt x="6309" y="18615"/>
                    <a:pt x="6309" y="18615"/>
                  </a:cubicBezTo>
                  <a:cubicBezTo>
                    <a:pt x="6384" y="18615"/>
                    <a:pt x="6755" y="18655"/>
                    <a:pt x="6755" y="18655"/>
                  </a:cubicBezTo>
                  <a:cubicBezTo>
                    <a:pt x="7126" y="18655"/>
                    <a:pt x="7126" y="18655"/>
                    <a:pt x="7126" y="18655"/>
                  </a:cubicBezTo>
                  <a:cubicBezTo>
                    <a:pt x="7274" y="18615"/>
                    <a:pt x="7274" y="18615"/>
                    <a:pt x="7274" y="18615"/>
                  </a:cubicBezTo>
                  <a:cubicBezTo>
                    <a:pt x="7497" y="18537"/>
                    <a:pt x="7497" y="18537"/>
                    <a:pt x="7497" y="18537"/>
                  </a:cubicBezTo>
                  <a:cubicBezTo>
                    <a:pt x="7497" y="18537"/>
                    <a:pt x="7571" y="18615"/>
                    <a:pt x="7497" y="18615"/>
                  </a:cubicBezTo>
                  <a:cubicBezTo>
                    <a:pt x="7497" y="18655"/>
                    <a:pt x="7571" y="18733"/>
                    <a:pt x="7571" y="18733"/>
                  </a:cubicBezTo>
                  <a:cubicBezTo>
                    <a:pt x="7571" y="18733"/>
                    <a:pt x="7571" y="18851"/>
                    <a:pt x="7645" y="18851"/>
                  </a:cubicBezTo>
                  <a:cubicBezTo>
                    <a:pt x="7720" y="18851"/>
                    <a:pt x="7868" y="18969"/>
                    <a:pt x="7868" y="18969"/>
                  </a:cubicBezTo>
                  <a:cubicBezTo>
                    <a:pt x="8016" y="19087"/>
                    <a:pt x="8016" y="19087"/>
                    <a:pt x="8016" y="19087"/>
                  </a:cubicBezTo>
                  <a:cubicBezTo>
                    <a:pt x="8313" y="19126"/>
                    <a:pt x="8313" y="19126"/>
                    <a:pt x="8313" y="19126"/>
                  </a:cubicBezTo>
                  <a:cubicBezTo>
                    <a:pt x="8313" y="19126"/>
                    <a:pt x="8536" y="19126"/>
                    <a:pt x="8610" y="19126"/>
                  </a:cubicBezTo>
                  <a:cubicBezTo>
                    <a:pt x="8685" y="19165"/>
                    <a:pt x="8833" y="19204"/>
                    <a:pt x="8833" y="19165"/>
                  </a:cubicBezTo>
                  <a:cubicBezTo>
                    <a:pt x="8907" y="19126"/>
                    <a:pt x="9056" y="19047"/>
                    <a:pt x="9056" y="19047"/>
                  </a:cubicBezTo>
                  <a:cubicBezTo>
                    <a:pt x="9353" y="18929"/>
                    <a:pt x="9353" y="18929"/>
                    <a:pt x="9353" y="18929"/>
                  </a:cubicBezTo>
                  <a:cubicBezTo>
                    <a:pt x="9353" y="18929"/>
                    <a:pt x="9501" y="18929"/>
                    <a:pt x="9649" y="18929"/>
                  </a:cubicBezTo>
                  <a:cubicBezTo>
                    <a:pt x="9724" y="18929"/>
                    <a:pt x="10243" y="18890"/>
                    <a:pt x="10243" y="18890"/>
                  </a:cubicBezTo>
                  <a:cubicBezTo>
                    <a:pt x="10243" y="18890"/>
                    <a:pt x="10318" y="18812"/>
                    <a:pt x="10466" y="18772"/>
                  </a:cubicBezTo>
                  <a:cubicBezTo>
                    <a:pt x="10540" y="18733"/>
                    <a:pt x="10837" y="18655"/>
                    <a:pt x="10837" y="18655"/>
                  </a:cubicBezTo>
                  <a:cubicBezTo>
                    <a:pt x="11357" y="18576"/>
                    <a:pt x="11357" y="18576"/>
                    <a:pt x="11357" y="18576"/>
                  </a:cubicBezTo>
                  <a:cubicBezTo>
                    <a:pt x="10911" y="18655"/>
                    <a:pt x="10911" y="18655"/>
                    <a:pt x="10911" y="18655"/>
                  </a:cubicBezTo>
                  <a:cubicBezTo>
                    <a:pt x="10763" y="18733"/>
                    <a:pt x="10763" y="18733"/>
                    <a:pt x="10763" y="18733"/>
                  </a:cubicBezTo>
                  <a:cubicBezTo>
                    <a:pt x="10466" y="18851"/>
                    <a:pt x="10466" y="18851"/>
                    <a:pt x="10466" y="18851"/>
                  </a:cubicBezTo>
                  <a:cubicBezTo>
                    <a:pt x="10318" y="18929"/>
                    <a:pt x="10318" y="18929"/>
                    <a:pt x="10318" y="18929"/>
                  </a:cubicBezTo>
                  <a:cubicBezTo>
                    <a:pt x="10318" y="18929"/>
                    <a:pt x="10169" y="18969"/>
                    <a:pt x="10095" y="19008"/>
                  </a:cubicBezTo>
                  <a:cubicBezTo>
                    <a:pt x="10095" y="19008"/>
                    <a:pt x="9872" y="19204"/>
                    <a:pt x="9872" y="19204"/>
                  </a:cubicBezTo>
                  <a:cubicBezTo>
                    <a:pt x="9649" y="19244"/>
                    <a:pt x="9649" y="19244"/>
                    <a:pt x="9649" y="19244"/>
                  </a:cubicBezTo>
                  <a:cubicBezTo>
                    <a:pt x="9649" y="19244"/>
                    <a:pt x="9427" y="19322"/>
                    <a:pt x="9353" y="19401"/>
                  </a:cubicBezTo>
                  <a:cubicBezTo>
                    <a:pt x="9278" y="19440"/>
                    <a:pt x="9204" y="19479"/>
                    <a:pt x="9204" y="19479"/>
                  </a:cubicBezTo>
                  <a:cubicBezTo>
                    <a:pt x="9204" y="19479"/>
                    <a:pt x="9278" y="19558"/>
                    <a:pt x="8907" y="19558"/>
                  </a:cubicBezTo>
                  <a:cubicBezTo>
                    <a:pt x="8536" y="19519"/>
                    <a:pt x="8239" y="19479"/>
                    <a:pt x="8239" y="19479"/>
                  </a:cubicBezTo>
                  <a:cubicBezTo>
                    <a:pt x="8239" y="19479"/>
                    <a:pt x="7868" y="19440"/>
                    <a:pt x="7794" y="19440"/>
                  </a:cubicBezTo>
                  <a:cubicBezTo>
                    <a:pt x="7720" y="19401"/>
                    <a:pt x="7720" y="19401"/>
                    <a:pt x="7497" y="19401"/>
                  </a:cubicBezTo>
                  <a:cubicBezTo>
                    <a:pt x="7348" y="19401"/>
                    <a:pt x="6606" y="19283"/>
                    <a:pt x="6606" y="19283"/>
                  </a:cubicBezTo>
                  <a:cubicBezTo>
                    <a:pt x="6606" y="19283"/>
                    <a:pt x="6458" y="19283"/>
                    <a:pt x="6384" y="19322"/>
                  </a:cubicBezTo>
                  <a:cubicBezTo>
                    <a:pt x="6309" y="19361"/>
                    <a:pt x="6161" y="19361"/>
                    <a:pt x="6161" y="19401"/>
                  </a:cubicBezTo>
                  <a:cubicBezTo>
                    <a:pt x="6161" y="19479"/>
                    <a:pt x="6161" y="19519"/>
                    <a:pt x="6161" y="19519"/>
                  </a:cubicBezTo>
                  <a:cubicBezTo>
                    <a:pt x="6087" y="19636"/>
                    <a:pt x="6087" y="19636"/>
                    <a:pt x="6087" y="19636"/>
                  </a:cubicBezTo>
                  <a:cubicBezTo>
                    <a:pt x="5790" y="19676"/>
                    <a:pt x="5790" y="19676"/>
                    <a:pt x="5790" y="19676"/>
                  </a:cubicBezTo>
                  <a:cubicBezTo>
                    <a:pt x="5419" y="19676"/>
                    <a:pt x="5419" y="19676"/>
                    <a:pt x="5419" y="19676"/>
                  </a:cubicBezTo>
                  <a:close/>
                  <a:moveTo>
                    <a:pt x="3192" y="10447"/>
                  </a:moveTo>
                  <a:cubicBezTo>
                    <a:pt x="3192" y="10447"/>
                    <a:pt x="3192" y="10447"/>
                    <a:pt x="3192" y="10447"/>
                  </a:cubicBezTo>
                  <a:cubicBezTo>
                    <a:pt x="3266" y="10447"/>
                    <a:pt x="3711" y="10447"/>
                    <a:pt x="3711" y="10447"/>
                  </a:cubicBezTo>
                  <a:cubicBezTo>
                    <a:pt x="4008" y="10447"/>
                    <a:pt x="4008" y="10447"/>
                    <a:pt x="4008" y="10447"/>
                  </a:cubicBezTo>
                  <a:cubicBezTo>
                    <a:pt x="4008" y="10447"/>
                    <a:pt x="4379" y="10447"/>
                    <a:pt x="4454" y="10447"/>
                  </a:cubicBezTo>
                  <a:cubicBezTo>
                    <a:pt x="4528" y="10447"/>
                    <a:pt x="4602" y="10486"/>
                    <a:pt x="4602" y="10486"/>
                  </a:cubicBezTo>
                  <a:cubicBezTo>
                    <a:pt x="4602" y="10486"/>
                    <a:pt x="4751" y="10407"/>
                    <a:pt x="4825" y="10447"/>
                  </a:cubicBezTo>
                  <a:cubicBezTo>
                    <a:pt x="4899" y="10447"/>
                    <a:pt x="5047" y="10564"/>
                    <a:pt x="5047" y="10564"/>
                  </a:cubicBezTo>
                  <a:cubicBezTo>
                    <a:pt x="5196" y="10761"/>
                    <a:pt x="5196" y="10761"/>
                    <a:pt x="5196" y="10761"/>
                  </a:cubicBezTo>
                  <a:cubicBezTo>
                    <a:pt x="5270" y="10996"/>
                    <a:pt x="5270" y="10996"/>
                    <a:pt x="5270" y="10996"/>
                  </a:cubicBezTo>
                  <a:cubicBezTo>
                    <a:pt x="5344" y="11193"/>
                    <a:pt x="5344" y="11193"/>
                    <a:pt x="5344" y="11193"/>
                  </a:cubicBezTo>
                  <a:cubicBezTo>
                    <a:pt x="5641" y="11389"/>
                    <a:pt x="5641" y="11389"/>
                    <a:pt x="5641" y="11389"/>
                  </a:cubicBezTo>
                  <a:cubicBezTo>
                    <a:pt x="5493" y="11507"/>
                    <a:pt x="5493" y="11507"/>
                    <a:pt x="5493" y="11507"/>
                  </a:cubicBezTo>
                  <a:cubicBezTo>
                    <a:pt x="5493" y="11507"/>
                    <a:pt x="5493" y="11664"/>
                    <a:pt x="5493" y="11664"/>
                  </a:cubicBezTo>
                  <a:cubicBezTo>
                    <a:pt x="5419" y="11664"/>
                    <a:pt x="5196" y="11703"/>
                    <a:pt x="5196" y="11703"/>
                  </a:cubicBezTo>
                  <a:cubicBezTo>
                    <a:pt x="5122" y="11743"/>
                    <a:pt x="5047" y="11860"/>
                    <a:pt x="5047" y="11860"/>
                  </a:cubicBezTo>
                  <a:cubicBezTo>
                    <a:pt x="5047" y="11860"/>
                    <a:pt x="5344" y="11703"/>
                    <a:pt x="5419" y="11743"/>
                  </a:cubicBezTo>
                  <a:cubicBezTo>
                    <a:pt x="5493" y="11743"/>
                    <a:pt x="5715" y="11743"/>
                    <a:pt x="5715" y="11743"/>
                  </a:cubicBezTo>
                  <a:cubicBezTo>
                    <a:pt x="5864" y="11821"/>
                    <a:pt x="5864" y="11821"/>
                    <a:pt x="5864" y="11821"/>
                  </a:cubicBezTo>
                  <a:cubicBezTo>
                    <a:pt x="6012" y="11978"/>
                    <a:pt x="6012" y="11978"/>
                    <a:pt x="6012" y="11978"/>
                  </a:cubicBezTo>
                  <a:cubicBezTo>
                    <a:pt x="6012" y="12175"/>
                    <a:pt x="6012" y="12175"/>
                    <a:pt x="6012" y="12175"/>
                  </a:cubicBezTo>
                  <a:cubicBezTo>
                    <a:pt x="6012" y="12175"/>
                    <a:pt x="6012" y="12332"/>
                    <a:pt x="5938" y="12332"/>
                  </a:cubicBezTo>
                  <a:cubicBezTo>
                    <a:pt x="5938" y="12371"/>
                    <a:pt x="5864" y="12410"/>
                    <a:pt x="5790" y="12410"/>
                  </a:cubicBezTo>
                  <a:cubicBezTo>
                    <a:pt x="5715" y="12410"/>
                    <a:pt x="5641" y="12410"/>
                    <a:pt x="5715" y="12332"/>
                  </a:cubicBezTo>
                  <a:cubicBezTo>
                    <a:pt x="5715" y="12253"/>
                    <a:pt x="5790" y="12175"/>
                    <a:pt x="5790" y="12175"/>
                  </a:cubicBezTo>
                  <a:cubicBezTo>
                    <a:pt x="5790" y="12135"/>
                    <a:pt x="5864" y="11978"/>
                    <a:pt x="5790" y="11978"/>
                  </a:cubicBezTo>
                  <a:cubicBezTo>
                    <a:pt x="5641" y="11978"/>
                    <a:pt x="5567" y="11900"/>
                    <a:pt x="5567" y="11978"/>
                  </a:cubicBezTo>
                  <a:cubicBezTo>
                    <a:pt x="5493" y="12017"/>
                    <a:pt x="5567" y="12175"/>
                    <a:pt x="5567" y="12175"/>
                  </a:cubicBezTo>
                  <a:cubicBezTo>
                    <a:pt x="5567" y="12175"/>
                    <a:pt x="5641" y="12214"/>
                    <a:pt x="5641" y="12253"/>
                  </a:cubicBezTo>
                  <a:cubicBezTo>
                    <a:pt x="5567" y="12292"/>
                    <a:pt x="5567" y="12253"/>
                    <a:pt x="5493" y="12332"/>
                  </a:cubicBezTo>
                  <a:cubicBezTo>
                    <a:pt x="5344" y="12371"/>
                    <a:pt x="5567" y="12410"/>
                    <a:pt x="5567" y="12410"/>
                  </a:cubicBezTo>
                  <a:cubicBezTo>
                    <a:pt x="5641" y="12489"/>
                    <a:pt x="5641" y="12489"/>
                    <a:pt x="5641" y="12489"/>
                  </a:cubicBezTo>
                  <a:cubicBezTo>
                    <a:pt x="5641" y="12489"/>
                    <a:pt x="5641" y="12607"/>
                    <a:pt x="5567" y="12607"/>
                  </a:cubicBezTo>
                  <a:cubicBezTo>
                    <a:pt x="5493" y="12646"/>
                    <a:pt x="5493" y="12685"/>
                    <a:pt x="5196" y="12607"/>
                  </a:cubicBezTo>
                  <a:cubicBezTo>
                    <a:pt x="4899" y="12567"/>
                    <a:pt x="4825" y="12528"/>
                    <a:pt x="4825" y="12528"/>
                  </a:cubicBezTo>
                  <a:cubicBezTo>
                    <a:pt x="4751" y="12724"/>
                    <a:pt x="4751" y="12724"/>
                    <a:pt x="4751" y="12724"/>
                  </a:cubicBezTo>
                  <a:cubicBezTo>
                    <a:pt x="4602" y="12881"/>
                    <a:pt x="4602" y="12881"/>
                    <a:pt x="4602" y="12881"/>
                  </a:cubicBezTo>
                  <a:cubicBezTo>
                    <a:pt x="4082" y="12960"/>
                    <a:pt x="4082" y="12960"/>
                    <a:pt x="4082" y="12960"/>
                  </a:cubicBezTo>
                  <a:cubicBezTo>
                    <a:pt x="3786" y="12764"/>
                    <a:pt x="3786" y="12764"/>
                    <a:pt x="3786" y="12764"/>
                  </a:cubicBezTo>
                  <a:cubicBezTo>
                    <a:pt x="3786" y="12764"/>
                    <a:pt x="3563" y="12803"/>
                    <a:pt x="3489" y="12803"/>
                  </a:cubicBezTo>
                  <a:cubicBezTo>
                    <a:pt x="3414" y="12764"/>
                    <a:pt x="3043" y="12724"/>
                    <a:pt x="3043" y="12724"/>
                  </a:cubicBezTo>
                  <a:cubicBezTo>
                    <a:pt x="2969" y="12528"/>
                    <a:pt x="2969" y="12528"/>
                    <a:pt x="2969" y="12528"/>
                  </a:cubicBezTo>
                  <a:cubicBezTo>
                    <a:pt x="2598" y="12332"/>
                    <a:pt x="2598" y="12332"/>
                    <a:pt x="2598" y="12332"/>
                  </a:cubicBezTo>
                  <a:cubicBezTo>
                    <a:pt x="2672" y="12175"/>
                    <a:pt x="2672" y="12175"/>
                    <a:pt x="2672" y="12175"/>
                  </a:cubicBezTo>
                  <a:cubicBezTo>
                    <a:pt x="2449" y="11939"/>
                    <a:pt x="2449" y="11939"/>
                    <a:pt x="2449" y="11939"/>
                  </a:cubicBezTo>
                  <a:cubicBezTo>
                    <a:pt x="2004" y="11978"/>
                    <a:pt x="2004" y="11978"/>
                    <a:pt x="2004" y="11978"/>
                  </a:cubicBezTo>
                  <a:cubicBezTo>
                    <a:pt x="1856" y="12175"/>
                    <a:pt x="1856" y="12175"/>
                    <a:pt x="1856" y="12175"/>
                  </a:cubicBezTo>
                  <a:cubicBezTo>
                    <a:pt x="1856" y="12175"/>
                    <a:pt x="2004" y="12253"/>
                    <a:pt x="1856" y="12292"/>
                  </a:cubicBezTo>
                  <a:cubicBezTo>
                    <a:pt x="1707" y="12292"/>
                    <a:pt x="1410" y="12332"/>
                    <a:pt x="1410" y="12332"/>
                  </a:cubicBezTo>
                  <a:cubicBezTo>
                    <a:pt x="1410" y="12332"/>
                    <a:pt x="1039" y="12371"/>
                    <a:pt x="965" y="12371"/>
                  </a:cubicBezTo>
                  <a:cubicBezTo>
                    <a:pt x="965" y="12371"/>
                    <a:pt x="668" y="12135"/>
                    <a:pt x="668" y="12135"/>
                  </a:cubicBezTo>
                  <a:cubicBezTo>
                    <a:pt x="668" y="12135"/>
                    <a:pt x="520" y="12135"/>
                    <a:pt x="445" y="12135"/>
                  </a:cubicBezTo>
                  <a:cubicBezTo>
                    <a:pt x="371" y="12135"/>
                    <a:pt x="371" y="12175"/>
                    <a:pt x="371" y="12096"/>
                  </a:cubicBezTo>
                  <a:cubicBezTo>
                    <a:pt x="371" y="12017"/>
                    <a:pt x="297" y="11900"/>
                    <a:pt x="297" y="11900"/>
                  </a:cubicBezTo>
                  <a:cubicBezTo>
                    <a:pt x="297" y="11900"/>
                    <a:pt x="520" y="12017"/>
                    <a:pt x="297" y="11860"/>
                  </a:cubicBezTo>
                  <a:cubicBezTo>
                    <a:pt x="74" y="11703"/>
                    <a:pt x="0" y="11546"/>
                    <a:pt x="0" y="11546"/>
                  </a:cubicBezTo>
                  <a:cubicBezTo>
                    <a:pt x="371" y="11428"/>
                    <a:pt x="371" y="11428"/>
                    <a:pt x="371" y="11428"/>
                  </a:cubicBezTo>
                  <a:cubicBezTo>
                    <a:pt x="371" y="11428"/>
                    <a:pt x="742" y="11428"/>
                    <a:pt x="816" y="11468"/>
                  </a:cubicBezTo>
                  <a:cubicBezTo>
                    <a:pt x="891" y="11468"/>
                    <a:pt x="965" y="11389"/>
                    <a:pt x="965" y="11389"/>
                  </a:cubicBezTo>
                  <a:cubicBezTo>
                    <a:pt x="965" y="11389"/>
                    <a:pt x="1113" y="11311"/>
                    <a:pt x="965" y="11271"/>
                  </a:cubicBezTo>
                  <a:cubicBezTo>
                    <a:pt x="891" y="11271"/>
                    <a:pt x="742" y="11193"/>
                    <a:pt x="742" y="11193"/>
                  </a:cubicBezTo>
                  <a:cubicBezTo>
                    <a:pt x="742" y="11193"/>
                    <a:pt x="594" y="11114"/>
                    <a:pt x="816" y="11075"/>
                  </a:cubicBezTo>
                  <a:cubicBezTo>
                    <a:pt x="1039" y="11075"/>
                    <a:pt x="1039" y="11075"/>
                    <a:pt x="1188" y="11075"/>
                  </a:cubicBezTo>
                  <a:cubicBezTo>
                    <a:pt x="1336" y="11114"/>
                    <a:pt x="1410" y="11232"/>
                    <a:pt x="1485" y="11075"/>
                  </a:cubicBezTo>
                  <a:cubicBezTo>
                    <a:pt x="1559" y="10957"/>
                    <a:pt x="1410" y="10957"/>
                    <a:pt x="1633" y="10918"/>
                  </a:cubicBezTo>
                  <a:cubicBezTo>
                    <a:pt x="1856" y="10918"/>
                    <a:pt x="2004" y="10879"/>
                    <a:pt x="2004" y="10839"/>
                  </a:cubicBezTo>
                  <a:cubicBezTo>
                    <a:pt x="2004" y="10800"/>
                    <a:pt x="2004" y="10643"/>
                    <a:pt x="2078" y="10643"/>
                  </a:cubicBezTo>
                  <a:cubicBezTo>
                    <a:pt x="2153" y="10643"/>
                    <a:pt x="2524" y="10682"/>
                    <a:pt x="2524" y="10682"/>
                  </a:cubicBezTo>
                  <a:cubicBezTo>
                    <a:pt x="2524" y="10682"/>
                    <a:pt x="2672" y="10604"/>
                    <a:pt x="2821" y="10643"/>
                  </a:cubicBezTo>
                  <a:cubicBezTo>
                    <a:pt x="2969" y="10643"/>
                    <a:pt x="3043" y="10604"/>
                    <a:pt x="3043" y="10604"/>
                  </a:cubicBezTo>
                  <a:cubicBezTo>
                    <a:pt x="3043" y="10604"/>
                    <a:pt x="3192" y="10447"/>
                    <a:pt x="3192" y="10447"/>
                  </a:cubicBezTo>
                  <a:close/>
                  <a:moveTo>
                    <a:pt x="5493" y="8915"/>
                  </a:moveTo>
                  <a:cubicBezTo>
                    <a:pt x="5493" y="8915"/>
                    <a:pt x="5493" y="8915"/>
                    <a:pt x="5493" y="8915"/>
                  </a:cubicBezTo>
                  <a:cubicBezTo>
                    <a:pt x="5493" y="8915"/>
                    <a:pt x="5419" y="8797"/>
                    <a:pt x="5493" y="8797"/>
                  </a:cubicBezTo>
                  <a:cubicBezTo>
                    <a:pt x="5567" y="8797"/>
                    <a:pt x="5790" y="8758"/>
                    <a:pt x="5790" y="8758"/>
                  </a:cubicBezTo>
                  <a:cubicBezTo>
                    <a:pt x="5790" y="8758"/>
                    <a:pt x="5864" y="8679"/>
                    <a:pt x="5864" y="8719"/>
                  </a:cubicBezTo>
                  <a:cubicBezTo>
                    <a:pt x="5938" y="8719"/>
                    <a:pt x="5938" y="8797"/>
                    <a:pt x="5864" y="8797"/>
                  </a:cubicBezTo>
                  <a:cubicBezTo>
                    <a:pt x="5864" y="8797"/>
                    <a:pt x="5715" y="8876"/>
                    <a:pt x="5715" y="8876"/>
                  </a:cubicBezTo>
                  <a:cubicBezTo>
                    <a:pt x="5715" y="8876"/>
                    <a:pt x="5567" y="8915"/>
                    <a:pt x="5567" y="8915"/>
                  </a:cubicBezTo>
                  <a:cubicBezTo>
                    <a:pt x="5493" y="8915"/>
                    <a:pt x="5493" y="8915"/>
                    <a:pt x="5493" y="8915"/>
                  </a:cubicBezTo>
                  <a:close/>
                  <a:moveTo>
                    <a:pt x="6458" y="9740"/>
                  </a:moveTo>
                  <a:cubicBezTo>
                    <a:pt x="6458" y="9740"/>
                    <a:pt x="6458" y="9740"/>
                    <a:pt x="6458" y="9740"/>
                  </a:cubicBezTo>
                  <a:cubicBezTo>
                    <a:pt x="6458" y="9740"/>
                    <a:pt x="6458" y="9779"/>
                    <a:pt x="6384" y="9779"/>
                  </a:cubicBezTo>
                  <a:cubicBezTo>
                    <a:pt x="6309" y="9779"/>
                    <a:pt x="6161" y="9779"/>
                    <a:pt x="6161" y="9740"/>
                  </a:cubicBezTo>
                  <a:cubicBezTo>
                    <a:pt x="6161" y="9740"/>
                    <a:pt x="6235" y="9661"/>
                    <a:pt x="6309" y="9661"/>
                  </a:cubicBezTo>
                  <a:cubicBezTo>
                    <a:pt x="6309" y="9661"/>
                    <a:pt x="6384" y="9622"/>
                    <a:pt x="6384" y="9622"/>
                  </a:cubicBezTo>
                  <a:cubicBezTo>
                    <a:pt x="6384" y="9622"/>
                    <a:pt x="6384" y="9583"/>
                    <a:pt x="6384" y="9583"/>
                  </a:cubicBezTo>
                  <a:cubicBezTo>
                    <a:pt x="6458" y="9583"/>
                    <a:pt x="6532" y="9661"/>
                    <a:pt x="6532" y="9661"/>
                  </a:cubicBezTo>
                  <a:cubicBezTo>
                    <a:pt x="6458" y="9740"/>
                    <a:pt x="6458" y="9740"/>
                    <a:pt x="6458" y="9740"/>
                  </a:cubicBezTo>
                  <a:close/>
                  <a:moveTo>
                    <a:pt x="7052" y="10015"/>
                  </a:moveTo>
                  <a:cubicBezTo>
                    <a:pt x="7052" y="10015"/>
                    <a:pt x="7052" y="10015"/>
                    <a:pt x="7052" y="10015"/>
                  </a:cubicBezTo>
                  <a:cubicBezTo>
                    <a:pt x="7052" y="9975"/>
                    <a:pt x="7200" y="9897"/>
                    <a:pt x="7200" y="9857"/>
                  </a:cubicBezTo>
                  <a:cubicBezTo>
                    <a:pt x="7274" y="9857"/>
                    <a:pt x="7274" y="9818"/>
                    <a:pt x="7274" y="9818"/>
                  </a:cubicBezTo>
                  <a:cubicBezTo>
                    <a:pt x="7348" y="9779"/>
                    <a:pt x="7423" y="9779"/>
                    <a:pt x="7497" y="9779"/>
                  </a:cubicBezTo>
                  <a:cubicBezTo>
                    <a:pt x="7645" y="9818"/>
                    <a:pt x="7794" y="9897"/>
                    <a:pt x="7720" y="9897"/>
                  </a:cubicBezTo>
                  <a:cubicBezTo>
                    <a:pt x="7720" y="9936"/>
                    <a:pt x="7645" y="9897"/>
                    <a:pt x="7645" y="10015"/>
                  </a:cubicBezTo>
                  <a:cubicBezTo>
                    <a:pt x="7645" y="10132"/>
                    <a:pt x="7645" y="10132"/>
                    <a:pt x="7645" y="10172"/>
                  </a:cubicBezTo>
                  <a:cubicBezTo>
                    <a:pt x="7720" y="10211"/>
                    <a:pt x="7645" y="10329"/>
                    <a:pt x="7645" y="10329"/>
                  </a:cubicBezTo>
                  <a:cubicBezTo>
                    <a:pt x="7645" y="10329"/>
                    <a:pt x="7571" y="10407"/>
                    <a:pt x="7497" y="10407"/>
                  </a:cubicBezTo>
                  <a:cubicBezTo>
                    <a:pt x="7497" y="10407"/>
                    <a:pt x="7497" y="10407"/>
                    <a:pt x="7348" y="10368"/>
                  </a:cubicBezTo>
                  <a:cubicBezTo>
                    <a:pt x="7274" y="10368"/>
                    <a:pt x="7052" y="10289"/>
                    <a:pt x="7052" y="10289"/>
                  </a:cubicBezTo>
                  <a:cubicBezTo>
                    <a:pt x="7052" y="10289"/>
                    <a:pt x="7052" y="10093"/>
                    <a:pt x="7052" y="10093"/>
                  </a:cubicBezTo>
                  <a:cubicBezTo>
                    <a:pt x="7052" y="10054"/>
                    <a:pt x="6977" y="10015"/>
                    <a:pt x="6977" y="10015"/>
                  </a:cubicBezTo>
                  <a:cubicBezTo>
                    <a:pt x="7052" y="10015"/>
                    <a:pt x="7052" y="10015"/>
                    <a:pt x="7052" y="10015"/>
                  </a:cubicBezTo>
                  <a:close/>
                  <a:moveTo>
                    <a:pt x="5493" y="8247"/>
                  </a:moveTo>
                  <a:cubicBezTo>
                    <a:pt x="5493" y="8247"/>
                    <a:pt x="5493" y="8247"/>
                    <a:pt x="5493" y="8247"/>
                  </a:cubicBezTo>
                  <a:cubicBezTo>
                    <a:pt x="5493" y="8247"/>
                    <a:pt x="5493" y="8208"/>
                    <a:pt x="5641" y="8208"/>
                  </a:cubicBezTo>
                  <a:cubicBezTo>
                    <a:pt x="5715" y="8247"/>
                    <a:pt x="5715" y="8287"/>
                    <a:pt x="5715" y="8326"/>
                  </a:cubicBezTo>
                  <a:cubicBezTo>
                    <a:pt x="5715" y="8365"/>
                    <a:pt x="5938" y="8365"/>
                    <a:pt x="5864" y="8404"/>
                  </a:cubicBezTo>
                  <a:cubicBezTo>
                    <a:pt x="5715" y="8444"/>
                    <a:pt x="5641" y="8444"/>
                    <a:pt x="5641" y="8444"/>
                  </a:cubicBezTo>
                  <a:cubicBezTo>
                    <a:pt x="5641" y="8404"/>
                    <a:pt x="5567" y="8444"/>
                    <a:pt x="5567" y="8404"/>
                  </a:cubicBezTo>
                  <a:cubicBezTo>
                    <a:pt x="5567" y="8365"/>
                    <a:pt x="5419" y="8326"/>
                    <a:pt x="5419" y="8326"/>
                  </a:cubicBezTo>
                  <a:cubicBezTo>
                    <a:pt x="5419" y="8326"/>
                    <a:pt x="5493" y="8247"/>
                    <a:pt x="5493" y="8247"/>
                  </a:cubicBezTo>
                  <a:close/>
                  <a:moveTo>
                    <a:pt x="4528" y="7697"/>
                  </a:moveTo>
                  <a:cubicBezTo>
                    <a:pt x="4528" y="7697"/>
                    <a:pt x="4528" y="7697"/>
                    <a:pt x="4528" y="7697"/>
                  </a:cubicBezTo>
                  <a:cubicBezTo>
                    <a:pt x="4676" y="7737"/>
                    <a:pt x="4751" y="7697"/>
                    <a:pt x="4751" y="7737"/>
                  </a:cubicBezTo>
                  <a:cubicBezTo>
                    <a:pt x="4825" y="7737"/>
                    <a:pt x="4899" y="7776"/>
                    <a:pt x="4825" y="7815"/>
                  </a:cubicBezTo>
                  <a:cubicBezTo>
                    <a:pt x="4676" y="7855"/>
                    <a:pt x="4676" y="7855"/>
                    <a:pt x="4528" y="7855"/>
                  </a:cubicBezTo>
                  <a:cubicBezTo>
                    <a:pt x="4454" y="7855"/>
                    <a:pt x="4602" y="7855"/>
                    <a:pt x="4454" y="7855"/>
                  </a:cubicBezTo>
                  <a:cubicBezTo>
                    <a:pt x="4305" y="7855"/>
                    <a:pt x="4082" y="7933"/>
                    <a:pt x="4231" y="7815"/>
                  </a:cubicBezTo>
                  <a:cubicBezTo>
                    <a:pt x="4379" y="7737"/>
                    <a:pt x="4528" y="7697"/>
                    <a:pt x="4528" y="7697"/>
                  </a:cubicBezTo>
                  <a:close/>
                  <a:moveTo>
                    <a:pt x="5344" y="7501"/>
                  </a:moveTo>
                  <a:cubicBezTo>
                    <a:pt x="5344" y="7501"/>
                    <a:pt x="5344" y="7501"/>
                    <a:pt x="5344" y="7501"/>
                  </a:cubicBezTo>
                  <a:cubicBezTo>
                    <a:pt x="5419" y="7501"/>
                    <a:pt x="5493" y="7423"/>
                    <a:pt x="5567" y="7462"/>
                  </a:cubicBezTo>
                  <a:cubicBezTo>
                    <a:pt x="5641" y="7501"/>
                    <a:pt x="5790" y="7540"/>
                    <a:pt x="5641" y="7580"/>
                  </a:cubicBezTo>
                  <a:cubicBezTo>
                    <a:pt x="5493" y="7619"/>
                    <a:pt x="5493" y="7619"/>
                    <a:pt x="5419" y="7658"/>
                  </a:cubicBezTo>
                  <a:cubicBezTo>
                    <a:pt x="5270" y="7697"/>
                    <a:pt x="5122" y="7737"/>
                    <a:pt x="5047" y="7737"/>
                  </a:cubicBezTo>
                  <a:cubicBezTo>
                    <a:pt x="4973" y="7737"/>
                    <a:pt x="4899" y="7658"/>
                    <a:pt x="4973" y="7658"/>
                  </a:cubicBezTo>
                  <a:cubicBezTo>
                    <a:pt x="5047" y="7658"/>
                    <a:pt x="5122" y="7619"/>
                    <a:pt x="5196" y="7619"/>
                  </a:cubicBezTo>
                  <a:cubicBezTo>
                    <a:pt x="5196" y="7580"/>
                    <a:pt x="5344" y="7501"/>
                    <a:pt x="5344" y="7501"/>
                  </a:cubicBezTo>
                  <a:close/>
                  <a:moveTo>
                    <a:pt x="5790" y="6716"/>
                  </a:moveTo>
                  <a:cubicBezTo>
                    <a:pt x="5790" y="6716"/>
                    <a:pt x="5790" y="6716"/>
                    <a:pt x="5790" y="6716"/>
                  </a:cubicBezTo>
                  <a:cubicBezTo>
                    <a:pt x="5790" y="6716"/>
                    <a:pt x="5790" y="6598"/>
                    <a:pt x="5864" y="6637"/>
                  </a:cubicBezTo>
                  <a:cubicBezTo>
                    <a:pt x="6012" y="6637"/>
                    <a:pt x="6012" y="6637"/>
                    <a:pt x="6012" y="6676"/>
                  </a:cubicBezTo>
                  <a:cubicBezTo>
                    <a:pt x="6012" y="6716"/>
                    <a:pt x="6161" y="6676"/>
                    <a:pt x="6012" y="6716"/>
                  </a:cubicBezTo>
                  <a:cubicBezTo>
                    <a:pt x="5938" y="6716"/>
                    <a:pt x="5790" y="6716"/>
                    <a:pt x="5790" y="6716"/>
                  </a:cubicBezTo>
                  <a:close/>
                  <a:moveTo>
                    <a:pt x="6458" y="7108"/>
                  </a:moveTo>
                  <a:cubicBezTo>
                    <a:pt x="6458" y="7108"/>
                    <a:pt x="6458" y="7108"/>
                    <a:pt x="6458" y="7108"/>
                  </a:cubicBezTo>
                  <a:cubicBezTo>
                    <a:pt x="6458" y="7108"/>
                    <a:pt x="6532" y="7030"/>
                    <a:pt x="6606" y="7030"/>
                  </a:cubicBezTo>
                  <a:cubicBezTo>
                    <a:pt x="6606" y="7030"/>
                    <a:pt x="6680" y="7030"/>
                    <a:pt x="6680" y="7069"/>
                  </a:cubicBezTo>
                  <a:cubicBezTo>
                    <a:pt x="6680" y="7108"/>
                    <a:pt x="6680" y="7187"/>
                    <a:pt x="6606" y="7187"/>
                  </a:cubicBezTo>
                  <a:cubicBezTo>
                    <a:pt x="6532" y="7187"/>
                    <a:pt x="6532" y="7226"/>
                    <a:pt x="6458" y="7187"/>
                  </a:cubicBezTo>
                  <a:cubicBezTo>
                    <a:pt x="6384" y="7187"/>
                    <a:pt x="6458" y="7108"/>
                    <a:pt x="6458" y="7108"/>
                  </a:cubicBezTo>
                  <a:close/>
                  <a:moveTo>
                    <a:pt x="6087" y="6951"/>
                  </a:moveTo>
                  <a:cubicBezTo>
                    <a:pt x="6087" y="6951"/>
                    <a:pt x="6087" y="6951"/>
                    <a:pt x="6087" y="6951"/>
                  </a:cubicBezTo>
                  <a:cubicBezTo>
                    <a:pt x="6087" y="6951"/>
                    <a:pt x="6012" y="6794"/>
                    <a:pt x="6161" y="6794"/>
                  </a:cubicBezTo>
                  <a:cubicBezTo>
                    <a:pt x="6309" y="6755"/>
                    <a:pt x="6384" y="6755"/>
                    <a:pt x="6384" y="6755"/>
                  </a:cubicBezTo>
                  <a:cubicBezTo>
                    <a:pt x="6384" y="6755"/>
                    <a:pt x="6606" y="6912"/>
                    <a:pt x="6606" y="6912"/>
                  </a:cubicBezTo>
                  <a:cubicBezTo>
                    <a:pt x="6532" y="6951"/>
                    <a:pt x="6532" y="6991"/>
                    <a:pt x="6384" y="6991"/>
                  </a:cubicBezTo>
                  <a:cubicBezTo>
                    <a:pt x="6309" y="6991"/>
                    <a:pt x="6235" y="7030"/>
                    <a:pt x="6235" y="6991"/>
                  </a:cubicBezTo>
                  <a:cubicBezTo>
                    <a:pt x="6161" y="6951"/>
                    <a:pt x="6087" y="6951"/>
                    <a:pt x="6087" y="6951"/>
                  </a:cubicBezTo>
                  <a:close/>
                  <a:moveTo>
                    <a:pt x="3340" y="6833"/>
                  </a:moveTo>
                  <a:cubicBezTo>
                    <a:pt x="3340" y="6833"/>
                    <a:pt x="3340" y="6833"/>
                    <a:pt x="3340" y="6833"/>
                  </a:cubicBezTo>
                  <a:cubicBezTo>
                    <a:pt x="3414" y="6833"/>
                    <a:pt x="3414" y="6794"/>
                    <a:pt x="3414" y="6873"/>
                  </a:cubicBezTo>
                  <a:cubicBezTo>
                    <a:pt x="3414" y="6912"/>
                    <a:pt x="3414" y="6951"/>
                    <a:pt x="3414" y="6951"/>
                  </a:cubicBezTo>
                  <a:cubicBezTo>
                    <a:pt x="3414" y="6951"/>
                    <a:pt x="3340" y="7030"/>
                    <a:pt x="3266" y="6991"/>
                  </a:cubicBezTo>
                  <a:cubicBezTo>
                    <a:pt x="3192" y="6951"/>
                    <a:pt x="3192" y="6912"/>
                    <a:pt x="3192" y="6912"/>
                  </a:cubicBezTo>
                  <a:cubicBezTo>
                    <a:pt x="3340" y="6833"/>
                    <a:pt x="3340" y="6833"/>
                    <a:pt x="3340" y="6833"/>
                  </a:cubicBezTo>
                  <a:close/>
                  <a:moveTo>
                    <a:pt x="3934" y="6441"/>
                  </a:moveTo>
                  <a:cubicBezTo>
                    <a:pt x="3934" y="6441"/>
                    <a:pt x="3934" y="6441"/>
                    <a:pt x="3934" y="6441"/>
                  </a:cubicBezTo>
                  <a:cubicBezTo>
                    <a:pt x="4008" y="6480"/>
                    <a:pt x="4157" y="6559"/>
                    <a:pt x="4157" y="6559"/>
                  </a:cubicBezTo>
                  <a:cubicBezTo>
                    <a:pt x="3934" y="6676"/>
                    <a:pt x="3934" y="6676"/>
                    <a:pt x="3934" y="6676"/>
                  </a:cubicBezTo>
                  <a:cubicBezTo>
                    <a:pt x="3934" y="6676"/>
                    <a:pt x="3711" y="6716"/>
                    <a:pt x="3711" y="6755"/>
                  </a:cubicBezTo>
                  <a:cubicBezTo>
                    <a:pt x="3637" y="6755"/>
                    <a:pt x="3786" y="6873"/>
                    <a:pt x="3637" y="6833"/>
                  </a:cubicBezTo>
                  <a:cubicBezTo>
                    <a:pt x="3489" y="6794"/>
                    <a:pt x="3414" y="6716"/>
                    <a:pt x="3489" y="6716"/>
                  </a:cubicBezTo>
                  <a:cubicBezTo>
                    <a:pt x="3563" y="6676"/>
                    <a:pt x="3563" y="6676"/>
                    <a:pt x="3637" y="6637"/>
                  </a:cubicBezTo>
                  <a:cubicBezTo>
                    <a:pt x="3711" y="6598"/>
                    <a:pt x="3860" y="6480"/>
                    <a:pt x="3860" y="6480"/>
                  </a:cubicBezTo>
                  <a:cubicBezTo>
                    <a:pt x="3934" y="6441"/>
                    <a:pt x="3934" y="6441"/>
                    <a:pt x="3934" y="6441"/>
                  </a:cubicBezTo>
                  <a:close/>
                  <a:moveTo>
                    <a:pt x="4305" y="5891"/>
                  </a:moveTo>
                  <a:cubicBezTo>
                    <a:pt x="4305" y="5891"/>
                    <a:pt x="4305" y="5891"/>
                    <a:pt x="4305" y="5891"/>
                  </a:cubicBezTo>
                  <a:cubicBezTo>
                    <a:pt x="4305" y="5891"/>
                    <a:pt x="4454" y="5891"/>
                    <a:pt x="4528" y="5930"/>
                  </a:cubicBezTo>
                  <a:cubicBezTo>
                    <a:pt x="4528" y="5930"/>
                    <a:pt x="4602" y="6048"/>
                    <a:pt x="4602" y="6048"/>
                  </a:cubicBezTo>
                  <a:cubicBezTo>
                    <a:pt x="4602" y="6048"/>
                    <a:pt x="4676" y="6087"/>
                    <a:pt x="4602" y="6127"/>
                  </a:cubicBezTo>
                  <a:cubicBezTo>
                    <a:pt x="4528" y="6166"/>
                    <a:pt x="4379" y="6205"/>
                    <a:pt x="4379" y="6205"/>
                  </a:cubicBezTo>
                  <a:cubicBezTo>
                    <a:pt x="4379" y="6401"/>
                    <a:pt x="4379" y="6401"/>
                    <a:pt x="4379" y="6401"/>
                  </a:cubicBezTo>
                  <a:cubicBezTo>
                    <a:pt x="4305" y="6480"/>
                    <a:pt x="4305" y="6480"/>
                    <a:pt x="4305" y="6480"/>
                  </a:cubicBezTo>
                  <a:cubicBezTo>
                    <a:pt x="4082" y="6441"/>
                    <a:pt x="4082" y="6441"/>
                    <a:pt x="4082" y="6441"/>
                  </a:cubicBezTo>
                  <a:cubicBezTo>
                    <a:pt x="4082" y="6205"/>
                    <a:pt x="4082" y="6205"/>
                    <a:pt x="4082" y="6205"/>
                  </a:cubicBezTo>
                  <a:cubicBezTo>
                    <a:pt x="4008" y="6087"/>
                    <a:pt x="4008" y="6087"/>
                    <a:pt x="4008" y="6087"/>
                  </a:cubicBezTo>
                  <a:cubicBezTo>
                    <a:pt x="4231" y="5969"/>
                    <a:pt x="4231" y="5969"/>
                    <a:pt x="4231" y="5969"/>
                  </a:cubicBezTo>
                  <a:cubicBezTo>
                    <a:pt x="4305" y="5891"/>
                    <a:pt x="4305" y="5891"/>
                    <a:pt x="4305" y="5891"/>
                  </a:cubicBezTo>
                  <a:close/>
                  <a:moveTo>
                    <a:pt x="4454" y="5577"/>
                  </a:moveTo>
                  <a:cubicBezTo>
                    <a:pt x="4454" y="5577"/>
                    <a:pt x="4454" y="5577"/>
                    <a:pt x="4454" y="5577"/>
                  </a:cubicBezTo>
                  <a:cubicBezTo>
                    <a:pt x="4454" y="5577"/>
                    <a:pt x="4602" y="5537"/>
                    <a:pt x="4676" y="5577"/>
                  </a:cubicBezTo>
                  <a:cubicBezTo>
                    <a:pt x="4751" y="5616"/>
                    <a:pt x="4751" y="5537"/>
                    <a:pt x="4825" y="5616"/>
                  </a:cubicBezTo>
                  <a:cubicBezTo>
                    <a:pt x="4899" y="5695"/>
                    <a:pt x="4973" y="5695"/>
                    <a:pt x="4899" y="5734"/>
                  </a:cubicBezTo>
                  <a:cubicBezTo>
                    <a:pt x="4899" y="5773"/>
                    <a:pt x="4899" y="5812"/>
                    <a:pt x="4825" y="5852"/>
                  </a:cubicBezTo>
                  <a:cubicBezTo>
                    <a:pt x="4751" y="5891"/>
                    <a:pt x="4825" y="5930"/>
                    <a:pt x="4676" y="5891"/>
                  </a:cubicBezTo>
                  <a:cubicBezTo>
                    <a:pt x="4528" y="5852"/>
                    <a:pt x="4528" y="5852"/>
                    <a:pt x="4454" y="5812"/>
                  </a:cubicBezTo>
                  <a:cubicBezTo>
                    <a:pt x="4379" y="5773"/>
                    <a:pt x="4379" y="5773"/>
                    <a:pt x="4379" y="5773"/>
                  </a:cubicBezTo>
                  <a:cubicBezTo>
                    <a:pt x="4454" y="5577"/>
                    <a:pt x="4454" y="5577"/>
                    <a:pt x="4454" y="5577"/>
                  </a:cubicBezTo>
                  <a:close/>
                  <a:moveTo>
                    <a:pt x="5122" y="5184"/>
                  </a:moveTo>
                  <a:cubicBezTo>
                    <a:pt x="5122" y="5184"/>
                    <a:pt x="5122" y="5184"/>
                    <a:pt x="5122" y="5184"/>
                  </a:cubicBezTo>
                  <a:cubicBezTo>
                    <a:pt x="5122" y="5184"/>
                    <a:pt x="5196" y="5145"/>
                    <a:pt x="5122" y="5223"/>
                  </a:cubicBezTo>
                  <a:cubicBezTo>
                    <a:pt x="4973" y="5341"/>
                    <a:pt x="4973" y="5380"/>
                    <a:pt x="5047" y="5380"/>
                  </a:cubicBezTo>
                  <a:cubicBezTo>
                    <a:pt x="5047" y="5380"/>
                    <a:pt x="5122" y="5380"/>
                    <a:pt x="5122" y="5380"/>
                  </a:cubicBezTo>
                  <a:cubicBezTo>
                    <a:pt x="5122" y="5537"/>
                    <a:pt x="5122" y="5537"/>
                    <a:pt x="5122" y="5537"/>
                  </a:cubicBezTo>
                  <a:cubicBezTo>
                    <a:pt x="5122" y="5537"/>
                    <a:pt x="5122" y="5577"/>
                    <a:pt x="4899" y="5537"/>
                  </a:cubicBezTo>
                  <a:cubicBezTo>
                    <a:pt x="4676" y="5537"/>
                    <a:pt x="4528" y="5498"/>
                    <a:pt x="4528" y="5498"/>
                  </a:cubicBezTo>
                  <a:cubicBezTo>
                    <a:pt x="4305" y="5380"/>
                    <a:pt x="4305" y="5380"/>
                    <a:pt x="4305" y="5380"/>
                  </a:cubicBezTo>
                  <a:cubicBezTo>
                    <a:pt x="4305" y="5380"/>
                    <a:pt x="4231" y="5341"/>
                    <a:pt x="4379" y="5263"/>
                  </a:cubicBezTo>
                  <a:cubicBezTo>
                    <a:pt x="4454" y="5184"/>
                    <a:pt x="4676" y="5223"/>
                    <a:pt x="4676" y="5223"/>
                  </a:cubicBezTo>
                  <a:cubicBezTo>
                    <a:pt x="4676" y="5223"/>
                    <a:pt x="4751" y="5302"/>
                    <a:pt x="4825" y="5223"/>
                  </a:cubicBezTo>
                  <a:cubicBezTo>
                    <a:pt x="4899" y="5145"/>
                    <a:pt x="4899" y="5066"/>
                    <a:pt x="4973" y="5105"/>
                  </a:cubicBezTo>
                  <a:cubicBezTo>
                    <a:pt x="5047" y="5145"/>
                    <a:pt x="5122" y="5184"/>
                    <a:pt x="5122" y="5184"/>
                  </a:cubicBezTo>
                  <a:close/>
                  <a:moveTo>
                    <a:pt x="5715" y="4752"/>
                  </a:moveTo>
                  <a:cubicBezTo>
                    <a:pt x="5715" y="4752"/>
                    <a:pt x="5715" y="4752"/>
                    <a:pt x="5715" y="4752"/>
                  </a:cubicBezTo>
                  <a:cubicBezTo>
                    <a:pt x="5641" y="4713"/>
                    <a:pt x="5641" y="4634"/>
                    <a:pt x="5641" y="4634"/>
                  </a:cubicBezTo>
                  <a:cubicBezTo>
                    <a:pt x="5715" y="4556"/>
                    <a:pt x="5715" y="4556"/>
                    <a:pt x="5715" y="4556"/>
                  </a:cubicBezTo>
                  <a:cubicBezTo>
                    <a:pt x="5715" y="4556"/>
                    <a:pt x="5567" y="4477"/>
                    <a:pt x="5567" y="4438"/>
                  </a:cubicBezTo>
                  <a:cubicBezTo>
                    <a:pt x="5567" y="4399"/>
                    <a:pt x="5567" y="4320"/>
                    <a:pt x="5715" y="4281"/>
                  </a:cubicBezTo>
                  <a:cubicBezTo>
                    <a:pt x="5790" y="4241"/>
                    <a:pt x="5864" y="4163"/>
                    <a:pt x="5938" y="4163"/>
                  </a:cubicBezTo>
                  <a:cubicBezTo>
                    <a:pt x="5938" y="4202"/>
                    <a:pt x="5938" y="4202"/>
                    <a:pt x="6012" y="4281"/>
                  </a:cubicBezTo>
                  <a:cubicBezTo>
                    <a:pt x="6087" y="4320"/>
                    <a:pt x="6087" y="4399"/>
                    <a:pt x="6161" y="4359"/>
                  </a:cubicBezTo>
                  <a:cubicBezTo>
                    <a:pt x="6235" y="4320"/>
                    <a:pt x="6235" y="4281"/>
                    <a:pt x="6309" y="4241"/>
                  </a:cubicBezTo>
                  <a:cubicBezTo>
                    <a:pt x="6384" y="4202"/>
                    <a:pt x="6458" y="4084"/>
                    <a:pt x="6458" y="4084"/>
                  </a:cubicBezTo>
                  <a:cubicBezTo>
                    <a:pt x="6458" y="4084"/>
                    <a:pt x="6606" y="4124"/>
                    <a:pt x="6680" y="4084"/>
                  </a:cubicBezTo>
                  <a:cubicBezTo>
                    <a:pt x="6829" y="4045"/>
                    <a:pt x="6680" y="4045"/>
                    <a:pt x="6903" y="4006"/>
                  </a:cubicBezTo>
                  <a:cubicBezTo>
                    <a:pt x="7126" y="4006"/>
                    <a:pt x="7200" y="4006"/>
                    <a:pt x="7274" y="3927"/>
                  </a:cubicBezTo>
                  <a:cubicBezTo>
                    <a:pt x="7348" y="3888"/>
                    <a:pt x="7348" y="3927"/>
                    <a:pt x="7423" y="3888"/>
                  </a:cubicBezTo>
                  <a:cubicBezTo>
                    <a:pt x="7497" y="3849"/>
                    <a:pt x="7571" y="3809"/>
                    <a:pt x="7645" y="3809"/>
                  </a:cubicBezTo>
                  <a:cubicBezTo>
                    <a:pt x="7720" y="3849"/>
                    <a:pt x="7794" y="3888"/>
                    <a:pt x="7794" y="3927"/>
                  </a:cubicBezTo>
                  <a:cubicBezTo>
                    <a:pt x="7794" y="3967"/>
                    <a:pt x="7868" y="4045"/>
                    <a:pt x="7794" y="4084"/>
                  </a:cubicBezTo>
                  <a:cubicBezTo>
                    <a:pt x="7720" y="4124"/>
                    <a:pt x="7720" y="4163"/>
                    <a:pt x="7645" y="4163"/>
                  </a:cubicBezTo>
                  <a:cubicBezTo>
                    <a:pt x="7571" y="4202"/>
                    <a:pt x="7348" y="4281"/>
                    <a:pt x="7348" y="4281"/>
                  </a:cubicBezTo>
                  <a:cubicBezTo>
                    <a:pt x="7348" y="4281"/>
                    <a:pt x="7348" y="4359"/>
                    <a:pt x="7423" y="4359"/>
                  </a:cubicBezTo>
                  <a:cubicBezTo>
                    <a:pt x="7497" y="4359"/>
                    <a:pt x="7645" y="4241"/>
                    <a:pt x="7645" y="4320"/>
                  </a:cubicBezTo>
                  <a:cubicBezTo>
                    <a:pt x="7571" y="4399"/>
                    <a:pt x="7794" y="4438"/>
                    <a:pt x="7571" y="4477"/>
                  </a:cubicBezTo>
                  <a:cubicBezTo>
                    <a:pt x="7423" y="4477"/>
                    <a:pt x="7274" y="4438"/>
                    <a:pt x="7274" y="4438"/>
                  </a:cubicBezTo>
                  <a:cubicBezTo>
                    <a:pt x="7126" y="4556"/>
                    <a:pt x="7126" y="4556"/>
                    <a:pt x="7126" y="4556"/>
                  </a:cubicBezTo>
                  <a:cubicBezTo>
                    <a:pt x="7126" y="4556"/>
                    <a:pt x="6977" y="4516"/>
                    <a:pt x="6977" y="4556"/>
                  </a:cubicBezTo>
                  <a:cubicBezTo>
                    <a:pt x="6977" y="4595"/>
                    <a:pt x="7052" y="4673"/>
                    <a:pt x="7052" y="4673"/>
                  </a:cubicBezTo>
                  <a:cubicBezTo>
                    <a:pt x="6903" y="4752"/>
                    <a:pt x="6903" y="4752"/>
                    <a:pt x="6903" y="4752"/>
                  </a:cubicBezTo>
                  <a:cubicBezTo>
                    <a:pt x="6903" y="4752"/>
                    <a:pt x="6680" y="4713"/>
                    <a:pt x="6680" y="4752"/>
                  </a:cubicBezTo>
                  <a:cubicBezTo>
                    <a:pt x="6755" y="4791"/>
                    <a:pt x="6829" y="4870"/>
                    <a:pt x="6829" y="4870"/>
                  </a:cubicBezTo>
                  <a:cubicBezTo>
                    <a:pt x="6829" y="4870"/>
                    <a:pt x="6829" y="4948"/>
                    <a:pt x="6680" y="4948"/>
                  </a:cubicBezTo>
                  <a:cubicBezTo>
                    <a:pt x="6532" y="4948"/>
                    <a:pt x="6384" y="4948"/>
                    <a:pt x="6309" y="4948"/>
                  </a:cubicBezTo>
                  <a:cubicBezTo>
                    <a:pt x="6235" y="4909"/>
                    <a:pt x="6235" y="4909"/>
                    <a:pt x="6235" y="4909"/>
                  </a:cubicBezTo>
                  <a:cubicBezTo>
                    <a:pt x="6161" y="5027"/>
                    <a:pt x="6161" y="5027"/>
                    <a:pt x="6161" y="5027"/>
                  </a:cubicBezTo>
                  <a:cubicBezTo>
                    <a:pt x="6161" y="5027"/>
                    <a:pt x="6235" y="5066"/>
                    <a:pt x="6161" y="5105"/>
                  </a:cubicBezTo>
                  <a:cubicBezTo>
                    <a:pt x="6087" y="5145"/>
                    <a:pt x="5864" y="5145"/>
                    <a:pt x="5864" y="5145"/>
                  </a:cubicBezTo>
                  <a:cubicBezTo>
                    <a:pt x="5864" y="5145"/>
                    <a:pt x="5790" y="5145"/>
                    <a:pt x="5790" y="5145"/>
                  </a:cubicBezTo>
                  <a:cubicBezTo>
                    <a:pt x="5790" y="5184"/>
                    <a:pt x="5715" y="5263"/>
                    <a:pt x="5641" y="5263"/>
                  </a:cubicBezTo>
                  <a:cubicBezTo>
                    <a:pt x="5567" y="5223"/>
                    <a:pt x="5419" y="5184"/>
                    <a:pt x="5344" y="5145"/>
                  </a:cubicBezTo>
                  <a:cubicBezTo>
                    <a:pt x="5344" y="5105"/>
                    <a:pt x="5270" y="4948"/>
                    <a:pt x="5419" y="4988"/>
                  </a:cubicBezTo>
                  <a:cubicBezTo>
                    <a:pt x="5567" y="4988"/>
                    <a:pt x="5715" y="5027"/>
                    <a:pt x="5715" y="4948"/>
                  </a:cubicBezTo>
                  <a:cubicBezTo>
                    <a:pt x="5715" y="4870"/>
                    <a:pt x="5641" y="4831"/>
                    <a:pt x="5641" y="4831"/>
                  </a:cubicBezTo>
                  <a:cubicBezTo>
                    <a:pt x="5715" y="4752"/>
                    <a:pt x="5715" y="4752"/>
                    <a:pt x="5715" y="4752"/>
                  </a:cubicBezTo>
                  <a:close/>
                  <a:moveTo>
                    <a:pt x="19819" y="589"/>
                  </a:moveTo>
                  <a:cubicBezTo>
                    <a:pt x="19819" y="589"/>
                    <a:pt x="19819" y="589"/>
                    <a:pt x="19819" y="589"/>
                  </a:cubicBezTo>
                  <a:cubicBezTo>
                    <a:pt x="19893" y="589"/>
                    <a:pt x="20115" y="628"/>
                    <a:pt x="20115" y="589"/>
                  </a:cubicBezTo>
                  <a:cubicBezTo>
                    <a:pt x="20115" y="589"/>
                    <a:pt x="20190" y="511"/>
                    <a:pt x="20190" y="511"/>
                  </a:cubicBezTo>
                  <a:cubicBezTo>
                    <a:pt x="20115" y="471"/>
                    <a:pt x="20041" y="432"/>
                    <a:pt x="19967" y="471"/>
                  </a:cubicBezTo>
                  <a:cubicBezTo>
                    <a:pt x="19893" y="471"/>
                    <a:pt x="19819" y="511"/>
                    <a:pt x="19819" y="511"/>
                  </a:cubicBezTo>
                  <a:cubicBezTo>
                    <a:pt x="19819" y="550"/>
                    <a:pt x="19819" y="589"/>
                    <a:pt x="19819" y="589"/>
                  </a:cubicBezTo>
                  <a:close/>
                  <a:moveTo>
                    <a:pt x="17443" y="1257"/>
                  </a:moveTo>
                  <a:cubicBezTo>
                    <a:pt x="17443" y="1257"/>
                    <a:pt x="17443" y="1257"/>
                    <a:pt x="17443" y="1257"/>
                  </a:cubicBezTo>
                  <a:cubicBezTo>
                    <a:pt x="17518" y="1257"/>
                    <a:pt x="17592" y="1178"/>
                    <a:pt x="17592" y="1217"/>
                  </a:cubicBezTo>
                  <a:cubicBezTo>
                    <a:pt x="17592" y="1296"/>
                    <a:pt x="17666" y="1296"/>
                    <a:pt x="17592" y="1335"/>
                  </a:cubicBezTo>
                  <a:cubicBezTo>
                    <a:pt x="17518" y="1335"/>
                    <a:pt x="17369" y="1414"/>
                    <a:pt x="17295" y="1375"/>
                  </a:cubicBezTo>
                  <a:cubicBezTo>
                    <a:pt x="17295" y="1375"/>
                    <a:pt x="17369" y="1217"/>
                    <a:pt x="17369" y="1217"/>
                  </a:cubicBezTo>
                  <a:cubicBezTo>
                    <a:pt x="17443" y="1257"/>
                    <a:pt x="17443" y="1257"/>
                    <a:pt x="17443" y="1257"/>
                  </a:cubicBezTo>
                  <a:close/>
                  <a:moveTo>
                    <a:pt x="18854" y="1335"/>
                  </a:moveTo>
                  <a:cubicBezTo>
                    <a:pt x="18854" y="1335"/>
                    <a:pt x="18854" y="1335"/>
                    <a:pt x="18854" y="1335"/>
                  </a:cubicBezTo>
                  <a:cubicBezTo>
                    <a:pt x="18854" y="1335"/>
                    <a:pt x="18854" y="1375"/>
                    <a:pt x="18705" y="1335"/>
                  </a:cubicBezTo>
                  <a:cubicBezTo>
                    <a:pt x="18482" y="1335"/>
                    <a:pt x="18408" y="1375"/>
                    <a:pt x="18408" y="1296"/>
                  </a:cubicBezTo>
                  <a:cubicBezTo>
                    <a:pt x="18408" y="1257"/>
                    <a:pt x="18482" y="1217"/>
                    <a:pt x="18334" y="1178"/>
                  </a:cubicBezTo>
                  <a:cubicBezTo>
                    <a:pt x="18186" y="1178"/>
                    <a:pt x="18186" y="1178"/>
                    <a:pt x="18186" y="1178"/>
                  </a:cubicBezTo>
                  <a:cubicBezTo>
                    <a:pt x="18186" y="1178"/>
                    <a:pt x="18111" y="1100"/>
                    <a:pt x="18186" y="1060"/>
                  </a:cubicBezTo>
                  <a:cubicBezTo>
                    <a:pt x="18334" y="982"/>
                    <a:pt x="18334" y="1021"/>
                    <a:pt x="18408" y="1021"/>
                  </a:cubicBezTo>
                  <a:cubicBezTo>
                    <a:pt x="18557" y="1021"/>
                    <a:pt x="18482" y="1021"/>
                    <a:pt x="18631" y="1060"/>
                  </a:cubicBezTo>
                  <a:cubicBezTo>
                    <a:pt x="18779" y="1060"/>
                    <a:pt x="18854" y="1100"/>
                    <a:pt x="18854" y="1021"/>
                  </a:cubicBezTo>
                  <a:cubicBezTo>
                    <a:pt x="18854" y="982"/>
                    <a:pt x="18928" y="982"/>
                    <a:pt x="18779" y="903"/>
                  </a:cubicBezTo>
                  <a:cubicBezTo>
                    <a:pt x="18705" y="825"/>
                    <a:pt x="18705" y="864"/>
                    <a:pt x="18631" y="825"/>
                  </a:cubicBezTo>
                  <a:cubicBezTo>
                    <a:pt x="18557" y="746"/>
                    <a:pt x="18408" y="668"/>
                    <a:pt x="18482" y="628"/>
                  </a:cubicBezTo>
                  <a:cubicBezTo>
                    <a:pt x="18482" y="589"/>
                    <a:pt x="18408" y="589"/>
                    <a:pt x="18557" y="511"/>
                  </a:cubicBezTo>
                  <a:cubicBezTo>
                    <a:pt x="18779" y="471"/>
                    <a:pt x="18928" y="393"/>
                    <a:pt x="19002" y="393"/>
                  </a:cubicBezTo>
                  <a:cubicBezTo>
                    <a:pt x="19076" y="393"/>
                    <a:pt x="19151" y="393"/>
                    <a:pt x="19151" y="432"/>
                  </a:cubicBezTo>
                  <a:cubicBezTo>
                    <a:pt x="19151" y="511"/>
                    <a:pt x="19151" y="550"/>
                    <a:pt x="19076" y="589"/>
                  </a:cubicBezTo>
                  <a:cubicBezTo>
                    <a:pt x="19002" y="589"/>
                    <a:pt x="19002" y="628"/>
                    <a:pt x="19002" y="628"/>
                  </a:cubicBezTo>
                  <a:cubicBezTo>
                    <a:pt x="19002" y="628"/>
                    <a:pt x="18928" y="746"/>
                    <a:pt x="19076" y="746"/>
                  </a:cubicBezTo>
                  <a:cubicBezTo>
                    <a:pt x="19225" y="707"/>
                    <a:pt x="19299" y="628"/>
                    <a:pt x="19299" y="589"/>
                  </a:cubicBezTo>
                  <a:cubicBezTo>
                    <a:pt x="19373" y="550"/>
                    <a:pt x="19447" y="589"/>
                    <a:pt x="19373" y="511"/>
                  </a:cubicBezTo>
                  <a:cubicBezTo>
                    <a:pt x="19373" y="432"/>
                    <a:pt x="19299" y="393"/>
                    <a:pt x="19373" y="393"/>
                  </a:cubicBezTo>
                  <a:cubicBezTo>
                    <a:pt x="19447" y="393"/>
                    <a:pt x="19522" y="471"/>
                    <a:pt x="19596" y="393"/>
                  </a:cubicBezTo>
                  <a:cubicBezTo>
                    <a:pt x="19744" y="275"/>
                    <a:pt x="19744" y="236"/>
                    <a:pt x="19744" y="236"/>
                  </a:cubicBezTo>
                  <a:cubicBezTo>
                    <a:pt x="19744" y="236"/>
                    <a:pt x="19670" y="236"/>
                    <a:pt x="19819" y="196"/>
                  </a:cubicBezTo>
                  <a:cubicBezTo>
                    <a:pt x="19967" y="157"/>
                    <a:pt x="19893" y="118"/>
                    <a:pt x="19967" y="79"/>
                  </a:cubicBezTo>
                  <a:cubicBezTo>
                    <a:pt x="20041" y="39"/>
                    <a:pt x="19893" y="0"/>
                    <a:pt x="20115" y="0"/>
                  </a:cubicBezTo>
                  <a:cubicBezTo>
                    <a:pt x="20264" y="39"/>
                    <a:pt x="20264" y="39"/>
                    <a:pt x="20338" y="79"/>
                  </a:cubicBezTo>
                  <a:cubicBezTo>
                    <a:pt x="20412" y="79"/>
                    <a:pt x="20264" y="236"/>
                    <a:pt x="20190" y="236"/>
                  </a:cubicBezTo>
                  <a:cubicBezTo>
                    <a:pt x="20115" y="236"/>
                    <a:pt x="20115" y="196"/>
                    <a:pt x="19967" y="236"/>
                  </a:cubicBezTo>
                  <a:cubicBezTo>
                    <a:pt x="19893" y="275"/>
                    <a:pt x="20041" y="353"/>
                    <a:pt x="19967" y="393"/>
                  </a:cubicBezTo>
                  <a:cubicBezTo>
                    <a:pt x="19893" y="432"/>
                    <a:pt x="19819" y="393"/>
                    <a:pt x="19744" y="432"/>
                  </a:cubicBezTo>
                  <a:cubicBezTo>
                    <a:pt x="19670" y="471"/>
                    <a:pt x="19670" y="471"/>
                    <a:pt x="19670" y="511"/>
                  </a:cubicBezTo>
                  <a:cubicBezTo>
                    <a:pt x="19670" y="550"/>
                    <a:pt x="19596" y="589"/>
                    <a:pt x="19522" y="628"/>
                  </a:cubicBezTo>
                  <a:cubicBezTo>
                    <a:pt x="19522" y="628"/>
                    <a:pt x="19299" y="550"/>
                    <a:pt x="19522" y="628"/>
                  </a:cubicBezTo>
                  <a:cubicBezTo>
                    <a:pt x="19744" y="707"/>
                    <a:pt x="19819" y="707"/>
                    <a:pt x="19744" y="746"/>
                  </a:cubicBezTo>
                  <a:cubicBezTo>
                    <a:pt x="19670" y="746"/>
                    <a:pt x="19522" y="746"/>
                    <a:pt x="19447" y="785"/>
                  </a:cubicBezTo>
                  <a:cubicBezTo>
                    <a:pt x="19373" y="785"/>
                    <a:pt x="19299" y="825"/>
                    <a:pt x="19447" y="864"/>
                  </a:cubicBezTo>
                  <a:cubicBezTo>
                    <a:pt x="19596" y="903"/>
                    <a:pt x="19522" y="903"/>
                    <a:pt x="19596" y="903"/>
                  </a:cubicBezTo>
                  <a:cubicBezTo>
                    <a:pt x="19670" y="864"/>
                    <a:pt x="20041" y="864"/>
                    <a:pt x="20041" y="903"/>
                  </a:cubicBezTo>
                  <a:cubicBezTo>
                    <a:pt x="19967" y="982"/>
                    <a:pt x="20041" y="982"/>
                    <a:pt x="19893" y="1021"/>
                  </a:cubicBezTo>
                  <a:cubicBezTo>
                    <a:pt x="19670" y="1060"/>
                    <a:pt x="19522" y="1021"/>
                    <a:pt x="19447" y="982"/>
                  </a:cubicBezTo>
                  <a:cubicBezTo>
                    <a:pt x="19373" y="982"/>
                    <a:pt x="19373" y="903"/>
                    <a:pt x="19373" y="1021"/>
                  </a:cubicBezTo>
                  <a:cubicBezTo>
                    <a:pt x="19447" y="1139"/>
                    <a:pt x="19596" y="1139"/>
                    <a:pt x="19522" y="1139"/>
                  </a:cubicBezTo>
                  <a:cubicBezTo>
                    <a:pt x="19373" y="1139"/>
                    <a:pt x="19225" y="1139"/>
                    <a:pt x="19225" y="1139"/>
                  </a:cubicBezTo>
                  <a:cubicBezTo>
                    <a:pt x="19225" y="1139"/>
                    <a:pt x="19151" y="1060"/>
                    <a:pt x="19225" y="1178"/>
                  </a:cubicBezTo>
                  <a:cubicBezTo>
                    <a:pt x="19299" y="1296"/>
                    <a:pt x="19299" y="1296"/>
                    <a:pt x="19299" y="1296"/>
                  </a:cubicBezTo>
                  <a:cubicBezTo>
                    <a:pt x="19299" y="1296"/>
                    <a:pt x="19151" y="1335"/>
                    <a:pt x="19151" y="1335"/>
                  </a:cubicBezTo>
                  <a:cubicBezTo>
                    <a:pt x="19151" y="1375"/>
                    <a:pt x="19225" y="1453"/>
                    <a:pt x="19299" y="1492"/>
                  </a:cubicBezTo>
                  <a:cubicBezTo>
                    <a:pt x="19299" y="1492"/>
                    <a:pt x="19225" y="1649"/>
                    <a:pt x="19151" y="1649"/>
                  </a:cubicBezTo>
                  <a:cubicBezTo>
                    <a:pt x="19151" y="1649"/>
                    <a:pt x="19151" y="1689"/>
                    <a:pt x="19076" y="1728"/>
                  </a:cubicBezTo>
                  <a:cubicBezTo>
                    <a:pt x="19002" y="1767"/>
                    <a:pt x="18928" y="1807"/>
                    <a:pt x="18928" y="1807"/>
                  </a:cubicBezTo>
                  <a:cubicBezTo>
                    <a:pt x="18779" y="2042"/>
                    <a:pt x="18779" y="2042"/>
                    <a:pt x="18779" y="2042"/>
                  </a:cubicBezTo>
                  <a:cubicBezTo>
                    <a:pt x="18779" y="2042"/>
                    <a:pt x="18705" y="2121"/>
                    <a:pt x="18631" y="2042"/>
                  </a:cubicBezTo>
                  <a:cubicBezTo>
                    <a:pt x="18631" y="1964"/>
                    <a:pt x="18557" y="1964"/>
                    <a:pt x="18631" y="1924"/>
                  </a:cubicBezTo>
                  <a:cubicBezTo>
                    <a:pt x="18705" y="1924"/>
                    <a:pt x="18705" y="1846"/>
                    <a:pt x="18779" y="1807"/>
                  </a:cubicBezTo>
                  <a:cubicBezTo>
                    <a:pt x="18779" y="1767"/>
                    <a:pt x="18854" y="1610"/>
                    <a:pt x="18854" y="1610"/>
                  </a:cubicBezTo>
                  <a:cubicBezTo>
                    <a:pt x="18854" y="1610"/>
                    <a:pt x="19002" y="1610"/>
                    <a:pt x="19076" y="1571"/>
                  </a:cubicBezTo>
                  <a:cubicBezTo>
                    <a:pt x="19076" y="1571"/>
                    <a:pt x="18928" y="1414"/>
                    <a:pt x="18928" y="1414"/>
                  </a:cubicBezTo>
                  <a:cubicBezTo>
                    <a:pt x="19002" y="1335"/>
                    <a:pt x="19002" y="1335"/>
                    <a:pt x="19002" y="1335"/>
                  </a:cubicBezTo>
                  <a:cubicBezTo>
                    <a:pt x="18854" y="1335"/>
                    <a:pt x="18854" y="1335"/>
                    <a:pt x="18854" y="1335"/>
                  </a:cubicBezTo>
                  <a:close/>
                  <a:moveTo>
                    <a:pt x="17740" y="2631"/>
                  </a:moveTo>
                  <a:cubicBezTo>
                    <a:pt x="17740" y="2631"/>
                    <a:pt x="17740" y="2631"/>
                    <a:pt x="17740" y="2631"/>
                  </a:cubicBezTo>
                  <a:cubicBezTo>
                    <a:pt x="17740" y="2631"/>
                    <a:pt x="17963" y="2474"/>
                    <a:pt x="18037" y="2513"/>
                  </a:cubicBezTo>
                  <a:cubicBezTo>
                    <a:pt x="18037" y="2513"/>
                    <a:pt x="18037" y="2553"/>
                    <a:pt x="18037" y="2592"/>
                  </a:cubicBezTo>
                  <a:cubicBezTo>
                    <a:pt x="18037" y="2592"/>
                    <a:pt x="18111" y="2671"/>
                    <a:pt x="18037" y="2671"/>
                  </a:cubicBezTo>
                  <a:cubicBezTo>
                    <a:pt x="17963" y="2671"/>
                    <a:pt x="17889" y="2671"/>
                    <a:pt x="17814" y="2671"/>
                  </a:cubicBezTo>
                  <a:cubicBezTo>
                    <a:pt x="17814" y="2671"/>
                    <a:pt x="17740" y="2631"/>
                    <a:pt x="17740" y="2631"/>
                  </a:cubicBezTo>
                  <a:close/>
                  <a:moveTo>
                    <a:pt x="14548" y="3849"/>
                  </a:moveTo>
                  <a:cubicBezTo>
                    <a:pt x="14548" y="3849"/>
                    <a:pt x="14548" y="3849"/>
                    <a:pt x="14548" y="3849"/>
                  </a:cubicBezTo>
                  <a:cubicBezTo>
                    <a:pt x="14697" y="3770"/>
                    <a:pt x="14697" y="3770"/>
                    <a:pt x="14697" y="3770"/>
                  </a:cubicBezTo>
                  <a:cubicBezTo>
                    <a:pt x="14920" y="3809"/>
                    <a:pt x="14920" y="3809"/>
                    <a:pt x="14920" y="3809"/>
                  </a:cubicBezTo>
                  <a:cubicBezTo>
                    <a:pt x="14920" y="3809"/>
                    <a:pt x="14994" y="3731"/>
                    <a:pt x="14994" y="3809"/>
                  </a:cubicBezTo>
                  <a:cubicBezTo>
                    <a:pt x="14920" y="3888"/>
                    <a:pt x="14771" y="4006"/>
                    <a:pt x="14771" y="4006"/>
                  </a:cubicBezTo>
                  <a:cubicBezTo>
                    <a:pt x="14771" y="4006"/>
                    <a:pt x="14845" y="4006"/>
                    <a:pt x="14697" y="4045"/>
                  </a:cubicBezTo>
                  <a:cubicBezTo>
                    <a:pt x="14548" y="4084"/>
                    <a:pt x="14548" y="4124"/>
                    <a:pt x="14474" y="4045"/>
                  </a:cubicBezTo>
                  <a:cubicBezTo>
                    <a:pt x="14400" y="4006"/>
                    <a:pt x="14326" y="4006"/>
                    <a:pt x="14326" y="3967"/>
                  </a:cubicBezTo>
                  <a:cubicBezTo>
                    <a:pt x="14400" y="3927"/>
                    <a:pt x="14400" y="3849"/>
                    <a:pt x="14400" y="3849"/>
                  </a:cubicBezTo>
                  <a:cubicBezTo>
                    <a:pt x="14548" y="3849"/>
                    <a:pt x="14548" y="3849"/>
                    <a:pt x="14548" y="3849"/>
                  </a:cubicBezTo>
                  <a:close/>
                  <a:moveTo>
                    <a:pt x="16107" y="2828"/>
                  </a:moveTo>
                  <a:cubicBezTo>
                    <a:pt x="16107" y="2828"/>
                    <a:pt x="16107" y="2828"/>
                    <a:pt x="16107" y="2828"/>
                  </a:cubicBezTo>
                  <a:cubicBezTo>
                    <a:pt x="16107" y="2828"/>
                    <a:pt x="16181" y="2749"/>
                    <a:pt x="16256" y="2749"/>
                  </a:cubicBezTo>
                  <a:cubicBezTo>
                    <a:pt x="16330" y="2788"/>
                    <a:pt x="16404" y="2788"/>
                    <a:pt x="16404" y="2828"/>
                  </a:cubicBezTo>
                  <a:cubicBezTo>
                    <a:pt x="16330" y="2867"/>
                    <a:pt x="16256" y="2906"/>
                    <a:pt x="16181" y="2906"/>
                  </a:cubicBezTo>
                  <a:cubicBezTo>
                    <a:pt x="16107" y="2906"/>
                    <a:pt x="16107" y="2828"/>
                    <a:pt x="16107" y="2828"/>
                  </a:cubicBezTo>
                  <a:close/>
                  <a:moveTo>
                    <a:pt x="15810" y="3024"/>
                  </a:moveTo>
                  <a:cubicBezTo>
                    <a:pt x="15810" y="3024"/>
                    <a:pt x="15810" y="3024"/>
                    <a:pt x="15810" y="3024"/>
                  </a:cubicBezTo>
                  <a:cubicBezTo>
                    <a:pt x="15810" y="3024"/>
                    <a:pt x="15959" y="2945"/>
                    <a:pt x="16033" y="2985"/>
                  </a:cubicBezTo>
                  <a:cubicBezTo>
                    <a:pt x="16033" y="2985"/>
                    <a:pt x="16107" y="2985"/>
                    <a:pt x="16033" y="3024"/>
                  </a:cubicBezTo>
                  <a:cubicBezTo>
                    <a:pt x="16033" y="3063"/>
                    <a:pt x="16181" y="3024"/>
                    <a:pt x="15959" y="3063"/>
                  </a:cubicBezTo>
                  <a:cubicBezTo>
                    <a:pt x="15810" y="3142"/>
                    <a:pt x="15885" y="3181"/>
                    <a:pt x="15736" y="3142"/>
                  </a:cubicBezTo>
                  <a:cubicBezTo>
                    <a:pt x="15662" y="3103"/>
                    <a:pt x="15662" y="3063"/>
                    <a:pt x="15662" y="3024"/>
                  </a:cubicBezTo>
                  <a:cubicBezTo>
                    <a:pt x="15662" y="3024"/>
                    <a:pt x="15736" y="2945"/>
                    <a:pt x="15736" y="2945"/>
                  </a:cubicBezTo>
                  <a:cubicBezTo>
                    <a:pt x="15810" y="2985"/>
                    <a:pt x="15810" y="3024"/>
                    <a:pt x="15810" y="3024"/>
                  </a:cubicBezTo>
                  <a:close/>
                  <a:moveTo>
                    <a:pt x="15216" y="3142"/>
                  </a:moveTo>
                  <a:cubicBezTo>
                    <a:pt x="15216" y="3142"/>
                    <a:pt x="15216" y="3142"/>
                    <a:pt x="15216" y="3142"/>
                  </a:cubicBezTo>
                  <a:cubicBezTo>
                    <a:pt x="15216" y="3142"/>
                    <a:pt x="15365" y="3181"/>
                    <a:pt x="15365" y="3181"/>
                  </a:cubicBezTo>
                  <a:cubicBezTo>
                    <a:pt x="15439" y="3220"/>
                    <a:pt x="15439" y="3181"/>
                    <a:pt x="15513" y="3142"/>
                  </a:cubicBezTo>
                  <a:cubicBezTo>
                    <a:pt x="15662" y="3142"/>
                    <a:pt x="15513" y="3142"/>
                    <a:pt x="15588" y="3103"/>
                  </a:cubicBezTo>
                  <a:cubicBezTo>
                    <a:pt x="15662" y="3024"/>
                    <a:pt x="15588" y="3063"/>
                    <a:pt x="15588" y="3024"/>
                  </a:cubicBezTo>
                  <a:cubicBezTo>
                    <a:pt x="15513" y="3024"/>
                    <a:pt x="15513" y="3024"/>
                    <a:pt x="15439" y="3024"/>
                  </a:cubicBezTo>
                  <a:cubicBezTo>
                    <a:pt x="15291" y="3024"/>
                    <a:pt x="15216" y="3142"/>
                    <a:pt x="15216" y="3142"/>
                  </a:cubicBezTo>
                  <a:close/>
                  <a:moveTo>
                    <a:pt x="15513" y="3377"/>
                  </a:moveTo>
                  <a:cubicBezTo>
                    <a:pt x="15513" y="3377"/>
                    <a:pt x="15513" y="3377"/>
                    <a:pt x="15513" y="3377"/>
                  </a:cubicBezTo>
                  <a:cubicBezTo>
                    <a:pt x="15513" y="3377"/>
                    <a:pt x="15588" y="3260"/>
                    <a:pt x="15662" y="3260"/>
                  </a:cubicBezTo>
                  <a:cubicBezTo>
                    <a:pt x="15736" y="3299"/>
                    <a:pt x="15736" y="3260"/>
                    <a:pt x="15736" y="3299"/>
                  </a:cubicBezTo>
                  <a:cubicBezTo>
                    <a:pt x="15736" y="3338"/>
                    <a:pt x="15736" y="3417"/>
                    <a:pt x="15662" y="3417"/>
                  </a:cubicBezTo>
                  <a:cubicBezTo>
                    <a:pt x="15588" y="3417"/>
                    <a:pt x="15513" y="3377"/>
                    <a:pt x="15513" y="3377"/>
                  </a:cubicBezTo>
                  <a:close/>
                  <a:moveTo>
                    <a:pt x="14920" y="3377"/>
                  </a:moveTo>
                  <a:cubicBezTo>
                    <a:pt x="14920" y="3377"/>
                    <a:pt x="14920" y="3377"/>
                    <a:pt x="14920" y="3377"/>
                  </a:cubicBezTo>
                  <a:cubicBezTo>
                    <a:pt x="14994" y="3299"/>
                    <a:pt x="14994" y="3299"/>
                    <a:pt x="14994" y="3299"/>
                  </a:cubicBezTo>
                  <a:cubicBezTo>
                    <a:pt x="15142" y="3338"/>
                    <a:pt x="15142" y="3338"/>
                    <a:pt x="15142" y="3338"/>
                  </a:cubicBezTo>
                  <a:cubicBezTo>
                    <a:pt x="15142" y="3338"/>
                    <a:pt x="15216" y="3377"/>
                    <a:pt x="15142" y="3377"/>
                  </a:cubicBezTo>
                  <a:cubicBezTo>
                    <a:pt x="15142" y="3417"/>
                    <a:pt x="15068" y="3417"/>
                    <a:pt x="15068" y="3456"/>
                  </a:cubicBezTo>
                  <a:cubicBezTo>
                    <a:pt x="14994" y="3456"/>
                    <a:pt x="14920" y="3417"/>
                    <a:pt x="14920" y="3417"/>
                  </a:cubicBezTo>
                  <a:cubicBezTo>
                    <a:pt x="14920" y="3377"/>
                    <a:pt x="14920" y="3377"/>
                    <a:pt x="14920" y="3377"/>
                  </a:cubicBezTo>
                  <a:close/>
                  <a:moveTo>
                    <a:pt x="14920" y="2867"/>
                  </a:moveTo>
                  <a:cubicBezTo>
                    <a:pt x="14920" y="2867"/>
                    <a:pt x="14920" y="2867"/>
                    <a:pt x="14920" y="2867"/>
                  </a:cubicBezTo>
                  <a:cubicBezTo>
                    <a:pt x="14920" y="2867"/>
                    <a:pt x="15068" y="2749"/>
                    <a:pt x="15068" y="2749"/>
                  </a:cubicBezTo>
                  <a:cubicBezTo>
                    <a:pt x="15142" y="2749"/>
                    <a:pt x="15216" y="2710"/>
                    <a:pt x="15216" y="2788"/>
                  </a:cubicBezTo>
                  <a:cubicBezTo>
                    <a:pt x="15216" y="2867"/>
                    <a:pt x="15365" y="2945"/>
                    <a:pt x="15142" y="2945"/>
                  </a:cubicBezTo>
                  <a:cubicBezTo>
                    <a:pt x="14994" y="2945"/>
                    <a:pt x="14920" y="2985"/>
                    <a:pt x="14920" y="2945"/>
                  </a:cubicBezTo>
                  <a:cubicBezTo>
                    <a:pt x="14845" y="2906"/>
                    <a:pt x="14920" y="2867"/>
                    <a:pt x="14920" y="2867"/>
                  </a:cubicBezTo>
                  <a:close/>
                  <a:moveTo>
                    <a:pt x="14623" y="3103"/>
                  </a:moveTo>
                  <a:cubicBezTo>
                    <a:pt x="14623" y="3103"/>
                    <a:pt x="14623" y="3103"/>
                    <a:pt x="14623" y="3103"/>
                  </a:cubicBezTo>
                  <a:cubicBezTo>
                    <a:pt x="14623" y="3103"/>
                    <a:pt x="14771" y="3024"/>
                    <a:pt x="14845" y="3024"/>
                  </a:cubicBezTo>
                  <a:cubicBezTo>
                    <a:pt x="14920" y="3063"/>
                    <a:pt x="14994" y="3063"/>
                    <a:pt x="14994" y="3103"/>
                  </a:cubicBezTo>
                  <a:cubicBezTo>
                    <a:pt x="14994" y="3142"/>
                    <a:pt x="14994" y="3142"/>
                    <a:pt x="14920" y="3181"/>
                  </a:cubicBezTo>
                  <a:cubicBezTo>
                    <a:pt x="14920" y="3220"/>
                    <a:pt x="14845" y="3220"/>
                    <a:pt x="14771" y="3220"/>
                  </a:cubicBezTo>
                  <a:cubicBezTo>
                    <a:pt x="14771" y="3220"/>
                    <a:pt x="14623" y="3103"/>
                    <a:pt x="14623" y="3103"/>
                  </a:cubicBezTo>
                  <a:close/>
                  <a:moveTo>
                    <a:pt x="14845" y="3574"/>
                  </a:moveTo>
                  <a:cubicBezTo>
                    <a:pt x="14845" y="3574"/>
                    <a:pt x="14845" y="3574"/>
                    <a:pt x="14845" y="3574"/>
                  </a:cubicBezTo>
                  <a:cubicBezTo>
                    <a:pt x="14845" y="3574"/>
                    <a:pt x="14771" y="3692"/>
                    <a:pt x="14771" y="3731"/>
                  </a:cubicBezTo>
                  <a:cubicBezTo>
                    <a:pt x="14771" y="3770"/>
                    <a:pt x="14994" y="3770"/>
                    <a:pt x="15068" y="3731"/>
                  </a:cubicBezTo>
                  <a:cubicBezTo>
                    <a:pt x="15068" y="3731"/>
                    <a:pt x="15142" y="3652"/>
                    <a:pt x="15142" y="3652"/>
                  </a:cubicBezTo>
                  <a:cubicBezTo>
                    <a:pt x="15142" y="3652"/>
                    <a:pt x="15068" y="3574"/>
                    <a:pt x="14994" y="3535"/>
                  </a:cubicBezTo>
                  <a:cubicBezTo>
                    <a:pt x="14920" y="3495"/>
                    <a:pt x="14845" y="3574"/>
                    <a:pt x="14845" y="3574"/>
                  </a:cubicBezTo>
                  <a:close/>
                  <a:moveTo>
                    <a:pt x="14177" y="3456"/>
                  </a:moveTo>
                  <a:cubicBezTo>
                    <a:pt x="14177" y="3456"/>
                    <a:pt x="14177" y="3456"/>
                    <a:pt x="14177" y="3456"/>
                  </a:cubicBezTo>
                  <a:cubicBezTo>
                    <a:pt x="14177" y="3574"/>
                    <a:pt x="14177" y="3574"/>
                    <a:pt x="14177" y="3574"/>
                  </a:cubicBezTo>
                  <a:cubicBezTo>
                    <a:pt x="14177" y="3574"/>
                    <a:pt x="14326" y="3652"/>
                    <a:pt x="14400" y="3652"/>
                  </a:cubicBezTo>
                  <a:cubicBezTo>
                    <a:pt x="14474" y="3692"/>
                    <a:pt x="14474" y="3652"/>
                    <a:pt x="14623" y="3692"/>
                  </a:cubicBezTo>
                  <a:cubicBezTo>
                    <a:pt x="14697" y="3692"/>
                    <a:pt x="14697" y="3652"/>
                    <a:pt x="14697" y="3652"/>
                  </a:cubicBezTo>
                  <a:cubicBezTo>
                    <a:pt x="14771" y="3652"/>
                    <a:pt x="14771" y="3652"/>
                    <a:pt x="14771" y="3613"/>
                  </a:cubicBezTo>
                  <a:cubicBezTo>
                    <a:pt x="14771" y="3613"/>
                    <a:pt x="14623" y="3574"/>
                    <a:pt x="14548" y="3535"/>
                  </a:cubicBezTo>
                  <a:cubicBezTo>
                    <a:pt x="14548" y="3495"/>
                    <a:pt x="14548" y="3495"/>
                    <a:pt x="14548" y="3456"/>
                  </a:cubicBezTo>
                  <a:cubicBezTo>
                    <a:pt x="14548" y="3456"/>
                    <a:pt x="14623" y="3417"/>
                    <a:pt x="14697" y="3417"/>
                  </a:cubicBezTo>
                  <a:cubicBezTo>
                    <a:pt x="14697" y="3377"/>
                    <a:pt x="14697" y="3299"/>
                    <a:pt x="14697" y="3299"/>
                  </a:cubicBezTo>
                  <a:cubicBezTo>
                    <a:pt x="14697" y="3299"/>
                    <a:pt x="14548" y="3299"/>
                    <a:pt x="14548" y="3260"/>
                  </a:cubicBezTo>
                  <a:cubicBezTo>
                    <a:pt x="14548" y="3260"/>
                    <a:pt x="14474" y="3220"/>
                    <a:pt x="14400" y="3181"/>
                  </a:cubicBezTo>
                  <a:cubicBezTo>
                    <a:pt x="14400" y="3142"/>
                    <a:pt x="14252" y="3142"/>
                    <a:pt x="14177" y="3142"/>
                  </a:cubicBezTo>
                  <a:cubicBezTo>
                    <a:pt x="14177" y="3142"/>
                    <a:pt x="14103" y="3260"/>
                    <a:pt x="14029" y="3299"/>
                  </a:cubicBezTo>
                  <a:cubicBezTo>
                    <a:pt x="14029" y="3299"/>
                    <a:pt x="13955" y="3377"/>
                    <a:pt x="13955" y="3377"/>
                  </a:cubicBezTo>
                  <a:cubicBezTo>
                    <a:pt x="13955" y="3417"/>
                    <a:pt x="13955" y="3456"/>
                    <a:pt x="14029" y="3495"/>
                  </a:cubicBezTo>
                  <a:cubicBezTo>
                    <a:pt x="14103" y="3495"/>
                    <a:pt x="14177" y="3456"/>
                    <a:pt x="14177" y="3456"/>
                  </a:cubicBezTo>
                  <a:close/>
                  <a:moveTo>
                    <a:pt x="13955" y="3770"/>
                  </a:moveTo>
                  <a:cubicBezTo>
                    <a:pt x="13955" y="3770"/>
                    <a:pt x="13955" y="3770"/>
                    <a:pt x="13955" y="3770"/>
                  </a:cubicBezTo>
                  <a:cubicBezTo>
                    <a:pt x="13880" y="3770"/>
                    <a:pt x="13732" y="3692"/>
                    <a:pt x="13732" y="3692"/>
                  </a:cubicBezTo>
                  <a:cubicBezTo>
                    <a:pt x="13732" y="3692"/>
                    <a:pt x="13880" y="3652"/>
                    <a:pt x="13880" y="3613"/>
                  </a:cubicBezTo>
                  <a:cubicBezTo>
                    <a:pt x="13955" y="3613"/>
                    <a:pt x="13880" y="3574"/>
                    <a:pt x="14029" y="3574"/>
                  </a:cubicBezTo>
                  <a:cubicBezTo>
                    <a:pt x="14177" y="3613"/>
                    <a:pt x="14177" y="3652"/>
                    <a:pt x="14177" y="3652"/>
                  </a:cubicBezTo>
                  <a:cubicBezTo>
                    <a:pt x="14177" y="3652"/>
                    <a:pt x="14252" y="3731"/>
                    <a:pt x="14252" y="3770"/>
                  </a:cubicBezTo>
                  <a:cubicBezTo>
                    <a:pt x="14252" y="3770"/>
                    <a:pt x="14252" y="3809"/>
                    <a:pt x="14252" y="3809"/>
                  </a:cubicBezTo>
                  <a:cubicBezTo>
                    <a:pt x="14252" y="3849"/>
                    <a:pt x="14400" y="3888"/>
                    <a:pt x="14177" y="3888"/>
                  </a:cubicBezTo>
                  <a:cubicBezTo>
                    <a:pt x="14029" y="3888"/>
                    <a:pt x="14029" y="3888"/>
                    <a:pt x="14029" y="3888"/>
                  </a:cubicBezTo>
                  <a:lnTo>
                    <a:pt x="13955" y="3770"/>
                  </a:ln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1" name="Shape 2264">
              <a:extLst>
                <a:ext uri="{FF2B5EF4-FFF2-40B4-BE49-F238E27FC236}">
                  <a16:creationId xmlns:a16="http://schemas.microsoft.com/office/drawing/2014/main" id="{E8F324CF-F710-01B7-238B-8D34EA67DB47}"/>
                </a:ext>
              </a:extLst>
            </p:cNvPr>
            <p:cNvSpPr/>
            <p:nvPr/>
          </p:nvSpPr>
          <p:spPr>
            <a:xfrm>
              <a:off x="540839" y="6258171"/>
              <a:ext cx="2191646" cy="1755835"/>
            </a:xfrm>
            <a:custGeom>
              <a:avLst/>
              <a:gdLst/>
              <a:ahLst/>
              <a:cxnLst>
                <a:cxn ang="0">
                  <a:pos x="wd2" y="hd2"/>
                </a:cxn>
                <a:cxn ang="5400000">
                  <a:pos x="wd2" y="hd2"/>
                </a:cxn>
                <a:cxn ang="10800000">
                  <a:pos x="wd2" y="hd2"/>
                </a:cxn>
                <a:cxn ang="16200000">
                  <a:pos x="wd2" y="hd2"/>
                </a:cxn>
              </a:cxnLst>
              <a:rect l="0" t="0" r="r" b="b"/>
              <a:pathLst>
                <a:path w="21487" h="21600" extrusionOk="0">
                  <a:moveTo>
                    <a:pt x="20063" y="7823"/>
                  </a:moveTo>
                  <a:cubicBezTo>
                    <a:pt x="19942" y="7922"/>
                    <a:pt x="19901" y="7676"/>
                    <a:pt x="19820" y="7823"/>
                  </a:cubicBezTo>
                  <a:cubicBezTo>
                    <a:pt x="19699" y="8020"/>
                    <a:pt x="20022" y="8463"/>
                    <a:pt x="19901" y="8709"/>
                  </a:cubicBezTo>
                  <a:cubicBezTo>
                    <a:pt x="19739" y="8955"/>
                    <a:pt x="19416" y="9299"/>
                    <a:pt x="18971" y="9398"/>
                  </a:cubicBezTo>
                  <a:cubicBezTo>
                    <a:pt x="18769" y="9447"/>
                    <a:pt x="18607" y="9693"/>
                    <a:pt x="18445" y="9644"/>
                  </a:cubicBezTo>
                  <a:cubicBezTo>
                    <a:pt x="18324" y="9644"/>
                    <a:pt x="18040" y="9988"/>
                    <a:pt x="18000" y="10087"/>
                  </a:cubicBezTo>
                  <a:cubicBezTo>
                    <a:pt x="17919" y="10234"/>
                    <a:pt x="17676" y="10087"/>
                    <a:pt x="17474" y="10234"/>
                  </a:cubicBezTo>
                  <a:cubicBezTo>
                    <a:pt x="17191" y="10382"/>
                    <a:pt x="17353" y="10185"/>
                    <a:pt x="16342" y="10529"/>
                  </a:cubicBezTo>
                  <a:cubicBezTo>
                    <a:pt x="16139" y="10579"/>
                    <a:pt x="15978" y="10677"/>
                    <a:pt x="15816" y="10726"/>
                  </a:cubicBezTo>
                  <a:cubicBezTo>
                    <a:pt x="15654" y="10825"/>
                    <a:pt x="15492" y="10775"/>
                    <a:pt x="15492" y="11169"/>
                  </a:cubicBezTo>
                  <a:cubicBezTo>
                    <a:pt x="15533" y="11366"/>
                    <a:pt x="15735" y="11218"/>
                    <a:pt x="15694" y="11415"/>
                  </a:cubicBezTo>
                  <a:cubicBezTo>
                    <a:pt x="15694" y="11563"/>
                    <a:pt x="15411" y="11513"/>
                    <a:pt x="15128" y="11710"/>
                  </a:cubicBezTo>
                  <a:cubicBezTo>
                    <a:pt x="15007" y="11809"/>
                    <a:pt x="14926" y="12153"/>
                    <a:pt x="14845" y="12251"/>
                  </a:cubicBezTo>
                  <a:cubicBezTo>
                    <a:pt x="14440" y="12547"/>
                    <a:pt x="14157" y="13186"/>
                    <a:pt x="14157" y="13186"/>
                  </a:cubicBezTo>
                  <a:cubicBezTo>
                    <a:pt x="13955" y="13432"/>
                    <a:pt x="13712" y="13629"/>
                    <a:pt x="13591" y="13924"/>
                  </a:cubicBezTo>
                  <a:cubicBezTo>
                    <a:pt x="13308" y="14564"/>
                    <a:pt x="13227" y="14220"/>
                    <a:pt x="13389" y="15007"/>
                  </a:cubicBezTo>
                  <a:cubicBezTo>
                    <a:pt x="13429" y="15105"/>
                    <a:pt x="13429" y="15450"/>
                    <a:pt x="13551" y="15696"/>
                  </a:cubicBezTo>
                  <a:cubicBezTo>
                    <a:pt x="13753" y="16040"/>
                    <a:pt x="14198" y="16385"/>
                    <a:pt x="14076" y="16483"/>
                  </a:cubicBezTo>
                  <a:cubicBezTo>
                    <a:pt x="13996" y="16532"/>
                    <a:pt x="13510" y="16926"/>
                    <a:pt x="13348" y="16926"/>
                  </a:cubicBezTo>
                  <a:cubicBezTo>
                    <a:pt x="13106" y="16975"/>
                    <a:pt x="12984" y="17172"/>
                    <a:pt x="12661" y="17615"/>
                  </a:cubicBezTo>
                  <a:cubicBezTo>
                    <a:pt x="12499" y="17762"/>
                    <a:pt x="12458" y="17910"/>
                    <a:pt x="12337" y="18107"/>
                  </a:cubicBezTo>
                  <a:cubicBezTo>
                    <a:pt x="12135" y="18402"/>
                    <a:pt x="12216" y="18353"/>
                    <a:pt x="12054" y="18697"/>
                  </a:cubicBezTo>
                  <a:cubicBezTo>
                    <a:pt x="12013" y="18795"/>
                    <a:pt x="12054" y="19140"/>
                    <a:pt x="12054" y="19287"/>
                  </a:cubicBezTo>
                  <a:cubicBezTo>
                    <a:pt x="11649" y="19337"/>
                    <a:pt x="11649" y="19337"/>
                    <a:pt x="11649" y="19337"/>
                  </a:cubicBezTo>
                  <a:cubicBezTo>
                    <a:pt x="10962" y="19091"/>
                    <a:pt x="10962" y="19091"/>
                    <a:pt x="10962" y="19091"/>
                  </a:cubicBezTo>
                  <a:cubicBezTo>
                    <a:pt x="10557" y="19533"/>
                    <a:pt x="10557" y="19533"/>
                    <a:pt x="10557" y="19533"/>
                  </a:cubicBezTo>
                  <a:cubicBezTo>
                    <a:pt x="10396" y="19681"/>
                    <a:pt x="10153" y="19583"/>
                    <a:pt x="9991" y="19730"/>
                  </a:cubicBezTo>
                  <a:cubicBezTo>
                    <a:pt x="9991" y="19730"/>
                    <a:pt x="9870" y="20173"/>
                    <a:pt x="9829" y="20272"/>
                  </a:cubicBezTo>
                  <a:cubicBezTo>
                    <a:pt x="9829" y="20419"/>
                    <a:pt x="9546" y="20813"/>
                    <a:pt x="9546" y="20813"/>
                  </a:cubicBezTo>
                  <a:cubicBezTo>
                    <a:pt x="9506" y="20862"/>
                    <a:pt x="9303" y="21108"/>
                    <a:pt x="9222" y="21157"/>
                  </a:cubicBezTo>
                  <a:cubicBezTo>
                    <a:pt x="9101" y="21206"/>
                    <a:pt x="9020" y="20813"/>
                    <a:pt x="8939" y="20813"/>
                  </a:cubicBezTo>
                  <a:cubicBezTo>
                    <a:pt x="8778" y="20813"/>
                    <a:pt x="8778" y="20764"/>
                    <a:pt x="8616" y="20714"/>
                  </a:cubicBezTo>
                  <a:cubicBezTo>
                    <a:pt x="8413" y="20714"/>
                    <a:pt x="8373" y="21059"/>
                    <a:pt x="8171" y="21059"/>
                  </a:cubicBezTo>
                  <a:cubicBezTo>
                    <a:pt x="7847" y="21010"/>
                    <a:pt x="7281" y="20616"/>
                    <a:pt x="7281" y="20616"/>
                  </a:cubicBezTo>
                  <a:cubicBezTo>
                    <a:pt x="7160" y="20567"/>
                    <a:pt x="7160" y="20764"/>
                    <a:pt x="7038" y="20764"/>
                  </a:cubicBezTo>
                  <a:cubicBezTo>
                    <a:pt x="6796" y="20714"/>
                    <a:pt x="6472" y="20518"/>
                    <a:pt x="6148" y="20419"/>
                  </a:cubicBezTo>
                  <a:cubicBezTo>
                    <a:pt x="5906" y="20370"/>
                    <a:pt x="5420" y="20272"/>
                    <a:pt x="5420" y="20272"/>
                  </a:cubicBezTo>
                  <a:cubicBezTo>
                    <a:pt x="5299" y="20370"/>
                    <a:pt x="5178" y="20370"/>
                    <a:pt x="5056" y="20419"/>
                  </a:cubicBezTo>
                  <a:cubicBezTo>
                    <a:pt x="4894" y="20518"/>
                    <a:pt x="4733" y="20665"/>
                    <a:pt x="4611" y="20714"/>
                  </a:cubicBezTo>
                  <a:cubicBezTo>
                    <a:pt x="4490" y="20764"/>
                    <a:pt x="4247" y="20518"/>
                    <a:pt x="3883" y="20764"/>
                  </a:cubicBezTo>
                  <a:cubicBezTo>
                    <a:pt x="3762" y="20813"/>
                    <a:pt x="3600" y="20764"/>
                    <a:pt x="3519" y="20862"/>
                  </a:cubicBezTo>
                  <a:cubicBezTo>
                    <a:pt x="3398" y="21010"/>
                    <a:pt x="3357" y="21206"/>
                    <a:pt x="3155" y="21305"/>
                  </a:cubicBezTo>
                  <a:cubicBezTo>
                    <a:pt x="3034" y="21354"/>
                    <a:pt x="2872" y="21551"/>
                    <a:pt x="2791" y="21600"/>
                  </a:cubicBezTo>
                  <a:cubicBezTo>
                    <a:pt x="2589" y="21452"/>
                    <a:pt x="2306" y="21452"/>
                    <a:pt x="2225" y="21059"/>
                  </a:cubicBezTo>
                  <a:cubicBezTo>
                    <a:pt x="2184" y="20911"/>
                    <a:pt x="2063" y="21059"/>
                    <a:pt x="1982" y="20911"/>
                  </a:cubicBezTo>
                  <a:cubicBezTo>
                    <a:pt x="1820" y="20714"/>
                    <a:pt x="1699" y="20272"/>
                    <a:pt x="1699" y="20075"/>
                  </a:cubicBezTo>
                  <a:cubicBezTo>
                    <a:pt x="1699" y="20075"/>
                    <a:pt x="1820" y="19878"/>
                    <a:pt x="1699" y="19681"/>
                  </a:cubicBezTo>
                  <a:cubicBezTo>
                    <a:pt x="1618" y="19484"/>
                    <a:pt x="1497" y="19435"/>
                    <a:pt x="1537" y="19238"/>
                  </a:cubicBezTo>
                  <a:cubicBezTo>
                    <a:pt x="1658" y="19238"/>
                    <a:pt x="1618" y="18894"/>
                    <a:pt x="1618" y="18894"/>
                  </a:cubicBezTo>
                  <a:cubicBezTo>
                    <a:pt x="1618" y="18795"/>
                    <a:pt x="1335" y="18205"/>
                    <a:pt x="1254" y="18107"/>
                  </a:cubicBezTo>
                  <a:cubicBezTo>
                    <a:pt x="1052" y="17959"/>
                    <a:pt x="809" y="17762"/>
                    <a:pt x="566" y="17713"/>
                  </a:cubicBezTo>
                  <a:cubicBezTo>
                    <a:pt x="0" y="17615"/>
                    <a:pt x="0" y="17615"/>
                    <a:pt x="0" y="17615"/>
                  </a:cubicBezTo>
                  <a:cubicBezTo>
                    <a:pt x="0" y="17418"/>
                    <a:pt x="0" y="17418"/>
                    <a:pt x="0" y="17418"/>
                  </a:cubicBezTo>
                  <a:cubicBezTo>
                    <a:pt x="0" y="17319"/>
                    <a:pt x="0" y="17319"/>
                    <a:pt x="0" y="17319"/>
                  </a:cubicBezTo>
                  <a:cubicBezTo>
                    <a:pt x="0" y="17270"/>
                    <a:pt x="0" y="17270"/>
                    <a:pt x="0" y="17270"/>
                  </a:cubicBezTo>
                  <a:cubicBezTo>
                    <a:pt x="40" y="17123"/>
                    <a:pt x="40" y="17123"/>
                    <a:pt x="40" y="17123"/>
                  </a:cubicBezTo>
                  <a:cubicBezTo>
                    <a:pt x="81" y="17024"/>
                    <a:pt x="81" y="17024"/>
                    <a:pt x="81" y="17024"/>
                  </a:cubicBezTo>
                  <a:cubicBezTo>
                    <a:pt x="40" y="16926"/>
                    <a:pt x="40" y="16926"/>
                    <a:pt x="40" y="16926"/>
                  </a:cubicBezTo>
                  <a:cubicBezTo>
                    <a:pt x="40" y="16827"/>
                    <a:pt x="40" y="16827"/>
                    <a:pt x="40" y="16827"/>
                  </a:cubicBezTo>
                  <a:cubicBezTo>
                    <a:pt x="40" y="16680"/>
                    <a:pt x="40" y="16680"/>
                    <a:pt x="40" y="16680"/>
                  </a:cubicBezTo>
                  <a:cubicBezTo>
                    <a:pt x="40" y="16680"/>
                    <a:pt x="0" y="16581"/>
                    <a:pt x="0" y="16581"/>
                  </a:cubicBezTo>
                  <a:cubicBezTo>
                    <a:pt x="0" y="16581"/>
                    <a:pt x="0" y="16483"/>
                    <a:pt x="0" y="16483"/>
                  </a:cubicBezTo>
                  <a:cubicBezTo>
                    <a:pt x="0" y="16483"/>
                    <a:pt x="81" y="16434"/>
                    <a:pt x="81" y="16434"/>
                  </a:cubicBezTo>
                  <a:cubicBezTo>
                    <a:pt x="81" y="16385"/>
                    <a:pt x="162" y="16335"/>
                    <a:pt x="162" y="16335"/>
                  </a:cubicBezTo>
                  <a:cubicBezTo>
                    <a:pt x="162" y="16335"/>
                    <a:pt x="202" y="16188"/>
                    <a:pt x="202" y="16138"/>
                  </a:cubicBezTo>
                  <a:cubicBezTo>
                    <a:pt x="202" y="16138"/>
                    <a:pt x="243" y="16089"/>
                    <a:pt x="243" y="16089"/>
                  </a:cubicBezTo>
                  <a:cubicBezTo>
                    <a:pt x="364" y="16040"/>
                    <a:pt x="364" y="16040"/>
                    <a:pt x="364" y="16040"/>
                  </a:cubicBezTo>
                  <a:cubicBezTo>
                    <a:pt x="445" y="15942"/>
                    <a:pt x="445" y="15942"/>
                    <a:pt x="445" y="15942"/>
                  </a:cubicBezTo>
                  <a:cubicBezTo>
                    <a:pt x="526" y="15892"/>
                    <a:pt x="526" y="15892"/>
                    <a:pt x="526" y="15892"/>
                  </a:cubicBezTo>
                  <a:cubicBezTo>
                    <a:pt x="607" y="15794"/>
                    <a:pt x="607" y="15794"/>
                    <a:pt x="607" y="15794"/>
                  </a:cubicBezTo>
                  <a:cubicBezTo>
                    <a:pt x="647" y="15597"/>
                    <a:pt x="647" y="15597"/>
                    <a:pt x="647" y="15597"/>
                  </a:cubicBezTo>
                  <a:cubicBezTo>
                    <a:pt x="688" y="15548"/>
                    <a:pt x="688" y="15548"/>
                    <a:pt x="688" y="15548"/>
                  </a:cubicBezTo>
                  <a:cubicBezTo>
                    <a:pt x="688" y="15548"/>
                    <a:pt x="809" y="15548"/>
                    <a:pt x="809" y="15548"/>
                  </a:cubicBezTo>
                  <a:cubicBezTo>
                    <a:pt x="809" y="15548"/>
                    <a:pt x="890" y="15548"/>
                    <a:pt x="890" y="15548"/>
                  </a:cubicBezTo>
                  <a:cubicBezTo>
                    <a:pt x="890" y="15499"/>
                    <a:pt x="890" y="15499"/>
                    <a:pt x="890" y="15499"/>
                  </a:cubicBezTo>
                  <a:cubicBezTo>
                    <a:pt x="971" y="15450"/>
                    <a:pt x="971" y="15450"/>
                    <a:pt x="971" y="15450"/>
                  </a:cubicBezTo>
                  <a:cubicBezTo>
                    <a:pt x="1052" y="15548"/>
                    <a:pt x="1052" y="15548"/>
                    <a:pt x="1052" y="15548"/>
                  </a:cubicBezTo>
                  <a:cubicBezTo>
                    <a:pt x="1052" y="15548"/>
                    <a:pt x="1092" y="15548"/>
                    <a:pt x="1133" y="15548"/>
                  </a:cubicBezTo>
                  <a:cubicBezTo>
                    <a:pt x="1133" y="15548"/>
                    <a:pt x="1173" y="15548"/>
                    <a:pt x="1173" y="15548"/>
                  </a:cubicBezTo>
                  <a:cubicBezTo>
                    <a:pt x="1173" y="15400"/>
                    <a:pt x="1173" y="15400"/>
                    <a:pt x="1173" y="15400"/>
                  </a:cubicBezTo>
                  <a:cubicBezTo>
                    <a:pt x="1335" y="15204"/>
                    <a:pt x="1335" y="15204"/>
                    <a:pt x="1335" y="15204"/>
                  </a:cubicBezTo>
                  <a:cubicBezTo>
                    <a:pt x="1335" y="15204"/>
                    <a:pt x="1335" y="15154"/>
                    <a:pt x="1335" y="15154"/>
                  </a:cubicBezTo>
                  <a:cubicBezTo>
                    <a:pt x="1335" y="15154"/>
                    <a:pt x="1335" y="15105"/>
                    <a:pt x="1335" y="15105"/>
                  </a:cubicBezTo>
                  <a:cubicBezTo>
                    <a:pt x="1294" y="15056"/>
                    <a:pt x="1254" y="15105"/>
                    <a:pt x="1254" y="15105"/>
                  </a:cubicBezTo>
                  <a:cubicBezTo>
                    <a:pt x="1254" y="15105"/>
                    <a:pt x="1173" y="15105"/>
                    <a:pt x="1173" y="15105"/>
                  </a:cubicBezTo>
                  <a:cubicBezTo>
                    <a:pt x="1173" y="15105"/>
                    <a:pt x="1092" y="15105"/>
                    <a:pt x="1052" y="15105"/>
                  </a:cubicBezTo>
                  <a:cubicBezTo>
                    <a:pt x="1052" y="15105"/>
                    <a:pt x="1052" y="15056"/>
                    <a:pt x="1052" y="15056"/>
                  </a:cubicBezTo>
                  <a:cubicBezTo>
                    <a:pt x="1011" y="14958"/>
                    <a:pt x="1011" y="14958"/>
                    <a:pt x="1011" y="14958"/>
                  </a:cubicBezTo>
                  <a:cubicBezTo>
                    <a:pt x="1011" y="14958"/>
                    <a:pt x="971" y="14859"/>
                    <a:pt x="971" y="14810"/>
                  </a:cubicBezTo>
                  <a:cubicBezTo>
                    <a:pt x="971" y="14761"/>
                    <a:pt x="971" y="14712"/>
                    <a:pt x="971" y="14662"/>
                  </a:cubicBezTo>
                  <a:cubicBezTo>
                    <a:pt x="971" y="14662"/>
                    <a:pt x="930" y="14613"/>
                    <a:pt x="930" y="14613"/>
                  </a:cubicBezTo>
                  <a:cubicBezTo>
                    <a:pt x="930" y="14613"/>
                    <a:pt x="890" y="14564"/>
                    <a:pt x="890" y="14515"/>
                  </a:cubicBezTo>
                  <a:cubicBezTo>
                    <a:pt x="890" y="14515"/>
                    <a:pt x="849" y="14367"/>
                    <a:pt x="849" y="14367"/>
                  </a:cubicBezTo>
                  <a:cubicBezTo>
                    <a:pt x="809" y="14318"/>
                    <a:pt x="809" y="14318"/>
                    <a:pt x="809" y="14318"/>
                  </a:cubicBezTo>
                  <a:cubicBezTo>
                    <a:pt x="849" y="14269"/>
                    <a:pt x="849" y="14269"/>
                    <a:pt x="849" y="14269"/>
                  </a:cubicBezTo>
                  <a:cubicBezTo>
                    <a:pt x="809" y="14170"/>
                    <a:pt x="809" y="14170"/>
                    <a:pt x="809" y="14170"/>
                  </a:cubicBezTo>
                  <a:cubicBezTo>
                    <a:pt x="890" y="14170"/>
                    <a:pt x="890" y="14170"/>
                    <a:pt x="890" y="14170"/>
                  </a:cubicBezTo>
                  <a:cubicBezTo>
                    <a:pt x="849" y="14121"/>
                    <a:pt x="849" y="14121"/>
                    <a:pt x="849" y="14121"/>
                  </a:cubicBezTo>
                  <a:cubicBezTo>
                    <a:pt x="890" y="14023"/>
                    <a:pt x="890" y="14023"/>
                    <a:pt x="890" y="14023"/>
                  </a:cubicBezTo>
                  <a:cubicBezTo>
                    <a:pt x="890" y="14023"/>
                    <a:pt x="971" y="13974"/>
                    <a:pt x="971" y="13974"/>
                  </a:cubicBezTo>
                  <a:cubicBezTo>
                    <a:pt x="971" y="13974"/>
                    <a:pt x="1052" y="13875"/>
                    <a:pt x="1052" y="13875"/>
                  </a:cubicBezTo>
                  <a:cubicBezTo>
                    <a:pt x="1052" y="13875"/>
                    <a:pt x="1011" y="13826"/>
                    <a:pt x="1011" y="13826"/>
                  </a:cubicBezTo>
                  <a:cubicBezTo>
                    <a:pt x="1011" y="13826"/>
                    <a:pt x="1011" y="13728"/>
                    <a:pt x="1011" y="13728"/>
                  </a:cubicBezTo>
                  <a:cubicBezTo>
                    <a:pt x="1092" y="13531"/>
                    <a:pt x="1092" y="13531"/>
                    <a:pt x="1092" y="13531"/>
                  </a:cubicBezTo>
                  <a:cubicBezTo>
                    <a:pt x="1133" y="13531"/>
                    <a:pt x="1133" y="13531"/>
                    <a:pt x="1133" y="13531"/>
                  </a:cubicBezTo>
                  <a:cubicBezTo>
                    <a:pt x="1254" y="13482"/>
                    <a:pt x="1254" y="13482"/>
                    <a:pt x="1254" y="13482"/>
                  </a:cubicBezTo>
                  <a:cubicBezTo>
                    <a:pt x="1294" y="13432"/>
                    <a:pt x="1294" y="13432"/>
                    <a:pt x="1294" y="13432"/>
                  </a:cubicBezTo>
                  <a:cubicBezTo>
                    <a:pt x="1335" y="13432"/>
                    <a:pt x="1335" y="13432"/>
                    <a:pt x="1335" y="13432"/>
                  </a:cubicBezTo>
                  <a:cubicBezTo>
                    <a:pt x="1416" y="13383"/>
                    <a:pt x="1416" y="13383"/>
                    <a:pt x="1416" y="13383"/>
                  </a:cubicBezTo>
                  <a:cubicBezTo>
                    <a:pt x="1497" y="13334"/>
                    <a:pt x="1497" y="13334"/>
                    <a:pt x="1497" y="13334"/>
                  </a:cubicBezTo>
                  <a:cubicBezTo>
                    <a:pt x="1537" y="13285"/>
                    <a:pt x="1537" y="13285"/>
                    <a:pt x="1537" y="13285"/>
                  </a:cubicBezTo>
                  <a:cubicBezTo>
                    <a:pt x="1537" y="13186"/>
                    <a:pt x="1537" y="13186"/>
                    <a:pt x="1537" y="13186"/>
                  </a:cubicBezTo>
                  <a:cubicBezTo>
                    <a:pt x="1578" y="13137"/>
                    <a:pt x="1578" y="13137"/>
                    <a:pt x="1578" y="13137"/>
                  </a:cubicBezTo>
                  <a:cubicBezTo>
                    <a:pt x="1658" y="13039"/>
                    <a:pt x="1658" y="13039"/>
                    <a:pt x="1658" y="13039"/>
                  </a:cubicBezTo>
                  <a:cubicBezTo>
                    <a:pt x="1739" y="12940"/>
                    <a:pt x="1739" y="12940"/>
                    <a:pt x="1739" y="12940"/>
                  </a:cubicBezTo>
                  <a:cubicBezTo>
                    <a:pt x="1739" y="12842"/>
                    <a:pt x="1739" y="12842"/>
                    <a:pt x="1739" y="12842"/>
                  </a:cubicBezTo>
                  <a:cubicBezTo>
                    <a:pt x="1699" y="12793"/>
                    <a:pt x="1699" y="12793"/>
                    <a:pt x="1699" y="12793"/>
                  </a:cubicBezTo>
                  <a:cubicBezTo>
                    <a:pt x="1699" y="12793"/>
                    <a:pt x="1658" y="12694"/>
                    <a:pt x="1658" y="12645"/>
                  </a:cubicBezTo>
                  <a:cubicBezTo>
                    <a:pt x="1658" y="12645"/>
                    <a:pt x="1618" y="12645"/>
                    <a:pt x="1618" y="12645"/>
                  </a:cubicBezTo>
                  <a:cubicBezTo>
                    <a:pt x="1537" y="12694"/>
                    <a:pt x="1537" y="12694"/>
                    <a:pt x="1537" y="12694"/>
                  </a:cubicBezTo>
                  <a:cubicBezTo>
                    <a:pt x="1537" y="12694"/>
                    <a:pt x="1497" y="12645"/>
                    <a:pt x="1456" y="12645"/>
                  </a:cubicBezTo>
                  <a:cubicBezTo>
                    <a:pt x="1456" y="12645"/>
                    <a:pt x="1456" y="12596"/>
                    <a:pt x="1456" y="12596"/>
                  </a:cubicBezTo>
                  <a:cubicBezTo>
                    <a:pt x="1497" y="12547"/>
                    <a:pt x="1497" y="12547"/>
                    <a:pt x="1497" y="12547"/>
                  </a:cubicBezTo>
                  <a:cubicBezTo>
                    <a:pt x="1497" y="12448"/>
                    <a:pt x="1497" y="12448"/>
                    <a:pt x="1497" y="12448"/>
                  </a:cubicBezTo>
                  <a:cubicBezTo>
                    <a:pt x="1416" y="12448"/>
                    <a:pt x="1416" y="12448"/>
                    <a:pt x="1416" y="12448"/>
                  </a:cubicBezTo>
                  <a:cubicBezTo>
                    <a:pt x="1375" y="12350"/>
                    <a:pt x="1375" y="12350"/>
                    <a:pt x="1375" y="12350"/>
                  </a:cubicBezTo>
                  <a:cubicBezTo>
                    <a:pt x="1335" y="12251"/>
                    <a:pt x="1335" y="12251"/>
                    <a:pt x="1335" y="12251"/>
                  </a:cubicBezTo>
                  <a:cubicBezTo>
                    <a:pt x="1335" y="12153"/>
                    <a:pt x="1335" y="12153"/>
                    <a:pt x="1335" y="12153"/>
                  </a:cubicBezTo>
                  <a:cubicBezTo>
                    <a:pt x="1375" y="12104"/>
                    <a:pt x="1375" y="12104"/>
                    <a:pt x="1375" y="12104"/>
                  </a:cubicBezTo>
                  <a:cubicBezTo>
                    <a:pt x="1375" y="12055"/>
                    <a:pt x="1375" y="12055"/>
                    <a:pt x="1375" y="12055"/>
                  </a:cubicBezTo>
                  <a:cubicBezTo>
                    <a:pt x="1335" y="12005"/>
                    <a:pt x="1335" y="12005"/>
                    <a:pt x="1335" y="12005"/>
                  </a:cubicBezTo>
                  <a:cubicBezTo>
                    <a:pt x="1335" y="11907"/>
                    <a:pt x="1335" y="11907"/>
                    <a:pt x="1335" y="11907"/>
                  </a:cubicBezTo>
                  <a:cubicBezTo>
                    <a:pt x="1294" y="11809"/>
                    <a:pt x="1294" y="11809"/>
                    <a:pt x="1294" y="11809"/>
                  </a:cubicBezTo>
                  <a:cubicBezTo>
                    <a:pt x="1335" y="11759"/>
                    <a:pt x="1335" y="11759"/>
                    <a:pt x="1335" y="11759"/>
                  </a:cubicBezTo>
                  <a:cubicBezTo>
                    <a:pt x="1375" y="11710"/>
                    <a:pt x="1375" y="11710"/>
                    <a:pt x="1375" y="11710"/>
                  </a:cubicBezTo>
                  <a:cubicBezTo>
                    <a:pt x="1375" y="11612"/>
                    <a:pt x="1375" y="11612"/>
                    <a:pt x="1375" y="11612"/>
                  </a:cubicBezTo>
                  <a:cubicBezTo>
                    <a:pt x="1375" y="11612"/>
                    <a:pt x="1294" y="11563"/>
                    <a:pt x="1294" y="11563"/>
                  </a:cubicBezTo>
                  <a:cubicBezTo>
                    <a:pt x="1294" y="11563"/>
                    <a:pt x="1254" y="11464"/>
                    <a:pt x="1254" y="11464"/>
                  </a:cubicBezTo>
                  <a:cubicBezTo>
                    <a:pt x="1254" y="11415"/>
                    <a:pt x="1254" y="11415"/>
                    <a:pt x="1254" y="11415"/>
                  </a:cubicBezTo>
                  <a:cubicBezTo>
                    <a:pt x="1254" y="11415"/>
                    <a:pt x="1173" y="11317"/>
                    <a:pt x="1173" y="11317"/>
                  </a:cubicBezTo>
                  <a:cubicBezTo>
                    <a:pt x="1173" y="11317"/>
                    <a:pt x="1173" y="11218"/>
                    <a:pt x="1173" y="11218"/>
                  </a:cubicBezTo>
                  <a:cubicBezTo>
                    <a:pt x="1173" y="11218"/>
                    <a:pt x="1133" y="11120"/>
                    <a:pt x="1133" y="11120"/>
                  </a:cubicBezTo>
                  <a:cubicBezTo>
                    <a:pt x="1092" y="11071"/>
                    <a:pt x="1092" y="11021"/>
                    <a:pt x="1092" y="11021"/>
                  </a:cubicBezTo>
                  <a:cubicBezTo>
                    <a:pt x="1173" y="11021"/>
                    <a:pt x="1173" y="11021"/>
                    <a:pt x="1173" y="11021"/>
                  </a:cubicBezTo>
                  <a:cubicBezTo>
                    <a:pt x="1254" y="11021"/>
                    <a:pt x="1254" y="11021"/>
                    <a:pt x="1254" y="11021"/>
                  </a:cubicBezTo>
                  <a:cubicBezTo>
                    <a:pt x="1294" y="11120"/>
                    <a:pt x="1294" y="11120"/>
                    <a:pt x="1294" y="11120"/>
                  </a:cubicBezTo>
                  <a:cubicBezTo>
                    <a:pt x="1335" y="11071"/>
                    <a:pt x="1335" y="11071"/>
                    <a:pt x="1335" y="11071"/>
                  </a:cubicBezTo>
                  <a:cubicBezTo>
                    <a:pt x="1335" y="11120"/>
                    <a:pt x="1335" y="11120"/>
                    <a:pt x="1335" y="11120"/>
                  </a:cubicBezTo>
                  <a:cubicBezTo>
                    <a:pt x="1416" y="11120"/>
                    <a:pt x="1416" y="11120"/>
                    <a:pt x="1416" y="11120"/>
                  </a:cubicBezTo>
                  <a:cubicBezTo>
                    <a:pt x="1537" y="11120"/>
                    <a:pt x="1537" y="11120"/>
                    <a:pt x="1537" y="11120"/>
                  </a:cubicBezTo>
                  <a:cubicBezTo>
                    <a:pt x="1618" y="11120"/>
                    <a:pt x="1618" y="11120"/>
                    <a:pt x="1618" y="11120"/>
                  </a:cubicBezTo>
                  <a:cubicBezTo>
                    <a:pt x="1658" y="11120"/>
                    <a:pt x="1658" y="11120"/>
                    <a:pt x="1658" y="11120"/>
                  </a:cubicBezTo>
                  <a:cubicBezTo>
                    <a:pt x="1658" y="11120"/>
                    <a:pt x="1699" y="11169"/>
                    <a:pt x="1699" y="11169"/>
                  </a:cubicBezTo>
                  <a:cubicBezTo>
                    <a:pt x="1739" y="11218"/>
                    <a:pt x="1780" y="11169"/>
                    <a:pt x="1780" y="11169"/>
                  </a:cubicBezTo>
                  <a:cubicBezTo>
                    <a:pt x="1780" y="11218"/>
                    <a:pt x="1861" y="11218"/>
                    <a:pt x="1861" y="11218"/>
                  </a:cubicBezTo>
                  <a:cubicBezTo>
                    <a:pt x="1861" y="11218"/>
                    <a:pt x="1901" y="11169"/>
                    <a:pt x="1942" y="11169"/>
                  </a:cubicBezTo>
                  <a:cubicBezTo>
                    <a:pt x="1942" y="11169"/>
                    <a:pt x="1982" y="11169"/>
                    <a:pt x="1982" y="11169"/>
                  </a:cubicBezTo>
                  <a:cubicBezTo>
                    <a:pt x="2022" y="11120"/>
                    <a:pt x="2022" y="11120"/>
                    <a:pt x="2022" y="11120"/>
                  </a:cubicBezTo>
                  <a:cubicBezTo>
                    <a:pt x="2022" y="11021"/>
                    <a:pt x="2022" y="11021"/>
                    <a:pt x="2022" y="11021"/>
                  </a:cubicBezTo>
                  <a:cubicBezTo>
                    <a:pt x="2063" y="11021"/>
                    <a:pt x="2063" y="11021"/>
                    <a:pt x="2063" y="11021"/>
                  </a:cubicBezTo>
                  <a:cubicBezTo>
                    <a:pt x="2063" y="10972"/>
                    <a:pt x="2063" y="10972"/>
                    <a:pt x="2063" y="10972"/>
                  </a:cubicBezTo>
                  <a:cubicBezTo>
                    <a:pt x="2103" y="10874"/>
                    <a:pt x="2103" y="10874"/>
                    <a:pt x="2103" y="10874"/>
                  </a:cubicBezTo>
                  <a:cubicBezTo>
                    <a:pt x="2103" y="10825"/>
                    <a:pt x="2103" y="10825"/>
                    <a:pt x="2103" y="10825"/>
                  </a:cubicBezTo>
                  <a:cubicBezTo>
                    <a:pt x="2184" y="10825"/>
                    <a:pt x="2184" y="10825"/>
                    <a:pt x="2184" y="10825"/>
                  </a:cubicBezTo>
                  <a:cubicBezTo>
                    <a:pt x="2225" y="10775"/>
                    <a:pt x="2225" y="10775"/>
                    <a:pt x="2225" y="10775"/>
                  </a:cubicBezTo>
                  <a:cubicBezTo>
                    <a:pt x="2265" y="10677"/>
                    <a:pt x="2265" y="10677"/>
                    <a:pt x="2265" y="10677"/>
                  </a:cubicBezTo>
                  <a:cubicBezTo>
                    <a:pt x="2306" y="10579"/>
                    <a:pt x="2306" y="10579"/>
                    <a:pt x="2306" y="10579"/>
                  </a:cubicBezTo>
                  <a:cubicBezTo>
                    <a:pt x="2306" y="10579"/>
                    <a:pt x="2346" y="10480"/>
                    <a:pt x="2346" y="10480"/>
                  </a:cubicBezTo>
                  <a:cubicBezTo>
                    <a:pt x="2346" y="10480"/>
                    <a:pt x="2387" y="10382"/>
                    <a:pt x="2387" y="10382"/>
                  </a:cubicBezTo>
                  <a:cubicBezTo>
                    <a:pt x="2346" y="10234"/>
                    <a:pt x="2346" y="10234"/>
                    <a:pt x="2346" y="10234"/>
                  </a:cubicBezTo>
                  <a:cubicBezTo>
                    <a:pt x="2306" y="10136"/>
                    <a:pt x="2306" y="10136"/>
                    <a:pt x="2306" y="10136"/>
                  </a:cubicBezTo>
                  <a:cubicBezTo>
                    <a:pt x="2265" y="10037"/>
                    <a:pt x="2265" y="10037"/>
                    <a:pt x="2265" y="10037"/>
                  </a:cubicBezTo>
                  <a:cubicBezTo>
                    <a:pt x="2265" y="10037"/>
                    <a:pt x="2265" y="9988"/>
                    <a:pt x="2225" y="9988"/>
                  </a:cubicBezTo>
                  <a:cubicBezTo>
                    <a:pt x="2225" y="9988"/>
                    <a:pt x="2225" y="9939"/>
                    <a:pt x="2225" y="9939"/>
                  </a:cubicBezTo>
                  <a:cubicBezTo>
                    <a:pt x="2225" y="9841"/>
                    <a:pt x="2225" y="9841"/>
                    <a:pt x="2225" y="9841"/>
                  </a:cubicBezTo>
                  <a:cubicBezTo>
                    <a:pt x="2265" y="9791"/>
                    <a:pt x="2265" y="9791"/>
                    <a:pt x="2265" y="9791"/>
                  </a:cubicBezTo>
                  <a:cubicBezTo>
                    <a:pt x="2306" y="9791"/>
                    <a:pt x="2306" y="9791"/>
                    <a:pt x="2306" y="9791"/>
                  </a:cubicBezTo>
                  <a:cubicBezTo>
                    <a:pt x="2387" y="9693"/>
                    <a:pt x="2387" y="9693"/>
                    <a:pt x="2387" y="9693"/>
                  </a:cubicBezTo>
                  <a:cubicBezTo>
                    <a:pt x="2427" y="9693"/>
                    <a:pt x="2427" y="9693"/>
                    <a:pt x="2427" y="9693"/>
                  </a:cubicBezTo>
                  <a:cubicBezTo>
                    <a:pt x="2508" y="9693"/>
                    <a:pt x="2508" y="9693"/>
                    <a:pt x="2508" y="9693"/>
                  </a:cubicBezTo>
                  <a:cubicBezTo>
                    <a:pt x="2589" y="9595"/>
                    <a:pt x="2589" y="9595"/>
                    <a:pt x="2589" y="9595"/>
                  </a:cubicBezTo>
                  <a:cubicBezTo>
                    <a:pt x="2629" y="9595"/>
                    <a:pt x="2629" y="9595"/>
                    <a:pt x="2629" y="9595"/>
                  </a:cubicBezTo>
                  <a:cubicBezTo>
                    <a:pt x="2670" y="9545"/>
                    <a:pt x="2670" y="9545"/>
                    <a:pt x="2670" y="9545"/>
                  </a:cubicBezTo>
                  <a:cubicBezTo>
                    <a:pt x="2710" y="9447"/>
                    <a:pt x="2710" y="9447"/>
                    <a:pt x="2710" y="9447"/>
                  </a:cubicBezTo>
                  <a:cubicBezTo>
                    <a:pt x="2670" y="9349"/>
                    <a:pt x="2670" y="9349"/>
                    <a:pt x="2670" y="9349"/>
                  </a:cubicBezTo>
                  <a:cubicBezTo>
                    <a:pt x="2629" y="9299"/>
                    <a:pt x="2629" y="9299"/>
                    <a:pt x="2629" y="9299"/>
                  </a:cubicBezTo>
                  <a:cubicBezTo>
                    <a:pt x="2670" y="9152"/>
                    <a:pt x="2670" y="9152"/>
                    <a:pt x="2670" y="9152"/>
                  </a:cubicBezTo>
                  <a:cubicBezTo>
                    <a:pt x="2751" y="9103"/>
                    <a:pt x="2751" y="9103"/>
                    <a:pt x="2751" y="9103"/>
                  </a:cubicBezTo>
                  <a:cubicBezTo>
                    <a:pt x="2751" y="8955"/>
                    <a:pt x="2751" y="8955"/>
                    <a:pt x="2751" y="8955"/>
                  </a:cubicBezTo>
                  <a:cubicBezTo>
                    <a:pt x="2710" y="8906"/>
                    <a:pt x="2710" y="8906"/>
                    <a:pt x="2710" y="8906"/>
                  </a:cubicBezTo>
                  <a:cubicBezTo>
                    <a:pt x="2751" y="8807"/>
                    <a:pt x="2751" y="8807"/>
                    <a:pt x="2751" y="8807"/>
                  </a:cubicBezTo>
                  <a:cubicBezTo>
                    <a:pt x="2791" y="8758"/>
                    <a:pt x="2791" y="8758"/>
                    <a:pt x="2791" y="8758"/>
                  </a:cubicBezTo>
                  <a:cubicBezTo>
                    <a:pt x="2791" y="8758"/>
                    <a:pt x="2831" y="8660"/>
                    <a:pt x="2831" y="8610"/>
                  </a:cubicBezTo>
                  <a:cubicBezTo>
                    <a:pt x="2872" y="8610"/>
                    <a:pt x="2872" y="8463"/>
                    <a:pt x="2872" y="8463"/>
                  </a:cubicBezTo>
                  <a:cubicBezTo>
                    <a:pt x="2831" y="8364"/>
                    <a:pt x="2831" y="8364"/>
                    <a:pt x="2831" y="8364"/>
                  </a:cubicBezTo>
                  <a:cubicBezTo>
                    <a:pt x="2831" y="8315"/>
                    <a:pt x="2831" y="8315"/>
                    <a:pt x="2831" y="8315"/>
                  </a:cubicBezTo>
                  <a:cubicBezTo>
                    <a:pt x="2831" y="8315"/>
                    <a:pt x="2912" y="8266"/>
                    <a:pt x="2912" y="8266"/>
                  </a:cubicBezTo>
                  <a:cubicBezTo>
                    <a:pt x="2953" y="8266"/>
                    <a:pt x="2953" y="8118"/>
                    <a:pt x="2953" y="8118"/>
                  </a:cubicBezTo>
                  <a:cubicBezTo>
                    <a:pt x="2872" y="8069"/>
                    <a:pt x="2872" y="8069"/>
                    <a:pt x="2872" y="8069"/>
                  </a:cubicBezTo>
                  <a:cubicBezTo>
                    <a:pt x="2872" y="8069"/>
                    <a:pt x="2872" y="7971"/>
                    <a:pt x="2872" y="7922"/>
                  </a:cubicBezTo>
                  <a:cubicBezTo>
                    <a:pt x="2872" y="7922"/>
                    <a:pt x="2872" y="7823"/>
                    <a:pt x="2872" y="7823"/>
                  </a:cubicBezTo>
                  <a:cubicBezTo>
                    <a:pt x="2831" y="7823"/>
                    <a:pt x="2831" y="7823"/>
                    <a:pt x="2831" y="7823"/>
                  </a:cubicBezTo>
                  <a:cubicBezTo>
                    <a:pt x="2831" y="7725"/>
                    <a:pt x="2831" y="7725"/>
                    <a:pt x="2831" y="7725"/>
                  </a:cubicBezTo>
                  <a:cubicBezTo>
                    <a:pt x="2872" y="7676"/>
                    <a:pt x="2872" y="7676"/>
                    <a:pt x="2872" y="7676"/>
                  </a:cubicBezTo>
                  <a:cubicBezTo>
                    <a:pt x="2953" y="7725"/>
                    <a:pt x="2953" y="7725"/>
                    <a:pt x="2953" y="7725"/>
                  </a:cubicBezTo>
                  <a:cubicBezTo>
                    <a:pt x="2953" y="7725"/>
                    <a:pt x="2993" y="7676"/>
                    <a:pt x="3034" y="7676"/>
                  </a:cubicBezTo>
                  <a:cubicBezTo>
                    <a:pt x="3034" y="7626"/>
                    <a:pt x="3115" y="7626"/>
                    <a:pt x="3115" y="7626"/>
                  </a:cubicBezTo>
                  <a:cubicBezTo>
                    <a:pt x="3155" y="7479"/>
                    <a:pt x="3155" y="7479"/>
                    <a:pt x="3155" y="7479"/>
                  </a:cubicBezTo>
                  <a:cubicBezTo>
                    <a:pt x="3317" y="7380"/>
                    <a:pt x="3317" y="7380"/>
                    <a:pt x="3317" y="7380"/>
                  </a:cubicBezTo>
                  <a:cubicBezTo>
                    <a:pt x="3317" y="7331"/>
                    <a:pt x="3317" y="7331"/>
                    <a:pt x="3317" y="7331"/>
                  </a:cubicBezTo>
                  <a:cubicBezTo>
                    <a:pt x="3438" y="7282"/>
                    <a:pt x="3438" y="7282"/>
                    <a:pt x="3438" y="7282"/>
                  </a:cubicBezTo>
                  <a:cubicBezTo>
                    <a:pt x="3519" y="7331"/>
                    <a:pt x="3519" y="7331"/>
                    <a:pt x="3519" y="7331"/>
                  </a:cubicBezTo>
                  <a:cubicBezTo>
                    <a:pt x="3600" y="7233"/>
                    <a:pt x="3600" y="7233"/>
                    <a:pt x="3600" y="7233"/>
                  </a:cubicBezTo>
                  <a:cubicBezTo>
                    <a:pt x="3640" y="7233"/>
                    <a:pt x="3640" y="7233"/>
                    <a:pt x="3640" y="7233"/>
                  </a:cubicBezTo>
                  <a:cubicBezTo>
                    <a:pt x="3721" y="7184"/>
                    <a:pt x="3721" y="7184"/>
                    <a:pt x="3721" y="7184"/>
                  </a:cubicBezTo>
                  <a:cubicBezTo>
                    <a:pt x="3802" y="7134"/>
                    <a:pt x="3802" y="7134"/>
                    <a:pt x="3802" y="7134"/>
                  </a:cubicBezTo>
                  <a:cubicBezTo>
                    <a:pt x="3924" y="6987"/>
                    <a:pt x="3924" y="6987"/>
                    <a:pt x="3924" y="6987"/>
                  </a:cubicBezTo>
                  <a:cubicBezTo>
                    <a:pt x="3964" y="6987"/>
                    <a:pt x="3964" y="6987"/>
                    <a:pt x="3964" y="6987"/>
                  </a:cubicBezTo>
                  <a:cubicBezTo>
                    <a:pt x="3964" y="6987"/>
                    <a:pt x="4045" y="6938"/>
                    <a:pt x="4045" y="6938"/>
                  </a:cubicBezTo>
                  <a:cubicBezTo>
                    <a:pt x="4045" y="6938"/>
                    <a:pt x="4085" y="6839"/>
                    <a:pt x="4085" y="6839"/>
                  </a:cubicBezTo>
                  <a:cubicBezTo>
                    <a:pt x="4166" y="6790"/>
                    <a:pt x="4166" y="6790"/>
                    <a:pt x="4166" y="6790"/>
                  </a:cubicBezTo>
                  <a:cubicBezTo>
                    <a:pt x="4247" y="6642"/>
                    <a:pt x="4247" y="6642"/>
                    <a:pt x="4247" y="6642"/>
                  </a:cubicBezTo>
                  <a:cubicBezTo>
                    <a:pt x="4328" y="6544"/>
                    <a:pt x="4328" y="6544"/>
                    <a:pt x="4328" y="6544"/>
                  </a:cubicBezTo>
                  <a:cubicBezTo>
                    <a:pt x="4247" y="6396"/>
                    <a:pt x="4247" y="6396"/>
                    <a:pt x="4247" y="6396"/>
                  </a:cubicBezTo>
                  <a:cubicBezTo>
                    <a:pt x="4247" y="6396"/>
                    <a:pt x="4166" y="6298"/>
                    <a:pt x="4126" y="6298"/>
                  </a:cubicBezTo>
                  <a:cubicBezTo>
                    <a:pt x="4126" y="6249"/>
                    <a:pt x="4045" y="6200"/>
                    <a:pt x="4045" y="6200"/>
                  </a:cubicBezTo>
                  <a:cubicBezTo>
                    <a:pt x="4045" y="6200"/>
                    <a:pt x="3924" y="6150"/>
                    <a:pt x="3924" y="6150"/>
                  </a:cubicBezTo>
                  <a:cubicBezTo>
                    <a:pt x="3924" y="6150"/>
                    <a:pt x="3843" y="6200"/>
                    <a:pt x="3843" y="6200"/>
                  </a:cubicBezTo>
                  <a:cubicBezTo>
                    <a:pt x="3802" y="6150"/>
                    <a:pt x="3802" y="6150"/>
                    <a:pt x="3802" y="6150"/>
                  </a:cubicBezTo>
                  <a:cubicBezTo>
                    <a:pt x="3802" y="6150"/>
                    <a:pt x="3762" y="6052"/>
                    <a:pt x="3802" y="6052"/>
                  </a:cubicBezTo>
                  <a:cubicBezTo>
                    <a:pt x="3802" y="6052"/>
                    <a:pt x="3802" y="6003"/>
                    <a:pt x="3802" y="6003"/>
                  </a:cubicBezTo>
                  <a:cubicBezTo>
                    <a:pt x="3802" y="5954"/>
                    <a:pt x="3802" y="5954"/>
                    <a:pt x="3802" y="5954"/>
                  </a:cubicBezTo>
                  <a:cubicBezTo>
                    <a:pt x="3802" y="5904"/>
                    <a:pt x="3802" y="5904"/>
                    <a:pt x="3802" y="5904"/>
                  </a:cubicBezTo>
                  <a:cubicBezTo>
                    <a:pt x="3843" y="5855"/>
                    <a:pt x="3843" y="5855"/>
                    <a:pt x="3843" y="5855"/>
                  </a:cubicBezTo>
                  <a:cubicBezTo>
                    <a:pt x="3843" y="5855"/>
                    <a:pt x="3883" y="5806"/>
                    <a:pt x="3883" y="5757"/>
                  </a:cubicBezTo>
                  <a:cubicBezTo>
                    <a:pt x="3883" y="5757"/>
                    <a:pt x="3924" y="5658"/>
                    <a:pt x="3924" y="5658"/>
                  </a:cubicBezTo>
                  <a:cubicBezTo>
                    <a:pt x="3924" y="5658"/>
                    <a:pt x="3883" y="5609"/>
                    <a:pt x="3883" y="5560"/>
                  </a:cubicBezTo>
                  <a:cubicBezTo>
                    <a:pt x="3843" y="5560"/>
                    <a:pt x="3843" y="5560"/>
                    <a:pt x="3883" y="5511"/>
                  </a:cubicBezTo>
                  <a:cubicBezTo>
                    <a:pt x="3883" y="5511"/>
                    <a:pt x="3883" y="5462"/>
                    <a:pt x="3883" y="5462"/>
                  </a:cubicBezTo>
                  <a:cubicBezTo>
                    <a:pt x="3883" y="5462"/>
                    <a:pt x="3883" y="5363"/>
                    <a:pt x="3843" y="5363"/>
                  </a:cubicBezTo>
                  <a:cubicBezTo>
                    <a:pt x="3843" y="5363"/>
                    <a:pt x="3762" y="5412"/>
                    <a:pt x="3762" y="5412"/>
                  </a:cubicBezTo>
                  <a:cubicBezTo>
                    <a:pt x="3762" y="5412"/>
                    <a:pt x="3640" y="5363"/>
                    <a:pt x="3640" y="5363"/>
                  </a:cubicBezTo>
                  <a:cubicBezTo>
                    <a:pt x="3640" y="5363"/>
                    <a:pt x="3600" y="5314"/>
                    <a:pt x="3600" y="5314"/>
                  </a:cubicBezTo>
                  <a:cubicBezTo>
                    <a:pt x="3600" y="5314"/>
                    <a:pt x="3600" y="5215"/>
                    <a:pt x="3560" y="5215"/>
                  </a:cubicBezTo>
                  <a:cubicBezTo>
                    <a:pt x="3519" y="5166"/>
                    <a:pt x="3519" y="5215"/>
                    <a:pt x="3519" y="5215"/>
                  </a:cubicBezTo>
                  <a:cubicBezTo>
                    <a:pt x="3479" y="5314"/>
                    <a:pt x="3479" y="5314"/>
                    <a:pt x="3479" y="5314"/>
                  </a:cubicBezTo>
                  <a:cubicBezTo>
                    <a:pt x="3479" y="5314"/>
                    <a:pt x="3398" y="5314"/>
                    <a:pt x="3357" y="5265"/>
                  </a:cubicBezTo>
                  <a:cubicBezTo>
                    <a:pt x="3357" y="5265"/>
                    <a:pt x="3317" y="5265"/>
                    <a:pt x="3317" y="5265"/>
                  </a:cubicBezTo>
                  <a:cubicBezTo>
                    <a:pt x="3276" y="5265"/>
                    <a:pt x="3276" y="5215"/>
                    <a:pt x="3276" y="5166"/>
                  </a:cubicBezTo>
                  <a:cubicBezTo>
                    <a:pt x="3236" y="5117"/>
                    <a:pt x="3236" y="5166"/>
                    <a:pt x="3196" y="5166"/>
                  </a:cubicBezTo>
                  <a:cubicBezTo>
                    <a:pt x="3196" y="5166"/>
                    <a:pt x="3115" y="5166"/>
                    <a:pt x="3115" y="5166"/>
                  </a:cubicBezTo>
                  <a:cubicBezTo>
                    <a:pt x="3115" y="5166"/>
                    <a:pt x="3034" y="5068"/>
                    <a:pt x="3034" y="5068"/>
                  </a:cubicBezTo>
                  <a:cubicBezTo>
                    <a:pt x="3034" y="5019"/>
                    <a:pt x="2993" y="5019"/>
                    <a:pt x="2993" y="5019"/>
                  </a:cubicBezTo>
                  <a:cubicBezTo>
                    <a:pt x="2993" y="5019"/>
                    <a:pt x="2912" y="5068"/>
                    <a:pt x="2912" y="5068"/>
                  </a:cubicBezTo>
                  <a:cubicBezTo>
                    <a:pt x="2912" y="5117"/>
                    <a:pt x="2912" y="5117"/>
                    <a:pt x="2912" y="5117"/>
                  </a:cubicBezTo>
                  <a:cubicBezTo>
                    <a:pt x="2872" y="5265"/>
                    <a:pt x="2872" y="5265"/>
                    <a:pt x="2872" y="5265"/>
                  </a:cubicBezTo>
                  <a:cubicBezTo>
                    <a:pt x="2751" y="5363"/>
                    <a:pt x="2751" y="5363"/>
                    <a:pt x="2751" y="5363"/>
                  </a:cubicBezTo>
                  <a:cubicBezTo>
                    <a:pt x="2751" y="5363"/>
                    <a:pt x="2629" y="5363"/>
                    <a:pt x="2589" y="5314"/>
                  </a:cubicBezTo>
                  <a:cubicBezTo>
                    <a:pt x="2589" y="5314"/>
                    <a:pt x="2589" y="5314"/>
                    <a:pt x="2548" y="5314"/>
                  </a:cubicBezTo>
                  <a:cubicBezTo>
                    <a:pt x="2508" y="5314"/>
                    <a:pt x="2508" y="5314"/>
                    <a:pt x="2508" y="5314"/>
                  </a:cubicBezTo>
                  <a:cubicBezTo>
                    <a:pt x="2508" y="5314"/>
                    <a:pt x="2427" y="5363"/>
                    <a:pt x="2427" y="5363"/>
                  </a:cubicBezTo>
                  <a:cubicBezTo>
                    <a:pt x="2427" y="5363"/>
                    <a:pt x="2387" y="5265"/>
                    <a:pt x="2387" y="5265"/>
                  </a:cubicBezTo>
                  <a:cubicBezTo>
                    <a:pt x="2387" y="5265"/>
                    <a:pt x="2306" y="5215"/>
                    <a:pt x="2306" y="5166"/>
                  </a:cubicBezTo>
                  <a:cubicBezTo>
                    <a:pt x="2306" y="5166"/>
                    <a:pt x="2306" y="5215"/>
                    <a:pt x="2306" y="5215"/>
                  </a:cubicBezTo>
                  <a:cubicBezTo>
                    <a:pt x="2306" y="5215"/>
                    <a:pt x="2265" y="5265"/>
                    <a:pt x="2225" y="5265"/>
                  </a:cubicBezTo>
                  <a:cubicBezTo>
                    <a:pt x="2225" y="5265"/>
                    <a:pt x="2184" y="5314"/>
                    <a:pt x="2184" y="5314"/>
                  </a:cubicBezTo>
                  <a:cubicBezTo>
                    <a:pt x="2144" y="5314"/>
                    <a:pt x="2184" y="5215"/>
                    <a:pt x="2184" y="5215"/>
                  </a:cubicBezTo>
                  <a:cubicBezTo>
                    <a:pt x="2225" y="5117"/>
                    <a:pt x="2225" y="5117"/>
                    <a:pt x="2225" y="5117"/>
                  </a:cubicBezTo>
                  <a:cubicBezTo>
                    <a:pt x="2225" y="5117"/>
                    <a:pt x="2103" y="5068"/>
                    <a:pt x="2103" y="5019"/>
                  </a:cubicBezTo>
                  <a:cubicBezTo>
                    <a:pt x="2063" y="5019"/>
                    <a:pt x="2022" y="4969"/>
                    <a:pt x="2022" y="4969"/>
                  </a:cubicBezTo>
                  <a:cubicBezTo>
                    <a:pt x="2022" y="4969"/>
                    <a:pt x="1942" y="4969"/>
                    <a:pt x="1942" y="4969"/>
                  </a:cubicBezTo>
                  <a:cubicBezTo>
                    <a:pt x="1861" y="4969"/>
                    <a:pt x="1861" y="4969"/>
                    <a:pt x="1861" y="4969"/>
                  </a:cubicBezTo>
                  <a:cubicBezTo>
                    <a:pt x="1861" y="4969"/>
                    <a:pt x="1820" y="4969"/>
                    <a:pt x="1780" y="5019"/>
                  </a:cubicBezTo>
                  <a:cubicBezTo>
                    <a:pt x="1780" y="5019"/>
                    <a:pt x="1739" y="5068"/>
                    <a:pt x="1699" y="5019"/>
                  </a:cubicBezTo>
                  <a:cubicBezTo>
                    <a:pt x="1699" y="5019"/>
                    <a:pt x="1739" y="4920"/>
                    <a:pt x="1739" y="4920"/>
                  </a:cubicBezTo>
                  <a:cubicBezTo>
                    <a:pt x="1739" y="4920"/>
                    <a:pt x="1739" y="4822"/>
                    <a:pt x="1739" y="4822"/>
                  </a:cubicBezTo>
                  <a:cubicBezTo>
                    <a:pt x="1699" y="4773"/>
                    <a:pt x="1699" y="4871"/>
                    <a:pt x="1699" y="4871"/>
                  </a:cubicBezTo>
                  <a:cubicBezTo>
                    <a:pt x="1699" y="4871"/>
                    <a:pt x="1618" y="4920"/>
                    <a:pt x="1578" y="4969"/>
                  </a:cubicBezTo>
                  <a:cubicBezTo>
                    <a:pt x="1578" y="4969"/>
                    <a:pt x="1537" y="4969"/>
                    <a:pt x="1537" y="4969"/>
                  </a:cubicBezTo>
                  <a:cubicBezTo>
                    <a:pt x="1497" y="4969"/>
                    <a:pt x="1456" y="5019"/>
                    <a:pt x="1375" y="5019"/>
                  </a:cubicBezTo>
                  <a:cubicBezTo>
                    <a:pt x="1335" y="5019"/>
                    <a:pt x="1294" y="5068"/>
                    <a:pt x="1294" y="5019"/>
                  </a:cubicBezTo>
                  <a:cubicBezTo>
                    <a:pt x="1254" y="5019"/>
                    <a:pt x="1254" y="4969"/>
                    <a:pt x="1254" y="4969"/>
                  </a:cubicBezTo>
                  <a:cubicBezTo>
                    <a:pt x="1254" y="4871"/>
                    <a:pt x="1254" y="4871"/>
                    <a:pt x="1254" y="4871"/>
                  </a:cubicBezTo>
                  <a:cubicBezTo>
                    <a:pt x="1254" y="4871"/>
                    <a:pt x="1213" y="4822"/>
                    <a:pt x="1213" y="4773"/>
                  </a:cubicBezTo>
                  <a:cubicBezTo>
                    <a:pt x="1173" y="4723"/>
                    <a:pt x="1213" y="4723"/>
                    <a:pt x="1213" y="4674"/>
                  </a:cubicBezTo>
                  <a:cubicBezTo>
                    <a:pt x="1213" y="4674"/>
                    <a:pt x="1294" y="4625"/>
                    <a:pt x="1294" y="4625"/>
                  </a:cubicBezTo>
                  <a:cubicBezTo>
                    <a:pt x="1294" y="4576"/>
                    <a:pt x="1335" y="4576"/>
                    <a:pt x="1335" y="4576"/>
                  </a:cubicBezTo>
                  <a:cubicBezTo>
                    <a:pt x="1456" y="4527"/>
                    <a:pt x="1456" y="4527"/>
                    <a:pt x="1456" y="4527"/>
                  </a:cubicBezTo>
                  <a:cubicBezTo>
                    <a:pt x="1456" y="4527"/>
                    <a:pt x="1456" y="4379"/>
                    <a:pt x="1456" y="4330"/>
                  </a:cubicBezTo>
                  <a:cubicBezTo>
                    <a:pt x="1456" y="4330"/>
                    <a:pt x="1456" y="4330"/>
                    <a:pt x="1416" y="4330"/>
                  </a:cubicBezTo>
                  <a:cubicBezTo>
                    <a:pt x="1375" y="4330"/>
                    <a:pt x="1375" y="4281"/>
                    <a:pt x="1375" y="4281"/>
                  </a:cubicBezTo>
                  <a:cubicBezTo>
                    <a:pt x="1375" y="4281"/>
                    <a:pt x="1375" y="4182"/>
                    <a:pt x="1375" y="4182"/>
                  </a:cubicBezTo>
                  <a:cubicBezTo>
                    <a:pt x="1335" y="4084"/>
                    <a:pt x="1335" y="4084"/>
                    <a:pt x="1335" y="4084"/>
                  </a:cubicBezTo>
                  <a:cubicBezTo>
                    <a:pt x="1173" y="4133"/>
                    <a:pt x="1173" y="4133"/>
                    <a:pt x="1173" y="4133"/>
                  </a:cubicBezTo>
                  <a:cubicBezTo>
                    <a:pt x="1173" y="4133"/>
                    <a:pt x="1092" y="4182"/>
                    <a:pt x="1052" y="4182"/>
                  </a:cubicBezTo>
                  <a:cubicBezTo>
                    <a:pt x="1052" y="4182"/>
                    <a:pt x="971" y="4182"/>
                    <a:pt x="971" y="4182"/>
                  </a:cubicBezTo>
                  <a:cubicBezTo>
                    <a:pt x="930" y="4182"/>
                    <a:pt x="890" y="4133"/>
                    <a:pt x="890" y="4133"/>
                  </a:cubicBezTo>
                  <a:cubicBezTo>
                    <a:pt x="890" y="4133"/>
                    <a:pt x="728" y="4182"/>
                    <a:pt x="728" y="4182"/>
                  </a:cubicBezTo>
                  <a:cubicBezTo>
                    <a:pt x="728" y="4182"/>
                    <a:pt x="688" y="4182"/>
                    <a:pt x="688" y="4182"/>
                  </a:cubicBezTo>
                  <a:cubicBezTo>
                    <a:pt x="607" y="4182"/>
                    <a:pt x="607" y="4182"/>
                    <a:pt x="607" y="4182"/>
                  </a:cubicBezTo>
                  <a:cubicBezTo>
                    <a:pt x="526" y="4231"/>
                    <a:pt x="526" y="4231"/>
                    <a:pt x="526" y="4231"/>
                  </a:cubicBezTo>
                  <a:cubicBezTo>
                    <a:pt x="485" y="4281"/>
                    <a:pt x="485" y="4281"/>
                    <a:pt x="485" y="4281"/>
                  </a:cubicBezTo>
                  <a:cubicBezTo>
                    <a:pt x="485" y="4281"/>
                    <a:pt x="445" y="4330"/>
                    <a:pt x="445" y="4330"/>
                  </a:cubicBezTo>
                  <a:cubicBezTo>
                    <a:pt x="404" y="4330"/>
                    <a:pt x="364" y="4330"/>
                    <a:pt x="324" y="4330"/>
                  </a:cubicBezTo>
                  <a:cubicBezTo>
                    <a:pt x="324" y="4330"/>
                    <a:pt x="283" y="4379"/>
                    <a:pt x="283" y="4379"/>
                  </a:cubicBezTo>
                  <a:cubicBezTo>
                    <a:pt x="283" y="4379"/>
                    <a:pt x="202" y="4428"/>
                    <a:pt x="162" y="4477"/>
                  </a:cubicBezTo>
                  <a:cubicBezTo>
                    <a:pt x="121" y="4231"/>
                    <a:pt x="121" y="4231"/>
                    <a:pt x="121" y="4231"/>
                  </a:cubicBezTo>
                  <a:cubicBezTo>
                    <a:pt x="243" y="3789"/>
                    <a:pt x="243" y="3789"/>
                    <a:pt x="243" y="3789"/>
                  </a:cubicBezTo>
                  <a:cubicBezTo>
                    <a:pt x="445" y="3592"/>
                    <a:pt x="445" y="3592"/>
                    <a:pt x="445" y="3592"/>
                  </a:cubicBezTo>
                  <a:cubicBezTo>
                    <a:pt x="526" y="3198"/>
                    <a:pt x="526" y="3198"/>
                    <a:pt x="526" y="3198"/>
                  </a:cubicBezTo>
                  <a:cubicBezTo>
                    <a:pt x="404" y="3051"/>
                    <a:pt x="404" y="3051"/>
                    <a:pt x="404" y="3051"/>
                  </a:cubicBezTo>
                  <a:cubicBezTo>
                    <a:pt x="404" y="2903"/>
                    <a:pt x="769" y="2608"/>
                    <a:pt x="728" y="2460"/>
                  </a:cubicBezTo>
                  <a:cubicBezTo>
                    <a:pt x="688" y="2313"/>
                    <a:pt x="243" y="2755"/>
                    <a:pt x="202" y="2608"/>
                  </a:cubicBezTo>
                  <a:cubicBezTo>
                    <a:pt x="162" y="2313"/>
                    <a:pt x="283" y="2362"/>
                    <a:pt x="485" y="2116"/>
                  </a:cubicBezTo>
                  <a:cubicBezTo>
                    <a:pt x="243" y="2017"/>
                    <a:pt x="243" y="2017"/>
                    <a:pt x="243" y="2017"/>
                  </a:cubicBezTo>
                  <a:cubicBezTo>
                    <a:pt x="243" y="1722"/>
                    <a:pt x="243" y="1722"/>
                    <a:pt x="243" y="1722"/>
                  </a:cubicBezTo>
                  <a:cubicBezTo>
                    <a:pt x="81" y="1624"/>
                    <a:pt x="81" y="1624"/>
                    <a:pt x="81" y="1624"/>
                  </a:cubicBezTo>
                  <a:cubicBezTo>
                    <a:pt x="81" y="1624"/>
                    <a:pt x="121" y="1476"/>
                    <a:pt x="121" y="1328"/>
                  </a:cubicBezTo>
                  <a:cubicBezTo>
                    <a:pt x="121" y="1181"/>
                    <a:pt x="243" y="1132"/>
                    <a:pt x="243" y="1132"/>
                  </a:cubicBezTo>
                  <a:cubicBezTo>
                    <a:pt x="364" y="1082"/>
                    <a:pt x="445" y="984"/>
                    <a:pt x="566" y="886"/>
                  </a:cubicBezTo>
                  <a:cubicBezTo>
                    <a:pt x="688" y="689"/>
                    <a:pt x="809" y="787"/>
                    <a:pt x="890" y="738"/>
                  </a:cubicBezTo>
                  <a:cubicBezTo>
                    <a:pt x="1011" y="640"/>
                    <a:pt x="1011" y="738"/>
                    <a:pt x="1416" y="836"/>
                  </a:cubicBezTo>
                  <a:cubicBezTo>
                    <a:pt x="1497" y="787"/>
                    <a:pt x="1658" y="787"/>
                    <a:pt x="1699" y="689"/>
                  </a:cubicBezTo>
                  <a:cubicBezTo>
                    <a:pt x="1780" y="590"/>
                    <a:pt x="1901" y="640"/>
                    <a:pt x="1901" y="443"/>
                  </a:cubicBezTo>
                  <a:cubicBezTo>
                    <a:pt x="1942" y="148"/>
                    <a:pt x="2387" y="344"/>
                    <a:pt x="2387" y="246"/>
                  </a:cubicBezTo>
                  <a:cubicBezTo>
                    <a:pt x="2467" y="246"/>
                    <a:pt x="2548" y="0"/>
                    <a:pt x="2751" y="0"/>
                  </a:cubicBezTo>
                  <a:cubicBezTo>
                    <a:pt x="2912" y="49"/>
                    <a:pt x="2953" y="98"/>
                    <a:pt x="3074" y="148"/>
                  </a:cubicBezTo>
                  <a:cubicBezTo>
                    <a:pt x="3519" y="492"/>
                    <a:pt x="3317" y="689"/>
                    <a:pt x="3843" y="886"/>
                  </a:cubicBezTo>
                  <a:cubicBezTo>
                    <a:pt x="4288" y="1033"/>
                    <a:pt x="4813" y="1181"/>
                    <a:pt x="5258" y="1279"/>
                  </a:cubicBezTo>
                  <a:cubicBezTo>
                    <a:pt x="5663" y="1328"/>
                    <a:pt x="6067" y="1525"/>
                    <a:pt x="6472" y="1722"/>
                  </a:cubicBezTo>
                  <a:cubicBezTo>
                    <a:pt x="6472" y="1722"/>
                    <a:pt x="7969" y="2559"/>
                    <a:pt x="8009" y="2608"/>
                  </a:cubicBezTo>
                  <a:cubicBezTo>
                    <a:pt x="8049" y="2608"/>
                    <a:pt x="8899" y="2411"/>
                    <a:pt x="8939" y="2411"/>
                  </a:cubicBezTo>
                  <a:cubicBezTo>
                    <a:pt x="8980" y="2411"/>
                    <a:pt x="9263" y="2460"/>
                    <a:pt x="9465" y="2608"/>
                  </a:cubicBezTo>
                  <a:cubicBezTo>
                    <a:pt x="9587" y="2755"/>
                    <a:pt x="9991" y="3100"/>
                    <a:pt x="9991" y="3100"/>
                  </a:cubicBezTo>
                  <a:cubicBezTo>
                    <a:pt x="10072" y="3149"/>
                    <a:pt x="10557" y="3051"/>
                    <a:pt x="10557" y="3051"/>
                  </a:cubicBezTo>
                  <a:cubicBezTo>
                    <a:pt x="10881" y="3051"/>
                    <a:pt x="11164" y="3493"/>
                    <a:pt x="11326" y="3543"/>
                  </a:cubicBezTo>
                  <a:cubicBezTo>
                    <a:pt x="11528" y="3592"/>
                    <a:pt x="12013" y="3297"/>
                    <a:pt x="12216" y="3543"/>
                  </a:cubicBezTo>
                  <a:cubicBezTo>
                    <a:pt x="12216" y="3543"/>
                    <a:pt x="12620" y="3592"/>
                    <a:pt x="12661" y="3838"/>
                  </a:cubicBezTo>
                  <a:cubicBezTo>
                    <a:pt x="12742" y="4084"/>
                    <a:pt x="12903" y="4477"/>
                    <a:pt x="12903" y="4477"/>
                  </a:cubicBezTo>
                  <a:cubicBezTo>
                    <a:pt x="13429" y="4723"/>
                    <a:pt x="13429" y="4723"/>
                    <a:pt x="13429" y="4723"/>
                  </a:cubicBezTo>
                  <a:cubicBezTo>
                    <a:pt x="13429" y="4723"/>
                    <a:pt x="13712" y="5019"/>
                    <a:pt x="13753" y="5117"/>
                  </a:cubicBezTo>
                  <a:cubicBezTo>
                    <a:pt x="13793" y="5166"/>
                    <a:pt x="14400" y="5412"/>
                    <a:pt x="14400" y="5412"/>
                  </a:cubicBezTo>
                  <a:cubicBezTo>
                    <a:pt x="14804" y="5855"/>
                    <a:pt x="14804" y="5855"/>
                    <a:pt x="14804" y="5855"/>
                  </a:cubicBezTo>
                  <a:cubicBezTo>
                    <a:pt x="15411" y="5855"/>
                    <a:pt x="15411" y="5855"/>
                    <a:pt x="15411" y="5855"/>
                  </a:cubicBezTo>
                  <a:cubicBezTo>
                    <a:pt x="15816" y="5954"/>
                    <a:pt x="15816" y="5954"/>
                    <a:pt x="15816" y="5954"/>
                  </a:cubicBezTo>
                  <a:cubicBezTo>
                    <a:pt x="16018" y="5658"/>
                    <a:pt x="16018" y="5658"/>
                    <a:pt x="16018" y="5658"/>
                  </a:cubicBezTo>
                  <a:cubicBezTo>
                    <a:pt x="16018" y="5658"/>
                    <a:pt x="17029" y="6249"/>
                    <a:pt x="17070" y="6249"/>
                  </a:cubicBezTo>
                  <a:cubicBezTo>
                    <a:pt x="17110" y="6249"/>
                    <a:pt x="17110" y="6396"/>
                    <a:pt x="17151" y="6544"/>
                  </a:cubicBezTo>
                  <a:cubicBezTo>
                    <a:pt x="17151" y="6593"/>
                    <a:pt x="17151" y="6593"/>
                    <a:pt x="17151" y="6593"/>
                  </a:cubicBezTo>
                  <a:cubicBezTo>
                    <a:pt x="17110" y="6593"/>
                    <a:pt x="17151" y="6593"/>
                    <a:pt x="17151" y="6593"/>
                  </a:cubicBezTo>
                  <a:cubicBezTo>
                    <a:pt x="17151" y="6593"/>
                    <a:pt x="17151" y="6593"/>
                    <a:pt x="17151" y="6593"/>
                  </a:cubicBezTo>
                  <a:cubicBezTo>
                    <a:pt x="17151" y="6692"/>
                    <a:pt x="17151" y="6692"/>
                    <a:pt x="17151" y="6692"/>
                  </a:cubicBezTo>
                  <a:cubicBezTo>
                    <a:pt x="17151" y="6741"/>
                    <a:pt x="17151" y="6741"/>
                    <a:pt x="17151" y="6741"/>
                  </a:cubicBezTo>
                  <a:cubicBezTo>
                    <a:pt x="17110" y="6741"/>
                    <a:pt x="17110" y="6741"/>
                    <a:pt x="17110" y="6741"/>
                  </a:cubicBezTo>
                  <a:cubicBezTo>
                    <a:pt x="17110" y="6741"/>
                    <a:pt x="17110" y="6741"/>
                    <a:pt x="17110" y="6741"/>
                  </a:cubicBezTo>
                  <a:cubicBezTo>
                    <a:pt x="17151" y="6790"/>
                    <a:pt x="17151" y="6790"/>
                    <a:pt x="17151" y="6790"/>
                  </a:cubicBezTo>
                  <a:cubicBezTo>
                    <a:pt x="17151" y="6790"/>
                    <a:pt x="17151" y="6790"/>
                    <a:pt x="17151" y="6790"/>
                  </a:cubicBezTo>
                  <a:cubicBezTo>
                    <a:pt x="17151" y="6790"/>
                    <a:pt x="17151" y="6790"/>
                    <a:pt x="17151" y="6839"/>
                  </a:cubicBezTo>
                  <a:cubicBezTo>
                    <a:pt x="17151" y="6839"/>
                    <a:pt x="17151" y="6839"/>
                    <a:pt x="17151" y="6839"/>
                  </a:cubicBezTo>
                  <a:cubicBezTo>
                    <a:pt x="17151" y="6839"/>
                    <a:pt x="17151" y="6839"/>
                    <a:pt x="17151" y="6888"/>
                  </a:cubicBezTo>
                  <a:cubicBezTo>
                    <a:pt x="17151" y="6888"/>
                    <a:pt x="17151" y="6888"/>
                    <a:pt x="17151" y="6888"/>
                  </a:cubicBezTo>
                  <a:cubicBezTo>
                    <a:pt x="17191" y="6888"/>
                    <a:pt x="17191" y="6888"/>
                    <a:pt x="17191" y="6888"/>
                  </a:cubicBezTo>
                  <a:cubicBezTo>
                    <a:pt x="17191" y="6888"/>
                    <a:pt x="17191" y="6888"/>
                    <a:pt x="17191" y="6888"/>
                  </a:cubicBezTo>
                  <a:cubicBezTo>
                    <a:pt x="17191" y="6888"/>
                    <a:pt x="17231" y="6938"/>
                    <a:pt x="17231" y="6938"/>
                  </a:cubicBezTo>
                  <a:cubicBezTo>
                    <a:pt x="17231" y="6938"/>
                    <a:pt x="17231" y="6938"/>
                    <a:pt x="17272" y="6938"/>
                  </a:cubicBezTo>
                  <a:cubicBezTo>
                    <a:pt x="17272" y="6938"/>
                    <a:pt x="17272" y="6938"/>
                    <a:pt x="17312" y="6938"/>
                  </a:cubicBezTo>
                  <a:cubicBezTo>
                    <a:pt x="17312" y="6938"/>
                    <a:pt x="17312" y="6938"/>
                    <a:pt x="17312" y="6938"/>
                  </a:cubicBezTo>
                  <a:cubicBezTo>
                    <a:pt x="17312" y="6938"/>
                    <a:pt x="17353" y="6938"/>
                    <a:pt x="17353" y="6888"/>
                  </a:cubicBezTo>
                  <a:cubicBezTo>
                    <a:pt x="17879" y="7036"/>
                    <a:pt x="17879" y="7036"/>
                    <a:pt x="17879" y="7036"/>
                  </a:cubicBezTo>
                  <a:cubicBezTo>
                    <a:pt x="18000" y="7085"/>
                    <a:pt x="18000" y="7184"/>
                    <a:pt x="18121" y="7282"/>
                  </a:cubicBezTo>
                  <a:cubicBezTo>
                    <a:pt x="18445" y="7134"/>
                    <a:pt x="18445" y="7134"/>
                    <a:pt x="18445" y="7134"/>
                  </a:cubicBezTo>
                  <a:cubicBezTo>
                    <a:pt x="18849" y="7479"/>
                    <a:pt x="18849" y="7479"/>
                    <a:pt x="18849" y="7479"/>
                  </a:cubicBezTo>
                  <a:cubicBezTo>
                    <a:pt x="19213" y="7331"/>
                    <a:pt x="19213" y="7331"/>
                    <a:pt x="19213" y="7331"/>
                  </a:cubicBezTo>
                  <a:cubicBezTo>
                    <a:pt x="19578" y="7331"/>
                    <a:pt x="19578" y="7331"/>
                    <a:pt x="19578" y="7331"/>
                  </a:cubicBezTo>
                  <a:cubicBezTo>
                    <a:pt x="19578" y="7233"/>
                    <a:pt x="20427" y="7331"/>
                    <a:pt x="20063" y="7823"/>
                  </a:cubicBezTo>
                  <a:close/>
                  <a:moveTo>
                    <a:pt x="20467" y="13826"/>
                  </a:moveTo>
                  <a:cubicBezTo>
                    <a:pt x="20467" y="13826"/>
                    <a:pt x="20467" y="13826"/>
                    <a:pt x="20467" y="13826"/>
                  </a:cubicBezTo>
                  <a:cubicBezTo>
                    <a:pt x="20467" y="14121"/>
                    <a:pt x="20872" y="14023"/>
                    <a:pt x="21074" y="14220"/>
                  </a:cubicBezTo>
                  <a:cubicBezTo>
                    <a:pt x="21155" y="14318"/>
                    <a:pt x="21074" y="14564"/>
                    <a:pt x="21196" y="14613"/>
                  </a:cubicBezTo>
                  <a:cubicBezTo>
                    <a:pt x="21479" y="14908"/>
                    <a:pt x="21600" y="14367"/>
                    <a:pt x="21357" y="13826"/>
                  </a:cubicBezTo>
                  <a:cubicBezTo>
                    <a:pt x="21276" y="13728"/>
                    <a:pt x="21155" y="13728"/>
                    <a:pt x="21034" y="13728"/>
                  </a:cubicBezTo>
                  <a:cubicBezTo>
                    <a:pt x="20831" y="13728"/>
                    <a:pt x="20427" y="13580"/>
                    <a:pt x="20467" y="13826"/>
                  </a:cubicBezTo>
                  <a:close/>
                  <a:moveTo>
                    <a:pt x="18121" y="14761"/>
                  </a:moveTo>
                  <a:cubicBezTo>
                    <a:pt x="18121" y="14761"/>
                    <a:pt x="18121" y="14761"/>
                    <a:pt x="18121" y="14761"/>
                  </a:cubicBezTo>
                  <a:cubicBezTo>
                    <a:pt x="18283" y="14810"/>
                    <a:pt x="18445" y="14613"/>
                    <a:pt x="18607" y="14712"/>
                  </a:cubicBezTo>
                  <a:cubicBezTo>
                    <a:pt x="18688" y="14810"/>
                    <a:pt x="18647" y="15007"/>
                    <a:pt x="18688" y="15154"/>
                  </a:cubicBezTo>
                  <a:cubicBezTo>
                    <a:pt x="18445" y="15450"/>
                    <a:pt x="19092" y="15400"/>
                    <a:pt x="19133" y="15400"/>
                  </a:cubicBezTo>
                  <a:cubicBezTo>
                    <a:pt x="19133" y="15499"/>
                    <a:pt x="19213" y="15745"/>
                    <a:pt x="19335" y="15646"/>
                  </a:cubicBezTo>
                  <a:cubicBezTo>
                    <a:pt x="19982" y="14712"/>
                    <a:pt x="19982" y="14712"/>
                    <a:pt x="19982" y="14712"/>
                  </a:cubicBezTo>
                  <a:cubicBezTo>
                    <a:pt x="19982" y="14613"/>
                    <a:pt x="19942" y="14515"/>
                    <a:pt x="19861" y="14515"/>
                  </a:cubicBezTo>
                  <a:cubicBezTo>
                    <a:pt x="19699" y="14416"/>
                    <a:pt x="19497" y="14613"/>
                    <a:pt x="19375" y="14515"/>
                  </a:cubicBezTo>
                  <a:cubicBezTo>
                    <a:pt x="19254" y="14416"/>
                    <a:pt x="19497" y="14023"/>
                    <a:pt x="19335" y="13875"/>
                  </a:cubicBezTo>
                  <a:cubicBezTo>
                    <a:pt x="19011" y="13580"/>
                    <a:pt x="18890" y="13924"/>
                    <a:pt x="18647" y="14170"/>
                  </a:cubicBezTo>
                  <a:cubicBezTo>
                    <a:pt x="18485" y="14318"/>
                    <a:pt x="18243" y="14367"/>
                    <a:pt x="18081" y="14564"/>
                  </a:cubicBezTo>
                  <a:cubicBezTo>
                    <a:pt x="18040" y="14613"/>
                    <a:pt x="18081" y="14761"/>
                    <a:pt x="18121" y="14761"/>
                  </a:cubicBezTo>
                  <a:close/>
                  <a:moveTo>
                    <a:pt x="15816" y="16188"/>
                  </a:moveTo>
                  <a:cubicBezTo>
                    <a:pt x="15816" y="16188"/>
                    <a:pt x="15816" y="16188"/>
                    <a:pt x="15816" y="16188"/>
                  </a:cubicBezTo>
                  <a:cubicBezTo>
                    <a:pt x="15654" y="16335"/>
                    <a:pt x="15978" y="16581"/>
                    <a:pt x="16058" y="16581"/>
                  </a:cubicBezTo>
                  <a:cubicBezTo>
                    <a:pt x="16139" y="16581"/>
                    <a:pt x="16625" y="16188"/>
                    <a:pt x="16625" y="16040"/>
                  </a:cubicBezTo>
                  <a:cubicBezTo>
                    <a:pt x="16584" y="15843"/>
                    <a:pt x="16382" y="15794"/>
                    <a:pt x="16261" y="15794"/>
                  </a:cubicBezTo>
                  <a:cubicBezTo>
                    <a:pt x="16099" y="15843"/>
                    <a:pt x="15937" y="16040"/>
                    <a:pt x="15816" y="16188"/>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2" name="Shape 2265">
              <a:extLst>
                <a:ext uri="{FF2B5EF4-FFF2-40B4-BE49-F238E27FC236}">
                  <a16:creationId xmlns:a16="http://schemas.microsoft.com/office/drawing/2014/main" id="{0FB202EF-3D01-F6F2-A130-95FBB6442EF0}"/>
                </a:ext>
              </a:extLst>
            </p:cNvPr>
            <p:cNvSpPr/>
            <p:nvPr/>
          </p:nvSpPr>
          <p:spPr>
            <a:xfrm>
              <a:off x="5424303" y="6711103"/>
              <a:ext cx="1682171" cy="1518770"/>
            </a:xfrm>
            <a:custGeom>
              <a:avLst/>
              <a:gdLst/>
              <a:ahLst/>
              <a:cxnLst>
                <a:cxn ang="0">
                  <a:pos x="wd2" y="hd2"/>
                </a:cxn>
                <a:cxn ang="5400000">
                  <a:pos x="wd2" y="hd2"/>
                </a:cxn>
                <a:cxn ang="10800000">
                  <a:pos x="wd2" y="hd2"/>
                </a:cxn>
                <a:cxn ang="16200000">
                  <a:pos x="wd2" y="hd2"/>
                </a:cxn>
              </a:cxnLst>
              <a:rect l="0" t="0" r="r" b="b"/>
              <a:pathLst>
                <a:path w="21600" h="21600" extrusionOk="0">
                  <a:moveTo>
                    <a:pt x="11753" y="1819"/>
                  </a:moveTo>
                  <a:cubicBezTo>
                    <a:pt x="12018" y="1705"/>
                    <a:pt x="12018" y="1705"/>
                    <a:pt x="12018" y="1705"/>
                  </a:cubicBezTo>
                  <a:cubicBezTo>
                    <a:pt x="12018" y="1705"/>
                    <a:pt x="12335" y="1592"/>
                    <a:pt x="12388" y="1592"/>
                  </a:cubicBezTo>
                  <a:cubicBezTo>
                    <a:pt x="12441" y="1592"/>
                    <a:pt x="12706" y="1535"/>
                    <a:pt x="12759" y="1478"/>
                  </a:cubicBezTo>
                  <a:cubicBezTo>
                    <a:pt x="12812" y="1478"/>
                    <a:pt x="12971" y="1364"/>
                    <a:pt x="13024" y="1307"/>
                  </a:cubicBezTo>
                  <a:cubicBezTo>
                    <a:pt x="13076" y="1307"/>
                    <a:pt x="13182" y="1307"/>
                    <a:pt x="13288" y="1194"/>
                  </a:cubicBezTo>
                  <a:cubicBezTo>
                    <a:pt x="13341" y="1137"/>
                    <a:pt x="13394" y="966"/>
                    <a:pt x="13394" y="909"/>
                  </a:cubicBezTo>
                  <a:cubicBezTo>
                    <a:pt x="13394" y="853"/>
                    <a:pt x="13341" y="853"/>
                    <a:pt x="13288" y="682"/>
                  </a:cubicBezTo>
                  <a:cubicBezTo>
                    <a:pt x="13182" y="512"/>
                    <a:pt x="13076" y="398"/>
                    <a:pt x="13076" y="341"/>
                  </a:cubicBezTo>
                  <a:cubicBezTo>
                    <a:pt x="13024" y="227"/>
                    <a:pt x="13024" y="114"/>
                    <a:pt x="13076" y="114"/>
                  </a:cubicBezTo>
                  <a:cubicBezTo>
                    <a:pt x="13129" y="57"/>
                    <a:pt x="13288" y="0"/>
                    <a:pt x="13394" y="0"/>
                  </a:cubicBezTo>
                  <a:cubicBezTo>
                    <a:pt x="13500" y="57"/>
                    <a:pt x="13765" y="114"/>
                    <a:pt x="13818" y="114"/>
                  </a:cubicBezTo>
                  <a:cubicBezTo>
                    <a:pt x="13871" y="114"/>
                    <a:pt x="14135" y="284"/>
                    <a:pt x="14135" y="284"/>
                  </a:cubicBezTo>
                  <a:cubicBezTo>
                    <a:pt x="14135" y="284"/>
                    <a:pt x="14241" y="568"/>
                    <a:pt x="14241" y="625"/>
                  </a:cubicBezTo>
                  <a:cubicBezTo>
                    <a:pt x="14241" y="682"/>
                    <a:pt x="14506" y="1023"/>
                    <a:pt x="14400" y="1023"/>
                  </a:cubicBezTo>
                  <a:cubicBezTo>
                    <a:pt x="14347" y="1023"/>
                    <a:pt x="14135" y="1080"/>
                    <a:pt x="14135" y="1080"/>
                  </a:cubicBezTo>
                  <a:cubicBezTo>
                    <a:pt x="14029" y="1251"/>
                    <a:pt x="14029" y="1251"/>
                    <a:pt x="14029" y="1251"/>
                  </a:cubicBezTo>
                  <a:cubicBezTo>
                    <a:pt x="14029" y="1251"/>
                    <a:pt x="13924" y="1478"/>
                    <a:pt x="13924" y="1535"/>
                  </a:cubicBezTo>
                  <a:cubicBezTo>
                    <a:pt x="13924" y="1592"/>
                    <a:pt x="13871" y="1876"/>
                    <a:pt x="13871" y="1876"/>
                  </a:cubicBezTo>
                  <a:cubicBezTo>
                    <a:pt x="14135" y="2501"/>
                    <a:pt x="14135" y="2501"/>
                    <a:pt x="14135" y="2501"/>
                  </a:cubicBezTo>
                  <a:cubicBezTo>
                    <a:pt x="13871" y="2899"/>
                    <a:pt x="13871" y="2899"/>
                    <a:pt x="13871" y="2899"/>
                  </a:cubicBezTo>
                  <a:cubicBezTo>
                    <a:pt x="13659" y="3126"/>
                    <a:pt x="13659" y="3126"/>
                    <a:pt x="13659" y="3126"/>
                  </a:cubicBezTo>
                  <a:cubicBezTo>
                    <a:pt x="13659" y="3126"/>
                    <a:pt x="13341" y="3126"/>
                    <a:pt x="13341" y="3069"/>
                  </a:cubicBezTo>
                  <a:cubicBezTo>
                    <a:pt x="13341" y="3013"/>
                    <a:pt x="13129" y="2899"/>
                    <a:pt x="13129" y="2899"/>
                  </a:cubicBezTo>
                  <a:cubicBezTo>
                    <a:pt x="13129" y="2899"/>
                    <a:pt x="12812" y="2956"/>
                    <a:pt x="12759" y="3013"/>
                  </a:cubicBezTo>
                  <a:cubicBezTo>
                    <a:pt x="12706" y="3013"/>
                    <a:pt x="11965" y="3069"/>
                    <a:pt x="11965" y="3069"/>
                  </a:cubicBezTo>
                  <a:cubicBezTo>
                    <a:pt x="11965" y="3069"/>
                    <a:pt x="11806" y="3013"/>
                    <a:pt x="11753" y="3013"/>
                  </a:cubicBezTo>
                  <a:cubicBezTo>
                    <a:pt x="11700" y="3013"/>
                    <a:pt x="11435" y="3013"/>
                    <a:pt x="11435" y="3013"/>
                  </a:cubicBezTo>
                  <a:cubicBezTo>
                    <a:pt x="11382" y="2785"/>
                    <a:pt x="11382" y="2785"/>
                    <a:pt x="11382" y="2785"/>
                  </a:cubicBezTo>
                  <a:cubicBezTo>
                    <a:pt x="11171" y="2842"/>
                    <a:pt x="11171" y="2842"/>
                    <a:pt x="11171" y="2842"/>
                  </a:cubicBezTo>
                  <a:cubicBezTo>
                    <a:pt x="11118" y="3069"/>
                    <a:pt x="11118" y="3069"/>
                    <a:pt x="11118" y="3069"/>
                  </a:cubicBezTo>
                  <a:cubicBezTo>
                    <a:pt x="10853" y="3240"/>
                    <a:pt x="10853" y="3240"/>
                    <a:pt x="10853" y="3240"/>
                  </a:cubicBezTo>
                  <a:cubicBezTo>
                    <a:pt x="10588" y="3411"/>
                    <a:pt x="10588" y="3411"/>
                    <a:pt x="10588" y="3411"/>
                  </a:cubicBezTo>
                  <a:cubicBezTo>
                    <a:pt x="10059" y="3411"/>
                    <a:pt x="10059" y="3411"/>
                    <a:pt x="10059" y="3411"/>
                  </a:cubicBezTo>
                  <a:cubicBezTo>
                    <a:pt x="9741" y="3411"/>
                    <a:pt x="9741" y="3411"/>
                    <a:pt x="9741" y="3411"/>
                  </a:cubicBezTo>
                  <a:cubicBezTo>
                    <a:pt x="9741" y="3524"/>
                    <a:pt x="9741" y="3524"/>
                    <a:pt x="9741" y="3524"/>
                  </a:cubicBezTo>
                  <a:cubicBezTo>
                    <a:pt x="9582" y="3865"/>
                    <a:pt x="9582" y="3865"/>
                    <a:pt x="9582" y="3865"/>
                  </a:cubicBezTo>
                  <a:cubicBezTo>
                    <a:pt x="9371" y="4036"/>
                    <a:pt x="9371" y="4036"/>
                    <a:pt x="9371" y="4036"/>
                  </a:cubicBezTo>
                  <a:cubicBezTo>
                    <a:pt x="9371" y="4036"/>
                    <a:pt x="9053" y="4149"/>
                    <a:pt x="9000" y="4206"/>
                  </a:cubicBezTo>
                  <a:cubicBezTo>
                    <a:pt x="9000" y="4206"/>
                    <a:pt x="8788" y="4149"/>
                    <a:pt x="8788" y="4149"/>
                  </a:cubicBezTo>
                  <a:cubicBezTo>
                    <a:pt x="8524" y="4320"/>
                    <a:pt x="8524" y="4320"/>
                    <a:pt x="8524" y="4320"/>
                  </a:cubicBezTo>
                  <a:cubicBezTo>
                    <a:pt x="8471" y="4491"/>
                    <a:pt x="8471" y="4491"/>
                    <a:pt x="8471" y="4491"/>
                  </a:cubicBezTo>
                  <a:cubicBezTo>
                    <a:pt x="8576" y="4604"/>
                    <a:pt x="8576" y="4604"/>
                    <a:pt x="8576" y="4604"/>
                  </a:cubicBezTo>
                  <a:cubicBezTo>
                    <a:pt x="8788" y="4718"/>
                    <a:pt x="8788" y="4718"/>
                    <a:pt x="8788" y="4718"/>
                  </a:cubicBezTo>
                  <a:cubicBezTo>
                    <a:pt x="8788" y="4718"/>
                    <a:pt x="8947" y="4775"/>
                    <a:pt x="8947" y="4832"/>
                  </a:cubicBezTo>
                  <a:cubicBezTo>
                    <a:pt x="8947" y="4832"/>
                    <a:pt x="8894" y="4945"/>
                    <a:pt x="8894" y="4945"/>
                  </a:cubicBezTo>
                  <a:cubicBezTo>
                    <a:pt x="8894" y="5229"/>
                    <a:pt x="8894" y="5229"/>
                    <a:pt x="8894" y="5229"/>
                  </a:cubicBezTo>
                  <a:cubicBezTo>
                    <a:pt x="8894" y="5229"/>
                    <a:pt x="9053" y="5286"/>
                    <a:pt x="9106" y="5286"/>
                  </a:cubicBezTo>
                  <a:cubicBezTo>
                    <a:pt x="9106" y="5286"/>
                    <a:pt x="9265" y="5173"/>
                    <a:pt x="9265" y="5173"/>
                  </a:cubicBezTo>
                  <a:cubicBezTo>
                    <a:pt x="9265" y="5116"/>
                    <a:pt x="9318" y="5059"/>
                    <a:pt x="9318" y="5059"/>
                  </a:cubicBezTo>
                  <a:cubicBezTo>
                    <a:pt x="9424" y="5173"/>
                    <a:pt x="9424" y="5173"/>
                    <a:pt x="9424" y="5173"/>
                  </a:cubicBezTo>
                  <a:cubicBezTo>
                    <a:pt x="9424" y="5173"/>
                    <a:pt x="9476" y="5286"/>
                    <a:pt x="9529" y="5286"/>
                  </a:cubicBezTo>
                  <a:cubicBezTo>
                    <a:pt x="9529" y="5286"/>
                    <a:pt x="9688" y="5286"/>
                    <a:pt x="9688" y="5286"/>
                  </a:cubicBezTo>
                  <a:cubicBezTo>
                    <a:pt x="9900" y="5400"/>
                    <a:pt x="9900" y="5400"/>
                    <a:pt x="9900" y="5400"/>
                  </a:cubicBezTo>
                  <a:cubicBezTo>
                    <a:pt x="10165" y="5627"/>
                    <a:pt x="10165" y="5627"/>
                    <a:pt x="10165" y="5627"/>
                  </a:cubicBezTo>
                  <a:cubicBezTo>
                    <a:pt x="10165" y="5627"/>
                    <a:pt x="10376" y="5741"/>
                    <a:pt x="10324" y="5798"/>
                  </a:cubicBezTo>
                  <a:cubicBezTo>
                    <a:pt x="10218" y="5855"/>
                    <a:pt x="10112" y="5912"/>
                    <a:pt x="10059" y="5912"/>
                  </a:cubicBezTo>
                  <a:cubicBezTo>
                    <a:pt x="10059" y="5912"/>
                    <a:pt x="9953" y="5855"/>
                    <a:pt x="9953" y="5798"/>
                  </a:cubicBezTo>
                  <a:cubicBezTo>
                    <a:pt x="9953" y="5684"/>
                    <a:pt x="9900" y="5627"/>
                    <a:pt x="9847" y="5627"/>
                  </a:cubicBezTo>
                  <a:cubicBezTo>
                    <a:pt x="9794" y="5627"/>
                    <a:pt x="9688" y="5514"/>
                    <a:pt x="9688" y="5514"/>
                  </a:cubicBezTo>
                  <a:cubicBezTo>
                    <a:pt x="9635" y="5514"/>
                    <a:pt x="9529" y="5514"/>
                    <a:pt x="9476" y="5571"/>
                  </a:cubicBezTo>
                  <a:cubicBezTo>
                    <a:pt x="9424" y="5571"/>
                    <a:pt x="9318" y="5571"/>
                    <a:pt x="9318" y="5514"/>
                  </a:cubicBezTo>
                  <a:cubicBezTo>
                    <a:pt x="9265" y="5514"/>
                    <a:pt x="9212" y="5343"/>
                    <a:pt x="9212" y="5343"/>
                  </a:cubicBezTo>
                  <a:cubicBezTo>
                    <a:pt x="8947" y="5286"/>
                    <a:pt x="8947" y="5286"/>
                    <a:pt x="8947" y="5286"/>
                  </a:cubicBezTo>
                  <a:cubicBezTo>
                    <a:pt x="8947" y="5286"/>
                    <a:pt x="8894" y="5343"/>
                    <a:pt x="8894" y="5400"/>
                  </a:cubicBezTo>
                  <a:cubicBezTo>
                    <a:pt x="8894" y="5400"/>
                    <a:pt x="8788" y="5514"/>
                    <a:pt x="8788" y="5514"/>
                  </a:cubicBezTo>
                  <a:cubicBezTo>
                    <a:pt x="8735" y="5571"/>
                    <a:pt x="8735" y="5571"/>
                    <a:pt x="8735" y="5571"/>
                  </a:cubicBezTo>
                  <a:cubicBezTo>
                    <a:pt x="8735" y="5684"/>
                    <a:pt x="8735" y="5684"/>
                    <a:pt x="8735" y="5684"/>
                  </a:cubicBezTo>
                  <a:cubicBezTo>
                    <a:pt x="8841" y="5798"/>
                    <a:pt x="8841" y="5798"/>
                    <a:pt x="8841" y="5798"/>
                  </a:cubicBezTo>
                  <a:cubicBezTo>
                    <a:pt x="9053" y="5968"/>
                    <a:pt x="9053" y="5968"/>
                    <a:pt x="9053" y="5968"/>
                  </a:cubicBezTo>
                  <a:cubicBezTo>
                    <a:pt x="9053" y="5968"/>
                    <a:pt x="9318" y="6025"/>
                    <a:pt x="9318" y="6025"/>
                  </a:cubicBezTo>
                  <a:cubicBezTo>
                    <a:pt x="9371" y="6025"/>
                    <a:pt x="9476" y="6196"/>
                    <a:pt x="9476" y="6196"/>
                  </a:cubicBezTo>
                  <a:cubicBezTo>
                    <a:pt x="9476" y="6366"/>
                    <a:pt x="9476" y="6366"/>
                    <a:pt x="9476" y="6366"/>
                  </a:cubicBezTo>
                  <a:cubicBezTo>
                    <a:pt x="9424" y="6537"/>
                    <a:pt x="9424" y="6537"/>
                    <a:pt x="9424" y="6537"/>
                  </a:cubicBezTo>
                  <a:cubicBezTo>
                    <a:pt x="9424" y="6537"/>
                    <a:pt x="9424" y="6651"/>
                    <a:pt x="9318" y="6594"/>
                  </a:cubicBezTo>
                  <a:cubicBezTo>
                    <a:pt x="9212" y="6537"/>
                    <a:pt x="9159" y="6480"/>
                    <a:pt x="9159" y="6480"/>
                  </a:cubicBezTo>
                  <a:cubicBezTo>
                    <a:pt x="9000" y="6423"/>
                    <a:pt x="9000" y="6423"/>
                    <a:pt x="9000" y="6423"/>
                  </a:cubicBezTo>
                  <a:cubicBezTo>
                    <a:pt x="8947" y="6196"/>
                    <a:pt x="8947" y="6196"/>
                    <a:pt x="8947" y="6196"/>
                  </a:cubicBezTo>
                  <a:cubicBezTo>
                    <a:pt x="8947" y="6196"/>
                    <a:pt x="8841" y="6082"/>
                    <a:pt x="8841" y="6082"/>
                  </a:cubicBezTo>
                  <a:cubicBezTo>
                    <a:pt x="8788" y="6082"/>
                    <a:pt x="8524" y="5912"/>
                    <a:pt x="8524" y="5912"/>
                  </a:cubicBezTo>
                  <a:cubicBezTo>
                    <a:pt x="8206" y="5912"/>
                    <a:pt x="8206" y="5912"/>
                    <a:pt x="8206" y="5912"/>
                  </a:cubicBezTo>
                  <a:cubicBezTo>
                    <a:pt x="7994" y="5912"/>
                    <a:pt x="7994" y="5912"/>
                    <a:pt x="7994" y="5912"/>
                  </a:cubicBezTo>
                  <a:cubicBezTo>
                    <a:pt x="7941" y="6082"/>
                    <a:pt x="7941" y="6082"/>
                    <a:pt x="7941" y="6082"/>
                  </a:cubicBezTo>
                  <a:cubicBezTo>
                    <a:pt x="7941" y="6082"/>
                    <a:pt x="7941" y="6196"/>
                    <a:pt x="7994" y="6196"/>
                  </a:cubicBezTo>
                  <a:cubicBezTo>
                    <a:pt x="7994" y="6253"/>
                    <a:pt x="8153" y="6366"/>
                    <a:pt x="8153" y="6366"/>
                  </a:cubicBezTo>
                  <a:cubicBezTo>
                    <a:pt x="8153" y="6366"/>
                    <a:pt x="8259" y="6366"/>
                    <a:pt x="8259" y="6423"/>
                  </a:cubicBezTo>
                  <a:cubicBezTo>
                    <a:pt x="8312" y="6480"/>
                    <a:pt x="8418" y="6594"/>
                    <a:pt x="8418" y="6594"/>
                  </a:cubicBezTo>
                  <a:cubicBezTo>
                    <a:pt x="8418" y="6594"/>
                    <a:pt x="8471" y="6594"/>
                    <a:pt x="8524" y="6594"/>
                  </a:cubicBezTo>
                  <a:cubicBezTo>
                    <a:pt x="8629" y="6594"/>
                    <a:pt x="8735" y="6651"/>
                    <a:pt x="8735" y="6651"/>
                  </a:cubicBezTo>
                  <a:cubicBezTo>
                    <a:pt x="8894" y="6707"/>
                    <a:pt x="8894" y="6707"/>
                    <a:pt x="8894" y="6707"/>
                  </a:cubicBezTo>
                  <a:cubicBezTo>
                    <a:pt x="8947" y="6764"/>
                    <a:pt x="8947" y="6764"/>
                    <a:pt x="8947" y="6764"/>
                  </a:cubicBezTo>
                  <a:cubicBezTo>
                    <a:pt x="8947" y="6764"/>
                    <a:pt x="8788" y="6821"/>
                    <a:pt x="8735" y="6821"/>
                  </a:cubicBezTo>
                  <a:cubicBezTo>
                    <a:pt x="8682" y="6878"/>
                    <a:pt x="8524" y="6878"/>
                    <a:pt x="8524" y="6878"/>
                  </a:cubicBezTo>
                  <a:cubicBezTo>
                    <a:pt x="8524" y="6878"/>
                    <a:pt x="8418" y="6764"/>
                    <a:pt x="8365" y="6764"/>
                  </a:cubicBezTo>
                  <a:cubicBezTo>
                    <a:pt x="8365" y="6764"/>
                    <a:pt x="8206" y="6821"/>
                    <a:pt x="8206" y="6821"/>
                  </a:cubicBezTo>
                  <a:cubicBezTo>
                    <a:pt x="8206" y="6821"/>
                    <a:pt x="8100" y="6935"/>
                    <a:pt x="8047" y="6821"/>
                  </a:cubicBezTo>
                  <a:cubicBezTo>
                    <a:pt x="7994" y="6707"/>
                    <a:pt x="7941" y="6594"/>
                    <a:pt x="7941" y="6594"/>
                  </a:cubicBezTo>
                  <a:cubicBezTo>
                    <a:pt x="7941" y="6480"/>
                    <a:pt x="7941" y="6480"/>
                    <a:pt x="7941" y="6480"/>
                  </a:cubicBezTo>
                  <a:cubicBezTo>
                    <a:pt x="7941" y="6309"/>
                    <a:pt x="7941" y="6309"/>
                    <a:pt x="7941" y="6309"/>
                  </a:cubicBezTo>
                  <a:cubicBezTo>
                    <a:pt x="7888" y="6139"/>
                    <a:pt x="7888" y="6139"/>
                    <a:pt x="7888" y="6139"/>
                  </a:cubicBezTo>
                  <a:cubicBezTo>
                    <a:pt x="7676" y="6025"/>
                    <a:pt x="7676" y="6025"/>
                    <a:pt x="7676" y="6025"/>
                  </a:cubicBezTo>
                  <a:cubicBezTo>
                    <a:pt x="7412" y="6025"/>
                    <a:pt x="7412" y="6025"/>
                    <a:pt x="7412" y="6025"/>
                  </a:cubicBezTo>
                  <a:cubicBezTo>
                    <a:pt x="7147" y="5855"/>
                    <a:pt x="7147" y="5855"/>
                    <a:pt x="7147" y="5855"/>
                  </a:cubicBezTo>
                  <a:cubicBezTo>
                    <a:pt x="6829" y="5741"/>
                    <a:pt x="6829" y="5741"/>
                    <a:pt x="6829" y="5741"/>
                  </a:cubicBezTo>
                  <a:cubicBezTo>
                    <a:pt x="6724" y="5514"/>
                    <a:pt x="6724" y="5514"/>
                    <a:pt x="6724" y="5514"/>
                  </a:cubicBezTo>
                  <a:cubicBezTo>
                    <a:pt x="6935" y="5343"/>
                    <a:pt x="6935" y="5343"/>
                    <a:pt x="6935" y="5343"/>
                  </a:cubicBezTo>
                  <a:cubicBezTo>
                    <a:pt x="6882" y="5173"/>
                    <a:pt x="6882" y="5173"/>
                    <a:pt x="6882" y="5173"/>
                  </a:cubicBezTo>
                  <a:cubicBezTo>
                    <a:pt x="6776" y="5059"/>
                    <a:pt x="6776" y="5059"/>
                    <a:pt x="6776" y="5059"/>
                  </a:cubicBezTo>
                  <a:cubicBezTo>
                    <a:pt x="6512" y="5229"/>
                    <a:pt x="6512" y="5229"/>
                    <a:pt x="6512" y="5229"/>
                  </a:cubicBezTo>
                  <a:cubicBezTo>
                    <a:pt x="6512" y="5400"/>
                    <a:pt x="6512" y="5400"/>
                    <a:pt x="6512" y="5400"/>
                  </a:cubicBezTo>
                  <a:cubicBezTo>
                    <a:pt x="6247" y="5514"/>
                    <a:pt x="6247" y="5514"/>
                    <a:pt x="6247" y="5514"/>
                  </a:cubicBezTo>
                  <a:cubicBezTo>
                    <a:pt x="6141" y="5741"/>
                    <a:pt x="6141" y="5741"/>
                    <a:pt x="6141" y="5741"/>
                  </a:cubicBezTo>
                  <a:cubicBezTo>
                    <a:pt x="6300" y="5912"/>
                    <a:pt x="6300" y="5912"/>
                    <a:pt x="6300" y="5912"/>
                  </a:cubicBezTo>
                  <a:cubicBezTo>
                    <a:pt x="6300" y="6196"/>
                    <a:pt x="6300" y="6196"/>
                    <a:pt x="6300" y="6196"/>
                  </a:cubicBezTo>
                  <a:cubicBezTo>
                    <a:pt x="6300" y="6196"/>
                    <a:pt x="6247" y="6480"/>
                    <a:pt x="6300" y="6537"/>
                  </a:cubicBezTo>
                  <a:cubicBezTo>
                    <a:pt x="6300" y="6537"/>
                    <a:pt x="6247" y="6707"/>
                    <a:pt x="6247" y="6821"/>
                  </a:cubicBezTo>
                  <a:cubicBezTo>
                    <a:pt x="6300" y="6878"/>
                    <a:pt x="6300" y="6935"/>
                    <a:pt x="6406" y="6992"/>
                  </a:cubicBezTo>
                  <a:cubicBezTo>
                    <a:pt x="6459" y="7048"/>
                    <a:pt x="6459" y="7048"/>
                    <a:pt x="6565" y="7105"/>
                  </a:cubicBezTo>
                  <a:cubicBezTo>
                    <a:pt x="6671" y="7162"/>
                    <a:pt x="6724" y="7219"/>
                    <a:pt x="6724" y="7219"/>
                  </a:cubicBezTo>
                  <a:cubicBezTo>
                    <a:pt x="6829" y="7446"/>
                    <a:pt x="6829" y="7446"/>
                    <a:pt x="6829" y="7446"/>
                  </a:cubicBezTo>
                  <a:cubicBezTo>
                    <a:pt x="6829" y="7446"/>
                    <a:pt x="6882" y="7503"/>
                    <a:pt x="6935" y="7503"/>
                  </a:cubicBezTo>
                  <a:cubicBezTo>
                    <a:pt x="6988" y="7560"/>
                    <a:pt x="7147" y="7617"/>
                    <a:pt x="7147" y="7674"/>
                  </a:cubicBezTo>
                  <a:cubicBezTo>
                    <a:pt x="7147" y="7787"/>
                    <a:pt x="7200" y="7901"/>
                    <a:pt x="7200" y="7901"/>
                  </a:cubicBezTo>
                  <a:cubicBezTo>
                    <a:pt x="7200" y="7901"/>
                    <a:pt x="7253" y="8015"/>
                    <a:pt x="7253" y="8015"/>
                  </a:cubicBezTo>
                  <a:cubicBezTo>
                    <a:pt x="7306" y="8072"/>
                    <a:pt x="7359" y="8015"/>
                    <a:pt x="7359" y="8072"/>
                  </a:cubicBezTo>
                  <a:cubicBezTo>
                    <a:pt x="7412" y="8128"/>
                    <a:pt x="7359" y="8185"/>
                    <a:pt x="7465" y="8242"/>
                  </a:cubicBezTo>
                  <a:cubicBezTo>
                    <a:pt x="7518" y="8356"/>
                    <a:pt x="7624" y="8413"/>
                    <a:pt x="7624" y="8413"/>
                  </a:cubicBezTo>
                  <a:cubicBezTo>
                    <a:pt x="7676" y="8413"/>
                    <a:pt x="7782" y="8469"/>
                    <a:pt x="7782" y="8469"/>
                  </a:cubicBezTo>
                  <a:cubicBezTo>
                    <a:pt x="8100" y="8697"/>
                    <a:pt x="8100" y="8697"/>
                    <a:pt x="8100" y="8697"/>
                  </a:cubicBezTo>
                  <a:cubicBezTo>
                    <a:pt x="8312" y="8981"/>
                    <a:pt x="8312" y="8981"/>
                    <a:pt x="8312" y="8981"/>
                  </a:cubicBezTo>
                  <a:cubicBezTo>
                    <a:pt x="8471" y="9152"/>
                    <a:pt x="8471" y="9152"/>
                    <a:pt x="8471" y="9152"/>
                  </a:cubicBezTo>
                  <a:cubicBezTo>
                    <a:pt x="8418" y="9379"/>
                    <a:pt x="8418" y="9379"/>
                    <a:pt x="8418" y="9379"/>
                  </a:cubicBezTo>
                  <a:cubicBezTo>
                    <a:pt x="8365" y="9493"/>
                    <a:pt x="8365" y="9493"/>
                    <a:pt x="8365" y="9493"/>
                  </a:cubicBezTo>
                  <a:cubicBezTo>
                    <a:pt x="8365" y="9493"/>
                    <a:pt x="8259" y="9549"/>
                    <a:pt x="8206" y="9549"/>
                  </a:cubicBezTo>
                  <a:cubicBezTo>
                    <a:pt x="8206" y="9549"/>
                    <a:pt x="8100" y="9606"/>
                    <a:pt x="8100" y="9606"/>
                  </a:cubicBezTo>
                  <a:cubicBezTo>
                    <a:pt x="8100" y="9606"/>
                    <a:pt x="8047" y="9549"/>
                    <a:pt x="8047" y="9549"/>
                  </a:cubicBezTo>
                  <a:cubicBezTo>
                    <a:pt x="8100" y="9493"/>
                    <a:pt x="8259" y="9436"/>
                    <a:pt x="8259" y="9436"/>
                  </a:cubicBezTo>
                  <a:cubicBezTo>
                    <a:pt x="8259" y="9436"/>
                    <a:pt x="8259" y="9265"/>
                    <a:pt x="8206" y="9265"/>
                  </a:cubicBezTo>
                  <a:cubicBezTo>
                    <a:pt x="8153" y="9208"/>
                    <a:pt x="7994" y="9095"/>
                    <a:pt x="7994" y="9095"/>
                  </a:cubicBezTo>
                  <a:cubicBezTo>
                    <a:pt x="7888" y="8981"/>
                    <a:pt x="7888" y="8981"/>
                    <a:pt x="7888" y="8981"/>
                  </a:cubicBezTo>
                  <a:cubicBezTo>
                    <a:pt x="7729" y="8981"/>
                    <a:pt x="7729" y="8981"/>
                    <a:pt x="7729" y="8981"/>
                  </a:cubicBezTo>
                  <a:cubicBezTo>
                    <a:pt x="7729" y="8981"/>
                    <a:pt x="7624" y="8981"/>
                    <a:pt x="7624" y="9038"/>
                  </a:cubicBezTo>
                  <a:cubicBezTo>
                    <a:pt x="7571" y="9095"/>
                    <a:pt x="7412" y="9208"/>
                    <a:pt x="7412" y="9208"/>
                  </a:cubicBezTo>
                  <a:cubicBezTo>
                    <a:pt x="7306" y="9436"/>
                    <a:pt x="7306" y="9436"/>
                    <a:pt x="7306" y="9436"/>
                  </a:cubicBezTo>
                  <a:cubicBezTo>
                    <a:pt x="7571" y="9493"/>
                    <a:pt x="7571" y="9493"/>
                    <a:pt x="7571" y="9493"/>
                  </a:cubicBezTo>
                  <a:cubicBezTo>
                    <a:pt x="7571" y="9493"/>
                    <a:pt x="7676" y="9606"/>
                    <a:pt x="7676" y="9606"/>
                  </a:cubicBezTo>
                  <a:cubicBezTo>
                    <a:pt x="7676" y="9663"/>
                    <a:pt x="7782" y="9777"/>
                    <a:pt x="7782" y="9777"/>
                  </a:cubicBezTo>
                  <a:cubicBezTo>
                    <a:pt x="7888" y="9834"/>
                    <a:pt x="7888" y="9834"/>
                    <a:pt x="7888" y="9834"/>
                  </a:cubicBezTo>
                  <a:cubicBezTo>
                    <a:pt x="7888" y="9947"/>
                    <a:pt x="7888" y="9947"/>
                    <a:pt x="7888" y="9947"/>
                  </a:cubicBezTo>
                  <a:cubicBezTo>
                    <a:pt x="7835" y="10118"/>
                    <a:pt x="7835" y="10118"/>
                    <a:pt x="7835" y="10118"/>
                  </a:cubicBezTo>
                  <a:cubicBezTo>
                    <a:pt x="7676" y="10345"/>
                    <a:pt x="7676" y="10345"/>
                    <a:pt x="7676" y="10345"/>
                  </a:cubicBezTo>
                  <a:cubicBezTo>
                    <a:pt x="7676" y="10345"/>
                    <a:pt x="7571" y="10402"/>
                    <a:pt x="7571" y="10402"/>
                  </a:cubicBezTo>
                  <a:cubicBezTo>
                    <a:pt x="7518" y="10402"/>
                    <a:pt x="7412" y="10516"/>
                    <a:pt x="7412" y="10516"/>
                  </a:cubicBezTo>
                  <a:cubicBezTo>
                    <a:pt x="7412" y="10516"/>
                    <a:pt x="7359" y="10516"/>
                    <a:pt x="7359" y="10516"/>
                  </a:cubicBezTo>
                  <a:cubicBezTo>
                    <a:pt x="7306" y="10516"/>
                    <a:pt x="7200" y="10459"/>
                    <a:pt x="7147" y="10459"/>
                  </a:cubicBezTo>
                  <a:cubicBezTo>
                    <a:pt x="7147" y="10459"/>
                    <a:pt x="7041" y="10516"/>
                    <a:pt x="7041" y="10516"/>
                  </a:cubicBezTo>
                  <a:cubicBezTo>
                    <a:pt x="7041" y="10516"/>
                    <a:pt x="6882" y="10629"/>
                    <a:pt x="7094" y="10686"/>
                  </a:cubicBezTo>
                  <a:cubicBezTo>
                    <a:pt x="7306" y="10686"/>
                    <a:pt x="7359" y="10686"/>
                    <a:pt x="7412" y="10686"/>
                  </a:cubicBezTo>
                  <a:cubicBezTo>
                    <a:pt x="7412" y="10686"/>
                    <a:pt x="7624" y="10686"/>
                    <a:pt x="7624" y="10686"/>
                  </a:cubicBezTo>
                  <a:cubicBezTo>
                    <a:pt x="7624" y="10686"/>
                    <a:pt x="7676" y="10686"/>
                    <a:pt x="7729" y="10743"/>
                  </a:cubicBezTo>
                  <a:cubicBezTo>
                    <a:pt x="7835" y="10743"/>
                    <a:pt x="7888" y="10743"/>
                    <a:pt x="7941" y="10800"/>
                  </a:cubicBezTo>
                  <a:cubicBezTo>
                    <a:pt x="7994" y="10800"/>
                    <a:pt x="8047" y="10857"/>
                    <a:pt x="8047" y="10857"/>
                  </a:cubicBezTo>
                  <a:cubicBezTo>
                    <a:pt x="8047" y="10914"/>
                    <a:pt x="8047" y="10914"/>
                    <a:pt x="8100" y="10914"/>
                  </a:cubicBezTo>
                  <a:cubicBezTo>
                    <a:pt x="8153" y="10914"/>
                    <a:pt x="8206" y="10971"/>
                    <a:pt x="8206" y="10971"/>
                  </a:cubicBezTo>
                  <a:cubicBezTo>
                    <a:pt x="8259" y="10971"/>
                    <a:pt x="8259" y="10971"/>
                    <a:pt x="8259" y="10971"/>
                  </a:cubicBezTo>
                  <a:cubicBezTo>
                    <a:pt x="8259" y="10971"/>
                    <a:pt x="8312" y="10971"/>
                    <a:pt x="8365" y="10971"/>
                  </a:cubicBezTo>
                  <a:cubicBezTo>
                    <a:pt x="8418" y="10971"/>
                    <a:pt x="8418" y="10914"/>
                    <a:pt x="8471" y="10914"/>
                  </a:cubicBezTo>
                  <a:cubicBezTo>
                    <a:pt x="8524" y="10914"/>
                    <a:pt x="8682" y="10914"/>
                    <a:pt x="8682" y="10914"/>
                  </a:cubicBezTo>
                  <a:cubicBezTo>
                    <a:pt x="8788" y="11141"/>
                    <a:pt x="8788" y="11141"/>
                    <a:pt x="8788" y="11141"/>
                  </a:cubicBezTo>
                  <a:cubicBezTo>
                    <a:pt x="8788" y="11141"/>
                    <a:pt x="8788" y="11198"/>
                    <a:pt x="8841" y="11198"/>
                  </a:cubicBezTo>
                  <a:cubicBezTo>
                    <a:pt x="8841" y="11255"/>
                    <a:pt x="8947" y="11312"/>
                    <a:pt x="9000" y="11312"/>
                  </a:cubicBezTo>
                  <a:cubicBezTo>
                    <a:pt x="9053" y="11312"/>
                    <a:pt x="9476" y="11198"/>
                    <a:pt x="9476" y="11198"/>
                  </a:cubicBezTo>
                  <a:cubicBezTo>
                    <a:pt x="9265" y="11027"/>
                    <a:pt x="9265" y="11027"/>
                    <a:pt x="9265" y="11027"/>
                  </a:cubicBezTo>
                  <a:cubicBezTo>
                    <a:pt x="9265" y="11027"/>
                    <a:pt x="9159" y="10914"/>
                    <a:pt x="9106" y="10857"/>
                  </a:cubicBezTo>
                  <a:cubicBezTo>
                    <a:pt x="9106" y="10800"/>
                    <a:pt x="8841" y="10629"/>
                    <a:pt x="8841" y="10629"/>
                  </a:cubicBezTo>
                  <a:cubicBezTo>
                    <a:pt x="8576" y="10573"/>
                    <a:pt x="8576" y="10573"/>
                    <a:pt x="8576" y="10573"/>
                  </a:cubicBezTo>
                  <a:cubicBezTo>
                    <a:pt x="8259" y="10402"/>
                    <a:pt x="8259" y="10402"/>
                    <a:pt x="8259" y="10402"/>
                  </a:cubicBezTo>
                  <a:cubicBezTo>
                    <a:pt x="7941" y="10288"/>
                    <a:pt x="7941" y="10288"/>
                    <a:pt x="7941" y="10288"/>
                  </a:cubicBezTo>
                  <a:cubicBezTo>
                    <a:pt x="7941" y="10288"/>
                    <a:pt x="8047" y="10061"/>
                    <a:pt x="8100" y="10004"/>
                  </a:cubicBezTo>
                  <a:cubicBezTo>
                    <a:pt x="8100" y="9947"/>
                    <a:pt x="8100" y="9777"/>
                    <a:pt x="8153" y="9777"/>
                  </a:cubicBezTo>
                  <a:cubicBezTo>
                    <a:pt x="8206" y="9834"/>
                    <a:pt x="8312" y="9834"/>
                    <a:pt x="8365" y="9834"/>
                  </a:cubicBezTo>
                  <a:cubicBezTo>
                    <a:pt x="8418" y="9834"/>
                    <a:pt x="8524" y="9777"/>
                    <a:pt x="8576" y="9777"/>
                  </a:cubicBezTo>
                  <a:cubicBezTo>
                    <a:pt x="8629" y="9777"/>
                    <a:pt x="8735" y="9834"/>
                    <a:pt x="8735" y="9834"/>
                  </a:cubicBezTo>
                  <a:cubicBezTo>
                    <a:pt x="8735" y="9834"/>
                    <a:pt x="8788" y="9947"/>
                    <a:pt x="8788" y="10004"/>
                  </a:cubicBezTo>
                  <a:cubicBezTo>
                    <a:pt x="8841" y="10004"/>
                    <a:pt x="8841" y="10118"/>
                    <a:pt x="8894" y="10175"/>
                  </a:cubicBezTo>
                  <a:cubicBezTo>
                    <a:pt x="8947" y="10175"/>
                    <a:pt x="9212" y="10288"/>
                    <a:pt x="9212" y="10288"/>
                  </a:cubicBezTo>
                  <a:cubicBezTo>
                    <a:pt x="9212" y="10288"/>
                    <a:pt x="9529" y="10402"/>
                    <a:pt x="9529" y="10402"/>
                  </a:cubicBezTo>
                  <a:cubicBezTo>
                    <a:pt x="9582" y="10402"/>
                    <a:pt x="9688" y="10402"/>
                    <a:pt x="9688" y="10402"/>
                  </a:cubicBezTo>
                  <a:cubicBezTo>
                    <a:pt x="9847" y="10573"/>
                    <a:pt x="9847" y="10573"/>
                    <a:pt x="9847" y="10573"/>
                  </a:cubicBezTo>
                  <a:cubicBezTo>
                    <a:pt x="10165" y="10516"/>
                    <a:pt x="10165" y="10516"/>
                    <a:pt x="10165" y="10516"/>
                  </a:cubicBezTo>
                  <a:cubicBezTo>
                    <a:pt x="10482" y="10459"/>
                    <a:pt x="10482" y="10459"/>
                    <a:pt x="10482" y="10459"/>
                  </a:cubicBezTo>
                  <a:cubicBezTo>
                    <a:pt x="10535" y="10573"/>
                    <a:pt x="10535" y="10573"/>
                    <a:pt x="10535" y="10573"/>
                  </a:cubicBezTo>
                  <a:cubicBezTo>
                    <a:pt x="10535" y="10573"/>
                    <a:pt x="10694" y="10686"/>
                    <a:pt x="10694" y="10686"/>
                  </a:cubicBezTo>
                  <a:cubicBezTo>
                    <a:pt x="10694" y="10743"/>
                    <a:pt x="10800" y="10971"/>
                    <a:pt x="10800" y="10971"/>
                  </a:cubicBezTo>
                  <a:cubicBezTo>
                    <a:pt x="10800" y="10971"/>
                    <a:pt x="10800" y="11141"/>
                    <a:pt x="10800" y="11141"/>
                  </a:cubicBezTo>
                  <a:cubicBezTo>
                    <a:pt x="10800" y="11198"/>
                    <a:pt x="10906" y="11425"/>
                    <a:pt x="10906" y="11425"/>
                  </a:cubicBezTo>
                  <a:cubicBezTo>
                    <a:pt x="10959" y="11482"/>
                    <a:pt x="11171" y="11709"/>
                    <a:pt x="11171" y="11766"/>
                  </a:cubicBezTo>
                  <a:cubicBezTo>
                    <a:pt x="11171" y="11766"/>
                    <a:pt x="11276" y="11937"/>
                    <a:pt x="11329" y="11937"/>
                  </a:cubicBezTo>
                  <a:cubicBezTo>
                    <a:pt x="11329" y="11937"/>
                    <a:pt x="11382" y="11880"/>
                    <a:pt x="11382" y="11880"/>
                  </a:cubicBezTo>
                  <a:cubicBezTo>
                    <a:pt x="11435" y="11880"/>
                    <a:pt x="11594" y="11766"/>
                    <a:pt x="11594" y="11766"/>
                  </a:cubicBezTo>
                  <a:cubicBezTo>
                    <a:pt x="11594" y="11766"/>
                    <a:pt x="11753" y="11766"/>
                    <a:pt x="11753" y="11823"/>
                  </a:cubicBezTo>
                  <a:cubicBezTo>
                    <a:pt x="11753" y="11880"/>
                    <a:pt x="11965" y="12051"/>
                    <a:pt x="11965" y="12051"/>
                  </a:cubicBezTo>
                  <a:cubicBezTo>
                    <a:pt x="11965" y="12051"/>
                    <a:pt x="12018" y="12278"/>
                    <a:pt x="12018" y="12278"/>
                  </a:cubicBezTo>
                  <a:cubicBezTo>
                    <a:pt x="11965" y="12335"/>
                    <a:pt x="11806" y="12392"/>
                    <a:pt x="11806" y="12448"/>
                  </a:cubicBezTo>
                  <a:cubicBezTo>
                    <a:pt x="11753" y="12448"/>
                    <a:pt x="11594" y="12448"/>
                    <a:pt x="11594" y="12448"/>
                  </a:cubicBezTo>
                  <a:cubicBezTo>
                    <a:pt x="11541" y="12505"/>
                    <a:pt x="11329" y="12562"/>
                    <a:pt x="11329" y="12562"/>
                  </a:cubicBezTo>
                  <a:cubicBezTo>
                    <a:pt x="11329" y="12335"/>
                    <a:pt x="11329" y="12335"/>
                    <a:pt x="11329" y="12335"/>
                  </a:cubicBezTo>
                  <a:cubicBezTo>
                    <a:pt x="11329" y="12335"/>
                    <a:pt x="11329" y="12278"/>
                    <a:pt x="11276" y="12278"/>
                  </a:cubicBezTo>
                  <a:cubicBezTo>
                    <a:pt x="11276" y="12278"/>
                    <a:pt x="10959" y="12164"/>
                    <a:pt x="10959" y="12164"/>
                  </a:cubicBezTo>
                  <a:cubicBezTo>
                    <a:pt x="10906" y="11880"/>
                    <a:pt x="10906" y="11880"/>
                    <a:pt x="10906" y="11880"/>
                  </a:cubicBezTo>
                  <a:cubicBezTo>
                    <a:pt x="10747" y="11709"/>
                    <a:pt x="10747" y="11709"/>
                    <a:pt x="10747" y="11709"/>
                  </a:cubicBezTo>
                  <a:cubicBezTo>
                    <a:pt x="10588" y="11596"/>
                    <a:pt x="10588" y="11596"/>
                    <a:pt x="10588" y="11596"/>
                  </a:cubicBezTo>
                  <a:cubicBezTo>
                    <a:pt x="10482" y="11425"/>
                    <a:pt x="10482" y="11425"/>
                    <a:pt x="10482" y="11425"/>
                  </a:cubicBezTo>
                  <a:cubicBezTo>
                    <a:pt x="10271" y="11425"/>
                    <a:pt x="10271" y="11425"/>
                    <a:pt x="10271" y="11425"/>
                  </a:cubicBezTo>
                  <a:cubicBezTo>
                    <a:pt x="10271" y="11425"/>
                    <a:pt x="10165" y="11482"/>
                    <a:pt x="10165" y="11482"/>
                  </a:cubicBezTo>
                  <a:cubicBezTo>
                    <a:pt x="10112" y="11539"/>
                    <a:pt x="9900" y="11482"/>
                    <a:pt x="9900" y="11482"/>
                  </a:cubicBezTo>
                  <a:cubicBezTo>
                    <a:pt x="9741" y="11539"/>
                    <a:pt x="9741" y="11539"/>
                    <a:pt x="9741" y="11539"/>
                  </a:cubicBezTo>
                  <a:cubicBezTo>
                    <a:pt x="9741" y="11653"/>
                    <a:pt x="9741" y="11653"/>
                    <a:pt x="9741" y="11653"/>
                  </a:cubicBezTo>
                  <a:cubicBezTo>
                    <a:pt x="10006" y="11653"/>
                    <a:pt x="10006" y="11653"/>
                    <a:pt x="10006" y="11653"/>
                  </a:cubicBezTo>
                  <a:cubicBezTo>
                    <a:pt x="10218" y="11709"/>
                    <a:pt x="10218" y="11709"/>
                    <a:pt x="10218" y="11709"/>
                  </a:cubicBezTo>
                  <a:cubicBezTo>
                    <a:pt x="10535" y="11766"/>
                    <a:pt x="10535" y="11766"/>
                    <a:pt x="10535" y="11766"/>
                  </a:cubicBezTo>
                  <a:cubicBezTo>
                    <a:pt x="10535" y="11994"/>
                    <a:pt x="10535" y="11994"/>
                    <a:pt x="10535" y="11994"/>
                  </a:cubicBezTo>
                  <a:cubicBezTo>
                    <a:pt x="10535" y="11994"/>
                    <a:pt x="10588" y="12107"/>
                    <a:pt x="10588" y="12164"/>
                  </a:cubicBezTo>
                  <a:cubicBezTo>
                    <a:pt x="10588" y="12221"/>
                    <a:pt x="10694" y="12448"/>
                    <a:pt x="10694" y="12448"/>
                  </a:cubicBezTo>
                  <a:cubicBezTo>
                    <a:pt x="10800" y="12789"/>
                    <a:pt x="10800" y="12789"/>
                    <a:pt x="10800" y="12789"/>
                  </a:cubicBezTo>
                  <a:cubicBezTo>
                    <a:pt x="10906" y="13017"/>
                    <a:pt x="10906" y="13017"/>
                    <a:pt x="10906" y="13017"/>
                  </a:cubicBezTo>
                  <a:cubicBezTo>
                    <a:pt x="11012" y="13074"/>
                    <a:pt x="11012" y="13074"/>
                    <a:pt x="11012" y="13074"/>
                  </a:cubicBezTo>
                  <a:cubicBezTo>
                    <a:pt x="11012" y="13301"/>
                    <a:pt x="11012" y="13301"/>
                    <a:pt x="11012" y="13301"/>
                  </a:cubicBezTo>
                  <a:cubicBezTo>
                    <a:pt x="11118" y="13358"/>
                    <a:pt x="11118" y="13358"/>
                    <a:pt x="11118" y="13358"/>
                  </a:cubicBezTo>
                  <a:cubicBezTo>
                    <a:pt x="11118" y="13358"/>
                    <a:pt x="11065" y="13415"/>
                    <a:pt x="11065" y="13472"/>
                  </a:cubicBezTo>
                  <a:cubicBezTo>
                    <a:pt x="11065" y="13472"/>
                    <a:pt x="10959" y="13642"/>
                    <a:pt x="10959" y="13642"/>
                  </a:cubicBezTo>
                  <a:cubicBezTo>
                    <a:pt x="10959" y="13642"/>
                    <a:pt x="10853" y="13642"/>
                    <a:pt x="10800" y="13642"/>
                  </a:cubicBezTo>
                  <a:cubicBezTo>
                    <a:pt x="10800" y="13585"/>
                    <a:pt x="10747" y="13472"/>
                    <a:pt x="10694" y="13472"/>
                  </a:cubicBezTo>
                  <a:cubicBezTo>
                    <a:pt x="10588" y="13415"/>
                    <a:pt x="10588" y="13301"/>
                    <a:pt x="10535" y="13301"/>
                  </a:cubicBezTo>
                  <a:cubicBezTo>
                    <a:pt x="10482" y="13301"/>
                    <a:pt x="10324" y="13301"/>
                    <a:pt x="10324" y="13301"/>
                  </a:cubicBezTo>
                  <a:cubicBezTo>
                    <a:pt x="10324" y="13301"/>
                    <a:pt x="10218" y="13131"/>
                    <a:pt x="10165" y="13074"/>
                  </a:cubicBezTo>
                  <a:cubicBezTo>
                    <a:pt x="10165" y="13074"/>
                    <a:pt x="10112" y="13017"/>
                    <a:pt x="10059" y="12960"/>
                  </a:cubicBezTo>
                  <a:cubicBezTo>
                    <a:pt x="10006" y="12903"/>
                    <a:pt x="9900" y="12733"/>
                    <a:pt x="9900" y="12789"/>
                  </a:cubicBezTo>
                  <a:cubicBezTo>
                    <a:pt x="9900" y="12903"/>
                    <a:pt x="9953" y="13017"/>
                    <a:pt x="9900" y="13017"/>
                  </a:cubicBezTo>
                  <a:cubicBezTo>
                    <a:pt x="9794" y="13017"/>
                    <a:pt x="9741" y="13017"/>
                    <a:pt x="9741" y="13017"/>
                  </a:cubicBezTo>
                  <a:cubicBezTo>
                    <a:pt x="9741" y="13017"/>
                    <a:pt x="9635" y="13131"/>
                    <a:pt x="9582" y="13187"/>
                  </a:cubicBezTo>
                  <a:cubicBezTo>
                    <a:pt x="9582" y="13187"/>
                    <a:pt x="9635" y="13187"/>
                    <a:pt x="9529" y="13244"/>
                  </a:cubicBezTo>
                  <a:cubicBezTo>
                    <a:pt x="9476" y="13244"/>
                    <a:pt x="9371" y="13244"/>
                    <a:pt x="9371" y="13244"/>
                  </a:cubicBezTo>
                  <a:cubicBezTo>
                    <a:pt x="9371" y="13187"/>
                    <a:pt x="9371" y="13187"/>
                    <a:pt x="9371" y="13131"/>
                  </a:cubicBezTo>
                  <a:cubicBezTo>
                    <a:pt x="9424" y="13074"/>
                    <a:pt x="9741" y="12903"/>
                    <a:pt x="9741" y="12903"/>
                  </a:cubicBezTo>
                  <a:cubicBezTo>
                    <a:pt x="9741" y="12846"/>
                    <a:pt x="9635" y="12676"/>
                    <a:pt x="9635" y="12676"/>
                  </a:cubicBezTo>
                  <a:cubicBezTo>
                    <a:pt x="9582" y="12733"/>
                    <a:pt x="9582" y="12733"/>
                    <a:pt x="9582" y="12733"/>
                  </a:cubicBezTo>
                  <a:cubicBezTo>
                    <a:pt x="9424" y="12846"/>
                    <a:pt x="9424" y="12846"/>
                    <a:pt x="9424" y="12846"/>
                  </a:cubicBezTo>
                  <a:cubicBezTo>
                    <a:pt x="9212" y="13017"/>
                    <a:pt x="9212" y="13017"/>
                    <a:pt x="9212" y="13017"/>
                  </a:cubicBezTo>
                  <a:cubicBezTo>
                    <a:pt x="9053" y="13074"/>
                    <a:pt x="9053" y="13074"/>
                    <a:pt x="9053" y="13074"/>
                  </a:cubicBezTo>
                  <a:cubicBezTo>
                    <a:pt x="8894" y="13187"/>
                    <a:pt x="8894" y="13187"/>
                    <a:pt x="8894" y="13187"/>
                  </a:cubicBezTo>
                  <a:cubicBezTo>
                    <a:pt x="8682" y="13244"/>
                    <a:pt x="8682" y="13244"/>
                    <a:pt x="8682" y="13244"/>
                  </a:cubicBezTo>
                  <a:cubicBezTo>
                    <a:pt x="8471" y="13244"/>
                    <a:pt x="8471" y="13244"/>
                    <a:pt x="8471" y="13244"/>
                  </a:cubicBezTo>
                  <a:cubicBezTo>
                    <a:pt x="8365" y="13187"/>
                    <a:pt x="8365" y="13187"/>
                    <a:pt x="8365" y="13187"/>
                  </a:cubicBezTo>
                  <a:cubicBezTo>
                    <a:pt x="8259" y="13017"/>
                    <a:pt x="8259" y="13017"/>
                    <a:pt x="8259" y="13017"/>
                  </a:cubicBezTo>
                  <a:cubicBezTo>
                    <a:pt x="8206" y="13017"/>
                    <a:pt x="8206" y="13017"/>
                    <a:pt x="8206" y="13017"/>
                  </a:cubicBezTo>
                  <a:cubicBezTo>
                    <a:pt x="8206" y="13017"/>
                    <a:pt x="8153" y="12903"/>
                    <a:pt x="8206" y="12846"/>
                  </a:cubicBezTo>
                  <a:cubicBezTo>
                    <a:pt x="8206" y="12846"/>
                    <a:pt x="8259" y="12789"/>
                    <a:pt x="8365" y="12789"/>
                  </a:cubicBezTo>
                  <a:cubicBezTo>
                    <a:pt x="8471" y="12789"/>
                    <a:pt x="8524" y="12789"/>
                    <a:pt x="8576" y="12789"/>
                  </a:cubicBezTo>
                  <a:cubicBezTo>
                    <a:pt x="8629" y="12789"/>
                    <a:pt x="8682" y="12733"/>
                    <a:pt x="8682" y="12733"/>
                  </a:cubicBezTo>
                  <a:cubicBezTo>
                    <a:pt x="8682" y="12733"/>
                    <a:pt x="8735" y="12733"/>
                    <a:pt x="8735" y="12676"/>
                  </a:cubicBezTo>
                  <a:cubicBezTo>
                    <a:pt x="8735" y="12619"/>
                    <a:pt x="8576" y="12392"/>
                    <a:pt x="8576" y="12392"/>
                  </a:cubicBezTo>
                  <a:cubicBezTo>
                    <a:pt x="8576" y="12392"/>
                    <a:pt x="8365" y="12392"/>
                    <a:pt x="8312" y="12448"/>
                  </a:cubicBezTo>
                  <a:cubicBezTo>
                    <a:pt x="8206" y="12448"/>
                    <a:pt x="8206" y="12562"/>
                    <a:pt x="8100" y="12505"/>
                  </a:cubicBezTo>
                  <a:cubicBezTo>
                    <a:pt x="7994" y="12448"/>
                    <a:pt x="7729" y="12335"/>
                    <a:pt x="7729" y="12335"/>
                  </a:cubicBezTo>
                  <a:cubicBezTo>
                    <a:pt x="7518" y="12107"/>
                    <a:pt x="7518" y="12107"/>
                    <a:pt x="7518" y="12107"/>
                  </a:cubicBezTo>
                  <a:cubicBezTo>
                    <a:pt x="7412" y="12221"/>
                    <a:pt x="7412" y="12221"/>
                    <a:pt x="7412" y="12221"/>
                  </a:cubicBezTo>
                  <a:cubicBezTo>
                    <a:pt x="7253" y="12335"/>
                    <a:pt x="7253" y="12335"/>
                    <a:pt x="7253" y="12335"/>
                  </a:cubicBezTo>
                  <a:cubicBezTo>
                    <a:pt x="7253" y="12335"/>
                    <a:pt x="7253" y="12448"/>
                    <a:pt x="7147" y="12335"/>
                  </a:cubicBezTo>
                  <a:cubicBezTo>
                    <a:pt x="7041" y="12164"/>
                    <a:pt x="7041" y="12051"/>
                    <a:pt x="7041" y="12051"/>
                  </a:cubicBezTo>
                  <a:cubicBezTo>
                    <a:pt x="6882" y="12051"/>
                    <a:pt x="6882" y="12051"/>
                    <a:pt x="6882" y="12051"/>
                  </a:cubicBezTo>
                  <a:cubicBezTo>
                    <a:pt x="6829" y="12221"/>
                    <a:pt x="6829" y="12221"/>
                    <a:pt x="6829" y="12221"/>
                  </a:cubicBezTo>
                  <a:cubicBezTo>
                    <a:pt x="6829" y="12221"/>
                    <a:pt x="6724" y="12392"/>
                    <a:pt x="6724" y="12392"/>
                  </a:cubicBezTo>
                  <a:cubicBezTo>
                    <a:pt x="6671" y="12392"/>
                    <a:pt x="6512" y="12392"/>
                    <a:pt x="6459" y="12448"/>
                  </a:cubicBezTo>
                  <a:cubicBezTo>
                    <a:pt x="6459" y="12448"/>
                    <a:pt x="6194" y="12448"/>
                    <a:pt x="6194" y="12448"/>
                  </a:cubicBezTo>
                  <a:cubicBezTo>
                    <a:pt x="5824" y="12335"/>
                    <a:pt x="5824" y="12335"/>
                    <a:pt x="5824" y="12335"/>
                  </a:cubicBezTo>
                  <a:cubicBezTo>
                    <a:pt x="5824" y="12335"/>
                    <a:pt x="5718" y="12392"/>
                    <a:pt x="5718" y="12392"/>
                  </a:cubicBezTo>
                  <a:cubicBezTo>
                    <a:pt x="5665" y="12448"/>
                    <a:pt x="5135" y="12562"/>
                    <a:pt x="5135" y="12562"/>
                  </a:cubicBezTo>
                  <a:cubicBezTo>
                    <a:pt x="4871" y="12733"/>
                    <a:pt x="4871" y="12733"/>
                    <a:pt x="4871" y="12733"/>
                  </a:cubicBezTo>
                  <a:cubicBezTo>
                    <a:pt x="4712" y="12733"/>
                    <a:pt x="4712" y="12733"/>
                    <a:pt x="4712" y="12733"/>
                  </a:cubicBezTo>
                  <a:cubicBezTo>
                    <a:pt x="4553" y="12505"/>
                    <a:pt x="4553" y="12505"/>
                    <a:pt x="4553" y="12505"/>
                  </a:cubicBezTo>
                  <a:cubicBezTo>
                    <a:pt x="4447" y="12335"/>
                    <a:pt x="4447" y="12335"/>
                    <a:pt x="4447" y="12335"/>
                  </a:cubicBezTo>
                  <a:cubicBezTo>
                    <a:pt x="4447" y="12562"/>
                    <a:pt x="4447" y="12562"/>
                    <a:pt x="4447" y="12562"/>
                  </a:cubicBezTo>
                  <a:cubicBezTo>
                    <a:pt x="4394" y="12676"/>
                    <a:pt x="4394" y="12676"/>
                    <a:pt x="4394" y="12676"/>
                  </a:cubicBezTo>
                  <a:cubicBezTo>
                    <a:pt x="4394" y="12676"/>
                    <a:pt x="4182" y="12903"/>
                    <a:pt x="4129" y="12960"/>
                  </a:cubicBezTo>
                  <a:cubicBezTo>
                    <a:pt x="4129" y="12960"/>
                    <a:pt x="3865" y="12676"/>
                    <a:pt x="3865" y="12676"/>
                  </a:cubicBezTo>
                  <a:cubicBezTo>
                    <a:pt x="3812" y="12278"/>
                    <a:pt x="3812" y="12278"/>
                    <a:pt x="3812" y="12278"/>
                  </a:cubicBezTo>
                  <a:cubicBezTo>
                    <a:pt x="3547" y="11994"/>
                    <a:pt x="3547" y="11994"/>
                    <a:pt x="3547" y="11994"/>
                  </a:cubicBezTo>
                  <a:cubicBezTo>
                    <a:pt x="3388" y="12051"/>
                    <a:pt x="3388" y="12051"/>
                    <a:pt x="3388" y="12051"/>
                  </a:cubicBezTo>
                  <a:cubicBezTo>
                    <a:pt x="3335" y="11766"/>
                    <a:pt x="3335" y="11766"/>
                    <a:pt x="3335" y="11766"/>
                  </a:cubicBezTo>
                  <a:cubicBezTo>
                    <a:pt x="3229" y="11596"/>
                    <a:pt x="3229" y="11596"/>
                    <a:pt x="3229" y="11596"/>
                  </a:cubicBezTo>
                  <a:cubicBezTo>
                    <a:pt x="3018" y="11596"/>
                    <a:pt x="3018" y="11596"/>
                    <a:pt x="3018" y="11596"/>
                  </a:cubicBezTo>
                  <a:cubicBezTo>
                    <a:pt x="2965" y="11709"/>
                    <a:pt x="2965" y="11709"/>
                    <a:pt x="2965" y="11709"/>
                  </a:cubicBezTo>
                  <a:cubicBezTo>
                    <a:pt x="2912" y="11880"/>
                    <a:pt x="2912" y="11880"/>
                    <a:pt x="2912" y="11880"/>
                  </a:cubicBezTo>
                  <a:cubicBezTo>
                    <a:pt x="2912" y="11880"/>
                    <a:pt x="2965" y="12051"/>
                    <a:pt x="2965" y="12051"/>
                  </a:cubicBezTo>
                  <a:cubicBezTo>
                    <a:pt x="2965" y="12107"/>
                    <a:pt x="2912" y="12164"/>
                    <a:pt x="2859" y="12164"/>
                  </a:cubicBezTo>
                  <a:cubicBezTo>
                    <a:pt x="2859" y="12164"/>
                    <a:pt x="2594" y="12278"/>
                    <a:pt x="2594" y="12278"/>
                  </a:cubicBezTo>
                  <a:cubicBezTo>
                    <a:pt x="2594" y="12278"/>
                    <a:pt x="2541" y="12107"/>
                    <a:pt x="2541" y="12051"/>
                  </a:cubicBezTo>
                  <a:cubicBezTo>
                    <a:pt x="2541" y="11937"/>
                    <a:pt x="2541" y="11766"/>
                    <a:pt x="2541" y="11766"/>
                  </a:cubicBezTo>
                  <a:cubicBezTo>
                    <a:pt x="2541" y="11766"/>
                    <a:pt x="2753" y="11653"/>
                    <a:pt x="2753" y="11653"/>
                  </a:cubicBezTo>
                  <a:cubicBezTo>
                    <a:pt x="2753" y="11596"/>
                    <a:pt x="2912" y="11312"/>
                    <a:pt x="2912" y="11312"/>
                  </a:cubicBezTo>
                  <a:cubicBezTo>
                    <a:pt x="2912" y="11141"/>
                    <a:pt x="2912" y="11141"/>
                    <a:pt x="2912" y="11141"/>
                  </a:cubicBezTo>
                  <a:cubicBezTo>
                    <a:pt x="2912" y="11141"/>
                    <a:pt x="3124" y="11084"/>
                    <a:pt x="3176" y="11084"/>
                  </a:cubicBezTo>
                  <a:cubicBezTo>
                    <a:pt x="3229" y="11084"/>
                    <a:pt x="3335" y="11084"/>
                    <a:pt x="3388" y="11141"/>
                  </a:cubicBezTo>
                  <a:cubicBezTo>
                    <a:pt x="3494" y="11198"/>
                    <a:pt x="3441" y="11198"/>
                    <a:pt x="3547" y="11198"/>
                  </a:cubicBezTo>
                  <a:cubicBezTo>
                    <a:pt x="3653" y="11141"/>
                    <a:pt x="3759" y="11084"/>
                    <a:pt x="3759" y="11027"/>
                  </a:cubicBezTo>
                  <a:cubicBezTo>
                    <a:pt x="3759" y="10971"/>
                    <a:pt x="3812" y="10743"/>
                    <a:pt x="3653" y="10743"/>
                  </a:cubicBezTo>
                  <a:cubicBezTo>
                    <a:pt x="3547" y="10743"/>
                    <a:pt x="3388" y="10857"/>
                    <a:pt x="3335" y="10857"/>
                  </a:cubicBezTo>
                  <a:cubicBezTo>
                    <a:pt x="3282" y="10914"/>
                    <a:pt x="3229" y="10857"/>
                    <a:pt x="3124" y="10800"/>
                  </a:cubicBezTo>
                  <a:cubicBezTo>
                    <a:pt x="3071" y="10800"/>
                    <a:pt x="2965" y="10743"/>
                    <a:pt x="2965" y="10743"/>
                  </a:cubicBezTo>
                  <a:cubicBezTo>
                    <a:pt x="2806" y="10914"/>
                    <a:pt x="2806" y="10914"/>
                    <a:pt x="2806" y="10914"/>
                  </a:cubicBezTo>
                  <a:cubicBezTo>
                    <a:pt x="2806" y="10914"/>
                    <a:pt x="2912" y="11141"/>
                    <a:pt x="2700" y="10971"/>
                  </a:cubicBezTo>
                  <a:cubicBezTo>
                    <a:pt x="2488" y="10857"/>
                    <a:pt x="2488" y="10800"/>
                    <a:pt x="2488" y="10800"/>
                  </a:cubicBezTo>
                  <a:cubicBezTo>
                    <a:pt x="2276" y="10573"/>
                    <a:pt x="2276" y="10573"/>
                    <a:pt x="2276" y="10573"/>
                  </a:cubicBezTo>
                  <a:cubicBezTo>
                    <a:pt x="2171" y="10175"/>
                    <a:pt x="2171" y="10175"/>
                    <a:pt x="2171" y="10175"/>
                  </a:cubicBezTo>
                  <a:cubicBezTo>
                    <a:pt x="2012" y="9947"/>
                    <a:pt x="2012" y="9947"/>
                    <a:pt x="2012" y="9947"/>
                  </a:cubicBezTo>
                  <a:cubicBezTo>
                    <a:pt x="2012" y="9947"/>
                    <a:pt x="1959" y="10061"/>
                    <a:pt x="1906" y="10175"/>
                  </a:cubicBezTo>
                  <a:cubicBezTo>
                    <a:pt x="1853" y="10232"/>
                    <a:pt x="1747" y="10232"/>
                    <a:pt x="1694" y="10175"/>
                  </a:cubicBezTo>
                  <a:cubicBezTo>
                    <a:pt x="1694" y="10061"/>
                    <a:pt x="1535" y="9834"/>
                    <a:pt x="1535" y="9834"/>
                  </a:cubicBezTo>
                  <a:cubicBezTo>
                    <a:pt x="1588" y="9606"/>
                    <a:pt x="1588" y="9606"/>
                    <a:pt x="1588" y="9606"/>
                  </a:cubicBezTo>
                  <a:cubicBezTo>
                    <a:pt x="1376" y="9549"/>
                    <a:pt x="1376" y="9549"/>
                    <a:pt x="1376" y="9549"/>
                  </a:cubicBezTo>
                  <a:cubicBezTo>
                    <a:pt x="1376" y="9549"/>
                    <a:pt x="1271" y="9493"/>
                    <a:pt x="1271" y="9436"/>
                  </a:cubicBezTo>
                  <a:cubicBezTo>
                    <a:pt x="1324" y="9322"/>
                    <a:pt x="1429" y="9152"/>
                    <a:pt x="1429" y="9152"/>
                  </a:cubicBezTo>
                  <a:cubicBezTo>
                    <a:pt x="1535" y="8924"/>
                    <a:pt x="1535" y="8924"/>
                    <a:pt x="1535" y="8924"/>
                  </a:cubicBezTo>
                  <a:cubicBezTo>
                    <a:pt x="1535" y="8924"/>
                    <a:pt x="1535" y="8754"/>
                    <a:pt x="1482" y="8697"/>
                  </a:cubicBezTo>
                  <a:cubicBezTo>
                    <a:pt x="1482" y="8640"/>
                    <a:pt x="1429" y="7901"/>
                    <a:pt x="1429" y="7901"/>
                  </a:cubicBezTo>
                  <a:cubicBezTo>
                    <a:pt x="1853" y="7617"/>
                    <a:pt x="1853" y="7617"/>
                    <a:pt x="1853" y="7617"/>
                  </a:cubicBezTo>
                  <a:cubicBezTo>
                    <a:pt x="2118" y="7162"/>
                    <a:pt x="2118" y="7162"/>
                    <a:pt x="2118" y="7162"/>
                  </a:cubicBezTo>
                  <a:cubicBezTo>
                    <a:pt x="2224" y="6651"/>
                    <a:pt x="2224" y="6651"/>
                    <a:pt x="2224" y="6651"/>
                  </a:cubicBezTo>
                  <a:cubicBezTo>
                    <a:pt x="2382" y="6196"/>
                    <a:pt x="2382" y="6196"/>
                    <a:pt x="2382" y="6196"/>
                  </a:cubicBezTo>
                  <a:cubicBezTo>
                    <a:pt x="2382" y="6196"/>
                    <a:pt x="2594" y="5968"/>
                    <a:pt x="2594" y="6025"/>
                  </a:cubicBezTo>
                  <a:cubicBezTo>
                    <a:pt x="2647" y="6082"/>
                    <a:pt x="2594" y="5571"/>
                    <a:pt x="2594" y="5571"/>
                  </a:cubicBezTo>
                  <a:cubicBezTo>
                    <a:pt x="2435" y="5400"/>
                    <a:pt x="2435" y="5400"/>
                    <a:pt x="2435" y="5400"/>
                  </a:cubicBezTo>
                  <a:cubicBezTo>
                    <a:pt x="2435" y="5116"/>
                    <a:pt x="2435" y="5116"/>
                    <a:pt x="2435" y="5116"/>
                  </a:cubicBezTo>
                  <a:cubicBezTo>
                    <a:pt x="2435" y="5116"/>
                    <a:pt x="2700" y="5059"/>
                    <a:pt x="2753" y="5059"/>
                  </a:cubicBezTo>
                  <a:cubicBezTo>
                    <a:pt x="2806" y="5059"/>
                    <a:pt x="2912" y="5002"/>
                    <a:pt x="3071" y="4945"/>
                  </a:cubicBezTo>
                  <a:cubicBezTo>
                    <a:pt x="3176" y="4945"/>
                    <a:pt x="3282" y="4832"/>
                    <a:pt x="3388" y="4832"/>
                  </a:cubicBezTo>
                  <a:cubicBezTo>
                    <a:pt x="3441" y="4832"/>
                    <a:pt x="3706" y="4832"/>
                    <a:pt x="3706" y="4832"/>
                  </a:cubicBezTo>
                  <a:cubicBezTo>
                    <a:pt x="3706" y="4832"/>
                    <a:pt x="3971" y="4661"/>
                    <a:pt x="4024" y="4604"/>
                  </a:cubicBezTo>
                  <a:cubicBezTo>
                    <a:pt x="4076" y="4547"/>
                    <a:pt x="4235" y="4320"/>
                    <a:pt x="4235" y="4320"/>
                  </a:cubicBezTo>
                  <a:cubicBezTo>
                    <a:pt x="4235" y="4320"/>
                    <a:pt x="4288" y="4036"/>
                    <a:pt x="4394" y="3979"/>
                  </a:cubicBezTo>
                  <a:cubicBezTo>
                    <a:pt x="4447" y="3979"/>
                    <a:pt x="4606" y="3865"/>
                    <a:pt x="4712" y="3865"/>
                  </a:cubicBezTo>
                  <a:cubicBezTo>
                    <a:pt x="4818" y="3808"/>
                    <a:pt x="5082" y="3752"/>
                    <a:pt x="5135" y="3752"/>
                  </a:cubicBezTo>
                  <a:cubicBezTo>
                    <a:pt x="5188" y="3752"/>
                    <a:pt x="5824" y="3638"/>
                    <a:pt x="5824" y="3638"/>
                  </a:cubicBezTo>
                  <a:cubicBezTo>
                    <a:pt x="6088" y="3411"/>
                    <a:pt x="6088" y="3411"/>
                    <a:pt x="6088" y="3411"/>
                  </a:cubicBezTo>
                  <a:cubicBezTo>
                    <a:pt x="6035" y="2899"/>
                    <a:pt x="6035" y="2899"/>
                    <a:pt x="6035" y="2899"/>
                  </a:cubicBezTo>
                  <a:cubicBezTo>
                    <a:pt x="6829" y="2785"/>
                    <a:pt x="6829" y="2785"/>
                    <a:pt x="6829" y="2785"/>
                  </a:cubicBezTo>
                  <a:cubicBezTo>
                    <a:pt x="7147" y="2558"/>
                    <a:pt x="7147" y="2558"/>
                    <a:pt x="7147" y="2558"/>
                  </a:cubicBezTo>
                  <a:cubicBezTo>
                    <a:pt x="7147" y="2558"/>
                    <a:pt x="7306" y="2387"/>
                    <a:pt x="7359" y="2387"/>
                  </a:cubicBezTo>
                  <a:cubicBezTo>
                    <a:pt x="7412" y="2444"/>
                    <a:pt x="7518" y="2387"/>
                    <a:pt x="7518" y="2387"/>
                  </a:cubicBezTo>
                  <a:cubicBezTo>
                    <a:pt x="7888" y="2274"/>
                    <a:pt x="7888" y="2274"/>
                    <a:pt x="7888" y="2274"/>
                  </a:cubicBezTo>
                  <a:cubicBezTo>
                    <a:pt x="7888" y="2274"/>
                    <a:pt x="8365" y="2103"/>
                    <a:pt x="8418" y="2046"/>
                  </a:cubicBezTo>
                  <a:cubicBezTo>
                    <a:pt x="8418" y="2046"/>
                    <a:pt x="8682" y="1933"/>
                    <a:pt x="8682" y="1933"/>
                  </a:cubicBezTo>
                  <a:cubicBezTo>
                    <a:pt x="8788" y="1705"/>
                    <a:pt x="8788" y="1705"/>
                    <a:pt x="8788" y="1705"/>
                  </a:cubicBezTo>
                  <a:cubicBezTo>
                    <a:pt x="8788" y="1705"/>
                    <a:pt x="8894" y="1592"/>
                    <a:pt x="9053" y="1592"/>
                  </a:cubicBezTo>
                  <a:cubicBezTo>
                    <a:pt x="9159" y="1592"/>
                    <a:pt x="9265" y="1592"/>
                    <a:pt x="9318" y="1592"/>
                  </a:cubicBezTo>
                  <a:cubicBezTo>
                    <a:pt x="9318" y="1535"/>
                    <a:pt x="9371" y="1421"/>
                    <a:pt x="9424" y="1421"/>
                  </a:cubicBezTo>
                  <a:cubicBezTo>
                    <a:pt x="9476" y="1421"/>
                    <a:pt x="9794" y="1364"/>
                    <a:pt x="9794" y="1364"/>
                  </a:cubicBezTo>
                  <a:cubicBezTo>
                    <a:pt x="9953" y="1648"/>
                    <a:pt x="9953" y="1648"/>
                    <a:pt x="9953" y="1648"/>
                  </a:cubicBezTo>
                  <a:cubicBezTo>
                    <a:pt x="9953" y="1648"/>
                    <a:pt x="10271" y="1876"/>
                    <a:pt x="10324" y="1876"/>
                  </a:cubicBezTo>
                  <a:cubicBezTo>
                    <a:pt x="10376" y="1876"/>
                    <a:pt x="10641" y="1648"/>
                    <a:pt x="10641" y="1648"/>
                  </a:cubicBezTo>
                  <a:cubicBezTo>
                    <a:pt x="11171" y="1819"/>
                    <a:pt x="11171" y="1819"/>
                    <a:pt x="11171" y="1819"/>
                  </a:cubicBezTo>
                  <a:cubicBezTo>
                    <a:pt x="11594" y="1933"/>
                    <a:pt x="11594" y="1933"/>
                    <a:pt x="11594" y="1933"/>
                  </a:cubicBezTo>
                  <a:cubicBezTo>
                    <a:pt x="11753" y="1819"/>
                    <a:pt x="11753" y="1819"/>
                    <a:pt x="11753" y="1819"/>
                  </a:cubicBezTo>
                  <a:close/>
                  <a:moveTo>
                    <a:pt x="9953" y="8469"/>
                  </a:moveTo>
                  <a:cubicBezTo>
                    <a:pt x="9953" y="8469"/>
                    <a:pt x="9953" y="8469"/>
                    <a:pt x="9953" y="8469"/>
                  </a:cubicBezTo>
                  <a:cubicBezTo>
                    <a:pt x="10006" y="8526"/>
                    <a:pt x="10006" y="8526"/>
                    <a:pt x="10006" y="8526"/>
                  </a:cubicBezTo>
                  <a:cubicBezTo>
                    <a:pt x="10006" y="8526"/>
                    <a:pt x="10112" y="8526"/>
                    <a:pt x="10165" y="8469"/>
                  </a:cubicBezTo>
                  <a:cubicBezTo>
                    <a:pt x="10218" y="8469"/>
                    <a:pt x="10112" y="8413"/>
                    <a:pt x="10112" y="8413"/>
                  </a:cubicBezTo>
                  <a:cubicBezTo>
                    <a:pt x="10006" y="8413"/>
                    <a:pt x="10006" y="8413"/>
                    <a:pt x="10006" y="8413"/>
                  </a:cubicBezTo>
                  <a:cubicBezTo>
                    <a:pt x="10006" y="8413"/>
                    <a:pt x="9953" y="8469"/>
                    <a:pt x="9953" y="8469"/>
                  </a:cubicBezTo>
                  <a:close/>
                  <a:moveTo>
                    <a:pt x="9741" y="8924"/>
                  </a:moveTo>
                  <a:cubicBezTo>
                    <a:pt x="9741" y="8924"/>
                    <a:pt x="9741" y="8924"/>
                    <a:pt x="9741" y="8924"/>
                  </a:cubicBezTo>
                  <a:cubicBezTo>
                    <a:pt x="9794" y="8981"/>
                    <a:pt x="9794" y="8981"/>
                    <a:pt x="9794" y="8981"/>
                  </a:cubicBezTo>
                  <a:cubicBezTo>
                    <a:pt x="9794" y="8981"/>
                    <a:pt x="9847" y="8811"/>
                    <a:pt x="9900" y="8754"/>
                  </a:cubicBezTo>
                  <a:cubicBezTo>
                    <a:pt x="9953" y="8640"/>
                    <a:pt x="9847" y="8697"/>
                    <a:pt x="9847" y="8697"/>
                  </a:cubicBezTo>
                  <a:cubicBezTo>
                    <a:pt x="9794" y="8754"/>
                    <a:pt x="9794" y="8754"/>
                    <a:pt x="9794" y="8754"/>
                  </a:cubicBezTo>
                  <a:cubicBezTo>
                    <a:pt x="9794" y="8754"/>
                    <a:pt x="9741" y="8924"/>
                    <a:pt x="9741" y="8924"/>
                  </a:cubicBezTo>
                  <a:close/>
                  <a:moveTo>
                    <a:pt x="16835" y="13131"/>
                  </a:moveTo>
                  <a:cubicBezTo>
                    <a:pt x="16835" y="13131"/>
                    <a:pt x="16835" y="13131"/>
                    <a:pt x="16835" y="13131"/>
                  </a:cubicBezTo>
                  <a:cubicBezTo>
                    <a:pt x="16835" y="13131"/>
                    <a:pt x="16994" y="13244"/>
                    <a:pt x="16994" y="13244"/>
                  </a:cubicBezTo>
                  <a:cubicBezTo>
                    <a:pt x="16888" y="13472"/>
                    <a:pt x="16888" y="13472"/>
                    <a:pt x="16888" y="13472"/>
                  </a:cubicBezTo>
                  <a:cubicBezTo>
                    <a:pt x="16729" y="13358"/>
                    <a:pt x="16729" y="13358"/>
                    <a:pt x="16729" y="13358"/>
                  </a:cubicBezTo>
                  <a:cubicBezTo>
                    <a:pt x="16835" y="13131"/>
                    <a:pt x="16835" y="13131"/>
                    <a:pt x="16835" y="13131"/>
                  </a:cubicBezTo>
                  <a:close/>
                  <a:moveTo>
                    <a:pt x="18106" y="14211"/>
                  </a:moveTo>
                  <a:cubicBezTo>
                    <a:pt x="18106" y="14211"/>
                    <a:pt x="18106" y="14211"/>
                    <a:pt x="18106" y="14211"/>
                  </a:cubicBezTo>
                  <a:cubicBezTo>
                    <a:pt x="18106" y="14211"/>
                    <a:pt x="18371" y="14267"/>
                    <a:pt x="18371" y="14211"/>
                  </a:cubicBezTo>
                  <a:cubicBezTo>
                    <a:pt x="18371" y="14154"/>
                    <a:pt x="18424" y="14040"/>
                    <a:pt x="18424" y="14040"/>
                  </a:cubicBezTo>
                  <a:cubicBezTo>
                    <a:pt x="18371" y="13983"/>
                    <a:pt x="18212" y="13926"/>
                    <a:pt x="18212" y="13926"/>
                  </a:cubicBezTo>
                  <a:cubicBezTo>
                    <a:pt x="18159" y="13926"/>
                    <a:pt x="18106" y="13926"/>
                    <a:pt x="18053" y="13869"/>
                  </a:cubicBezTo>
                  <a:cubicBezTo>
                    <a:pt x="17735" y="13472"/>
                    <a:pt x="17947" y="13983"/>
                    <a:pt x="18106" y="14040"/>
                  </a:cubicBezTo>
                  <a:cubicBezTo>
                    <a:pt x="18106" y="14097"/>
                    <a:pt x="18106" y="14097"/>
                    <a:pt x="18106" y="14097"/>
                  </a:cubicBezTo>
                  <a:cubicBezTo>
                    <a:pt x="18106" y="14211"/>
                    <a:pt x="18106" y="14211"/>
                    <a:pt x="18106" y="14211"/>
                  </a:cubicBezTo>
                  <a:close/>
                  <a:moveTo>
                    <a:pt x="18476" y="14608"/>
                  </a:moveTo>
                  <a:cubicBezTo>
                    <a:pt x="18476" y="14608"/>
                    <a:pt x="18476" y="14608"/>
                    <a:pt x="18476" y="14608"/>
                  </a:cubicBezTo>
                  <a:cubicBezTo>
                    <a:pt x="18688" y="14324"/>
                    <a:pt x="18688" y="14324"/>
                    <a:pt x="18688" y="14324"/>
                  </a:cubicBezTo>
                  <a:cubicBezTo>
                    <a:pt x="18688" y="14324"/>
                    <a:pt x="18794" y="14211"/>
                    <a:pt x="18847" y="14211"/>
                  </a:cubicBezTo>
                  <a:cubicBezTo>
                    <a:pt x="18900" y="14211"/>
                    <a:pt x="19112" y="14154"/>
                    <a:pt x="19112" y="14154"/>
                  </a:cubicBezTo>
                  <a:cubicBezTo>
                    <a:pt x="19112" y="14154"/>
                    <a:pt x="19271" y="14211"/>
                    <a:pt x="19165" y="14267"/>
                  </a:cubicBezTo>
                  <a:cubicBezTo>
                    <a:pt x="19112" y="14324"/>
                    <a:pt x="18953" y="14438"/>
                    <a:pt x="18900" y="14438"/>
                  </a:cubicBezTo>
                  <a:cubicBezTo>
                    <a:pt x="18847" y="14495"/>
                    <a:pt x="18741" y="14665"/>
                    <a:pt x="18741" y="14665"/>
                  </a:cubicBezTo>
                  <a:cubicBezTo>
                    <a:pt x="18529" y="14722"/>
                    <a:pt x="18529" y="14722"/>
                    <a:pt x="18529" y="14722"/>
                  </a:cubicBezTo>
                  <a:cubicBezTo>
                    <a:pt x="18318" y="14836"/>
                    <a:pt x="18318" y="14836"/>
                    <a:pt x="18318" y="14836"/>
                  </a:cubicBezTo>
                  <a:cubicBezTo>
                    <a:pt x="18371" y="15063"/>
                    <a:pt x="18371" y="15063"/>
                    <a:pt x="18371" y="15063"/>
                  </a:cubicBezTo>
                  <a:cubicBezTo>
                    <a:pt x="18371" y="15063"/>
                    <a:pt x="18318" y="15120"/>
                    <a:pt x="18265" y="15120"/>
                  </a:cubicBezTo>
                  <a:cubicBezTo>
                    <a:pt x="18265" y="15063"/>
                    <a:pt x="18106" y="14949"/>
                    <a:pt x="18106" y="14949"/>
                  </a:cubicBezTo>
                  <a:cubicBezTo>
                    <a:pt x="18159" y="14665"/>
                    <a:pt x="18159" y="14665"/>
                    <a:pt x="18159" y="14665"/>
                  </a:cubicBezTo>
                  <a:cubicBezTo>
                    <a:pt x="18371" y="14665"/>
                    <a:pt x="18371" y="14665"/>
                    <a:pt x="18371" y="14665"/>
                  </a:cubicBezTo>
                  <a:cubicBezTo>
                    <a:pt x="18476" y="14608"/>
                    <a:pt x="18476" y="14608"/>
                    <a:pt x="18476" y="14608"/>
                  </a:cubicBezTo>
                  <a:close/>
                  <a:moveTo>
                    <a:pt x="20541" y="16257"/>
                  </a:moveTo>
                  <a:cubicBezTo>
                    <a:pt x="20541" y="16257"/>
                    <a:pt x="20541" y="16257"/>
                    <a:pt x="20541" y="16257"/>
                  </a:cubicBezTo>
                  <a:cubicBezTo>
                    <a:pt x="20541" y="16257"/>
                    <a:pt x="20753" y="16484"/>
                    <a:pt x="20753" y="16484"/>
                  </a:cubicBezTo>
                  <a:cubicBezTo>
                    <a:pt x="20700" y="16768"/>
                    <a:pt x="20700" y="16768"/>
                    <a:pt x="20700" y="16768"/>
                  </a:cubicBezTo>
                  <a:cubicBezTo>
                    <a:pt x="20700" y="16768"/>
                    <a:pt x="20700" y="16882"/>
                    <a:pt x="20806" y="16882"/>
                  </a:cubicBezTo>
                  <a:cubicBezTo>
                    <a:pt x="20912" y="16939"/>
                    <a:pt x="21071" y="16939"/>
                    <a:pt x="21071" y="16825"/>
                  </a:cubicBezTo>
                  <a:cubicBezTo>
                    <a:pt x="21071" y="16712"/>
                    <a:pt x="21124" y="16598"/>
                    <a:pt x="21176" y="16541"/>
                  </a:cubicBezTo>
                  <a:cubicBezTo>
                    <a:pt x="21229" y="16427"/>
                    <a:pt x="21335" y="16257"/>
                    <a:pt x="21335" y="16257"/>
                  </a:cubicBezTo>
                  <a:cubicBezTo>
                    <a:pt x="21335" y="16257"/>
                    <a:pt x="21388" y="16257"/>
                    <a:pt x="21441" y="16200"/>
                  </a:cubicBezTo>
                  <a:cubicBezTo>
                    <a:pt x="21494" y="16200"/>
                    <a:pt x="21388" y="16029"/>
                    <a:pt x="21388" y="16029"/>
                  </a:cubicBezTo>
                  <a:cubicBezTo>
                    <a:pt x="21388" y="16029"/>
                    <a:pt x="21335" y="16029"/>
                    <a:pt x="21441" y="15802"/>
                  </a:cubicBezTo>
                  <a:cubicBezTo>
                    <a:pt x="21547" y="15632"/>
                    <a:pt x="21547" y="15632"/>
                    <a:pt x="21547" y="15632"/>
                  </a:cubicBezTo>
                  <a:cubicBezTo>
                    <a:pt x="21547" y="15575"/>
                    <a:pt x="21600" y="15404"/>
                    <a:pt x="21600" y="15347"/>
                  </a:cubicBezTo>
                  <a:cubicBezTo>
                    <a:pt x="21547" y="15234"/>
                    <a:pt x="21494" y="14949"/>
                    <a:pt x="21494" y="14949"/>
                  </a:cubicBezTo>
                  <a:cubicBezTo>
                    <a:pt x="21388" y="15063"/>
                    <a:pt x="21388" y="15063"/>
                    <a:pt x="21388" y="15063"/>
                  </a:cubicBezTo>
                  <a:cubicBezTo>
                    <a:pt x="21388" y="15063"/>
                    <a:pt x="21282" y="15177"/>
                    <a:pt x="21176" y="15177"/>
                  </a:cubicBezTo>
                  <a:cubicBezTo>
                    <a:pt x="21071" y="15234"/>
                    <a:pt x="20965" y="15291"/>
                    <a:pt x="20965" y="15347"/>
                  </a:cubicBezTo>
                  <a:cubicBezTo>
                    <a:pt x="20965" y="15347"/>
                    <a:pt x="20965" y="15518"/>
                    <a:pt x="20912" y="15575"/>
                  </a:cubicBezTo>
                  <a:cubicBezTo>
                    <a:pt x="20859" y="15632"/>
                    <a:pt x="20700" y="15802"/>
                    <a:pt x="20700" y="15802"/>
                  </a:cubicBezTo>
                  <a:cubicBezTo>
                    <a:pt x="20594" y="16086"/>
                    <a:pt x="20594" y="16086"/>
                    <a:pt x="20594" y="16086"/>
                  </a:cubicBezTo>
                  <a:cubicBezTo>
                    <a:pt x="20594" y="16086"/>
                    <a:pt x="20541" y="16257"/>
                    <a:pt x="20541" y="16257"/>
                  </a:cubicBezTo>
                  <a:close/>
                  <a:moveTo>
                    <a:pt x="19747" y="18815"/>
                  </a:moveTo>
                  <a:cubicBezTo>
                    <a:pt x="19747" y="18815"/>
                    <a:pt x="19747" y="18815"/>
                    <a:pt x="19747" y="18815"/>
                  </a:cubicBezTo>
                  <a:cubicBezTo>
                    <a:pt x="19641" y="18758"/>
                    <a:pt x="19535" y="18644"/>
                    <a:pt x="19535" y="18531"/>
                  </a:cubicBezTo>
                  <a:cubicBezTo>
                    <a:pt x="19535" y="18474"/>
                    <a:pt x="19588" y="18360"/>
                    <a:pt x="19588" y="18360"/>
                  </a:cubicBezTo>
                  <a:cubicBezTo>
                    <a:pt x="19588" y="18360"/>
                    <a:pt x="19482" y="18303"/>
                    <a:pt x="19482" y="18246"/>
                  </a:cubicBezTo>
                  <a:cubicBezTo>
                    <a:pt x="19482" y="18246"/>
                    <a:pt x="19588" y="18019"/>
                    <a:pt x="19588" y="17905"/>
                  </a:cubicBezTo>
                  <a:cubicBezTo>
                    <a:pt x="19535" y="17848"/>
                    <a:pt x="19588" y="17507"/>
                    <a:pt x="19588" y="17507"/>
                  </a:cubicBezTo>
                  <a:cubicBezTo>
                    <a:pt x="19588" y="17507"/>
                    <a:pt x="19747" y="17451"/>
                    <a:pt x="19747" y="17507"/>
                  </a:cubicBezTo>
                  <a:cubicBezTo>
                    <a:pt x="19747" y="17564"/>
                    <a:pt x="19694" y="17735"/>
                    <a:pt x="19694" y="17792"/>
                  </a:cubicBezTo>
                  <a:cubicBezTo>
                    <a:pt x="19694" y="17848"/>
                    <a:pt x="19641" y="18076"/>
                    <a:pt x="19641" y="18133"/>
                  </a:cubicBezTo>
                  <a:cubicBezTo>
                    <a:pt x="19641" y="18133"/>
                    <a:pt x="19694" y="18076"/>
                    <a:pt x="19800" y="18189"/>
                  </a:cubicBezTo>
                  <a:cubicBezTo>
                    <a:pt x="19906" y="18303"/>
                    <a:pt x="19906" y="18474"/>
                    <a:pt x="19906" y="18474"/>
                  </a:cubicBezTo>
                  <a:cubicBezTo>
                    <a:pt x="19800" y="18587"/>
                    <a:pt x="19800" y="18587"/>
                    <a:pt x="19800" y="18587"/>
                  </a:cubicBezTo>
                  <a:cubicBezTo>
                    <a:pt x="19747" y="18815"/>
                    <a:pt x="19747" y="18815"/>
                    <a:pt x="19747" y="18815"/>
                  </a:cubicBezTo>
                  <a:close/>
                  <a:moveTo>
                    <a:pt x="19112" y="18928"/>
                  </a:moveTo>
                  <a:cubicBezTo>
                    <a:pt x="19112" y="18928"/>
                    <a:pt x="19112" y="18928"/>
                    <a:pt x="19112" y="18928"/>
                  </a:cubicBezTo>
                  <a:cubicBezTo>
                    <a:pt x="19112" y="18928"/>
                    <a:pt x="19059" y="19156"/>
                    <a:pt x="19059" y="19213"/>
                  </a:cubicBezTo>
                  <a:cubicBezTo>
                    <a:pt x="19059" y="19213"/>
                    <a:pt x="19112" y="19213"/>
                    <a:pt x="19165" y="19213"/>
                  </a:cubicBezTo>
                  <a:cubicBezTo>
                    <a:pt x="19218" y="19156"/>
                    <a:pt x="19271" y="19156"/>
                    <a:pt x="19324" y="19099"/>
                  </a:cubicBezTo>
                  <a:cubicBezTo>
                    <a:pt x="19376" y="19042"/>
                    <a:pt x="19535" y="18928"/>
                    <a:pt x="19588" y="18928"/>
                  </a:cubicBezTo>
                  <a:cubicBezTo>
                    <a:pt x="19641" y="18872"/>
                    <a:pt x="19376" y="18758"/>
                    <a:pt x="19376" y="18758"/>
                  </a:cubicBezTo>
                  <a:cubicBezTo>
                    <a:pt x="19112" y="18928"/>
                    <a:pt x="19112" y="18928"/>
                    <a:pt x="19112" y="18928"/>
                  </a:cubicBezTo>
                  <a:close/>
                  <a:moveTo>
                    <a:pt x="11912" y="7503"/>
                  </a:moveTo>
                  <a:cubicBezTo>
                    <a:pt x="11912" y="7503"/>
                    <a:pt x="11912" y="7503"/>
                    <a:pt x="11912" y="7503"/>
                  </a:cubicBezTo>
                  <a:cubicBezTo>
                    <a:pt x="12018" y="7560"/>
                    <a:pt x="12018" y="7560"/>
                    <a:pt x="12018" y="7560"/>
                  </a:cubicBezTo>
                  <a:cubicBezTo>
                    <a:pt x="12018" y="7560"/>
                    <a:pt x="12071" y="7503"/>
                    <a:pt x="12124" y="7446"/>
                  </a:cubicBezTo>
                  <a:cubicBezTo>
                    <a:pt x="12176" y="7389"/>
                    <a:pt x="12071" y="7333"/>
                    <a:pt x="12071" y="7333"/>
                  </a:cubicBezTo>
                  <a:cubicBezTo>
                    <a:pt x="12018" y="7389"/>
                    <a:pt x="12018" y="7389"/>
                    <a:pt x="12018" y="7389"/>
                  </a:cubicBezTo>
                  <a:cubicBezTo>
                    <a:pt x="12018" y="7389"/>
                    <a:pt x="11912" y="7503"/>
                    <a:pt x="11912" y="7503"/>
                  </a:cubicBezTo>
                  <a:close/>
                  <a:moveTo>
                    <a:pt x="8682" y="9322"/>
                  </a:moveTo>
                  <a:cubicBezTo>
                    <a:pt x="8682" y="9322"/>
                    <a:pt x="8682" y="9322"/>
                    <a:pt x="8682" y="9322"/>
                  </a:cubicBezTo>
                  <a:cubicBezTo>
                    <a:pt x="8735" y="9379"/>
                    <a:pt x="8735" y="9379"/>
                    <a:pt x="8735" y="9379"/>
                  </a:cubicBezTo>
                  <a:cubicBezTo>
                    <a:pt x="8735" y="9379"/>
                    <a:pt x="8788" y="9265"/>
                    <a:pt x="8894" y="9208"/>
                  </a:cubicBezTo>
                  <a:cubicBezTo>
                    <a:pt x="8947" y="9152"/>
                    <a:pt x="8841" y="9152"/>
                    <a:pt x="8841" y="9152"/>
                  </a:cubicBezTo>
                  <a:cubicBezTo>
                    <a:pt x="8735" y="9208"/>
                    <a:pt x="8735" y="9208"/>
                    <a:pt x="8735" y="9208"/>
                  </a:cubicBezTo>
                  <a:cubicBezTo>
                    <a:pt x="8735" y="9208"/>
                    <a:pt x="8682" y="9265"/>
                    <a:pt x="8682" y="9322"/>
                  </a:cubicBezTo>
                  <a:close/>
                  <a:moveTo>
                    <a:pt x="9212" y="9208"/>
                  </a:moveTo>
                  <a:cubicBezTo>
                    <a:pt x="9212" y="9208"/>
                    <a:pt x="9212" y="9208"/>
                    <a:pt x="9212" y="9208"/>
                  </a:cubicBezTo>
                  <a:cubicBezTo>
                    <a:pt x="9212" y="9322"/>
                    <a:pt x="9212" y="9322"/>
                    <a:pt x="9212" y="9322"/>
                  </a:cubicBezTo>
                  <a:cubicBezTo>
                    <a:pt x="9212" y="9322"/>
                    <a:pt x="9371" y="9379"/>
                    <a:pt x="9476" y="9436"/>
                  </a:cubicBezTo>
                  <a:cubicBezTo>
                    <a:pt x="9635" y="9493"/>
                    <a:pt x="9529" y="9322"/>
                    <a:pt x="9529" y="9322"/>
                  </a:cubicBezTo>
                  <a:cubicBezTo>
                    <a:pt x="9424" y="9208"/>
                    <a:pt x="9424" y="9208"/>
                    <a:pt x="9424" y="9208"/>
                  </a:cubicBezTo>
                  <a:cubicBezTo>
                    <a:pt x="9424" y="9208"/>
                    <a:pt x="9265" y="9152"/>
                    <a:pt x="9212" y="9208"/>
                  </a:cubicBezTo>
                  <a:close/>
                  <a:moveTo>
                    <a:pt x="11171" y="9322"/>
                  </a:moveTo>
                  <a:cubicBezTo>
                    <a:pt x="11171" y="9322"/>
                    <a:pt x="11171" y="9322"/>
                    <a:pt x="11171" y="9322"/>
                  </a:cubicBezTo>
                  <a:cubicBezTo>
                    <a:pt x="11118" y="9436"/>
                    <a:pt x="11118" y="9436"/>
                    <a:pt x="11118" y="9436"/>
                  </a:cubicBezTo>
                  <a:cubicBezTo>
                    <a:pt x="11118" y="9436"/>
                    <a:pt x="11224" y="9549"/>
                    <a:pt x="11276" y="9663"/>
                  </a:cubicBezTo>
                  <a:cubicBezTo>
                    <a:pt x="11329" y="9663"/>
                    <a:pt x="11541" y="9891"/>
                    <a:pt x="11647" y="9891"/>
                  </a:cubicBezTo>
                  <a:cubicBezTo>
                    <a:pt x="12071" y="10061"/>
                    <a:pt x="11382" y="9493"/>
                    <a:pt x="11329" y="9436"/>
                  </a:cubicBezTo>
                  <a:cubicBezTo>
                    <a:pt x="11329" y="9436"/>
                    <a:pt x="11171" y="9265"/>
                    <a:pt x="11171" y="9322"/>
                  </a:cubicBezTo>
                  <a:close/>
                  <a:moveTo>
                    <a:pt x="13659" y="10118"/>
                  </a:moveTo>
                  <a:cubicBezTo>
                    <a:pt x="13659" y="10118"/>
                    <a:pt x="13659" y="10118"/>
                    <a:pt x="13659" y="10118"/>
                  </a:cubicBezTo>
                  <a:cubicBezTo>
                    <a:pt x="13765" y="10232"/>
                    <a:pt x="13765" y="10232"/>
                    <a:pt x="13765" y="10232"/>
                  </a:cubicBezTo>
                  <a:cubicBezTo>
                    <a:pt x="13765" y="10232"/>
                    <a:pt x="13924" y="10175"/>
                    <a:pt x="14029" y="10118"/>
                  </a:cubicBezTo>
                  <a:cubicBezTo>
                    <a:pt x="14135" y="10118"/>
                    <a:pt x="14029" y="10004"/>
                    <a:pt x="14029" y="10004"/>
                  </a:cubicBezTo>
                  <a:cubicBezTo>
                    <a:pt x="13871" y="10004"/>
                    <a:pt x="13871" y="10004"/>
                    <a:pt x="13871" y="10004"/>
                  </a:cubicBezTo>
                  <a:cubicBezTo>
                    <a:pt x="13871" y="10004"/>
                    <a:pt x="13659" y="10061"/>
                    <a:pt x="13659" y="10118"/>
                  </a:cubicBezTo>
                  <a:close/>
                  <a:moveTo>
                    <a:pt x="12600" y="4149"/>
                  </a:moveTo>
                  <a:cubicBezTo>
                    <a:pt x="12600" y="4149"/>
                    <a:pt x="12600" y="4149"/>
                    <a:pt x="12600" y="4149"/>
                  </a:cubicBezTo>
                  <a:cubicBezTo>
                    <a:pt x="12600" y="4149"/>
                    <a:pt x="12388" y="4263"/>
                    <a:pt x="12388" y="4263"/>
                  </a:cubicBezTo>
                  <a:cubicBezTo>
                    <a:pt x="12335" y="4263"/>
                    <a:pt x="12388" y="4377"/>
                    <a:pt x="12441" y="4377"/>
                  </a:cubicBezTo>
                  <a:cubicBezTo>
                    <a:pt x="12494" y="4434"/>
                    <a:pt x="12653" y="4491"/>
                    <a:pt x="12653" y="4491"/>
                  </a:cubicBezTo>
                  <a:cubicBezTo>
                    <a:pt x="12706" y="4491"/>
                    <a:pt x="12865" y="4377"/>
                    <a:pt x="12971" y="4263"/>
                  </a:cubicBezTo>
                  <a:cubicBezTo>
                    <a:pt x="13076" y="4206"/>
                    <a:pt x="12865" y="4149"/>
                    <a:pt x="12865" y="4149"/>
                  </a:cubicBezTo>
                  <a:cubicBezTo>
                    <a:pt x="12600" y="4149"/>
                    <a:pt x="12600" y="4149"/>
                    <a:pt x="12600" y="4149"/>
                  </a:cubicBezTo>
                  <a:close/>
                  <a:moveTo>
                    <a:pt x="10694" y="3752"/>
                  </a:moveTo>
                  <a:cubicBezTo>
                    <a:pt x="10694" y="3752"/>
                    <a:pt x="10694" y="3752"/>
                    <a:pt x="10694" y="3752"/>
                  </a:cubicBezTo>
                  <a:cubicBezTo>
                    <a:pt x="10694" y="3752"/>
                    <a:pt x="10482" y="3752"/>
                    <a:pt x="10429" y="3752"/>
                  </a:cubicBezTo>
                  <a:cubicBezTo>
                    <a:pt x="10429" y="3752"/>
                    <a:pt x="10376" y="3808"/>
                    <a:pt x="10324" y="3865"/>
                  </a:cubicBezTo>
                  <a:cubicBezTo>
                    <a:pt x="10271" y="3922"/>
                    <a:pt x="10271" y="4036"/>
                    <a:pt x="10218" y="4149"/>
                  </a:cubicBezTo>
                  <a:cubicBezTo>
                    <a:pt x="10218" y="4263"/>
                    <a:pt x="10271" y="4263"/>
                    <a:pt x="10271" y="4263"/>
                  </a:cubicBezTo>
                  <a:cubicBezTo>
                    <a:pt x="10324" y="4320"/>
                    <a:pt x="10324" y="4320"/>
                    <a:pt x="10429" y="4434"/>
                  </a:cubicBezTo>
                  <a:cubicBezTo>
                    <a:pt x="10535" y="4491"/>
                    <a:pt x="10641" y="4377"/>
                    <a:pt x="10747" y="4320"/>
                  </a:cubicBezTo>
                  <a:cubicBezTo>
                    <a:pt x="10906" y="4263"/>
                    <a:pt x="10800" y="4206"/>
                    <a:pt x="10853" y="4093"/>
                  </a:cubicBezTo>
                  <a:cubicBezTo>
                    <a:pt x="10853" y="4036"/>
                    <a:pt x="10800" y="3865"/>
                    <a:pt x="10800" y="3865"/>
                  </a:cubicBezTo>
                  <a:cubicBezTo>
                    <a:pt x="10800" y="3808"/>
                    <a:pt x="10694" y="3752"/>
                    <a:pt x="10694" y="3752"/>
                  </a:cubicBezTo>
                  <a:close/>
                  <a:moveTo>
                    <a:pt x="12494" y="5855"/>
                  </a:moveTo>
                  <a:cubicBezTo>
                    <a:pt x="12494" y="5855"/>
                    <a:pt x="12494" y="5855"/>
                    <a:pt x="12494" y="5855"/>
                  </a:cubicBezTo>
                  <a:cubicBezTo>
                    <a:pt x="12494" y="5855"/>
                    <a:pt x="12441" y="5968"/>
                    <a:pt x="12441" y="5968"/>
                  </a:cubicBezTo>
                  <a:cubicBezTo>
                    <a:pt x="12441" y="5968"/>
                    <a:pt x="12441" y="6082"/>
                    <a:pt x="12441" y="6082"/>
                  </a:cubicBezTo>
                  <a:cubicBezTo>
                    <a:pt x="12441" y="6082"/>
                    <a:pt x="12388" y="6139"/>
                    <a:pt x="12335" y="6196"/>
                  </a:cubicBezTo>
                  <a:cubicBezTo>
                    <a:pt x="12229" y="6309"/>
                    <a:pt x="12335" y="6309"/>
                    <a:pt x="12388" y="6366"/>
                  </a:cubicBezTo>
                  <a:cubicBezTo>
                    <a:pt x="12441" y="6480"/>
                    <a:pt x="12388" y="6423"/>
                    <a:pt x="12441" y="6423"/>
                  </a:cubicBezTo>
                  <a:cubicBezTo>
                    <a:pt x="12441" y="6480"/>
                    <a:pt x="12494" y="6423"/>
                    <a:pt x="12600" y="6366"/>
                  </a:cubicBezTo>
                  <a:cubicBezTo>
                    <a:pt x="12706" y="6309"/>
                    <a:pt x="12653" y="6309"/>
                    <a:pt x="12653" y="6309"/>
                  </a:cubicBezTo>
                  <a:cubicBezTo>
                    <a:pt x="12653" y="6309"/>
                    <a:pt x="12547" y="6139"/>
                    <a:pt x="12547" y="6139"/>
                  </a:cubicBezTo>
                  <a:cubicBezTo>
                    <a:pt x="12547" y="6139"/>
                    <a:pt x="12547" y="6082"/>
                    <a:pt x="12547" y="6082"/>
                  </a:cubicBezTo>
                  <a:cubicBezTo>
                    <a:pt x="12547" y="6025"/>
                    <a:pt x="12600" y="6025"/>
                    <a:pt x="12653" y="5968"/>
                  </a:cubicBezTo>
                  <a:cubicBezTo>
                    <a:pt x="12706" y="5855"/>
                    <a:pt x="12706" y="5798"/>
                    <a:pt x="12706" y="5798"/>
                  </a:cubicBezTo>
                  <a:cubicBezTo>
                    <a:pt x="12706" y="5741"/>
                    <a:pt x="12600" y="5741"/>
                    <a:pt x="12600" y="5741"/>
                  </a:cubicBezTo>
                  <a:cubicBezTo>
                    <a:pt x="12600" y="5741"/>
                    <a:pt x="12494" y="5798"/>
                    <a:pt x="12494" y="5855"/>
                  </a:cubicBezTo>
                  <a:close/>
                  <a:moveTo>
                    <a:pt x="12335" y="5968"/>
                  </a:moveTo>
                  <a:cubicBezTo>
                    <a:pt x="12335" y="5968"/>
                    <a:pt x="12335" y="5968"/>
                    <a:pt x="12335" y="5968"/>
                  </a:cubicBezTo>
                  <a:cubicBezTo>
                    <a:pt x="12282" y="5855"/>
                    <a:pt x="12282" y="5855"/>
                    <a:pt x="12282" y="5855"/>
                  </a:cubicBezTo>
                  <a:cubicBezTo>
                    <a:pt x="12282" y="5855"/>
                    <a:pt x="12229" y="5798"/>
                    <a:pt x="12071" y="5798"/>
                  </a:cubicBezTo>
                  <a:cubicBezTo>
                    <a:pt x="11965" y="5798"/>
                    <a:pt x="11965" y="5855"/>
                    <a:pt x="11859" y="5855"/>
                  </a:cubicBezTo>
                  <a:cubicBezTo>
                    <a:pt x="11753" y="5855"/>
                    <a:pt x="11753" y="5968"/>
                    <a:pt x="11753" y="6025"/>
                  </a:cubicBezTo>
                  <a:cubicBezTo>
                    <a:pt x="11700" y="6139"/>
                    <a:pt x="11753" y="6082"/>
                    <a:pt x="11806" y="6139"/>
                  </a:cubicBezTo>
                  <a:cubicBezTo>
                    <a:pt x="11859" y="6196"/>
                    <a:pt x="11806" y="6196"/>
                    <a:pt x="11859" y="6366"/>
                  </a:cubicBezTo>
                  <a:cubicBezTo>
                    <a:pt x="11859" y="6480"/>
                    <a:pt x="11912" y="6423"/>
                    <a:pt x="11912" y="6423"/>
                  </a:cubicBezTo>
                  <a:cubicBezTo>
                    <a:pt x="11965" y="6480"/>
                    <a:pt x="12018" y="6423"/>
                    <a:pt x="12124" y="6366"/>
                  </a:cubicBezTo>
                  <a:cubicBezTo>
                    <a:pt x="12229" y="6253"/>
                    <a:pt x="12124" y="6253"/>
                    <a:pt x="12124" y="6253"/>
                  </a:cubicBezTo>
                  <a:cubicBezTo>
                    <a:pt x="12124" y="6253"/>
                    <a:pt x="12229" y="6196"/>
                    <a:pt x="12335" y="6082"/>
                  </a:cubicBezTo>
                  <a:cubicBezTo>
                    <a:pt x="12388" y="5968"/>
                    <a:pt x="12335" y="5968"/>
                    <a:pt x="12335" y="5968"/>
                  </a:cubicBezTo>
                  <a:close/>
                  <a:moveTo>
                    <a:pt x="15035" y="7901"/>
                  </a:moveTo>
                  <a:cubicBezTo>
                    <a:pt x="15035" y="7901"/>
                    <a:pt x="15035" y="7901"/>
                    <a:pt x="15035" y="7901"/>
                  </a:cubicBezTo>
                  <a:cubicBezTo>
                    <a:pt x="14982" y="7901"/>
                    <a:pt x="14929" y="8015"/>
                    <a:pt x="14929" y="8015"/>
                  </a:cubicBezTo>
                  <a:cubicBezTo>
                    <a:pt x="14929" y="8015"/>
                    <a:pt x="14876" y="8072"/>
                    <a:pt x="14876" y="8128"/>
                  </a:cubicBezTo>
                  <a:cubicBezTo>
                    <a:pt x="14824" y="8128"/>
                    <a:pt x="14771" y="8242"/>
                    <a:pt x="14771" y="8242"/>
                  </a:cubicBezTo>
                  <a:cubicBezTo>
                    <a:pt x="14771" y="8242"/>
                    <a:pt x="14824" y="8299"/>
                    <a:pt x="14876" y="8299"/>
                  </a:cubicBezTo>
                  <a:cubicBezTo>
                    <a:pt x="14929" y="8356"/>
                    <a:pt x="14929" y="8356"/>
                    <a:pt x="14982" y="8356"/>
                  </a:cubicBezTo>
                  <a:cubicBezTo>
                    <a:pt x="15035" y="8356"/>
                    <a:pt x="15035" y="8356"/>
                    <a:pt x="15194" y="8356"/>
                  </a:cubicBezTo>
                  <a:cubicBezTo>
                    <a:pt x="15406" y="8356"/>
                    <a:pt x="15565" y="8356"/>
                    <a:pt x="15618" y="8356"/>
                  </a:cubicBezTo>
                  <a:cubicBezTo>
                    <a:pt x="15618" y="8356"/>
                    <a:pt x="15724" y="8299"/>
                    <a:pt x="15724" y="8299"/>
                  </a:cubicBezTo>
                  <a:cubicBezTo>
                    <a:pt x="15724" y="8242"/>
                    <a:pt x="15724" y="8242"/>
                    <a:pt x="15671" y="8185"/>
                  </a:cubicBezTo>
                  <a:cubicBezTo>
                    <a:pt x="15618" y="8072"/>
                    <a:pt x="15512" y="8015"/>
                    <a:pt x="15512" y="8015"/>
                  </a:cubicBezTo>
                  <a:cubicBezTo>
                    <a:pt x="15459" y="8015"/>
                    <a:pt x="15512" y="7901"/>
                    <a:pt x="15565" y="7958"/>
                  </a:cubicBezTo>
                  <a:cubicBezTo>
                    <a:pt x="15565" y="7958"/>
                    <a:pt x="15724" y="8128"/>
                    <a:pt x="15724" y="8128"/>
                  </a:cubicBezTo>
                  <a:cubicBezTo>
                    <a:pt x="15776" y="8128"/>
                    <a:pt x="15882" y="8128"/>
                    <a:pt x="15882" y="8015"/>
                  </a:cubicBezTo>
                  <a:cubicBezTo>
                    <a:pt x="15829" y="7958"/>
                    <a:pt x="15935" y="7844"/>
                    <a:pt x="15776" y="7787"/>
                  </a:cubicBezTo>
                  <a:cubicBezTo>
                    <a:pt x="15671" y="7731"/>
                    <a:pt x="15618" y="7674"/>
                    <a:pt x="15565" y="7674"/>
                  </a:cubicBezTo>
                  <a:cubicBezTo>
                    <a:pt x="15459" y="7674"/>
                    <a:pt x="15618" y="7731"/>
                    <a:pt x="15406" y="7560"/>
                  </a:cubicBezTo>
                  <a:cubicBezTo>
                    <a:pt x="15194" y="7389"/>
                    <a:pt x="15194" y="7446"/>
                    <a:pt x="15194" y="7446"/>
                  </a:cubicBezTo>
                  <a:cubicBezTo>
                    <a:pt x="15194" y="7446"/>
                    <a:pt x="15300" y="7276"/>
                    <a:pt x="15247" y="7219"/>
                  </a:cubicBezTo>
                  <a:cubicBezTo>
                    <a:pt x="15247" y="7219"/>
                    <a:pt x="15035" y="7162"/>
                    <a:pt x="15035" y="7162"/>
                  </a:cubicBezTo>
                  <a:cubicBezTo>
                    <a:pt x="15035" y="7162"/>
                    <a:pt x="14771" y="7219"/>
                    <a:pt x="14771" y="7219"/>
                  </a:cubicBezTo>
                  <a:cubicBezTo>
                    <a:pt x="14718" y="7276"/>
                    <a:pt x="14665" y="7333"/>
                    <a:pt x="14665" y="7333"/>
                  </a:cubicBezTo>
                  <a:cubicBezTo>
                    <a:pt x="14665" y="7446"/>
                    <a:pt x="14665" y="7446"/>
                    <a:pt x="14665" y="7446"/>
                  </a:cubicBezTo>
                  <a:cubicBezTo>
                    <a:pt x="14559" y="7503"/>
                    <a:pt x="14559" y="7503"/>
                    <a:pt x="14559" y="7503"/>
                  </a:cubicBezTo>
                  <a:cubicBezTo>
                    <a:pt x="14559" y="7503"/>
                    <a:pt x="14506" y="7617"/>
                    <a:pt x="14506" y="7617"/>
                  </a:cubicBezTo>
                  <a:cubicBezTo>
                    <a:pt x="14453" y="7617"/>
                    <a:pt x="14347" y="7674"/>
                    <a:pt x="14347" y="7674"/>
                  </a:cubicBezTo>
                  <a:cubicBezTo>
                    <a:pt x="14294" y="7674"/>
                    <a:pt x="14188" y="7674"/>
                    <a:pt x="14188" y="7731"/>
                  </a:cubicBezTo>
                  <a:cubicBezTo>
                    <a:pt x="14135" y="7787"/>
                    <a:pt x="13976" y="7844"/>
                    <a:pt x="13976" y="7844"/>
                  </a:cubicBezTo>
                  <a:cubicBezTo>
                    <a:pt x="13976" y="7844"/>
                    <a:pt x="13924" y="7901"/>
                    <a:pt x="14029" y="8015"/>
                  </a:cubicBezTo>
                  <a:cubicBezTo>
                    <a:pt x="14135" y="8072"/>
                    <a:pt x="14241" y="8072"/>
                    <a:pt x="14241" y="8128"/>
                  </a:cubicBezTo>
                  <a:cubicBezTo>
                    <a:pt x="14294" y="8128"/>
                    <a:pt x="14294" y="8128"/>
                    <a:pt x="14347" y="8128"/>
                  </a:cubicBezTo>
                  <a:cubicBezTo>
                    <a:pt x="14400" y="8185"/>
                    <a:pt x="14400" y="8185"/>
                    <a:pt x="14506" y="8185"/>
                  </a:cubicBezTo>
                  <a:cubicBezTo>
                    <a:pt x="14559" y="8128"/>
                    <a:pt x="14665" y="8128"/>
                    <a:pt x="14665" y="8072"/>
                  </a:cubicBezTo>
                  <a:cubicBezTo>
                    <a:pt x="14718" y="8015"/>
                    <a:pt x="14718" y="7958"/>
                    <a:pt x="14771" y="7901"/>
                  </a:cubicBezTo>
                  <a:cubicBezTo>
                    <a:pt x="14771" y="7844"/>
                    <a:pt x="14771" y="7787"/>
                    <a:pt x="14876" y="7787"/>
                  </a:cubicBezTo>
                  <a:cubicBezTo>
                    <a:pt x="14929" y="7787"/>
                    <a:pt x="15035" y="7731"/>
                    <a:pt x="15035" y="7731"/>
                  </a:cubicBezTo>
                  <a:cubicBezTo>
                    <a:pt x="15035" y="7731"/>
                    <a:pt x="15035" y="7901"/>
                    <a:pt x="15035" y="7901"/>
                  </a:cubicBezTo>
                  <a:close/>
                  <a:moveTo>
                    <a:pt x="15300" y="10345"/>
                  </a:moveTo>
                  <a:cubicBezTo>
                    <a:pt x="15300" y="10345"/>
                    <a:pt x="15300" y="10345"/>
                    <a:pt x="15300" y="10345"/>
                  </a:cubicBezTo>
                  <a:cubicBezTo>
                    <a:pt x="15247" y="10288"/>
                    <a:pt x="15247" y="10288"/>
                    <a:pt x="15247" y="10288"/>
                  </a:cubicBezTo>
                  <a:cubicBezTo>
                    <a:pt x="15247" y="10232"/>
                    <a:pt x="15247" y="10232"/>
                    <a:pt x="15247" y="10232"/>
                  </a:cubicBezTo>
                  <a:cubicBezTo>
                    <a:pt x="15088" y="10061"/>
                    <a:pt x="15088" y="10061"/>
                    <a:pt x="15088" y="10061"/>
                  </a:cubicBezTo>
                  <a:cubicBezTo>
                    <a:pt x="15088" y="10061"/>
                    <a:pt x="15300" y="10004"/>
                    <a:pt x="15406" y="9947"/>
                  </a:cubicBezTo>
                  <a:cubicBezTo>
                    <a:pt x="15565" y="9891"/>
                    <a:pt x="15406" y="9834"/>
                    <a:pt x="15406" y="9777"/>
                  </a:cubicBezTo>
                  <a:cubicBezTo>
                    <a:pt x="15406" y="9777"/>
                    <a:pt x="15353" y="9777"/>
                    <a:pt x="15247" y="9777"/>
                  </a:cubicBezTo>
                  <a:cubicBezTo>
                    <a:pt x="15194" y="9777"/>
                    <a:pt x="15141" y="9777"/>
                    <a:pt x="15035" y="9834"/>
                  </a:cubicBezTo>
                  <a:cubicBezTo>
                    <a:pt x="14982" y="9834"/>
                    <a:pt x="14929" y="9720"/>
                    <a:pt x="14929" y="9720"/>
                  </a:cubicBezTo>
                  <a:cubicBezTo>
                    <a:pt x="14876" y="9720"/>
                    <a:pt x="14665" y="9720"/>
                    <a:pt x="14612" y="9720"/>
                  </a:cubicBezTo>
                  <a:cubicBezTo>
                    <a:pt x="14612" y="9720"/>
                    <a:pt x="14559" y="9834"/>
                    <a:pt x="14506" y="9891"/>
                  </a:cubicBezTo>
                  <a:cubicBezTo>
                    <a:pt x="14453" y="9947"/>
                    <a:pt x="14400" y="10004"/>
                    <a:pt x="14347" y="10004"/>
                  </a:cubicBezTo>
                  <a:cubicBezTo>
                    <a:pt x="14294" y="10061"/>
                    <a:pt x="14506" y="10175"/>
                    <a:pt x="14559" y="10175"/>
                  </a:cubicBezTo>
                  <a:cubicBezTo>
                    <a:pt x="14559" y="10232"/>
                    <a:pt x="14718" y="10232"/>
                    <a:pt x="14718" y="10288"/>
                  </a:cubicBezTo>
                  <a:cubicBezTo>
                    <a:pt x="14771" y="10288"/>
                    <a:pt x="14929" y="10402"/>
                    <a:pt x="14982" y="10402"/>
                  </a:cubicBezTo>
                  <a:cubicBezTo>
                    <a:pt x="15035" y="10459"/>
                    <a:pt x="14929" y="10516"/>
                    <a:pt x="14876" y="10629"/>
                  </a:cubicBezTo>
                  <a:cubicBezTo>
                    <a:pt x="14824" y="10743"/>
                    <a:pt x="14771" y="10743"/>
                    <a:pt x="14718" y="10800"/>
                  </a:cubicBezTo>
                  <a:cubicBezTo>
                    <a:pt x="14665" y="10857"/>
                    <a:pt x="14771" y="10914"/>
                    <a:pt x="14824" y="10971"/>
                  </a:cubicBezTo>
                  <a:cubicBezTo>
                    <a:pt x="14876" y="11027"/>
                    <a:pt x="14982" y="11084"/>
                    <a:pt x="14982" y="11084"/>
                  </a:cubicBezTo>
                  <a:cubicBezTo>
                    <a:pt x="15035" y="11084"/>
                    <a:pt x="15194" y="10971"/>
                    <a:pt x="15194" y="10971"/>
                  </a:cubicBezTo>
                  <a:cubicBezTo>
                    <a:pt x="15194" y="10971"/>
                    <a:pt x="15247" y="10800"/>
                    <a:pt x="15247" y="10800"/>
                  </a:cubicBezTo>
                  <a:cubicBezTo>
                    <a:pt x="15247" y="10743"/>
                    <a:pt x="15300" y="10629"/>
                    <a:pt x="15300" y="10629"/>
                  </a:cubicBezTo>
                  <a:cubicBezTo>
                    <a:pt x="15353" y="10573"/>
                    <a:pt x="15353" y="10573"/>
                    <a:pt x="15353" y="10573"/>
                  </a:cubicBezTo>
                  <a:cubicBezTo>
                    <a:pt x="15300" y="10345"/>
                    <a:pt x="15300" y="10345"/>
                    <a:pt x="15300" y="10345"/>
                  </a:cubicBezTo>
                  <a:close/>
                  <a:moveTo>
                    <a:pt x="16729" y="11880"/>
                  </a:moveTo>
                  <a:cubicBezTo>
                    <a:pt x="16729" y="11880"/>
                    <a:pt x="16729" y="11880"/>
                    <a:pt x="16729" y="11880"/>
                  </a:cubicBezTo>
                  <a:cubicBezTo>
                    <a:pt x="16782" y="11823"/>
                    <a:pt x="16888" y="11709"/>
                    <a:pt x="16888" y="11653"/>
                  </a:cubicBezTo>
                  <a:cubicBezTo>
                    <a:pt x="16888" y="11653"/>
                    <a:pt x="16994" y="11653"/>
                    <a:pt x="17047" y="11653"/>
                  </a:cubicBezTo>
                  <a:cubicBezTo>
                    <a:pt x="17047" y="11653"/>
                    <a:pt x="17259" y="11709"/>
                    <a:pt x="17259" y="11709"/>
                  </a:cubicBezTo>
                  <a:cubicBezTo>
                    <a:pt x="17259" y="11709"/>
                    <a:pt x="17418" y="11709"/>
                    <a:pt x="17418" y="11709"/>
                  </a:cubicBezTo>
                  <a:cubicBezTo>
                    <a:pt x="17418" y="11709"/>
                    <a:pt x="17576" y="11596"/>
                    <a:pt x="17576" y="11596"/>
                  </a:cubicBezTo>
                  <a:cubicBezTo>
                    <a:pt x="17629" y="11596"/>
                    <a:pt x="17788" y="11766"/>
                    <a:pt x="17788" y="11766"/>
                  </a:cubicBezTo>
                  <a:cubicBezTo>
                    <a:pt x="17788" y="11766"/>
                    <a:pt x="17682" y="11937"/>
                    <a:pt x="17629" y="11937"/>
                  </a:cubicBezTo>
                  <a:cubicBezTo>
                    <a:pt x="17576" y="11994"/>
                    <a:pt x="17524" y="11994"/>
                    <a:pt x="17471" y="12051"/>
                  </a:cubicBezTo>
                  <a:cubicBezTo>
                    <a:pt x="17418" y="12164"/>
                    <a:pt x="17418" y="12164"/>
                    <a:pt x="17418" y="12221"/>
                  </a:cubicBezTo>
                  <a:cubicBezTo>
                    <a:pt x="17365" y="12221"/>
                    <a:pt x="17312" y="12335"/>
                    <a:pt x="17206" y="12221"/>
                  </a:cubicBezTo>
                  <a:cubicBezTo>
                    <a:pt x="17100" y="12164"/>
                    <a:pt x="16994" y="12051"/>
                    <a:pt x="16994" y="12051"/>
                  </a:cubicBezTo>
                  <a:cubicBezTo>
                    <a:pt x="16994" y="12051"/>
                    <a:pt x="16888" y="12107"/>
                    <a:pt x="16835" y="12107"/>
                  </a:cubicBezTo>
                  <a:cubicBezTo>
                    <a:pt x="16782" y="12164"/>
                    <a:pt x="16676" y="12107"/>
                    <a:pt x="16676" y="12107"/>
                  </a:cubicBezTo>
                  <a:cubicBezTo>
                    <a:pt x="16729" y="12051"/>
                    <a:pt x="16676" y="11937"/>
                    <a:pt x="16729" y="11880"/>
                  </a:cubicBezTo>
                  <a:close/>
                  <a:moveTo>
                    <a:pt x="15618" y="13017"/>
                  </a:moveTo>
                  <a:cubicBezTo>
                    <a:pt x="15618" y="13017"/>
                    <a:pt x="15618" y="13017"/>
                    <a:pt x="15618" y="13017"/>
                  </a:cubicBezTo>
                  <a:cubicBezTo>
                    <a:pt x="15618" y="13017"/>
                    <a:pt x="15406" y="12903"/>
                    <a:pt x="15459" y="12846"/>
                  </a:cubicBezTo>
                  <a:cubicBezTo>
                    <a:pt x="15512" y="12733"/>
                    <a:pt x="15724" y="12505"/>
                    <a:pt x="15776" y="12448"/>
                  </a:cubicBezTo>
                  <a:cubicBezTo>
                    <a:pt x="15776" y="12448"/>
                    <a:pt x="15935" y="12505"/>
                    <a:pt x="15935" y="12505"/>
                  </a:cubicBezTo>
                  <a:cubicBezTo>
                    <a:pt x="15988" y="12505"/>
                    <a:pt x="16041" y="12335"/>
                    <a:pt x="16094" y="12335"/>
                  </a:cubicBezTo>
                  <a:cubicBezTo>
                    <a:pt x="16094" y="12335"/>
                    <a:pt x="16306" y="12335"/>
                    <a:pt x="16306" y="12335"/>
                  </a:cubicBezTo>
                  <a:cubicBezTo>
                    <a:pt x="16306" y="12335"/>
                    <a:pt x="16200" y="12562"/>
                    <a:pt x="16094" y="12619"/>
                  </a:cubicBezTo>
                  <a:cubicBezTo>
                    <a:pt x="15988" y="12676"/>
                    <a:pt x="15935" y="12676"/>
                    <a:pt x="15935" y="12733"/>
                  </a:cubicBezTo>
                  <a:cubicBezTo>
                    <a:pt x="15882" y="12789"/>
                    <a:pt x="15829" y="12846"/>
                    <a:pt x="15829" y="12903"/>
                  </a:cubicBezTo>
                  <a:cubicBezTo>
                    <a:pt x="15776" y="12903"/>
                    <a:pt x="15618" y="13017"/>
                    <a:pt x="15618" y="13017"/>
                  </a:cubicBezTo>
                  <a:close/>
                  <a:moveTo>
                    <a:pt x="14929" y="15234"/>
                  </a:moveTo>
                  <a:cubicBezTo>
                    <a:pt x="14929" y="15234"/>
                    <a:pt x="14929" y="15234"/>
                    <a:pt x="14929" y="15234"/>
                  </a:cubicBezTo>
                  <a:cubicBezTo>
                    <a:pt x="14982" y="15291"/>
                    <a:pt x="14876" y="15518"/>
                    <a:pt x="14718" y="15404"/>
                  </a:cubicBezTo>
                  <a:cubicBezTo>
                    <a:pt x="14718" y="15404"/>
                    <a:pt x="14665" y="15291"/>
                    <a:pt x="14771" y="15234"/>
                  </a:cubicBezTo>
                  <a:cubicBezTo>
                    <a:pt x="14824" y="15234"/>
                    <a:pt x="14929" y="15234"/>
                    <a:pt x="14929" y="15234"/>
                  </a:cubicBezTo>
                  <a:close/>
                  <a:moveTo>
                    <a:pt x="14771" y="16598"/>
                  </a:moveTo>
                  <a:cubicBezTo>
                    <a:pt x="14771" y="16598"/>
                    <a:pt x="14771" y="16598"/>
                    <a:pt x="14771" y="16598"/>
                  </a:cubicBezTo>
                  <a:cubicBezTo>
                    <a:pt x="14771" y="16598"/>
                    <a:pt x="14876" y="16484"/>
                    <a:pt x="14876" y="16484"/>
                  </a:cubicBezTo>
                  <a:cubicBezTo>
                    <a:pt x="14929" y="16484"/>
                    <a:pt x="14982" y="16541"/>
                    <a:pt x="14982" y="16541"/>
                  </a:cubicBezTo>
                  <a:cubicBezTo>
                    <a:pt x="14982" y="16541"/>
                    <a:pt x="15141" y="16655"/>
                    <a:pt x="15141" y="16655"/>
                  </a:cubicBezTo>
                  <a:cubicBezTo>
                    <a:pt x="15141" y="16712"/>
                    <a:pt x="15194" y="16825"/>
                    <a:pt x="15141" y="16825"/>
                  </a:cubicBezTo>
                  <a:cubicBezTo>
                    <a:pt x="15088" y="16882"/>
                    <a:pt x="15035" y="16939"/>
                    <a:pt x="14982" y="16882"/>
                  </a:cubicBezTo>
                  <a:cubicBezTo>
                    <a:pt x="14929" y="16882"/>
                    <a:pt x="14876" y="16882"/>
                    <a:pt x="14876" y="16825"/>
                  </a:cubicBezTo>
                  <a:cubicBezTo>
                    <a:pt x="14876" y="16768"/>
                    <a:pt x="14876" y="16768"/>
                    <a:pt x="14876" y="16712"/>
                  </a:cubicBezTo>
                  <a:cubicBezTo>
                    <a:pt x="14876" y="16712"/>
                    <a:pt x="14771" y="16712"/>
                    <a:pt x="14771" y="16712"/>
                  </a:cubicBezTo>
                  <a:cubicBezTo>
                    <a:pt x="14771" y="16598"/>
                    <a:pt x="14771" y="16598"/>
                    <a:pt x="14771" y="16598"/>
                  </a:cubicBezTo>
                  <a:close/>
                  <a:moveTo>
                    <a:pt x="12600" y="15859"/>
                  </a:moveTo>
                  <a:cubicBezTo>
                    <a:pt x="12600" y="15859"/>
                    <a:pt x="12600" y="15859"/>
                    <a:pt x="12600" y="15859"/>
                  </a:cubicBezTo>
                  <a:cubicBezTo>
                    <a:pt x="12653" y="15859"/>
                    <a:pt x="12759" y="15802"/>
                    <a:pt x="12759" y="15859"/>
                  </a:cubicBezTo>
                  <a:cubicBezTo>
                    <a:pt x="12812" y="15916"/>
                    <a:pt x="12865" y="15916"/>
                    <a:pt x="12865" y="15973"/>
                  </a:cubicBezTo>
                  <a:cubicBezTo>
                    <a:pt x="12865" y="15973"/>
                    <a:pt x="12918" y="16029"/>
                    <a:pt x="12812" y="16086"/>
                  </a:cubicBezTo>
                  <a:cubicBezTo>
                    <a:pt x="12706" y="16086"/>
                    <a:pt x="12653" y="16086"/>
                    <a:pt x="12653" y="16086"/>
                  </a:cubicBezTo>
                  <a:cubicBezTo>
                    <a:pt x="12706" y="16257"/>
                    <a:pt x="12706" y="16257"/>
                    <a:pt x="12706" y="16257"/>
                  </a:cubicBezTo>
                  <a:cubicBezTo>
                    <a:pt x="12706" y="16257"/>
                    <a:pt x="12812" y="16257"/>
                    <a:pt x="12653" y="16371"/>
                  </a:cubicBezTo>
                  <a:cubicBezTo>
                    <a:pt x="12547" y="16484"/>
                    <a:pt x="12441" y="16484"/>
                    <a:pt x="12441" y="16484"/>
                  </a:cubicBezTo>
                  <a:cubicBezTo>
                    <a:pt x="12441" y="16427"/>
                    <a:pt x="12441" y="16427"/>
                    <a:pt x="12441" y="16427"/>
                  </a:cubicBezTo>
                  <a:cubicBezTo>
                    <a:pt x="12282" y="16484"/>
                    <a:pt x="12282" y="16484"/>
                    <a:pt x="12282" y="16484"/>
                  </a:cubicBezTo>
                  <a:cubicBezTo>
                    <a:pt x="12282" y="16484"/>
                    <a:pt x="12229" y="16541"/>
                    <a:pt x="12229" y="16484"/>
                  </a:cubicBezTo>
                  <a:cubicBezTo>
                    <a:pt x="12176" y="16371"/>
                    <a:pt x="12124" y="16257"/>
                    <a:pt x="12229" y="16257"/>
                  </a:cubicBezTo>
                  <a:cubicBezTo>
                    <a:pt x="12335" y="16200"/>
                    <a:pt x="12335" y="16143"/>
                    <a:pt x="12388" y="16200"/>
                  </a:cubicBezTo>
                  <a:cubicBezTo>
                    <a:pt x="12441" y="16257"/>
                    <a:pt x="12441" y="16314"/>
                    <a:pt x="12441" y="16314"/>
                  </a:cubicBezTo>
                  <a:cubicBezTo>
                    <a:pt x="12494" y="16143"/>
                    <a:pt x="12494" y="16143"/>
                    <a:pt x="12494" y="16143"/>
                  </a:cubicBezTo>
                  <a:cubicBezTo>
                    <a:pt x="12494" y="16143"/>
                    <a:pt x="12441" y="16143"/>
                    <a:pt x="12441" y="16086"/>
                  </a:cubicBezTo>
                  <a:cubicBezTo>
                    <a:pt x="12494" y="16029"/>
                    <a:pt x="12494" y="16029"/>
                    <a:pt x="12547" y="15973"/>
                  </a:cubicBezTo>
                  <a:cubicBezTo>
                    <a:pt x="12600" y="15973"/>
                    <a:pt x="12653" y="16029"/>
                    <a:pt x="12653" y="16029"/>
                  </a:cubicBezTo>
                  <a:cubicBezTo>
                    <a:pt x="12600" y="15859"/>
                    <a:pt x="12600" y="15859"/>
                    <a:pt x="12600" y="15859"/>
                  </a:cubicBezTo>
                  <a:close/>
                  <a:moveTo>
                    <a:pt x="13659" y="16257"/>
                  </a:moveTo>
                  <a:cubicBezTo>
                    <a:pt x="13659" y="16257"/>
                    <a:pt x="13659" y="16257"/>
                    <a:pt x="13659" y="16257"/>
                  </a:cubicBezTo>
                  <a:cubicBezTo>
                    <a:pt x="13659" y="16257"/>
                    <a:pt x="13712" y="16257"/>
                    <a:pt x="13712" y="16314"/>
                  </a:cubicBezTo>
                  <a:cubicBezTo>
                    <a:pt x="13765" y="16371"/>
                    <a:pt x="13765" y="16371"/>
                    <a:pt x="13712" y="16371"/>
                  </a:cubicBezTo>
                  <a:cubicBezTo>
                    <a:pt x="13712" y="16371"/>
                    <a:pt x="13553" y="16371"/>
                    <a:pt x="13553" y="16371"/>
                  </a:cubicBezTo>
                  <a:cubicBezTo>
                    <a:pt x="13553" y="16371"/>
                    <a:pt x="13500" y="16427"/>
                    <a:pt x="13500" y="16314"/>
                  </a:cubicBezTo>
                  <a:cubicBezTo>
                    <a:pt x="13500" y="16257"/>
                    <a:pt x="13500" y="16200"/>
                    <a:pt x="13500" y="16200"/>
                  </a:cubicBezTo>
                  <a:cubicBezTo>
                    <a:pt x="13659" y="16257"/>
                    <a:pt x="13659" y="16257"/>
                    <a:pt x="13659" y="16257"/>
                  </a:cubicBezTo>
                  <a:close/>
                  <a:moveTo>
                    <a:pt x="14029" y="16029"/>
                  </a:moveTo>
                  <a:cubicBezTo>
                    <a:pt x="14029" y="16029"/>
                    <a:pt x="14029" y="16029"/>
                    <a:pt x="14029" y="16029"/>
                  </a:cubicBezTo>
                  <a:cubicBezTo>
                    <a:pt x="14241" y="15859"/>
                    <a:pt x="14241" y="15859"/>
                    <a:pt x="14241" y="15859"/>
                  </a:cubicBezTo>
                  <a:cubicBezTo>
                    <a:pt x="14241" y="15859"/>
                    <a:pt x="14294" y="16029"/>
                    <a:pt x="14188" y="16086"/>
                  </a:cubicBezTo>
                  <a:cubicBezTo>
                    <a:pt x="14135" y="16143"/>
                    <a:pt x="14082" y="16143"/>
                    <a:pt x="14082" y="16143"/>
                  </a:cubicBezTo>
                  <a:cubicBezTo>
                    <a:pt x="13976" y="16086"/>
                    <a:pt x="13976" y="16086"/>
                    <a:pt x="13976" y="16086"/>
                  </a:cubicBezTo>
                  <a:cubicBezTo>
                    <a:pt x="14029" y="16029"/>
                    <a:pt x="14029" y="16029"/>
                    <a:pt x="14029" y="16029"/>
                  </a:cubicBezTo>
                  <a:close/>
                  <a:moveTo>
                    <a:pt x="14453" y="15632"/>
                  </a:moveTo>
                  <a:cubicBezTo>
                    <a:pt x="14453" y="15632"/>
                    <a:pt x="14453" y="15632"/>
                    <a:pt x="14453" y="15632"/>
                  </a:cubicBezTo>
                  <a:cubicBezTo>
                    <a:pt x="14453" y="15632"/>
                    <a:pt x="14400" y="15802"/>
                    <a:pt x="14453" y="15916"/>
                  </a:cubicBezTo>
                  <a:cubicBezTo>
                    <a:pt x="14453" y="15973"/>
                    <a:pt x="14453" y="15973"/>
                    <a:pt x="14506" y="15973"/>
                  </a:cubicBezTo>
                  <a:cubicBezTo>
                    <a:pt x="14559" y="16029"/>
                    <a:pt x="14612" y="16029"/>
                    <a:pt x="14665" y="15973"/>
                  </a:cubicBezTo>
                  <a:cubicBezTo>
                    <a:pt x="14718" y="15973"/>
                    <a:pt x="14718" y="15802"/>
                    <a:pt x="14718" y="15802"/>
                  </a:cubicBezTo>
                  <a:cubicBezTo>
                    <a:pt x="14718" y="15802"/>
                    <a:pt x="14718" y="15745"/>
                    <a:pt x="14665" y="15632"/>
                  </a:cubicBezTo>
                  <a:cubicBezTo>
                    <a:pt x="14612" y="15461"/>
                    <a:pt x="14506" y="15632"/>
                    <a:pt x="14453" y="15632"/>
                  </a:cubicBezTo>
                  <a:close/>
                  <a:moveTo>
                    <a:pt x="14506" y="14722"/>
                  </a:moveTo>
                  <a:cubicBezTo>
                    <a:pt x="14506" y="14722"/>
                    <a:pt x="14506" y="14722"/>
                    <a:pt x="14506" y="14722"/>
                  </a:cubicBezTo>
                  <a:cubicBezTo>
                    <a:pt x="14506" y="14665"/>
                    <a:pt x="14506" y="14495"/>
                    <a:pt x="14559" y="14438"/>
                  </a:cubicBezTo>
                  <a:cubicBezTo>
                    <a:pt x="14612" y="14438"/>
                    <a:pt x="14612" y="14381"/>
                    <a:pt x="14665" y="14324"/>
                  </a:cubicBezTo>
                  <a:cubicBezTo>
                    <a:pt x="14665" y="14267"/>
                    <a:pt x="14876" y="14267"/>
                    <a:pt x="14876" y="14267"/>
                  </a:cubicBezTo>
                  <a:cubicBezTo>
                    <a:pt x="14929" y="14381"/>
                    <a:pt x="14929" y="14381"/>
                    <a:pt x="14929" y="14381"/>
                  </a:cubicBezTo>
                  <a:cubicBezTo>
                    <a:pt x="14929" y="14381"/>
                    <a:pt x="14929" y="14495"/>
                    <a:pt x="14929" y="14552"/>
                  </a:cubicBezTo>
                  <a:cubicBezTo>
                    <a:pt x="14929" y="14608"/>
                    <a:pt x="14929" y="14608"/>
                    <a:pt x="14982" y="14722"/>
                  </a:cubicBezTo>
                  <a:cubicBezTo>
                    <a:pt x="14982" y="14779"/>
                    <a:pt x="14929" y="14893"/>
                    <a:pt x="14929" y="14949"/>
                  </a:cubicBezTo>
                  <a:cubicBezTo>
                    <a:pt x="14876" y="15006"/>
                    <a:pt x="14876" y="15063"/>
                    <a:pt x="14824" y="15063"/>
                  </a:cubicBezTo>
                  <a:cubicBezTo>
                    <a:pt x="14771" y="15120"/>
                    <a:pt x="14771" y="15177"/>
                    <a:pt x="14718" y="15120"/>
                  </a:cubicBezTo>
                  <a:cubicBezTo>
                    <a:pt x="14665" y="15063"/>
                    <a:pt x="14506" y="15006"/>
                    <a:pt x="14506" y="14949"/>
                  </a:cubicBezTo>
                  <a:cubicBezTo>
                    <a:pt x="14506" y="14949"/>
                    <a:pt x="14506" y="14836"/>
                    <a:pt x="14506" y="14836"/>
                  </a:cubicBezTo>
                  <a:cubicBezTo>
                    <a:pt x="14506" y="14722"/>
                    <a:pt x="14506" y="14722"/>
                    <a:pt x="14506" y="14722"/>
                  </a:cubicBezTo>
                  <a:close/>
                  <a:moveTo>
                    <a:pt x="13871" y="15006"/>
                  </a:moveTo>
                  <a:cubicBezTo>
                    <a:pt x="13871" y="15006"/>
                    <a:pt x="13871" y="15006"/>
                    <a:pt x="13871" y="15006"/>
                  </a:cubicBezTo>
                  <a:cubicBezTo>
                    <a:pt x="13871" y="14949"/>
                    <a:pt x="13924" y="14722"/>
                    <a:pt x="13924" y="14722"/>
                  </a:cubicBezTo>
                  <a:cubicBezTo>
                    <a:pt x="13924" y="14722"/>
                    <a:pt x="13924" y="14608"/>
                    <a:pt x="14029" y="14552"/>
                  </a:cubicBezTo>
                  <a:cubicBezTo>
                    <a:pt x="14082" y="14552"/>
                    <a:pt x="14082" y="14495"/>
                    <a:pt x="14135" y="14552"/>
                  </a:cubicBezTo>
                  <a:cubicBezTo>
                    <a:pt x="14188" y="14608"/>
                    <a:pt x="14241" y="14665"/>
                    <a:pt x="14241" y="14665"/>
                  </a:cubicBezTo>
                  <a:cubicBezTo>
                    <a:pt x="14241" y="14665"/>
                    <a:pt x="14188" y="14665"/>
                    <a:pt x="14188" y="14722"/>
                  </a:cubicBezTo>
                  <a:cubicBezTo>
                    <a:pt x="14188" y="14722"/>
                    <a:pt x="14241" y="14836"/>
                    <a:pt x="14241" y="14836"/>
                  </a:cubicBezTo>
                  <a:cubicBezTo>
                    <a:pt x="14188" y="14893"/>
                    <a:pt x="14135" y="14949"/>
                    <a:pt x="14082" y="15006"/>
                  </a:cubicBezTo>
                  <a:cubicBezTo>
                    <a:pt x="14082" y="15063"/>
                    <a:pt x="13976" y="15120"/>
                    <a:pt x="13976" y="15120"/>
                  </a:cubicBezTo>
                  <a:cubicBezTo>
                    <a:pt x="13818" y="15234"/>
                    <a:pt x="13818" y="15234"/>
                    <a:pt x="13818" y="15234"/>
                  </a:cubicBezTo>
                  <a:cubicBezTo>
                    <a:pt x="13818" y="15291"/>
                    <a:pt x="13818" y="15291"/>
                    <a:pt x="13818" y="15291"/>
                  </a:cubicBezTo>
                  <a:cubicBezTo>
                    <a:pt x="13765" y="15291"/>
                    <a:pt x="13765" y="15291"/>
                    <a:pt x="13765" y="15291"/>
                  </a:cubicBezTo>
                  <a:cubicBezTo>
                    <a:pt x="13659" y="15120"/>
                    <a:pt x="13659" y="15120"/>
                    <a:pt x="13659" y="15120"/>
                  </a:cubicBezTo>
                  <a:cubicBezTo>
                    <a:pt x="13818" y="15006"/>
                    <a:pt x="13818" y="15006"/>
                    <a:pt x="13818" y="15006"/>
                  </a:cubicBezTo>
                  <a:cubicBezTo>
                    <a:pt x="13871" y="15006"/>
                    <a:pt x="13871" y="15006"/>
                    <a:pt x="13871" y="15006"/>
                  </a:cubicBezTo>
                  <a:close/>
                  <a:moveTo>
                    <a:pt x="12812" y="15234"/>
                  </a:moveTo>
                  <a:cubicBezTo>
                    <a:pt x="12812" y="15234"/>
                    <a:pt x="12812" y="15234"/>
                    <a:pt x="12812" y="15234"/>
                  </a:cubicBezTo>
                  <a:cubicBezTo>
                    <a:pt x="12971" y="15177"/>
                    <a:pt x="12971" y="15177"/>
                    <a:pt x="12971" y="15177"/>
                  </a:cubicBezTo>
                  <a:cubicBezTo>
                    <a:pt x="13129" y="15291"/>
                    <a:pt x="13129" y="15291"/>
                    <a:pt x="13129" y="15291"/>
                  </a:cubicBezTo>
                  <a:cubicBezTo>
                    <a:pt x="13129" y="15461"/>
                    <a:pt x="13129" y="15461"/>
                    <a:pt x="13129" y="15461"/>
                  </a:cubicBezTo>
                  <a:cubicBezTo>
                    <a:pt x="13129" y="15461"/>
                    <a:pt x="13024" y="15688"/>
                    <a:pt x="12971" y="15632"/>
                  </a:cubicBezTo>
                  <a:cubicBezTo>
                    <a:pt x="12918" y="15518"/>
                    <a:pt x="12918" y="15404"/>
                    <a:pt x="12918" y="15404"/>
                  </a:cubicBezTo>
                  <a:cubicBezTo>
                    <a:pt x="12812" y="15234"/>
                    <a:pt x="12812" y="15234"/>
                    <a:pt x="12812" y="15234"/>
                  </a:cubicBezTo>
                  <a:close/>
                  <a:moveTo>
                    <a:pt x="12124" y="14779"/>
                  </a:moveTo>
                  <a:cubicBezTo>
                    <a:pt x="12124" y="14779"/>
                    <a:pt x="12124" y="14779"/>
                    <a:pt x="12124" y="14779"/>
                  </a:cubicBezTo>
                  <a:cubicBezTo>
                    <a:pt x="12124" y="14779"/>
                    <a:pt x="12388" y="14722"/>
                    <a:pt x="12388" y="14779"/>
                  </a:cubicBezTo>
                  <a:cubicBezTo>
                    <a:pt x="12388" y="14779"/>
                    <a:pt x="12388" y="14893"/>
                    <a:pt x="12441" y="14893"/>
                  </a:cubicBezTo>
                  <a:cubicBezTo>
                    <a:pt x="12441" y="14949"/>
                    <a:pt x="12282" y="15120"/>
                    <a:pt x="12229" y="15120"/>
                  </a:cubicBezTo>
                  <a:cubicBezTo>
                    <a:pt x="12229" y="15120"/>
                    <a:pt x="12176" y="15063"/>
                    <a:pt x="12176" y="15063"/>
                  </a:cubicBezTo>
                  <a:cubicBezTo>
                    <a:pt x="12124" y="14779"/>
                    <a:pt x="12124" y="14779"/>
                    <a:pt x="12124" y="14779"/>
                  </a:cubicBezTo>
                  <a:close/>
                  <a:moveTo>
                    <a:pt x="11912" y="14040"/>
                  </a:moveTo>
                  <a:cubicBezTo>
                    <a:pt x="11912" y="14040"/>
                    <a:pt x="11912" y="14040"/>
                    <a:pt x="11912" y="14040"/>
                  </a:cubicBezTo>
                  <a:cubicBezTo>
                    <a:pt x="11912" y="14040"/>
                    <a:pt x="11965" y="13983"/>
                    <a:pt x="12018" y="13983"/>
                  </a:cubicBezTo>
                  <a:cubicBezTo>
                    <a:pt x="12071" y="14040"/>
                    <a:pt x="12071" y="14211"/>
                    <a:pt x="12071" y="14211"/>
                  </a:cubicBezTo>
                  <a:cubicBezTo>
                    <a:pt x="12018" y="14381"/>
                    <a:pt x="12018" y="14381"/>
                    <a:pt x="12018" y="14381"/>
                  </a:cubicBezTo>
                  <a:cubicBezTo>
                    <a:pt x="12018" y="14381"/>
                    <a:pt x="11912" y="14552"/>
                    <a:pt x="11912" y="14552"/>
                  </a:cubicBezTo>
                  <a:cubicBezTo>
                    <a:pt x="11912" y="14495"/>
                    <a:pt x="11859" y="14211"/>
                    <a:pt x="11859" y="14211"/>
                  </a:cubicBezTo>
                  <a:cubicBezTo>
                    <a:pt x="11912" y="14040"/>
                    <a:pt x="11912" y="14040"/>
                    <a:pt x="11912" y="14040"/>
                  </a:cubicBezTo>
                  <a:close/>
                  <a:moveTo>
                    <a:pt x="11594" y="13585"/>
                  </a:moveTo>
                  <a:cubicBezTo>
                    <a:pt x="11594" y="13585"/>
                    <a:pt x="11594" y="13585"/>
                    <a:pt x="11594" y="13585"/>
                  </a:cubicBezTo>
                  <a:cubicBezTo>
                    <a:pt x="11594" y="13585"/>
                    <a:pt x="11541" y="13756"/>
                    <a:pt x="11541" y="13813"/>
                  </a:cubicBezTo>
                  <a:cubicBezTo>
                    <a:pt x="11541" y="13813"/>
                    <a:pt x="11594" y="13926"/>
                    <a:pt x="11594" y="13926"/>
                  </a:cubicBezTo>
                  <a:cubicBezTo>
                    <a:pt x="11594" y="13983"/>
                    <a:pt x="11594" y="13926"/>
                    <a:pt x="11647" y="13869"/>
                  </a:cubicBezTo>
                  <a:cubicBezTo>
                    <a:pt x="11700" y="13813"/>
                    <a:pt x="11700" y="13756"/>
                    <a:pt x="11700" y="13756"/>
                  </a:cubicBezTo>
                  <a:cubicBezTo>
                    <a:pt x="11700" y="13756"/>
                    <a:pt x="11806" y="13699"/>
                    <a:pt x="11806" y="13642"/>
                  </a:cubicBezTo>
                  <a:cubicBezTo>
                    <a:pt x="11859" y="13642"/>
                    <a:pt x="11859" y="13472"/>
                    <a:pt x="11859" y="13472"/>
                  </a:cubicBezTo>
                  <a:cubicBezTo>
                    <a:pt x="11859" y="13472"/>
                    <a:pt x="11700" y="13358"/>
                    <a:pt x="11700" y="13415"/>
                  </a:cubicBezTo>
                  <a:cubicBezTo>
                    <a:pt x="11647" y="13415"/>
                    <a:pt x="11594" y="13585"/>
                    <a:pt x="11594" y="13585"/>
                  </a:cubicBezTo>
                  <a:close/>
                  <a:moveTo>
                    <a:pt x="12335" y="13472"/>
                  </a:moveTo>
                  <a:cubicBezTo>
                    <a:pt x="12335" y="13472"/>
                    <a:pt x="12335" y="13472"/>
                    <a:pt x="12335" y="13472"/>
                  </a:cubicBezTo>
                  <a:cubicBezTo>
                    <a:pt x="12388" y="13472"/>
                    <a:pt x="12388" y="13472"/>
                    <a:pt x="12388" y="13472"/>
                  </a:cubicBezTo>
                  <a:cubicBezTo>
                    <a:pt x="12388" y="13528"/>
                    <a:pt x="12388" y="13528"/>
                    <a:pt x="12388" y="13528"/>
                  </a:cubicBezTo>
                  <a:cubicBezTo>
                    <a:pt x="12388" y="13528"/>
                    <a:pt x="12547" y="13472"/>
                    <a:pt x="12600" y="13472"/>
                  </a:cubicBezTo>
                  <a:cubicBezTo>
                    <a:pt x="12653" y="13415"/>
                    <a:pt x="12600" y="13358"/>
                    <a:pt x="12600" y="13301"/>
                  </a:cubicBezTo>
                  <a:cubicBezTo>
                    <a:pt x="12547" y="13244"/>
                    <a:pt x="12335" y="13472"/>
                    <a:pt x="12335" y="13472"/>
                  </a:cubicBezTo>
                  <a:close/>
                  <a:moveTo>
                    <a:pt x="13076" y="13699"/>
                  </a:moveTo>
                  <a:cubicBezTo>
                    <a:pt x="13076" y="13699"/>
                    <a:pt x="13076" y="13699"/>
                    <a:pt x="13076" y="13699"/>
                  </a:cubicBezTo>
                  <a:cubicBezTo>
                    <a:pt x="12971" y="13642"/>
                    <a:pt x="12971" y="13642"/>
                    <a:pt x="12971" y="13642"/>
                  </a:cubicBezTo>
                  <a:cubicBezTo>
                    <a:pt x="12971" y="13756"/>
                    <a:pt x="12971" y="13756"/>
                    <a:pt x="12971" y="13756"/>
                  </a:cubicBezTo>
                  <a:cubicBezTo>
                    <a:pt x="12971" y="13756"/>
                    <a:pt x="13024" y="13869"/>
                    <a:pt x="13076" y="13926"/>
                  </a:cubicBezTo>
                  <a:cubicBezTo>
                    <a:pt x="13076" y="13926"/>
                    <a:pt x="12971" y="14040"/>
                    <a:pt x="12971" y="14040"/>
                  </a:cubicBezTo>
                  <a:cubicBezTo>
                    <a:pt x="13076" y="14211"/>
                    <a:pt x="13076" y="14211"/>
                    <a:pt x="13076" y="14211"/>
                  </a:cubicBezTo>
                  <a:cubicBezTo>
                    <a:pt x="13235" y="13926"/>
                    <a:pt x="13235" y="13926"/>
                    <a:pt x="13235" y="13926"/>
                  </a:cubicBezTo>
                  <a:cubicBezTo>
                    <a:pt x="13235" y="13926"/>
                    <a:pt x="13182" y="13813"/>
                    <a:pt x="13182" y="13813"/>
                  </a:cubicBezTo>
                  <a:cubicBezTo>
                    <a:pt x="13182" y="13756"/>
                    <a:pt x="13076" y="13699"/>
                    <a:pt x="13076" y="13699"/>
                  </a:cubicBezTo>
                  <a:close/>
                  <a:moveTo>
                    <a:pt x="13818" y="13699"/>
                  </a:moveTo>
                  <a:cubicBezTo>
                    <a:pt x="13818" y="13699"/>
                    <a:pt x="13818" y="13699"/>
                    <a:pt x="13818" y="13699"/>
                  </a:cubicBezTo>
                  <a:cubicBezTo>
                    <a:pt x="13871" y="13813"/>
                    <a:pt x="13871" y="13813"/>
                    <a:pt x="13871" y="13813"/>
                  </a:cubicBezTo>
                  <a:cubicBezTo>
                    <a:pt x="13871" y="13813"/>
                    <a:pt x="13818" y="13926"/>
                    <a:pt x="13765" y="13926"/>
                  </a:cubicBezTo>
                  <a:cubicBezTo>
                    <a:pt x="13765" y="13926"/>
                    <a:pt x="13712" y="13869"/>
                    <a:pt x="13712" y="13869"/>
                  </a:cubicBezTo>
                  <a:cubicBezTo>
                    <a:pt x="13818" y="13699"/>
                    <a:pt x="13818" y="13699"/>
                    <a:pt x="13818" y="13699"/>
                  </a:cubicBezTo>
                  <a:close/>
                  <a:moveTo>
                    <a:pt x="13976" y="13528"/>
                  </a:moveTo>
                  <a:cubicBezTo>
                    <a:pt x="13976" y="13528"/>
                    <a:pt x="13976" y="13528"/>
                    <a:pt x="13976" y="13528"/>
                  </a:cubicBezTo>
                  <a:cubicBezTo>
                    <a:pt x="14029" y="13642"/>
                    <a:pt x="14029" y="13642"/>
                    <a:pt x="14029" y="13642"/>
                  </a:cubicBezTo>
                  <a:cubicBezTo>
                    <a:pt x="14029" y="13642"/>
                    <a:pt x="14188" y="13585"/>
                    <a:pt x="14294" y="13528"/>
                  </a:cubicBezTo>
                  <a:cubicBezTo>
                    <a:pt x="14453" y="13472"/>
                    <a:pt x="14294" y="13415"/>
                    <a:pt x="14294" y="13415"/>
                  </a:cubicBezTo>
                  <a:cubicBezTo>
                    <a:pt x="14135" y="13415"/>
                    <a:pt x="14135" y="13415"/>
                    <a:pt x="14135" y="13415"/>
                  </a:cubicBezTo>
                  <a:cubicBezTo>
                    <a:pt x="14135" y="13415"/>
                    <a:pt x="13976" y="13472"/>
                    <a:pt x="13976" y="13528"/>
                  </a:cubicBezTo>
                  <a:close/>
                  <a:moveTo>
                    <a:pt x="13076" y="13074"/>
                  </a:moveTo>
                  <a:cubicBezTo>
                    <a:pt x="13076" y="13074"/>
                    <a:pt x="13076" y="13074"/>
                    <a:pt x="13076" y="13074"/>
                  </a:cubicBezTo>
                  <a:cubicBezTo>
                    <a:pt x="13235" y="13244"/>
                    <a:pt x="13235" y="13244"/>
                    <a:pt x="13235" y="13244"/>
                  </a:cubicBezTo>
                  <a:cubicBezTo>
                    <a:pt x="13235" y="13244"/>
                    <a:pt x="13447" y="13358"/>
                    <a:pt x="13500" y="13358"/>
                  </a:cubicBezTo>
                  <a:cubicBezTo>
                    <a:pt x="13500" y="13415"/>
                    <a:pt x="13606" y="13358"/>
                    <a:pt x="13712" y="13358"/>
                  </a:cubicBezTo>
                  <a:cubicBezTo>
                    <a:pt x="13765" y="13301"/>
                    <a:pt x="13765" y="13301"/>
                    <a:pt x="13765" y="13244"/>
                  </a:cubicBezTo>
                  <a:cubicBezTo>
                    <a:pt x="13765" y="13244"/>
                    <a:pt x="13712" y="13187"/>
                    <a:pt x="13712" y="13187"/>
                  </a:cubicBezTo>
                  <a:cubicBezTo>
                    <a:pt x="13712" y="13187"/>
                    <a:pt x="13659" y="13074"/>
                    <a:pt x="13500" y="13074"/>
                  </a:cubicBezTo>
                  <a:cubicBezTo>
                    <a:pt x="13394" y="13131"/>
                    <a:pt x="13394" y="13074"/>
                    <a:pt x="13394" y="13074"/>
                  </a:cubicBezTo>
                  <a:cubicBezTo>
                    <a:pt x="13394" y="13074"/>
                    <a:pt x="13341" y="13074"/>
                    <a:pt x="13182" y="13017"/>
                  </a:cubicBezTo>
                  <a:cubicBezTo>
                    <a:pt x="13076" y="13017"/>
                    <a:pt x="13129" y="13074"/>
                    <a:pt x="13076" y="13074"/>
                  </a:cubicBezTo>
                  <a:close/>
                  <a:moveTo>
                    <a:pt x="12971" y="13017"/>
                  </a:moveTo>
                  <a:cubicBezTo>
                    <a:pt x="12971" y="13017"/>
                    <a:pt x="12971" y="13017"/>
                    <a:pt x="12971" y="13017"/>
                  </a:cubicBezTo>
                  <a:cubicBezTo>
                    <a:pt x="13024" y="12960"/>
                    <a:pt x="13024" y="12960"/>
                    <a:pt x="13024" y="12960"/>
                  </a:cubicBezTo>
                  <a:cubicBezTo>
                    <a:pt x="13024" y="12960"/>
                    <a:pt x="13024" y="12846"/>
                    <a:pt x="13024" y="12676"/>
                  </a:cubicBezTo>
                  <a:cubicBezTo>
                    <a:pt x="13024" y="12562"/>
                    <a:pt x="12971" y="12619"/>
                    <a:pt x="12971" y="12619"/>
                  </a:cubicBezTo>
                  <a:cubicBezTo>
                    <a:pt x="12971" y="12562"/>
                    <a:pt x="12971" y="12505"/>
                    <a:pt x="12918" y="12392"/>
                  </a:cubicBezTo>
                  <a:cubicBezTo>
                    <a:pt x="12865" y="12335"/>
                    <a:pt x="12865" y="12392"/>
                    <a:pt x="12812" y="12392"/>
                  </a:cubicBezTo>
                  <a:cubicBezTo>
                    <a:pt x="12812" y="12392"/>
                    <a:pt x="12759" y="12448"/>
                    <a:pt x="12653" y="12448"/>
                  </a:cubicBezTo>
                  <a:cubicBezTo>
                    <a:pt x="12547" y="12448"/>
                    <a:pt x="12600" y="12335"/>
                    <a:pt x="12547" y="12278"/>
                  </a:cubicBezTo>
                  <a:cubicBezTo>
                    <a:pt x="12494" y="12221"/>
                    <a:pt x="12388" y="12221"/>
                    <a:pt x="12388" y="12221"/>
                  </a:cubicBezTo>
                  <a:cubicBezTo>
                    <a:pt x="12335" y="12221"/>
                    <a:pt x="12229" y="12392"/>
                    <a:pt x="12229" y="12448"/>
                  </a:cubicBezTo>
                  <a:cubicBezTo>
                    <a:pt x="12229" y="12505"/>
                    <a:pt x="12282" y="12505"/>
                    <a:pt x="12441" y="12676"/>
                  </a:cubicBezTo>
                  <a:cubicBezTo>
                    <a:pt x="12600" y="12789"/>
                    <a:pt x="12653" y="12789"/>
                    <a:pt x="12706" y="12789"/>
                  </a:cubicBezTo>
                  <a:cubicBezTo>
                    <a:pt x="12759" y="12846"/>
                    <a:pt x="12918" y="12960"/>
                    <a:pt x="12971" y="13017"/>
                  </a:cubicBezTo>
                  <a:close/>
                  <a:moveTo>
                    <a:pt x="11435" y="20463"/>
                  </a:moveTo>
                  <a:cubicBezTo>
                    <a:pt x="11435" y="20463"/>
                    <a:pt x="11435" y="20463"/>
                    <a:pt x="11435" y="20463"/>
                  </a:cubicBezTo>
                  <a:cubicBezTo>
                    <a:pt x="11488" y="20293"/>
                    <a:pt x="11488" y="20293"/>
                    <a:pt x="11488" y="20293"/>
                  </a:cubicBezTo>
                  <a:cubicBezTo>
                    <a:pt x="11382" y="20122"/>
                    <a:pt x="11382" y="20122"/>
                    <a:pt x="11382" y="20122"/>
                  </a:cubicBezTo>
                  <a:cubicBezTo>
                    <a:pt x="11382" y="19895"/>
                    <a:pt x="11382" y="19895"/>
                    <a:pt x="11382" y="19895"/>
                  </a:cubicBezTo>
                  <a:cubicBezTo>
                    <a:pt x="11435" y="19838"/>
                    <a:pt x="11435" y="19838"/>
                    <a:pt x="11435" y="19838"/>
                  </a:cubicBezTo>
                  <a:cubicBezTo>
                    <a:pt x="11435" y="19838"/>
                    <a:pt x="11541" y="19952"/>
                    <a:pt x="11541" y="20008"/>
                  </a:cubicBezTo>
                  <a:cubicBezTo>
                    <a:pt x="11541" y="20065"/>
                    <a:pt x="11541" y="20179"/>
                    <a:pt x="11541" y="20179"/>
                  </a:cubicBezTo>
                  <a:cubicBezTo>
                    <a:pt x="11541" y="20179"/>
                    <a:pt x="11700" y="20293"/>
                    <a:pt x="11700" y="20293"/>
                  </a:cubicBezTo>
                  <a:cubicBezTo>
                    <a:pt x="11753" y="20293"/>
                    <a:pt x="12071" y="20236"/>
                    <a:pt x="12071" y="20236"/>
                  </a:cubicBezTo>
                  <a:cubicBezTo>
                    <a:pt x="12071" y="20236"/>
                    <a:pt x="12176" y="20065"/>
                    <a:pt x="12176" y="20065"/>
                  </a:cubicBezTo>
                  <a:cubicBezTo>
                    <a:pt x="12229" y="20008"/>
                    <a:pt x="12388" y="19895"/>
                    <a:pt x="12388" y="19895"/>
                  </a:cubicBezTo>
                  <a:cubicBezTo>
                    <a:pt x="12388" y="19895"/>
                    <a:pt x="12388" y="19838"/>
                    <a:pt x="12494" y="19952"/>
                  </a:cubicBezTo>
                  <a:cubicBezTo>
                    <a:pt x="12600" y="20008"/>
                    <a:pt x="12494" y="20179"/>
                    <a:pt x="12494" y="20179"/>
                  </a:cubicBezTo>
                  <a:cubicBezTo>
                    <a:pt x="12441" y="20179"/>
                    <a:pt x="12441" y="20236"/>
                    <a:pt x="12441" y="20236"/>
                  </a:cubicBezTo>
                  <a:cubicBezTo>
                    <a:pt x="12547" y="20349"/>
                    <a:pt x="12547" y="20349"/>
                    <a:pt x="12547" y="20349"/>
                  </a:cubicBezTo>
                  <a:cubicBezTo>
                    <a:pt x="12547" y="20349"/>
                    <a:pt x="12547" y="20236"/>
                    <a:pt x="12600" y="20236"/>
                  </a:cubicBezTo>
                  <a:cubicBezTo>
                    <a:pt x="12653" y="20236"/>
                    <a:pt x="12653" y="20179"/>
                    <a:pt x="12706" y="20179"/>
                  </a:cubicBezTo>
                  <a:cubicBezTo>
                    <a:pt x="12706" y="20236"/>
                    <a:pt x="12812" y="20349"/>
                    <a:pt x="12812" y="20349"/>
                  </a:cubicBezTo>
                  <a:cubicBezTo>
                    <a:pt x="12812" y="20349"/>
                    <a:pt x="12812" y="20520"/>
                    <a:pt x="12865" y="20520"/>
                  </a:cubicBezTo>
                  <a:cubicBezTo>
                    <a:pt x="12918" y="20463"/>
                    <a:pt x="13024" y="20520"/>
                    <a:pt x="13076" y="20463"/>
                  </a:cubicBezTo>
                  <a:cubicBezTo>
                    <a:pt x="13129" y="20463"/>
                    <a:pt x="13659" y="20293"/>
                    <a:pt x="13659" y="20293"/>
                  </a:cubicBezTo>
                  <a:cubicBezTo>
                    <a:pt x="13818" y="20179"/>
                    <a:pt x="13818" y="20179"/>
                    <a:pt x="13818" y="20179"/>
                  </a:cubicBezTo>
                  <a:cubicBezTo>
                    <a:pt x="13818" y="20179"/>
                    <a:pt x="13924" y="20122"/>
                    <a:pt x="14029" y="20122"/>
                  </a:cubicBezTo>
                  <a:cubicBezTo>
                    <a:pt x="14082" y="20122"/>
                    <a:pt x="14400" y="20008"/>
                    <a:pt x="14400" y="20008"/>
                  </a:cubicBezTo>
                  <a:cubicBezTo>
                    <a:pt x="14400" y="20008"/>
                    <a:pt x="14559" y="19895"/>
                    <a:pt x="14665" y="19952"/>
                  </a:cubicBezTo>
                  <a:cubicBezTo>
                    <a:pt x="14718" y="20065"/>
                    <a:pt x="14929" y="20236"/>
                    <a:pt x="14929" y="20236"/>
                  </a:cubicBezTo>
                  <a:cubicBezTo>
                    <a:pt x="15247" y="20179"/>
                    <a:pt x="15247" y="20179"/>
                    <a:pt x="15247" y="20179"/>
                  </a:cubicBezTo>
                  <a:cubicBezTo>
                    <a:pt x="15247" y="20179"/>
                    <a:pt x="15353" y="20122"/>
                    <a:pt x="15353" y="20122"/>
                  </a:cubicBezTo>
                  <a:cubicBezTo>
                    <a:pt x="15406" y="20179"/>
                    <a:pt x="15724" y="20122"/>
                    <a:pt x="15724" y="20122"/>
                  </a:cubicBezTo>
                  <a:cubicBezTo>
                    <a:pt x="15724" y="20122"/>
                    <a:pt x="15882" y="19952"/>
                    <a:pt x="15935" y="19952"/>
                  </a:cubicBezTo>
                  <a:cubicBezTo>
                    <a:pt x="15935" y="19952"/>
                    <a:pt x="16306" y="19838"/>
                    <a:pt x="16306" y="19838"/>
                  </a:cubicBezTo>
                  <a:cubicBezTo>
                    <a:pt x="16306" y="19838"/>
                    <a:pt x="16359" y="19838"/>
                    <a:pt x="16359" y="19952"/>
                  </a:cubicBezTo>
                  <a:cubicBezTo>
                    <a:pt x="16359" y="20065"/>
                    <a:pt x="16359" y="20236"/>
                    <a:pt x="16359" y="20293"/>
                  </a:cubicBezTo>
                  <a:cubicBezTo>
                    <a:pt x="16412" y="20349"/>
                    <a:pt x="16359" y="20463"/>
                    <a:pt x="16465" y="20463"/>
                  </a:cubicBezTo>
                  <a:cubicBezTo>
                    <a:pt x="16571" y="20406"/>
                    <a:pt x="16676" y="20349"/>
                    <a:pt x="16676" y="20349"/>
                  </a:cubicBezTo>
                  <a:cubicBezTo>
                    <a:pt x="16676" y="20349"/>
                    <a:pt x="16571" y="20349"/>
                    <a:pt x="16782" y="20236"/>
                  </a:cubicBezTo>
                  <a:cubicBezTo>
                    <a:pt x="16941" y="20122"/>
                    <a:pt x="16994" y="20065"/>
                    <a:pt x="17047" y="20065"/>
                  </a:cubicBezTo>
                  <a:cubicBezTo>
                    <a:pt x="17100" y="20065"/>
                    <a:pt x="17100" y="20008"/>
                    <a:pt x="17153" y="20008"/>
                  </a:cubicBezTo>
                  <a:cubicBezTo>
                    <a:pt x="17259" y="20008"/>
                    <a:pt x="17259" y="20008"/>
                    <a:pt x="17312" y="20008"/>
                  </a:cubicBezTo>
                  <a:cubicBezTo>
                    <a:pt x="17365" y="19952"/>
                    <a:pt x="17471" y="19781"/>
                    <a:pt x="17471" y="19781"/>
                  </a:cubicBezTo>
                  <a:cubicBezTo>
                    <a:pt x="17471" y="19781"/>
                    <a:pt x="17524" y="19667"/>
                    <a:pt x="17576" y="19667"/>
                  </a:cubicBezTo>
                  <a:cubicBezTo>
                    <a:pt x="17576" y="19667"/>
                    <a:pt x="17682" y="19611"/>
                    <a:pt x="17682" y="19611"/>
                  </a:cubicBezTo>
                  <a:cubicBezTo>
                    <a:pt x="17629" y="19781"/>
                    <a:pt x="17629" y="19781"/>
                    <a:pt x="17629" y="19781"/>
                  </a:cubicBezTo>
                  <a:cubicBezTo>
                    <a:pt x="17629" y="19781"/>
                    <a:pt x="17735" y="20008"/>
                    <a:pt x="17735" y="20065"/>
                  </a:cubicBezTo>
                  <a:cubicBezTo>
                    <a:pt x="17735" y="20065"/>
                    <a:pt x="17735" y="20122"/>
                    <a:pt x="17682" y="20179"/>
                  </a:cubicBezTo>
                  <a:cubicBezTo>
                    <a:pt x="17682" y="20293"/>
                    <a:pt x="17682" y="20349"/>
                    <a:pt x="17682" y="20349"/>
                  </a:cubicBezTo>
                  <a:cubicBezTo>
                    <a:pt x="17629" y="20406"/>
                    <a:pt x="17629" y="20463"/>
                    <a:pt x="17629" y="20520"/>
                  </a:cubicBezTo>
                  <a:cubicBezTo>
                    <a:pt x="17576" y="20520"/>
                    <a:pt x="17418" y="20634"/>
                    <a:pt x="17418" y="20634"/>
                  </a:cubicBezTo>
                  <a:cubicBezTo>
                    <a:pt x="17153" y="20577"/>
                    <a:pt x="17153" y="20577"/>
                    <a:pt x="17153" y="20577"/>
                  </a:cubicBezTo>
                  <a:cubicBezTo>
                    <a:pt x="17153" y="20577"/>
                    <a:pt x="17047" y="20634"/>
                    <a:pt x="16994" y="20691"/>
                  </a:cubicBezTo>
                  <a:cubicBezTo>
                    <a:pt x="16888" y="20691"/>
                    <a:pt x="16729" y="20861"/>
                    <a:pt x="16676" y="20861"/>
                  </a:cubicBezTo>
                  <a:cubicBezTo>
                    <a:pt x="16624" y="20861"/>
                    <a:pt x="16465" y="20861"/>
                    <a:pt x="16306" y="20861"/>
                  </a:cubicBezTo>
                  <a:cubicBezTo>
                    <a:pt x="16147" y="20918"/>
                    <a:pt x="15724" y="21032"/>
                    <a:pt x="15724" y="21032"/>
                  </a:cubicBezTo>
                  <a:cubicBezTo>
                    <a:pt x="15724" y="21032"/>
                    <a:pt x="15671" y="21088"/>
                    <a:pt x="15618" y="21145"/>
                  </a:cubicBezTo>
                  <a:cubicBezTo>
                    <a:pt x="15512" y="21145"/>
                    <a:pt x="15300" y="21259"/>
                    <a:pt x="15247" y="21259"/>
                  </a:cubicBezTo>
                  <a:cubicBezTo>
                    <a:pt x="15194" y="21316"/>
                    <a:pt x="15035" y="21429"/>
                    <a:pt x="14982" y="21429"/>
                  </a:cubicBezTo>
                  <a:cubicBezTo>
                    <a:pt x="14929" y="21429"/>
                    <a:pt x="14876" y="21486"/>
                    <a:pt x="14665" y="21486"/>
                  </a:cubicBezTo>
                  <a:cubicBezTo>
                    <a:pt x="14400" y="21543"/>
                    <a:pt x="14347" y="21600"/>
                    <a:pt x="14347" y="21600"/>
                  </a:cubicBezTo>
                  <a:cubicBezTo>
                    <a:pt x="14188" y="21600"/>
                    <a:pt x="14188" y="21600"/>
                    <a:pt x="14188" y="21600"/>
                  </a:cubicBezTo>
                  <a:cubicBezTo>
                    <a:pt x="14188" y="21202"/>
                    <a:pt x="14188" y="21202"/>
                    <a:pt x="14188" y="21202"/>
                  </a:cubicBezTo>
                  <a:cubicBezTo>
                    <a:pt x="14188" y="21202"/>
                    <a:pt x="14188" y="21032"/>
                    <a:pt x="14029" y="21088"/>
                  </a:cubicBezTo>
                  <a:cubicBezTo>
                    <a:pt x="13871" y="21145"/>
                    <a:pt x="14082" y="21088"/>
                    <a:pt x="13765" y="21145"/>
                  </a:cubicBezTo>
                  <a:cubicBezTo>
                    <a:pt x="13500" y="21202"/>
                    <a:pt x="13341" y="21032"/>
                    <a:pt x="13341" y="21032"/>
                  </a:cubicBezTo>
                  <a:cubicBezTo>
                    <a:pt x="13341" y="21032"/>
                    <a:pt x="13076" y="21032"/>
                    <a:pt x="12971" y="21088"/>
                  </a:cubicBezTo>
                  <a:cubicBezTo>
                    <a:pt x="12865" y="21088"/>
                    <a:pt x="12706" y="21088"/>
                    <a:pt x="12653" y="21088"/>
                  </a:cubicBezTo>
                  <a:cubicBezTo>
                    <a:pt x="12600" y="21145"/>
                    <a:pt x="12600" y="21088"/>
                    <a:pt x="12441" y="21145"/>
                  </a:cubicBezTo>
                  <a:cubicBezTo>
                    <a:pt x="12282" y="21145"/>
                    <a:pt x="12124" y="21202"/>
                    <a:pt x="12124" y="21202"/>
                  </a:cubicBezTo>
                  <a:cubicBezTo>
                    <a:pt x="11965" y="21088"/>
                    <a:pt x="11965" y="21088"/>
                    <a:pt x="11965" y="21088"/>
                  </a:cubicBezTo>
                  <a:cubicBezTo>
                    <a:pt x="11965" y="21088"/>
                    <a:pt x="11806" y="21088"/>
                    <a:pt x="11753" y="21145"/>
                  </a:cubicBezTo>
                  <a:cubicBezTo>
                    <a:pt x="11647" y="21202"/>
                    <a:pt x="11700" y="21259"/>
                    <a:pt x="11594" y="21259"/>
                  </a:cubicBezTo>
                  <a:cubicBezTo>
                    <a:pt x="11488" y="21259"/>
                    <a:pt x="11541" y="21316"/>
                    <a:pt x="11435" y="21259"/>
                  </a:cubicBezTo>
                  <a:cubicBezTo>
                    <a:pt x="11276" y="21202"/>
                    <a:pt x="11171" y="21145"/>
                    <a:pt x="11171" y="21145"/>
                  </a:cubicBezTo>
                  <a:cubicBezTo>
                    <a:pt x="11118" y="20804"/>
                    <a:pt x="11118" y="20804"/>
                    <a:pt x="11118" y="20804"/>
                  </a:cubicBezTo>
                  <a:cubicBezTo>
                    <a:pt x="11118" y="20804"/>
                    <a:pt x="11118" y="20804"/>
                    <a:pt x="11118" y="20634"/>
                  </a:cubicBezTo>
                  <a:cubicBezTo>
                    <a:pt x="11065" y="20520"/>
                    <a:pt x="11012" y="20293"/>
                    <a:pt x="11012" y="20293"/>
                  </a:cubicBezTo>
                  <a:cubicBezTo>
                    <a:pt x="11118" y="20122"/>
                    <a:pt x="11118" y="20122"/>
                    <a:pt x="11118" y="20122"/>
                  </a:cubicBezTo>
                  <a:cubicBezTo>
                    <a:pt x="11118" y="20122"/>
                    <a:pt x="11171" y="20236"/>
                    <a:pt x="11171" y="20293"/>
                  </a:cubicBezTo>
                  <a:cubicBezTo>
                    <a:pt x="11171" y="20293"/>
                    <a:pt x="11171" y="20463"/>
                    <a:pt x="11224" y="20463"/>
                  </a:cubicBezTo>
                  <a:cubicBezTo>
                    <a:pt x="11329" y="20463"/>
                    <a:pt x="11435" y="20463"/>
                    <a:pt x="11435" y="20463"/>
                  </a:cubicBezTo>
                  <a:close/>
                  <a:moveTo>
                    <a:pt x="9106" y="18133"/>
                  </a:moveTo>
                  <a:cubicBezTo>
                    <a:pt x="9106" y="18133"/>
                    <a:pt x="9106" y="18133"/>
                    <a:pt x="9106" y="18133"/>
                  </a:cubicBezTo>
                  <a:cubicBezTo>
                    <a:pt x="9265" y="18076"/>
                    <a:pt x="9265" y="18076"/>
                    <a:pt x="9265" y="18076"/>
                  </a:cubicBezTo>
                  <a:cubicBezTo>
                    <a:pt x="9318" y="18246"/>
                    <a:pt x="9318" y="18246"/>
                    <a:pt x="9318" y="18246"/>
                  </a:cubicBezTo>
                  <a:cubicBezTo>
                    <a:pt x="9476" y="18303"/>
                    <a:pt x="9476" y="18303"/>
                    <a:pt x="9476" y="18303"/>
                  </a:cubicBezTo>
                  <a:cubicBezTo>
                    <a:pt x="9476" y="18303"/>
                    <a:pt x="9688" y="18417"/>
                    <a:pt x="9688" y="18474"/>
                  </a:cubicBezTo>
                  <a:cubicBezTo>
                    <a:pt x="9688" y="18474"/>
                    <a:pt x="9582" y="18644"/>
                    <a:pt x="9582" y="18644"/>
                  </a:cubicBezTo>
                  <a:cubicBezTo>
                    <a:pt x="9582" y="18644"/>
                    <a:pt x="9582" y="18758"/>
                    <a:pt x="9582" y="18815"/>
                  </a:cubicBezTo>
                  <a:cubicBezTo>
                    <a:pt x="9582" y="18815"/>
                    <a:pt x="9476" y="18815"/>
                    <a:pt x="9424" y="18815"/>
                  </a:cubicBezTo>
                  <a:cubicBezTo>
                    <a:pt x="9371" y="18758"/>
                    <a:pt x="9212" y="18701"/>
                    <a:pt x="9212" y="18701"/>
                  </a:cubicBezTo>
                  <a:cubicBezTo>
                    <a:pt x="9212" y="18474"/>
                    <a:pt x="9212" y="18474"/>
                    <a:pt x="9212" y="18474"/>
                  </a:cubicBezTo>
                  <a:cubicBezTo>
                    <a:pt x="9053" y="18303"/>
                    <a:pt x="9053" y="18303"/>
                    <a:pt x="9053" y="18303"/>
                  </a:cubicBezTo>
                  <a:cubicBezTo>
                    <a:pt x="9106" y="18133"/>
                    <a:pt x="9106" y="18133"/>
                    <a:pt x="9106" y="18133"/>
                  </a:cubicBezTo>
                  <a:close/>
                  <a:moveTo>
                    <a:pt x="4871" y="13187"/>
                  </a:moveTo>
                  <a:cubicBezTo>
                    <a:pt x="4871" y="13187"/>
                    <a:pt x="4871" y="13187"/>
                    <a:pt x="4871" y="13187"/>
                  </a:cubicBezTo>
                  <a:cubicBezTo>
                    <a:pt x="4871" y="13187"/>
                    <a:pt x="4765" y="13187"/>
                    <a:pt x="4765" y="13187"/>
                  </a:cubicBezTo>
                  <a:cubicBezTo>
                    <a:pt x="4712" y="13187"/>
                    <a:pt x="4659" y="13187"/>
                    <a:pt x="4606" y="13187"/>
                  </a:cubicBezTo>
                  <a:cubicBezTo>
                    <a:pt x="4553" y="13187"/>
                    <a:pt x="4606" y="13301"/>
                    <a:pt x="4606" y="13358"/>
                  </a:cubicBezTo>
                  <a:cubicBezTo>
                    <a:pt x="4606" y="13358"/>
                    <a:pt x="4606" y="13472"/>
                    <a:pt x="4606" y="13528"/>
                  </a:cubicBezTo>
                  <a:cubicBezTo>
                    <a:pt x="4553" y="13585"/>
                    <a:pt x="4500" y="13642"/>
                    <a:pt x="4500" y="13699"/>
                  </a:cubicBezTo>
                  <a:cubicBezTo>
                    <a:pt x="4500" y="13699"/>
                    <a:pt x="4500" y="13813"/>
                    <a:pt x="4500" y="13869"/>
                  </a:cubicBezTo>
                  <a:cubicBezTo>
                    <a:pt x="4447" y="13869"/>
                    <a:pt x="4341" y="13983"/>
                    <a:pt x="4288" y="13983"/>
                  </a:cubicBezTo>
                  <a:cubicBezTo>
                    <a:pt x="4235" y="14040"/>
                    <a:pt x="4129" y="14097"/>
                    <a:pt x="4129" y="14097"/>
                  </a:cubicBezTo>
                  <a:cubicBezTo>
                    <a:pt x="4235" y="14381"/>
                    <a:pt x="4235" y="14381"/>
                    <a:pt x="4235" y="14381"/>
                  </a:cubicBezTo>
                  <a:cubicBezTo>
                    <a:pt x="4235" y="14381"/>
                    <a:pt x="4341" y="14324"/>
                    <a:pt x="4394" y="14381"/>
                  </a:cubicBezTo>
                  <a:cubicBezTo>
                    <a:pt x="4447" y="14438"/>
                    <a:pt x="4606" y="14552"/>
                    <a:pt x="4659" y="14552"/>
                  </a:cubicBezTo>
                  <a:cubicBezTo>
                    <a:pt x="4659" y="14552"/>
                    <a:pt x="4765" y="14893"/>
                    <a:pt x="4765" y="14893"/>
                  </a:cubicBezTo>
                  <a:cubicBezTo>
                    <a:pt x="4818" y="14949"/>
                    <a:pt x="4871" y="14893"/>
                    <a:pt x="4871" y="14893"/>
                  </a:cubicBezTo>
                  <a:cubicBezTo>
                    <a:pt x="4871" y="14893"/>
                    <a:pt x="4976" y="14949"/>
                    <a:pt x="5029" y="15006"/>
                  </a:cubicBezTo>
                  <a:cubicBezTo>
                    <a:pt x="5082" y="15006"/>
                    <a:pt x="5188" y="15063"/>
                    <a:pt x="5241" y="15120"/>
                  </a:cubicBezTo>
                  <a:cubicBezTo>
                    <a:pt x="5294" y="15120"/>
                    <a:pt x="5400" y="15291"/>
                    <a:pt x="5453" y="15291"/>
                  </a:cubicBezTo>
                  <a:cubicBezTo>
                    <a:pt x="5506" y="15347"/>
                    <a:pt x="5612" y="15461"/>
                    <a:pt x="5612" y="15461"/>
                  </a:cubicBezTo>
                  <a:cubicBezTo>
                    <a:pt x="5612" y="15461"/>
                    <a:pt x="5718" y="15632"/>
                    <a:pt x="5771" y="15745"/>
                  </a:cubicBezTo>
                  <a:cubicBezTo>
                    <a:pt x="5771" y="15802"/>
                    <a:pt x="5771" y="15802"/>
                    <a:pt x="5718" y="15859"/>
                  </a:cubicBezTo>
                  <a:cubicBezTo>
                    <a:pt x="5665" y="15916"/>
                    <a:pt x="5665" y="15973"/>
                    <a:pt x="5612" y="16086"/>
                  </a:cubicBezTo>
                  <a:cubicBezTo>
                    <a:pt x="5559" y="16200"/>
                    <a:pt x="5665" y="16314"/>
                    <a:pt x="5665" y="16314"/>
                  </a:cubicBezTo>
                  <a:cubicBezTo>
                    <a:pt x="5665" y="16598"/>
                    <a:pt x="5665" y="16598"/>
                    <a:pt x="5665" y="16598"/>
                  </a:cubicBezTo>
                  <a:cubicBezTo>
                    <a:pt x="5718" y="16712"/>
                    <a:pt x="5718" y="16712"/>
                    <a:pt x="5718" y="16712"/>
                  </a:cubicBezTo>
                  <a:cubicBezTo>
                    <a:pt x="5718" y="16712"/>
                    <a:pt x="5771" y="16768"/>
                    <a:pt x="5824" y="16768"/>
                  </a:cubicBezTo>
                  <a:cubicBezTo>
                    <a:pt x="5876" y="16825"/>
                    <a:pt x="5876" y="16825"/>
                    <a:pt x="5876" y="16825"/>
                  </a:cubicBezTo>
                  <a:cubicBezTo>
                    <a:pt x="5876" y="16825"/>
                    <a:pt x="5982" y="16939"/>
                    <a:pt x="6035" y="16996"/>
                  </a:cubicBezTo>
                  <a:cubicBezTo>
                    <a:pt x="6035" y="17053"/>
                    <a:pt x="5982" y="17109"/>
                    <a:pt x="5982" y="17166"/>
                  </a:cubicBezTo>
                  <a:cubicBezTo>
                    <a:pt x="5982" y="17223"/>
                    <a:pt x="6035" y="17451"/>
                    <a:pt x="6035" y="17451"/>
                  </a:cubicBezTo>
                  <a:cubicBezTo>
                    <a:pt x="6035" y="17451"/>
                    <a:pt x="6141" y="17394"/>
                    <a:pt x="6247" y="17337"/>
                  </a:cubicBezTo>
                  <a:cubicBezTo>
                    <a:pt x="6300" y="17337"/>
                    <a:pt x="6353" y="17394"/>
                    <a:pt x="6406" y="17394"/>
                  </a:cubicBezTo>
                  <a:cubicBezTo>
                    <a:pt x="6459" y="17451"/>
                    <a:pt x="6459" y="17507"/>
                    <a:pt x="6459" y="17507"/>
                  </a:cubicBezTo>
                  <a:cubicBezTo>
                    <a:pt x="6459" y="17507"/>
                    <a:pt x="6618" y="17394"/>
                    <a:pt x="6618" y="17337"/>
                  </a:cubicBezTo>
                  <a:cubicBezTo>
                    <a:pt x="6618" y="17337"/>
                    <a:pt x="6618" y="17223"/>
                    <a:pt x="6618" y="17223"/>
                  </a:cubicBezTo>
                  <a:cubicBezTo>
                    <a:pt x="6618" y="17223"/>
                    <a:pt x="6618" y="16996"/>
                    <a:pt x="6618" y="16939"/>
                  </a:cubicBezTo>
                  <a:cubicBezTo>
                    <a:pt x="6618" y="16882"/>
                    <a:pt x="6565" y="16712"/>
                    <a:pt x="6565" y="16655"/>
                  </a:cubicBezTo>
                  <a:cubicBezTo>
                    <a:pt x="6565" y="16655"/>
                    <a:pt x="6618" y="16541"/>
                    <a:pt x="6618" y="16541"/>
                  </a:cubicBezTo>
                  <a:cubicBezTo>
                    <a:pt x="6618" y="16541"/>
                    <a:pt x="6776" y="16484"/>
                    <a:pt x="6829" y="16484"/>
                  </a:cubicBezTo>
                  <a:cubicBezTo>
                    <a:pt x="6882" y="16484"/>
                    <a:pt x="6935" y="16541"/>
                    <a:pt x="6988" y="16598"/>
                  </a:cubicBezTo>
                  <a:cubicBezTo>
                    <a:pt x="6988" y="16655"/>
                    <a:pt x="6988" y="16882"/>
                    <a:pt x="6988" y="16882"/>
                  </a:cubicBezTo>
                  <a:cubicBezTo>
                    <a:pt x="7306" y="16939"/>
                    <a:pt x="7306" y="16939"/>
                    <a:pt x="7306" y="16939"/>
                  </a:cubicBezTo>
                  <a:cubicBezTo>
                    <a:pt x="7306" y="16939"/>
                    <a:pt x="7412" y="16996"/>
                    <a:pt x="7412" y="16996"/>
                  </a:cubicBezTo>
                  <a:cubicBezTo>
                    <a:pt x="7412" y="17053"/>
                    <a:pt x="7465" y="17166"/>
                    <a:pt x="7518" y="17223"/>
                  </a:cubicBezTo>
                  <a:cubicBezTo>
                    <a:pt x="7571" y="17280"/>
                    <a:pt x="7624" y="17337"/>
                    <a:pt x="7624" y="17337"/>
                  </a:cubicBezTo>
                  <a:cubicBezTo>
                    <a:pt x="7624" y="17337"/>
                    <a:pt x="7729" y="17621"/>
                    <a:pt x="7782" y="17678"/>
                  </a:cubicBezTo>
                  <a:cubicBezTo>
                    <a:pt x="7782" y="17735"/>
                    <a:pt x="7782" y="17848"/>
                    <a:pt x="7782" y="17962"/>
                  </a:cubicBezTo>
                  <a:cubicBezTo>
                    <a:pt x="7782" y="18076"/>
                    <a:pt x="7782" y="18076"/>
                    <a:pt x="7782" y="18076"/>
                  </a:cubicBezTo>
                  <a:cubicBezTo>
                    <a:pt x="7782" y="18076"/>
                    <a:pt x="7941" y="18133"/>
                    <a:pt x="7994" y="18189"/>
                  </a:cubicBezTo>
                  <a:cubicBezTo>
                    <a:pt x="8100" y="18246"/>
                    <a:pt x="8047" y="18189"/>
                    <a:pt x="8100" y="18133"/>
                  </a:cubicBezTo>
                  <a:cubicBezTo>
                    <a:pt x="8153" y="18076"/>
                    <a:pt x="8100" y="18019"/>
                    <a:pt x="8100" y="17962"/>
                  </a:cubicBezTo>
                  <a:cubicBezTo>
                    <a:pt x="8100" y="17905"/>
                    <a:pt x="8100" y="17792"/>
                    <a:pt x="8047" y="17678"/>
                  </a:cubicBezTo>
                  <a:cubicBezTo>
                    <a:pt x="8047" y="17621"/>
                    <a:pt x="8047" y="17564"/>
                    <a:pt x="8047" y="17564"/>
                  </a:cubicBezTo>
                  <a:cubicBezTo>
                    <a:pt x="8047" y="17564"/>
                    <a:pt x="8100" y="17451"/>
                    <a:pt x="8100" y="17394"/>
                  </a:cubicBezTo>
                  <a:cubicBezTo>
                    <a:pt x="8100" y="17394"/>
                    <a:pt x="8100" y="17280"/>
                    <a:pt x="8100" y="17223"/>
                  </a:cubicBezTo>
                  <a:cubicBezTo>
                    <a:pt x="8100" y="17166"/>
                    <a:pt x="8206" y="17109"/>
                    <a:pt x="8206" y="17109"/>
                  </a:cubicBezTo>
                  <a:cubicBezTo>
                    <a:pt x="8206" y="17109"/>
                    <a:pt x="8206" y="17053"/>
                    <a:pt x="8259" y="16939"/>
                  </a:cubicBezTo>
                  <a:cubicBezTo>
                    <a:pt x="8312" y="16882"/>
                    <a:pt x="8259" y="16939"/>
                    <a:pt x="8312" y="16939"/>
                  </a:cubicBezTo>
                  <a:cubicBezTo>
                    <a:pt x="8365" y="16882"/>
                    <a:pt x="8418" y="16882"/>
                    <a:pt x="8524" y="16882"/>
                  </a:cubicBezTo>
                  <a:cubicBezTo>
                    <a:pt x="8576" y="16882"/>
                    <a:pt x="8629" y="16939"/>
                    <a:pt x="8629" y="16939"/>
                  </a:cubicBezTo>
                  <a:cubicBezTo>
                    <a:pt x="8735" y="17109"/>
                    <a:pt x="8735" y="17109"/>
                    <a:pt x="8735" y="17109"/>
                  </a:cubicBezTo>
                  <a:cubicBezTo>
                    <a:pt x="8735" y="17109"/>
                    <a:pt x="8735" y="17109"/>
                    <a:pt x="8735" y="17166"/>
                  </a:cubicBezTo>
                  <a:cubicBezTo>
                    <a:pt x="8735" y="17223"/>
                    <a:pt x="8841" y="17337"/>
                    <a:pt x="8841" y="17337"/>
                  </a:cubicBezTo>
                  <a:cubicBezTo>
                    <a:pt x="9053" y="17507"/>
                    <a:pt x="9053" y="17507"/>
                    <a:pt x="9053" y="17507"/>
                  </a:cubicBezTo>
                  <a:cubicBezTo>
                    <a:pt x="9053" y="17507"/>
                    <a:pt x="9053" y="17564"/>
                    <a:pt x="9053" y="17564"/>
                  </a:cubicBezTo>
                  <a:cubicBezTo>
                    <a:pt x="9053" y="17621"/>
                    <a:pt x="9106" y="17735"/>
                    <a:pt x="9159" y="17792"/>
                  </a:cubicBezTo>
                  <a:cubicBezTo>
                    <a:pt x="9212" y="17905"/>
                    <a:pt x="9159" y="17735"/>
                    <a:pt x="9212" y="17735"/>
                  </a:cubicBezTo>
                  <a:cubicBezTo>
                    <a:pt x="9212" y="17678"/>
                    <a:pt x="9265" y="17621"/>
                    <a:pt x="9265" y="17621"/>
                  </a:cubicBezTo>
                  <a:cubicBezTo>
                    <a:pt x="9371" y="17792"/>
                    <a:pt x="9371" y="17792"/>
                    <a:pt x="9371" y="17792"/>
                  </a:cubicBezTo>
                  <a:cubicBezTo>
                    <a:pt x="9371" y="17792"/>
                    <a:pt x="9582" y="17848"/>
                    <a:pt x="9635" y="17848"/>
                  </a:cubicBezTo>
                  <a:cubicBezTo>
                    <a:pt x="9688" y="17792"/>
                    <a:pt x="9741" y="17735"/>
                    <a:pt x="9741" y="17735"/>
                  </a:cubicBezTo>
                  <a:cubicBezTo>
                    <a:pt x="9635" y="17621"/>
                    <a:pt x="9635" y="17621"/>
                    <a:pt x="9635" y="17621"/>
                  </a:cubicBezTo>
                  <a:cubicBezTo>
                    <a:pt x="9529" y="17451"/>
                    <a:pt x="9529" y="17451"/>
                    <a:pt x="9529" y="17451"/>
                  </a:cubicBezTo>
                  <a:cubicBezTo>
                    <a:pt x="9529" y="17451"/>
                    <a:pt x="9371" y="17280"/>
                    <a:pt x="9318" y="17280"/>
                  </a:cubicBezTo>
                  <a:cubicBezTo>
                    <a:pt x="9265" y="17223"/>
                    <a:pt x="9212" y="17166"/>
                    <a:pt x="9212" y="17109"/>
                  </a:cubicBezTo>
                  <a:cubicBezTo>
                    <a:pt x="9159" y="17053"/>
                    <a:pt x="9159" y="16939"/>
                    <a:pt x="9159" y="16939"/>
                  </a:cubicBezTo>
                  <a:cubicBezTo>
                    <a:pt x="9212" y="16882"/>
                    <a:pt x="9212" y="16768"/>
                    <a:pt x="9265" y="16655"/>
                  </a:cubicBezTo>
                  <a:cubicBezTo>
                    <a:pt x="9318" y="16541"/>
                    <a:pt x="9212" y="16655"/>
                    <a:pt x="9212" y="16655"/>
                  </a:cubicBezTo>
                  <a:cubicBezTo>
                    <a:pt x="9212" y="16655"/>
                    <a:pt x="9106" y="16484"/>
                    <a:pt x="9159" y="16427"/>
                  </a:cubicBezTo>
                  <a:cubicBezTo>
                    <a:pt x="9159" y="16427"/>
                    <a:pt x="8947" y="16086"/>
                    <a:pt x="8947" y="16086"/>
                  </a:cubicBezTo>
                  <a:cubicBezTo>
                    <a:pt x="8947" y="16086"/>
                    <a:pt x="8894" y="15973"/>
                    <a:pt x="8894" y="15973"/>
                  </a:cubicBezTo>
                  <a:cubicBezTo>
                    <a:pt x="8894" y="15973"/>
                    <a:pt x="8735" y="15859"/>
                    <a:pt x="8682" y="15859"/>
                  </a:cubicBezTo>
                  <a:cubicBezTo>
                    <a:pt x="8629" y="15802"/>
                    <a:pt x="8576" y="15745"/>
                    <a:pt x="8576" y="15745"/>
                  </a:cubicBezTo>
                  <a:cubicBezTo>
                    <a:pt x="8576" y="15688"/>
                    <a:pt x="8576" y="15575"/>
                    <a:pt x="8576" y="15518"/>
                  </a:cubicBezTo>
                  <a:cubicBezTo>
                    <a:pt x="8524" y="15461"/>
                    <a:pt x="8471" y="15347"/>
                    <a:pt x="8418" y="15291"/>
                  </a:cubicBezTo>
                  <a:cubicBezTo>
                    <a:pt x="8365" y="15234"/>
                    <a:pt x="8312" y="15120"/>
                    <a:pt x="8259" y="15006"/>
                  </a:cubicBezTo>
                  <a:cubicBezTo>
                    <a:pt x="8206" y="14949"/>
                    <a:pt x="8153" y="14836"/>
                    <a:pt x="8153" y="14836"/>
                  </a:cubicBezTo>
                  <a:cubicBezTo>
                    <a:pt x="8100" y="14608"/>
                    <a:pt x="8100" y="14608"/>
                    <a:pt x="8100" y="14608"/>
                  </a:cubicBezTo>
                  <a:cubicBezTo>
                    <a:pt x="8100" y="14495"/>
                    <a:pt x="8100" y="14495"/>
                    <a:pt x="8100" y="14495"/>
                  </a:cubicBezTo>
                  <a:cubicBezTo>
                    <a:pt x="8259" y="14608"/>
                    <a:pt x="8259" y="14608"/>
                    <a:pt x="8259" y="14608"/>
                  </a:cubicBezTo>
                  <a:cubicBezTo>
                    <a:pt x="8259" y="14608"/>
                    <a:pt x="8365" y="14552"/>
                    <a:pt x="8418" y="14552"/>
                  </a:cubicBezTo>
                  <a:cubicBezTo>
                    <a:pt x="8471" y="14552"/>
                    <a:pt x="8629" y="14608"/>
                    <a:pt x="8629" y="14608"/>
                  </a:cubicBezTo>
                  <a:cubicBezTo>
                    <a:pt x="8629" y="14608"/>
                    <a:pt x="8735" y="14665"/>
                    <a:pt x="8788" y="14665"/>
                  </a:cubicBezTo>
                  <a:cubicBezTo>
                    <a:pt x="8788" y="14665"/>
                    <a:pt x="8841" y="14722"/>
                    <a:pt x="8894" y="14665"/>
                  </a:cubicBezTo>
                  <a:cubicBezTo>
                    <a:pt x="8947" y="14665"/>
                    <a:pt x="9000" y="14779"/>
                    <a:pt x="9000" y="14836"/>
                  </a:cubicBezTo>
                  <a:cubicBezTo>
                    <a:pt x="9000" y="14893"/>
                    <a:pt x="8947" y="14949"/>
                    <a:pt x="8947" y="14949"/>
                  </a:cubicBezTo>
                  <a:cubicBezTo>
                    <a:pt x="8947" y="15006"/>
                    <a:pt x="8947" y="15063"/>
                    <a:pt x="8947" y="15063"/>
                  </a:cubicBezTo>
                  <a:cubicBezTo>
                    <a:pt x="8947" y="15063"/>
                    <a:pt x="9053" y="15120"/>
                    <a:pt x="9106" y="15120"/>
                  </a:cubicBezTo>
                  <a:cubicBezTo>
                    <a:pt x="9106" y="15177"/>
                    <a:pt x="9053" y="15234"/>
                    <a:pt x="9053" y="15234"/>
                  </a:cubicBezTo>
                  <a:cubicBezTo>
                    <a:pt x="9053" y="15234"/>
                    <a:pt x="9053" y="15347"/>
                    <a:pt x="9053" y="15404"/>
                  </a:cubicBezTo>
                  <a:cubicBezTo>
                    <a:pt x="9106" y="15404"/>
                    <a:pt x="9159" y="15291"/>
                    <a:pt x="9159" y="15291"/>
                  </a:cubicBezTo>
                  <a:cubicBezTo>
                    <a:pt x="9159" y="15291"/>
                    <a:pt x="9212" y="15177"/>
                    <a:pt x="9212" y="15120"/>
                  </a:cubicBezTo>
                  <a:cubicBezTo>
                    <a:pt x="9212" y="15063"/>
                    <a:pt x="9318" y="15006"/>
                    <a:pt x="9318" y="15006"/>
                  </a:cubicBezTo>
                  <a:cubicBezTo>
                    <a:pt x="9424" y="14779"/>
                    <a:pt x="9424" y="14779"/>
                    <a:pt x="9424" y="14779"/>
                  </a:cubicBezTo>
                  <a:cubicBezTo>
                    <a:pt x="9529" y="14665"/>
                    <a:pt x="9529" y="14665"/>
                    <a:pt x="9529" y="14665"/>
                  </a:cubicBezTo>
                  <a:cubicBezTo>
                    <a:pt x="9529" y="14665"/>
                    <a:pt x="9741" y="14608"/>
                    <a:pt x="9794" y="14552"/>
                  </a:cubicBezTo>
                  <a:cubicBezTo>
                    <a:pt x="9847" y="14495"/>
                    <a:pt x="9847" y="14552"/>
                    <a:pt x="9847" y="14495"/>
                  </a:cubicBezTo>
                  <a:cubicBezTo>
                    <a:pt x="9900" y="14495"/>
                    <a:pt x="9900" y="14381"/>
                    <a:pt x="9900" y="14381"/>
                  </a:cubicBezTo>
                  <a:cubicBezTo>
                    <a:pt x="9794" y="14267"/>
                    <a:pt x="9794" y="14267"/>
                    <a:pt x="9794" y="14267"/>
                  </a:cubicBezTo>
                  <a:cubicBezTo>
                    <a:pt x="9582" y="14324"/>
                    <a:pt x="9582" y="14324"/>
                    <a:pt x="9582" y="14324"/>
                  </a:cubicBezTo>
                  <a:cubicBezTo>
                    <a:pt x="9529" y="14211"/>
                    <a:pt x="9529" y="14211"/>
                    <a:pt x="9529" y="14211"/>
                  </a:cubicBezTo>
                  <a:cubicBezTo>
                    <a:pt x="9529" y="14211"/>
                    <a:pt x="9529" y="14211"/>
                    <a:pt x="9582" y="14211"/>
                  </a:cubicBezTo>
                  <a:cubicBezTo>
                    <a:pt x="9582" y="14211"/>
                    <a:pt x="9582" y="13983"/>
                    <a:pt x="9582" y="13983"/>
                  </a:cubicBezTo>
                  <a:cubicBezTo>
                    <a:pt x="9582" y="13983"/>
                    <a:pt x="9476" y="14040"/>
                    <a:pt x="9424" y="14040"/>
                  </a:cubicBezTo>
                  <a:cubicBezTo>
                    <a:pt x="9371" y="14040"/>
                    <a:pt x="9424" y="14211"/>
                    <a:pt x="9424" y="14211"/>
                  </a:cubicBezTo>
                  <a:cubicBezTo>
                    <a:pt x="9424" y="14211"/>
                    <a:pt x="9159" y="14154"/>
                    <a:pt x="9106" y="14154"/>
                  </a:cubicBezTo>
                  <a:cubicBezTo>
                    <a:pt x="9053" y="14097"/>
                    <a:pt x="9053" y="14040"/>
                    <a:pt x="9053" y="14040"/>
                  </a:cubicBezTo>
                  <a:cubicBezTo>
                    <a:pt x="9000" y="13983"/>
                    <a:pt x="9106" y="13813"/>
                    <a:pt x="9106" y="13813"/>
                  </a:cubicBezTo>
                  <a:cubicBezTo>
                    <a:pt x="9159" y="13585"/>
                    <a:pt x="9159" y="13585"/>
                    <a:pt x="9159" y="13585"/>
                  </a:cubicBezTo>
                  <a:cubicBezTo>
                    <a:pt x="9159" y="13585"/>
                    <a:pt x="8894" y="13528"/>
                    <a:pt x="8894" y="13472"/>
                  </a:cubicBezTo>
                  <a:cubicBezTo>
                    <a:pt x="8894" y="13415"/>
                    <a:pt x="8629" y="13585"/>
                    <a:pt x="8524" y="13472"/>
                  </a:cubicBezTo>
                  <a:cubicBezTo>
                    <a:pt x="8471" y="13358"/>
                    <a:pt x="8471" y="13358"/>
                    <a:pt x="8471" y="13358"/>
                  </a:cubicBezTo>
                  <a:cubicBezTo>
                    <a:pt x="8365" y="13244"/>
                    <a:pt x="8365" y="13244"/>
                    <a:pt x="8365" y="13244"/>
                  </a:cubicBezTo>
                  <a:cubicBezTo>
                    <a:pt x="8259" y="13244"/>
                    <a:pt x="8259" y="13244"/>
                    <a:pt x="8259" y="13244"/>
                  </a:cubicBezTo>
                  <a:cubicBezTo>
                    <a:pt x="8259" y="13244"/>
                    <a:pt x="8100" y="13301"/>
                    <a:pt x="8047" y="13301"/>
                  </a:cubicBezTo>
                  <a:cubicBezTo>
                    <a:pt x="7994" y="13301"/>
                    <a:pt x="7994" y="13187"/>
                    <a:pt x="7994" y="13187"/>
                  </a:cubicBezTo>
                  <a:cubicBezTo>
                    <a:pt x="7729" y="13074"/>
                    <a:pt x="7729" y="13074"/>
                    <a:pt x="7729" y="13074"/>
                  </a:cubicBezTo>
                  <a:cubicBezTo>
                    <a:pt x="7465" y="13017"/>
                    <a:pt x="7465" y="13017"/>
                    <a:pt x="7465" y="13017"/>
                  </a:cubicBezTo>
                  <a:cubicBezTo>
                    <a:pt x="7465" y="13017"/>
                    <a:pt x="7147" y="12960"/>
                    <a:pt x="7041" y="12903"/>
                  </a:cubicBezTo>
                  <a:cubicBezTo>
                    <a:pt x="6988" y="12903"/>
                    <a:pt x="6724" y="12846"/>
                    <a:pt x="6618" y="12846"/>
                  </a:cubicBezTo>
                  <a:cubicBezTo>
                    <a:pt x="6512" y="12846"/>
                    <a:pt x="6406" y="12846"/>
                    <a:pt x="6300" y="12789"/>
                  </a:cubicBezTo>
                  <a:cubicBezTo>
                    <a:pt x="6247" y="12733"/>
                    <a:pt x="6088" y="12676"/>
                    <a:pt x="6088" y="12676"/>
                  </a:cubicBezTo>
                  <a:cubicBezTo>
                    <a:pt x="6088" y="12676"/>
                    <a:pt x="5771" y="12562"/>
                    <a:pt x="5771" y="12562"/>
                  </a:cubicBezTo>
                  <a:cubicBezTo>
                    <a:pt x="5718" y="12562"/>
                    <a:pt x="5665" y="12562"/>
                    <a:pt x="5665" y="12562"/>
                  </a:cubicBezTo>
                  <a:cubicBezTo>
                    <a:pt x="5612" y="12562"/>
                    <a:pt x="5506" y="12733"/>
                    <a:pt x="5400" y="12789"/>
                  </a:cubicBezTo>
                  <a:cubicBezTo>
                    <a:pt x="5347" y="12789"/>
                    <a:pt x="5347" y="12960"/>
                    <a:pt x="5294" y="13017"/>
                  </a:cubicBezTo>
                  <a:cubicBezTo>
                    <a:pt x="5294" y="13131"/>
                    <a:pt x="5241" y="13187"/>
                    <a:pt x="5188" y="13187"/>
                  </a:cubicBezTo>
                  <a:cubicBezTo>
                    <a:pt x="5188" y="13244"/>
                    <a:pt x="4871" y="13131"/>
                    <a:pt x="4871" y="13187"/>
                  </a:cubicBezTo>
                  <a:close/>
                  <a:moveTo>
                    <a:pt x="3176" y="14324"/>
                  </a:moveTo>
                  <a:cubicBezTo>
                    <a:pt x="3176" y="14324"/>
                    <a:pt x="3176" y="14324"/>
                    <a:pt x="3176" y="14324"/>
                  </a:cubicBezTo>
                  <a:cubicBezTo>
                    <a:pt x="3176" y="14324"/>
                    <a:pt x="3282" y="14267"/>
                    <a:pt x="3282" y="14324"/>
                  </a:cubicBezTo>
                  <a:cubicBezTo>
                    <a:pt x="3282" y="14324"/>
                    <a:pt x="3335" y="14381"/>
                    <a:pt x="3335" y="14438"/>
                  </a:cubicBezTo>
                  <a:cubicBezTo>
                    <a:pt x="3388" y="14438"/>
                    <a:pt x="3494" y="14552"/>
                    <a:pt x="3547" y="14552"/>
                  </a:cubicBezTo>
                  <a:cubicBezTo>
                    <a:pt x="3600" y="14552"/>
                    <a:pt x="3759" y="14552"/>
                    <a:pt x="3759" y="14552"/>
                  </a:cubicBezTo>
                  <a:cubicBezTo>
                    <a:pt x="3918" y="14722"/>
                    <a:pt x="3918" y="14722"/>
                    <a:pt x="3918" y="14722"/>
                  </a:cubicBezTo>
                  <a:cubicBezTo>
                    <a:pt x="3918" y="14722"/>
                    <a:pt x="4076" y="14779"/>
                    <a:pt x="4076" y="14836"/>
                  </a:cubicBezTo>
                  <a:cubicBezTo>
                    <a:pt x="4076" y="14836"/>
                    <a:pt x="3812" y="15006"/>
                    <a:pt x="3812" y="15006"/>
                  </a:cubicBezTo>
                  <a:cubicBezTo>
                    <a:pt x="3759" y="15063"/>
                    <a:pt x="3759" y="15063"/>
                    <a:pt x="3759" y="15063"/>
                  </a:cubicBezTo>
                  <a:cubicBezTo>
                    <a:pt x="3759" y="15063"/>
                    <a:pt x="3759" y="15177"/>
                    <a:pt x="3653" y="15120"/>
                  </a:cubicBezTo>
                  <a:cubicBezTo>
                    <a:pt x="3600" y="15120"/>
                    <a:pt x="3547" y="15120"/>
                    <a:pt x="3494" y="15063"/>
                  </a:cubicBezTo>
                  <a:cubicBezTo>
                    <a:pt x="3494" y="15006"/>
                    <a:pt x="3494" y="15006"/>
                    <a:pt x="3441" y="14949"/>
                  </a:cubicBezTo>
                  <a:cubicBezTo>
                    <a:pt x="3335" y="14893"/>
                    <a:pt x="3124" y="14722"/>
                    <a:pt x="3124" y="14722"/>
                  </a:cubicBezTo>
                  <a:cubicBezTo>
                    <a:pt x="3124" y="14552"/>
                    <a:pt x="3124" y="14552"/>
                    <a:pt x="3124" y="14552"/>
                  </a:cubicBezTo>
                  <a:cubicBezTo>
                    <a:pt x="3124" y="14438"/>
                    <a:pt x="3124" y="14438"/>
                    <a:pt x="3124" y="14438"/>
                  </a:cubicBezTo>
                  <a:cubicBezTo>
                    <a:pt x="3176" y="14324"/>
                    <a:pt x="3176" y="14324"/>
                    <a:pt x="3176" y="14324"/>
                  </a:cubicBezTo>
                  <a:close/>
                  <a:moveTo>
                    <a:pt x="2541" y="13301"/>
                  </a:moveTo>
                  <a:cubicBezTo>
                    <a:pt x="2541" y="13301"/>
                    <a:pt x="2541" y="13301"/>
                    <a:pt x="2541" y="13301"/>
                  </a:cubicBezTo>
                  <a:cubicBezTo>
                    <a:pt x="2382" y="13074"/>
                    <a:pt x="2382" y="13074"/>
                    <a:pt x="2382" y="13074"/>
                  </a:cubicBezTo>
                  <a:cubicBezTo>
                    <a:pt x="2276" y="13301"/>
                    <a:pt x="2276" y="13301"/>
                    <a:pt x="2276" y="13301"/>
                  </a:cubicBezTo>
                  <a:cubicBezTo>
                    <a:pt x="2224" y="13528"/>
                    <a:pt x="2224" y="13528"/>
                    <a:pt x="2224" y="13528"/>
                  </a:cubicBezTo>
                  <a:cubicBezTo>
                    <a:pt x="2382" y="13642"/>
                    <a:pt x="2382" y="13642"/>
                    <a:pt x="2382" y="13642"/>
                  </a:cubicBezTo>
                  <a:cubicBezTo>
                    <a:pt x="2435" y="13642"/>
                    <a:pt x="2435" y="13642"/>
                    <a:pt x="2435" y="13642"/>
                  </a:cubicBezTo>
                  <a:cubicBezTo>
                    <a:pt x="2541" y="13472"/>
                    <a:pt x="2541" y="13472"/>
                    <a:pt x="2541" y="13472"/>
                  </a:cubicBezTo>
                  <a:cubicBezTo>
                    <a:pt x="2647" y="13642"/>
                    <a:pt x="2647" y="13642"/>
                    <a:pt x="2647" y="13642"/>
                  </a:cubicBezTo>
                  <a:cubicBezTo>
                    <a:pt x="2753" y="13869"/>
                    <a:pt x="2753" y="13869"/>
                    <a:pt x="2753" y="13869"/>
                  </a:cubicBezTo>
                  <a:cubicBezTo>
                    <a:pt x="2753" y="13869"/>
                    <a:pt x="2859" y="13756"/>
                    <a:pt x="2912" y="13699"/>
                  </a:cubicBezTo>
                  <a:cubicBezTo>
                    <a:pt x="2965" y="13699"/>
                    <a:pt x="3176" y="13869"/>
                    <a:pt x="3176" y="13869"/>
                  </a:cubicBezTo>
                  <a:cubicBezTo>
                    <a:pt x="3176" y="13869"/>
                    <a:pt x="3388" y="13756"/>
                    <a:pt x="3441" y="13756"/>
                  </a:cubicBezTo>
                  <a:cubicBezTo>
                    <a:pt x="3494" y="13756"/>
                    <a:pt x="3335" y="13585"/>
                    <a:pt x="3335" y="13585"/>
                  </a:cubicBezTo>
                  <a:cubicBezTo>
                    <a:pt x="3176" y="13415"/>
                    <a:pt x="3176" y="13415"/>
                    <a:pt x="3176" y="13415"/>
                  </a:cubicBezTo>
                  <a:cubicBezTo>
                    <a:pt x="3071" y="13301"/>
                    <a:pt x="3071" y="13301"/>
                    <a:pt x="3071" y="13301"/>
                  </a:cubicBezTo>
                  <a:cubicBezTo>
                    <a:pt x="2859" y="13187"/>
                    <a:pt x="2859" y="13187"/>
                    <a:pt x="2859" y="13187"/>
                  </a:cubicBezTo>
                  <a:cubicBezTo>
                    <a:pt x="2859" y="13131"/>
                    <a:pt x="2859" y="13131"/>
                    <a:pt x="2859" y="13131"/>
                  </a:cubicBezTo>
                  <a:cubicBezTo>
                    <a:pt x="2912" y="13017"/>
                    <a:pt x="2912" y="13017"/>
                    <a:pt x="2912" y="13017"/>
                  </a:cubicBezTo>
                  <a:cubicBezTo>
                    <a:pt x="2912" y="13017"/>
                    <a:pt x="2912" y="13131"/>
                    <a:pt x="3018" y="13074"/>
                  </a:cubicBezTo>
                  <a:cubicBezTo>
                    <a:pt x="3124" y="13074"/>
                    <a:pt x="3124" y="13074"/>
                    <a:pt x="3124" y="13017"/>
                  </a:cubicBezTo>
                  <a:cubicBezTo>
                    <a:pt x="3176" y="13017"/>
                    <a:pt x="3124" y="12960"/>
                    <a:pt x="3124" y="12960"/>
                  </a:cubicBezTo>
                  <a:cubicBezTo>
                    <a:pt x="2965" y="12846"/>
                    <a:pt x="2965" y="12846"/>
                    <a:pt x="2965" y="12846"/>
                  </a:cubicBezTo>
                  <a:cubicBezTo>
                    <a:pt x="3018" y="12676"/>
                    <a:pt x="3018" y="12676"/>
                    <a:pt x="3018" y="12676"/>
                  </a:cubicBezTo>
                  <a:cubicBezTo>
                    <a:pt x="2859" y="12562"/>
                    <a:pt x="2859" y="12562"/>
                    <a:pt x="2859" y="12562"/>
                  </a:cubicBezTo>
                  <a:cubicBezTo>
                    <a:pt x="2806" y="12733"/>
                    <a:pt x="2806" y="12733"/>
                    <a:pt x="2806" y="12733"/>
                  </a:cubicBezTo>
                  <a:cubicBezTo>
                    <a:pt x="2647" y="12676"/>
                    <a:pt x="2647" y="12676"/>
                    <a:pt x="2647" y="12676"/>
                  </a:cubicBezTo>
                  <a:cubicBezTo>
                    <a:pt x="2647" y="12676"/>
                    <a:pt x="2594" y="12789"/>
                    <a:pt x="2594" y="12789"/>
                  </a:cubicBezTo>
                  <a:cubicBezTo>
                    <a:pt x="2594" y="12846"/>
                    <a:pt x="2647" y="13017"/>
                    <a:pt x="2647" y="13017"/>
                  </a:cubicBezTo>
                  <a:cubicBezTo>
                    <a:pt x="2541" y="13301"/>
                    <a:pt x="2541" y="13301"/>
                    <a:pt x="2541" y="13301"/>
                  </a:cubicBezTo>
                  <a:close/>
                  <a:moveTo>
                    <a:pt x="582" y="9152"/>
                  </a:moveTo>
                  <a:cubicBezTo>
                    <a:pt x="582" y="9152"/>
                    <a:pt x="582" y="9152"/>
                    <a:pt x="582" y="9152"/>
                  </a:cubicBezTo>
                  <a:cubicBezTo>
                    <a:pt x="476" y="9152"/>
                    <a:pt x="476" y="9152"/>
                    <a:pt x="476" y="9152"/>
                  </a:cubicBezTo>
                  <a:cubicBezTo>
                    <a:pt x="476" y="9152"/>
                    <a:pt x="476" y="9208"/>
                    <a:pt x="529" y="9265"/>
                  </a:cubicBezTo>
                  <a:cubicBezTo>
                    <a:pt x="582" y="9322"/>
                    <a:pt x="688" y="9663"/>
                    <a:pt x="688" y="9663"/>
                  </a:cubicBezTo>
                  <a:cubicBezTo>
                    <a:pt x="794" y="9720"/>
                    <a:pt x="794" y="9720"/>
                    <a:pt x="794" y="9720"/>
                  </a:cubicBezTo>
                  <a:cubicBezTo>
                    <a:pt x="1006" y="9834"/>
                    <a:pt x="1006" y="9834"/>
                    <a:pt x="1006" y="9834"/>
                  </a:cubicBezTo>
                  <a:cubicBezTo>
                    <a:pt x="1165" y="10004"/>
                    <a:pt x="1165" y="10004"/>
                    <a:pt x="1165" y="10004"/>
                  </a:cubicBezTo>
                  <a:cubicBezTo>
                    <a:pt x="1165" y="10004"/>
                    <a:pt x="1271" y="10175"/>
                    <a:pt x="1112" y="10118"/>
                  </a:cubicBezTo>
                  <a:cubicBezTo>
                    <a:pt x="953" y="10061"/>
                    <a:pt x="794" y="9947"/>
                    <a:pt x="741" y="9891"/>
                  </a:cubicBezTo>
                  <a:cubicBezTo>
                    <a:pt x="635" y="9891"/>
                    <a:pt x="529" y="9834"/>
                    <a:pt x="529" y="9834"/>
                  </a:cubicBezTo>
                  <a:cubicBezTo>
                    <a:pt x="529" y="9834"/>
                    <a:pt x="476" y="9549"/>
                    <a:pt x="476" y="9493"/>
                  </a:cubicBezTo>
                  <a:cubicBezTo>
                    <a:pt x="424" y="9493"/>
                    <a:pt x="318" y="9436"/>
                    <a:pt x="318" y="9436"/>
                  </a:cubicBezTo>
                  <a:cubicBezTo>
                    <a:pt x="0" y="9265"/>
                    <a:pt x="0" y="9265"/>
                    <a:pt x="0" y="9265"/>
                  </a:cubicBezTo>
                  <a:cubicBezTo>
                    <a:pt x="0" y="9265"/>
                    <a:pt x="0" y="9038"/>
                    <a:pt x="53" y="8981"/>
                  </a:cubicBezTo>
                  <a:cubicBezTo>
                    <a:pt x="53" y="8981"/>
                    <a:pt x="53" y="8867"/>
                    <a:pt x="159" y="8867"/>
                  </a:cubicBezTo>
                  <a:cubicBezTo>
                    <a:pt x="212" y="8811"/>
                    <a:pt x="371" y="8811"/>
                    <a:pt x="371" y="8811"/>
                  </a:cubicBezTo>
                  <a:cubicBezTo>
                    <a:pt x="371" y="8811"/>
                    <a:pt x="371" y="8640"/>
                    <a:pt x="424" y="8697"/>
                  </a:cubicBezTo>
                  <a:cubicBezTo>
                    <a:pt x="476" y="8754"/>
                    <a:pt x="582" y="8924"/>
                    <a:pt x="582" y="8924"/>
                  </a:cubicBezTo>
                  <a:lnTo>
                    <a:pt x="582" y="9152"/>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3" name="Shape 2266">
              <a:extLst>
                <a:ext uri="{FF2B5EF4-FFF2-40B4-BE49-F238E27FC236}">
                  <a16:creationId xmlns:a16="http://schemas.microsoft.com/office/drawing/2014/main" id="{C8491187-1074-BF09-D460-D0A01A3E3E84}"/>
                </a:ext>
              </a:extLst>
            </p:cNvPr>
            <p:cNvSpPr/>
            <p:nvPr/>
          </p:nvSpPr>
          <p:spPr>
            <a:xfrm>
              <a:off x="6460249" y="6056750"/>
              <a:ext cx="3273207" cy="1701216"/>
            </a:xfrm>
            <a:custGeom>
              <a:avLst/>
              <a:gdLst/>
              <a:ahLst/>
              <a:cxnLst>
                <a:cxn ang="0">
                  <a:pos x="wd2" y="hd2"/>
                </a:cxn>
                <a:cxn ang="5400000">
                  <a:pos x="wd2" y="hd2"/>
                </a:cxn>
                <a:cxn ang="10800000">
                  <a:pos x="wd2" y="hd2"/>
                </a:cxn>
                <a:cxn ang="16200000">
                  <a:pos x="wd2" y="hd2"/>
                </a:cxn>
              </a:cxnLst>
              <a:rect l="0" t="0" r="r" b="b"/>
              <a:pathLst>
                <a:path w="21589" h="21519" extrusionOk="0">
                  <a:moveTo>
                    <a:pt x="19777" y="4011"/>
                  </a:moveTo>
                  <a:cubicBezTo>
                    <a:pt x="19505" y="4213"/>
                    <a:pt x="19505" y="4213"/>
                    <a:pt x="19505" y="4213"/>
                  </a:cubicBezTo>
                  <a:cubicBezTo>
                    <a:pt x="19505" y="4314"/>
                    <a:pt x="19505" y="4314"/>
                    <a:pt x="19505" y="4314"/>
                  </a:cubicBezTo>
                  <a:cubicBezTo>
                    <a:pt x="19669" y="4668"/>
                    <a:pt x="19669" y="4668"/>
                    <a:pt x="19669" y="4668"/>
                  </a:cubicBezTo>
                  <a:cubicBezTo>
                    <a:pt x="19832" y="4770"/>
                    <a:pt x="19832" y="4770"/>
                    <a:pt x="19832" y="4770"/>
                  </a:cubicBezTo>
                  <a:cubicBezTo>
                    <a:pt x="19941" y="5275"/>
                    <a:pt x="19941" y="5275"/>
                    <a:pt x="19941" y="5275"/>
                  </a:cubicBezTo>
                  <a:cubicBezTo>
                    <a:pt x="20185" y="5832"/>
                    <a:pt x="20185" y="5832"/>
                    <a:pt x="20185" y="5832"/>
                  </a:cubicBezTo>
                  <a:cubicBezTo>
                    <a:pt x="20349" y="6490"/>
                    <a:pt x="20349" y="6490"/>
                    <a:pt x="20349" y="6490"/>
                  </a:cubicBezTo>
                  <a:cubicBezTo>
                    <a:pt x="20566" y="6540"/>
                    <a:pt x="20566" y="6540"/>
                    <a:pt x="20566" y="6540"/>
                  </a:cubicBezTo>
                  <a:cubicBezTo>
                    <a:pt x="20621" y="6793"/>
                    <a:pt x="20566" y="6439"/>
                    <a:pt x="20566" y="6844"/>
                  </a:cubicBezTo>
                  <a:cubicBezTo>
                    <a:pt x="20512" y="7451"/>
                    <a:pt x="20485" y="7046"/>
                    <a:pt x="20566" y="7754"/>
                  </a:cubicBezTo>
                  <a:cubicBezTo>
                    <a:pt x="20566" y="7957"/>
                    <a:pt x="20974" y="7855"/>
                    <a:pt x="21002" y="7855"/>
                  </a:cubicBezTo>
                  <a:cubicBezTo>
                    <a:pt x="20974" y="7906"/>
                    <a:pt x="21138" y="8058"/>
                    <a:pt x="21083" y="8311"/>
                  </a:cubicBezTo>
                  <a:cubicBezTo>
                    <a:pt x="21029" y="8513"/>
                    <a:pt x="21301" y="8412"/>
                    <a:pt x="21219" y="8715"/>
                  </a:cubicBezTo>
                  <a:cubicBezTo>
                    <a:pt x="21192" y="8816"/>
                    <a:pt x="21410" y="8715"/>
                    <a:pt x="21518" y="8816"/>
                  </a:cubicBezTo>
                  <a:cubicBezTo>
                    <a:pt x="21600" y="8867"/>
                    <a:pt x="21600" y="9120"/>
                    <a:pt x="21573" y="9171"/>
                  </a:cubicBezTo>
                  <a:cubicBezTo>
                    <a:pt x="21518" y="9322"/>
                    <a:pt x="21491" y="9221"/>
                    <a:pt x="21382" y="9423"/>
                  </a:cubicBezTo>
                  <a:cubicBezTo>
                    <a:pt x="21219" y="9626"/>
                    <a:pt x="21301" y="9778"/>
                    <a:pt x="21301" y="9828"/>
                  </a:cubicBezTo>
                  <a:cubicBezTo>
                    <a:pt x="21274" y="9980"/>
                    <a:pt x="21219" y="10031"/>
                    <a:pt x="21192" y="10081"/>
                  </a:cubicBezTo>
                  <a:cubicBezTo>
                    <a:pt x="21002" y="9879"/>
                    <a:pt x="21002" y="9879"/>
                    <a:pt x="21002" y="9879"/>
                  </a:cubicBezTo>
                  <a:cubicBezTo>
                    <a:pt x="20947" y="9474"/>
                    <a:pt x="20947" y="9474"/>
                    <a:pt x="20947" y="9474"/>
                  </a:cubicBezTo>
                  <a:cubicBezTo>
                    <a:pt x="20702" y="9474"/>
                    <a:pt x="20702" y="9474"/>
                    <a:pt x="20702" y="9474"/>
                  </a:cubicBezTo>
                  <a:cubicBezTo>
                    <a:pt x="20593" y="9879"/>
                    <a:pt x="20593" y="9879"/>
                    <a:pt x="20593" y="9879"/>
                  </a:cubicBezTo>
                  <a:cubicBezTo>
                    <a:pt x="20049" y="9980"/>
                    <a:pt x="20049" y="9980"/>
                    <a:pt x="20049" y="9980"/>
                  </a:cubicBezTo>
                  <a:cubicBezTo>
                    <a:pt x="19859" y="10233"/>
                    <a:pt x="19750" y="9778"/>
                    <a:pt x="19641" y="10182"/>
                  </a:cubicBezTo>
                  <a:cubicBezTo>
                    <a:pt x="19396" y="10233"/>
                    <a:pt x="19614" y="10334"/>
                    <a:pt x="19369" y="10283"/>
                  </a:cubicBezTo>
                  <a:cubicBezTo>
                    <a:pt x="19315" y="10283"/>
                    <a:pt x="19342" y="10890"/>
                    <a:pt x="19206" y="11042"/>
                  </a:cubicBezTo>
                  <a:cubicBezTo>
                    <a:pt x="19124" y="11093"/>
                    <a:pt x="19124" y="11194"/>
                    <a:pt x="19016" y="11194"/>
                  </a:cubicBezTo>
                  <a:cubicBezTo>
                    <a:pt x="18852" y="11143"/>
                    <a:pt x="18961" y="10941"/>
                    <a:pt x="18934" y="10941"/>
                  </a:cubicBezTo>
                  <a:cubicBezTo>
                    <a:pt x="18771" y="10890"/>
                    <a:pt x="18771" y="10890"/>
                    <a:pt x="18771" y="10890"/>
                  </a:cubicBezTo>
                  <a:cubicBezTo>
                    <a:pt x="18635" y="11497"/>
                    <a:pt x="18635" y="11497"/>
                    <a:pt x="18635" y="11497"/>
                  </a:cubicBezTo>
                  <a:cubicBezTo>
                    <a:pt x="18227" y="11801"/>
                    <a:pt x="18227" y="11801"/>
                    <a:pt x="18227" y="11801"/>
                  </a:cubicBezTo>
                  <a:cubicBezTo>
                    <a:pt x="17927" y="12105"/>
                    <a:pt x="17927" y="12105"/>
                    <a:pt x="17927" y="12105"/>
                  </a:cubicBezTo>
                  <a:cubicBezTo>
                    <a:pt x="17356" y="12408"/>
                    <a:pt x="17356" y="12408"/>
                    <a:pt x="17356" y="12408"/>
                  </a:cubicBezTo>
                  <a:cubicBezTo>
                    <a:pt x="17057" y="12914"/>
                    <a:pt x="17057" y="12914"/>
                    <a:pt x="17057" y="12914"/>
                  </a:cubicBezTo>
                  <a:cubicBezTo>
                    <a:pt x="16594" y="13167"/>
                    <a:pt x="17003" y="13167"/>
                    <a:pt x="16567" y="13926"/>
                  </a:cubicBezTo>
                  <a:cubicBezTo>
                    <a:pt x="16268" y="14482"/>
                    <a:pt x="15778" y="14634"/>
                    <a:pt x="15343" y="14887"/>
                  </a:cubicBezTo>
                  <a:cubicBezTo>
                    <a:pt x="14989" y="14533"/>
                    <a:pt x="14989" y="14533"/>
                    <a:pt x="14989" y="14533"/>
                  </a:cubicBezTo>
                  <a:cubicBezTo>
                    <a:pt x="14989" y="14533"/>
                    <a:pt x="14826" y="14634"/>
                    <a:pt x="14745" y="14634"/>
                  </a:cubicBezTo>
                  <a:cubicBezTo>
                    <a:pt x="14663" y="14684"/>
                    <a:pt x="14391" y="15241"/>
                    <a:pt x="14391" y="15241"/>
                  </a:cubicBezTo>
                  <a:cubicBezTo>
                    <a:pt x="14037" y="15848"/>
                    <a:pt x="14037" y="15848"/>
                    <a:pt x="14037" y="15848"/>
                  </a:cubicBezTo>
                  <a:cubicBezTo>
                    <a:pt x="13901" y="16000"/>
                    <a:pt x="13738" y="16151"/>
                    <a:pt x="13548" y="16151"/>
                  </a:cubicBezTo>
                  <a:cubicBezTo>
                    <a:pt x="13303" y="15848"/>
                    <a:pt x="13303" y="15848"/>
                    <a:pt x="13303" y="15848"/>
                  </a:cubicBezTo>
                  <a:cubicBezTo>
                    <a:pt x="13058" y="15848"/>
                    <a:pt x="12949" y="16101"/>
                    <a:pt x="13085" y="16455"/>
                  </a:cubicBezTo>
                  <a:cubicBezTo>
                    <a:pt x="13140" y="16607"/>
                    <a:pt x="13085" y="16708"/>
                    <a:pt x="13112" y="16860"/>
                  </a:cubicBezTo>
                  <a:cubicBezTo>
                    <a:pt x="13112" y="17112"/>
                    <a:pt x="13357" y="17214"/>
                    <a:pt x="13330" y="17416"/>
                  </a:cubicBezTo>
                  <a:cubicBezTo>
                    <a:pt x="13303" y="17517"/>
                    <a:pt x="13167" y="17517"/>
                    <a:pt x="13058" y="17669"/>
                  </a:cubicBezTo>
                  <a:cubicBezTo>
                    <a:pt x="12976" y="17770"/>
                    <a:pt x="13140" y="18327"/>
                    <a:pt x="13085" y="18327"/>
                  </a:cubicBezTo>
                  <a:cubicBezTo>
                    <a:pt x="13085" y="18327"/>
                    <a:pt x="12949" y="18934"/>
                    <a:pt x="12840" y="18832"/>
                  </a:cubicBezTo>
                  <a:cubicBezTo>
                    <a:pt x="12786" y="18731"/>
                    <a:pt x="12704" y="18579"/>
                    <a:pt x="12650" y="18377"/>
                  </a:cubicBezTo>
                  <a:cubicBezTo>
                    <a:pt x="12595" y="18225"/>
                    <a:pt x="12405" y="18074"/>
                    <a:pt x="12378" y="17871"/>
                  </a:cubicBezTo>
                  <a:cubicBezTo>
                    <a:pt x="12296" y="17669"/>
                    <a:pt x="12650" y="16860"/>
                    <a:pt x="12623" y="16809"/>
                  </a:cubicBezTo>
                  <a:cubicBezTo>
                    <a:pt x="12650" y="16657"/>
                    <a:pt x="12650" y="16657"/>
                    <a:pt x="12595" y="16354"/>
                  </a:cubicBezTo>
                  <a:cubicBezTo>
                    <a:pt x="12595" y="16202"/>
                    <a:pt x="12351" y="16151"/>
                    <a:pt x="12296" y="16000"/>
                  </a:cubicBezTo>
                  <a:cubicBezTo>
                    <a:pt x="12133" y="16556"/>
                    <a:pt x="12133" y="16556"/>
                    <a:pt x="12133" y="16556"/>
                  </a:cubicBezTo>
                  <a:cubicBezTo>
                    <a:pt x="11915" y="16809"/>
                    <a:pt x="11915" y="16809"/>
                    <a:pt x="11915" y="16809"/>
                  </a:cubicBezTo>
                  <a:cubicBezTo>
                    <a:pt x="11698" y="16860"/>
                    <a:pt x="12051" y="17315"/>
                    <a:pt x="11888" y="17264"/>
                  </a:cubicBezTo>
                  <a:cubicBezTo>
                    <a:pt x="11861" y="17214"/>
                    <a:pt x="11671" y="17517"/>
                    <a:pt x="11507" y="17365"/>
                  </a:cubicBezTo>
                  <a:cubicBezTo>
                    <a:pt x="11317" y="17163"/>
                    <a:pt x="11072" y="17112"/>
                    <a:pt x="10990" y="17112"/>
                  </a:cubicBezTo>
                  <a:cubicBezTo>
                    <a:pt x="10746" y="17315"/>
                    <a:pt x="10746" y="17315"/>
                    <a:pt x="10746" y="17315"/>
                  </a:cubicBezTo>
                  <a:cubicBezTo>
                    <a:pt x="10664" y="17568"/>
                    <a:pt x="10637" y="17871"/>
                    <a:pt x="10582" y="18023"/>
                  </a:cubicBezTo>
                  <a:cubicBezTo>
                    <a:pt x="10365" y="18579"/>
                    <a:pt x="10365" y="18579"/>
                    <a:pt x="10365" y="18579"/>
                  </a:cubicBezTo>
                  <a:cubicBezTo>
                    <a:pt x="10065" y="18782"/>
                    <a:pt x="10310" y="18934"/>
                    <a:pt x="10174" y="19035"/>
                  </a:cubicBezTo>
                  <a:cubicBezTo>
                    <a:pt x="10120" y="19085"/>
                    <a:pt x="10038" y="19439"/>
                    <a:pt x="9848" y="19541"/>
                  </a:cubicBezTo>
                  <a:cubicBezTo>
                    <a:pt x="9739" y="19591"/>
                    <a:pt x="9576" y="19844"/>
                    <a:pt x="9440" y="19844"/>
                  </a:cubicBezTo>
                  <a:cubicBezTo>
                    <a:pt x="9385" y="19844"/>
                    <a:pt x="9086" y="20249"/>
                    <a:pt x="9059" y="20350"/>
                  </a:cubicBezTo>
                  <a:cubicBezTo>
                    <a:pt x="8841" y="20249"/>
                    <a:pt x="8243" y="19945"/>
                    <a:pt x="8188" y="19541"/>
                  </a:cubicBezTo>
                  <a:cubicBezTo>
                    <a:pt x="8134" y="19186"/>
                    <a:pt x="7944" y="19692"/>
                    <a:pt x="7780" y="19338"/>
                  </a:cubicBezTo>
                  <a:cubicBezTo>
                    <a:pt x="7372" y="19085"/>
                    <a:pt x="7372" y="19085"/>
                    <a:pt x="7372" y="19085"/>
                  </a:cubicBezTo>
                  <a:cubicBezTo>
                    <a:pt x="7100" y="19085"/>
                    <a:pt x="7100" y="19085"/>
                    <a:pt x="7100" y="19085"/>
                  </a:cubicBezTo>
                  <a:cubicBezTo>
                    <a:pt x="6991" y="19085"/>
                    <a:pt x="6502" y="19186"/>
                    <a:pt x="6393" y="19288"/>
                  </a:cubicBezTo>
                  <a:cubicBezTo>
                    <a:pt x="6475" y="19844"/>
                    <a:pt x="6447" y="19439"/>
                    <a:pt x="6447" y="20097"/>
                  </a:cubicBezTo>
                  <a:cubicBezTo>
                    <a:pt x="6284" y="20148"/>
                    <a:pt x="6475" y="20805"/>
                    <a:pt x="6339" y="21008"/>
                  </a:cubicBezTo>
                  <a:cubicBezTo>
                    <a:pt x="5876" y="21210"/>
                    <a:pt x="5876" y="21210"/>
                    <a:pt x="5876" y="21210"/>
                  </a:cubicBezTo>
                  <a:cubicBezTo>
                    <a:pt x="5604" y="21513"/>
                    <a:pt x="5604" y="21513"/>
                    <a:pt x="5604" y="21513"/>
                  </a:cubicBezTo>
                  <a:cubicBezTo>
                    <a:pt x="5114" y="21513"/>
                    <a:pt x="5114" y="21513"/>
                    <a:pt x="5114" y="21513"/>
                  </a:cubicBezTo>
                  <a:cubicBezTo>
                    <a:pt x="5114" y="21564"/>
                    <a:pt x="4870" y="21260"/>
                    <a:pt x="4842" y="21058"/>
                  </a:cubicBezTo>
                  <a:cubicBezTo>
                    <a:pt x="4706" y="20401"/>
                    <a:pt x="4788" y="20502"/>
                    <a:pt x="4679" y="20401"/>
                  </a:cubicBezTo>
                  <a:cubicBezTo>
                    <a:pt x="4489" y="20299"/>
                    <a:pt x="4489" y="20451"/>
                    <a:pt x="4434" y="20401"/>
                  </a:cubicBezTo>
                  <a:cubicBezTo>
                    <a:pt x="4434" y="20350"/>
                    <a:pt x="4325" y="20401"/>
                    <a:pt x="4162" y="20653"/>
                  </a:cubicBezTo>
                  <a:cubicBezTo>
                    <a:pt x="4108" y="20805"/>
                    <a:pt x="3999" y="21210"/>
                    <a:pt x="3945" y="21260"/>
                  </a:cubicBezTo>
                  <a:cubicBezTo>
                    <a:pt x="3890" y="21362"/>
                    <a:pt x="3890" y="21008"/>
                    <a:pt x="3836" y="21058"/>
                  </a:cubicBezTo>
                  <a:cubicBezTo>
                    <a:pt x="3727" y="21159"/>
                    <a:pt x="3754" y="20856"/>
                    <a:pt x="3537" y="21109"/>
                  </a:cubicBezTo>
                  <a:cubicBezTo>
                    <a:pt x="3455" y="21210"/>
                    <a:pt x="3183" y="21058"/>
                    <a:pt x="3509" y="20856"/>
                  </a:cubicBezTo>
                  <a:cubicBezTo>
                    <a:pt x="3564" y="20856"/>
                    <a:pt x="3999" y="20249"/>
                    <a:pt x="3999" y="20198"/>
                  </a:cubicBezTo>
                  <a:cubicBezTo>
                    <a:pt x="4026" y="20097"/>
                    <a:pt x="3727" y="19844"/>
                    <a:pt x="3700" y="19844"/>
                  </a:cubicBezTo>
                  <a:cubicBezTo>
                    <a:pt x="3673" y="19844"/>
                    <a:pt x="3537" y="20249"/>
                    <a:pt x="3401" y="20350"/>
                  </a:cubicBezTo>
                  <a:cubicBezTo>
                    <a:pt x="3183" y="20451"/>
                    <a:pt x="3183" y="20502"/>
                    <a:pt x="3074" y="20552"/>
                  </a:cubicBezTo>
                  <a:cubicBezTo>
                    <a:pt x="2992" y="20603"/>
                    <a:pt x="2965" y="20401"/>
                    <a:pt x="2911" y="20451"/>
                  </a:cubicBezTo>
                  <a:cubicBezTo>
                    <a:pt x="2829" y="20502"/>
                    <a:pt x="2829" y="20603"/>
                    <a:pt x="2775" y="20603"/>
                  </a:cubicBezTo>
                  <a:cubicBezTo>
                    <a:pt x="2639" y="20603"/>
                    <a:pt x="2720" y="20249"/>
                    <a:pt x="2720" y="20249"/>
                  </a:cubicBezTo>
                  <a:cubicBezTo>
                    <a:pt x="2829" y="20148"/>
                    <a:pt x="2802" y="20249"/>
                    <a:pt x="2965" y="20148"/>
                  </a:cubicBezTo>
                  <a:cubicBezTo>
                    <a:pt x="3020" y="20097"/>
                    <a:pt x="3183" y="19996"/>
                    <a:pt x="3183" y="19844"/>
                  </a:cubicBezTo>
                  <a:cubicBezTo>
                    <a:pt x="3101" y="19288"/>
                    <a:pt x="2965" y="19794"/>
                    <a:pt x="2911" y="19591"/>
                  </a:cubicBezTo>
                  <a:cubicBezTo>
                    <a:pt x="2856" y="19389"/>
                    <a:pt x="2775" y="19490"/>
                    <a:pt x="2748" y="19389"/>
                  </a:cubicBezTo>
                  <a:cubicBezTo>
                    <a:pt x="2693" y="19136"/>
                    <a:pt x="2693" y="20097"/>
                    <a:pt x="2584" y="19389"/>
                  </a:cubicBezTo>
                  <a:cubicBezTo>
                    <a:pt x="2530" y="19035"/>
                    <a:pt x="2666" y="19035"/>
                    <a:pt x="2367" y="18883"/>
                  </a:cubicBezTo>
                  <a:cubicBezTo>
                    <a:pt x="2367" y="18883"/>
                    <a:pt x="2312" y="18832"/>
                    <a:pt x="2285" y="18832"/>
                  </a:cubicBezTo>
                  <a:cubicBezTo>
                    <a:pt x="2285" y="18782"/>
                    <a:pt x="2312" y="18731"/>
                    <a:pt x="2312" y="18731"/>
                  </a:cubicBezTo>
                  <a:cubicBezTo>
                    <a:pt x="2312" y="18731"/>
                    <a:pt x="2231" y="18579"/>
                    <a:pt x="2204" y="18579"/>
                  </a:cubicBezTo>
                  <a:cubicBezTo>
                    <a:pt x="2204" y="18579"/>
                    <a:pt x="2122" y="18681"/>
                    <a:pt x="2122" y="18681"/>
                  </a:cubicBezTo>
                  <a:cubicBezTo>
                    <a:pt x="2122" y="18681"/>
                    <a:pt x="2095" y="18681"/>
                    <a:pt x="2068" y="18681"/>
                  </a:cubicBezTo>
                  <a:cubicBezTo>
                    <a:pt x="2068" y="18630"/>
                    <a:pt x="2149" y="18630"/>
                    <a:pt x="2258" y="18529"/>
                  </a:cubicBezTo>
                  <a:cubicBezTo>
                    <a:pt x="2312" y="18529"/>
                    <a:pt x="2340" y="18681"/>
                    <a:pt x="2394" y="18681"/>
                  </a:cubicBezTo>
                  <a:cubicBezTo>
                    <a:pt x="2448" y="18731"/>
                    <a:pt x="2557" y="18681"/>
                    <a:pt x="2557" y="18630"/>
                  </a:cubicBezTo>
                  <a:cubicBezTo>
                    <a:pt x="2584" y="18579"/>
                    <a:pt x="2448" y="18428"/>
                    <a:pt x="2476" y="18175"/>
                  </a:cubicBezTo>
                  <a:cubicBezTo>
                    <a:pt x="2476" y="18074"/>
                    <a:pt x="2530" y="18074"/>
                    <a:pt x="2476" y="18023"/>
                  </a:cubicBezTo>
                  <a:cubicBezTo>
                    <a:pt x="2421" y="17972"/>
                    <a:pt x="2421" y="17922"/>
                    <a:pt x="2421" y="17922"/>
                  </a:cubicBezTo>
                  <a:cubicBezTo>
                    <a:pt x="2068" y="17871"/>
                    <a:pt x="2068" y="17871"/>
                    <a:pt x="2068" y="17871"/>
                  </a:cubicBezTo>
                  <a:cubicBezTo>
                    <a:pt x="2068" y="17871"/>
                    <a:pt x="2068" y="17871"/>
                    <a:pt x="2013" y="17821"/>
                  </a:cubicBezTo>
                  <a:cubicBezTo>
                    <a:pt x="1959" y="17770"/>
                    <a:pt x="1904" y="17720"/>
                    <a:pt x="1904" y="17720"/>
                  </a:cubicBezTo>
                  <a:cubicBezTo>
                    <a:pt x="1795" y="17568"/>
                    <a:pt x="1795" y="17568"/>
                    <a:pt x="1795" y="17568"/>
                  </a:cubicBezTo>
                  <a:cubicBezTo>
                    <a:pt x="1795" y="17568"/>
                    <a:pt x="1687" y="17618"/>
                    <a:pt x="1659" y="17618"/>
                  </a:cubicBezTo>
                  <a:cubicBezTo>
                    <a:pt x="1659" y="17618"/>
                    <a:pt x="1687" y="17821"/>
                    <a:pt x="1687" y="17821"/>
                  </a:cubicBezTo>
                  <a:cubicBezTo>
                    <a:pt x="1659" y="17871"/>
                    <a:pt x="1659" y="18074"/>
                    <a:pt x="1551" y="17922"/>
                  </a:cubicBezTo>
                  <a:cubicBezTo>
                    <a:pt x="1523" y="17871"/>
                    <a:pt x="1442" y="17720"/>
                    <a:pt x="1415" y="17720"/>
                  </a:cubicBezTo>
                  <a:cubicBezTo>
                    <a:pt x="1387" y="17770"/>
                    <a:pt x="1279" y="17720"/>
                    <a:pt x="1279" y="17669"/>
                  </a:cubicBezTo>
                  <a:cubicBezTo>
                    <a:pt x="1251" y="17618"/>
                    <a:pt x="1170" y="17568"/>
                    <a:pt x="1170" y="17568"/>
                  </a:cubicBezTo>
                  <a:cubicBezTo>
                    <a:pt x="1170" y="17568"/>
                    <a:pt x="1251" y="17365"/>
                    <a:pt x="1224" y="17315"/>
                  </a:cubicBezTo>
                  <a:cubicBezTo>
                    <a:pt x="1197" y="17315"/>
                    <a:pt x="1360" y="17416"/>
                    <a:pt x="1360" y="17416"/>
                  </a:cubicBezTo>
                  <a:cubicBezTo>
                    <a:pt x="1360" y="17416"/>
                    <a:pt x="1360" y="17163"/>
                    <a:pt x="1387" y="17163"/>
                  </a:cubicBezTo>
                  <a:cubicBezTo>
                    <a:pt x="1415" y="17112"/>
                    <a:pt x="1333" y="17112"/>
                    <a:pt x="1306" y="17062"/>
                  </a:cubicBezTo>
                  <a:cubicBezTo>
                    <a:pt x="1279" y="17011"/>
                    <a:pt x="1251" y="16860"/>
                    <a:pt x="1251" y="16860"/>
                  </a:cubicBezTo>
                  <a:cubicBezTo>
                    <a:pt x="1251" y="16860"/>
                    <a:pt x="1197" y="16809"/>
                    <a:pt x="1197" y="16758"/>
                  </a:cubicBezTo>
                  <a:cubicBezTo>
                    <a:pt x="1170" y="16556"/>
                    <a:pt x="1251" y="16404"/>
                    <a:pt x="1279" y="16404"/>
                  </a:cubicBezTo>
                  <a:cubicBezTo>
                    <a:pt x="1306" y="16455"/>
                    <a:pt x="1306" y="16455"/>
                    <a:pt x="1333" y="16455"/>
                  </a:cubicBezTo>
                  <a:cubicBezTo>
                    <a:pt x="1387" y="16505"/>
                    <a:pt x="1387" y="16505"/>
                    <a:pt x="1387" y="16505"/>
                  </a:cubicBezTo>
                  <a:cubicBezTo>
                    <a:pt x="1387" y="16505"/>
                    <a:pt x="1442" y="16657"/>
                    <a:pt x="1442" y="16657"/>
                  </a:cubicBezTo>
                  <a:cubicBezTo>
                    <a:pt x="1469" y="16657"/>
                    <a:pt x="1551" y="16809"/>
                    <a:pt x="1551" y="16809"/>
                  </a:cubicBezTo>
                  <a:cubicBezTo>
                    <a:pt x="1551" y="16809"/>
                    <a:pt x="1605" y="17011"/>
                    <a:pt x="1632" y="17062"/>
                  </a:cubicBezTo>
                  <a:cubicBezTo>
                    <a:pt x="1659" y="17062"/>
                    <a:pt x="1659" y="16961"/>
                    <a:pt x="1714" y="16961"/>
                  </a:cubicBezTo>
                  <a:cubicBezTo>
                    <a:pt x="1768" y="17011"/>
                    <a:pt x="1823" y="17112"/>
                    <a:pt x="1850" y="17062"/>
                  </a:cubicBezTo>
                  <a:cubicBezTo>
                    <a:pt x="1877" y="17062"/>
                    <a:pt x="1904" y="16809"/>
                    <a:pt x="1904" y="16809"/>
                  </a:cubicBezTo>
                  <a:cubicBezTo>
                    <a:pt x="1904" y="16809"/>
                    <a:pt x="1741" y="16607"/>
                    <a:pt x="1714" y="16607"/>
                  </a:cubicBezTo>
                  <a:cubicBezTo>
                    <a:pt x="1714" y="16556"/>
                    <a:pt x="1659" y="16505"/>
                    <a:pt x="1659" y="16455"/>
                  </a:cubicBezTo>
                  <a:cubicBezTo>
                    <a:pt x="1632" y="16455"/>
                    <a:pt x="1578" y="16404"/>
                    <a:pt x="1578" y="16404"/>
                  </a:cubicBezTo>
                  <a:cubicBezTo>
                    <a:pt x="1578" y="16404"/>
                    <a:pt x="1551" y="16253"/>
                    <a:pt x="1551" y="16253"/>
                  </a:cubicBezTo>
                  <a:cubicBezTo>
                    <a:pt x="1523" y="16202"/>
                    <a:pt x="1551" y="16101"/>
                    <a:pt x="1551" y="16101"/>
                  </a:cubicBezTo>
                  <a:cubicBezTo>
                    <a:pt x="1578" y="16050"/>
                    <a:pt x="1632" y="16000"/>
                    <a:pt x="1659" y="16000"/>
                  </a:cubicBezTo>
                  <a:cubicBezTo>
                    <a:pt x="1687" y="16000"/>
                    <a:pt x="1768" y="15949"/>
                    <a:pt x="1768" y="15949"/>
                  </a:cubicBezTo>
                  <a:cubicBezTo>
                    <a:pt x="1795" y="15696"/>
                    <a:pt x="1795" y="15696"/>
                    <a:pt x="1795" y="15696"/>
                  </a:cubicBezTo>
                  <a:cubicBezTo>
                    <a:pt x="1795" y="15696"/>
                    <a:pt x="1850" y="15494"/>
                    <a:pt x="1850" y="15494"/>
                  </a:cubicBezTo>
                  <a:cubicBezTo>
                    <a:pt x="1823" y="15494"/>
                    <a:pt x="1632" y="15645"/>
                    <a:pt x="1632" y="15595"/>
                  </a:cubicBezTo>
                  <a:cubicBezTo>
                    <a:pt x="1605" y="15595"/>
                    <a:pt x="1551" y="15595"/>
                    <a:pt x="1551" y="15544"/>
                  </a:cubicBezTo>
                  <a:cubicBezTo>
                    <a:pt x="1523" y="15494"/>
                    <a:pt x="1523" y="15393"/>
                    <a:pt x="1523" y="15342"/>
                  </a:cubicBezTo>
                  <a:cubicBezTo>
                    <a:pt x="1523" y="15291"/>
                    <a:pt x="1551" y="15190"/>
                    <a:pt x="1551" y="15190"/>
                  </a:cubicBezTo>
                  <a:cubicBezTo>
                    <a:pt x="1551" y="15190"/>
                    <a:pt x="1523" y="15089"/>
                    <a:pt x="1496" y="15089"/>
                  </a:cubicBezTo>
                  <a:cubicBezTo>
                    <a:pt x="1496" y="15038"/>
                    <a:pt x="1469" y="14937"/>
                    <a:pt x="1469" y="14937"/>
                  </a:cubicBezTo>
                  <a:cubicBezTo>
                    <a:pt x="1469" y="14937"/>
                    <a:pt x="1279" y="14735"/>
                    <a:pt x="1279" y="14735"/>
                  </a:cubicBezTo>
                  <a:cubicBezTo>
                    <a:pt x="1279" y="14684"/>
                    <a:pt x="1279" y="14533"/>
                    <a:pt x="1306" y="14533"/>
                  </a:cubicBezTo>
                  <a:cubicBezTo>
                    <a:pt x="1306" y="14482"/>
                    <a:pt x="1279" y="14381"/>
                    <a:pt x="1333" y="14280"/>
                  </a:cubicBezTo>
                  <a:cubicBezTo>
                    <a:pt x="1415" y="14179"/>
                    <a:pt x="1469" y="13875"/>
                    <a:pt x="1469" y="13875"/>
                  </a:cubicBezTo>
                  <a:cubicBezTo>
                    <a:pt x="1469" y="13875"/>
                    <a:pt x="1279" y="13824"/>
                    <a:pt x="1279" y="13824"/>
                  </a:cubicBezTo>
                  <a:cubicBezTo>
                    <a:pt x="1251" y="13824"/>
                    <a:pt x="1170" y="14027"/>
                    <a:pt x="1170" y="14027"/>
                  </a:cubicBezTo>
                  <a:cubicBezTo>
                    <a:pt x="1170" y="14027"/>
                    <a:pt x="1061" y="14077"/>
                    <a:pt x="1061" y="14128"/>
                  </a:cubicBezTo>
                  <a:cubicBezTo>
                    <a:pt x="1034" y="14128"/>
                    <a:pt x="898" y="14179"/>
                    <a:pt x="898" y="14229"/>
                  </a:cubicBezTo>
                  <a:cubicBezTo>
                    <a:pt x="871" y="14229"/>
                    <a:pt x="816" y="14330"/>
                    <a:pt x="789" y="14330"/>
                  </a:cubicBezTo>
                  <a:cubicBezTo>
                    <a:pt x="762" y="14381"/>
                    <a:pt x="653" y="14482"/>
                    <a:pt x="653" y="14482"/>
                  </a:cubicBezTo>
                  <a:cubicBezTo>
                    <a:pt x="653" y="14482"/>
                    <a:pt x="544" y="14482"/>
                    <a:pt x="544" y="14482"/>
                  </a:cubicBezTo>
                  <a:cubicBezTo>
                    <a:pt x="544" y="14431"/>
                    <a:pt x="544" y="14077"/>
                    <a:pt x="544" y="14077"/>
                  </a:cubicBezTo>
                  <a:cubicBezTo>
                    <a:pt x="544" y="14077"/>
                    <a:pt x="598" y="14027"/>
                    <a:pt x="598" y="13976"/>
                  </a:cubicBezTo>
                  <a:cubicBezTo>
                    <a:pt x="598" y="13976"/>
                    <a:pt x="571" y="13774"/>
                    <a:pt x="544" y="13723"/>
                  </a:cubicBezTo>
                  <a:cubicBezTo>
                    <a:pt x="544" y="13723"/>
                    <a:pt x="544" y="13470"/>
                    <a:pt x="544" y="13420"/>
                  </a:cubicBezTo>
                  <a:cubicBezTo>
                    <a:pt x="544" y="13319"/>
                    <a:pt x="517" y="13167"/>
                    <a:pt x="517" y="13167"/>
                  </a:cubicBezTo>
                  <a:cubicBezTo>
                    <a:pt x="490" y="12914"/>
                    <a:pt x="490" y="12914"/>
                    <a:pt x="490" y="12914"/>
                  </a:cubicBezTo>
                  <a:cubicBezTo>
                    <a:pt x="517" y="12712"/>
                    <a:pt x="517" y="12712"/>
                    <a:pt x="517" y="12712"/>
                  </a:cubicBezTo>
                  <a:cubicBezTo>
                    <a:pt x="544" y="12610"/>
                    <a:pt x="544" y="12610"/>
                    <a:pt x="544" y="12610"/>
                  </a:cubicBezTo>
                  <a:cubicBezTo>
                    <a:pt x="544" y="12610"/>
                    <a:pt x="598" y="12408"/>
                    <a:pt x="598" y="12408"/>
                  </a:cubicBezTo>
                  <a:cubicBezTo>
                    <a:pt x="598" y="12357"/>
                    <a:pt x="653" y="12155"/>
                    <a:pt x="653" y="12155"/>
                  </a:cubicBezTo>
                  <a:cubicBezTo>
                    <a:pt x="680" y="12105"/>
                    <a:pt x="843" y="11801"/>
                    <a:pt x="843" y="11801"/>
                  </a:cubicBezTo>
                  <a:cubicBezTo>
                    <a:pt x="925" y="11599"/>
                    <a:pt x="925" y="11599"/>
                    <a:pt x="925" y="11599"/>
                  </a:cubicBezTo>
                  <a:cubicBezTo>
                    <a:pt x="925" y="11599"/>
                    <a:pt x="1034" y="11599"/>
                    <a:pt x="1061" y="11599"/>
                  </a:cubicBezTo>
                  <a:cubicBezTo>
                    <a:pt x="1061" y="11599"/>
                    <a:pt x="1170" y="11447"/>
                    <a:pt x="1170" y="11447"/>
                  </a:cubicBezTo>
                  <a:cubicBezTo>
                    <a:pt x="1197" y="11346"/>
                    <a:pt x="1197" y="11346"/>
                    <a:pt x="1197" y="11346"/>
                  </a:cubicBezTo>
                  <a:cubicBezTo>
                    <a:pt x="1279" y="11346"/>
                    <a:pt x="1279" y="11346"/>
                    <a:pt x="1279" y="11346"/>
                  </a:cubicBezTo>
                  <a:cubicBezTo>
                    <a:pt x="1279" y="11346"/>
                    <a:pt x="1333" y="11245"/>
                    <a:pt x="1360" y="11245"/>
                  </a:cubicBezTo>
                  <a:cubicBezTo>
                    <a:pt x="1360" y="11245"/>
                    <a:pt x="1415" y="11245"/>
                    <a:pt x="1469" y="11245"/>
                  </a:cubicBezTo>
                  <a:cubicBezTo>
                    <a:pt x="1523" y="11245"/>
                    <a:pt x="1551" y="11194"/>
                    <a:pt x="1578" y="11194"/>
                  </a:cubicBezTo>
                  <a:cubicBezTo>
                    <a:pt x="1578" y="11245"/>
                    <a:pt x="1687" y="11447"/>
                    <a:pt x="1687" y="11447"/>
                  </a:cubicBezTo>
                  <a:cubicBezTo>
                    <a:pt x="2013" y="11346"/>
                    <a:pt x="2013" y="11346"/>
                    <a:pt x="2013" y="11346"/>
                  </a:cubicBezTo>
                  <a:cubicBezTo>
                    <a:pt x="2149" y="11245"/>
                    <a:pt x="2149" y="11245"/>
                    <a:pt x="2149" y="11245"/>
                  </a:cubicBezTo>
                  <a:cubicBezTo>
                    <a:pt x="2149" y="11245"/>
                    <a:pt x="2149" y="11093"/>
                    <a:pt x="2149" y="11093"/>
                  </a:cubicBezTo>
                  <a:cubicBezTo>
                    <a:pt x="2122" y="11042"/>
                    <a:pt x="1986" y="10992"/>
                    <a:pt x="1986" y="10992"/>
                  </a:cubicBezTo>
                  <a:cubicBezTo>
                    <a:pt x="1986" y="10992"/>
                    <a:pt x="1959" y="10992"/>
                    <a:pt x="1986" y="10992"/>
                  </a:cubicBezTo>
                  <a:cubicBezTo>
                    <a:pt x="1986" y="10941"/>
                    <a:pt x="2040" y="10739"/>
                    <a:pt x="2040" y="10739"/>
                  </a:cubicBezTo>
                  <a:cubicBezTo>
                    <a:pt x="2068" y="10739"/>
                    <a:pt x="2095" y="10739"/>
                    <a:pt x="2149" y="10739"/>
                  </a:cubicBezTo>
                  <a:cubicBezTo>
                    <a:pt x="2204" y="10739"/>
                    <a:pt x="2312" y="10739"/>
                    <a:pt x="2312" y="10739"/>
                  </a:cubicBezTo>
                  <a:cubicBezTo>
                    <a:pt x="2312" y="10739"/>
                    <a:pt x="2367" y="10840"/>
                    <a:pt x="2312" y="10890"/>
                  </a:cubicBezTo>
                  <a:cubicBezTo>
                    <a:pt x="2285" y="10941"/>
                    <a:pt x="2258" y="10941"/>
                    <a:pt x="2258" y="10992"/>
                  </a:cubicBezTo>
                  <a:cubicBezTo>
                    <a:pt x="2258" y="10992"/>
                    <a:pt x="2258" y="11093"/>
                    <a:pt x="2285" y="11093"/>
                  </a:cubicBezTo>
                  <a:cubicBezTo>
                    <a:pt x="2285" y="11093"/>
                    <a:pt x="2421" y="11042"/>
                    <a:pt x="2421" y="11042"/>
                  </a:cubicBezTo>
                  <a:cubicBezTo>
                    <a:pt x="2421" y="11042"/>
                    <a:pt x="2448" y="10941"/>
                    <a:pt x="2503" y="10941"/>
                  </a:cubicBezTo>
                  <a:cubicBezTo>
                    <a:pt x="2530" y="10890"/>
                    <a:pt x="2612" y="10840"/>
                    <a:pt x="2612" y="10840"/>
                  </a:cubicBezTo>
                  <a:cubicBezTo>
                    <a:pt x="2884" y="10789"/>
                    <a:pt x="2884" y="10789"/>
                    <a:pt x="2884" y="10789"/>
                  </a:cubicBezTo>
                  <a:cubicBezTo>
                    <a:pt x="3074" y="10688"/>
                    <a:pt x="3074" y="10688"/>
                    <a:pt x="3074" y="10688"/>
                  </a:cubicBezTo>
                  <a:cubicBezTo>
                    <a:pt x="3074" y="10688"/>
                    <a:pt x="3292" y="10435"/>
                    <a:pt x="3346" y="10435"/>
                  </a:cubicBezTo>
                  <a:cubicBezTo>
                    <a:pt x="3428" y="10486"/>
                    <a:pt x="3482" y="10486"/>
                    <a:pt x="3509" y="10435"/>
                  </a:cubicBezTo>
                  <a:cubicBezTo>
                    <a:pt x="3537" y="10385"/>
                    <a:pt x="3591" y="10233"/>
                    <a:pt x="3591" y="10233"/>
                  </a:cubicBezTo>
                  <a:cubicBezTo>
                    <a:pt x="3537" y="10182"/>
                    <a:pt x="3537" y="10182"/>
                    <a:pt x="3537" y="10182"/>
                  </a:cubicBezTo>
                  <a:cubicBezTo>
                    <a:pt x="3401" y="10182"/>
                    <a:pt x="3401" y="10182"/>
                    <a:pt x="3401" y="10182"/>
                  </a:cubicBezTo>
                  <a:cubicBezTo>
                    <a:pt x="3401" y="10182"/>
                    <a:pt x="3264" y="10233"/>
                    <a:pt x="3264" y="10233"/>
                  </a:cubicBezTo>
                  <a:cubicBezTo>
                    <a:pt x="3237" y="10182"/>
                    <a:pt x="3156" y="10182"/>
                    <a:pt x="3183" y="10132"/>
                  </a:cubicBezTo>
                  <a:cubicBezTo>
                    <a:pt x="3210" y="10031"/>
                    <a:pt x="3210" y="10031"/>
                    <a:pt x="3264" y="9929"/>
                  </a:cubicBezTo>
                  <a:cubicBezTo>
                    <a:pt x="3292" y="9879"/>
                    <a:pt x="3319" y="9828"/>
                    <a:pt x="3346" y="9778"/>
                  </a:cubicBezTo>
                  <a:cubicBezTo>
                    <a:pt x="3401" y="9778"/>
                    <a:pt x="3401" y="9727"/>
                    <a:pt x="3455" y="9676"/>
                  </a:cubicBezTo>
                  <a:cubicBezTo>
                    <a:pt x="3509" y="9626"/>
                    <a:pt x="3509" y="9626"/>
                    <a:pt x="3618" y="9525"/>
                  </a:cubicBezTo>
                  <a:cubicBezTo>
                    <a:pt x="3727" y="9474"/>
                    <a:pt x="3945" y="9171"/>
                    <a:pt x="3972" y="9171"/>
                  </a:cubicBezTo>
                  <a:cubicBezTo>
                    <a:pt x="3999" y="9171"/>
                    <a:pt x="4026" y="9221"/>
                    <a:pt x="4135" y="9120"/>
                  </a:cubicBezTo>
                  <a:cubicBezTo>
                    <a:pt x="4271" y="9069"/>
                    <a:pt x="4353" y="8918"/>
                    <a:pt x="4325" y="8918"/>
                  </a:cubicBezTo>
                  <a:cubicBezTo>
                    <a:pt x="4298" y="8918"/>
                    <a:pt x="4244" y="8867"/>
                    <a:pt x="4189" y="8918"/>
                  </a:cubicBezTo>
                  <a:cubicBezTo>
                    <a:pt x="4108" y="8968"/>
                    <a:pt x="4162" y="8867"/>
                    <a:pt x="4053" y="8968"/>
                  </a:cubicBezTo>
                  <a:cubicBezTo>
                    <a:pt x="3917" y="9120"/>
                    <a:pt x="3727" y="9221"/>
                    <a:pt x="3673" y="9221"/>
                  </a:cubicBezTo>
                  <a:cubicBezTo>
                    <a:pt x="3618" y="9171"/>
                    <a:pt x="3564" y="9120"/>
                    <a:pt x="3509" y="9019"/>
                  </a:cubicBezTo>
                  <a:cubicBezTo>
                    <a:pt x="3428" y="8918"/>
                    <a:pt x="3264" y="8918"/>
                    <a:pt x="3264" y="8867"/>
                  </a:cubicBezTo>
                  <a:cubicBezTo>
                    <a:pt x="3237" y="8867"/>
                    <a:pt x="3020" y="9019"/>
                    <a:pt x="3020" y="9019"/>
                  </a:cubicBezTo>
                  <a:cubicBezTo>
                    <a:pt x="3020" y="9019"/>
                    <a:pt x="2720" y="9069"/>
                    <a:pt x="2639" y="9069"/>
                  </a:cubicBezTo>
                  <a:cubicBezTo>
                    <a:pt x="2584" y="9069"/>
                    <a:pt x="2421" y="9019"/>
                    <a:pt x="2394" y="9019"/>
                  </a:cubicBezTo>
                  <a:cubicBezTo>
                    <a:pt x="2394" y="9019"/>
                    <a:pt x="2231" y="9120"/>
                    <a:pt x="2231" y="9120"/>
                  </a:cubicBezTo>
                  <a:cubicBezTo>
                    <a:pt x="2204" y="9120"/>
                    <a:pt x="2095" y="9423"/>
                    <a:pt x="2040" y="9474"/>
                  </a:cubicBezTo>
                  <a:cubicBezTo>
                    <a:pt x="1986" y="9525"/>
                    <a:pt x="1850" y="9474"/>
                    <a:pt x="1850" y="9474"/>
                  </a:cubicBezTo>
                  <a:cubicBezTo>
                    <a:pt x="1850" y="9474"/>
                    <a:pt x="1795" y="9575"/>
                    <a:pt x="1741" y="9626"/>
                  </a:cubicBezTo>
                  <a:cubicBezTo>
                    <a:pt x="1687" y="9676"/>
                    <a:pt x="1605" y="9778"/>
                    <a:pt x="1551" y="9828"/>
                  </a:cubicBezTo>
                  <a:cubicBezTo>
                    <a:pt x="1496" y="9879"/>
                    <a:pt x="1469" y="10283"/>
                    <a:pt x="1469" y="10334"/>
                  </a:cubicBezTo>
                  <a:cubicBezTo>
                    <a:pt x="1442" y="10435"/>
                    <a:pt x="1306" y="10789"/>
                    <a:pt x="1306" y="10789"/>
                  </a:cubicBezTo>
                  <a:cubicBezTo>
                    <a:pt x="1170" y="11042"/>
                    <a:pt x="1170" y="11042"/>
                    <a:pt x="1170" y="11042"/>
                  </a:cubicBezTo>
                  <a:cubicBezTo>
                    <a:pt x="1170" y="11042"/>
                    <a:pt x="1061" y="11245"/>
                    <a:pt x="1034" y="11245"/>
                  </a:cubicBezTo>
                  <a:cubicBezTo>
                    <a:pt x="1007" y="11295"/>
                    <a:pt x="843" y="11599"/>
                    <a:pt x="843" y="11599"/>
                  </a:cubicBezTo>
                  <a:cubicBezTo>
                    <a:pt x="843" y="11599"/>
                    <a:pt x="789" y="11548"/>
                    <a:pt x="789" y="11548"/>
                  </a:cubicBezTo>
                  <a:cubicBezTo>
                    <a:pt x="789" y="11548"/>
                    <a:pt x="680" y="11852"/>
                    <a:pt x="680" y="11852"/>
                  </a:cubicBezTo>
                  <a:cubicBezTo>
                    <a:pt x="680" y="11852"/>
                    <a:pt x="626" y="12105"/>
                    <a:pt x="598" y="12155"/>
                  </a:cubicBezTo>
                  <a:cubicBezTo>
                    <a:pt x="598" y="12206"/>
                    <a:pt x="490" y="12509"/>
                    <a:pt x="490" y="12509"/>
                  </a:cubicBezTo>
                  <a:cubicBezTo>
                    <a:pt x="462" y="12610"/>
                    <a:pt x="462" y="12610"/>
                    <a:pt x="462" y="12610"/>
                  </a:cubicBezTo>
                  <a:cubicBezTo>
                    <a:pt x="435" y="12813"/>
                    <a:pt x="435" y="12813"/>
                    <a:pt x="435" y="12813"/>
                  </a:cubicBezTo>
                  <a:cubicBezTo>
                    <a:pt x="435" y="12813"/>
                    <a:pt x="381" y="12914"/>
                    <a:pt x="381" y="12863"/>
                  </a:cubicBezTo>
                  <a:cubicBezTo>
                    <a:pt x="381" y="12813"/>
                    <a:pt x="381" y="12610"/>
                    <a:pt x="408" y="12560"/>
                  </a:cubicBezTo>
                  <a:cubicBezTo>
                    <a:pt x="435" y="12509"/>
                    <a:pt x="435" y="12408"/>
                    <a:pt x="435" y="12408"/>
                  </a:cubicBezTo>
                  <a:cubicBezTo>
                    <a:pt x="408" y="12155"/>
                    <a:pt x="408" y="12155"/>
                    <a:pt x="408" y="12155"/>
                  </a:cubicBezTo>
                  <a:cubicBezTo>
                    <a:pt x="408" y="12155"/>
                    <a:pt x="381" y="12256"/>
                    <a:pt x="408" y="12105"/>
                  </a:cubicBezTo>
                  <a:cubicBezTo>
                    <a:pt x="435" y="11953"/>
                    <a:pt x="408" y="11953"/>
                    <a:pt x="435" y="11902"/>
                  </a:cubicBezTo>
                  <a:cubicBezTo>
                    <a:pt x="490" y="11852"/>
                    <a:pt x="462" y="11852"/>
                    <a:pt x="544" y="11750"/>
                  </a:cubicBezTo>
                  <a:cubicBezTo>
                    <a:pt x="598" y="11649"/>
                    <a:pt x="571" y="11599"/>
                    <a:pt x="598" y="11599"/>
                  </a:cubicBezTo>
                  <a:cubicBezTo>
                    <a:pt x="653" y="11548"/>
                    <a:pt x="653" y="11548"/>
                    <a:pt x="707" y="11497"/>
                  </a:cubicBezTo>
                  <a:cubicBezTo>
                    <a:pt x="789" y="11396"/>
                    <a:pt x="816" y="11346"/>
                    <a:pt x="843" y="11295"/>
                  </a:cubicBezTo>
                  <a:cubicBezTo>
                    <a:pt x="843" y="11245"/>
                    <a:pt x="979" y="11143"/>
                    <a:pt x="952" y="11093"/>
                  </a:cubicBezTo>
                  <a:cubicBezTo>
                    <a:pt x="952" y="11042"/>
                    <a:pt x="979" y="10941"/>
                    <a:pt x="898" y="10941"/>
                  </a:cubicBezTo>
                  <a:cubicBezTo>
                    <a:pt x="843" y="10941"/>
                    <a:pt x="735" y="11042"/>
                    <a:pt x="680" y="11093"/>
                  </a:cubicBezTo>
                  <a:cubicBezTo>
                    <a:pt x="598" y="11143"/>
                    <a:pt x="517" y="11245"/>
                    <a:pt x="517" y="11245"/>
                  </a:cubicBezTo>
                  <a:cubicBezTo>
                    <a:pt x="517" y="11245"/>
                    <a:pt x="326" y="11346"/>
                    <a:pt x="299" y="11346"/>
                  </a:cubicBezTo>
                  <a:cubicBezTo>
                    <a:pt x="272" y="11295"/>
                    <a:pt x="218" y="11346"/>
                    <a:pt x="190" y="11346"/>
                  </a:cubicBezTo>
                  <a:cubicBezTo>
                    <a:pt x="136" y="11396"/>
                    <a:pt x="27" y="11295"/>
                    <a:pt x="27" y="11295"/>
                  </a:cubicBezTo>
                  <a:cubicBezTo>
                    <a:pt x="0" y="10941"/>
                    <a:pt x="0" y="10941"/>
                    <a:pt x="0" y="10941"/>
                  </a:cubicBezTo>
                  <a:cubicBezTo>
                    <a:pt x="0" y="10941"/>
                    <a:pt x="0" y="10941"/>
                    <a:pt x="0" y="10941"/>
                  </a:cubicBezTo>
                  <a:cubicBezTo>
                    <a:pt x="27" y="10941"/>
                    <a:pt x="27" y="10992"/>
                    <a:pt x="27" y="10992"/>
                  </a:cubicBezTo>
                  <a:cubicBezTo>
                    <a:pt x="27" y="10992"/>
                    <a:pt x="27" y="10992"/>
                    <a:pt x="27" y="10992"/>
                  </a:cubicBezTo>
                  <a:cubicBezTo>
                    <a:pt x="54" y="11042"/>
                    <a:pt x="190" y="11042"/>
                    <a:pt x="190" y="11042"/>
                  </a:cubicBezTo>
                  <a:cubicBezTo>
                    <a:pt x="299" y="10840"/>
                    <a:pt x="299" y="10840"/>
                    <a:pt x="299" y="10840"/>
                  </a:cubicBezTo>
                  <a:cubicBezTo>
                    <a:pt x="435" y="10486"/>
                    <a:pt x="435" y="10486"/>
                    <a:pt x="435" y="10486"/>
                  </a:cubicBezTo>
                  <a:cubicBezTo>
                    <a:pt x="299" y="9929"/>
                    <a:pt x="299" y="9929"/>
                    <a:pt x="299" y="9929"/>
                  </a:cubicBezTo>
                  <a:cubicBezTo>
                    <a:pt x="299" y="9929"/>
                    <a:pt x="299" y="9929"/>
                    <a:pt x="299" y="9929"/>
                  </a:cubicBezTo>
                  <a:cubicBezTo>
                    <a:pt x="299" y="9929"/>
                    <a:pt x="299" y="9929"/>
                    <a:pt x="299" y="9929"/>
                  </a:cubicBezTo>
                  <a:cubicBezTo>
                    <a:pt x="299" y="9929"/>
                    <a:pt x="299" y="9929"/>
                    <a:pt x="299" y="9929"/>
                  </a:cubicBezTo>
                  <a:cubicBezTo>
                    <a:pt x="299" y="9879"/>
                    <a:pt x="326" y="9676"/>
                    <a:pt x="326" y="9626"/>
                  </a:cubicBezTo>
                  <a:cubicBezTo>
                    <a:pt x="326" y="9575"/>
                    <a:pt x="381" y="9373"/>
                    <a:pt x="381" y="9373"/>
                  </a:cubicBezTo>
                  <a:cubicBezTo>
                    <a:pt x="435" y="9221"/>
                    <a:pt x="435" y="9221"/>
                    <a:pt x="435" y="9221"/>
                  </a:cubicBezTo>
                  <a:cubicBezTo>
                    <a:pt x="435" y="9221"/>
                    <a:pt x="544" y="9171"/>
                    <a:pt x="571" y="9171"/>
                  </a:cubicBezTo>
                  <a:cubicBezTo>
                    <a:pt x="626" y="9171"/>
                    <a:pt x="490" y="8867"/>
                    <a:pt x="490" y="8816"/>
                  </a:cubicBezTo>
                  <a:cubicBezTo>
                    <a:pt x="490" y="8766"/>
                    <a:pt x="435" y="8513"/>
                    <a:pt x="435" y="8513"/>
                  </a:cubicBezTo>
                  <a:cubicBezTo>
                    <a:pt x="435" y="8513"/>
                    <a:pt x="299" y="8361"/>
                    <a:pt x="272" y="8361"/>
                  </a:cubicBezTo>
                  <a:cubicBezTo>
                    <a:pt x="245" y="8361"/>
                    <a:pt x="109" y="8311"/>
                    <a:pt x="54" y="8260"/>
                  </a:cubicBezTo>
                  <a:cubicBezTo>
                    <a:pt x="54" y="8260"/>
                    <a:pt x="54" y="8260"/>
                    <a:pt x="54" y="8260"/>
                  </a:cubicBezTo>
                  <a:cubicBezTo>
                    <a:pt x="54" y="8260"/>
                    <a:pt x="54" y="8260"/>
                    <a:pt x="54" y="8260"/>
                  </a:cubicBezTo>
                  <a:cubicBezTo>
                    <a:pt x="54" y="8260"/>
                    <a:pt x="27" y="8209"/>
                    <a:pt x="27" y="8159"/>
                  </a:cubicBezTo>
                  <a:cubicBezTo>
                    <a:pt x="27" y="8159"/>
                    <a:pt x="27" y="8159"/>
                    <a:pt x="27" y="8159"/>
                  </a:cubicBezTo>
                  <a:cubicBezTo>
                    <a:pt x="27" y="8159"/>
                    <a:pt x="27" y="8159"/>
                    <a:pt x="27" y="8159"/>
                  </a:cubicBezTo>
                  <a:cubicBezTo>
                    <a:pt x="27" y="8108"/>
                    <a:pt x="27" y="8108"/>
                    <a:pt x="27" y="8108"/>
                  </a:cubicBezTo>
                  <a:cubicBezTo>
                    <a:pt x="27" y="8108"/>
                    <a:pt x="27" y="8108"/>
                    <a:pt x="27" y="8108"/>
                  </a:cubicBezTo>
                  <a:cubicBezTo>
                    <a:pt x="27" y="8108"/>
                    <a:pt x="27" y="8108"/>
                    <a:pt x="27" y="8108"/>
                  </a:cubicBezTo>
                  <a:cubicBezTo>
                    <a:pt x="27" y="8108"/>
                    <a:pt x="27" y="8108"/>
                    <a:pt x="27" y="8108"/>
                  </a:cubicBezTo>
                  <a:cubicBezTo>
                    <a:pt x="27" y="8108"/>
                    <a:pt x="27" y="8108"/>
                    <a:pt x="27" y="8108"/>
                  </a:cubicBezTo>
                  <a:cubicBezTo>
                    <a:pt x="54" y="8007"/>
                    <a:pt x="136" y="7957"/>
                    <a:pt x="136" y="7957"/>
                  </a:cubicBezTo>
                  <a:cubicBezTo>
                    <a:pt x="245" y="7805"/>
                    <a:pt x="245" y="7805"/>
                    <a:pt x="245" y="7805"/>
                  </a:cubicBezTo>
                  <a:cubicBezTo>
                    <a:pt x="218" y="7602"/>
                    <a:pt x="218" y="7602"/>
                    <a:pt x="218" y="7602"/>
                  </a:cubicBezTo>
                  <a:cubicBezTo>
                    <a:pt x="218" y="7602"/>
                    <a:pt x="326" y="7451"/>
                    <a:pt x="354" y="7400"/>
                  </a:cubicBezTo>
                  <a:cubicBezTo>
                    <a:pt x="408" y="7349"/>
                    <a:pt x="598" y="7248"/>
                    <a:pt x="598" y="7248"/>
                  </a:cubicBezTo>
                  <a:cubicBezTo>
                    <a:pt x="680" y="6995"/>
                    <a:pt x="680" y="6995"/>
                    <a:pt x="680" y="6995"/>
                  </a:cubicBezTo>
                  <a:cubicBezTo>
                    <a:pt x="816" y="6945"/>
                    <a:pt x="816" y="6945"/>
                    <a:pt x="816" y="6945"/>
                  </a:cubicBezTo>
                  <a:cubicBezTo>
                    <a:pt x="871" y="6793"/>
                    <a:pt x="871" y="6793"/>
                    <a:pt x="871" y="6793"/>
                  </a:cubicBezTo>
                  <a:cubicBezTo>
                    <a:pt x="1007" y="6844"/>
                    <a:pt x="1007" y="6844"/>
                    <a:pt x="1007" y="6844"/>
                  </a:cubicBezTo>
                  <a:cubicBezTo>
                    <a:pt x="1224" y="7097"/>
                    <a:pt x="1224" y="7097"/>
                    <a:pt x="1224" y="7097"/>
                  </a:cubicBezTo>
                  <a:cubicBezTo>
                    <a:pt x="1224" y="7097"/>
                    <a:pt x="1387" y="6945"/>
                    <a:pt x="1415" y="6894"/>
                  </a:cubicBezTo>
                  <a:cubicBezTo>
                    <a:pt x="1469" y="6844"/>
                    <a:pt x="1523" y="6844"/>
                    <a:pt x="1523" y="6844"/>
                  </a:cubicBezTo>
                  <a:cubicBezTo>
                    <a:pt x="1605" y="6742"/>
                    <a:pt x="1605" y="6742"/>
                    <a:pt x="1605" y="6742"/>
                  </a:cubicBezTo>
                  <a:cubicBezTo>
                    <a:pt x="1605" y="6742"/>
                    <a:pt x="1741" y="6641"/>
                    <a:pt x="1768" y="6591"/>
                  </a:cubicBezTo>
                  <a:cubicBezTo>
                    <a:pt x="1768" y="6591"/>
                    <a:pt x="1768" y="6591"/>
                    <a:pt x="1768" y="6591"/>
                  </a:cubicBezTo>
                  <a:cubicBezTo>
                    <a:pt x="1768" y="6591"/>
                    <a:pt x="1768" y="6591"/>
                    <a:pt x="1768" y="6591"/>
                  </a:cubicBezTo>
                  <a:cubicBezTo>
                    <a:pt x="1823" y="7552"/>
                    <a:pt x="1687" y="7046"/>
                    <a:pt x="1959" y="7400"/>
                  </a:cubicBezTo>
                  <a:cubicBezTo>
                    <a:pt x="1986" y="7451"/>
                    <a:pt x="1959" y="7501"/>
                    <a:pt x="1986" y="7552"/>
                  </a:cubicBezTo>
                  <a:cubicBezTo>
                    <a:pt x="1986" y="7653"/>
                    <a:pt x="2176" y="7805"/>
                    <a:pt x="2176" y="7805"/>
                  </a:cubicBezTo>
                  <a:cubicBezTo>
                    <a:pt x="2176" y="7805"/>
                    <a:pt x="2340" y="7805"/>
                    <a:pt x="2340" y="7855"/>
                  </a:cubicBezTo>
                  <a:cubicBezTo>
                    <a:pt x="2367" y="7906"/>
                    <a:pt x="2530" y="8058"/>
                    <a:pt x="2530" y="8058"/>
                  </a:cubicBezTo>
                  <a:cubicBezTo>
                    <a:pt x="2884" y="7906"/>
                    <a:pt x="2884" y="7906"/>
                    <a:pt x="2884" y="7906"/>
                  </a:cubicBezTo>
                  <a:cubicBezTo>
                    <a:pt x="3047" y="8209"/>
                    <a:pt x="3047" y="8209"/>
                    <a:pt x="3047" y="8209"/>
                  </a:cubicBezTo>
                  <a:cubicBezTo>
                    <a:pt x="3237" y="8108"/>
                    <a:pt x="3237" y="8108"/>
                    <a:pt x="3237" y="8108"/>
                  </a:cubicBezTo>
                  <a:cubicBezTo>
                    <a:pt x="3237" y="8108"/>
                    <a:pt x="3319" y="8159"/>
                    <a:pt x="3373" y="8209"/>
                  </a:cubicBezTo>
                  <a:cubicBezTo>
                    <a:pt x="3428" y="8260"/>
                    <a:pt x="3591" y="8209"/>
                    <a:pt x="3645" y="8159"/>
                  </a:cubicBezTo>
                  <a:cubicBezTo>
                    <a:pt x="3700" y="8159"/>
                    <a:pt x="3836" y="8007"/>
                    <a:pt x="3890" y="8058"/>
                  </a:cubicBezTo>
                  <a:cubicBezTo>
                    <a:pt x="3945" y="8058"/>
                    <a:pt x="4189" y="7957"/>
                    <a:pt x="4189" y="7957"/>
                  </a:cubicBezTo>
                  <a:cubicBezTo>
                    <a:pt x="4325" y="7754"/>
                    <a:pt x="4325" y="7754"/>
                    <a:pt x="4325" y="7754"/>
                  </a:cubicBezTo>
                  <a:cubicBezTo>
                    <a:pt x="4597" y="7501"/>
                    <a:pt x="4597" y="7501"/>
                    <a:pt x="4597" y="7501"/>
                  </a:cubicBezTo>
                  <a:cubicBezTo>
                    <a:pt x="4897" y="8108"/>
                    <a:pt x="4897" y="8108"/>
                    <a:pt x="4897" y="8108"/>
                  </a:cubicBezTo>
                  <a:cubicBezTo>
                    <a:pt x="4897" y="8108"/>
                    <a:pt x="5196" y="8007"/>
                    <a:pt x="5223" y="8007"/>
                  </a:cubicBezTo>
                  <a:cubicBezTo>
                    <a:pt x="5278" y="8007"/>
                    <a:pt x="5495" y="7855"/>
                    <a:pt x="5495" y="7855"/>
                  </a:cubicBezTo>
                  <a:cubicBezTo>
                    <a:pt x="5495" y="7855"/>
                    <a:pt x="5550" y="7704"/>
                    <a:pt x="5522" y="7552"/>
                  </a:cubicBezTo>
                  <a:cubicBezTo>
                    <a:pt x="5522" y="7451"/>
                    <a:pt x="5495" y="7349"/>
                    <a:pt x="5495" y="7349"/>
                  </a:cubicBezTo>
                  <a:cubicBezTo>
                    <a:pt x="5495" y="7349"/>
                    <a:pt x="5441" y="7248"/>
                    <a:pt x="5522" y="7198"/>
                  </a:cubicBezTo>
                  <a:cubicBezTo>
                    <a:pt x="5604" y="7147"/>
                    <a:pt x="5631" y="7046"/>
                    <a:pt x="5686" y="6995"/>
                  </a:cubicBezTo>
                  <a:cubicBezTo>
                    <a:pt x="5767" y="6894"/>
                    <a:pt x="5822" y="6742"/>
                    <a:pt x="5849" y="6692"/>
                  </a:cubicBezTo>
                  <a:cubicBezTo>
                    <a:pt x="5876" y="6692"/>
                    <a:pt x="5930" y="6490"/>
                    <a:pt x="5958" y="6490"/>
                  </a:cubicBezTo>
                  <a:cubicBezTo>
                    <a:pt x="5958" y="6439"/>
                    <a:pt x="6012" y="6287"/>
                    <a:pt x="6012" y="6237"/>
                  </a:cubicBezTo>
                  <a:cubicBezTo>
                    <a:pt x="6039" y="6237"/>
                    <a:pt x="6175" y="5984"/>
                    <a:pt x="6175" y="5984"/>
                  </a:cubicBezTo>
                  <a:cubicBezTo>
                    <a:pt x="6230" y="5832"/>
                    <a:pt x="6230" y="5832"/>
                    <a:pt x="6230" y="5832"/>
                  </a:cubicBezTo>
                  <a:cubicBezTo>
                    <a:pt x="6230" y="5832"/>
                    <a:pt x="6339" y="5427"/>
                    <a:pt x="6393" y="5377"/>
                  </a:cubicBezTo>
                  <a:cubicBezTo>
                    <a:pt x="6447" y="5377"/>
                    <a:pt x="6747" y="4921"/>
                    <a:pt x="6801" y="4972"/>
                  </a:cubicBezTo>
                  <a:cubicBezTo>
                    <a:pt x="6855" y="4972"/>
                    <a:pt x="7046" y="4668"/>
                    <a:pt x="7100" y="4567"/>
                  </a:cubicBezTo>
                  <a:cubicBezTo>
                    <a:pt x="7155" y="4517"/>
                    <a:pt x="7155" y="4416"/>
                    <a:pt x="7291" y="4365"/>
                  </a:cubicBezTo>
                  <a:cubicBezTo>
                    <a:pt x="7399" y="4365"/>
                    <a:pt x="8161" y="4163"/>
                    <a:pt x="8161" y="4163"/>
                  </a:cubicBezTo>
                  <a:cubicBezTo>
                    <a:pt x="8596" y="3910"/>
                    <a:pt x="8596" y="3910"/>
                    <a:pt x="8596" y="3910"/>
                  </a:cubicBezTo>
                  <a:cubicBezTo>
                    <a:pt x="8814" y="3606"/>
                    <a:pt x="8814" y="3606"/>
                    <a:pt x="8814" y="3606"/>
                  </a:cubicBezTo>
                  <a:cubicBezTo>
                    <a:pt x="8841" y="3454"/>
                    <a:pt x="8841" y="3454"/>
                    <a:pt x="8841" y="3454"/>
                  </a:cubicBezTo>
                  <a:cubicBezTo>
                    <a:pt x="9086" y="3454"/>
                    <a:pt x="9086" y="3454"/>
                    <a:pt x="9086" y="3454"/>
                  </a:cubicBezTo>
                  <a:cubicBezTo>
                    <a:pt x="9086" y="3454"/>
                    <a:pt x="9059" y="3657"/>
                    <a:pt x="9059" y="3657"/>
                  </a:cubicBezTo>
                  <a:cubicBezTo>
                    <a:pt x="9059" y="3707"/>
                    <a:pt x="9032" y="3758"/>
                    <a:pt x="9113" y="3808"/>
                  </a:cubicBezTo>
                  <a:cubicBezTo>
                    <a:pt x="9195" y="3910"/>
                    <a:pt x="9277" y="4011"/>
                    <a:pt x="9304" y="4011"/>
                  </a:cubicBezTo>
                  <a:cubicBezTo>
                    <a:pt x="9331" y="4011"/>
                    <a:pt x="9385" y="4061"/>
                    <a:pt x="9413" y="4061"/>
                  </a:cubicBezTo>
                  <a:cubicBezTo>
                    <a:pt x="9440" y="4112"/>
                    <a:pt x="9576" y="4163"/>
                    <a:pt x="9576" y="4163"/>
                  </a:cubicBezTo>
                  <a:cubicBezTo>
                    <a:pt x="9576" y="4163"/>
                    <a:pt x="9739" y="4061"/>
                    <a:pt x="9739" y="4061"/>
                  </a:cubicBezTo>
                  <a:cubicBezTo>
                    <a:pt x="9739" y="4011"/>
                    <a:pt x="9821" y="3960"/>
                    <a:pt x="9875" y="3910"/>
                  </a:cubicBezTo>
                  <a:cubicBezTo>
                    <a:pt x="9929" y="3859"/>
                    <a:pt x="10147" y="3758"/>
                    <a:pt x="10147" y="3758"/>
                  </a:cubicBezTo>
                  <a:cubicBezTo>
                    <a:pt x="10147" y="3758"/>
                    <a:pt x="10202" y="3910"/>
                    <a:pt x="10229" y="3910"/>
                  </a:cubicBezTo>
                  <a:cubicBezTo>
                    <a:pt x="10229" y="3960"/>
                    <a:pt x="10338" y="4061"/>
                    <a:pt x="10310" y="4163"/>
                  </a:cubicBezTo>
                  <a:cubicBezTo>
                    <a:pt x="10310" y="4213"/>
                    <a:pt x="10310" y="4365"/>
                    <a:pt x="10310" y="4365"/>
                  </a:cubicBezTo>
                  <a:cubicBezTo>
                    <a:pt x="10474" y="4517"/>
                    <a:pt x="10474" y="4517"/>
                    <a:pt x="10474" y="4517"/>
                  </a:cubicBezTo>
                  <a:cubicBezTo>
                    <a:pt x="10474" y="4517"/>
                    <a:pt x="10582" y="4618"/>
                    <a:pt x="10610" y="4668"/>
                  </a:cubicBezTo>
                  <a:cubicBezTo>
                    <a:pt x="10637" y="4668"/>
                    <a:pt x="10800" y="4719"/>
                    <a:pt x="10800" y="4719"/>
                  </a:cubicBezTo>
                  <a:cubicBezTo>
                    <a:pt x="10827" y="4365"/>
                    <a:pt x="10827" y="4365"/>
                    <a:pt x="10827" y="4365"/>
                  </a:cubicBezTo>
                  <a:cubicBezTo>
                    <a:pt x="10827" y="4365"/>
                    <a:pt x="10882" y="4264"/>
                    <a:pt x="10963" y="4264"/>
                  </a:cubicBezTo>
                  <a:cubicBezTo>
                    <a:pt x="11045" y="4264"/>
                    <a:pt x="11181" y="4264"/>
                    <a:pt x="11181" y="4264"/>
                  </a:cubicBezTo>
                  <a:cubicBezTo>
                    <a:pt x="11181" y="4264"/>
                    <a:pt x="11290" y="4314"/>
                    <a:pt x="11290" y="4365"/>
                  </a:cubicBezTo>
                  <a:cubicBezTo>
                    <a:pt x="11290" y="4416"/>
                    <a:pt x="11426" y="4567"/>
                    <a:pt x="11426" y="4567"/>
                  </a:cubicBezTo>
                  <a:cubicBezTo>
                    <a:pt x="11616" y="4466"/>
                    <a:pt x="11616" y="4466"/>
                    <a:pt x="11616" y="4466"/>
                  </a:cubicBezTo>
                  <a:cubicBezTo>
                    <a:pt x="11698" y="4517"/>
                    <a:pt x="11698" y="4517"/>
                    <a:pt x="11698" y="4517"/>
                  </a:cubicBezTo>
                  <a:cubicBezTo>
                    <a:pt x="11943" y="4567"/>
                    <a:pt x="11943" y="4567"/>
                    <a:pt x="11943" y="4567"/>
                  </a:cubicBezTo>
                  <a:cubicBezTo>
                    <a:pt x="11943" y="4567"/>
                    <a:pt x="11997" y="4567"/>
                    <a:pt x="11997" y="4517"/>
                  </a:cubicBezTo>
                  <a:cubicBezTo>
                    <a:pt x="12024" y="4466"/>
                    <a:pt x="12024" y="4314"/>
                    <a:pt x="12024" y="4314"/>
                  </a:cubicBezTo>
                  <a:cubicBezTo>
                    <a:pt x="12024" y="4314"/>
                    <a:pt x="11997" y="4314"/>
                    <a:pt x="12079" y="4264"/>
                  </a:cubicBezTo>
                  <a:cubicBezTo>
                    <a:pt x="12160" y="4264"/>
                    <a:pt x="12133" y="4213"/>
                    <a:pt x="12160" y="4264"/>
                  </a:cubicBezTo>
                  <a:cubicBezTo>
                    <a:pt x="12187" y="4314"/>
                    <a:pt x="12296" y="4314"/>
                    <a:pt x="12351" y="4365"/>
                  </a:cubicBezTo>
                  <a:cubicBezTo>
                    <a:pt x="12378" y="4365"/>
                    <a:pt x="12487" y="4416"/>
                    <a:pt x="12514" y="4416"/>
                  </a:cubicBezTo>
                  <a:cubicBezTo>
                    <a:pt x="12541" y="4416"/>
                    <a:pt x="12813" y="4365"/>
                    <a:pt x="12813" y="4365"/>
                  </a:cubicBezTo>
                  <a:cubicBezTo>
                    <a:pt x="12813" y="4365"/>
                    <a:pt x="12759" y="4416"/>
                    <a:pt x="12868" y="4314"/>
                  </a:cubicBezTo>
                  <a:cubicBezTo>
                    <a:pt x="12976" y="4213"/>
                    <a:pt x="13112" y="4061"/>
                    <a:pt x="13112" y="4061"/>
                  </a:cubicBezTo>
                  <a:cubicBezTo>
                    <a:pt x="13112" y="4061"/>
                    <a:pt x="13112" y="4061"/>
                    <a:pt x="13194" y="4011"/>
                  </a:cubicBezTo>
                  <a:cubicBezTo>
                    <a:pt x="13276" y="3960"/>
                    <a:pt x="13276" y="3758"/>
                    <a:pt x="13276" y="3758"/>
                  </a:cubicBezTo>
                  <a:cubicBezTo>
                    <a:pt x="13276" y="3758"/>
                    <a:pt x="13276" y="3758"/>
                    <a:pt x="13330" y="3758"/>
                  </a:cubicBezTo>
                  <a:cubicBezTo>
                    <a:pt x="13357" y="3707"/>
                    <a:pt x="13520" y="3657"/>
                    <a:pt x="13520" y="3657"/>
                  </a:cubicBezTo>
                  <a:cubicBezTo>
                    <a:pt x="13520" y="3657"/>
                    <a:pt x="13548" y="3556"/>
                    <a:pt x="13575" y="3505"/>
                  </a:cubicBezTo>
                  <a:cubicBezTo>
                    <a:pt x="13602" y="3505"/>
                    <a:pt x="13656" y="3404"/>
                    <a:pt x="13656" y="3404"/>
                  </a:cubicBezTo>
                  <a:cubicBezTo>
                    <a:pt x="13684" y="3404"/>
                    <a:pt x="13684" y="3404"/>
                    <a:pt x="13684" y="3404"/>
                  </a:cubicBezTo>
                  <a:cubicBezTo>
                    <a:pt x="13792" y="3353"/>
                    <a:pt x="13792" y="3353"/>
                    <a:pt x="13792" y="3353"/>
                  </a:cubicBezTo>
                  <a:cubicBezTo>
                    <a:pt x="13820" y="3252"/>
                    <a:pt x="13820" y="3252"/>
                    <a:pt x="13820" y="3252"/>
                  </a:cubicBezTo>
                  <a:cubicBezTo>
                    <a:pt x="14037" y="3353"/>
                    <a:pt x="14037" y="3353"/>
                    <a:pt x="14037" y="3353"/>
                  </a:cubicBezTo>
                  <a:cubicBezTo>
                    <a:pt x="14037" y="3353"/>
                    <a:pt x="14228" y="3404"/>
                    <a:pt x="14255" y="3353"/>
                  </a:cubicBezTo>
                  <a:cubicBezTo>
                    <a:pt x="14309" y="3353"/>
                    <a:pt x="14391" y="3100"/>
                    <a:pt x="14445" y="3151"/>
                  </a:cubicBezTo>
                  <a:cubicBezTo>
                    <a:pt x="14473" y="3151"/>
                    <a:pt x="14527" y="3252"/>
                    <a:pt x="14554" y="3201"/>
                  </a:cubicBezTo>
                  <a:cubicBezTo>
                    <a:pt x="14581" y="3201"/>
                    <a:pt x="14609" y="3303"/>
                    <a:pt x="14690" y="3201"/>
                  </a:cubicBezTo>
                  <a:cubicBezTo>
                    <a:pt x="14799" y="3050"/>
                    <a:pt x="14881" y="2847"/>
                    <a:pt x="14881" y="2847"/>
                  </a:cubicBezTo>
                  <a:cubicBezTo>
                    <a:pt x="14881" y="2847"/>
                    <a:pt x="14853" y="2746"/>
                    <a:pt x="14935" y="2696"/>
                  </a:cubicBezTo>
                  <a:cubicBezTo>
                    <a:pt x="15017" y="2594"/>
                    <a:pt x="15017" y="2544"/>
                    <a:pt x="15071" y="2544"/>
                  </a:cubicBezTo>
                  <a:cubicBezTo>
                    <a:pt x="15125" y="2493"/>
                    <a:pt x="15125" y="2544"/>
                    <a:pt x="15153" y="2443"/>
                  </a:cubicBezTo>
                  <a:cubicBezTo>
                    <a:pt x="15153" y="2342"/>
                    <a:pt x="15153" y="2240"/>
                    <a:pt x="15180" y="2190"/>
                  </a:cubicBezTo>
                  <a:cubicBezTo>
                    <a:pt x="15207" y="2190"/>
                    <a:pt x="15234" y="2089"/>
                    <a:pt x="15289" y="2089"/>
                  </a:cubicBezTo>
                  <a:cubicBezTo>
                    <a:pt x="15316" y="2038"/>
                    <a:pt x="15370" y="1987"/>
                    <a:pt x="15370" y="1886"/>
                  </a:cubicBezTo>
                  <a:cubicBezTo>
                    <a:pt x="15397" y="1785"/>
                    <a:pt x="15343" y="1836"/>
                    <a:pt x="15397" y="1785"/>
                  </a:cubicBezTo>
                  <a:cubicBezTo>
                    <a:pt x="15452" y="1684"/>
                    <a:pt x="15479" y="1633"/>
                    <a:pt x="15534" y="1532"/>
                  </a:cubicBezTo>
                  <a:cubicBezTo>
                    <a:pt x="15588" y="1482"/>
                    <a:pt x="15615" y="1431"/>
                    <a:pt x="15642" y="1330"/>
                  </a:cubicBezTo>
                  <a:cubicBezTo>
                    <a:pt x="15642" y="1229"/>
                    <a:pt x="15642" y="1178"/>
                    <a:pt x="15670" y="1026"/>
                  </a:cubicBezTo>
                  <a:cubicBezTo>
                    <a:pt x="15724" y="875"/>
                    <a:pt x="15670" y="773"/>
                    <a:pt x="15751" y="773"/>
                  </a:cubicBezTo>
                  <a:cubicBezTo>
                    <a:pt x="15778" y="773"/>
                    <a:pt x="15778" y="773"/>
                    <a:pt x="15806" y="773"/>
                  </a:cubicBezTo>
                  <a:cubicBezTo>
                    <a:pt x="15806" y="875"/>
                    <a:pt x="15860" y="925"/>
                    <a:pt x="15914" y="976"/>
                  </a:cubicBezTo>
                  <a:cubicBezTo>
                    <a:pt x="15996" y="1026"/>
                    <a:pt x="16214" y="824"/>
                    <a:pt x="16214" y="824"/>
                  </a:cubicBezTo>
                  <a:cubicBezTo>
                    <a:pt x="16350" y="723"/>
                    <a:pt x="16350" y="723"/>
                    <a:pt x="16350" y="723"/>
                  </a:cubicBezTo>
                  <a:cubicBezTo>
                    <a:pt x="16486" y="672"/>
                    <a:pt x="16486" y="672"/>
                    <a:pt x="16486" y="672"/>
                  </a:cubicBezTo>
                  <a:cubicBezTo>
                    <a:pt x="16486" y="672"/>
                    <a:pt x="16812" y="622"/>
                    <a:pt x="16866" y="571"/>
                  </a:cubicBezTo>
                  <a:cubicBezTo>
                    <a:pt x="16948" y="470"/>
                    <a:pt x="16948" y="369"/>
                    <a:pt x="16948" y="369"/>
                  </a:cubicBezTo>
                  <a:cubicBezTo>
                    <a:pt x="16921" y="217"/>
                    <a:pt x="16921" y="217"/>
                    <a:pt x="16921" y="217"/>
                  </a:cubicBezTo>
                  <a:cubicBezTo>
                    <a:pt x="16921" y="217"/>
                    <a:pt x="17084" y="65"/>
                    <a:pt x="17166" y="15"/>
                  </a:cubicBezTo>
                  <a:cubicBezTo>
                    <a:pt x="17220" y="-36"/>
                    <a:pt x="17275" y="65"/>
                    <a:pt x="17275" y="65"/>
                  </a:cubicBezTo>
                  <a:cubicBezTo>
                    <a:pt x="17356" y="217"/>
                    <a:pt x="17356" y="217"/>
                    <a:pt x="17356" y="217"/>
                  </a:cubicBezTo>
                  <a:cubicBezTo>
                    <a:pt x="17465" y="419"/>
                    <a:pt x="17465" y="419"/>
                    <a:pt x="17465" y="419"/>
                  </a:cubicBezTo>
                  <a:cubicBezTo>
                    <a:pt x="17601" y="470"/>
                    <a:pt x="17601" y="470"/>
                    <a:pt x="17601" y="470"/>
                  </a:cubicBezTo>
                  <a:cubicBezTo>
                    <a:pt x="17601" y="470"/>
                    <a:pt x="17683" y="622"/>
                    <a:pt x="17710" y="672"/>
                  </a:cubicBezTo>
                  <a:cubicBezTo>
                    <a:pt x="17710" y="773"/>
                    <a:pt x="17710" y="773"/>
                    <a:pt x="17710" y="773"/>
                  </a:cubicBezTo>
                  <a:cubicBezTo>
                    <a:pt x="17873" y="773"/>
                    <a:pt x="17873" y="773"/>
                    <a:pt x="17873" y="773"/>
                  </a:cubicBezTo>
                  <a:cubicBezTo>
                    <a:pt x="18009" y="672"/>
                    <a:pt x="18009" y="672"/>
                    <a:pt x="18009" y="672"/>
                  </a:cubicBezTo>
                  <a:cubicBezTo>
                    <a:pt x="18145" y="824"/>
                    <a:pt x="18145" y="824"/>
                    <a:pt x="18145" y="824"/>
                  </a:cubicBezTo>
                  <a:cubicBezTo>
                    <a:pt x="18254" y="773"/>
                    <a:pt x="18254" y="773"/>
                    <a:pt x="18254" y="773"/>
                  </a:cubicBezTo>
                  <a:cubicBezTo>
                    <a:pt x="18281" y="773"/>
                    <a:pt x="18281" y="824"/>
                    <a:pt x="18308" y="824"/>
                  </a:cubicBezTo>
                  <a:cubicBezTo>
                    <a:pt x="18308" y="875"/>
                    <a:pt x="18308" y="925"/>
                    <a:pt x="18308" y="976"/>
                  </a:cubicBezTo>
                  <a:cubicBezTo>
                    <a:pt x="18336" y="1077"/>
                    <a:pt x="18363" y="1077"/>
                    <a:pt x="18363" y="1077"/>
                  </a:cubicBezTo>
                  <a:cubicBezTo>
                    <a:pt x="18417" y="1229"/>
                    <a:pt x="18417" y="1229"/>
                    <a:pt x="18417" y="1229"/>
                  </a:cubicBezTo>
                  <a:cubicBezTo>
                    <a:pt x="18444" y="1380"/>
                    <a:pt x="18444" y="1380"/>
                    <a:pt x="18444" y="1380"/>
                  </a:cubicBezTo>
                  <a:cubicBezTo>
                    <a:pt x="18417" y="1633"/>
                    <a:pt x="18417" y="1633"/>
                    <a:pt x="18417" y="1633"/>
                  </a:cubicBezTo>
                  <a:cubicBezTo>
                    <a:pt x="18417" y="1633"/>
                    <a:pt x="18363" y="1886"/>
                    <a:pt x="18336" y="1987"/>
                  </a:cubicBezTo>
                  <a:cubicBezTo>
                    <a:pt x="18308" y="2089"/>
                    <a:pt x="18390" y="2190"/>
                    <a:pt x="18390" y="2190"/>
                  </a:cubicBezTo>
                  <a:cubicBezTo>
                    <a:pt x="18417" y="2291"/>
                    <a:pt x="18417" y="2291"/>
                    <a:pt x="18417" y="2291"/>
                  </a:cubicBezTo>
                  <a:cubicBezTo>
                    <a:pt x="18417" y="2291"/>
                    <a:pt x="18444" y="2443"/>
                    <a:pt x="18472" y="2493"/>
                  </a:cubicBezTo>
                  <a:cubicBezTo>
                    <a:pt x="18472" y="2544"/>
                    <a:pt x="18472" y="2544"/>
                    <a:pt x="18472" y="2544"/>
                  </a:cubicBezTo>
                  <a:cubicBezTo>
                    <a:pt x="18472" y="2544"/>
                    <a:pt x="18553" y="2645"/>
                    <a:pt x="18580" y="2696"/>
                  </a:cubicBezTo>
                  <a:cubicBezTo>
                    <a:pt x="18608" y="2696"/>
                    <a:pt x="18608" y="2746"/>
                    <a:pt x="18635" y="2797"/>
                  </a:cubicBezTo>
                  <a:cubicBezTo>
                    <a:pt x="18662" y="2847"/>
                    <a:pt x="18635" y="2949"/>
                    <a:pt x="18635" y="2949"/>
                  </a:cubicBezTo>
                  <a:cubicBezTo>
                    <a:pt x="18553" y="3100"/>
                    <a:pt x="18553" y="3100"/>
                    <a:pt x="18553" y="3100"/>
                  </a:cubicBezTo>
                  <a:cubicBezTo>
                    <a:pt x="18553" y="3100"/>
                    <a:pt x="18689" y="3100"/>
                    <a:pt x="18744" y="3100"/>
                  </a:cubicBezTo>
                  <a:cubicBezTo>
                    <a:pt x="18798" y="3100"/>
                    <a:pt x="18798" y="3100"/>
                    <a:pt x="18825" y="3100"/>
                  </a:cubicBezTo>
                  <a:cubicBezTo>
                    <a:pt x="18852" y="3100"/>
                    <a:pt x="18961" y="3151"/>
                    <a:pt x="18961" y="3151"/>
                  </a:cubicBezTo>
                  <a:cubicBezTo>
                    <a:pt x="18961" y="3151"/>
                    <a:pt x="19016" y="3100"/>
                    <a:pt x="19043" y="3100"/>
                  </a:cubicBezTo>
                  <a:cubicBezTo>
                    <a:pt x="19097" y="3050"/>
                    <a:pt x="19152" y="3050"/>
                    <a:pt x="19152" y="3050"/>
                  </a:cubicBezTo>
                  <a:cubicBezTo>
                    <a:pt x="19260" y="2898"/>
                    <a:pt x="19260" y="2898"/>
                    <a:pt x="19260" y="2898"/>
                  </a:cubicBezTo>
                  <a:cubicBezTo>
                    <a:pt x="19260" y="2898"/>
                    <a:pt x="19396" y="2949"/>
                    <a:pt x="19451" y="2949"/>
                  </a:cubicBezTo>
                  <a:cubicBezTo>
                    <a:pt x="19478" y="2949"/>
                    <a:pt x="19560" y="2949"/>
                    <a:pt x="19587" y="2898"/>
                  </a:cubicBezTo>
                  <a:cubicBezTo>
                    <a:pt x="19614" y="2898"/>
                    <a:pt x="19723" y="2999"/>
                    <a:pt x="19723" y="2999"/>
                  </a:cubicBezTo>
                  <a:cubicBezTo>
                    <a:pt x="19723" y="2999"/>
                    <a:pt x="19777" y="3100"/>
                    <a:pt x="19805" y="3151"/>
                  </a:cubicBezTo>
                  <a:cubicBezTo>
                    <a:pt x="19777" y="3303"/>
                    <a:pt x="19750" y="3404"/>
                    <a:pt x="19750" y="3454"/>
                  </a:cubicBezTo>
                  <a:cubicBezTo>
                    <a:pt x="19777" y="3505"/>
                    <a:pt x="19859" y="3606"/>
                    <a:pt x="19886" y="3707"/>
                  </a:cubicBezTo>
                  <a:cubicBezTo>
                    <a:pt x="19886" y="3758"/>
                    <a:pt x="19777" y="4011"/>
                    <a:pt x="19777" y="4011"/>
                  </a:cubicBezTo>
                  <a:close/>
                  <a:moveTo>
                    <a:pt x="0" y="8260"/>
                  </a:moveTo>
                  <a:cubicBezTo>
                    <a:pt x="0" y="8260"/>
                    <a:pt x="0" y="8260"/>
                    <a:pt x="0" y="8260"/>
                  </a:cubicBezTo>
                  <a:cubicBezTo>
                    <a:pt x="0" y="8260"/>
                    <a:pt x="0" y="8260"/>
                    <a:pt x="0" y="8260"/>
                  </a:cubicBezTo>
                  <a:cubicBezTo>
                    <a:pt x="0" y="8260"/>
                    <a:pt x="0" y="8260"/>
                    <a:pt x="0" y="8260"/>
                  </a:cubicBezTo>
                  <a:cubicBezTo>
                    <a:pt x="0" y="8260"/>
                    <a:pt x="0" y="8260"/>
                    <a:pt x="0" y="8260"/>
                  </a:cubicBezTo>
                  <a:cubicBezTo>
                    <a:pt x="0" y="8260"/>
                    <a:pt x="0" y="8260"/>
                    <a:pt x="0" y="8260"/>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4" name="Shape 2267">
              <a:extLst>
                <a:ext uri="{FF2B5EF4-FFF2-40B4-BE49-F238E27FC236}">
                  <a16:creationId xmlns:a16="http://schemas.microsoft.com/office/drawing/2014/main" id="{C4EBB195-A577-DDF4-6208-E27C6ADFBFD7}"/>
                </a:ext>
              </a:extLst>
            </p:cNvPr>
            <p:cNvSpPr/>
            <p:nvPr/>
          </p:nvSpPr>
          <p:spPr>
            <a:xfrm>
              <a:off x="4519891" y="721132"/>
              <a:ext cx="1304078" cy="2310622"/>
            </a:xfrm>
            <a:custGeom>
              <a:avLst/>
              <a:gdLst/>
              <a:ahLst/>
              <a:cxnLst>
                <a:cxn ang="0">
                  <a:pos x="wd2" y="hd2"/>
                </a:cxn>
                <a:cxn ang="5400000">
                  <a:pos x="wd2" y="hd2"/>
                </a:cxn>
                <a:cxn ang="10800000">
                  <a:pos x="wd2" y="hd2"/>
                </a:cxn>
                <a:cxn ang="16200000">
                  <a:pos x="wd2" y="hd2"/>
                </a:cxn>
              </a:cxnLst>
              <a:rect l="0" t="0" r="r" b="b"/>
              <a:pathLst>
                <a:path w="21562" h="21579" extrusionOk="0">
                  <a:moveTo>
                    <a:pt x="1325" y="3716"/>
                  </a:moveTo>
                  <a:cubicBezTo>
                    <a:pt x="1120" y="3529"/>
                    <a:pt x="1120" y="3529"/>
                    <a:pt x="1120" y="3529"/>
                  </a:cubicBezTo>
                  <a:cubicBezTo>
                    <a:pt x="848" y="3454"/>
                    <a:pt x="848" y="3454"/>
                    <a:pt x="848" y="3454"/>
                  </a:cubicBezTo>
                  <a:cubicBezTo>
                    <a:pt x="507" y="3380"/>
                    <a:pt x="507" y="3380"/>
                    <a:pt x="507" y="3380"/>
                  </a:cubicBezTo>
                  <a:cubicBezTo>
                    <a:pt x="507" y="3230"/>
                    <a:pt x="507" y="3230"/>
                    <a:pt x="507" y="3230"/>
                  </a:cubicBezTo>
                  <a:cubicBezTo>
                    <a:pt x="30" y="3081"/>
                    <a:pt x="30" y="3081"/>
                    <a:pt x="30" y="3081"/>
                  </a:cubicBezTo>
                  <a:cubicBezTo>
                    <a:pt x="30" y="3081"/>
                    <a:pt x="-38" y="3006"/>
                    <a:pt x="30" y="3006"/>
                  </a:cubicBezTo>
                  <a:cubicBezTo>
                    <a:pt x="98" y="2969"/>
                    <a:pt x="371" y="2969"/>
                    <a:pt x="439" y="2969"/>
                  </a:cubicBezTo>
                  <a:cubicBezTo>
                    <a:pt x="439" y="2931"/>
                    <a:pt x="439" y="2931"/>
                    <a:pt x="439" y="2931"/>
                  </a:cubicBezTo>
                  <a:cubicBezTo>
                    <a:pt x="507" y="2931"/>
                    <a:pt x="507" y="2931"/>
                    <a:pt x="507" y="2931"/>
                  </a:cubicBezTo>
                  <a:cubicBezTo>
                    <a:pt x="575" y="2931"/>
                    <a:pt x="575" y="2894"/>
                    <a:pt x="575" y="2894"/>
                  </a:cubicBezTo>
                  <a:cubicBezTo>
                    <a:pt x="575" y="2894"/>
                    <a:pt x="371" y="2670"/>
                    <a:pt x="507" y="2558"/>
                  </a:cubicBezTo>
                  <a:cubicBezTo>
                    <a:pt x="507" y="2520"/>
                    <a:pt x="507" y="2520"/>
                    <a:pt x="507" y="2520"/>
                  </a:cubicBezTo>
                  <a:cubicBezTo>
                    <a:pt x="507" y="2520"/>
                    <a:pt x="507" y="2520"/>
                    <a:pt x="507" y="2520"/>
                  </a:cubicBezTo>
                  <a:cubicBezTo>
                    <a:pt x="643" y="2445"/>
                    <a:pt x="916" y="2445"/>
                    <a:pt x="1052" y="2520"/>
                  </a:cubicBezTo>
                  <a:cubicBezTo>
                    <a:pt x="1325" y="2558"/>
                    <a:pt x="1325" y="2558"/>
                    <a:pt x="1325" y="2558"/>
                  </a:cubicBezTo>
                  <a:cubicBezTo>
                    <a:pt x="1802" y="2857"/>
                    <a:pt x="1802" y="2857"/>
                    <a:pt x="1802" y="2857"/>
                  </a:cubicBezTo>
                  <a:cubicBezTo>
                    <a:pt x="2211" y="3118"/>
                    <a:pt x="2211" y="3118"/>
                    <a:pt x="2211" y="3118"/>
                  </a:cubicBezTo>
                  <a:cubicBezTo>
                    <a:pt x="2211" y="3118"/>
                    <a:pt x="2824" y="3380"/>
                    <a:pt x="2960" y="3417"/>
                  </a:cubicBezTo>
                  <a:cubicBezTo>
                    <a:pt x="3096" y="3454"/>
                    <a:pt x="3846" y="3529"/>
                    <a:pt x="3914" y="3567"/>
                  </a:cubicBezTo>
                  <a:cubicBezTo>
                    <a:pt x="4118" y="3417"/>
                    <a:pt x="4118" y="3417"/>
                    <a:pt x="4118" y="3417"/>
                  </a:cubicBezTo>
                  <a:cubicBezTo>
                    <a:pt x="4391" y="3305"/>
                    <a:pt x="4391" y="3305"/>
                    <a:pt x="4391" y="3305"/>
                  </a:cubicBezTo>
                  <a:cubicBezTo>
                    <a:pt x="4323" y="3230"/>
                    <a:pt x="4323" y="3230"/>
                    <a:pt x="4323" y="3230"/>
                  </a:cubicBezTo>
                  <a:cubicBezTo>
                    <a:pt x="4664" y="3118"/>
                    <a:pt x="4664" y="3118"/>
                    <a:pt x="4664" y="3118"/>
                  </a:cubicBezTo>
                  <a:cubicBezTo>
                    <a:pt x="4936" y="3230"/>
                    <a:pt x="4936" y="3230"/>
                    <a:pt x="4936" y="3230"/>
                  </a:cubicBezTo>
                  <a:cubicBezTo>
                    <a:pt x="5618" y="3305"/>
                    <a:pt x="5618" y="3305"/>
                    <a:pt x="5618" y="3305"/>
                  </a:cubicBezTo>
                  <a:cubicBezTo>
                    <a:pt x="5890" y="3417"/>
                    <a:pt x="5890" y="3417"/>
                    <a:pt x="5890" y="3417"/>
                  </a:cubicBezTo>
                  <a:cubicBezTo>
                    <a:pt x="5890" y="3417"/>
                    <a:pt x="5958" y="3417"/>
                    <a:pt x="6026" y="3380"/>
                  </a:cubicBezTo>
                  <a:cubicBezTo>
                    <a:pt x="6026" y="3380"/>
                    <a:pt x="6026" y="3380"/>
                    <a:pt x="6026" y="3380"/>
                  </a:cubicBezTo>
                  <a:cubicBezTo>
                    <a:pt x="6094" y="3380"/>
                    <a:pt x="6094" y="3380"/>
                    <a:pt x="6163" y="3342"/>
                  </a:cubicBezTo>
                  <a:cubicBezTo>
                    <a:pt x="6163" y="3342"/>
                    <a:pt x="6163" y="3342"/>
                    <a:pt x="6163" y="3342"/>
                  </a:cubicBezTo>
                  <a:cubicBezTo>
                    <a:pt x="6163" y="3342"/>
                    <a:pt x="6163" y="3342"/>
                    <a:pt x="6163" y="3342"/>
                  </a:cubicBezTo>
                  <a:cubicBezTo>
                    <a:pt x="6163" y="3342"/>
                    <a:pt x="6163" y="3342"/>
                    <a:pt x="6163" y="3342"/>
                  </a:cubicBezTo>
                  <a:cubicBezTo>
                    <a:pt x="6163" y="3342"/>
                    <a:pt x="6163" y="3342"/>
                    <a:pt x="6163" y="3342"/>
                  </a:cubicBezTo>
                  <a:cubicBezTo>
                    <a:pt x="6163" y="3342"/>
                    <a:pt x="6163" y="3342"/>
                    <a:pt x="6163" y="3342"/>
                  </a:cubicBezTo>
                  <a:cubicBezTo>
                    <a:pt x="6163" y="3305"/>
                    <a:pt x="6163" y="3305"/>
                    <a:pt x="6163" y="3305"/>
                  </a:cubicBezTo>
                  <a:cubicBezTo>
                    <a:pt x="6163" y="3268"/>
                    <a:pt x="6163" y="3043"/>
                    <a:pt x="6163" y="3043"/>
                  </a:cubicBezTo>
                  <a:cubicBezTo>
                    <a:pt x="6163" y="3043"/>
                    <a:pt x="5958" y="2969"/>
                    <a:pt x="6163" y="2894"/>
                  </a:cubicBezTo>
                  <a:cubicBezTo>
                    <a:pt x="6367" y="2782"/>
                    <a:pt x="6640" y="2670"/>
                    <a:pt x="6640" y="2670"/>
                  </a:cubicBezTo>
                  <a:cubicBezTo>
                    <a:pt x="6640" y="2670"/>
                    <a:pt x="6776" y="2632"/>
                    <a:pt x="6776" y="2520"/>
                  </a:cubicBezTo>
                  <a:cubicBezTo>
                    <a:pt x="6776" y="2408"/>
                    <a:pt x="6640" y="2109"/>
                    <a:pt x="6640" y="2109"/>
                  </a:cubicBezTo>
                  <a:cubicBezTo>
                    <a:pt x="6640" y="2109"/>
                    <a:pt x="6503" y="1922"/>
                    <a:pt x="6503" y="1848"/>
                  </a:cubicBezTo>
                  <a:cubicBezTo>
                    <a:pt x="6640" y="1399"/>
                    <a:pt x="6299" y="1063"/>
                    <a:pt x="6503" y="1025"/>
                  </a:cubicBezTo>
                  <a:cubicBezTo>
                    <a:pt x="6503" y="1025"/>
                    <a:pt x="6503" y="1025"/>
                    <a:pt x="6503" y="1025"/>
                  </a:cubicBezTo>
                  <a:cubicBezTo>
                    <a:pt x="6640" y="988"/>
                    <a:pt x="6640" y="988"/>
                    <a:pt x="6640" y="988"/>
                  </a:cubicBezTo>
                  <a:cubicBezTo>
                    <a:pt x="6844" y="913"/>
                    <a:pt x="6844" y="913"/>
                    <a:pt x="6844" y="913"/>
                  </a:cubicBezTo>
                  <a:cubicBezTo>
                    <a:pt x="6844" y="913"/>
                    <a:pt x="6844" y="876"/>
                    <a:pt x="6844" y="876"/>
                  </a:cubicBezTo>
                  <a:cubicBezTo>
                    <a:pt x="6844" y="689"/>
                    <a:pt x="6435" y="502"/>
                    <a:pt x="6912" y="465"/>
                  </a:cubicBezTo>
                  <a:cubicBezTo>
                    <a:pt x="7117" y="390"/>
                    <a:pt x="7117" y="390"/>
                    <a:pt x="7117" y="390"/>
                  </a:cubicBezTo>
                  <a:cubicBezTo>
                    <a:pt x="7730" y="390"/>
                    <a:pt x="7730" y="390"/>
                    <a:pt x="7730" y="390"/>
                  </a:cubicBezTo>
                  <a:cubicBezTo>
                    <a:pt x="7866" y="166"/>
                    <a:pt x="7866" y="166"/>
                    <a:pt x="7866" y="166"/>
                  </a:cubicBezTo>
                  <a:cubicBezTo>
                    <a:pt x="8139" y="16"/>
                    <a:pt x="8139" y="16"/>
                    <a:pt x="8139" y="16"/>
                  </a:cubicBezTo>
                  <a:cubicBezTo>
                    <a:pt x="8343" y="16"/>
                    <a:pt x="8616" y="-21"/>
                    <a:pt x="8752" y="16"/>
                  </a:cubicBezTo>
                  <a:cubicBezTo>
                    <a:pt x="8888" y="128"/>
                    <a:pt x="8888" y="203"/>
                    <a:pt x="9161" y="241"/>
                  </a:cubicBezTo>
                  <a:cubicBezTo>
                    <a:pt x="9978" y="390"/>
                    <a:pt x="9978" y="390"/>
                    <a:pt x="9978" y="390"/>
                  </a:cubicBezTo>
                  <a:cubicBezTo>
                    <a:pt x="10455" y="427"/>
                    <a:pt x="10455" y="427"/>
                    <a:pt x="10455" y="427"/>
                  </a:cubicBezTo>
                  <a:cubicBezTo>
                    <a:pt x="10592" y="502"/>
                    <a:pt x="10592" y="502"/>
                    <a:pt x="10592" y="502"/>
                  </a:cubicBezTo>
                  <a:cubicBezTo>
                    <a:pt x="10592" y="502"/>
                    <a:pt x="10592" y="502"/>
                    <a:pt x="10592" y="502"/>
                  </a:cubicBezTo>
                  <a:cubicBezTo>
                    <a:pt x="10592" y="577"/>
                    <a:pt x="10592" y="652"/>
                    <a:pt x="10660" y="689"/>
                  </a:cubicBezTo>
                  <a:cubicBezTo>
                    <a:pt x="10660" y="764"/>
                    <a:pt x="10728" y="876"/>
                    <a:pt x="10728" y="876"/>
                  </a:cubicBezTo>
                  <a:cubicBezTo>
                    <a:pt x="10728" y="876"/>
                    <a:pt x="10660" y="988"/>
                    <a:pt x="10660" y="1063"/>
                  </a:cubicBezTo>
                  <a:cubicBezTo>
                    <a:pt x="10592" y="1100"/>
                    <a:pt x="10592" y="1212"/>
                    <a:pt x="10592" y="1250"/>
                  </a:cubicBezTo>
                  <a:cubicBezTo>
                    <a:pt x="10592" y="1287"/>
                    <a:pt x="10592" y="1324"/>
                    <a:pt x="10592" y="1362"/>
                  </a:cubicBezTo>
                  <a:cubicBezTo>
                    <a:pt x="10592" y="1436"/>
                    <a:pt x="10660" y="1549"/>
                    <a:pt x="10728" y="1586"/>
                  </a:cubicBezTo>
                  <a:cubicBezTo>
                    <a:pt x="10728" y="1623"/>
                    <a:pt x="11069" y="1735"/>
                    <a:pt x="11069" y="1735"/>
                  </a:cubicBezTo>
                  <a:cubicBezTo>
                    <a:pt x="11069" y="1735"/>
                    <a:pt x="11069" y="1773"/>
                    <a:pt x="10728" y="1922"/>
                  </a:cubicBezTo>
                  <a:cubicBezTo>
                    <a:pt x="10455" y="2109"/>
                    <a:pt x="10455" y="2109"/>
                    <a:pt x="10455" y="2109"/>
                  </a:cubicBezTo>
                  <a:cubicBezTo>
                    <a:pt x="10932" y="2184"/>
                    <a:pt x="10932" y="2184"/>
                    <a:pt x="10932" y="2184"/>
                  </a:cubicBezTo>
                  <a:cubicBezTo>
                    <a:pt x="10932" y="2371"/>
                    <a:pt x="10932" y="2371"/>
                    <a:pt x="10932" y="2371"/>
                  </a:cubicBezTo>
                  <a:cubicBezTo>
                    <a:pt x="10932" y="2520"/>
                    <a:pt x="10932" y="2520"/>
                    <a:pt x="10932" y="2520"/>
                  </a:cubicBezTo>
                  <a:cubicBezTo>
                    <a:pt x="10864" y="2744"/>
                    <a:pt x="10864" y="2744"/>
                    <a:pt x="10864" y="2744"/>
                  </a:cubicBezTo>
                  <a:cubicBezTo>
                    <a:pt x="10660" y="2894"/>
                    <a:pt x="10660" y="2894"/>
                    <a:pt x="10660" y="2894"/>
                  </a:cubicBezTo>
                  <a:cubicBezTo>
                    <a:pt x="10932" y="3118"/>
                    <a:pt x="10932" y="3118"/>
                    <a:pt x="10932" y="3118"/>
                  </a:cubicBezTo>
                  <a:cubicBezTo>
                    <a:pt x="11273" y="3417"/>
                    <a:pt x="11273" y="3417"/>
                    <a:pt x="11273" y="3417"/>
                  </a:cubicBezTo>
                  <a:cubicBezTo>
                    <a:pt x="11750" y="3567"/>
                    <a:pt x="11750" y="3567"/>
                    <a:pt x="11750" y="3567"/>
                  </a:cubicBezTo>
                  <a:cubicBezTo>
                    <a:pt x="11750" y="3567"/>
                    <a:pt x="11818" y="3529"/>
                    <a:pt x="12295" y="3567"/>
                  </a:cubicBezTo>
                  <a:cubicBezTo>
                    <a:pt x="12772" y="3641"/>
                    <a:pt x="12908" y="3866"/>
                    <a:pt x="12908" y="3866"/>
                  </a:cubicBezTo>
                  <a:cubicBezTo>
                    <a:pt x="13181" y="4052"/>
                    <a:pt x="13181" y="4052"/>
                    <a:pt x="13181" y="4052"/>
                  </a:cubicBezTo>
                  <a:cubicBezTo>
                    <a:pt x="13590" y="4202"/>
                    <a:pt x="13590" y="4202"/>
                    <a:pt x="13590" y="4202"/>
                  </a:cubicBezTo>
                  <a:cubicBezTo>
                    <a:pt x="13794" y="4314"/>
                    <a:pt x="13794" y="4314"/>
                    <a:pt x="13794" y="4314"/>
                  </a:cubicBezTo>
                  <a:cubicBezTo>
                    <a:pt x="13726" y="4650"/>
                    <a:pt x="13726" y="4650"/>
                    <a:pt x="13726" y="4650"/>
                  </a:cubicBezTo>
                  <a:cubicBezTo>
                    <a:pt x="13726" y="4650"/>
                    <a:pt x="13522" y="4837"/>
                    <a:pt x="13590" y="4987"/>
                  </a:cubicBezTo>
                  <a:cubicBezTo>
                    <a:pt x="13590" y="5173"/>
                    <a:pt x="13385" y="5435"/>
                    <a:pt x="13385" y="5510"/>
                  </a:cubicBezTo>
                  <a:cubicBezTo>
                    <a:pt x="13385" y="5547"/>
                    <a:pt x="13249" y="5846"/>
                    <a:pt x="13249" y="5846"/>
                  </a:cubicBezTo>
                  <a:cubicBezTo>
                    <a:pt x="13453" y="6108"/>
                    <a:pt x="13453" y="6108"/>
                    <a:pt x="13453" y="6108"/>
                  </a:cubicBezTo>
                  <a:cubicBezTo>
                    <a:pt x="13726" y="6257"/>
                    <a:pt x="13726" y="6257"/>
                    <a:pt x="13726" y="6257"/>
                  </a:cubicBezTo>
                  <a:cubicBezTo>
                    <a:pt x="14135" y="6519"/>
                    <a:pt x="14135" y="6519"/>
                    <a:pt x="14135" y="6519"/>
                  </a:cubicBezTo>
                  <a:cubicBezTo>
                    <a:pt x="14680" y="6855"/>
                    <a:pt x="14680" y="6855"/>
                    <a:pt x="14680" y="6855"/>
                  </a:cubicBezTo>
                  <a:cubicBezTo>
                    <a:pt x="14884" y="7117"/>
                    <a:pt x="14884" y="7117"/>
                    <a:pt x="14884" y="7117"/>
                  </a:cubicBezTo>
                  <a:cubicBezTo>
                    <a:pt x="14884" y="7117"/>
                    <a:pt x="15430" y="7304"/>
                    <a:pt x="15430" y="7341"/>
                  </a:cubicBezTo>
                  <a:cubicBezTo>
                    <a:pt x="15430" y="7378"/>
                    <a:pt x="15634" y="7565"/>
                    <a:pt x="15634" y="7565"/>
                  </a:cubicBezTo>
                  <a:cubicBezTo>
                    <a:pt x="15906" y="7827"/>
                    <a:pt x="15906" y="7827"/>
                    <a:pt x="15906" y="7827"/>
                  </a:cubicBezTo>
                  <a:cubicBezTo>
                    <a:pt x="15838" y="8014"/>
                    <a:pt x="15838" y="8014"/>
                    <a:pt x="15838" y="8014"/>
                  </a:cubicBezTo>
                  <a:cubicBezTo>
                    <a:pt x="15634" y="8200"/>
                    <a:pt x="15634" y="8200"/>
                    <a:pt x="15634" y="8200"/>
                  </a:cubicBezTo>
                  <a:cubicBezTo>
                    <a:pt x="15634" y="8313"/>
                    <a:pt x="15634" y="8313"/>
                    <a:pt x="15634" y="8313"/>
                  </a:cubicBezTo>
                  <a:cubicBezTo>
                    <a:pt x="15838" y="8462"/>
                    <a:pt x="15838" y="8462"/>
                    <a:pt x="15838" y="8462"/>
                  </a:cubicBezTo>
                  <a:cubicBezTo>
                    <a:pt x="15770" y="8612"/>
                    <a:pt x="15770" y="8612"/>
                    <a:pt x="15770" y="8612"/>
                  </a:cubicBezTo>
                  <a:cubicBezTo>
                    <a:pt x="15975" y="8836"/>
                    <a:pt x="15975" y="8836"/>
                    <a:pt x="15975" y="8836"/>
                  </a:cubicBezTo>
                  <a:cubicBezTo>
                    <a:pt x="15838" y="8985"/>
                    <a:pt x="15838" y="8985"/>
                    <a:pt x="15838" y="8985"/>
                  </a:cubicBezTo>
                  <a:cubicBezTo>
                    <a:pt x="16179" y="9060"/>
                    <a:pt x="16179" y="9060"/>
                    <a:pt x="16179" y="9060"/>
                  </a:cubicBezTo>
                  <a:cubicBezTo>
                    <a:pt x="16179" y="9060"/>
                    <a:pt x="16247" y="9097"/>
                    <a:pt x="16179" y="9172"/>
                  </a:cubicBezTo>
                  <a:cubicBezTo>
                    <a:pt x="16111" y="9209"/>
                    <a:pt x="16043" y="9471"/>
                    <a:pt x="16043" y="9471"/>
                  </a:cubicBezTo>
                  <a:cubicBezTo>
                    <a:pt x="16383" y="9770"/>
                    <a:pt x="16383" y="9770"/>
                    <a:pt x="16383" y="9770"/>
                  </a:cubicBezTo>
                  <a:cubicBezTo>
                    <a:pt x="16860" y="9807"/>
                    <a:pt x="16860" y="9807"/>
                    <a:pt x="16860" y="9807"/>
                  </a:cubicBezTo>
                  <a:cubicBezTo>
                    <a:pt x="16860" y="9807"/>
                    <a:pt x="17133" y="9807"/>
                    <a:pt x="17133" y="9845"/>
                  </a:cubicBezTo>
                  <a:cubicBezTo>
                    <a:pt x="17201" y="9882"/>
                    <a:pt x="17269" y="9994"/>
                    <a:pt x="17269" y="9994"/>
                  </a:cubicBezTo>
                  <a:cubicBezTo>
                    <a:pt x="17065" y="10218"/>
                    <a:pt x="17065" y="10218"/>
                    <a:pt x="17065" y="10218"/>
                  </a:cubicBezTo>
                  <a:cubicBezTo>
                    <a:pt x="17065" y="10218"/>
                    <a:pt x="17133" y="10331"/>
                    <a:pt x="17337" y="10405"/>
                  </a:cubicBezTo>
                  <a:cubicBezTo>
                    <a:pt x="17474" y="10443"/>
                    <a:pt x="17610" y="10443"/>
                    <a:pt x="17610" y="10517"/>
                  </a:cubicBezTo>
                  <a:cubicBezTo>
                    <a:pt x="17678" y="10592"/>
                    <a:pt x="17678" y="10704"/>
                    <a:pt x="17746" y="10667"/>
                  </a:cubicBezTo>
                  <a:cubicBezTo>
                    <a:pt x="17883" y="10667"/>
                    <a:pt x="18155" y="10704"/>
                    <a:pt x="18155" y="10704"/>
                  </a:cubicBezTo>
                  <a:cubicBezTo>
                    <a:pt x="18359" y="10891"/>
                    <a:pt x="18359" y="10891"/>
                    <a:pt x="18359" y="10891"/>
                  </a:cubicBezTo>
                  <a:cubicBezTo>
                    <a:pt x="18496" y="11041"/>
                    <a:pt x="18496" y="11041"/>
                    <a:pt x="18496" y="11041"/>
                  </a:cubicBezTo>
                  <a:cubicBezTo>
                    <a:pt x="18496" y="11041"/>
                    <a:pt x="18496" y="11153"/>
                    <a:pt x="18496" y="11190"/>
                  </a:cubicBezTo>
                  <a:cubicBezTo>
                    <a:pt x="18496" y="11265"/>
                    <a:pt x="18428" y="11489"/>
                    <a:pt x="18428" y="11489"/>
                  </a:cubicBezTo>
                  <a:cubicBezTo>
                    <a:pt x="18087" y="11788"/>
                    <a:pt x="18087" y="11788"/>
                    <a:pt x="18087" y="11788"/>
                  </a:cubicBezTo>
                  <a:cubicBezTo>
                    <a:pt x="18087" y="11788"/>
                    <a:pt x="18359" y="11975"/>
                    <a:pt x="18564" y="12050"/>
                  </a:cubicBezTo>
                  <a:cubicBezTo>
                    <a:pt x="18768" y="12124"/>
                    <a:pt x="19041" y="12236"/>
                    <a:pt x="19109" y="12236"/>
                  </a:cubicBezTo>
                  <a:cubicBezTo>
                    <a:pt x="19177" y="12236"/>
                    <a:pt x="19518" y="12274"/>
                    <a:pt x="19654" y="12311"/>
                  </a:cubicBezTo>
                  <a:cubicBezTo>
                    <a:pt x="19722" y="12311"/>
                    <a:pt x="19995" y="12386"/>
                    <a:pt x="20063" y="12423"/>
                  </a:cubicBezTo>
                  <a:cubicBezTo>
                    <a:pt x="20131" y="12461"/>
                    <a:pt x="20608" y="12610"/>
                    <a:pt x="20608" y="12610"/>
                  </a:cubicBezTo>
                  <a:cubicBezTo>
                    <a:pt x="21017" y="12722"/>
                    <a:pt x="21017" y="12722"/>
                    <a:pt x="21017" y="12722"/>
                  </a:cubicBezTo>
                  <a:cubicBezTo>
                    <a:pt x="21426" y="12909"/>
                    <a:pt x="21426" y="12909"/>
                    <a:pt x="21426" y="12909"/>
                  </a:cubicBezTo>
                  <a:cubicBezTo>
                    <a:pt x="21562" y="13358"/>
                    <a:pt x="21562" y="13358"/>
                    <a:pt x="21562" y="13358"/>
                  </a:cubicBezTo>
                  <a:cubicBezTo>
                    <a:pt x="21562" y="13358"/>
                    <a:pt x="21426" y="14030"/>
                    <a:pt x="21358" y="14105"/>
                  </a:cubicBezTo>
                  <a:cubicBezTo>
                    <a:pt x="21358" y="14180"/>
                    <a:pt x="21153" y="14516"/>
                    <a:pt x="21085" y="14553"/>
                  </a:cubicBezTo>
                  <a:cubicBezTo>
                    <a:pt x="20949" y="14591"/>
                    <a:pt x="20812" y="14628"/>
                    <a:pt x="20812" y="14703"/>
                  </a:cubicBezTo>
                  <a:cubicBezTo>
                    <a:pt x="20812" y="14778"/>
                    <a:pt x="20608" y="15189"/>
                    <a:pt x="20608" y="15189"/>
                  </a:cubicBezTo>
                  <a:cubicBezTo>
                    <a:pt x="20608" y="15189"/>
                    <a:pt x="20404" y="15450"/>
                    <a:pt x="20404" y="15525"/>
                  </a:cubicBezTo>
                  <a:cubicBezTo>
                    <a:pt x="20404" y="15600"/>
                    <a:pt x="20199" y="15824"/>
                    <a:pt x="20199" y="15899"/>
                  </a:cubicBezTo>
                  <a:cubicBezTo>
                    <a:pt x="20131" y="15936"/>
                    <a:pt x="19995" y="16235"/>
                    <a:pt x="19995" y="16235"/>
                  </a:cubicBezTo>
                  <a:cubicBezTo>
                    <a:pt x="19109" y="17207"/>
                    <a:pt x="19109" y="17207"/>
                    <a:pt x="19109" y="17207"/>
                  </a:cubicBezTo>
                  <a:cubicBezTo>
                    <a:pt x="18905" y="17580"/>
                    <a:pt x="18905" y="17580"/>
                    <a:pt x="18905" y="17580"/>
                  </a:cubicBezTo>
                  <a:cubicBezTo>
                    <a:pt x="18905" y="17580"/>
                    <a:pt x="18700" y="17618"/>
                    <a:pt x="18632" y="17692"/>
                  </a:cubicBezTo>
                  <a:cubicBezTo>
                    <a:pt x="18564" y="17805"/>
                    <a:pt x="18496" y="17879"/>
                    <a:pt x="18428" y="17991"/>
                  </a:cubicBezTo>
                  <a:cubicBezTo>
                    <a:pt x="18428" y="18066"/>
                    <a:pt x="18087" y="18403"/>
                    <a:pt x="18087" y="18403"/>
                  </a:cubicBezTo>
                  <a:cubicBezTo>
                    <a:pt x="17951" y="18589"/>
                    <a:pt x="17951" y="18589"/>
                    <a:pt x="17951" y="18589"/>
                  </a:cubicBezTo>
                  <a:cubicBezTo>
                    <a:pt x="17678" y="18776"/>
                    <a:pt x="17678" y="18776"/>
                    <a:pt x="17678" y="18776"/>
                  </a:cubicBezTo>
                  <a:cubicBezTo>
                    <a:pt x="17678" y="18776"/>
                    <a:pt x="17474" y="18851"/>
                    <a:pt x="17474" y="18851"/>
                  </a:cubicBezTo>
                  <a:cubicBezTo>
                    <a:pt x="17474" y="18851"/>
                    <a:pt x="17337" y="18851"/>
                    <a:pt x="17337" y="18851"/>
                  </a:cubicBezTo>
                  <a:cubicBezTo>
                    <a:pt x="16997" y="18851"/>
                    <a:pt x="16997" y="18851"/>
                    <a:pt x="16997" y="18851"/>
                  </a:cubicBezTo>
                  <a:cubicBezTo>
                    <a:pt x="16792" y="18776"/>
                    <a:pt x="16792" y="18776"/>
                    <a:pt x="16792" y="18776"/>
                  </a:cubicBezTo>
                  <a:cubicBezTo>
                    <a:pt x="16792" y="18776"/>
                    <a:pt x="16588" y="18851"/>
                    <a:pt x="16588" y="18851"/>
                  </a:cubicBezTo>
                  <a:cubicBezTo>
                    <a:pt x="16588" y="18888"/>
                    <a:pt x="16452" y="18926"/>
                    <a:pt x="16452" y="18963"/>
                  </a:cubicBezTo>
                  <a:cubicBezTo>
                    <a:pt x="16452" y="18963"/>
                    <a:pt x="16383" y="19038"/>
                    <a:pt x="16315" y="19038"/>
                  </a:cubicBezTo>
                  <a:cubicBezTo>
                    <a:pt x="16247" y="19075"/>
                    <a:pt x="16179" y="19113"/>
                    <a:pt x="16111" y="19113"/>
                  </a:cubicBezTo>
                  <a:cubicBezTo>
                    <a:pt x="16111" y="19150"/>
                    <a:pt x="15975" y="19150"/>
                    <a:pt x="15975" y="19150"/>
                  </a:cubicBezTo>
                  <a:cubicBezTo>
                    <a:pt x="15975" y="19150"/>
                    <a:pt x="15975" y="19187"/>
                    <a:pt x="15906" y="19225"/>
                  </a:cubicBezTo>
                  <a:cubicBezTo>
                    <a:pt x="15906" y="19225"/>
                    <a:pt x="15702" y="19225"/>
                    <a:pt x="15634" y="19187"/>
                  </a:cubicBezTo>
                  <a:cubicBezTo>
                    <a:pt x="15566" y="19150"/>
                    <a:pt x="15430" y="19113"/>
                    <a:pt x="15498" y="19113"/>
                  </a:cubicBezTo>
                  <a:cubicBezTo>
                    <a:pt x="15498" y="19150"/>
                    <a:pt x="15430" y="19225"/>
                    <a:pt x="15430" y="19225"/>
                  </a:cubicBezTo>
                  <a:cubicBezTo>
                    <a:pt x="15430" y="19262"/>
                    <a:pt x="15293" y="19374"/>
                    <a:pt x="15225" y="19374"/>
                  </a:cubicBezTo>
                  <a:cubicBezTo>
                    <a:pt x="15157" y="19374"/>
                    <a:pt x="15021" y="19337"/>
                    <a:pt x="14953" y="19299"/>
                  </a:cubicBezTo>
                  <a:cubicBezTo>
                    <a:pt x="14884" y="19299"/>
                    <a:pt x="14816" y="19299"/>
                    <a:pt x="14816" y="19299"/>
                  </a:cubicBezTo>
                  <a:cubicBezTo>
                    <a:pt x="14816" y="19337"/>
                    <a:pt x="14816" y="19449"/>
                    <a:pt x="14816" y="19486"/>
                  </a:cubicBezTo>
                  <a:cubicBezTo>
                    <a:pt x="14816" y="19486"/>
                    <a:pt x="14816" y="19524"/>
                    <a:pt x="14816" y="19561"/>
                  </a:cubicBezTo>
                  <a:cubicBezTo>
                    <a:pt x="14748" y="19561"/>
                    <a:pt x="14612" y="19598"/>
                    <a:pt x="14612" y="19598"/>
                  </a:cubicBezTo>
                  <a:cubicBezTo>
                    <a:pt x="14612" y="19598"/>
                    <a:pt x="14680" y="19673"/>
                    <a:pt x="14612" y="19673"/>
                  </a:cubicBezTo>
                  <a:cubicBezTo>
                    <a:pt x="14544" y="19710"/>
                    <a:pt x="14476" y="19748"/>
                    <a:pt x="14407" y="19748"/>
                  </a:cubicBezTo>
                  <a:cubicBezTo>
                    <a:pt x="14407" y="19710"/>
                    <a:pt x="14271" y="19673"/>
                    <a:pt x="14271" y="19673"/>
                  </a:cubicBezTo>
                  <a:cubicBezTo>
                    <a:pt x="14203" y="19710"/>
                    <a:pt x="14135" y="19785"/>
                    <a:pt x="14135" y="19785"/>
                  </a:cubicBezTo>
                  <a:cubicBezTo>
                    <a:pt x="14135" y="19823"/>
                    <a:pt x="14067" y="19860"/>
                    <a:pt x="14067" y="19860"/>
                  </a:cubicBezTo>
                  <a:cubicBezTo>
                    <a:pt x="14067" y="19860"/>
                    <a:pt x="13590" y="20159"/>
                    <a:pt x="13590" y="20159"/>
                  </a:cubicBezTo>
                  <a:cubicBezTo>
                    <a:pt x="13522" y="20159"/>
                    <a:pt x="13385" y="20047"/>
                    <a:pt x="13385" y="20047"/>
                  </a:cubicBezTo>
                  <a:cubicBezTo>
                    <a:pt x="13385" y="20084"/>
                    <a:pt x="13385" y="20159"/>
                    <a:pt x="13385" y="20159"/>
                  </a:cubicBezTo>
                  <a:cubicBezTo>
                    <a:pt x="13317" y="20196"/>
                    <a:pt x="13181" y="20234"/>
                    <a:pt x="13181" y="20234"/>
                  </a:cubicBezTo>
                  <a:cubicBezTo>
                    <a:pt x="13181" y="20271"/>
                    <a:pt x="13113" y="20234"/>
                    <a:pt x="13045" y="20234"/>
                  </a:cubicBezTo>
                  <a:cubicBezTo>
                    <a:pt x="13045" y="20271"/>
                    <a:pt x="12977" y="20271"/>
                    <a:pt x="12977" y="20308"/>
                  </a:cubicBezTo>
                  <a:cubicBezTo>
                    <a:pt x="12977" y="20346"/>
                    <a:pt x="12908" y="20383"/>
                    <a:pt x="12908" y="20383"/>
                  </a:cubicBezTo>
                  <a:cubicBezTo>
                    <a:pt x="12908" y="20383"/>
                    <a:pt x="12772" y="20421"/>
                    <a:pt x="12772" y="20458"/>
                  </a:cubicBezTo>
                  <a:cubicBezTo>
                    <a:pt x="12704" y="20495"/>
                    <a:pt x="12568" y="20533"/>
                    <a:pt x="12568" y="20533"/>
                  </a:cubicBezTo>
                  <a:cubicBezTo>
                    <a:pt x="12568" y="20533"/>
                    <a:pt x="12500" y="20570"/>
                    <a:pt x="12431" y="20533"/>
                  </a:cubicBezTo>
                  <a:cubicBezTo>
                    <a:pt x="12363" y="20533"/>
                    <a:pt x="12227" y="20421"/>
                    <a:pt x="12227" y="20421"/>
                  </a:cubicBezTo>
                  <a:cubicBezTo>
                    <a:pt x="12227" y="20421"/>
                    <a:pt x="12091" y="20421"/>
                    <a:pt x="12091" y="20458"/>
                  </a:cubicBezTo>
                  <a:cubicBezTo>
                    <a:pt x="12023" y="20495"/>
                    <a:pt x="12023" y="20533"/>
                    <a:pt x="11954" y="20533"/>
                  </a:cubicBezTo>
                  <a:cubicBezTo>
                    <a:pt x="11886" y="20570"/>
                    <a:pt x="11818" y="20570"/>
                    <a:pt x="11750" y="20570"/>
                  </a:cubicBezTo>
                  <a:cubicBezTo>
                    <a:pt x="11682" y="20607"/>
                    <a:pt x="11546" y="20607"/>
                    <a:pt x="11546" y="20645"/>
                  </a:cubicBezTo>
                  <a:cubicBezTo>
                    <a:pt x="11477" y="20645"/>
                    <a:pt x="11409" y="20719"/>
                    <a:pt x="11409" y="20757"/>
                  </a:cubicBezTo>
                  <a:cubicBezTo>
                    <a:pt x="11409" y="20794"/>
                    <a:pt x="11546" y="20794"/>
                    <a:pt x="11409" y="20794"/>
                  </a:cubicBezTo>
                  <a:cubicBezTo>
                    <a:pt x="11273" y="20832"/>
                    <a:pt x="11069" y="20832"/>
                    <a:pt x="11069" y="20832"/>
                  </a:cubicBezTo>
                  <a:cubicBezTo>
                    <a:pt x="11069" y="20832"/>
                    <a:pt x="10932" y="20869"/>
                    <a:pt x="10932" y="20906"/>
                  </a:cubicBezTo>
                  <a:cubicBezTo>
                    <a:pt x="10864" y="20944"/>
                    <a:pt x="10932" y="20944"/>
                    <a:pt x="10796" y="20981"/>
                  </a:cubicBezTo>
                  <a:cubicBezTo>
                    <a:pt x="10728" y="20981"/>
                    <a:pt x="10660" y="21018"/>
                    <a:pt x="10660" y="21018"/>
                  </a:cubicBezTo>
                  <a:cubicBezTo>
                    <a:pt x="10524" y="20944"/>
                    <a:pt x="10524" y="20944"/>
                    <a:pt x="10524" y="20944"/>
                  </a:cubicBezTo>
                  <a:cubicBezTo>
                    <a:pt x="10592" y="20869"/>
                    <a:pt x="10592" y="20869"/>
                    <a:pt x="10592" y="20869"/>
                  </a:cubicBezTo>
                  <a:cubicBezTo>
                    <a:pt x="10592" y="20869"/>
                    <a:pt x="10524" y="20794"/>
                    <a:pt x="10524" y="20832"/>
                  </a:cubicBezTo>
                  <a:cubicBezTo>
                    <a:pt x="10455" y="20906"/>
                    <a:pt x="10524" y="20944"/>
                    <a:pt x="10524" y="20944"/>
                  </a:cubicBezTo>
                  <a:cubicBezTo>
                    <a:pt x="10524" y="20944"/>
                    <a:pt x="10455" y="20944"/>
                    <a:pt x="10455" y="20981"/>
                  </a:cubicBezTo>
                  <a:cubicBezTo>
                    <a:pt x="10387" y="21018"/>
                    <a:pt x="10455" y="21018"/>
                    <a:pt x="10387" y="21056"/>
                  </a:cubicBezTo>
                  <a:cubicBezTo>
                    <a:pt x="10387" y="21093"/>
                    <a:pt x="10319" y="21131"/>
                    <a:pt x="10251" y="21131"/>
                  </a:cubicBezTo>
                  <a:cubicBezTo>
                    <a:pt x="10251" y="21168"/>
                    <a:pt x="10183" y="21168"/>
                    <a:pt x="10115" y="21168"/>
                  </a:cubicBezTo>
                  <a:cubicBezTo>
                    <a:pt x="10115" y="21168"/>
                    <a:pt x="9978" y="21168"/>
                    <a:pt x="9978" y="21168"/>
                  </a:cubicBezTo>
                  <a:cubicBezTo>
                    <a:pt x="9910" y="21168"/>
                    <a:pt x="9842" y="21131"/>
                    <a:pt x="9910" y="21131"/>
                  </a:cubicBezTo>
                  <a:cubicBezTo>
                    <a:pt x="9910" y="21131"/>
                    <a:pt x="10047" y="21093"/>
                    <a:pt x="10047" y="21093"/>
                  </a:cubicBezTo>
                  <a:cubicBezTo>
                    <a:pt x="10047" y="21093"/>
                    <a:pt x="10115" y="21056"/>
                    <a:pt x="10047" y="21056"/>
                  </a:cubicBezTo>
                  <a:cubicBezTo>
                    <a:pt x="9978" y="21018"/>
                    <a:pt x="9910" y="20981"/>
                    <a:pt x="9910" y="20981"/>
                  </a:cubicBezTo>
                  <a:cubicBezTo>
                    <a:pt x="9910" y="20981"/>
                    <a:pt x="9978" y="21018"/>
                    <a:pt x="9774" y="21018"/>
                  </a:cubicBezTo>
                  <a:cubicBezTo>
                    <a:pt x="9638" y="21056"/>
                    <a:pt x="9570" y="21056"/>
                    <a:pt x="9570" y="21018"/>
                  </a:cubicBezTo>
                  <a:cubicBezTo>
                    <a:pt x="9570" y="21018"/>
                    <a:pt x="9433" y="21018"/>
                    <a:pt x="9501" y="20981"/>
                  </a:cubicBezTo>
                  <a:cubicBezTo>
                    <a:pt x="9638" y="20944"/>
                    <a:pt x="9638" y="20906"/>
                    <a:pt x="9706" y="20906"/>
                  </a:cubicBezTo>
                  <a:cubicBezTo>
                    <a:pt x="9774" y="20906"/>
                    <a:pt x="9774" y="20832"/>
                    <a:pt x="9774" y="20794"/>
                  </a:cubicBezTo>
                  <a:cubicBezTo>
                    <a:pt x="9774" y="20794"/>
                    <a:pt x="9910" y="20869"/>
                    <a:pt x="9706" y="20794"/>
                  </a:cubicBezTo>
                  <a:cubicBezTo>
                    <a:pt x="9570" y="20682"/>
                    <a:pt x="9570" y="20682"/>
                    <a:pt x="9570" y="20682"/>
                  </a:cubicBezTo>
                  <a:cubicBezTo>
                    <a:pt x="9570" y="20682"/>
                    <a:pt x="9501" y="20719"/>
                    <a:pt x="9501" y="20757"/>
                  </a:cubicBezTo>
                  <a:cubicBezTo>
                    <a:pt x="9570" y="20794"/>
                    <a:pt x="9706" y="20832"/>
                    <a:pt x="9501" y="20869"/>
                  </a:cubicBezTo>
                  <a:cubicBezTo>
                    <a:pt x="9297" y="20869"/>
                    <a:pt x="9297" y="20869"/>
                    <a:pt x="9297" y="20869"/>
                  </a:cubicBezTo>
                  <a:cubicBezTo>
                    <a:pt x="9229" y="20906"/>
                    <a:pt x="9024" y="20906"/>
                    <a:pt x="9024" y="20906"/>
                  </a:cubicBezTo>
                  <a:cubicBezTo>
                    <a:pt x="9024" y="20906"/>
                    <a:pt x="8888" y="20906"/>
                    <a:pt x="8956" y="20944"/>
                  </a:cubicBezTo>
                  <a:cubicBezTo>
                    <a:pt x="8956" y="20981"/>
                    <a:pt x="9093" y="21018"/>
                    <a:pt x="9093" y="21018"/>
                  </a:cubicBezTo>
                  <a:cubicBezTo>
                    <a:pt x="9093" y="21018"/>
                    <a:pt x="9093" y="21056"/>
                    <a:pt x="8956" y="21056"/>
                  </a:cubicBezTo>
                  <a:cubicBezTo>
                    <a:pt x="8888" y="21093"/>
                    <a:pt x="8752" y="21093"/>
                    <a:pt x="8752" y="21093"/>
                  </a:cubicBezTo>
                  <a:cubicBezTo>
                    <a:pt x="8684" y="21131"/>
                    <a:pt x="8684" y="21131"/>
                    <a:pt x="8684" y="21131"/>
                  </a:cubicBezTo>
                  <a:cubicBezTo>
                    <a:pt x="8684" y="21131"/>
                    <a:pt x="8616" y="21131"/>
                    <a:pt x="8616" y="21093"/>
                  </a:cubicBezTo>
                  <a:cubicBezTo>
                    <a:pt x="8616" y="21093"/>
                    <a:pt x="8684" y="21056"/>
                    <a:pt x="8684" y="21018"/>
                  </a:cubicBezTo>
                  <a:cubicBezTo>
                    <a:pt x="8684" y="20981"/>
                    <a:pt x="8752" y="21018"/>
                    <a:pt x="8684" y="20981"/>
                  </a:cubicBezTo>
                  <a:cubicBezTo>
                    <a:pt x="8616" y="20906"/>
                    <a:pt x="8547" y="20906"/>
                    <a:pt x="8547" y="20869"/>
                  </a:cubicBezTo>
                  <a:cubicBezTo>
                    <a:pt x="8616" y="20832"/>
                    <a:pt x="8752" y="20794"/>
                    <a:pt x="8752" y="20794"/>
                  </a:cubicBezTo>
                  <a:cubicBezTo>
                    <a:pt x="8752" y="20757"/>
                    <a:pt x="8752" y="20719"/>
                    <a:pt x="8752" y="20719"/>
                  </a:cubicBezTo>
                  <a:cubicBezTo>
                    <a:pt x="8752" y="20719"/>
                    <a:pt x="8684" y="20719"/>
                    <a:pt x="8752" y="20682"/>
                  </a:cubicBezTo>
                  <a:cubicBezTo>
                    <a:pt x="8820" y="20607"/>
                    <a:pt x="8888" y="20570"/>
                    <a:pt x="8888" y="20570"/>
                  </a:cubicBezTo>
                  <a:cubicBezTo>
                    <a:pt x="8888" y="20533"/>
                    <a:pt x="8820" y="20495"/>
                    <a:pt x="8752" y="20495"/>
                  </a:cubicBezTo>
                  <a:cubicBezTo>
                    <a:pt x="8752" y="20495"/>
                    <a:pt x="8684" y="20570"/>
                    <a:pt x="8684" y="20607"/>
                  </a:cubicBezTo>
                  <a:cubicBezTo>
                    <a:pt x="8684" y="20607"/>
                    <a:pt x="8752" y="20682"/>
                    <a:pt x="8547" y="20645"/>
                  </a:cubicBezTo>
                  <a:cubicBezTo>
                    <a:pt x="8343" y="20645"/>
                    <a:pt x="8207" y="20645"/>
                    <a:pt x="8139" y="20607"/>
                  </a:cubicBezTo>
                  <a:cubicBezTo>
                    <a:pt x="8139" y="20570"/>
                    <a:pt x="8002" y="20533"/>
                    <a:pt x="8207" y="20533"/>
                  </a:cubicBezTo>
                  <a:cubicBezTo>
                    <a:pt x="8411" y="20495"/>
                    <a:pt x="8411" y="20495"/>
                    <a:pt x="8411" y="20495"/>
                  </a:cubicBezTo>
                  <a:cubicBezTo>
                    <a:pt x="8479" y="20458"/>
                    <a:pt x="8479" y="20421"/>
                    <a:pt x="8479" y="20383"/>
                  </a:cubicBezTo>
                  <a:cubicBezTo>
                    <a:pt x="8411" y="20383"/>
                    <a:pt x="8343" y="20308"/>
                    <a:pt x="8343" y="20346"/>
                  </a:cubicBezTo>
                  <a:cubicBezTo>
                    <a:pt x="8275" y="20421"/>
                    <a:pt x="8275" y="20458"/>
                    <a:pt x="8275" y="20458"/>
                  </a:cubicBezTo>
                  <a:cubicBezTo>
                    <a:pt x="8275" y="20458"/>
                    <a:pt x="8002" y="20458"/>
                    <a:pt x="8002" y="20458"/>
                  </a:cubicBezTo>
                  <a:cubicBezTo>
                    <a:pt x="8002" y="20458"/>
                    <a:pt x="7934" y="20421"/>
                    <a:pt x="7934" y="20383"/>
                  </a:cubicBezTo>
                  <a:cubicBezTo>
                    <a:pt x="7934" y="20383"/>
                    <a:pt x="8002" y="20234"/>
                    <a:pt x="8002" y="20234"/>
                  </a:cubicBezTo>
                  <a:cubicBezTo>
                    <a:pt x="8002" y="20234"/>
                    <a:pt x="8139" y="20196"/>
                    <a:pt x="8071" y="20196"/>
                  </a:cubicBezTo>
                  <a:cubicBezTo>
                    <a:pt x="8071" y="20196"/>
                    <a:pt x="7934" y="20159"/>
                    <a:pt x="7934" y="20196"/>
                  </a:cubicBezTo>
                  <a:cubicBezTo>
                    <a:pt x="7866" y="20196"/>
                    <a:pt x="7934" y="20234"/>
                    <a:pt x="7934" y="20271"/>
                  </a:cubicBezTo>
                  <a:cubicBezTo>
                    <a:pt x="7934" y="20308"/>
                    <a:pt x="7934" y="20346"/>
                    <a:pt x="7866" y="20346"/>
                  </a:cubicBezTo>
                  <a:cubicBezTo>
                    <a:pt x="7798" y="20383"/>
                    <a:pt x="7525" y="20383"/>
                    <a:pt x="7525" y="20383"/>
                  </a:cubicBezTo>
                  <a:cubicBezTo>
                    <a:pt x="7525" y="20346"/>
                    <a:pt x="7457" y="20346"/>
                    <a:pt x="7525" y="20308"/>
                  </a:cubicBezTo>
                  <a:cubicBezTo>
                    <a:pt x="7525" y="20271"/>
                    <a:pt x="7525" y="20234"/>
                    <a:pt x="7525" y="20234"/>
                  </a:cubicBezTo>
                  <a:cubicBezTo>
                    <a:pt x="7525" y="20234"/>
                    <a:pt x="7457" y="20159"/>
                    <a:pt x="7457" y="20196"/>
                  </a:cubicBezTo>
                  <a:cubicBezTo>
                    <a:pt x="7389" y="20196"/>
                    <a:pt x="7321" y="20196"/>
                    <a:pt x="7321" y="20196"/>
                  </a:cubicBezTo>
                  <a:cubicBezTo>
                    <a:pt x="7321" y="20122"/>
                    <a:pt x="7321" y="20122"/>
                    <a:pt x="7321" y="20122"/>
                  </a:cubicBezTo>
                  <a:cubicBezTo>
                    <a:pt x="7185" y="20122"/>
                    <a:pt x="7185" y="20122"/>
                    <a:pt x="7185" y="20122"/>
                  </a:cubicBezTo>
                  <a:cubicBezTo>
                    <a:pt x="7117" y="20122"/>
                    <a:pt x="7117" y="20122"/>
                    <a:pt x="7117" y="20122"/>
                  </a:cubicBezTo>
                  <a:cubicBezTo>
                    <a:pt x="7117" y="20122"/>
                    <a:pt x="7048" y="20084"/>
                    <a:pt x="7048" y="20084"/>
                  </a:cubicBezTo>
                  <a:cubicBezTo>
                    <a:pt x="6980" y="20084"/>
                    <a:pt x="6980" y="20084"/>
                    <a:pt x="6980" y="20122"/>
                  </a:cubicBezTo>
                  <a:cubicBezTo>
                    <a:pt x="6912" y="20122"/>
                    <a:pt x="6708" y="20159"/>
                    <a:pt x="6708" y="20159"/>
                  </a:cubicBezTo>
                  <a:cubicBezTo>
                    <a:pt x="6708" y="20159"/>
                    <a:pt x="6708" y="20084"/>
                    <a:pt x="6640" y="20159"/>
                  </a:cubicBezTo>
                  <a:cubicBezTo>
                    <a:pt x="6640" y="20196"/>
                    <a:pt x="6299" y="20196"/>
                    <a:pt x="6299" y="20196"/>
                  </a:cubicBezTo>
                  <a:cubicBezTo>
                    <a:pt x="6299" y="20196"/>
                    <a:pt x="6231" y="20122"/>
                    <a:pt x="6231" y="20084"/>
                  </a:cubicBezTo>
                  <a:cubicBezTo>
                    <a:pt x="6231" y="20084"/>
                    <a:pt x="6299" y="19972"/>
                    <a:pt x="6299" y="19972"/>
                  </a:cubicBezTo>
                  <a:cubicBezTo>
                    <a:pt x="6367" y="19935"/>
                    <a:pt x="6367" y="19935"/>
                    <a:pt x="6367" y="19935"/>
                  </a:cubicBezTo>
                  <a:cubicBezTo>
                    <a:pt x="6299" y="19897"/>
                    <a:pt x="6299" y="19897"/>
                    <a:pt x="6299" y="19897"/>
                  </a:cubicBezTo>
                  <a:cubicBezTo>
                    <a:pt x="6299" y="19897"/>
                    <a:pt x="6094" y="19897"/>
                    <a:pt x="6163" y="19897"/>
                  </a:cubicBezTo>
                  <a:cubicBezTo>
                    <a:pt x="6163" y="19860"/>
                    <a:pt x="6299" y="19785"/>
                    <a:pt x="6299" y="19785"/>
                  </a:cubicBezTo>
                  <a:cubicBezTo>
                    <a:pt x="6299" y="19785"/>
                    <a:pt x="6367" y="19748"/>
                    <a:pt x="6367" y="19748"/>
                  </a:cubicBezTo>
                  <a:cubicBezTo>
                    <a:pt x="6435" y="19710"/>
                    <a:pt x="6571" y="19710"/>
                    <a:pt x="6503" y="19673"/>
                  </a:cubicBezTo>
                  <a:cubicBezTo>
                    <a:pt x="6435" y="19673"/>
                    <a:pt x="6367" y="19636"/>
                    <a:pt x="6367" y="19636"/>
                  </a:cubicBezTo>
                  <a:cubicBezTo>
                    <a:pt x="6367" y="19636"/>
                    <a:pt x="6299" y="19636"/>
                    <a:pt x="6299" y="19598"/>
                  </a:cubicBezTo>
                  <a:cubicBezTo>
                    <a:pt x="6299" y="19598"/>
                    <a:pt x="6367" y="19524"/>
                    <a:pt x="6367" y="19486"/>
                  </a:cubicBezTo>
                  <a:cubicBezTo>
                    <a:pt x="6367" y="19449"/>
                    <a:pt x="6299" y="19412"/>
                    <a:pt x="6299" y="19412"/>
                  </a:cubicBezTo>
                  <a:cubicBezTo>
                    <a:pt x="6231" y="19412"/>
                    <a:pt x="6299" y="19449"/>
                    <a:pt x="6163" y="19449"/>
                  </a:cubicBezTo>
                  <a:cubicBezTo>
                    <a:pt x="6094" y="19486"/>
                    <a:pt x="5890" y="19561"/>
                    <a:pt x="5890" y="19561"/>
                  </a:cubicBezTo>
                  <a:cubicBezTo>
                    <a:pt x="5890" y="19524"/>
                    <a:pt x="5890" y="19486"/>
                    <a:pt x="5890" y="19449"/>
                  </a:cubicBezTo>
                  <a:cubicBezTo>
                    <a:pt x="5958" y="19412"/>
                    <a:pt x="6163" y="19412"/>
                    <a:pt x="6231" y="19374"/>
                  </a:cubicBezTo>
                  <a:cubicBezTo>
                    <a:pt x="6231" y="19337"/>
                    <a:pt x="6094" y="19225"/>
                    <a:pt x="6094" y="19225"/>
                  </a:cubicBezTo>
                  <a:cubicBezTo>
                    <a:pt x="6094" y="19225"/>
                    <a:pt x="6231" y="19262"/>
                    <a:pt x="6163" y="19187"/>
                  </a:cubicBezTo>
                  <a:cubicBezTo>
                    <a:pt x="6026" y="19150"/>
                    <a:pt x="6026" y="19150"/>
                    <a:pt x="6026" y="19150"/>
                  </a:cubicBezTo>
                  <a:cubicBezTo>
                    <a:pt x="6026" y="19113"/>
                    <a:pt x="6026" y="19075"/>
                    <a:pt x="6094" y="19038"/>
                  </a:cubicBezTo>
                  <a:cubicBezTo>
                    <a:pt x="6163" y="18963"/>
                    <a:pt x="6231" y="18963"/>
                    <a:pt x="6231" y="18926"/>
                  </a:cubicBezTo>
                  <a:cubicBezTo>
                    <a:pt x="6231" y="18926"/>
                    <a:pt x="6026" y="18888"/>
                    <a:pt x="6026" y="18851"/>
                  </a:cubicBezTo>
                  <a:cubicBezTo>
                    <a:pt x="6026" y="18814"/>
                    <a:pt x="5890" y="18814"/>
                    <a:pt x="6026" y="18739"/>
                  </a:cubicBezTo>
                  <a:cubicBezTo>
                    <a:pt x="6094" y="18701"/>
                    <a:pt x="6163" y="18701"/>
                    <a:pt x="6163" y="18701"/>
                  </a:cubicBezTo>
                  <a:cubicBezTo>
                    <a:pt x="6163" y="18701"/>
                    <a:pt x="6163" y="18589"/>
                    <a:pt x="6163" y="18552"/>
                  </a:cubicBezTo>
                  <a:cubicBezTo>
                    <a:pt x="6163" y="18515"/>
                    <a:pt x="6231" y="18515"/>
                    <a:pt x="6231" y="18477"/>
                  </a:cubicBezTo>
                  <a:cubicBezTo>
                    <a:pt x="6163" y="18440"/>
                    <a:pt x="6094" y="18440"/>
                    <a:pt x="6026" y="18365"/>
                  </a:cubicBezTo>
                  <a:cubicBezTo>
                    <a:pt x="6026" y="18328"/>
                    <a:pt x="6026" y="18328"/>
                    <a:pt x="6026" y="18290"/>
                  </a:cubicBezTo>
                  <a:cubicBezTo>
                    <a:pt x="6094" y="18290"/>
                    <a:pt x="6163" y="18253"/>
                    <a:pt x="6094" y="18253"/>
                  </a:cubicBezTo>
                  <a:cubicBezTo>
                    <a:pt x="6094" y="18216"/>
                    <a:pt x="6094" y="18178"/>
                    <a:pt x="6094" y="18178"/>
                  </a:cubicBezTo>
                  <a:cubicBezTo>
                    <a:pt x="6094" y="18178"/>
                    <a:pt x="6094" y="18178"/>
                    <a:pt x="6026" y="18104"/>
                  </a:cubicBezTo>
                  <a:cubicBezTo>
                    <a:pt x="5958" y="18066"/>
                    <a:pt x="5958" y="17991"/>
                    <a:pt x="5958" y="17954"/>
                  </a:cubicBezTo>
                  <a:cubicBezTo>
                    <a:pt x="5958" y="17917"/>
                    <a:pt x="6026" y="17767"/>
                    <a:pt x="6026" y="17767"/>
                  </a:cubicBezTo>
                  <a:cubicBezTo>
                    <a:pt x="6026" y="17767"/>
                    <a:pt x="6026" y="17655"/>
                    <a:pt x="5890" y="17618"/>
                  </a:cubicBezTo>
                  <a:cubicBezTo>
                    <a:pt x="5822" y="17543"/>
                    <a:pt x="5686" y="17506"/>
                    <a:pt x="5686" y="17506"/>
                  </a:cubicBezTo>
                  <a:cubicBezTo>
                    <a:pt x="5686" y="17506"/>
                    <a:pt x="5686" y="17431"/>
                    <a:pt x="5686" y="17394"/>
                  </a:cubicBezTo>
                  <a:cubicBezTo>
                    <a:pt x="5686" y="17394"/>
                    <a:pt x="5549" y="17356"/>
                    <a:pt x="5549" y="17319"/>
                  </a:cubicBezTo>
                  <a:cubicBezTo>
                    <a:pt x="5549" y="17281"/>
                    <a:pt x="5481" y="17207"/>
                    <a:pt x="5481" y="17207"/>
                  </a:cubicBezTo>
                  <a:cubicBezTo>
                    <a:pt x="5481" y="17207"/>
                    <a:pt x="5413" y="17207"/>
                    <a:pt x="5481" y="17132"/>
                  </a:cubicBezTo>
                  <a:cubicBezTo>
                    <a:pt x="5481" y="17020"/>
                    <a:pt x="5481" y="16982"/>
                    <a:pt x="5481" y="16945"/>
                  </a:cubicBezTo>
                  <a:cubicBezTo>
                    <a:pt x="5413" y="16908"/>
                    <a:pt x="5345" y="16833"/>
                    <a:pt x="5345" y="16796"/>
                  </a:cubicBezTo>
                  <a:cubicBezTo>
                    <a:pt x="5345" y="16758"/>
                    <a:pt x="5345" y="16683"/>
                    <a:pt x="5345" y="16683"/>
                  </a:cubicBezTo>
                  <a:cubicBezTo>
                    <a:pt x="5345" y="16683"/>
                    <a:pt x="5345" y="16646"/>
                    <a:pt x="5277" y="16609"/>
                  </a:cubicBezTo>
                  <a:cubicBezTo>
                    <a:pt x="5209" y="16571"/>
                    <a:pt x="5004" y="16385"/>
                    <a:pt x="5004" y="16385"/>
                  </a:cubicBezTo>
                  <a:cubicBezTo>
                    <a:pt x="5004" y="16385"/>
                    <a:pt x="4936" y="16385"/>
                    <a:pt x="4936" y="16310"/>
                  </a:cubicBezTo>
                  <a:cubicBezTo>
                    <a:pt x="4868" y="16235"/>
                    <a:pt x="4868" y="16160"/>
                    <a:pt x="4868" y="16160"/>
                  </a:cubicBezTo>
                  <a:cubicBezTo>
                    <a:pt x="4868" y="16160"/>
                    <a:pt x="4868" y="16048"/>
                    <a:pt x="4868" y="16048"/>
                  </a:cubicBezTo>
                  <a:cubicBezTo>
                    <a:pt x="4664" y="15936"/>
                    <a:pt x="4664" y="15936"/>
                    <a:pt x="4664" y="15936"/>
                  </a:cubicBezTo>
                  <a:cubicBezTo>
                    <a:pt x="4732" y="15787"/>
                    <a:pt x="4732" y="15787"/>
                    <a:pt x="4732" y="15787"/>
                  </a:cubicBezTo>
                  <a:cubicBezTo>
                    <a:pt x="4732" y="15637"/>
                    <a:pt x="4732" y="15637"/>
                    <a:pt x="4732" y="15637"/>
                  </a:cubicBezTo>
                  <a:cubicBezTo>
                    <a:pt x="4732" y="15637"/>
                    <a:pt x="4732" y="15450"/>
                    <a:pt x="4800" y="15450"/>
                  </a:cubicBezTo>
                  <a:cubicBezTo>
                    <a:pt x="4868" y="15450"/>
                    <a:pt x="5004" y="15338"/>
                    <a:pt x="5004" y="15338"/>
                  </a:cubicBezTo>
                  <a:cubicBezTo>
                    <a:pt x="5004" y="15338"/>
                    <a:pt x="5141" y="15226"/>
                    <a:pt x="5072" y="15189"/>
                  </a:cubicBezTo>
                  <a:cubicBezTo>
                    <a:pt x="5072" y="15151"/>
                    <a:pt x="5004" y="15002"/>
                    <a:pt x="5004" y="15002"/>
                  </a:cubicBezTo>
                  <a:cubicBezTo>
                    <a:pt x="5004" y="15002"/>
                    <a:pt x="5141" y="14890"/>
                    <a:pt x="5072" y="14890"/>
                  </a:cubicBezTo>
                  <a:cubicBezTo>
                    <a:pt x="5072" y="14852"/>
                    <a:pt x="4936" y="14703"/>
                    <a:pt x="4936" y="14703"/>
                  </a:cubicBezTo>
                  <a:cubicBezTo>
                    <a:pt x="4732" y="14815"/>
                    <a:pt x="4732" y="14815"/>
                    <a:pt x="4732" y="14815"/>
                  </a:cubicBezTo>
                  <a:cubicBezTo>
                    <a:pt x="4595" y="14778"/>
                    <a:pt x="4595" y="14778"/>
                    <a:pt x="4595" y="14778"/>
                  </a:cubicBezTo>
                  <a:cubicBezTo>
                    <a:pt x="4664" y="14628"/>
                    <a:pt x="4664" y="14628"/>
                    <a:pt x="4664" y="14628"/>
                  </a:cubicBezTo>
                  <a:cubicBezTo>
                    <a:pt x="4664" y="14628"/>
                    <a:pt x="4527" y="14553"/>
                    <a:pt x="4527" y="14516"/>
                  </a:cubicBezTo>
                  <a:cubicBezTo>
                    <a:pt x="4527" y="14479"/>
                    <a:pt x="4664" y="14404"/>
                    <a:pt x="4664" y="14404"/>
                  </a:cubicBezTo>
                  <a:cubicBezTo>
                    <a:pt x="4664" y="14404"/>
                    <a:pt x="4800" y="14553"/>
                    <a:pt x="4800" y="14591"/>
                  </a:cubicBezTo>
                  <a:cubicBezTo>
                    <a:pt x="4800" y="14628"/>
                    <a:pt x="4936" y="14666"/>
                    <a:pt x="4936" y="14666"/>
                  </a:cubicBezTo>
                  <a:cubicBezTo>
                    <a:pt x="5004" y="14628"/>
                    <a:pt x="5004" y="14553"/>
                    <a:pt x="5072" y="14553"/>
                  </a:cubicBezTo>
                  <a:cubicBezTo>
                    <a:pt x="5141" y="14553"/>
                    <a:pt x="5209" y="14591"/>
                    <a:pt x="5209" y="14628"/>
                  </a:cubicBezTo>
                  <a:cubicBezTo>
                    <a:pt x="5209" y="14628"/>
                    <a:pt x="5481" y="14591"/>
                    <a:pt x="5481" y="14591"/>
                  </a:cubicBezTo>
                  <a:cubicBezTo>
                    <a:pt x="5481" y="14591"/>
                    <a:pt x="5413" y="14553"/>
                    <a:pt x="5618" y="14553"/>
                  </a:cubicBezTo>
                  <a:cubicBezTo>
                    <a:pt x="5822" y="14591"/>
                    <a:pt x="5822" y="14553"/>
                    <a:pt x="5822" y="14479"/>
                  </a:cubicBezTo>
                  <a:cubicBezTo>
                    <a:pt x="5822" y="14441"/>
                    <a:pt x="5618" y="14292"/>
                    <a:pt x="5754" y="14292"/>
                  </a:cubicBezTo>
                  <a:cubicBezTo>
                    <a:pt x="5958" y="14292"/>
                    <a:pt x="6026" y="14329"/>
                    <a:pt x="6026" y="14329"/>
                  </a:cubicBezTo>
                  <a:cubicBezTo>
                    <a:pt x="6026" y="14329"/>
                    <a:pt x="6026" y="14367"/>
                    <a:pt x="6026" y="14404"/>
                  </a:cubicBezTo>
                  <a:cubicBezTo>
                    <a:pt x="6026" y="14479"/>
                    <a:pt x="6231" y="14553"/>
                    <a:pt x="6231" y="14479"/>
                  </a:cubicBezTo>
                  <a:cubicBezTo>
                    <a:pt x="6299" y="14404"/>
                    <a:pt x="6299" y="14441"/>
                    <a:pt x="6299" y="14367"/>
                  </a:cubicBezTo>
                  <a:cubicBezTo>
                    <a:pt x="6299" y="14292"/>
                    <a:pt x="6163" y="14292"/>
                    <a:pt x="6094" y="14217"/>
                  </a:cubicBezTo>
                  <a:cubicBezTo>
                    <a:pt x="6094" y="14180"/>
                    <a:pt x="6026" y="14254"/>
                    <a:pt x="6026" y="14142"/>
                  </a:cubicBezTo>
                  <a:cubicBezTo>
                    <a:pt x="6094" y="14030"/>
                    <a:pt x="6094" y="13993"/>
                    <a:pt x="6163" y="13993"/>
                  </a:cubicBezTo>
                  <a:cubicBezTo>
                    <a:pt x="6299" y="13955"/>
                    <a:pt x="6163" y="13993"/>
                    <a:pt x="6299" y="13955"/>
                  </a:cubicBezTo>
                  <a:cubicBezTo>
                    <a:pt x="6435" y="13955"/>
                    <a:pt x="6503" y="13881"/>
                    <a:pt x="6435" y="13769"/>
                  </a:cubicBezTo>
                  <a:cubicBezTo>
                    <a:pt x="6435" y="13694"/>
                    <a:pt x="6367" y="13657"/>
                    <a:pt x="6435" y="13619"/>
                  </a:cubicBezTo>
                  <a:cubicBezTo>
                    <a:pt x="6571" y="13582"/>
                    <a:pt x="6503" y="13544"/>
                    <a:pt x="6640" y="13582"/>
                  </a:cubicBezTo>
                  <a:cubicBezTo>
                    <a:pt x="6776" y="13619"/>
                    <a:pt x="6708" y="13619"/>
                    <a:pt x="6844" y="13619"/>
                  </a:cubicBezTo>
                  <a:cubicBezTo>
                    <a:pt x="6912" y="13582"/>
                    <a:pt x="6912" y="13395"/>
                    <a:pt x="6912" y="13395"/>
                  </a:cubicBezTo>
                  <a:cubicBezTo>
                    <a:pt x="6844" y="13432"/>
                    <a:pt x="6708" y="13358"/>
                    <a:pt x="6708" y="13358"/>
                  </a:cubicBezTo>
                  <a:cubicBezTo>
                    <a:pt x="6640" y="13358"/>
                    <a:pt x="6640" y="13283"/>
                    <a:pt x="6708" y="13245"/>
                  </a:cubicBezTo>
                  <a:cubicBezTo>
                    <a:pt x="6708" y="13245"/>
                    <a:pt x="6708" y="13171"/>
                    <a:pt x="6776" y="13171"/>
                  </a:cubicBezTo>
                  <a:cubicBezTo>
                    <a:pt x="6912" y="13171"/>
                    <a:pt x="6912" y="13208"/>
                    <a:pt x="7048" y="13171"/>
                  </a:cubicBezTo>
                  <a:cubicBezTo>
                    <a:pt x="7117" y="13133"/>
                    <a:pt x="7117" y="13133"/>
                    <a:pt x="7185" y="13096"/>
                  </a:cubicBezTo>
                  <a:cubicBezTo>
                    <a:pt x="7253" y="13059"/>
                    <a:pt x="7321" y="13059"/>
                    <a:pt x="7389" y="12984"/>
                  </a:cubicBezTo>
                  <a:cubicBezTo>
                    <a:pt x="7389" y="12946"/>
                    <a:pt x="7457" y="12722"/>
                    <a:pt x="7457" y="12722"/>
                  </a:cubicBezTo>
                  <a:cubicBezTo>
                    <a:pt x="7389" y="12685"/>
                    <a:pt x="7525" y="12722"/>
                    <a:pt x="7662" y="12685"/>
                  </a:cubicBezTo>
                  <a:cubicBezTo>
                    <a:pt x="7730" y="12648"/>
                    <a:pt x="7798" y="12423"/>
                    <a:pt x="7866" y="12386"/>
                  </a:cubicBezTo>
                  <a:cubicBezTo>
                    <a:pt x="7934" y="12311"/>
                    <a:pt x="8139" y="12162"/>
                    <a:pt x="8139" y="12124"/>
                  </a:cubicBezTo>
                  <a:cubicBezTo>
                    <a:pt x="8139" y="12087"/>
                    <a:pt x="8343" y="11825"/>
                    <a:pt x="8343" y="11825"/>
                  </a:cubicBezTo>
                  <a:cubicBezTo>
                    <a:pt x="8616" y="11564"/>
                    <a:pt x="8616" y="11564"/>
                    <a:pt x="8616" y="11564"/>
                  </a:cubicBezTo>
                  <a:cubicBezTo>
                    <a:pt x="8616" y="11564"/>
                    <a:pt x="8616" y="11489"/>
                    <a:pt x="8547" y="11414"/>
                  </a:cubicBezTo>
                  <a:cubicBezTo>
                    <a:pt x="8547" y="11377"/>
                    <a:pt x="8479" y="11227"/>
                    <a:pt x="8547" y="11190"/>
                  </a:cubicBezTo>
                  <a:cubicBezTo>
                    <a:pt x="8616" y="11190"/>
                    <a:pt x="8684" y="11078"/>
                    <a:pt x="8684" y="11078"/>
                  </a:cubicBezTo>
                  <a:cubicBezTo>
                    <a:pt x="8684" y="10928"/>
                    <a:pt x="8684" y="10928"/>
                    <a:pt x="8684" y="10928"/>
                  </a:cubicBezTo>
                  <a:cubicBezTo>
                    <a:pt x="8684" y="10928"/>
                    <a:pt x="9024" y="10816"/>
                    <a:pt x="9024" y="10816"/>
                  </a:cubicBezTo>
                  <a:cubicBezTo>
                    <a:pt x="9433" y="10779"/>
                    <a:pt x="9161" y="10667"/>
                    <a:pt x="9638" y="10779"/>
                  </a:cubicBezTo>
                  <a:cubicBezTo>
                    <a:pt x="9638" y="10779"/>
                    <a:pt x="9910" y="10742"/>
                    <a:pt x="9842" y="10704"/>
                  </a:cubicBezTo>
                  <a:cubicBezTo>
                    <a:pt x="9842" y="10704"/>
                    <a:pt x="9570" y="10555"/>
                    <a:pt x="9570" y="10555"/>
                  </a:cubicBezTo>
                  <a:cubicBezTo>
                    <a:pt x="9706" y="10443"/>
                    <a:pt x="9706" y="10443"/>
                    <a:pt x="9706" y="10443"/>
                  </a:cubicBezTo>
                  <a:cubicBezTo>
                    <a:pt x="9706" y="10443"/>
                    <a:pt x="9910" y="10368"/>
                    <a:pt x="9706" y="10331"/>
                  </a:cubicBezTo>
                  <a:cubicBezTo>
                    <a:pt x="9570" y="10293"/>
                    <a:pt x="9433" y="10256"/>
                    <a:pt x="9433" y="10218"/>
                  </a:cubicBezTo>
                  <a:cubicBezTo>
                    <a:pt x="9433" y="10218"/>
                    <a:pt x="9365" y="10069"/>
                    <a:pt x="9365" y="10032"/>
                  </a:cubicBezTo>
                  <a:cubicBezTo>
                    <a:pt x="9365" y="9994"/>
                    <a:pt x="9297" y="9882"/>
                    <a:pt x="9297" y="9882"/>
                  </a:cubicBezTo>
                  <a:cubicBezTo>
                    <a:pt x="9297" y="9882"/>
                    <a:pt x="9297" y="9733"/>
                    <a:pt x="9297" y="9695"/>
                  </a:cubicBezTo>
                  <a:cubicBezTo>
                    <a:pt x="9297" y="9658"/>
                    <a:pt x="9229" y="9546"/>
                    <a:pt x="9161" y="9508"/>
                  </a:cubicBezTo>
                  <a:cubicBezTo>
                    <a:pt x="9093" y="9471"/>
                    <a:pt x="8820" y="9359"/>
                    <a:pt x="8820" y="9359"/>
                  </a:cubicBezTo>
                  <a:cubicBezTo>
                    <a:pt x="8343" y="9247"/>
                    <a:pt x="8343" y="9247"/>
                    <a:pt x="8343" y="9247"/>
                  </a:cubicBezTo>
                  <a:cubicBezTo>
                    <a:pt x="8207" y="9322"/>
                    <a:pt x="8207" y="9322"/>
                    <a:pt x="8207" y="9322"/>
                  </a:cubicBezTo>
                  <a:cubicBezTo>
                    <a:pt x="7866" y="9135"/>
                    <a:pt x="7866" y="9135"/>
                    <a:pt x="7866" y="9135"/>
                  </a:cubicBezTo>
                  <a:cubicBezTo>
                    <a:pt x="7594" y="9097"/>
                    <a:pt x="7594" y="9097"/>
                    <a:pt x="7594" y="9097"/>
                  </a:cubicBezTo>
                  <a:cubicBezTo>
                    <a:pt x="7321" y="9097"/>
                    <a:pt x="7321" y="9097"/>
                    <a:pt x="7321" y="9097"/>
                  </a:cubicBezTo>
                  <a:cubicBezTo>
                    <a:pt x="6844" y="8537"/>
                    <a:pt x="6844" y="8537"/>
                    <a:pt x="6844" y="8537"/>
                  </a:cubicBezTo>
                  <a:cubicBezTo>
                    <a:pt x="6435" y="8425"/>
                    <a:pt x="6435" y="8425"/>
                    <a:pt x="6435" y="8425"/>
                  </a:cubicBezTo>
                  <a:cubicBezTo>
                    <a:pt x="6163" y="8275"/>
                    <a:pt x="6163" y="8275"/>
                    <a:pt x="6163" y="8275"/>
                  </a:cubicBezTo>
                  <a:cubicBezTo>
                    <a:pt x="6163" y="8088"/>
                    <a:pt x="6163" y="8088"/>
                    <a:pt x="6163" y="8088"/>
                  </a:cubicBezTo>
                  <a:cubicBezTo>
                    <a:pt x="5958" y="7939"/>
                    <a:pt x="5958" y="7939"/>
                    <a:pt x="5958" y="7939"/>
                  </a:cubicBezTo>
                  <a:cubicBezTo>
                    <a:pt x="5958" y="7939"/>
                    <a:pt x="6026" y="7827"/>
                    <a:pt x="6026" y="7789"/>
                  </a:cubicBezTo>
                  <a:cubicBezTo>
                    <a:pt x="6094" y="7752"/>
                    <a:pt x="6231" y="7565"/>
                    <a:pt x="6231" y="7565"/>
                  </a:cubicBezTo>
                  <a:cubicBezTo>
                    <a:pt x="6231" y="7565"/>
                    <a:pt x="6163" y="7416"/>
                    <a:pt x="6163" y="7378"/>
                  </a:cubicBezTo>
                  <a:cubicBezTo>
                    <a:pt x="6163" y="7341"/>
                    <a:pt x="6231" y="7154"/>
                    <a:pt x="6231" y="7154"/>
                  </a:cubicBezTo>
                  <a:cubicBezTo>
                    <a:pt x="6163" y="6967"/>
                    <a:pt x="6163" y="6967"/>
                    <a:pt x="6163" y="6967"/>
                  </a:cubicBezTo>
                  <a:cubicBezTo>
                    <a:pt x="5345" y="6444"/>
                    <a:pt x="5345" y="6444"/>
                    <a:pt x="5345" y="6444"/>
                  </a:cubicBezTo>
                  <a:cubicBezTo>
                    <a:pt x="5413" y="6220"/>
                    <a:pt x="5413" y="6220"/>
                    <a:pt x="5413" y="6220"/>
                  </a:cubicBezTo>
                  <a:cubicBezTo>
                    <a:pt x="5345" y="6108"/>
                    <a:pt x="5345" y="6108"/>
                    <a:pt x="5345" y="6108"/>
                  </a:cubicBezTo>
                  <a:cubicBezTo>
                    <a:pt x="5277" y="5996"/>
                    <a:pt x="5277" y="5996"/>
                    <a:pt x="5345" y="5921"/>
                  </a:cubicBezTo>
                  <a:cubicBezTo>
                    <a:pt x="5345" y="5883"/>
                    <a:pt x="5345" y="5883"/>
                    <a:pt x="5345" y="5883"/>
                  </a:cubicBezTo>
                  <a:cubicBezTo>
                    <a:pt x="5072" y="5921"/>
                    <a:pt x="5072" y="5921"/>
                    <a:pt x="5072" y="5921"/>
                  </a:cubicBezTo>
                  <a:cubicBezTo>
                    <a:pt x="4868" y="5771"/>
                    <a:pt x="4868" y="5771"/>
                    <a:pt x="4868" y="5771"/>
                  </a:cubicBezTo>
                  <a:cubicBezTo>
                    <a:pt x="4936" y="5585"/>
                    <a:pt x="4936" y="5585"/>
                    <a:pt x="4936" y="5585"/>
                  </a:cubicBezTo>
                  <a:cubicBezTo>
                    <a:pt x="4800" y="5136"/>
                    <a:pt x="4800" y="5136"/>
                    <a:pt x="4800" y="5136"/>
                  </a:cubicBezTo>
                  <a:cubicBezTo>
                    <a:pt x="4936" y="4912"/>
                    <a:pt x="4936" y="4912"/>
                    <a:pt x="4936" y="4912"/>
                  </a:cubicBezTo>
                  <a:cubicBezTo>
                    <a:pt x="4527" y="4800"/>
                    <a:pt x="4527" y="4800"/>
                    <a:pt x="4527" y="4800"/>
                  </a:cubicBezTo>
                  <a:cubicBezTo>
                    <a:pt x="4255" y="4576"/>
                    <a:pt x="4255" y="4576"/>
                    <a:pt x="4255" y="4576"/>
                  </a:cubicBezTo>
                  <a:cubicBezTo>
                    <a:pt x="4255" y="4576"/>
                    <a:pt x="4187" y="4650"/>
                    <a:pt x="4118" y="4613"/>
                  </a:cubicBezTo>
                  <a:cubicBezTo>
                    <a:pt x="4050" y="4576"/>
                    <a:pt x="3710" y="4277"/>
                    <a:pt x="3710" y="4277"/>
                  </a:cubicBezTo>
                  <a:cubicBezTo>
                    <a:pt x="3096" y="4164"/>
                    <a:pt x="3096" y="4164"/>
                    <a:pt x="3096" y="4164"/>
                  </a:cubicBezTo>
                  <a:cubicBezTo>
                    <a:pt x="2824" y="4090"/>
                    <a:pt x="2824" y="4090"/>
                    <a:pt x="2824" y="4090"/>
                  </a:cubicBezTo>
                  <a:cubicBezTo>
                    <a:pt x="2483" y="4052"/>
                    <a:pt x="2483" y="4052"/>
                    <a:pt x="2483" y="4052"/>
                  </a:cubicBezTo>
                  <a:cubicBezTo>
                    <a:pt x="2483" y="4052"/>
                    <a:pt x="2415" y="4127"/>
                    <a:pt x="2347" y="4052"/>
                  </a:cubicBezTo>
                  <a:cubicBezTo>
                    <a:pt x="2279" y="3978"/>
                    <a:pt x="2142" y="3903"/>
                    <a:pt x="2142" y="3903"/>
                  </a:cubicBezTo>
                  <a:cubicBezTo>
                    <a:pt x="1870" y="3940"/>
                    <a:pt x="1870" y="3940"/>
                    <a:pt x="1870" y="3940"/>
                  </a:cubicBezTo>
                  <a:cubicBezTo>
                    <a:pt x="1665" y="3791"/>
                    <a:pt x="1665" y="3791"/>
                    <a:pt x="1665" y="3791"/>
                  </a:cubicBezTo>
                  <a:cubicBezTo>
                    <a:pt x="1665" y="3791"/>
                    <a:pt x="1597" y="3791"/>
                    <a:pt x="1529" y="3791"/>
                  </a:cubicBezTo>
                  <a:cubicBezTo>
                    <a:pt x="1461" y="3753"/>
                    <a:pt x="1325" y="3716"/>
                    <a:pt x="1325" y="3716"/>
                  </a:cubicBezTo>
                  <a:close/>
                  <a:moveTo>
                    <a:pt x="9638" y="21205"/>
                  </a:moveTo>
                  <a:cubicBezTo>
                    <a:pt x="9638" y="21205"/>
                    <a:pt x="9638" y="21205"/>
                    <a:pt x="9638" y="21205"/>
                  </a:cubicBezTo>
                  <a:cubicBezTo>
                    <a:pt x="9638" y="21205"/>
                    <a:pt x="9638" y="21243"/>
                    <a:pt x="9638" y="21280"/>
                  </a:cubicBezTo>
                  <a:cubicBezTo>
                    <a:pt x="9638" y="21280"/>
                    <a:pt x="9706" y="21317"/>
                    <a:pt x="9774" y="21317"/>
                  </a:cubicBezTo>
                  <a:cubicBezTo>
                    <a:pt x="9774" y="21317"/>
                    <a:pt x="9910" y="21280"/>
                    <a:pt x="9978" y="21243"/>
                  </a:cubicBezTo>
                  <a:cubicBezTo>
                    <a:pt x="10115" y="21205"/>
                    <a:pt x="9978" y="21243"/>
                    <a:pt x="9978" y="21243"/>
                  </a:cubicBezTo>
                  <a:cubicBezTo>
                    <a:pt x="9842" y="21168"/>
                    <a:pt x="9842" y="21168"/>
                    <a:pt x="9842" y="21168"/>
                  </a:cubicBezTo>
                  <a:cubicBezTo>
                    <a:pt x="9842" y="21168"/>
                    <a:pt x="9706" y="21205"/>
                    <a:pt x="9638" y="21205"/>
                  </a:cubicBezTo>
                  <a:close/>
                  <a:moveTo>
                    <a:pt x="8752" y="21205"/>
                  </a:moveTo>
                  <a:cubicBezTo>
                    <a:pt x="8752" y="21205"/>
                    <a:pt x="8752" y="21205"/>
                    <a:pt x="8752" y="21205"/>
                  </a:cubicBezTo>
                  <a:cubicBezTo>
                    <a:pt x="8752" y="21205"/>
                    <a:pt x="8752" y="21280"/>
                    <a:pt x="8752" y="21280"/>
                  </a:cubicBezTo>
                  <a:cubicBezTo>
                    <a:pt x="8752" y="21317"/>
                    <a:pt x="8820" y="21317"/>
                    <a:pt x="8888" y="21280"/>
                  </a:cubicBezTo>
                  <a:cubicBezTo>
                    <a:pt x="8888" y="21280"/>
                    <a:pt x="8956" y="21280"/>
                    <a:pt x="9024" y="21243"/>
                  </a:cubicBezTo>
                  <a:cubicBezTo>
                    <a:pt x="9093" y="21205"/>
                    <a:pt x="9024" y="21168"/>
                    <a:pt x="8956" y="21168"/>
                  </a:cubicBezTo>
                  <a:cubicBezTo>
                    <a:pt x="8956" y="21131"/>
                    <a:pt x="8888" y="21168"/>
                    <a:pt x="8888" y="21168"/>
                  </a:cubicBezTo>
                  <a:cubicBezTo>
                    <a:pt x="8820" y="21168"/>
                    <a:pt x="8752" y="21205"/>
                    <a:pt x="8752" y="21205"/>
                  </a:cubicBezTo>
                  <a:close/>
                  <a:moveTo>
                    <a:pt x="7117" y="20757"/>
                  </a:moveTo>
                  <a:cubicBezTo>
                    <a:pt x="7117" y="20757"/>
                    <a:pt x="7117" y="20757"/>
                    <a:pt x="7117" y="20757"/>
                  </a:cubicBezTo>
                  <a:cubicBezTo>
                    <a:pt x="7048" y="20794"/>
                    <a:pt x="7048" y="20794"/>
                    <a:pt x="7048" y="20794"/>
                  </a:cubicBezTo>
                  <a:cubicBezTo>
                    <a:pt x="7048" y="20794"/>
                    <a:pt x="6980" y="20832"/>
                    <a:pt x="7048" y="20869"/>
                  </a:cubicBezTo>
                  <a:cubicBezTo>
                    <a:pt x="7048" y="20944"/>
                    <a:pt x="7117" y="20944"/>
                    <a:pt x="7117" y="20944"/>
                  </a:cubicBezTo>
                  <a:cubicBezTo>
                    <a:pt x="7117" y="20944"/>
                    <a:pt x="7185" y="20906"/>
                    <a:pt x="7321" y="20906"/>
                  </a:cubicBezTo>
                  <a:cubicBezTo>
                    <a:pt x="7389" y="20906"/>
                    <a:pt x="7525" y="20832"/>
                    <a:pt x="7525" y="20794"/>
                  </a:cubicBezTo>
                  <a:cubicBezTo>
                    <a:pt x="7594" y="20794"/>
                    <a:pt x="7594" y="20719"/>
                    <a:pt x="7662" y="20719"/>
                  </a:cubicBezTo>
                  <a:cubicBezTo>
                    <a:pt x="7730" y="20719"/>
                    <a:pt x="7934" y="20757"/>
                    <a:pt x="8002" y="20757"/>
                  </a:cubicBezTo>
                  <a:cubicBezTo>
                    <a:pt x="8071" y="20757"/>
                    <a:pt x="7934" y="20645"/>
                    <a:pt x="7934" y="20645"/>
                  </a:cubicBezTo>
                  <a:cubicBezTo>
                    <a:pt x="7934" y="20607"/>
                    <a:pt x="7730" y="20645"/>
                    <a:pt x="7730" y="20645"/>
                  </a:cubicBezTo>
                  <a:cubicBezTo>
                    <a:pt x="7730" y="20645"/>
                    <a:pt x="7594" y="20645"/>
                    <a:pt x="7525" y="20607"/>
                  </a:cubicBezTo>
                  <a:cubicBezTo>
                    <a:pt x="7457" y="20607"/>
                    <a:pt x="7457" y="20607"/>
                    <a:pt x="7457" y="20607"/>
                  </a:cubicBezTo>
                  <a:cubicBezTo>
                    <a:pt x="7389" y="20645"/>
                    <a:pt x="7389" y="20682"/>
                    <a:pt x="7321" y="20719"/>
                  </a:cubicBezTo>
                  <a:cubicBezTo>
                    <a:pt x="7253" y="20757"/>
                    <a:pt x="7253" y="20719"/>
                    <a:pt x="7253" y="20682"/>
                  </a:cubicBezTo>
                  <a:cubicBezTo>
                    <a:pt x="7253" y="20682"/>
                    <a:pt x="7117" y="20645"/>
                    <a:pt x="7048" y="20682"/>
                  </a:cubicBezTo>
                  <a:cubicBezTo>
                    <a:pt x="7048" y="20682"/>
                    <a:pt x="7117" y="20719"/>
                    <a:pt x="7117" y="20757"/>
                  </a:cubicBezTo>
                  <a:close/>
                  <a:moveTo>
                    <a:pt x="6571" y="20757"/>
                  </a:moveTo>
                  <a:cubicBezTo>
                    <a:pt x="6571" y="20757"/>
                    <a:pt x="6571" y="20757"/>
                    <a:pt x="6571" y="20757"/>
                  </a:cubicBezTo>
                  <a:cubicBezTo>
                    <a:pt x="6571" y="20757"/>
                    <a:pt x="6708" y="20794"/>
                    <a:pt x="6844" y="20794"/>
                  </a:cubicBezTo>
                  <a:cubicBezTo>
                    <a:pt x="6912" y="20794"/>
                    <a:pt x="6844" y="20757"/>
                    <a:pt x="6912" y="20719"/>
                  </a:cubicBezTo>
                  <a:cubicBezTo>
                    <a:pt x="6912" y="20682"/>
                    <a:pt x="6844" y="20719"/>
                    <a:pt x="6776" y="20682"/>
                  </a:cubicBezTo>
                  <a:cubicBezTo>
                    <a:pt x="6708" y="20682"/>
                    <a:pt x="6708" y="20682"/>
                    <a:pt x="6640" y="20682"/>
                  </a:cubicBezTo>
                  <a:cubicBezTo>
                    <a:pt x="6503" y="20682"/>
                    <a:pt x="6571" y="20757"/>
                    <a:pt x="6571" y="20757"/>
                  </a:cubicBezTo>
                  <a:close/>
                  <a:moveTo>
                    <a:pt x="5958" y="20346"/>
                  </a:moveTo>
                  <a:cubicBezTo>
                    <a:pt x="5958" y="20346"/>
                    <a:pt x="5958" y="20346"/>
                    <a:pt x="5958" y="20346"/>
                  </a:cubicBezTo>
                  <a:cubicBezTo>
                    <a:pt x="5890" y="20533"/>
                    <a:pt x="6231" y="20421"/>
                    <a:pt x="6231" y="20308"/>
                  </a:cubicBezTo>
                  <a:cubicBezTo>
                    <a:pt x="6163" y="20234"/>
                    <a:pt x="6231" y="20234"/>
                    <a:pt x="6094" y="20159"/>
                  </a:cubicBezTo>
                  <a:cubicBezTo>
                    <a:pt x="6026" y="20047"/>
                    <a:pt x="6026" y="20159"/>
                    <a:pt x="5958" y="20196"/>
                  </a:cubicBezTo>
                  <a:cubicBezTo>
                    <a:pt x="5890" y="20271"/>
                    <a:pt x="6026" y="20271"/>
                    <a:pt x="6026" y="20308"/>
                  </a:cubicBezTo>
                  <a:cubicBezTo>
                    <a:pt x="6026" y="20346"/>
                    <a:pt x="5958" y="20308"/>
                    <a:pt x="5958" y="20346"/>
                  </a:cubicBezTo>
                  <a:close/>
                  <a:moveTo>
                    <a:pt x="5413" y="20794"/>
                  </a:moveTo>
                  <a:cubicBezTo>
                    <a:pt x="5413" y="20794"/>
                    <a:pt x="5413" y="20794"/>
                    <a:pt x="5413" y="20794"/>
                  </a:cubicBezTo>
                  <a:cubicBezTo>
                    <a:pt x="5413" y="20794"/>
                    <a:pt x="5345" y="20832"/>
                    <a:pt x="5413" y="20906"/>
                  </a:cubicBezTo>
                  <a:cubicBezTo>
                    <a:pt x="5413" y="20944"/>
                    <a:pt x="5413" y="20906"/>
                    <a:pt x="5618" y="20832"/>
                  </a:cubicBezTo>
                  <a:cubicBezTo>
                    <a:pt x="5754" y="20757"/>
                    <a:pt x="5549" y="20794"/>
                    <a:pt x="5549" y="20794"/>
                  </a:cubicBezTo>
                  <a:cubicBezTo>
                    <a:pt x="5549" y="20757"/>
                    <a:pt x="5481" y="20794"/>
                    <a:pt x="5413" y="20794"/>
                  </a:cubicBezTo>
                  <a:close/>
                  <a:moveTo>
                    <a:pt x="5413" y="21018"/>
                  </a:moveTo>
                  <a:cubicBezTo>
                    <a:pt x="5413" y="21018"/>
                    <a:pt x="5413" y="21018"/>
                    <a:pt x="5413" y="21018"/>
                  </a:cubicBezTo>
                  <a:cubicBezTo>
                    <a:pt x="5413" y="21018"/>
                    <a:pt x="5413" y="21093"/>
                    <a:pt x="5481" y="21093"/>
                  </a:cubicBezTo>
                  <a:cubicBezTo>
                    <a:pt x="5549" y="21093"/>
                    <a:pt x="5549" y="21056"/>
                    <a:pt x="5618" y="21018"/>
                  </a:cubicBezTo>
                  <a:cubicBezTo>
                    <a:pt x="5618" y="20981"/>
                    <a:pt x="5549" y="20981"/>
                    <a:pt x="5549" y="20944"/>
                  </a:cubicBezTo>
                  <a:cubicBezTo>
                    <a:pt x="5481" y="20944"/>
                    <a:pt x="5413" y="20981"/>
                    <a:pt x="5413" y="21018"/>
                  </a:cubicBezTo>
                  <a:close/>
                  <a:moveTo>
                    <a:pt x="5209" y="21205"/>
                  </a:moveTo>
                  <a:cubicBezTo>
                    <a:pt x="5209" y="21205"/>
                    <a:pt x="5209" y="21205"/>
                    <a:pt x="5209" y="21205"/>
                  </a:cubicBezTo>
                  <a:cubicBezTo>
                    <a:pt x="5072" y="21205"/>
                    <a:pt x="5072" y="21205"/>
                    <a:pt x="5072" y="21205"/>
                  </a:cubicBezTo>
                  <a:cubicBezTo>
                    <a:pt x="5072" y="21205"/>
                    <a:pt x="5072" y="21205"/>
                    <a:pt x="4868" y="21280"/>
                  </a:cubicBezTo>
                  <a:cubicBezTo>
                    <a:pt x="4664" y="21317"/>
                    <a:pt x="4800" y="21355"/>
                    <a:pt x="4800" y="21392"/>
                  </a:cubicBezTo>
                  <a:cubicBezTo>
                    <a:pt x="4800" y="21467"/>
                    <a:pt x="5004" y="21392"/>
                    <a:pt x="5141" y="21355"/>
                  </a:cubicBezTo>
                  <a:cubicBezTo>
                    <a:pt x="5209" y="21355"/>
                    <a:pt x="5141" y="21317"/>
                    <a:pt x="5209" y="21317"/>
                  </a:cubicBezTo>
                  <a:cubicBezTo>
                    <a:pt x="5209" y="21317"/>
                    <a:pt x="5209" y="21317"/>
                    <a:pt x="5345" y="21280"/>
                  </a:cubicBezTo>
                  <a:cubicBezTo>
                    <a:pt x="5481" y="21243"/>
                    <a:pt x="5413" y="21243"/>
                    <a:pt x="5413" y="21205"/>
                  </a:cubicBezTo>
                  <a:cubicBezTo>
                    <a:pt x="5413" y="21205"/>
                    <a:pt x="5277" y="21168"/>
                    <a:pt x="5209" y="21205"/>
                  </a:cubicBezTo>
                  <a:close/>
                  <a:moveTo>
                    <a:pt x="3437" y="21392"/>
                  </a:moveTo>
                  <a:cubicBezTo>
                    <a:pt x="3437" y="21392"/>
                    <a:pt x="3437" y="21392"/>
                    <a:pt x="3437" y="21392"/>
                  </a:cubicBezTo>
                  <a:cubicBezTo>
                    <a:pt x="3505" y="21392"/>
                    <a:pt x="3573" y="21355"/>
                    <a:pt x="3641" y="21392"/>
                  </a:cubicBezTo>
                  <a:cubicBezTo>
                    <a:pt x="3710" y="21430"/>
                    <a:pt x="3641" y="21504"/>
                    <a:pt x="3641" y="21504"/>
                  </a:cubicBezTo>
                  <a:cubicBezTo>
                    <a:pt x="3573" y="21542"/>
                    <a:pt x="3505" y="21579"/>
                    <a:pt x="3437" y="21579"/>
                  </a:cubicBezTo>
                  <a:cubicBezTo>
                    <a:pt x="3369" y="21579"/>
                    <a:pt x="3301" y="21579"/>
                    <a:pt x="3233" y="21542"/>
                  </a:cubicBezTo>
                  <a:cubicBezTo>
                    <a:pt x="3233" y="21504"/>
                    <a:pt x="3233" y="21392"/>
                    <a:pt x="3233" y="21392"/>
                  </a:cubicBezTo>
                  <a:cubicBezTo>
                    <a:pt x="3301" y="21392"/>
                    <a:pt x="3437" y="21392"/>
                    <a:pt x="3437" y="21392"/>
                  </a:cubicBezTo>
                  <a:close/>
                  <a:moveTo>
                    <a:pt x="3982" y="20832"/>
                  </a:moveTo>
                  <a:cubicBezTo>
                    <a:pt x="3982" y="20832"/>
                    <a:pt x="3982" y="20832"/>
                    <a:pt x="3982" y="20832"/>
                  </a:cubicBezTo>
                  <a:cubicBezTo>
                    <a:pt x="3982" y="20832"/>
                    <a:pt x="3982" y="20832"/>
                    <a:pt x="3982" y="20832"/>
                  </a:cubicBezTo>
                  <a:cubicBezTo>
                    <a:pt x="3982" y="20832"/>
                    <a:pt x="3982" y="20906"/>
                    <a:pt x="3914" y="20906"/>
                  </a:cubicBezTo>
                  <a:cubicBezTo>
                    <a:pt x="3778" y="20944"/>
                    <a:pt x="3846" y="20832"/>
                    <a:pt x="3846" y="20794"/>
                  </a:cubicBezTo>
                  <a:cubicBezTo>
                    <a:pt x="3846" y="20757"/>
                    <a:pt x="3573" y="20832"/>
                    <a:pt x="3573" y="20832"/>
                  </a:cubicBezTo>
                  <a:cubicBezTo>
                    <a:pt x="3573" y="20832"/>
                    <a:pt x="3573" y="20944"/>
                    <a:pt x="3505" y="20981"/>
                  </a:cubicBezTo>
                  <a:cubicBezTo>
                    <a:pt x="3437" y="20981"/>
                    <a:pt x="3437" y="20981"/>
                    <a:pt x="3369" y="21018"/>
                  </a:cubicBezTo>
                  <a:cubicBezTo>
                    <a:pt x="3301" y="21056"/>
                    <a:pt x="3301" y="21131"/>
                    <a:pt x="3301" y="21131"/>
                  </a:cubicBezTo>
                  <a:cubicBezTo>
                    <a:pt x="3369" y="21168"/>
                    <a:pt x="3505" y="21168"/>
                    <a:pt x="3505" y="21168"/>
                  </a:cubicBezTo>
                  <a:cubicBezTo>
                    <a:pt x="3573" y="21168"/>
                    <a:pt x="3573" y="21168"/>
                    <a:pt x="3778" y="21243"/>
                  </a:cubicBezTo>
                  <a:cubicBezTo>
                    <a:pt x="4050" y="21280"/>
                    <a:pt x="3846" y="21243"/>
                    <a:pt x="4050" y="21243"/>
                  </a:cubicBezTo>
                  <a:cubicBezTo>
                    <a:pt x="4187" y="21243"/>
                    <a:pt x="4118" y="21280"/>
                    <a:pt x="4187" y="21280"/>
                  </a:cubicBezTo>
                  <a:cubicBezTo>
                    <a:pt x="4255" y="21280"/>
                    <a:pt x="4323" y="21355"/>
                    <a:pt x="4391" y="21392"/>
                  </a:cubicBezTo>
                  <a:cubicBezTo>
                    <a:pt x="4527" y="21430"/>
                    <a:pt x="4595" y="21355"/>
                    <a:pt x="4664" y="21355"/>
                  </a:cubicBezTo>
                  <a:cubicBezTo>
                    <a:pt x="4664" y="21317"/>
                    <a:pt x="4800" y="21205"/>
                    <a:pt x="4800" y="21205"/>
                  </a:cubicBezTo>
                  <a:cubicBezTo>
                    <a:pt x="4800" y="21205"/>
                    <a:pt x="4391" y="21131"/>
                    <a:pt x="4391" y="21131"/>
                  </a:cubicBezTo>
                  <a:cubicBezTo>
                    <a:pt x="4323" y="21131"/>
                    <a:pt x="4255" y="21018"/>
                    <a:pt x="4391" y="21018"/>
                  </a:cubicBezTo>
                  <a:cubicBezTo>
                    <a:pt x="4459" y="21018"/>
                    <a:pt x="4459" y="21056"/>
                    <a:pt x="4527" y="21093"/>
                  </a:cubicBezTo>
                  <a:cubicBezTo>
                    <a:pt x="4527" y="21131"/>
                    <a:pt x="4595" y="21131"/>
                    <a:pt x="4664" y="21131"/>
                  </a:cubicBezTo>
                  <a:cubicBezTo>
                    <a:pt x="4732" y="21131"/>
                    <a:pt x="4800" y="21093"/>
                    <a:pt x="4800" y="21056"/>
                  </a:cubicBezTo>
                  <a:cubicBezTo>
                    <a:pt x="4800" y="21018"/>
                    <a:pt x="4732" y="21056"/>
                    <a:pt x="4595" y="20944"/>
                  </a:cubicBezTo>
                  <a:cubicBezTo>
                    <a:pt x="4391" y="20832"/>
                    <a:pt x="4595" y="20869"/>
                    <a:pt x="4664" y="20869"/>
                  </a:cubicBezTo>
                  <a:cubicBezTo>
                    <a:pt x="4664" y="20832"/>
                    <a:pt x="4800" y="20757"/>
                    <a:pt x="4800" y="20757"/>
                  </a:cubicBezTo>
                  <a:cubicBezTo>
                    <a:pt x="4868" y="20719"/>
                    <a:pt x="4664" y="20719"/>
                    <a:pt x="4595" y="20682"/>
                  </a:cubicBezTo>
                  <a:cubicBezTo>
                    <a:pt x="4527" y="20682"/>
                    <a:pt x="4527" y="20682"/>
                    <a:pt x="4527" y="20682"/>
                  </a:cubicBezTo>
                  <a:cubicBezTo>
                    <a:pt x="4527" y="20719"/>
                    <a:pt x="4323" y="20682"/>
                    <a:pt x="4255" y="20645"/>
                  </a:cubicBezTo>
                  <a:cubicBezTo>
                    <a:pt x="4255" y="20645"/>
                    <a:pt x="4255" y="20570"/>
                    <a:pt x="4187" y="20533"/>
                  </a:cubicBezTo>
                  <a:cubicBezTo>
                    <a:pt x="4187" y="20533"/>
                    <a:pt x="4050" y="20533"/>
                    <a:pt x="3914" y="20533"/>
                  </a:cubicBezTo>
                  <a:cubicBezTo>
                    <a:pt x="3778" y="20533"/>
                    <a:pt x="3846" y="20645"/>
                    <a:pt x="3846" y="20645"/>
                  </a:cubicBezTo>
                  <a:cubicBezTo>
                    <a:pt x="3846" y="20645"/>
                    <a:pt x="3914" y="20719"/>
                    <a:pt x="3982" y="20757"/>
                  </a:cubicBezTo>
                  <a:cubicBezTo>
                    <a:pt x="3982" y="20757"/>
                    <a:pt x="3982" y="20832"/>
                    <a:pt x="3982" y="20832"/>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5" name="Shape 2268">
              <a:extLst>
                <a:ext uri="{FF2B5EF4-FFF2-40B4-BE49-F238E27FC236}">
                  <a16:creationId xmlns:a16="http://schemas.microsoft.com/office/drawing/2014/main" id="{000C99EE-DCF5-08F1-1004-9D3984B0703D}"/>
                </a:ext>
              </a:extLst>
            </p:cNvPr>
            <p:cNvSpPr/>
            <p:nvPr/>
          </p:nvSpPr>
          <p:spPr>
            <a:xfrm>
              <a:off x="9136610" y="2943095"/>
              <a:ext cx="2115639" cy="2603878"/>
            </a:xfrm>
            <a:custGeom>
              <a:avLst/>
              <a:gdLst/>
              <a:ahLst/>
              <a:cxnLst>
                <a:cxn ang="0">
                  <a:pos x="wd2" y="hd2"/>
                </a:cxn>
                <a:cxn ang="5400000">
                  <a:pos x="wd2" y="hd2"/>
                </a:cxn>
                <a:cxn ang="10800000">
                  <a:pos x="wd2" y="hd2"/>
                </a:cxn>
                <a:cxn ang="16200000">
                  <a:pos x="wd2" y="hd2"/>
                </a:cxn>
              </a:cxnLst>
              <a:rect l="0" t="0" r="r" b="b"/>
              <a:pathLst>
                <a:path w="21600" h="21600" extrusionOk="0">
                  <a:moveTo>
                    <a:pt x="6358" y="14632"/>
                  </a:moveTo>
                  <a:cubicBezTo>
                    <a:pt x="7621" y="14002"/>
                    <a:pt x="7621" y="14002"/>
                    <a:pt x="7621" y="14002"/>
                  </a:cubicBezTo>
                  <a:cubicBezTo>
                    <a:pt x="9137" y="13106"/>
                    <a:pt x="9137" y="13106"/>
                    <a:pt x="9137" y="13106"/>
                  </a:cubicBezTo>
                  <a:cubicBezTo>
                    <a:pt x="10779" y="13040"/>
                    <a:pt x="10779" y="13040"/>
                    <a:pt x="10779" y="13040"/>
                  </a:cubicBezTo>
                  <a:cubicBezTo>
                    <a:pt x="11200" y="13106"/>
                    <a:pt x="11326" y="13338"/>
                    <a:pt x="12084" y="12874"/>
                  </a:cubicBezTo>
                  <a:cubicBezTo>
                    <a:pt x="12884" y="13305"/>
                    <a:pt x="12884" y="13305"/>
                    <a:pt x="12884" y="13305"/>
                  </a:cubicBezTo>
                  <a:cubicBezTo>
                    <a:pt x="13389" y="14101"/>
                    <a:pt x="13389" y="14101"/>
                    <a:pt x="13389" y="14101"/>
                  </a:cubicBezTo>
                  <a:cubicBezTo>
                    <a:pt x="13642" y="15263"/>
                    <a:pt x="13642" y="15263"/>
                    <a:pt x="13642" y="15263"/>
                  </a:cubicBezTo>
                  <a:cubicBezTo>
                    <a:pt x="14821" y="15263"/>
                    <a:pt x="14821" y="15263"/>
                    <a:pt x="14821" y="15263"/>
                  </a:cubicBezTo>
                  <a:cubicBezTo>
                    <a:pt x="15621" y="14997"/>
                    <a:pt x="15621" y="14997"/>
                    <a:pt x="15621" y="14997"/>
                  </a:cubicBezTo>
                  <a:cubicBezTo>
                    <a:pt x="16168" y="15362"/>
                    <a:pt x="16042" y="15229"/>
                    <a:pt x="16168" y="15528"/>
                  </a:cubicBezTo>
                  <a:cubicBezTo>
                    <a:pt x="15663" y="15860"/>
                    <a:pt x="15747" y="15794"/>
                    <a:pt x="15158" y="16059"/>
                  </a:cubicBezTo>
                  <a:cubicBezTo>
                    <a:pt x="14905" y="16855"/>
                    <a:pt x="14905" y="16855"/>
                    <a:pt x="14905" y="16855"/>
                  </a:cubicBezTo>
                  <a:cubicBezTo>
                    <a:pt x="14611" y="16888"/>
                    <a:pt x="14611" y="16888"/>
                    <a:pt x="14611" y="16888"/>
                  </a:cubicBezTo>
                  <a:cubicBezTo>
                    <a:pt x="14611" y="16092"/>
                    <a:pt x="14526" y="16391"/>
                    <a:pt x="14989" y="15661"/>
                  </a:cubicBezTo>
                  <a:cubicBezTo>
                    <a:pt x="14737" y="15561"/>
                    <a:pt x="14737" y="15561"/>
                    <a:pt x="14737" y="15561"/>
                  </a:cubicBezTo>
                  <a:cubicBezTo>
                    <a:pt x="13474" y="15561"/>
                    <a:pt x="13474" y="15561"/>
                    <a:pt x="13474" y="15561"/>
                  </a:cubicBezTo>
                  <a:cubicBezTo>
                    <a:pt x="12337" y="15561"/>
                    <a:pt x="12884" y="15495"/>
                    <a:pt x="11663" y="15727"/>
                  </a:cubicBezTo>
                  <a:cubicBezTo>
                    <a:pt x="11621" y="15827"/>
                    <a:pt x="11158" y="15694"/>
                    <a:pt x="11074" y="15794"/>
                  </a:cubicBezTo>
                  <a:cubicBezTo>
                    <a:pt x="10526" y="16490"/>
                    <a:pt x="10316" y="16656"/>
                    <a:pt x="11705" y="16988"/>
                  </a:cubicBezTo>
                  <a:cubicBezTo>
                    <a:pt x="11537" y="17353"/>
                    <a:pt x="11537" y="17353"/>
                    <a:pt x="11537" y="17353"/>
                  </a:cubicBezTo>
                  <a:cubicBezTo>
                    <a:pt x="10947" y="17088"/>
                    <a:pt x="11242" y="17154"/>
                    <a:pt x="10316" y="17187"/>
                  </a:cubicBezTo>
                  <a:cubicBezTo>
                    <a:pt x="9726" y="17220"/>
                    <a:pt x="9726" y="17220"/>
                    <a:pt x="9726" y="17220"/>
                  </a:cubicBezTo>
                  <a:cubicBezTo>
                    <a:pt x="9726" y="17618"/>
                    <a:pt x="9726" y="17618"/>
                    <a:pt x="9726" y="17618"/>
                  </a:cubicBezTo>
                  <a:cubicBezTo>
                    <a:pt x="10358" y="17585"/>
                    <a:pt x="10358" y="17585"/>
                    <a:pt x="10358" y="17585"/>
                  </a:cubicBezTo>
                  <a:cubicBezTo>
                    <a:pt x="10947" y="17851"/>
                    <a:pt x="10947" y="17851"/>
                    <a:pt x="10947" y="17851"/>
                  </a:cubicBezTo>
                  <a:cubicBezTo>
                    <a:pt x="11326" y="18182"/>
                    <a:pt x="11326" y="18182"/>
                    <a:pt x="11326" y="18182"/>
                  </a:cubicBezTo>
                  <a:cubicBezTo>
                    <a:pt x="12253" y="18846"/>
                    <a:pt x="12253" y="18846"/>
                    <a:pt x="12253" y="18846"/>
                  </a:cubicBezTo>
                  <a:cubicBezTo>
                    <a:pt x="12379" y="19443"/>
                    <a:pt x="12379" y="19443"/>
                    <a:pt x="12379" y="19443"/>
                  </a:cubicBezTo>
                  <a:cubicBezTo>
                    <a:pt x="12884" y="19377"/>
                    <a:pt x="12842" y="19344"/>
                    <a:pt x="13305" y="19510"/>
                  </a:cubicBezTo>
                  <a:cubicBezTo>
                    <a:pt x="14063" y="19775"/>
                    <a:pt x="14189" y="19676"/>
                    <a:pt x="15074" y="19543"/>
                  </a:cubicBezTo>
                  <a:cubicBezTo>
                    <a:pt x="15242" y="19841"/>
                    <a:pt x="15242" y="19841"/>
                    <a:pt x="15242" y="19841"/>
                  </a:cubicBezTo>
                  <a:cubicBezTo>
                    <a:pt x="15242" y="20505"/>
                    <a:pt x="15242" y="20505"/>
                    <a:pt x="15242" y="20505"/>
                  </a:cubicBezTo>
                  <a:cubicBezTo>
                    <a:pt x="15368" y="21102"/>
                    <a:pt x="15368" y="21102"/>
                    <a:pt x="15368" y="21102"/>
                  </a:cubicBezTo>
                  <a:cubicBezTo>
                    <a:pt x="16042" y="20771"/>
                    <a:pt x="16042" y="20771"/>
                    <a:pt x="16042" y="20771"/>
                  </a:cubicBezTo>
                  <a:cubicBezTo>
                    <a:pt x="16337" y="20406"/>
                    <a:pt x="16337" y="20406"/>
                    <a:pt x="16337" y="20406"/>
                  </a:cubicBezTo>
                  <a:cubicBezTo>
                    <a:pt x="17389" y="20140"/>
                    <a:pt x="17389" y="20140"/>
                    <a:pt x="17389" y="20140"/>
                  </a:cubicBezTo>
                  <a:cubicBezTo>
                    <a:pt x="18611" y="20206"/>
                    <a:pt x="18611" y="20206"/>
                    <a:pt x="18611" y="20206"/>
                  </a:cubicBezTo>
                  <a:cubicBezTo>
                    <a:pt x="18611" y="20240"/>
                    <a:pt x="20084" y="20970"/>
                    <a:pt x="20295" y="21135"/>
                  </a:cubicBezTo>
                  <a:cubicBezTo>
                    <a:pt x="20463" y="21301"/>
                    <a:pt x="20716" y="21600"/>
                    <a:pt x="20716" y="21600"/>
                  </a:cubicBezTo>
                  <a:cubicBezTo>
                    <a:pt x="21516" y="21434"/>
                    <a:pt x="21516" y="21434"/>
                    <a:pt x="21516" y="21434"/>
                  </a:cubicBezTo>
                  <a:cubicBezTo>
                    <a:pt x="21600" y="21368"/>
                    <a:pt x="21600" y="21368"/>
                    <a:pt x="21600" y="21368"/>
                  </a:cubicBezTo>
                  <a:cubicBezTo>
                    <a:pt x="21600" y="20505"/>
                    <a:pt x="21600" y="20505"/>
                    <a:pt x="21600" y="20505"/>
                  </a:cubicBezTo>
                  <a:cubicBezTo>
                    <a:pt x="18905" y="15429"/>
                    <a:pt x="18905" y="15429"/>
                    <a:pt x="18905" y="15429"/>
                  </a:cubicBezTo>
                  <a:cubicBezTo>
                    <a:pt x="21600" y="14466"/>
                    <a:pt x="21600" y="14466"/>
                    <a:pt x="21600" y="14466"/>
                  </a:cubicBezTo>
                  <a:cubicBezTo>
                    <a:pt x="21600" y="5408"/>
                    <a:pt x="21600" y="5408"/>
                    <a:pt x="21600" y="5408"/>
                  </a:cubicBezTo>
                  <a:cubicBezTo>
                    <a:pt x="21474" y="5408"/>
                    <a:pt x="21305" y="5441"/>
                    <a:pt x="21095" y="5441"/>
                  </a:cubicBezTo>
                  <a:cubicBezTo>
                    <a:pt x="20800" y="5840"/>
                    <a:pt x="20800" y="5840"/>
                    <a:pt x="20800" y="5840"/>
                  </a:cubicBezTo>
                  <a:cubicBezTo>
                    <a:pt x="18653" y="5541"/>
                    <a:pt x="18653" y="5541"/>
                    <a:pt x="18653" y="5541"/>
                  </a:cubicBezTo>
                  <a:cubicBezTo>
                    <a:pt x="17937" y="5209"/>
                    <a:pt x="17937" y="5209"/>
                    <a:pt x="17937" y="5209"/>
                  </a:cubicBezTo>
                  <a:cubicBezTo>
                    <a:pt x="17389" y="5508"/>
                    <a:pt x="17516" y="5375"/>
                    <a:pt x="17053" y="5773"/>
                  </a:cubicBezTo>
                  <a:cubicBezTo>
                    <a:pt x="15789" y="5508"/>
                    <a:pt x="15789" y="5508"/>
                    <a:pt x="15789" y="5508"/>
                  </a:cubicBezTo>
                  <a:cubicBezTo>
                    <a:pt x="14989" y="5806"/>
                    <a:pt x="14989" y="5806"/>
                    <a:pt x="14989" y="5806"/>
                  </a:cubicBezTo>
                  <a:cubicBezTo>
                    <a:pt x="14063" y="6536"/>
                    <a:pt x="14063" y="6536"/>
                    <a:pt x="14063" y="6536"/>
                  </a:cubicBezTo>
                  <a:cubicBezTo>
                    <a:pt x="12505" y="6470"/>
                    <a:pt x="12505" y="6470"/>
                    <a:pt x="12505" y="6470"/>
                  </a:cubicBezTo>
                  <a:cubicBezTo>
                    <a:pt x="12168" y="6105"/>
                    <a:pt x="12168" y="6105"/>
                    <a:pt x="12168" y="6105"/>
                  </a:cubicBezTo>
                  <a:cubicBezTo>
                    <a:pt x="12084" y="6437"/>
                    <a:pt x="12084" y="6437"/>
                    <a:pt x="12084" y="6437"/>
                  </a:cubicBezTo>
                  <a:cubicBezTo>
                    <a:pt x="12421" y="6769"/>
                    <a:pt x="12421" y="6769"/>
                    <a:pt x="12421" y="6769"/>
                  </a:cubicBezTo>
                  <a:cubicBezTo>
                    <a:pt x="11832" y="7001"/>
                    <a:pt x="11832" y="7001"/>
                    <a:pt x="11832" y="7001"/>
                  </a:cubicBezTo>
                  <a:cubicBezTo>
                    <a:pt x="11621" y="6536"/>
                    <a:pt x="11621" y="6536"/>
                    <a:pt x="11621" y="6536"/>
                  </a:cubicBezTo>
                  <a:cubicBezTo>
                    <a:pt x="11116" y="6039"/>
                    <a:pt x="11116" y="6039"/>
                    <a:pt x="11116" y="6039"/>
                  </a:cubicBezTo>
                  <a:cubicBezTo>
                    <a:pt x="10358" y="5906"/>
                    <a:pt x="10358" y="5906"/>
                    <a:pt x="10358" y="5906"/>
                  </a:cubicBezTo>
                  <a:cubicBezTo>
                    <a:pt x="9937" y="5674"/>
                    <a:pt x="9937" y="5674"/>
                    <a:pt x="9937" y="5674"/>
                  </a:cubicBezTo>
                  <a:cubicBezTo>
                    <a:pt x="9853" y="5641"/>
                    <a:pt x="8295" y="5773"/>
                    <a:pt x="8000" y="5806"/>
                  </a:cubicBezTo>
                  <a:cubicBezTo>
                    <a:pt x="7621" y="5607"/>
                    <a:pt x="7579" y="5607"/>
                    <a:pt x="7158" y="5441"/>
                  </a:cubicBezTo>
                  <a:cubicBezTo>
                    <a:pt x="6737" y="5707"/>
                    <a:pt x="6737" y="5707"/>
                    <a:pt x="6737" y="5707"/>
                  </a:cubicBezTo>
                  <a:cubicBezTo>
                    <a:pt x="6737" y="5707"/>
                    <a:pt x="6526" y="6006"/>
                    <a:pt x="6189" y="6006"/>
                  </a:cubicBezTo>
                  <a:cubicBezTo>
                    <a:pt x="5811" y="6006"/>
                    <a:pt x="5853" y="5607"/>
                    <a:pt x="5853" y="5607"/>
                  </a:cubicBezTo>
                  <a:cubicBezTo>
                    <a:pt x="5305" y="5674"/>
                    <a:pt x="5305" y="5674"/>
                    <a:pt x="5305" y="5674"/>
                  </a:cubicBezTo>
                  <a:cubicBezTo>
                    <a:pt x="4589" y="6470"/>
                    <a:pt x="4589" y="6470"/>
                    <a:pt x="4589" y="6470"/>
                  </a:cubicBezTo>
                  <a:cubicBezTo>
                    <a:pt x="3705" y="7067"/>
                    <a:pt x="3705" y="7067"/>
                    <a:pt x="3705" y="7067"/>
                  </a:cubicBezTo>
                  <a:cubicBezTo>
                    <a:pt x="3200" y="7665"/>
                    <a:pt x="3200" y="7665"/>
                    <a:pt x="3200" y="7665"/>
                  </a:cubicBezTo>
                  <a:cubicBezTo>
                    <a:pt x="2232" y="7963"/>
                    <a:pt x="2232" y="7963"/>
                    <a:pt x="2232" y="7963"/>
                  </a:cubicBezTo>
                  <a:cubicBezTo>
                    <a:pt x="2274" y="8229"/>
                    <a:pt x="2274" y="8229"/>
                    <a:pt x="2274" y="8229"/>
                  </a:cubicBezTo>
                  <a:cubicBezTo>
                    <a:pt x="3242" y="8892"/>
                    <a:pt x="3242" y="8892"/>
                    <a:pt x="3242" y="8892"/>
                  </a:cubicBezTo>
                  <a:cubicBezTo>
                    <a:pt x="2568" y="9257"/>
                    <a:pt x="2568" y="9257"/>
                    <a:pt x="2568" y="9257"/>
                  </a:cubicBezTo>
                  <a:cubicBezTo>
                    <a:pt x="1558" y="8428"/>
                    <a:pt x="1937" y="9058"/>
                    <a:pt x="674" y="8295"/>
                  </a:cubicBezTo>
                  <a:cubicBezTo>
                    <a:pt x="463" y="8892"/>
                    <a:pt x="421" y="8726"/>
                    <a:pt x="547" y="9224"/>
                  </a:cubicBezTo>
                  <a:cubicBezTo>
                    <a:pt x="0" y="9523"/>
                    <a:pt x="0" y="9523"/>
                    <a:pt x="0" y="9523"/>
                  </a:cubicBezTo>
                  <a:cubicBezTo>
                    <a:pt x="295" y="10418"/>
                    <a:pt x="84" y="10120"/>
                    <a:pt x="800" y="10717"/>
                  </a:cubicBezTo>
                  <a:cubicBezTo>
                    <a:pt x="379" y="11414"/>
                    <a:pt x="463" y="11115"/>
                    <a:pt x="505" y="11945"/>
                  </a:cubicBezTo>
                  <a:cubicBezTo>
                    <a:pt x="1474" y="12177"/>
                    <a:pt x="1474" y="12177"/>
                    <a:pt x="1474" y="12177"/>
                  </a:cubicBezTo>
                  <a:cubicBezTo>
                    <a:pt x="1726" y="12641"/>
                    <a:pt x="1726" y="12641"/>
                    <a:pt x="1726" y="12641"/>
                  </a:cubicBezTo>
                  <a:cubicBezTo>
                    <a:pt x="2358" y="12874"/>
                    <a:pt x="2358" y="12874"/>
                    <a:pt x="2358" y="12874"/>
                  </a:cubicBezTo>
                  <a:cubicBezTo>
                    <a:pt x="2989" y="12542"/>
                    <a:pt x="2989" y="12542"/>
                    <a:pt x="2989" y="12542"/>
                  </a:cubicBezTo>
                  <a:cubicBezTo>
                    <a:pt x="3916" y="12907"/>
                    <a:pt x="3916" y="12907"/>
                    <a:pt x="3916" y="12907"/>
                  </a:cubicBezTo>
                  <a:cubicBezTo>
                    <a:pt x="5137" y="13637"/>
                    <a:pt x="5137" y="13637"/>
                    <a:pt x="5137" y="13637"/>
                  </a:cubicBezTo>
                  <a:cubicBezTo>
                    <a:pt x="5853" y="14334"/>
                    <a:pt x="5853" y="14334"/>
                    <a:pt x="5853" y="14334"/>
                  </a:cubicBezTo>
                  <a:cubicBezTo>
                    <a:pt x="5432" y="14068"/>
                    <a:pt x="5432" y="14068"/>
                    <a:pt x="5432" y="14068"/>
                  </a:cubicBezTo>
                  <a:cubicBezTo>
                    <a:pt x="5179" y="14168"/>
                    <a:pt x="5179" y="14168"/>
                    <a:pt x="5179" y="14168"/>
                  </a:cubicBezTo>
                  <a:cubicBezTo>
                    <a:pt x="5347" y="14400"/>
                    <a:pt x="5347" y="14400"/>
                    <a:pt x="5347" y="14400"/>
                  </a:cubicBezTo>
                  <a:cubicBezTo>
                    <a:pt x="6358" y="14632"/>
                    <a:pt x="6358" y="14632"/>
                    <a:pt x="6358" y="14632"/>
                  </a:cubicBezTo>
                  <a:close/>
                  <a:moveTo>
                    <a:pt x="21600" y="0"/>
                  </a:moveTo>
                  <a:cubicBezTo>
                    <a:pt x="21600" y="0"/>
                    <a:pt x="21600" y="0"/>
                    <a:pt x="21600" y="0"/>
                  </a:cubicBezTo>
                  <a:cubicBezTo>
                    <a:pt x="21011" y="166"/>
                    <a:pt x="21011" y="166"/>
                    <a:pt x="21011" y="166"/>
                  </a:cubicBezTo>
                  <a:cubicBezTo>
                    <a:pt x="20926" y="166"/>
                    <a:pt x="19747" y="33"/>
                    <a:pt x="19789" y="332"/>
                  </a:cubicBezTo>
                  <a:cubicBezTo>
                    <a:pt x="19832" y="498"/>
                    <a:pt x="20042" y="531"/>
                    <a:pt x="20042" y="531"/>
                  </a:cubicBezTo>
                  <a:cubicBezTo>
                    <a:pt x="20589" y="929"/>
                    <a:pt x="20589" y="929"/>
                    <a:pt x="20589" y="929"/>
                  </a:cubicBezTo>
                  <a:cubicBezTo>
                    <a:pt x="20547" y="1161"/>
                    <a:pt x="20547" y="1161"/>
                    <a:pt x="20547" y="1161"/>
                  </a:cubicBezTo>
                  <a:cubicBezTo>
                    <a:pt x="20884" y="1228"/>
                    <a:pt x="20884" y="1228"/>
                    <a:pt x="20884" y="1228"/>
                  </a:cubicBezTo>
                  <a:cubicBezTo>
                    <a:pt x="21600" y="1228"/>
                    <a:pt x="21600" y="1228"/>
                    <a:pt x="21600" y="1228"/>
                  </a:cubicBezTo>
                  <a:cubicBezTo>
                    <a:pt x="21600" y="0"/>
                    <a:pt x="21600" y="0"/>
                    <a:pt x="21600" y="0"/>
                  </a:cubicBezTo>
                  <a:close/>
                  <a:moveTo>
                    <a:pt x="21600" y="1626"/>
                  </a:moveTo>
                  <a:cubicBezTo>
                    <a:pt x="21600" y="1626"/>
                    <a:pt x="21600" y="1626"/>
                    <a:pt x="21600" y="1626"/>
                  </a:cubicBezTo>
                  <a:cubicBezTo>
                    <a:pt x="21179" y="1659"/>
                    <a:pt x="20716" y="1725"/>
                    <a:pt x="20632" y="1759"/>
                  </a:cubicBezTo>
                  <a:cubicBezTo>
                    <a:pt x="20168" y="2157"/>
                    <a:pt x="20168" y="2157"/>
                    <a:pt x="20168" y="2157"/>
                  </a:cubicBezTo>
                  <a:cubicBezTo>
                    <a:pt x="20716" y="2721"/>
                    <a:pt x="20716" y="2721"/>
                    <a:pt x="20716" y="2721"/>
                  </a:cubicBezTo>
                  <a:cubicBezTo>
                    <a:pt x="20674" y="3086"/>
                    <a:pt x="20674" y="3086"/>
                    <a:pt x="20674" y="3086"/>
                  </a:cubicBezTo>
                  <a:cubicBezTo>
                    <a:pt x="20211" y="3351"/>
                    <a:pt x="20211" y="3351"/>
                    <a:pt x="20211" y="3351"/>
                  </a:cubicBezTo>
                  <a:cubicBezTo>
                    <a:pt x="20589" y="3650"/>
                    <a:pt x="20589" y="3650"/>
                    <a:pt x="20589" y="3650"/>
                  </a:cubicBezTo>
                  <a:cubicBezTo>
                    <a:pt x="21263" y="3650"/>
                    <a:pt x="21263" y="3650"/>
                    <a:pt x="21263" y="3650"/>
                  </a:cubicBezTo>
                  <a:cubicBezTo>
                    <a:pt x="21600" y="3849"/>
                    <a:pt x="21600" y="3849"/>
                    <a:pt x="21600" y="3849"/>
                  </a:cubicBezTo>
                  <a:lnTo>
                    <a:pt x="21600" y="1626"/>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grpSp>
      <p:sp>
        <p:nvSpPr>
          <p:cNvPr id="447" name="Text Placeholder 10">
            <a:extLst>
              <a:ext uri="{FF2B5EF4-FFF2-40B4-BE49-F238E27FC236}">
                <a16:creationId xmlns:a16="http://schemas.microsoft.com/office/drawing/2014/main" id="{07EE2AF5-29C5-B465-E411-00CDA15D3BBF}"/>
              </a:ext>
            </a:extLst>
          </p:cNvPr>
          <p:cNvSpPr>
            <a:spLocks noGrp="1"/>
          </p:cNvSpPr>
          <p:nvPr>
            <p:ph type="body" sz="quarter" idx="17" hasCustomPrompt="1"/>
          </p:nvPr>
        </p:nvSpPr>
        <p:spPr>
          <a:xfrm>
            <a:off x="469362" y="2491705"/>
            <a:ext cx="3794824" cy="276999"/>
          </a:xfrm>
        </p:spPr>
        <p:txBody>
          <a:bodyPr/>
          <a:lstStyle>
            <a:lvl1pPr algn="l">
              <a:defRPr sz="1800" b="1"/>
            </a:lvl1pPr>
          </a:lstStyle>
          <a:p>
            <a:r>
              <a:rPr lang="en-US"/>
              <a:t>Subtitle Here</a:t>
            </a:r>
          </a:p>
        </p:txBody>
      </p:sp>
      <p:sp>
        <p:nvSpPr>
          <p:cNvPr id="449" name="Text Placeholder 10">
            <a:extLst>
              <a:ext uri="{FF2B5EF4-FFF2-40B4-BE49-F238E27FC236}">
                <a16:creationId xmlns:a16="http://schemas.microsoft.com/office/drawing/2014/main" id="{068F4535-A7FF-0DA7-2180-6FF07B287019}"/>
              </a:ext>
            </a:extLst>
          </p:cNvPr>
          <p:cNvSpPr>
            <a:spLocks noGrp="1"/>
          </p:cNvSpPr>
          <p:nvPr>
            <p:ph type="body" sz="quarter" idx="19" hasCustomPrompt="1"/>
          </p:nvPr>
        </p:nvSpPr>
        <p:spPr>
          <a:xfrm>
            <a:off x="469362" y="4454745"/>
            <a:ext cx="3794824" cy="276999"/>
          </a:xfrm>
        </p:spPr>
        <p:txBody>
          <a:bodyPr/>
          <a:lstStyle>
            <a:lvl1pPr algn="l">
              <a:defRPr sz="1800" b="1"/>
            </a:lvl1pPr>
          </a:lstStyle>
          <a:p>
            <a:r>
              <a:rPr lang="en-US"/>
              <a:t>Subtitle Here</a:t>
            </a:r>
          </a:p>
        </p:txBody>
      </p:sp>
      <p:sp>
        <p:nvSpPr>
          <p:cNvPr id="450" name="Inhaltsplatzhalter 18">
            <a:extLst>
              <a:ext uri="{FF2B5EF4-FFF2-40B4-BE49-F238E27FC236}">
                <a16:creationId xmlns:a16="http://schemas.microsoft.com/office/drawing/2014/main" id="{D837D0DF-CF2E-4004-8BBF-C8A9E52C3ED6}"/>
              </a:ext>
            </a:extLst>
          </p:cNvPr>
          <p:cNvSpPr>
            <a:spLocks noGrp="1"/>
          </p:cNvSpPr>
          <p:nvPr>
            <p:ph sz="quarter" idx="13" hasCustomPrompt="1"/>
          </p:nvPr>
        </p:nvSpPr>
        <p:spPr>
          <a:xfrm>
            <a:off x="442913" y="1019618"/>
            <a:ext cx="3833417" cy="246221"/>
          </a:xfrm>
        </p:spPr>
        <p:txBody>
          <a:bodyPr wrap="square">
            <a:spAutoFit/>
          </a:bodyPr>
          <a:lstStyle>
            <a:lvl1pP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2" name="Inhaltsplatzhalter 18">
            <a:extLst>
              <a:ext uri="{FF2B5EF4-FFF2-40B4-BE49-F238E27FC236}">
                <a16:creationId xmlns:a16="http://schemas.microsoft.com/office/drawing/2014/main" id="{20A832E0-AB61-133F-F6C2-64318AA889AE}"/>
              </a:ext>
            </a:extLst>
          </p:cNvPr>
          <p:cNvSpPr>
            <a:spLocks noGrp="1"/>
          </p:cNvSpPr>
          <p:nvPr>
            <p:ph sz="quarter" idx="20"/>
          </p:nvPr>
        </p:nvSpPr>
        <p:spPr>
          <a:xfrm>
            <a:off x="442914" y="4783873"/>
            <a:ext cx="3833416" cy="1450802"/>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Inhaltsplatzhalter 18">
            <a:extLst>
              <a:ext uri="{FF2B5EF4-FFF2-40B4-BE49-F238E27FC236}">
                <a16:creationId xmlns:a16="http://schemas.microsoft.com/office/drawing/2014/main" id="{4B03C63A-9DDE-6AF8-E18B-79260B7DBA16}"/>
              </a:ext>
            </a:extLst>
          </p:cNvPr>
          <p:cNvSpPr>
            <a:spLocks noGrp="1"/>
          </p:cNvSpPr>
          <p:nvPr>
            <p:ph sz="quarter" idx="21"/>
          </p:nvPr>
        </p:nvSpPr>
        <p:spPr>
          <a:xfrm>
            <a:off x="442914" y="2855292"/>
            <a:ext cx="3833416" cy="1450802"/>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864501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ap of U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9" name="Titel 9">
            <a:extLst>
              <a:ext uri="{FF2B5EF4-FFF2-40B4-BE49-F238E27FC236}">
                <a16:creationId xmlns:a16="http://schemas.microsoft.com/office/drawing/2014/main" id="{295DA8E0-4343-9FDD-2E84-482A1D3AF773}"/>
              </a:ext>
            </a:extLst>
          </p:cNvPr>
          <p:cNvSpPr>
            <a:spLocks noGrp="1"/>
          </p:cNvSpPr>
          <p:nvPr>
            <p:ph type="title" hasCustomPrompt="1"/>
          </p:nvPr>
        </p:nvSpPr>
        <p:spPr>
          <a:xfrm>
            <a:off x="472546" y="466804"/>
            <a:ext cx="3791640" cy="505844"/>
          </a:xfrm>
        </p:spPr>
        <p:txBody>
          <a:bodyPr vert="horz"/>
          <a:lstStyle>
            <a:lvl1pPr algn="l" rtl="0">
              <a:defRPr>
                <a:solidFill>
                  <a:schemeClr val="tx1"/>
                </a:solidFill>
                <a:latin typeface="Aleo" pitchFamily="2" charset="77"/>
              </a:defRPr>
            </a:lvl1pPr>
          </a:lstStyle>
          <a:p>
            <a:r>
              <a:rPr lang="en-US"/>
              <a:t>Map of US</a:t>
            </a:r>
          </a:p>
        </p:txBody>
      </p:sp>
      <p:sp>
        <p:nvSpPr>
          <p:cNvPr id="447" name="Text Placeholder 10">
            <a:extLst>
              <a:ext uri="{FF2B5EF4-FFF2-40B4-BE49-F238E27FC236}">
                <a16:creationId xmlns:a16="http://schemas.microsoft.com/office/drawing/2014/main" id="{07EE2AF5-29C5-B465-E411-00CDA15D3BBF}"/>
              </a:ext>
            </a:extLst>
          </p:cNvPr>
          <p:cNvSpPr>
            <a:spLocks noGrp="1"/>
          </p:cNvSpPr>
          <p:nvPr>
            <p:ph type="body" sz="quarter" idx="17" hasCustomPrompt="1"/>
          </p:nvPr>
        </p:nvSpPr>
        <p:spPr>
          <a:xfrm>
            <a:off x="469362" y="2491705"/>
            <a:ext cx="3794824" cy="276999"/>
          </a:xfrm>
        </p:spPr>
        <p:txBody>
          <a:bodyPr/>
          <a:lstStyle>
            <a:lvl1pPr algn="l">
              <a:defRPr sz="1800" b="1"/>
            </a:lvl1pPr>
          </a:lstStyle>
          <a:p>
            <a:r>
              <a:rPr lang="en-US"/>
              <a:t>Subtitle Here</a:t>
            </a:r>
          </a:p>
        </p:txBody>
      </p:sp>
      <p:sp>
        <p:nvSpPr>
          <p:cNvPr id="449" name="Text Placeholder 10">
            <a:extLst>
              <a:ext uri="{FF2B5EF4-FFF2-40B4-BE49-F238E27FC236}">
                <a16:creationId xmlns:a16="http://schemas.microsoft.com/office/drawing/2014/main" id="{068F4535-A7FF-0DA7-2180-6FF07B287019}"/>
              </a:ext>
            </a:extLst>
          </p:cNvPr>
          <p:cNvSpPr>
            <a:spLocks noGrp="1"/>
          </p:cNvSpPr>
          <p:nvPr>
            <p:ph type="body" sz="quarter" idx="19" hasCustomPrompt="1"/>
          </p:nvPr>
        </p:nvSpPr>
        <p:spPr>
          <a:xfrm>
            <a:off x="469362" y="4454745"/>
            <a:ext cx="3794824" cy="276999"/>
          </a:xfrm>
        </p:spPr>
        <p:txBody>
          <a:bodyPr/>
          <a:lstStyle>
            <a:lvl1pPr algn="l">
              <a:defRPr sz="1800" b="1"/>
            </a:lvl1pPr>
          </a:lstStyle>
          <a:p>
            <a:r>
              <a:rPr lang="en-US"/>
              <a:t>Subtitle Here</a:t>
            </a:r>
          </a:p>
        </p:txBody>
      </p:sp>
      <p:sp>
        <p:nvSpPr>
          <p:cNvPr id="450" name="Inhaltsplatzhalter 18">
            <a:extLst>
              <a:ext uri="{FF2B5EF4-FFF2-40B4-BE49-F238E27FC236}">
                <a16:creationId xmlns:a16="http://schemas.microsoft.com/office/drawing/2014/main" id="{D837D0DF-CF2E-4004-8BBF-C8A9E52C3ED6}"/>
              </a:ext>
            </a:extLst>
          </p:cNvPr>
          <p:cNvSpPr>
            <a:spLocks noGrp="1"/>
          </p:cNvSpPr>
          <p:nvPr>
            <p:ph sz="quarter" idx="13" hasCustomPrompt="1"/>
          </p:nvPr>
        </p:nvSpPr>
        <p:spPr>
          <a:xfrm>
            <a:off x="442913" y="1019618"/>
            <a:ext cx="3833417" cy="246221"/>
          </a:xfrm>
        </p:spPr>
        <p:txBody>
          <a:bodyPr wrap="square">
            <a:spAutoFit/>
          </a:bodyPr>
          <a:lstStyle>
            <a:lvl1pP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grpSp>
        <p:nvGrpSpPr>
          <p:cNvPr id="2" name="Group 2331">
            <a:extLst>
              <a:ext uri="{FF2B5EF4-FFF2-40B4-BE49-F238E27FC236}">
                <a16:creationId xmlns:a16="http://schemas.microsoft.com/office/drawing/2014/main" id="{90A69069-878D-64E0-97B9-8CE1B71A201A}"/>
              </a:ext>
            </a:extLst>
          </p:cNvPr>
          <p:cNvGrpSpPr/>
          <p:nvPr userDrawn="1"/>
        </p:nvGrpSpPr>
        <p:grpSpPr>
          <a:xfrm>
            <a:off x="4850296" y="1265839"/>
            <a:ext cx="7159779" cy="4680745"/>
            <a:chOff x="0" y="0"/>
            <a:chExt cx="10014356" cy="6546940"/>
          </a:xfrm>
          <a:solidFill>
            <a:schemeClr val="accent5"/>
          </a:solidFill>
        </p:grpSpPr>
        <p:sp>
          <p:nvSpPr>
            <p:cNvPr id="5" name="Shape 2280">
              <a:extLst>
                <a:ext uri="{FF2B5EF4-FFF2-40B4-BE49-F238E27FC236}">
                  <a16:creationId xmlns:a16="http://schemas.microsoft.com/office/drawing/2014/main" id="{BA119A05-CC83-46E9-8F4C-BACBDCF35D0D}"/>
                </a:ext>
              </a:extLst>
            </p:cNvPr>
            <p:cNvSpPr/>
            <p:nvPr/>
          </p:nvSpPr>
          <p:spPr>
            <a:xfrm>
              <a:off x="754379" y="0"/>
              <a:ext cx="1248085" cy="926240"/>
            </a:xfrm>
            <a:custGeom>
              <a:avLst/>
              <a:gdLst/>
              <a:ahLst/>
              <a:cxnLst>
                <a:cxn ang="0">
                  <a:pos x="wd2" y="hd2"/>
                </a:cxn>
                <a:cxn ang="5400000">
                  <a:pos x="wd2" y="hd2"/>
                </a:cxn>
                <a:cxn ang="10800000">
                  <a:pos x="wd2" y="hd2"/>
                </a:cxn>
                <a:cxn ang="16200000">
                  <a:pos x="wd2" y="hd2"/>
                </a:cxn>
              </a:cxnLst>
              <a:rect l="0" t="0" r="r" b="b"/>
              <a:pathLst>
                <a:path w="21600" h="21600" extrusionOk="0">
                  <a:moveTo>
                    <a:pt x="21600" y="5343"/>
                  </a:moveTo>
                  <a:cubicBezTo>
                    <a:pt x="21600" y="5343"/>
                    <a:pt x="19583" y="18303"/>
                    <a:pt x="19163" y="18985"/>
                  </a:cubicBezTo>
                  <a:cubicBezTo>
                    <a:pt x="18826" y="19781"/>
                    <a:pt x="19247" y="19554"/>
                    <a:pt x="19247" y="20349"/>
                  </a:cubicBezTo>
                  <a:cubicBezTo>
                    <a:pt x="19247" y="21032"/>
                    <a:pt x="19079" y="21600"/>
                    <a:pt x="19079" y="21600"/>
                  </a:cubicBezTo>
                  <a:cubicBezTo>
                    <a:pt x="13532" y="19667"/>
                    <a:pt x="13532" y="19667"/>
                    <a:pt x="13532" y="19667"/>
                  </a:cubicBezTo>
                  <a:cubicBezTo>
                    <a:pt x="12607" y="19554"/>
                    <a:pt x="12607" y="19554"/>
                    <a:pt x="12607" y="19554"/>
                  </a:cubicBezTo>
                  <a:cubicBezTo>
                    <a:pt x="12271" y="19667"/>
                    <a:pt x="12271" y="19667"/>
                    <a:pt x="12271" y="19667"/>
                  </a:cubicBezTo>
                  <a:cubicBezTo>
                    <a:pt x="11851" y="19554"/>
                    <a:pt x="11851" y="19554"/>
                    <a:pt x="11851" y="19554"/>
                  </a:cubicBezTo>
                  <a:cubicBezTo>
                    <a:pt x="11514" y="19667"/>
                    <a:pt x="11514" y="19667"/>
                    <a:pt x="11514" y="19667"/>
                  </a:cubicBezTo>
                  <a:cubicBezTo>
                    <a:pt x="9077" y="19781"/>
                    <a:pt x="9077" y="19781"/>
                    <a:pt x="9077" y="19781"/>
                  </a:cubicBezTo>
                  <a:cubicBezTo>
                    <a:pt x="8825" y="19554"/>
                    <a:pt x="8825" y="19554"/>
                    <a:pt x="8825" y="19554"/>
                  </a:cubicBezTo>
                  <a:cubicBezTo>
                    <a:pt x="8573" y="19667"/>
                    <a:pt x="8573" y="19667"/>
                    <a:pt x="8573" y="19667"/>
                  </a:cubicBezTo>
                  <a:cubicBezTo>
                    <a:pt x="8321" y="19781"/>
                    <a:pt x="8321" y="19781"/>
                    <a:pt x="8321" y="19781"/>
                  </a:cubicBezTo>
                  <a:cubicBezTo>
                    <a:pt x="8153" y="19781"/>
                    <a:pt x="8153" y="19781"/>
                    <a:pt x="8153" y="19781"/>
                  </a:cubicBezTo>
                  <a:cubicBezTo>
                    <a:pt x="7900" y="19667"/>
                    <a:pt x="7900" y="19667"/>
                    <a:pt x="7900" y="19667"/>
                  </a:cubicBezTo>
                  <a:cubicBezTo>
                    <a:pt x="7900" y="19554"/>
                    <a:pt x="7900" y="19554"/>
                    <a:pt x="7900" y="19554"/>
                  </a:cubicBezTo>
                  <a:cubicBezTo>
                    <a:pt x="7480" y="19554"/>
                    <a:pt x="7480" y="19554"/>
                    <a:pt x="7480" y="19554"/>
                  </a:cubicBezTo>
                  <a:cubicBezTo>
                    <a:pt x="7228" y="19440"/>
                    <a:pt x="7228" y="19440"/>
                    <a:pt x="7228" y="19440"/>
                  </a:cubicBezTo>
                  <a:cubicBezTo>
                    <a:pt x="7144" y="19213"/>
                    <a:pt x="7144" y="19213"/>
                    <a:pt x="7144" y="19213"/>
                  </a:cubicBezTo>
                  <a:cubicBezTo>
                    <a:pt x="7144" y="19099"/>
                    <a:pt x="7144" y="19099"/>
                    <a:pt x="7144" y="19099"/>
                  </a:cubicBezTo>
                  <a:cubicBezTo>
                    <a:pt x="6808" y="18985"/>
                    <a:pt x="6808" y="18985"/>
                    <a:pt x="6808" y="18985"/>
                  </a:cubicBezTo>
                  <a:cubicBezTo>
                    <a:pt x="6135" y="18758"/>
                    <a:pt x="6135" y="18758"/>
                    <a:pt x="6135" y="18758"/>
                  </a:cubicBezTo>
                  <a:cubicBezTo>
                    <a:pt x="5715" y="18531"/>
                    <a:pt x="5715" y="18531"/>
                    <a:pt x="5715" y="18531"/>
                  </a:cubicBezTo>
                  <a:cubicBezTo>
                    <a:pt x="5547" y="18417"/>
                    <a:pt x="5547" y="18417"/>
                    <a:pt x="5547" y="18417"/>
                  </a:cubicBezTo>
                  <a:cubicBezTo>
                    <a:pt x="5043" y="18531"/>
                    <a:pt x="5043" y="18531"/>
                    <a:pt x="5043" y="18531"/>
                  </a:cubicBezTo>
                  <a:cubicBezTo>
                    <a:pt x="4286" y="18758"/>
                    <a:pt x="4286" y="18758"/>
                    <a:pt x="4286" y="18758"/>
                  </a:cubicBezTo>
                  <a:cubicBezTo>
                    <a:pt x="3362" y="18417"/>
                    <a:pt x="3362" y="18417"/>
                    <a:pt x="3362" y="18417"/>
                  </a:cubicBezTo>
                  <a:cubicBezTo>
                    <a:pt x="2774" y="17735"/>
                    <a:pt x="2774" y="17735"/>
                    <a:pt x="2774" y="17735"/>
                  </a:cubicBezTo>
                  <a:cubicBezTo>
                    <a:pt x="2774" y="17735"/>
                    <a:pt x="3026" y="16939"/>
                    <a:pt x="2942" y="15916"/>
                  </a:cubicBezTo>
                  <a:cubicBezTo>
                    <a:pt x="2858" y="14779"/>
                    <a:pt x="2437" y="14552"/>
                    <a:pt x="2437" y="14552"/>
                  </a:cubicBezTo>
                  <a:cubicBezTo>
                    <a:pt x="2017" y="14552"/>
                    <a:pt x="2017" y="14552"/>
                    <a:pt x="2017" y="14552"/>
                  </a:cubicBezTo>
                  <a:cubicBezTo>
                    <a:pt x="1681" y="14324"/>
                    <a:pt x="1681" y="14324"/>
                    <a:pt x="1681" y="14324"/>
                  </a:cubicBezTo>
                  <a:cubicBezTo>
                    <a:pt x="1681" y="14324"/>
                    <a:pt x="1681" y="13642"/>
                    <a:pt x="1261" y="13642"/>
                  </a:cubicBezTo>
                  <a:cubicBezTo>
                    <a:pt x="840" y="13642"/>
                    <a:pt x="840" y="13642"/>
                    <a:pt x="840" y="13642"/>
                  </a:cubicBezTo>
                  <a:cubicBezTo>
                    <a:pt x="336" y="13528"/>
                    <a:pt x="336" y="13528"/>
                    <a:pt x="336" y="13528"/>
                  </a:cubicBezTo>
                  <a:cubicBezTo>
                    <a:pt x="0" y="13187"/>
                    <a:pt x="0" y="13187"/>
                    <a:pt x="0" y="13187"/>
                  </a:cubicBezTo>
                  <a:cubicBezTo>
                    <a:pt x="84" y="12392"/>
                    <a:pt x="84" y="12392"/>
                    <a:pt x="84" y="12392"/>
                  </a:cubicBezTo>
                  <a:cubicBezTo>
                    <a:pt x="252" y="11709"/>
                    <a:pt x="252" y="11709"/>
                    <a:pt x="252" y="11709"/>
                  </a:cubicBezTo>
                  <a:cubicBezTo>
                    <a:pt x="336" y="11596"/>
                    <a:pt x="336" y="11596"/>
                    <a:pt x="336" y="11596"/>
                  </a:cubicBezTo>
                  <a:cubicBezTo>
                    <a:pt x="420" y="11937"/>
                    <a:pt x="420" y="11937"/>
                    <a:pt x="420" y="11937"/>
                  </a:cubicBezTo>
                  <a:cubicBezTo>
                    <a:pt x="504" y="12051"/>
                    <a:pt x="504" y="12051"/>
                    <a:pt x="504" y="12051"/>
                  </a:cubicBezTo>
                  <a:cubicBezTo>
                    <a:pt x="588" y="11937"/>
                    <a:pt x="588" y="11937"/>
                    <a:pt x="588" y="11937"/>
                  </a:cubicBezTo>
                  <a:cubicBezTo>
                    <a:pt x="588" y="11482"/>
                    <a:pt x="588" y="11482"/>
                    <a:pt x="588" y="11482"/>
                  </a:cubicBezTo>
                  <a:cubicBezTo>
                    <a:pt x="925" y="11255"/>
                    <a:pt x="925" y="11255"/>
                    <a:pt x="925" y="11255"/>
                  </a:cubicBezTo>
                  <a:cubicBezTo>
                    <a:pt x="925" y="11141"/>
                    <a:pt x="925" y="11141"/>
                    <a:pt x="925" y="11141"/>
                  </a:cubicBezTo>
                  <a:cubicBezTo>
                    <a:pt x="756" y="10914"/>
                    <a:pt x="756" y="10914"/>
                    <a:pt x="756" y="10914"/>
                  </a:cubicBezTo>
                  <a:cubicBezTo>
                    <a:pt x="672" y="10800"/>
                    <a:pt x="672" y="10800"/>
                    <a:pt x="672" y="10800"/>
                  </a:cubicBezTo>
                  <a:cubicBezTo>
                    <a:pt x="588" y="10004"/>
                    <a:pt x="588" y="10004"/>
                    <a:pt x="588" y="10004"/>
                  </a:cubicBezTo>
                  <a:cubicBezTo>
                    <a:pt x="1177" y="9891"/>
                    <a:pt x="1177" y="9891"/>
                    <a:pt x="1177" y="9891"/>
                  </a:cubicBezTo>
                  <a:cubicBezTo>
                    <a:pt x="1345" y="9663"/>
                    <a:pt x="1345" y="9663"/>
                    <a:pt x="1345" y="9663"/>
                  </a:cubicBezTo>
                  <a:cubicBezTo>
                    <a:pt x="840" y="9095"/>
                    <a:pt x="840" y="9095"/>
                    <a:pt x="840" y="9095"/>
                  </a:cubicBezTo>
                  <a:cubicBezTo>
                    <a:pt x="672" y="8867"/>
                    <a:pt x="672" y="8867"/>
                    <a:pt x="672" y="8867"/>
                  </a:cubicBezTo>
                  <a:cubicBezTo>
                    <a:pt x="504" y="7276"/>
                    <a:pt x="504" y="7276"/>
                    <a:pt x="504" y="7276"/>
                  </a:cubicBezTo>
                  <a:cubicBezTo>
                    <a:pt x="504" y="6821"/>
                    <a:pt x="504" y="6821"/>
                    <a:pt x="504" y="6821"/>
                  </a:cubicBezTo>
                  <a:cubicBezTo>
                    <a:pt x="672" y="6707"/>
                    <a:pt x="672" y="6707"/>
                    <a:pt x="672" y="6707"/>
                  </a:cubicBezTo>
                  <a:cubicBezTo>
                    <a:pt x="672" y="4661"/>
                    <a:pt x="672" y="4661"/>
                    <a:pt x="672" y="4661"/>
                  </a:cubicBezTo>
                  <a:cubicBezTo>
                    <a:pt x="252" y="4206"/>
                    <a:pt x="252" y="4206"/>
                    <a:pt x="252" y="4206"/>
                  </a:cubicBezTo>
                  <a:cubicBezTo>
                    <a:pt x="252" y="2615"/>
                    <a:pt x="252" y="2615"/>
                    <a:pt x="252" y="2615"/>
                  </a:cubicBezTo>
                  <a:cubicBezTo>
                    <a:pt x="672" y="1933"/>
                    <a:pt x="672" y="1933"/>
                    <a:pt x="672" y="1933"/>
                  </a:cubicBezTo>
                  <a:cubicBezTo>
                    <a:pt x="840" y="1137"/>
                    <a:pt x="840" y="1137"/>
                    <a:pt x="840" y="1137"/>
                  </a:cubicBezTo>
                  <a:cubicBezTo>
                    <a:pt x="1765" y="2387"/>
                    <a:pt x="1765" y="2387"/>
                    <a:pt x="1765" y="2387"/>
                  </a:cubicBezTo>
                  <a:cubicBezTo>
                    <a:pt x="2774" y="3411"/>
                    <a:pt x="2774" y="3411"/>
                    <a:pt x="2774" y="3411"/>
                  </a:cubicBezTo>
                  <a:cubicBezTo>
                    <a:pt x="3530" y="3865"/>
                    <a:pt x="3530" y="3865"/>
                    <a:pt x="3530" y="3865"/>
                  </a:cubicBezTo>
                  <a:cubicBezTo>
                    <a:pt x="4118" y="4093"/>
                    <a:pt x="4118" y="4093"/>
                    <a:pt x="4118" y="4093"/>
                  </a:cubicBezTo>
                  <a:cubicBezTo>
                    <a:pt x="4370" y="4093"/>
                    <a:pt x="4370" y="4093"/>
                    <a:pt x="4370" y="4093"/>
                  </a:cubicBezTo>
                  <a:cubicBezTo>
                    <a:pt x="4623" y="4093"/>
                    <a:pt x="4623" y="4093"/>
                    <a:pt x="4623" y="4093"/>
                  </a:cubicBezTo>
                  <a:cubicBezTo>
                    <a:pt x="4791" y="4888"/>
                    <a:pt x="4791" y="4888"/>
                    <a:pt x="4791" y="4888"/>
                  </a:cubicBezTo>
                  <a:cubicBezTo>
                    <a:pt x="5463" y="4775"/>
                    <a:pt x="5463" y="4775"/>
                    <a:pt x="5463" y="4775"/>
                  </a:cubicBezTo>
                  <a:cubicBezTo>
                    <a:pt x="5547" y="5912"/>
                    <a:pt x="5547" y="5912"/>
                    <a:pt x="5547" y="5912"/>
                  </a:cubicBezTo>
                  <a:cubicBezTo>
                    <a:pt x="5295" y="6366"/>
                    <a:pt x="5295" y="6366"/>
                    <a:pt x="5295" y="6366"/>
                  </a:cubicBezTo>
                  <a:cubicBezTo>
                    <a:pt x="4539" y="6935"/>
                    <a:pt x="4539" y="6935"/>
                    <a:pt x="4539" y="6935"/>
                  </a:cubicBezTo>
                  <a:cubicBezTo>
                    <a:pt x="4034" y="7844"/>
                    <a:pt x="4034" y="7844"/>
                    <a:pt x="4034" y="7844"/>
                  </a:cubicBezTo>
                  <a:cubicBezTo>
                    <a:pt x="3866" y="8299"/>
                    <a:pt x="3866" y="8299"/>
                    <a:pt x="3866" y="8299"/>
                  </a:cubicBezTo>
                  <a:cubicBezTo>
                    <a:pt x="4034" y="8413"/>
                    <a:pt x="4034" y="8413"/>
                    <a:pt x="4034" y="8413"/>
                  </a:cubicBezTo>
                  <a:cubicBezTo>
                    <a:pt x="4370" y="7958"/>
                    <a:pt x="4370" y="7958"/>
                    <a:pt x="4370" y="7958"/>
                  </a:cubicBezTo>
                  <a:cubicBezTo>
                    <a:pt x="4623" y="7503"/>
                    <a:pt x="4623" y="7503"/>
                    <a:pt x="4623" y="7503"/>
                  </a:cubicBezTo>
                  <a:cubicBezTo>
                    <a:pt x="5379" y="6821"/>
                    <a:pt x="5379" y="6821"/>
                    <a:pt x="5379" y="6821"/>
                  </a:cubicBezTo>
                  <a:cubicBezTo>
                    <a:pt x="5883" y="6480"/>
                    <a:pt x="5883" y="6480"/>
                    <a:pt x="5883" y="6480"/>
                  </a:cubicBezTo>
                  <a:cubicBezTo>
                    <a:pt x="5799" y="6935"/>
                    <a:pt x="5799" y="6935"/>
                    <a:pt x="5799" y="6935"/>
                  </a:cubicBezTo>
                  <a:cubicBezTo>
                    <a:pt x="5547" y="7276"/>
                    <a:pt x="5547" y="7276"/>
                    <a:pt x="5547" y="7276"/>
                  </a:cubicBezTo>
                  <a:cubicBezTo>
                    <a:pt x="5211" y="8413"/>
                    <a:pt x="5211" y="8413"/>
                    <a:pt x="5211" y="8413"/>
                  </a:cubicBezTo>
                  <a:cubicBezTo>
                    <a:pt x="4370" y="9095"/>
                    <a:pt x="4370" y="9095"/>
                    <a:pt x="4370" y="9095"/>
                  </a:cubicBezTo>
                  <a:cubicBezTo>
                    <a:pt x="3866" y="9777"/>
                    <a:pt x="3866" y="9777"/>
                    <a:pt x="3866" y="9777"/>
                  </a:cubicBezTo>
                  <a:cubicBezTo>
                    <a:pt x="3866" y="10345"/>
                    <a:pt x="3866" y="10345"/>
                    <a:pt x="3866" y="10345"/>
                  </a:cubicBezTo>
                  <a:cubicBezTo>
                    <a:pt x="4202" y="10459"/>
                    <a:pt x="4202" y="10459"/>
                    <a:pt x="4202" y="10459"/>
                  </a:cubicBezTo>
                  <a:cubicBezTo>
                    <a:pt x="4623" y="9891"/>
                    <a:pt x="4623" y="9891"/>
                    <a:pt x="4623" y="9891"/>
                  </a:cubicBezTo>
                  <a:cubicBezTo>
                    <a:pt x="5043" y="9436"/>
                    <a:pt x="5043" y="9436"/>
                    <a:pt x="5043" y="9436"/>
                  </a:cubicBezTo>
                  <a:cubicBezTo>
                    <a:pt x="5463" y="9322"/>
                    <a:pt x="5463" y="9322"/>
                    <a:pt x="5463" y="9322"/>
                  </a:cubicBezTo>
                  <a:cubicBezTo>
                    <a:pt x="5799" y="8867"/>
                    <a:pt x="5799" y="8867"/>
                    <a:pt x="5799" y="8867"/>
                  </a:cubicBezTo>
                  <a:cubicBezTo>
                    <a:pt x="5967" y="7731"/>
                    <a:pt x="5967" y="7731"/>
                    <a:pt x="5967" y="7731"/>
                  </a:cubicBezTo>
                  <a:cubicBezTo>
                    <a:pt x="6304" y="6821"/>
                    <a:pt x="6304" y="6821"/>
                    <a:pt x="6304" y="6821"/>
                  </a:cubicBezTo>
                  <a:cubicBezTo>
                    <a:pt x="6724" y="6139"/>
                    <a:pt x="6724" y="6139"/>
                    <a:pt x="6724" y="6139"/>
                  </a:cubicBezTo>
                  <a:cubicBezTo>
                    <a:pt x="6808" y="5684"/>
                    <a:pt x="6808" y="5684"/>
                    <a:pt x="6808" y="5684"/>
                  </a:cubicBezTo>
                  <a:cubicBezTo>
                    <a:pt x="6556" y="4775"/>
                    <a:pt x="6556" y="4775"/>
                    <a:pt x="6556" y="4775"/>
                  </a:cubicBezTo>
                  <a:cubicBezTo>
                    <a:pt x="6556" y="3865"/>
                    <a:pt x="6556" y="3865"/>
                    <a:pt x="6556" y="3865"/>
                  </a:cubicBezTo>
                  <a:cubicBezTo>
                    <a:pt x="6304" y="3979"/>
                    <a:pt x="6304" y="3979"/>
                    <a:pt x="6304" y="3979"/>
                  </a:cubicBezTo>
                  <a:cubicBezTo>
                    <a:pt x="6135" y="4320"/>
                    <a:pt x="6135" y="4320"/>
                    <a:pt x="6135" y="4320"/>
                  </a:cubicBezTo>
                  <a:cubicBezTo>
                    <a:pt x="6219" y="5229"/>
                    <a:pt x="6219" y="5229"/>
                    <a:pt x="6219" y="5229"/>
                  </a:cubicBezTo>
                  <a:cubicBezTo>
                    <a:pt x="6388" y="5912"/>
                    <a:pt x="6388" y="5912"/>
                    <a:pt x="6388" y="5912"/>
                  </a:cubicBezTo>
                  <a:cubicBezTo>
                    <a:pt x="6388" y="6139"/>
                    <a:pt x="6388" y="6139"/>
                    <a:pt x="6388" y="6139"/>
                  </a:cubicBezTo>
                  <a:cubicBezTo>
                    <a:pt x="6219" y="6025"/>
                    <a:pt x="6219" y="6025"/>
                    <a:pt x="6219" y="6025"/>
                  </a:cubicBezTo>
                  <a:cubicBezTo>
                    <a:pt x="6051" y="5798"/>
                    <a:pt x="6051" y="5798"/>
                    <a:pt x="6051" y="5798"/>
                  </a:cubicBezTo>
                  <a:cubicBezTo>
                    <a:pt x="5883" y="5229"/>
                    <a:pt x="5883" y="5229"/>
                    <a:pt x="5883" y="5229"/>
                  </a:cubicBezTo>
                  <a:cubicBezTo>
                    <a:pt x="5715" y="4661"/>
                    <a:pt x="5715" y="4661"/>
                    <a:pt x="5715" y="4661"/>
                  </a:cubicBezTo>
                  <a:cubicBezTo>
                    <a:pt x="5715" y="4206"/>
                    <a:pt x="5715" y="4206"/>
                    <a:pt x="5715" y="4206"/>
                  </a:cubicBezTo>
                  <a:cubicBezTo>
                    <a:pt x="6135" y="3638"/>
                    <a:pt x="6135" y="3638"/>
                    <a:pt x="6135" y="3638"/>
                  </a:cubicBezTo>
                  <a:cubicBezTo>
                    <a:pt x="6304" y="3183"/>
                    <a:pt x="6304" y="3183"/>
                    <a:pt x="6304" y="3183"/>
                  </a:cubicBezTo>
                  <a:cubicBezTo>
                    <a:pt x="6219" y="2728"/>
                    <a:pt x="6219" y="2728"/>
                    <a:pt x="6219" y="2728"/>
                  </a:cubicBezTo>
                  <a:cubicBezTo>
                    <a:pt x="6640" y="3297"/>
                    <a:pt x="6640" y="3297"/>
                    <a:pt x="6640" y="3297"/>
                  </a:cubicBezTo>
                  <a:cubicBezTo>
                    <a:pt x="6724" y="3411"/>
                    <a:pt x="6724" y="3411"/>
                    <a:pt x="6724" y="3411"/>
                  </a:cubicBezTo>
                  <a:cubicBezTo>
                    <a:pt x="6808" y="2728"/>
                    <a:pt x="6808" y="2728"/>
                    <a:pt x="6808" y="2728"/>
                  </a:cubicBezTo>
                  <a:cubicBezTo>
                    <a:pt x="6640" y="1705"/>
                    <a:pt x="6640" y="1705"/>
                    <a:pt x="6640" y="1705"/>
                  </a:cubicBezTo>
                  <a:cubicBezTo>
                    <a:pt x="6724" y="1364"/>
                    <a:pt x="6724" y="1364"/>
                    <a:pt x="6724" y="1364"/>
                  </a:cubicBezTo>
                  <a:cubicBezTo>
                    <a:pt x="6472" y="1251"/>
                    <a:pt x="6472" y="1251"/>
                    <a:pt x="6472" y="1251"/>
                  </a:cubicBezTo>
                  <a:cubicBezTo>
                    <a:pt x="6388" y="0"/>
                    <a:pt x="6388" y="0"/>
                    <a:pt x="6388" y="0"/>
                  </a:cubicBezTo>
                  <a:cubicBezTo>
                    <a:pt x="6388" y="0"/>
                    <a:pt x="11178" y="1819"/>
                    <a:pt x="12187" y="2160"/>
                  </a:cubicBezTo>
                  <a:cubicBezTo>
                    <a:pt x="13111" y="2501"/>
                    <a:pt x="19331" y="4775"/>
                    <a:pt x="19751" y="4888"/>
                  </a:cubicBezTo>
                  <a:cubicBezTo>
                    <a:pt x="20171" y="5116"/>
                    <a:pt x="20675" y="5116"/>
                    <a:pt x="20675" y="5116"/>
                  </a:cubicBezTo>
                  <a:lnTo>
                    <a:pt x="21600" y="534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 name="Shape 2281">
              <a:extLst>
                <a:ext uri="{FF2B5EF4-FFF2-40B4-BE49-F238E27FC236}">
                  <a16:creationId xmlns:a16="http://schemas.microsoft.com/office/drawing/2014/main" id="{9D091748-B925-0417-9366-1DA58AF74E52}"/>
                </a:ext>
              </a:extLst>
            </p:cNvPr>
            <p:cNvSpPr/>
            <p:nvPr/>
          </p:nvSpPr>
          <p:spPr>
            <a:xfrm>
              <a:off x="2617878" y="3261965"/>
              <a:ext cx="1311353" cy="1346207"/>
            </a:xfrm>
            <a:custGeom>
              <a:avLst/>
              <a:gdLst/>
              <a:ahLst/>
              <a:cxnLst>
                <a:cxn ang="0">
                  <a:pos x="wd2" y="hd2"/>
                </a:cxn>
                <a:cxn ang="5400000">
                  <a:pos x="wd2" y="hd2"/>
                </a:cxn>
                <a:cxn ang="10800000">
                  <a:pos x="wd2" y="hd2"/>
                </a:cxn>
                <a:cxn ang="16200000">
                  <a:pos x="wd2" y="hd2"/>
                </a:cxn>
              </a:cxnLst>
              <a:rect l="0" t="0" r="r" b="b"/>
              <a:pathLst>
                <a:path w="21600" h="21600" extrusionOk="0">
                  <a:moveTo>
                    <a:pt x="3221" y="0"/>
                  </a:moveTo>
                  <a:lnTo>
                    <a:pt x="21600" y="2123"/>
                  </a:lnTo>
                  <a:lnTo>
                    <a:pt x="21505" y="4062"/>
                  </a:lnTo>
                  <a:lnTo>
                    <a:pt x="21221" y="4062"/>
                  </a:lnTo>
                  <a:lnTo>
                    <a:pt x="19895" y="20862"/>
                  </a:lnTo>
                  <a:lnTo>
                    <a:pt x="8621" y="19846"/>
                  </a:lnTo>
                  <a:lnTo>
                    <a:pt x="8526" y="20677"/>
                  </a:lnTo>
                  <a:lnTo>
                    <a:pt x="3032" y="20123"/>
                  </a:lnTo>
                  <a:lnTo>
                    <a:pt x="2747" y="21600"/>
                  </a:lnTo>
                  <a:lnTo>
                    <a:pt x="0" y="21231"/>
                  </a:lnTo>
                  <a:lnTo>
                    <a:pt x="3221"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7" name="Shape 2282">
              <a:extLst>
                <a:ext uri="{FF2B5EF4-FFF2-40B4-BE49-F238E27FC236}">
                  <a16:creationId xmlns:a16="http://schemas.microsoft.com/office/drawing/2014/main" id="{7F40A789-1581-DB67-CE95-FDECE39CECA1}"/>
                </a:ext>
              </a:extLst>
            </p:cNvPr>
            <p:cNvSpPr/>
            <p:nvPr/>
          </p:nvSpPr>
          <p:spPr>
            <a:xfrm>
              <a:off x="3106753" y="3515100"/>
              <a:ext cx="2599698" cy="2565852"/>
            </a:xfrm>
            <a:custGeom>
              <a:avLst/>
              <a:gdLst/>
              <a:ahLst/>
              <a:cxnLst>
                <a:cxn ang="0">
                  <a:pos x="wd2" y="hd2"/>
                </a:cxn>
                <a:cxn ang="5400000">
                  <a:pos x="wd2" y="hd2"/>
                </a:cxn>
                <a:cxn ang="10800000">
                  <a:pos x="wd2" y="hd2"/>
                </a:cxn>
                <a:cxn ang="16200000">
                  <a:pos x="wd2" y="hd2"/>
                </a:cxn>
              </a:cxnLst>
              <a:rect l="0" t="0" r="r" b="b"/>
              <a:pathLst>
                <a:path w="21600" h="21600" extrusionOk="0">
                  <a:moveTo>
                    <a:pt x="21313" y="12253"/>
                  </a:moveTo>
                  <a:lnTo>
                    <a:pt x="21409" y="11865"/>
                  </a:lnTo>
                  <a:lnTo>
                    <a:pt x="21600" y="11623"/>
                  </a:lnTo>
                  <a:lnTo>
                    <a:pt x="21504" y="11333"/>
                  </a:lnTo>
                  <a:lnTo>
                    <a:pt x="21409" y="10945"/>
                  </a:lnTo>
                  <a:lnTo>
                    <a:pt x="21361" y="10800"/>
                  </a:lnTo>
                  <a:lnTo>
                    <a:pt x="21361" y="10509"/>
                  </a:lnTo>
                  <a:lnTo>
                    <a:pt x="21313" y="10413"/>
                  </a:lnTo>
                  <a:lnTo>
                    <a:pt x="21122" y="9977"/>
                  </a:lnTo>
                  <a:lnTo>
                    <a:pt x="21122" y="9880"/>
                  </a:lnTo>
                  <a:lnTo>
                    <a:pt x="20788" y="9589"/>
                  </a:lnTo>
                  <a:lnTo>
                    <a:pt x="20788" y="6344"/>
                  </a:lnTo>
                  <a:lnTo>
                    <a:pt x="20310" y="6296"/>
                  </a:lnTo>
                  <a:lnTo>
                    <a:pt x="20214" y="6393"/>
                  </a:lnTo>
                  <a:lnTo>
                    <a:pt x="20071" y="6344"/>
                  </a:lnTo>
                  <a:lnTo>
                    <a:pt x="19927" y="6199"/>
                  </a:lnTo>
                  <a:lnTo>
                    <a:pt x="19736" y="6102"/>
                  </a:lnTo>
                  <a:lnTo>
                    <a:pt x="19497" y="6102"/>
                  </a:lnTo>
                  <a:lnTo>
                    <a:pt x="19211" y="5909"/>
                  </a:lnTo>
                  <a:lnTo>
                    <a:pt x="19019" y="5666"/>
                  </a:lnTo>
                  <a:lnTo>
                    <a:pt x="18781" y="5618"/>
                  </a:lnTo>
                  <a:lnTo>
                    <a:pt x="18398" y="5715"/>
                  </a:lnTo>
                  <a:lnTo>
                    <a:pt x="18303" y="5666"/>
                  </a:lnTo>
                  <a:lnTo>
                    <a:pt x="18064" y="5618"/>
                  </a:lnTo>
                  <a:lnTo>
                    <a:pt x="17873" y="5763"/>
                  </a:lnTo>
                  <a:lnTo>
                    <a:pt x="17777" y="5812"/>
                  </a:lnTo>
                  <a:lnTo>
                    <a:pt x="17634" y="5715"/>
                  </a:lnTo>
                  <a:lnTo>
                    <a:pt x="17442" y="5715"/>
                  </a:lnTo>
                  <a:lnTo>
                    <a:pt x="17347" y="5860"/>
                  </a:lnTo>
                  <a:lnTo>
                    <a:pt x="17108" y="6005"/>
                  </a:lnTo>
                  <a:lnTo>
                    <a:pt x="16917" y="6054"/>
                  </a:lnTo>
                  <a:lnTo>
                    <a:pt x="16821" y="5909"/>
                  </a:lnTo>
                  <a:lnTo>
                    <a:pt x="16678" y="5763"/>
                  </a:lnTo>
                  <a:lnTo>
                    <a:pt x="16296" y="5812"/>
                  </a:lnTo>
                  <a:lnTo>
                    <a:pt x="16057" y="5666"/>
                  </a:lnTo>
                  <a:lnTo>
                    <a:pt x="15865" y="5715"/>
                  </a:lnTo>
                  <a:lnTo>
                    <a:pt x="15770" y="5909"/>
                  </a:lnTo>
                  <a:lnTo>
                    <a:pt x="15674" y="5957"/>
                  </a:lnTo>
                  <a:lnTo>
                    <a:pt x="15627" y="5715"/>
                  </a:lnTo>
                  <a:lnTo>
                    <a:pt x="15531" y="5618"/>
                  </a:lnTo>
                  <a:lnTo>
                    <a:pt x="15244" y="5812"/>
                  </a:lnTo>
                  <a:lnTo>
                    <a:pt x="15196" y="5618"/>
                  </a:lnTo>
                  <a:lnTo>
                    <a:pt x="14910" y="5424"/>
                  </a:lnTo>
                  <a:lnTo>
                    <a:pt x="14814" y="5424"/>
                  </a:lnTo>
                  <a:lnTo>
                    <a:pt x="14719" y="5570"/>
                  </a:lnTo>
                  <a:lnTo>
                    <a:pt x="14575" y="5666"/>
                  </a:lnTo>
                  <a:lnTo>
                    <a:pt x="14432" y="5618"/>
                  </a:lnTo>
                  <a:lnTo>
                    <a:pt x="14384" y="5376"/>
                  </a:lnTo>
                  <a:lnTo>
                    <a:pt x="14241" y="5376"/>
                  </a:lnTo>
                  <a:lnTo>
                    <a:pt x="14097" y="5085"/>
                  </a:lnTo>
                  <a:lnTo>
                    <a:pt x="13715" y="5085"/>
                  </a:lnTo>
                  <a:lnTo>
                    <a:pt x="13572" y="5182"/>
                  </a:lnTo>
                  <a:lnTo>
                    <a:pt x="13428" y="5037"/>
                  </a:lnTo>
                  <a:lnTo>
                    <a:pt x="13381" y="5037"/>
                  </a:lnTo>
                  <a:lnTo>
                    <a:pt x="13142" y="5085"/>
                  </a:lnTo>
                  <a:lnTo>
                    <a:pt x="12855" y="4891"/>
                  </a:lnTo>
                  <a:lnTo>
                    <a:pt x="12473" y="4891"/>
                  </a:lnTo>
                  <a:lnTo>
                    <a:pt x="12377" y="4552"/>
                  </a:lnTo>
                  <a:lnTo>
                    <a:pt x="12186" y="4456"/>
                  </a:lnTo>
                  <a:lnTo>
                    <a:pt x="12090" y="4504"/>
                  </a:lnTo>
                  <a:lnTo>
                    <a:pt x="11947" y="4456"/>
                  </a:lnTo>
                  <a:lnTo>
                    <a:pt x="11804" y="4504"/>
                  </a:lnTo>
                  <a:lnTo>
                    <a:pt x="11660" y="4504"/>
                  </a:lnTo>
                  <a:lnTo>
                    <a:pt x="11565" y="4359"/>
                  </a:lnTo>
                  <a:lnTo>
                    <a:pt x="11230" y="4020"/>
                  </a:lnTo>
                  <a:lnTo>
                    <a:pt x="11421" y="291"/>
                  </a:lnTo>
                  <a:lnTo>
                    <a:pt x="6642" y="0"/>
                  </a:lnTo>
                  <a:lnTo>
                    <a:pt x="5973" y="8814"/>
                  </a:lnTo>
                  <a:lnTo>
                    <a:pt x="287" y="8282"/>
                  </a:lnTo>
                  <a:lnTo>
                    <a:pt x="239" y="8717"/>
                  </a:lnTo>
                  <a:lnTo>
                    <a:pt x="0" y="8717"/>
                  </a:lnTo>
                  <a:lnTo>
                    <a:pt x="96" y="8863"/>
                  </a:lnTo>
                  <a:lnTo>
                    <a:pt x="335" y="9008"/>
                  </a:lnTo>
                  <a:lnTo>
                    <a:pt x="478" y="9202"/>
                  </a:lnTo>
                  <a:lnTo>
                    <a:pt x="526" y="9347"/>
                  </a:lnTo>
                  <a:lnTo>
                    <a:pt x="621" y="9541"/>
                  </a:lnTo>
                  <a:lnTo>
                    <a:pt x="717" y="9589"/>
                  </a:lnTo>
                  <a:lnTo>
                    <a:pt x="1004" y="9783"/>
                  </a:lnTo>
                  <a:lnTo>
                    <a:pt x="1051" y="9928"/>
                  </a:lnTo>
                  <a:lnTo>
                    <a:pt x="1242" y="10170"/>
                  </a:lnTo>
                  <a:lnTo>
                    <a:pt x="1434" y="10316"/>
                  </a:lnTo>
                  <a:lnTo>
                    <a:pt x="1816" y="10848"/>
                  </a:lnTo>
                  <a:lnTo>
                    <a:pt x="1959" y="10848"/>
                  </a:lnTo>
                  <a:lnTo>
                    <a:pt x="2103" y="10994"/>
                  </a:lnTo>
                  <a:lnTo>
                    <a:pt x="2294" y="11139"/>
                  </a:lnTo>
                  <a:lnTo>
                    <a:pt x="2533" y="11333"/>
                  </a:lnTo>
                  <a:lnTo>
                    <a:pt x="2628" y="11526"/>
                  </a:lnTo>
                  <a:lnTo>
                    <a:pt x="2628" y="11865"/>
                  </a:lnTo>
                  <a:lnTo>
                    <a:pt x="2819" y="12156"/>
                  </a:lnTo>
                  <a:lnTo>
                    <a:pt x="2867" y="12350"/>
                  </a:lnTo>
                  <a:lnTo>
                    <a:pt x="2819" y="12543"/>
                  </a:lnTo>
                  <a:lnTo>
                    <a:pt x="2819" y="12786"/>
                  </a:lnTo>
                  <a:lnTo>
                    <a:pt x="2867" y="13076"/>
                  </a:lnTo>
                  <a:lnTo>
                    <a:pt x="3106" y="13318"/>
                  </a:lnTo>
                  <a:lnTo>
                    <a:pt x="3154" y="13464"/>
                  </a:lnTo>
                  <a:lnTo>
                    <a:pt x="3536" y="13851"/>
                  </a:lnTo>
                  <a:lnTo>
                    <a:pt x="3727" y="13996"/>
                  </a:lnTo>
                  <a:lnTo>
                    <a:pt x="3871" y="14142"/>
                  </a:lnTo>
                  <a:lnTo>
                    <a:pt x="4014" y="14190"/>
                  </a:lnTo>
                  <a:lnTo>
                    <a:pt x="4205" y="14335"/>
                  </a:lnTo>
                  <a:lnTo>
                    <a:pt x="4492" y="14481"/>
                  </a:lnTo>
                  <a:lnTo>
                    <a:pt x="4827" y="14723"/>
                  </a:lnTo>
                  <a:lnTo>
                    <a:pt x="4970" y="14771"/>
                  </a:lnTo>
                  <a:lnTo>
                    <a:pt x="5209" y="14868"/>
                  </a:lnTo>
                  <a:lnTo>
                    <a:pt x="5400" y="14868"/>
                  </a:lnTo>
                  <a:lnTo>
                    <a:pt x="5496" y="14674"/>
                  </a:lnTo>
                  <a:lnTo>
                    <a:pt x="5735" y="14432"/>
                  </a:lnTo>
                  <a:lnTo>
                    <a:pt x="5878" y="14384"/>
                  </a:lnTo>
                  <a:lnTo>
                    <a:pt x="5878" y="14142"/>
                  </a:lnTo>
                  <a:lnTo>
                    <a:pt x="5973" y="13948"/>
                  </a:lnTo>
                  <a:lnTo>
                    <a:pt x="6069" y="13706"/>
                  </a:lnTo>
                  <a:lnTo>
                    <a:pt x="6308" y="13415"/>
                  </a:lnTo>
                  <a:lnTo>
                    <a:pt x="6642" y="13367"/>
                  </a:lnTo>
                  <a:lnTo>
                    <a:pt x="6834" y="13318"/>
                  </a:lnTo>
                  <a:lnTo>
                    <a:pt x="7073" y="13318"/>
                  </a:lnTo>
                  <a:lnTo>
                    <a:pt x="7312" y="13415"/>
                  </a:lnTo>
                  <a:lnTo>
                    <a:pt x="7598" y="13464"/>
                  </a:lnTo>
                  <a:lnTo>
                    <a:pt x="7742" y="13464"/>
                  </a:lnTo>
                  <a:lnTo>
                    <a:pt x="8124" y="13512"/>
                  </a:lnTo>
                  <a:lnTo>
                    <a:pt x="8267" y="13609"/>
                  </a:lnTo>
                  <a:lnTo>
                    <a:pt x="8411" y="13900"/>
                  </a:lnTo>
                  <a:lnTo>
                    <a:pt x="8506" y="13900"/>
                  </a:lnTo>
                  <a:lnTo>
                    <a:pt x="8745" y="14142"/>
                  </a:lnTo>
                  <a:lnTo>
                    <a:pt x="8936" y="14239"/>
                  </a:lnTo>
                  <a:lnTo>
                    <a:pt x="9080" y="14529"/>
                  </a:lnTo>
                  <a:lnTo>
                    <a:pt x="9366" y="14917"/>
                  </a:lnTo>
                  <a:lnTo>
                    <a:pt x="9558" y="15498"/>
                  </a:lnTo>
                  <a:lnTo>
                    <a:pt x="9701" y="15691"/>
                  </a:lnTo>
                  <a:lnTo>
                    <a:pt x="9892" y="16079"/>
                  </a:lnTo>
                  <a:lnTo>
                    <a:pt x="9892" y="16224"/>
                  </a:lnTo>
                  <a:lnTo>
                    <a:pt x="10035" y="16612"/>
                  </a:lnTo>
                  <a:lnTo>
                    <a:pt x="10418" y="16951"/>
                  </a:lnTo>
                  <a:lnTo>
                    <a:pt x="10513" y="17338"/>
                  </a:lnTo>
                  <a:lnTo>
                    <a:pt x="10991" y="17919"/>
                  </a:lnTo>
                  <a:lnTo>
                    <a:pt x="11230" y="18016"/>
                  </a:lnTo>
                  <a:lnTo>
                    <a:pt x="11182" y="18452"/>
                  </a:lnTo>
                  <a:lnTo>
                    <a:pt x="11087" y="18549"/>
                  </a:lnTo>
                  <a:lnTo>
                    <a:pt x="11326" y="18791"/>
                  </a:lnTo>
                  <a:lnTo>
                    <a:pt x="11326" y="19082"/>
                  </a:lnTo>
                  <a:lnTo>
                    <a:pt x="11612" y="19614"/>
                  </a:lnTo>
                  <a:lnTo>
                    <a:pt x="11756" y="19905"/>
                  </a:lnTo>
                  <a:lnTo>
                    <a:pt x="11899" y="20147"/>
                  </a:lnTo>
                  <a:lnTo>
                    <a:pt x="11995" y="20389"/>
                  </a:lnTo>
                  <a:lnTo>
                    <a:pt x="12377" y="20438"/>
                  </a:lnTo>
                  <a:lnTo>
                    <a:pt x="12616" y="20680"/>
                  </a:lnTo>
                  <a:lnTo>
                    <a:pt x="13046" y="20680"/>
                  </a:lnTo>
                  <a:lnTo>
                    <a:pt x="13381" y="21019"/>
                  </a:lnTo>
                  <a:lnTo>
                    <a:pt x="13572" y="21019"/>
                  </a:lnTo>
                  <a:lnTo>
                    <a:pt x="13667" y="21164"/>
                  </a:lnTo>
                  <a:lnTo>
                    <a:pt x="13906" y="21213"/>
                  </a:lnTo>
                  <a:lnTo>
                    <a:pt x="13954" y="21116"/>
                  </a:lnTo>
                  <a:lnTo>
                    <a:pt x="14432" y="21213"/>
                  </a:lnTo>
                  <a:lnTo>
                    <a:pt x="14432" y="21261"/>
                  </a:lnTo>
                  <a:lnTo>
                    <a:pt x="14575" y="21406"/>
                  </a:lnTo>
                  <a:lnTo>
                    <a:pt x="14814" y="21600"/>
                  </a:lnTo>
                  <a:lnTo>
                    <a:pt x="14958" y="21503"/>
                  </a:lnTo>
                  <a:lnTo>
                    <a:pt x="15005" y="21406"/>
                  </a:lnTo>
                  <a:lnTo>
                    <a:pt x="15340" y="21358"/>
                  </a:lnTo>
                  <a:lnTo>
                    <a:pt x="15244" y="21116"/>
                  </a:lnTo>
                  <a:lnTo>
                    <a:pt x="15244" y="20970"/>
                  </a:lnTo>
                  <a:lnTo>
                    <a:pt x="15149" y="20583"/>
                  </a:lnTo>
                  <a:lnTo>
                    <a:pt x="15005" y="20486"/>
                  </a:lnTo>
                  <a:lnTo>
                    <a:pt x="14910" y="20196"/>
                  </a:lnTo>
                  <a:lnTo>
                    <a:pt x="14862" y="19905"/>
                  </a:lnTo>
                  <a:lnTo>
                    <a:pt x="14719" y="19566"/>
                  </a:lnTo>
                  <a:lnTo>
                    <a:pt x="14719" y="19275"/>
                  </a:lnTo>
                  <a:lnTo>
                    <a:pt x="15005" y="18404"/>
                  </a:lnTo>
                  <a:lnTo>
                    <a:pt x="15196" y="17919"/>
                  </a:lnTo>
                  <a:lnTo>
                    <a:pt x="15149" y="17822"/>
                  </a:lnTo>
                  <a:lnTo>
                    <a:pt x="15005" y="17726"/>
                  </a:lnTo>
                  <a:lnTo>
                    <a:pt x="14862" y="17580"/>
                  </a:lnTo>
                  <a:lnTo>
                    <a:pt x="14862" y="17483"/>
                  </a:lnTo>
                  <a:lnTo>
                    <a:pt x="14958" y="17532"/>
                  </a:lnTo>
                  <a:lnTo>
                    <a:pt x="15388" y="17483"/>
                  </a:lnTo>
                  <a:lnTo>
                    <a:pt x="15435" y="17483"/>
                  </a:lnTo>
                  <a:lnTo>
                    <a:pt x="15579" y="17193"/>
                  </a:lnTo>
                  <a:lnTo>
                    <a:pt x="15435" y="17193"/>
                  </a:lnTo>
                  <a:lnTo>
                    <a:pt x="15388" y="17096"/>
                  </a:lnTo>
                  <a:lnTo>
                    <a:pt x="15388" y="16999"/>
                  </a:lnTo>
                  <a:lnTo>
                    <a:pt x="15483" y="16951"/>
                  </a:lnTo>
                  <a:lnTo>
                    <a:pt x="15913" y="16951"/>
                  </a:lnTo>
                  <a:lnTo>
                    <a:pt x="16009" y="16999"/>
                  </a:lnTo>
                  <a:lnTo>
                    <a:pt x="16152" y="16951"/>
                  </a:lnTo>
                  <a:lnTo>
                    <a:pt x="16391" y="16757"/>
                  </a:lnTo>
                  <a:lnTo>
                    <a:pt x="16296" y="16757"/>
                  </a:lnTo>
                  <a:lnTo>
                    <a:pt x="16104" y="16902"/>
                  </a:lnTo>
                  <a:lnTo>
                    <a:pt x="16057" y="16709"/>
                  </a:lnTo>
                  <a:lnTo>
                    <a:pt x="16152" y="16418"/>
                  </a:lnTo>
                  <a:lnTo>
                    <a:pt x="16248" y="16515"/>
                  </a:lnTo>
                  <a:lnTo>
                    <a:pt x="16343" y="16563"/>
                  </a:lnTo>
                  <a:lnTo>
                    <a:pt x="16582" y="16563"/>
                  </a:lnTo>
                  <a:lnTo>
                    <a:pt x="16678" y="16466"/>
                  </a:lnTo>
                  <a:lnTo>
                    <a:pt x="16630" y="16273"/>
                  </a:lnTo>
                  <a:lnTo>
                    <a:pt x="16487" y="16079"/>
                  </a:lnTo>
                  <a:lnTo>
                    <a:pt x="16535" y="16030"/>
                  </a:lnTo>
                  <a:lnTo>
                    <a:pt x="16678" y="16030"/>
                  </a:lnTo>
                  <a:lnTo>
                    <a:pt x="16821" y="15934"/>
                  </a:lnTo>
                  <a:lnTo>
                    <a:pt x="16917" y="16030"/>
                  </a:lnTo>
                  <a:lnTo>
                    <a:pt x="17060" y="15934"/>
                  </a:lnTo>
                  <a:lnTo>
                    <a:pt x="17108" y="16030"/>
                  </a:lnTo>
                  <a:lnTo>
                    <a:pt x="17251" y="16127"/>
                  </a:lnTo>
                  <a:lnTo>
                    <a:pt x="17538" y="15934"/>
                  </a:lnTo>
                  <a:lnTo>
                    <a:pt x="17873" y="15837"/>
                  </a:lnTo>
                  <a:lnTo>
                    <a:pt x="18207" y="15788"/>
                  </a:lnTo>
                  <a:lnTo>
                    <a:pt x="18733" y="15498"/>
                  </a:lnTo>
                  <a:lnTo>
                    <a:pt x="18876" y="15207"/>
                  </a:lnTo>
                  <a:lnTo>
                    <a:pt x="18924" y="14965"/>
                  </a:lnTo>
                  <a:lnTo>
                    <a:pt x="19067" y="14868"/>
                  </a:lnTo>
                  <a:lnTo>
                    <a:pt x="19211" y="14820"/>
                  </a:lnTo>
                  <a:lnTo>
                    <a:pt x="19258" y="14771"/>
                  </a:lnTo>
                  <a:lnTo>
                    <a:pt x="19402" y="14674"/>
                  </a:lnTo>
                  <a:lnTo>
                    <a:pt x="19306" y="14384"/>
                  </a:lnTo>
                  <a:lnTo>
                    <a:pt x="19258" y="14335"/>
                  </a:lnTo>
                  <a:lnTo>
                    <a:pt x="19211" y="14239"/>
                  </a:lnTo>
                  <a:lnTo>
                    <a:pt x="19258" y="14093"/>
                  </a:lnTo>
                  <a:lnTo>
                    <a:pt x="19450" y="13948"/>
                  </a:lnTo>
                  <a:lnTo>
                    <a:pt x="19593" y="13851"/>
                  </a:lnTo>
                  <a:lnTo>
                    <a:pt x="19688" y="13851"/>
                  </a:lnTo>
                  <a:lnTo>
                    <a:pt x="19688" y="14481"/>
                  </a:lnTo>
                  <a:lnTo>
                    <a:pt x="19736" y="14529"/>
                  </a:lnTo>
                  <a:lnTo>
                    <a:pt x="20023" y="14287"/>
                  </a:lnTo>
                  <a:lnTo>
                    <a:pt x="20262" y="14239"/>
                  </a:lnTo>
                  <a:lnTo>
                    <a:pt x="20979" y="13948"/>
                  </a:lnTo>
                  <a:lnTo>
                    <a:pt x="21074" y="13900"/>
                  </a:lnTo>
                  <a:lnTo>
                    <a:pt x="21218" y="13657"/>
                  </a:lnTo>
                  <a:lnTo>
                    <a:pt x="21361" y="13173"/>
                  </a:lnTo>
                  <a:lnTo>
                    <a:pt x="21361" y="12979"/>
                  </a:lnTo>
                  <a:lnTo>
                    <a:pt x="21218" y="12640"/>
                  </a:lnTo>
                  <a:lnTo>
                    <a:pt x="21313" y="12398"/>
                  </a:lnTo>
                  <a:lnTo>
                    <a:pt x="21313" y="12253"/>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8" name="Shape 2283">
              <a:extLst>
                <a:ext uri="{FF2B5EF4-FFF2-40B4-BE49-F238E27FC236}">
                  <a16:creationId xmlns:a16="http://schemas.microsoft.com/office/drawing/2014/main" id="{EED20EDA-AAC7-9601-AA88-209394BDF218}"/>
                </a:ext>
              </a:extLst>
            </p:cNvPr>
            <p:cNvSpPr/>
            <p:nvPr/>
          </p:nvSpPr>
          <p:spPr>
            <a:xfrm>
              <a:off x="1553839" y="3100878"/>
              <a:ext cx="1259585" cy="1484281"/>
            </a:xfrm>
            <a:custGeom>
              <a:avLst/>
              <a:gdLst/>
              <a:ahLst/>
              <a:cxnLst>
                <a:cxn ang="0">
                  <a:pos x="wd2" y="hd2"/>
                </a:cxn>
                <a:cxn ang="5400000">
                  <a:pos x="wd2" y="hd2"/>
                </a:cxn>
                <a:cxn ang="10800000">
                  <a:pos x="wd2" y="hd2"/>
                </a:cxn>
                <a:cxn ang="16200000">
                  <a:pos x="wd2" y="hd2"/>
                </a:cxn>
              </a:cxnLst>
              <a:rect l="0" t="0" r="r" b="b"/>
              <a:pathLst>
                <a:path w="21600" h="21600" extrusionOk="0">
                  <a:moveTo>
                    <a:pt x="6088" y="0"/>
                  </a:moveTo>
                  <a:cubicBezTo>
                    <a:pt x="6088" y="0"/>
                    <a:pt x="5754" y="1350"/>
                    <a:pt x="5671" y="1776"/>
                  </a:cubicBezTo>
                  <a:cubicBezTo>
                    <a:pt x="5504" y="2061"/>
                    <a:pt x="5171" y="3055"/>
                    <a:pt x="5171" y="3055"/>
                  </a:cubicBezTo>
                  <a:cubicBezTo>
                    <a:pt x="4920" y="3197"/>
                    <a:pt x="4920" y="3197"/>
                    <a:pt x="4920" y="3197"/>
                  </a:cubicBezTo>
                  <a:cubicBezTo>
                    <a:pt x="4670" y="3055"/>
                    <a:pt x="4670" y="3055"/>
                    <a:pt x="4670" y="3055"/>
                  </a:cubicBezTo>
                  <a:cubicBezTo>
                    <a:pt x="4253" y="2771"/>
                    <a:pt x="4253" y="2771"/>
                    <a:pt x="4253" y="2771"/>
                  </a:cubicBezTo>
                  <a:cubicBezTo>
                    <a:pt x="3920" y="2913"/>
                    <a:pt x="3920" y="2913"/>
                    <a:pt x="3920" y="2913"/>
                  </a:cubicBezTo>
                  <a:cubicBezTo>
                    <a:pt x="3753" y="2629"/>
                    <a:pt x="3753" y="2629"/>
                    <a:pt x="3753" y="2629"/>
                  </a:cubicBezTo>
                  <a:cubicBezTo>
                    <a:pt x="3169" y="2771"/>
                    <a:pt x="3169" y="2771"/>
                    <a:pt x="3169" y="2771"/>
                  </a:cubicBezTo>
                  <a:cubicBezTo>
                    <a:pt x="2919" y="2984"/>
                    <a:pt x="2919" y="2984"/>
                    <a:pt x="2919" y="2984"/>
                  </a:cubicBezTo>
                  <a:cubicBezTo>
                    <a:pt x="2919" y="3766"/>
                    <a:pt x="2919" y="3766"/>
                    <a:pt x="2919" y="3766"/>
                  </a:cubicBezTo>
                  <a:cubicBezTo>
                    <a:pt x="2919" y="4761"/>
                    <a:pt x="2919" y="4761"/>
                    <a:pt x="2919" y="4761"/>
                  </a:cubicBezTo>
                  <a:cubicBezTo>
                    <a:pt x="2919" y="5684"/>
                    <a:pt x="2919" y="5684"/>
                    <a:pt x="2919" y="5684"/>
                  </a:cubicBezTo>
                  <a:cubicBezTo>
                    <a:pt x="2836" y="5968"/>
                    <a:pt x="2836" y="5968"/>
                    <a:pt x="2836" y="5968"/>
                  </a:cubicBezTo>
                  <a:cubicBezTo>
                    <a:pt x="2585" y="6324"/>
                    <a:pt x="2585" y="6324"/>
                    <a:pt x="2585" y="6324"/>
                  </a:cubicBezTo>
                  <a:cubicBezTo>
                    <a:pt x="2502" y="6679"/>
                    <a:pt x="2502" y="6679"/>
                    <a:pt x="2502" y="6679"/>
                  </a:cubicBezTo>
                  <a:cubicBezTo>
                    <a:pt x="2502" y="7176"/>
                    <a:pt x="2502" y="7176"/>
                    <a:pt x="2502" y="7176"/>
                  </a:cubicBezTo>
                  <a:cubicBezTo>
                    <a:pt x="2836" y="7816"/>
                    <a:pt x="2836" y="7816"/>
                    <a:pt x="2836" y="7816"/>
                  </a:cubicBezTo>
                  <a:cubicBezTo>
                    <a:pt x="2919" y="8455"/>
                    <a:pt x="2919" y="8455"/>
                    <a:pt x="2919" y="8455"/>
                  </a:cubicBezTo>
                  <a:cubicBezTo>
                    <a:pt x="3086" y="8668"/>
                    <a:pt x="3086" y="8668"/>
                    <a:pt x="3086" y="8668"/>
                  </a:cubicBezTo>
                  <a:cubicBezTo>
                    <a:pt x="3503" y="9095"/>
                    <a:pt x="3503" y="9095"/>
                    <a:pt x="3503" y="9095"/>
                  </a:cubicBezTo>
                  <a:cubicBezTo>
                    <a:pt x="3253" y="9237"/>
                    <a:pt x="3253" y="9237"/>
                    <a:pt x="3253" y="9237"/>
                  </a:cubicBezTo>
                  <a:cubicBezTo>
                    <a:pt x="2836" y="9521"/>
                    <a:pt x="2836" y="9521"/>
                    <a:pt x="2836" y="9521"/>
                  </a:cubicBezTo>
                  <a:cubicBezTo>
                    <a:pt x="2002" y="10018"/>
                    <a:pt x="2002" y="10018"/>
                    <a:pt x="2002" y="10018"/>
                  </a:cubicBezTo>
                  <a:cubicBezTo>
                    <a:pt x="1751" y="10942"/>
                    <a:pt x="1751" y="10942"/>
                    <a:pt x="1751" y="10942"/>
                  </a:cubicBezTo>
                  <a:cubicBezTo>
                    <a:pt x="1418" y="11511"/>
                    <a:pt x="1418" y="11511"/>
                    <a:pt x="1418" y="11511"/>
                  </a:cubicBezTo>
                  <a:cubicBezTo>
                    <a:pt x="1084" y="11795"/>
                    <a:pt x="1084" y="11795"/>
                    <a:pt x="1084" y="11795"/>
                  </a:cubicBezTo>
                  <a:cubicBezTo>
                    <a:pt x="917" y="11866"/>
                    <a:pt x="917" y="11866"/>
                    <a:pt x="917" y="11866"/>
                  </a:cubicBezTo>
                  <a:cubicBezTo>
                    <a:pt x="751" y="12150"/>
                    <a:pt x="751" y="12150"/>
                    <a:pt x="751" y="12150"/>
                  </a:cubicBezTo>
                  <a:cubicBezTo>
                    <a:pt x="834" y="12647"/>
                    <a:pt x="834" y="12647"/>
                    <a:pt x="834" y="12647"/>
                  </a:cubicBezTo>
                  <a:cubicBezTo>
                    <a:pt x="751" y="13003"/>
                    <a:pt x="751" y="13003"/>
                    <a:pt x="751" y="13003"/>
                  </a:cubicBezTo>
                  <a:cubicBezTo>
                    <a:pt x="1251" y="13358"/>
                    <a:pt x="1251" y="13358"/>
                    <a:pt x="1251" y="13358"/>
                  </a:cubicBezTo>
                  <a:cubicBezTo>
                    <a:pt x="1084" y="13642"/>
                    <a:pt x="1084" y="13642"/>
                    <a:pt x="1084" y="13642"/>
                  </a:cubicBezTo>
                  <a:cubicBezTo>
                    <a:pt x="417" y="13926"/>
                    <a:pt x="417" y="13926"/>
                    <a:pt x="417" y="13926"/>
                  </a:cubicBezTo>
                  <a:cubicBezTo>
                    <a:pt x="250" y="14211"/>
                    <a:pt x="250" y="14211"/>
                    <a:pt x="250" y="14211"/>
                  </a:cubicBezTo>
                  <a:cubicBezTo>
                    <a:pt x="0" y="14637"/>
                    <a:pt x="0" y="14637"/>
                    <a:pt x="0" y="14637"/>
                  </a:cubicBezTo>
                  <a:cubicBezTo>
                    <a:pt x="11592" y="20676"/>
                    <a:pt x="11592" y="20676"/>
                    <a:pt x="11592" y="20676"/>
                  </a:cubicBezTo>
                  <a:cubicBezTo>
                    <a:pt x="15178" y="21245"/>
                    <a:pt x="15178" y="21245"/>
                    <a:pt x="15178" y="21245"/>
                  </a:cubicBezTo>
                  <a:cubicBezTo>
                    <a:pt x="18181" y="21600"/>
                    <a:pt x="18181" y="21600"/>
                    <a:pt x="18181" y="21600"/>
                  </a:cubicBezTo>
                  <a:cubicBezTo>
                    <a:pt x="18264" y="21600"/>
                    <a:pt x="18264" y="21600"/>
                    <a:pt x="18264" y="21600"/>
                  </a:cubicBezTo>
                  <a:cubicBezTo>
                    <a:pt x="21600" y="2345"/>
                    <a:pt x="21600" y="2345"/>
                    <a:pt x="21600" y="2345"/>
                  </a:cubicBezTo>
                  <a:lnTo>
                    <a:pt x="6088"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9" name="Shape 2284">
              <a:extLst>
                <a:ext uri="{FF2B5EF4-FFF2-40B4-BE49-F238E27FC236}">
                  <a16:creationId xmlns:a16="http://schemas.microsoft.com/office/drawing/2014/main" id="{5A417774-8127-7DC9-9C9E-D2E24653A42A}"/>
                </a:ext>
              </a:extLst>
            </p:cNvPr>
            <p:cNvSpPr/>
            <p:nvPr/>
          </p:nvSpPr>
          <p:spPr>
            <a:xfrm>
              <a:off x="276997" y="1501541"/>
              <a:ext cx="1478145" cy="2560101"/>
            </a:xfrm>
            <a:custGeom>
              <a:avLst/>
              <a:gdLst/>
              <a:ahLst/>
              <a:cxnLst>
                <a:cxn ang="0">
                  <a:pos x="wd2" y="hd2"/>
                </a:cxn>
                <a:cxn ang="5400000">
                  <a:pos x="wd2" y="hd2"/>
                </a:cxn>
                <a:cxn ang="10800000">
                  <a:pos x="wd2" y="hd2"/>
                </a:cxn>
                <a:cxn ang="16200000">
                  <a:pos x="wd2" y="hd2"/>
                </a:cxn>
              </a:cxnLst>
              <a:rect l="0" t="0" r="r" b="b"/>
              <a:pathLst>
                <a:path w="21600" h="21600" extrusionOk="0">
                  <a:moveTo>
                    <a:pt x="19583" y="21406"/>
                  </a:moveTo>
                  <a:lnTo>
                    <a:pt x="19667" y="21260"/>
                  </a:lnTo>
                  <a:lnTo>
                    <a:pt x="19247" y="21018"/>
                  </a:lnTo>
                  <a:lnTo>
                    <a:pt x="19331" y="20823"/>
                  </a:lnTo>
                  <a:lnTo>
                    <a:pt x="19247" y="20532"/>
                  </a:lnTo>
                  <a:lnTo>
                    <a:pt x="19415" y="20387"/>
                  </a:lnTo>
                  <a:lnTo>
                    <a:pt x="19583" y="20338"/>
                  </a:lnTo>
                  <a:lnTo>
                    <a:pt x="19835" y="20192"/>
                  </a:lnTo>
                  <a:lnTo>
                    <a:pt x="20087" y="19853"/>
                  </a:lnTo>
                  <a:lnTo>
                    <a:pt x="20339" y="19319"/>
                  </a:lnTo>
                  <a:lnTo>
                    <a:pt x="21012" y="19027"/>
                  </a:lnTo>
                  <a:lnTo>
                    <a:pt x="21432" y="18833"/>
                  </a:lnTo>
                  <a:lnTo>
                    <a:pt x="21600" y="18785"/>
                  </a:lnTo>
                  <a:lnTo>
                    <a:pt x="21264" y="18542"/>
                  </a:lnTo>
                  <a:lnTo>
                    <a:pt x="21096" y="18396"/>
                  </a:lnTo>
                  <a:lnTo>
                    <a:pt x="21012" y="18057"/>
                  </a:lnTo>
                  <a:lnTo>
                    <a:pt x="20760" y="17668"/>
                  </a:lnTo>
                  <a:lnTo>
                    <a:pt x="20760" y="17377"/>
                  </a:lnTo>
                  <a:lnTo>
                    <a:pt x="20844" y="17183"/>
                  </a:lnTo>
                  <a:lnTo>
                    <a:pt x="20844" y="17134"/>
                  </a:lnTo>
                  <a:lnTo>
                    <a:pt x="9918" y="7669"/>
                  </a:lnTo>
                  <a:lnTo>
                    <a:pt x="9665" y="7572"/>
                  </a:lnTo>
                  <a:lnTo>
                    <a:pt x="9581" y="7524"/>
                  </a:lnTo>
                  <a:lnTo>
                    <a:pt x="9497" y="7427"/>
                  </a:lnTo>
                  <a:lnTo>
                    <a:pt x="9413" y="7281"/>
                  </a:lnTo>
                  <a:lnTo>
                    <a:pt x="9497" y="7135"/>
                  </a:lnTo>
                  <a:lnTo>
                    <a:pt x="9833" y="7087"/>
                  </a:lnTo>
                  <a:lnTo>
                    <a:pt x="10002" y="7038"/>
                  </a:lnTo>
                  <a:lnTo>
                    <a:pt x="12439" y="1699"/>
                  </a:lnTo>
                  <a:lnTo>
                    <a:pt x="2185" y="0"/>
                  </a:lnTo>
                  <a:lnTo>
                    <a:pt x="2101" y="194"/>
                  </a:lnTo>
                  <a:lnTo>
                    <a:pt x="1933" y="243"/>
                  </a:lnTo>
                  <a:lnTo>
                    <a:pt x="1933" y="1019"/>
                  </a:lnTo>
                  <a:lnTo>
                    <a:pt x="1849" y="1213"/>
                  </a:lnTo>
                  <a:lnTo>
                    <a:pt x="1597" y="1456"/>
                  </a:lnTo>
                  <a:lnTo>
                    <a:pt x="1429" y="1602"/>
                  </a:lnTo>
                  <a:lnTo>
                    <a:pt x="1429" y="1942"/>
                  </a:lnTo>
                  <a:lnTo>
                    <a:pt x="1093" y="2184"/>
                  </a:lnTo>
                  <a:lnTo>
                    <a:pt x="588" y="2427"/>
                  </a:lnTo>
                  <a:lnTo>
                    <a:pt x="168" y="2670"/>
                  </a:lnTo>
                  <a:lnTo>
                    <a:pt x="84" y="2767"/>
                  </a:lnTo>
                  <a:lnTo>
                    <a:pt x="0" y="3009"/>
                  </a:lnTo>
                  <a:lnTo>
                    <a:pt x="0" y="3204"/>
                  </a:lnTo>
                  <a:lnTo>
                    <a:pt x="84" y="3446"/>
                  </a:lnTo>
                  <a:lnTo>
                    <a:pt x="252" y="3640"/>
                  </a:lnTo>
                  <a:lnTo>
                    <a:pt x="588" y="3932"/>
                  </a:lnTo>
                  <a:lnTo>
                    <a:pt x="672" y="4126"/>
                  </a:lnTo>
                  <a:lnTo>
                    <a:pt x="756" y="4369"/>
                  </a:lnTo>
                  <a:lnTo>
                    <a:pt x="756" y="4757"/>
                  </a:lnTo>
                  <a:lnTo>
                    <a:pt x="504" y="5048"/>
                  </a:lnTo>
                  <a:lnTo>
                    <a:pt x="420" y="5339"/>
                  </a:lnTo>
                  <a:lnTo>
                    <a:pt x="420" y="5679"/>
                  </a:lnTo>
                  <a:lnTo>
                    <a:pt x="336" y="5825"/>
                  </a:lnTo>
                  <a:lnTo>
                    <a:pt x="168" y="5922"/>
                  </a:lnTo>
                  <a:lnTo>
                    <a:pt x="252" y="6116"/>
                  </a:lnTo>
                  <a:lnTo>
                    <a:pt x="588" y="6456"/>
                  </a:lnTo>
                  <a:lnTo>
                    <a:pt x="925" y="7038"/>
                  </a:lnTo>
                  <a:lnTo>
                    <a:pt x="1261" y="7427"/>
                  </a:lnTo>
                  <a:lnTo>
                    <a:pt x="1429" y="7572"/>
                  </a:lnTo>
                  <a:lnTo>
                    <a:pt x="1429" y="7815"/>
                  </a:lnTo>
                  <a:lnTo>
                    <a:pt x="1345" y="7960"/>
                  </a:lnTo>
                  <a:lnTo>
                    <a:pt x="1177" y="8058"/>
                  </a:lnTo>
                  <a:lnTo>
                    <a:pt x="1177" y="8203"/>
                  </a:lnTo>
                  <a:lnTo>
                    <a:pt x="1513" y="8203"/>
                  </a:lnTo>
                  <a:lnTo>
                    <a:pt x="1681" y="8349"/>
                  </a:lnTo>
                  <a:lnTo>
                    <a:pt x="1933" y="8543"/>
                  </a:lnTo>
                  <a:lnTo>
                    <a:pt x="2017" y="8640"/>
                  </a:lnTo>
                  <a:lnTo>
                    <a:pt x="2269" y="8689"/>
                  </a:lnTo>
                  <a:lnTo>
                    <a:pt x="2437" y="8494"/>
                  </a:lnTo>
                  <a:lnTo>
                    <a:pt x="2437" y="8252"/>
                  </a:lnTo>
                  <a:lnTo>
                    <a:pt x="2858" y="8203"/>
                  </a:lnTo>
                  <a:lnTo>
                    <a:pt x="3110" y="8349"/>
                  </a:lnTo>
                  <a:lnTo>
                    <a:pt x="3698" y="8349"/>
                  </a:lnTo>
                  <a:lnTo>
                    <a:pt x="4034" y="8543"/>
                  </a:lnTo>
                  <a:lnTo>
                    <a:pt x="4286" y="8591"/>
                  </a:lnTo>
                  <a:lnTo>
                    <a:pt x="4454" y="8640"/>
                  </a:lnTo>
                  <a:lnTo>
                    <a:pt x="4286" y="8737"/>
                  </a:lnTo>
                  <a:lnTo>
                    <a:pt x="3782" y="8591"/>
                  </a:lnTo>
                  <a:lnTo>
                    <a:pt x="3698" y="8591"/>
                  </a:lnTo>
                  <a:lnTo>
                    <a:pt x="3362" y="8543"/>
                  </a:lnTo>
                  <a:lnTo>
                    <a:pt x="3194" y="8494"/>
                  </a:lnTo>
                  <a:lnTo>
                    <a:pt x="2942" y="8446"/>
                  </a:lnTo>
                  <a:lnTo>
                    <a:pt x="2774" y="8494"/>
                  </a:lnTo>
                  <a:lnTo>
                    <a:pt x="2774" y="8931"/>
                  </a:lnTo>
                  <a:lnTo>
                    <a:pt x="2942" y="9077"/>
                  </a:lnTo>
                  <a:lnTo>
                    <a:pt x="2858" y="9417"/>
                  </a:lnTo>
                  <a:lnTo>
                    <a:pt x="2774" y="9417"/>
                  </a:lnTo>
                  <a:lnTo>
                    <a:pt x="2521" y="9320"/>
                  </a:lnTo>
                  <a:lnTo>
                    <a:pt x="2437" y="9222"/>
                  </a:lnTo>
                  <a:lnTo>
                    <a:pt x="2437" y="8980"/>
                  </a:lnTo>
                  <a:lnTo>
                    <a:pt x="2353" y="8931"/>
                  </a:lnTo>
                  <a:lnTo>
                    <a:pt x="2101" y="8883"/>
                  </a:lnTo>
                  <a:lnTo>
                    <a:pt x="2017" y="9077"/>
                  </a:lnTo>
                  <a:lnTo>
                    <a:pt x="1933" y="9174"/>
                  </a:lnTo>
                  <a:lnTo>
                    <a:pt x="1933" y="10145"/>
                  </a:lnTo>
                  <a:lnTo>
                    <a:pt x="2185" y="10387"/>
                  </a:lnTo>
                  <a:lnTo>
                    <a:pt x="2858" y="10679"/>
                  </a:lnTo>
                  <a:lnTo>
                    <a:pt x="2942" y="10921"/>
                  </a:lnTo>
                  <a:lnTo>
                    <a:pt x="2942" y="11116"/>
                  </a:lnTo>
                  <a:lnTo>
                    <a:pt x="2858" y="11310"/>
                  </a:lnTo>
                  <a:lnTo>
                    <a:pt x="2605" y="11358"/>
                  </a:lnTo>
                  <a:lnTo>
                    <a:pt x="2353" y="11358"/>
                  </a:lnTo>
                  <a:lnTo>
                    <a:pt x="2353" y="11844"/>
                  </a:lnTo>
                  <a:lnTo>
                    <a:pt x="2437" y="11989"/>
                  </a:lnTo>
                  <a:lnTo>
                    <a:pt x="2858" y="12378"/>
                  </a:lnTo>
                  <a:lnTo>
                    <a:pt x="2942" y="12669"/>
                  </a:lnTo>
                  <a:lnTo>
                    <a:pt x="3362" y="13009"/>
                  </a:lnTo>
                  <a:lnTo>
                    <a:pt x="3530" y="13348"/>
                  </a:lnTo>
                  <a:lnTo>
                    <a:pt x="3782" y="13591"/>
                  </a:lnTo>
                  <a:lnTo>
                    <a:pt x="4034" y="13931"/>
                  </a:lnTo>
                  <a:lnTo>
                    <a:pt x="4202" y="13979"/>
                  </a:lnTo>
                  <a:lnTo>
                    <a:pt x="4202" y="14465"/>
                  </a:lnTo>
                  <a:lnTo>
                    <a:pt x="4370" y="14562"/>
                  </a:lnTo>
                  <a:lnTo>
                    <a:pt x="4454" y="14707"/>
                  </a:lnTo>
                  <a:lnTo>
                    <a:pt x="4454" y="14902"/>
                  </a:lnTo>
                  <a:lnTo>
                    <a:pt x="4370" y="15338"/>
                  </a:lnTo>
                  <a:lnTo>
                    <a:pt x="4286" y="15630"/>
                  </a:lnTo>
                  <a:lnTo>
                    <a:pt x="4202" y="15872"/>
                  </a:lnTo>
                  <a:lnTo>
                    <a:pt x="4959" y="16115"/>
                  </a:lnTo>
                  <a:lnTo>
                    <a:pt x="5631" y="16261"/>
                  </a:lnTo>
                  <a:lnTo>
                    <a:pt x="6135" y="16455"/>
                  </a:lnTo>
                  <a:lnTo>
                    <a:pt x="6892" y="16600"/>
                  </a:lnTo>
                  <a:lnTo>
                    <a:pt x="7144" y="16746"/>
                  </a:lnTo>
                  <a:lnTo>
                    <a:pt x="7648" y="17231"/>
                  </a:lnTo>
                  <a:lnTo>
                    <a:pt x="8321" y="17571"/>
                  </a:lnTo>
                  <a:lnTo>
                    <a:pt x="9329" y="17717"/>
                  </a:lnTo>
                  <a:lnTo>
                    <a:pt x="9413" y="18154"/>
                  </a:lnTo>
                  <a:lnTo>
                    <a:pt x="9581" y="18348"/>
                  </a:lnTo>
                  <a:lnTo>
                    <a:pt x="10170" y="18445"/>
                  </a:lnTo>
                  <a:lnTo>
                    <a:pt x="10758" y="18833"/>
                  </a:lnTo>
                  <a:lnTo>
                    <a:pt x="11430" y="19416"/>
                  </a:lnTo>
                  <a:lnTo>
                    <a:pt x="11767" y="19658"/>
                  </a:lnTo>
                  <a:lnTo>
                    <a:pt x="12019" y="20095"/>
                  </a:lnTo>
                  <a:lnTo>
                    <a:pt x="11767" y="20484"/>
                  </a:lnTo>
                  <a:lnTo>
                    <a:pt x="11767" y="20726"/>
                  </a:lnTo>
                  <a:lnTo>
                    <a:pt x="12019" y="21066"/>
                  </a:lnTo>
                  <a:lnTo>
                    <a:pt x="12355" y="21115"/>
                  </a:lnTo>
                  <a:lnTo>
                    <a:pt x="18911" y="21600"/>
                  </a:lnTo>
                  <a:lnTo>
                    <a:pt x="18995" y="21551"/>
                  </a:lnTo>
                  <a:lnTo>
                    <a:pt x="19583" y="21406"/>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0" name="Shape 2285">
              <a:extLst>
                <a:ext uri="{FF2B5EF4-FFF2-40B4-BE49-F238E27FC236}">
                  <a16:creationId xmlns:a16="http://schemas.microsoft.com/office/drawing/2014/main" id="{8FBA058B-58EA-23E3-6930-D3DAAC1D19FD}"/>
                </a:ext>
              </a:extLst>
            </p:cNvPr>
            <p:cNvSpPr/>
            <p:nvPr/>
          </p:nvSpPr>
          <p:spPr>
            <a:xfrm>
              <a:off x="3906223" y="3394288"/>
              <a:ext cx="1616183" cy="868712"/>
            </a:xfrm>
            <a:custGeom>
              <a:avLst/>
              <a:gdLst/>
              <a:ahLst/>
              <a:cxnLst>
                <a:cxn ang="0">
                  <a:pos x="wd2" y="hd2"/>
                </a:cxn>
                <a:cxn ang="5400000">
                  <a:pos x="wd2" y="hd2"/>
                </a:cxn>
                <a:cxn ang="10800000">
                  <a:pos x="wd2" y="hd2"/>
                </a:cxn>
                <a:cxn ang="16200000">
                  <a:pos x="wd2" y="hd2"/>
                </a:cxn>
              </a:cxnLst>
              <a:rect l="0" t="0" r="r" b="b"/>
              <a:pathLst>
                <a:path w="21600" h="21600" extrusionOk="0">
                  <a:moveTo>
                    <a:pt x="0" y="3034"/>
                  </a:moveTo>
                  <a:cubicBezTo>
                    <a:pt x="0" y="3398"/>
                    <a:pt x="0" y="3398"/>
                    <a:pt x="0" y="3398"/>
                  </a:cubicBezTo>
                  <a:cubicBezTo>
                    <a:pt x="0" y="3034"/>
                    <a:pt x="0" y="3034"/>
                    <a:pt x="0" y="3034"/>
                  </a:cubicBezTo>
                  <a:cubicBezTo>
                    <a:pt x="7677" y="3883"/>
                    <a:pt x="7677" y="3883"/>
                    <a:pt x="7677" y="3883"/>
                  </a:cubicBezTo>
                  <a:cubicBezTo>
                    <a:pt x="7352" y="14926"/>
                    <a:pt x="7352" y="14926"/>
                    <a:pt x="7352" y="14926"/>
                  </a:cubicBezTo>
                  <a:cubicBezTo>
                    <a:pt x="7872" y="15897"/>
                    <a:pt x="7872" y="15897"/>
                    <a:pt x="7872" y="15897"/>
                  </a:cubicBezTo>
                  <a:cubicBezTo>
                    <a:pt x="8067" y="16261"/>
                    <a:pt x="8067" y="16261"/>
                    <a:pt x="8067" y="16261"/>
                  </a:cubicBezTo>
                  <a:cubicBezTo>
                    <a:pt x="8263" y="16261"/>
                    <a:pt x="8263" y="16261"/>
                    <a:pt x="8263" y="16261"/>
                  </a:cubicBezTo>
                  <a:cubicBezTo>
                    <a:pt x="8523" y="16139"/>
                    <a:pt x="8523" y="16139"/>
                    <a:pt x="8523" y="16139"/>
                  </a:cubicBezTo>
                  <a:cubicBezTo>
                    <a:pt x="8718" y="16261"/>
                    <a:pt x="8718" y="16261"/>
                    <a:pt x="8718" y="16261"/>
                  </a:cubicBezTo>
                  <a:cubicBezTo>
                    <a:pt x="8913" y="16139"/>
                    <a:pt x="8913" y="16139"/>
                    <a:pt x="8913" y="16139"/>
                  </a:cubicBezTo>
                  <a:cubicBezTo>
                    <a:pt x="9173" y="16382"/>
                    <a:pt x="9173" y="16382"/>
                    <a:pt x="9173" y="16382"/>
                  </a:cubicBezTo>
                  <a:cubicBezTo>
                    <a:pt x="9369" y="17474"/>
                    <a:pt x="9369" y="17474"/>
                    <a:pt x="9369" y="17474"/>
                  </a:cubicBezTo>
                  <a:cubicBezTo>
                    <a:pt x="9954" y="17474"/>
                    <a:pt x="9954" y="17474"/>
                    <a:pt x="9954" y="17474"/>
                  </a:cubicBezTo>
                  <a:cubicBezTo>
                    <a:pt x="10410" y="17960"/>
                    <a:pt x="10410" y="17960"/>
                    <a:pt x="10410" y="17960"/>
                  </a:cubicBezTo>
                  <a:cubicBezTo>
                    <a:pt x="10800" y="17838"/>
                    <a:pt x="10800" y="17838"/>
                    <a:pt x="10800" y="17838"/>
                  </a:cubicBezTo>
                  <a:cubicBezTo>
                    <a:pt x="10865" y="17838"/>
                    <a:pt x="10865" y="17838"/>
                    <a:pt x="10865" y="17838"/>
                  </a:cubicBezTo>
                  <a:cubicBezTo>
                    <a:pt x="11125" y="18324"/>
                    <a:pt x="11125" y="18324"/>
                    <a:pt x="11125" y="18324"/>
                  </a:cubicBezTo>
                  <a:cubicBezTo>
                    <a:pt x="11386" y="17960"/>
                    <a:pt x="11386" y="17960"/>
                    <a:pt x="11386" y="17960"/>
                  </a:cubicBezTo>
                  <a:cubicBezTo>
                    <a:pt x="11971" y="18081"/>
                    <a:pt x="11971" y="18081"/>
                    <a:pt x="11971" y="18081"/>
                  </a:cubicBezTo>
                  <a:cubicBezTo>
                    <a:pt x="12231" y="18930"/>
                    <a:pt x="12231" y="18930"/>
                    <a:pt x="12231" y="18930"/>
                  </a:cubicBezTo>
                  <a:cubicBezTo>
                    <a:pt x="12427" y="18930"/>
                    <a:pt x="12427" y="18930"/>
                    <a:pt x="12427" y="18930"/>
                  </a:cubicBezTo>
                  <a:cubicBezTo>
                    <a:pt x="12492" y="19658"/>
                    <a:pt x="12492" y="19658"/>
                    <a:pt x="12492" y="19658"/>
                  </a:cubicBezTo>
                  <a:cubicBezTo>
                    <a:pt x="12752" y="19780"/>
                    <a:pt x="12752" y="19780"/>
                    <a:pt x="12752" y="19780"/>
                  </a:cubicBezTo>
                  <a:cubicBezTo>
                    <a:pt x="13012" y="19416"/>
                    <a:pt x="13012" y="19416"/>
                    <a:pt x="13012" y="19416"/>
                  </a:cubicBezTo>
                  <a:cubicBezTo>
                    <a:pt x="13142" y="19052"/>
                    <a:pt x="13142" y="19052"/>
                    <a:pt x="13142" y="19052"/>
                  </a:cubicBezTo>
                  <a:cubicBezTo>
                    <a:pt x="13272" y="19052"/>
                    <a:pt x="13272" y="19052"/>
                    <a:pt x="13272" y="19052"/>
                  </a:cubicBezTo>
                  <a:cubicBezTo>
                    <a:pt x="13728" y="19658"/>
                    <a:pt x="13728" y="19658"/>
                    <a:pt x="13728" y="19658"/>
                  </a:cubicBezTo>
                  <a:cubicBezTo>
                    <a:pt x="13858" y="20144"/>
                    <a:pt x="13858" y="20144"/>
                    <a:pt x="13858" y="20144"/>
                  </a:cubicBezTo>
                  <a:cubicBezTo>
                    <a:pt x="14313" y="19658"/>
                    <a:pt x="14313" y="19658"/>
                    <a:pt x="14313" y="19658"/>
                  </a:cubicBezTo>
                  <a:cubicBezTo>
                    <a:pt x="14443" y="19901"/>
                    <a:pt x="14443" y="19901"/>
                    <a:pt x="14443" y="19901"/>
                  </a:cubicBezTo>
                  <a:cubicBezTo>
                    <a:pt x="14508" y="20629"/>
                    <a:pt x="14508" y="20629"/>
                    <a:pt x="14508" y="20629"/>
                  </a:cubicBezTo>
                  <a:cubicBezTo>
                    <a:pt x="14639" y="20508"/>
                    <a:pt x="14639" y="20508"/>
                    <a:pt x="14639" y="20508"/>
                  </a:cubicBezTo>
                  <a:cubicBezTo>
                    <a:pt x="14834" y="19901"/>
                    <a:pt x="14834" y="19901"/>
                    <a:pt x="14834" y="19901"/>
                  </a:cubicBezTo>
                  <a:cubicBezTo>
                    <a:pt x="15159" y="19780"/>
                    <a:pt x="15159" y="19780"/>
                    <a:pt x="15159" y="19780"/>
                  </a:cubicBezTo>
                  <a:cubicBezTo>
                    <a:pt x="15549" y="20144"/>
                    <a:pt x="15549" y="20144"/>
                    <a:pt x="15549" y="20144"/>
                  </a:cubicBezTo>
                  <a:cubicBezTo>
                    <a:pt x="16135" y="20022"/>
                    <a:pt x="16135" y="20022"/>
                    <a:pt x="16135" y="20022"/>
                  </a:cubicBezTo>
                  <a:cubicBezTo>
                    <a:pt x="16395" y="20508"/>
                    <a:pt x="16395" y="20508"/>
                    <a:pt x="16395" y="20508"/>
                  </a:cubicBezTo>
                  <a:cubicBezTo>
                    <a:pt x="16525" y="20872"/>
                    <a:pt x="16525" y="20872"/>
                    <a:pt x="16525" y="20872"/>
                  </a:cubicBezTo>
                  <a:cubicBezTo>
                    <a:pt x="16851" y="20751"/>
                    <a:pt x="16851" y="20751"/>
                    <a:pt x="16851" y="20751"/>
                  </a:cubicBezTo>
                  <a:cubicBezTo>
                    <a:pt x="17176" y="20265"/>
                    <a:pt x="17176" y="20265"/>
                    <a:pt x="17176" y="20265"/>
                  </a:cubicBezTo>
                  <a:cubicBezTo>
                    <a:pt x="17371" y="19901"/>
                    <a:pt x="17371" y="19901"/>
                    <a:pt x="17371" y="19901"/>
                  </a:cubicBezTo>
                  <a:cubicBezTo>
                    <a:pt x="17631" y="19901"/>
                    <a:pt x="17631" y="19901"/>
                    <a:pt x="17631" y="19901"/>
                  </a:cubicBezTo>
                  <a:cubicBezTo>
                    <a:pt x="17892" y="20144"/>
                    <a:pt x="17892" y="20144"/>
                    <a:pt x="17892" y="20144"/>
                  </a:cubicBezTo>
                  <a:cubicBezTo>
                    <a:pt x="18087" y="20022"/>
                    <a:pt x="18087" y="20022"/>
                    <a:pt x="18087" y="20022"/>
                  </a:cubicBezTo>
                  <a:cubicBezTo>
                    <a:pt x="18347" y="19658"/>
                    <a:pt x="18347" y="19658"/>
                    <a:pt x="18347" y="19658"/>
                  </a:cubicBezTo>
                  <a:cubicBezTo>
                    <a:pt x="18737" y="19780"/>
                    <a:pt x="18737" y="19780"/>
                    <a:pt x="18737" y="19780"/>
                  </a:cubicBezTo>
                  <a:cubicBezTo>
                    <a:pt x="18933" y="19901"/>
                    <a:pt x="18933" y="19901"/>
                    <a:pt x="18933" y="19901"/>
                  </a:cubicBezTo>
                  <a:cubicBezTo>
                    <a:pt x="19518" y="19537"/>
                    <a:pt x="19518" y="19537"/>
                    <a:pt x="19518" y="19537"/>
                  </a:cubicBezTo>
                  <a:cubicBezTo>
                    <a:pt x="19908" y="19780"/>
                    <a:pt x="19908" y="19780"/>
                    <a:pt x="19908" y="19780"/>
                  </a:cubicBezTo>
                  <a:cubicBezTo>
                    <a:pt x="20234" y="20387"/>
                    <a:pt x="20234" y="20387"/>
                    <a:pt x="20234" y="20387"/>
                  </a:cubicBezTo>
                  <a:cubicBezTo>
                    <a:pt x="20689" y="20993"/>
                    <a:pt x="20689" y="20993"/>
                    <a:pt x="20689" y="20993"/>
                  </a:cubicBezTo>
                  <a:cubicBezTo>
                    <a:pt x="21080" y="20993"/>
                    <a:pt x="21080" y="20993"/>
                    <a:pt x="21080" y="20993"/>
                  </a:cubicBezTo>
                  <a:cubicBezTo>
                    <a:pt x="21340" y="21357"/>
                    <a:pt x="21340" y="21357"/>
                    <a:pt x="21340" y="21357"/>
                  </a:cubicBezTo>
                  <a:cubicBezTo>
                    <a:pt x="21535" y="21600"/>
                    <a:pt x="21535" y="21600"/>
                    <a:pt x="21535" y="21600"/>
                  </a:cubicBezTo>
                  <a:cubicBezTo>
                    <a:pt x="21600" y="10679"/>
                    <a:pt x="21600" y="10679"/>
                    <a:pt x="21600" y="10679"/>
                  </a:cubicBezTo>
                  <a:cubicBezTo>
                    <a:pt x="21080" y="4490"/>
                    <a:pt x="21080" y="4490"/>
                    <a:pt x="21080" y="4490"/>
                  </a:cubicBezTo>
                  <a:cubicBezTo>
                    <a:pt x="21080" y="1456"/>
                    <a:pt x="21080" y="1456"/>
                    <a:pt x="21080" y="1456"/>
                  </a:cubicBezTo>
                  <a:cubicBezTo>
                    <a:pt x="21080" y="1456"/>
                    <a:pt x="13728" y="1213"/>
                    <a:pt x="11386" y="1092"/>
                  </a:cubicBezTo>
                  <a:cubicBezTo>
                    <a:pt x="8523" y="849"/>
                    <a:pt x="260" y="0"/>
                    <a:pt x="260" y="0"/>
                  </a:cubicBezTo>
                  <a:cubicBezTo>
                    <a:pt x="195" y="3034"/>
                    <a:pt x="195" y="3034"/>
                    <a:pt x="195" y="3034"/>
                  </a:cubicBezTo>
                  <a:lnTo>
                    <a:pt x="0" y="3034"/>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1" name="Shape 2286">
              <a:extLst>
                <a:ext uri="{FF2B5EF4-FFF2-40B4-BE49-F238E27FC236}">
                  <a16:creationId xmlns:a16="http://schemas.microsoft.com/office/drawing/2014/main" id="{028A4F53-6E67-ADE0-D8AA-BC4A53D261CB}"/>
                </a:ext>
              </a:extLst>
            </p:cNvPr>
            <p:cNvSpPr/>
            <p:nvPr/>
          </p:nvSpPr>
          <p:spPr>
            <a:xfrm>
              <a:off x="4113279" y="2692419"/>
              <a:ext cx="1368866" cy="75940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7200"/>
                    <a:pt x="21600" y="7200"/>
                    <a:pt x="21600" y="7200"/>
                  </a:cubicBezTo>
                  <a:cubicBezTo>
                    <a:pt x="21140" y="6785"/>
                    <a:pt x="21140" y="6785"/>
                    <a:pt x="21140" y="6785"/>
                  </a:cubicBezTo>
                  <a:cubicBezTo>
                    <a:pt x="20911" y="6508"/>
                    <a:pt x="20911" y="6508"/>
                    <a:pt x="20911" y="6508"/>
                  </a:cubicBezTo>
                  <a:cubicBezTo>
                    <a:pt x="20757" y="5677"/>
                    <a:pt x="20757" y="5677"/>
                    <a:pt x="20757" y="5677"/>
                  </a:cubicBezTo>
                  <a:cubicBezTo>
                    <a:pt x="20298" y="4846"/>
                    <a:pt x="20298" y="4846"/>
                    <a:pt x="20298" y="4846"/>
                  </a:cubicBezTo>
                  <a:cubicBezTo>
                    <a:pt x="20528" y="4154"/>
                    <a:pt x="20528" y="4154"/>
                    <a:pt x="20528" y="4154"/>
                  </a:cubicBezTo>
                  <a:cubicBezTo>
                    <a:pt x="20757" y="3323"/>
                    <a:pt x="20757" y="3323"/>
                    <a:pt x="20757" y="3323"/>
                  </a:cubicBezTo>
                  <a:cubicBezTo>
                    <a:pt x="20757" y="2631"/>
                    <a:pt x="20757" y="2631"/>
                    <a:pt x="20757" y="2631"/>
                  </a:cubicBezTo>
                  <a:cubicBezTo>
                    <a:pt x="20604" y="2631"/>
                    <a:pt x="20604" y="2631"/>
                    <a:pt x="20604" y="2631"/>
                  </a:cubicBezTo>
                  <a:cubicBezTo>
                    <a:pt x="19915" y="2631"/>
                    <a:pt x="19915" y="2631"/>
                    <a:pt x="19915" y="2631"/>
                  </a:cubicBezTo>
                  <a:cubicBezTo>
                    <a:pt x="19762" y="2077"/>
                    <a:pt x="19762" y="2077"/>
                    <a:pt x="19762" y="2077"/>
                  </a:cubicBezTo>
                  <a:cubicBezTo>
                    <a:pt x="19455" y="1246"/>
                    <a:pt x="19455" y="1246"/>
                    <a:pt x="19455" y="1246"/>
                  </a:cubicBezTo>
                  <a:cubicBezTo>
                    <a:pt x="19455" y="1246"/>
                    <a:pt x="14323" y="969"/>
                    <a:pt x="12638" y="831"/>
                  </a:cubicBezTo>
                  <a:cubicBezTo>
                    <a:pt x="9651" y="692"/>
                    <a:pt x="766" y="0"/>
                    <a:pt x="766" y="0"/>
                  </a:cubicBezTo>
                  <a:cubicBezTo>
                    <a:pt x="0" y="20215"/>
                    <a:pt x="0" y="20215"/>
                    <a:pt x="0" y="20215"/>
                  </a:cubicBezTo>
                  <a:cubicBezTo>
                    <a:pt x="3140" y="20492"/>
                    <a:pt x="7966" y="20908"/>
                    <a:pt x="10187" y="21185"/>
                  </a:cubicBezTo>
                  <a:cubicBezTo>
                    <a:pt x="12945" y="21323"/>
                    <a:pt x="21600" y="21600"/>
                    <a:pt x="21600"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2" name="Shape 2287">
              <a:extLst>
                <a:ext uri="{FF2B5EF4-FFF2-40B4-BE49-F238E27FC236}">
                  <a16:creationId xmlns:a16="http://schemas.microsoft.com/office/drawing/2014/main" id="{11D4DB64-A61F-8E60-0FA9-0E0929CE26F2}"/>
                </a:ext>
              </a:extLst>
            </p:cNvPr>
            <p:cNvSpPr/>
            <p:nvPr/>
          </p:nvSpPr>
          <p:spPr>
            <a:xfrm>
              <a:off x="3825701" y="1967536"/>
              <a:ext cx="1524159" cy="77090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21600"/>
                    <a:pt x="21600" y="21600"/>
                    <a:pt x="21600" y="21600"/>
                  </a:cubicBezTo>
                  <a:cubicBezTo>
                    <a:pt x="21600" y="21600"/>
                    <a:pt x="21600" y="21600"/>
                    <a:pt x="21600" y="21600"/>
                  </a:cubicBezTo>
                  <a:cubicBezTo>
                    <a:pt x="21462" y="21053"/>
                    <a:pt x="21462" y="21053"/>
                    <a:pt x="21462" y="21053"/>
                  </a:cubicBezTo>
                  <a:cubicBezTo>
                    <a:pt x="21393" y="20233"/>
                    <a:pt x="21393" y="20233"/>
                    <a:pt x="21393" y="20233"/>
                  </a:cubicBezTo>
                  <a:cubicBezTo>
                    <a:pt x="21393" y="20233"/>
                    <a:pt x="21048" y="20096"/>
                    <a:pt x="20979" y="19959"/>
                  </a:cubicBezTo>
                  <a:cubicBezTo>
                    <a:pt x="20910" y="19823"/>
                    <a:pt x="20979" y="19823"/>
                    <a:pt x="20979" y="19823"/>
                  </a:cubicBezTo>
                  <a:cubicBezTo>
                    <a:pt x="20841" y="19413"/>
                    <a:pt x="20841" y="19413"/>
                    <a:pt x="20841" y="19413"/>
                  </a:cubicBezTo>
                  <a:cubicBezTo>
                    <a:pt x="20979" y="19139"/>
                    <a:pt x="20979" y="19139"/>
                    <a:pt x="20979" y="19139"/>
                  </a:cubicBezTo>
                  <a:cubicBezTo>
                    <a:pt x="20910" y="18456"/>
                    <a:pt x="20910" y="18456"/>
                    <a:pt x="20910" y="18456"/>
                  </a:cubicBezTo>
                  <a:cubicBezTo>
                    <a:pt x="20703" y="18182"/>
                    <a:pt x="20703" y="18182"/>
                    <a:pt x="20703" y="18182"/>
                  </a:cubicBezTo>
                  <a:cubicBezTo>
                    <a:pt x="20634" y="17772"/>
                    <a:pt x="20634" y="17772"/>
                    <a:pt x="20634" y="17772"/>
                  </a:cubicBezTo>
                  <a:cubicBezTo>
                    <a:pt x="20496" y="16815"/>
                    <a:pt x="20496" y="16815"/>
                    <a:pt x="20496" y="16815"/>
                  </a:cubicBezTo>
                  <a:cubicBezTo>
                    <a:pt x="20496" y="15448"/>
                    <a:pt x="20496" y="15448"/>
                    <a:pt x="20496" y="15448"/>
                  </a:cubicBezTo>
                  <a:cubicBezTo>
                    <a:pt x="20427" y="15175"/>
                    <a:pt x="20427" y="15175"/>
                    <a:pt x="20427" y="15175"/>
                  </a:cubicBezTo>
                  <a:cubicBezTo>
                    <a:pt x="20289" y="14765"/>
                    <a:pt x="20289" y="14765"/>
                    <a:pt x="20289" y="14765"/>
                  </a:cubicBezTo>
                  <a:cubicBezTo>
                    <a:pt x="20358" y="14218"/>
                    <a:pt x="20358" y="14218"/>
                    <a:pt x="20358" y="14218"/>
                  </a:cubicBezTo>
                  <a:cubicBezTo>
                    <a:pt x="20358" y="12851"/>
                    <a:pt x="20358" y="12851"/>
                    <a:pt x="20358" y="12851"/>
                  </a:cubicBezTo>
                  <a:cubicBezTo>
                    <a:pt x="20220" y="11894"/>
                    <a:pt x="20220" y="11894"/>
                    <a:pt x="20220" y="11894"/>
                  </a:cubicBezTo>
                  <a:cubicBezTo>
                    <a:pt x="20082" y="11620"/>
                    <a:pt x="20082" y="11620"/>
                    <a:pt x="20082" y="11620"/>
                  </a:cubicBezTo>
                  <a:cubicBezTo>
                    <a:pt x="19944" y="11620"/>
                    <a:pt x="19944" y="11620"/>
                    <a:pt x="19944" y="11620"/>
                  </a:cubicBezTo>
                  <a:cubicBezTo>
                    <a:pt x="19875" y="11347"/>
                    <a:pt x="19875" y="11347"/>
                    <a:pt x="19875" y="11347"/>
                  </a:cubicBezTo>
                  <a:cubicBezTo>
                    <a:pt x="19806" y="10663"/>
                    <a:pt x="19806" y="10663"/>
                    <a:pt x="19806" y="10663"/>
                  </a:cubicBezTo>
                  <a:cubicBezTo>
                    <a:pt x="19737" y="10116"/>
                    <a:pt x="19737" y="10116"/>
                    <a:pt x="19737" y="10116"/>
                  </a:cubicBezTo>
                  <a:cubicBezTo>
                    <a:pt x="19944" y="9980"/>
                    <a:pt x="19944" y="9980"/>
                    <a:pt x="19944" y="9980"/>
                  </a:cubicBezTo>
                  <a:cubicBezTo>
                    <a:pt x="19944" y="9843"/>
                    <a:pt x="19944" y="9843"/>
                    <a:pt x="19944" y="9843"/>
                  </a:cubicBezTo>
                  <a:cubicBezTo>
                    <a:pt x="19875" y="9706"/>
                    <a:pt x="19875" y="9706"/>
                    <a:pt x="19875" y="9706"/>
                  </a:cubicBezTo>
                  <a:cubicBezTo>
                    <a:pt x="19806" y="9296"/>
                    <a:pt x="19806" y="9296"/>
                    <a:pt x="19806" y="9296"/>
                  </a:cubicBezTo>
                  <a:cubicBezTo>
                    <a:pt x="19668" y="8886"/>
                    <a:pt x="19668" y="8886"/>
                    <a:pt x="19668" y="8886"/>
                  </a:cubicBezTo>
                  <a:cubicBezTo>
                    <a:pt x="19530" y="8203"/>
                    <a:pt x="19530" y="8203"/>
                    <a:pt x="19530" y="8203"/>
                  </a:cubicBezTo>
                  <a:cubicBezTo>
                    <a:pt x="19392" y="7382"/>
                    <a:pt x="19392" y="7382"/>
                    <a:pt x="19392" y="7382"/>
                  </a:cubicBezTo>
                  <a:cubicBezTo>
                    <a:pt x="19185" y="6699"/>
                    <a:pt x="19185" y="6699"/>
                    <a:pt x="19185" y="6699"/>
                  </a:cubicBezTo>
                  <a:cubicBezTo>
                    <a:pt x="18978" y="5468"/>
                    <a:pt x="18978" y="5468"/>
                    <a:pt x="18978" y="5468"/>
                  </a:cubicBezTo>
                  <a:cubicBezTo>
                    <a:pt x="18771" y="4922"/>
                    <a:pt x="18771" y="4922"/>
                    <a:pt x="18771" y="4922"/>
                  </a:cubicBezTo>
                  <a:cubicBezTo>
                    <a:pt x="18702" y="4785"/>
                    <a:pt x="18702" y="4785"/>
                    <a:pt x="18702" y="4785"/>
                  </a:cubicBezTo>
                  <a:cubicBezTo>
                    <a:pt x="18426" y="4375"/>
                    <a:pt x="18426" y="4375"/>
                    <a:pt x="18426" y="4375"/>
                  </a:cubicBezTo>
                  <a:cubicBezTo>
                    <a:pt x="17942" y="3691"/>
                    <a:pt x="17942" y="3691"/>
                    <a:pt x="17942" y="3691"/>
                  </a:cubicBezTo>
                  <a:cubicBezTo>
                    <a:pt x="17597" y="3418"/>
                    <a:pt x="17597" y="3418"/>
                    <a:pt x="17597" y="3418"/>
                  </a:cubicBezTo>
                  <a:cubicBezTo>
                    <a:pt x="17252" y="3144"/>
                    <a:pt x="17252" y="3144"/>
                    <a:pt x="17252" y="3144"/>
                  </a:cubicBezTo>
                  <a:cubicBezTo>
                    <a:pt x="16976" y="2597"/>
                    <a:pt x="16976" y="2597"/>
                    <a:pt x="16976" y="2597"/>
                  </a:cubicBezTo>
                  <a:cubicBezTo>
                    <a:pt x="16493" y="2461"/>
                    <a:pt x="16493" y="2461"/>
                    <a:pt x="16493" y="2461"/>
                  </a:cubicBezTo>
                  <a:cubicBezTo>
                    <a:pt x="15872" y="2597"/>
                    <a:pt x="15872" y="2597"/>
                    <a:pt x="15872" y="2597"/>
                  </a:cubicBezTo>
                  <a:cubicBezTo>
                    <a:pt x="15665" y="2597"/>
                    <a:pt x="15665" y="2597"/>
                    <a:pt x="15665" y="2597"/>
                  </a:cubicBezTo>
                  <a:cubicBezTo>
                    <a:pt x="15458" y="2734"/>
                    <a:pt x="15458" y="2734"/>
                    <a:pt x="15458" y="2734"/>
                  </a:cubicBezTo>
                  <a:cubicBezTo>
                    <a:pt x="15320" y="3008"/>
                    <a:pt x="15320" y="3008"/>
                    <a:pt x="15320" y="3008"/>
                  </a:cubicBezTo>
                  <a:cubicBezTo>
                    <a:pt x="15113" y="2871"/>
                    <a:pt x="15113" y="2871"/>
                    <a:pt x="15113" y="2871"/>
                  </a:cubicBezTo>
                  <a:cubicBezTo>
                    <a:pt x="14906" y="2597"/>
                    <a:pt x="14906" y="2597"/>
                    <a:pt x="14906" y="2597"/>
                  </a:cubicBezTo>
                  <a:cubicBezTo>
                    <a:pt x="14492" y="2187"/>
                    <a:pt x="14492" y="2187"/>
                    <a:pt x="14492" y="2187"/>
                  </a:cubicBezTo>
                  <a:cubicBezTo>
                    <a:pt x="13940" y="1641"/>
                    <a:pt x="13940" y="1641"/>
                    <a:pt x="13940" y="1641"/>
                  </a:cubicBezTo>
                  <a:cubicBezTo>
                    <a:pt x="690" y="0"/>
                    <a:pt x="690" y="0"/>
                    <a:pt x="690" y="0"/>
                  </a:cubicBezTo>
                  <a:cubicBezTo>
                    <a:pt x="0" y="12987"/>
                    <a:pt x="0" y="12987"/>
                    <a:pt x="0" y="12987"/>
                  </a:cubicBezTo>
                  <a:cubicBezTo>
                    <a:pt x="5038" y="13944"/>
                    <a:pt x="5038" y="13944"/>
                    <a:pt x="5038" y="13944"/>
                  </a:cubicBezTo>
                  <a:cubicBezTo>
                    <a:pt x="4762" y="20370"/>
                    <a:pt x="4762" y="20370"/>
                    <a:pt x="4762" y="20370"/>
                  </a:cubicBezTo>
                  <a:cubicBezTo>
                    <a:pt x="4762" y="20370"/>
                    <a:pt x="4762" y="20370"/>
                    <a:pt x="4762" y="20370"/>
                  </a:cubicBezTo>
                  <a:cubicBezTo>
                    <a:pt x="5176" y="20370"/>
                    <a:pt x="12836" y="21053"/>
                    <a:pt x="15458" y="21190"/>
                  </a:cubicBezTo>
                  <a:cubicBezTo>
                    <a:pt x="16976" y="21327"/>
                    <a:pt x="21600" y="21600"/>
                    <a:pt x="21600"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3" name="Shape 2288">
              <a:extLst>
                <a:ext uri="{FF2B5EF4-FFF2-40B4-BE49-F238E27FC236}">
                  <a16:creationId xmlns:a16="http://schemas.microsoft.com/office/drawing/2014/main" id="{188C8EFD-5940-3196-5175-E0055B93824A}"/>
                </a:ext>
              </a:extLst>
            </p:cNvPr>
            <p:cNvSpPr/>
            <p:nvPr/>
          </p:nvSpPr>
          <p:spPr>
            <a:xfrm>
              <a:off x="3871713" y="1277174"/>
              <a:ext cx="1311353" cy="874463"/>
            </a:xfrm>
            <a:custGeom>
              <a:avLst/>
              <a:gdLst/>
              <a:ahLst/>
              <a:cxnLst>
                <a:cxn ang="0">
                  <a:pos x="wd2" y="hd2"/>
                </a:cxn>
                <a:cxn ang="5400000">
                  <a:pos x="wd2" y="hd2"/>
                </a:cxn>
                <a:cxn ang="10800000">
                  <a:pos x="wd2" y="hd2"/>
                </a:cxn>
                <a:cxn ang="16200000">
                  <a:pos x="wd2" y="hd2"/>
                </a:cxn>
              </a:cxnLst>
              <a:rect l="0" t="0" r="r" b="b"/>
              <a:pathLst>
                <a:path w="21600" h="21600" extrusionOk="0">
                  <a:moveTo>
                    <a:pt x="16059" y="18960"/>
                  </a:moveTo>
                  <a:cubicBezTo>
                    <a:pt x="16541" y="19320"/>
                    <a:pt x="16541" y="19320"/>
                    <a:pt x="16541" y="19320"/>
                  </a:cubicBezTo>
                  <a:cubicBezTo>
                    <a:pt x="16782" y="19560"/>
                    <a:pt x="16782" y="19560"/>
                    <a:pt x="16782" y="19560"/>
                  </a:cubicBezTo>
                  <a:cubicBezTo>
                    <a:pt x="17023" y="19680"/>
                    <a:pt x="17023" y="19680"/>
                    <a:pt x="17023" y="19680"/>
                  </a:cubicBezTo>
                  <a:cubicBezTo>
                    <a:pt x="17184" y="19440"/>
                    <a:pt x="17184" y="19440"/>
                    <a:pt x="17184" y="19440"/>
                  </a:cubicBezTo>
                  <a:cubicBezTo>
                    <a:pt x="17425" y="19320"/>
                    <a:pt x="17425" y="19320"/>
                    <a:pt x="17425" y="19320"/>
                  </a:cubicBezTo>
                  <a:cubicBezTo>
                    <a:pt x="17665" y="19320"/>
                    <a:pt x="17665" y="19320"/>
                    <a:pt x="17665" y="19320"/>
                  </a:cubicBezTo>
                  <a:cubicBezTo>
                    <a:pt x="18388" y="19200"/>
                    <a:pt x="18388" y="19200"/>
                    <a:pt x="18388" y="19200"/>
                  </a:cubicBezTo>
                  <a:cubicBezTo>
                    <a:pt x="18950" y="19320"/>
                    <a:pt x="18950" y="19320"/>
                    <a:pt x="18950" y="19320"/>
                  </a:cubicBezTo>
                  <a:cubicBezTo>
                    <a:pt x="19271" y="19800"/>
                    <a:pt x="19271" y="19800"/>
                    <a:pt x="19271" y="19800"/>
                  </a:cubicBezTo>
                  <a:cubicBezTo>
                    <a:pt x="19673" y="20040"/>
                    <a:pt x="19673" y="20040"/>
                    <a:pt x="19673" y="20040"/>
                  </a:cubicBezTo>
                  <a:cubicBezTo>
                    <a:pt x="20074" y="20280"/>
                    <a:pt x="20074" y="20280"/>
                    <a:pt x="20074" y="20280"/>
                  </a:cubicBezTo>
                  <a:cubicBezTo>
                    <a:pt x="20636" y="20880"/>
                    <a:pt x="20636" y="20880"/>
                    <a:pt x="20636" y="20880"/>
                  </a:cubicBezTo>
                  <a:cubicBezTo>
                    <a:pt x="20958" y="21240"/>
                    <a:pt x="20958" y="21240"/>
                    <a:pt x="20958" y="21240"/>
                  </a:cubicBezTo>
                  <a:cubicBezTo>
                    <a:pt x="21038" y="21360"/>
                    <a:pt x="21038" y="21360"/>
                    <a:pt x="21038" y="21360"/>
                  </a:cubicBezTo>
                  <a:cubicBezTo>
                    <a:pt x="21118" y="21600"/>
                    <a:pt x="21118" y="21600"/>
                    <a:pt x="21118" y="21600"/>
                  </a:cubicBezTo>
                  <a:cubicBezTo>
                    <a:pt x="21118" y="21600"/>
                    <a:pt x="21118" y="21600"/>
                    <a:pt x="21118" y="21600"/>
                  </a:cubicBezTo>
                  <a:cubicBezTo>
                    <a:pt x="21118" y="21240"/>
                    <a:pt x="21118" y="21240"/>
                    <a:pt x="21118" y="21240"/>
                  </a:cubicBezTo>
                  <a:cubicBezTo>
                    <a:pt x="21118" y="20760"/>
                    <a:pt x="21118" y="20760"/>
                    <a:pt x="21118" y="20760"/>
                  </a:cubicBezTo>
                  <a:cubicBezTo>
                    <a:pt x="20797" y="20400"/>
                    <a:pt x="20797" y="20400"/>
                    <a:pt x="20797" y="20400"/>
                  </a:cubicBezTo>
                  <a:cubicBezTo>
                    <a:pt x="20797" y="20040"/>
                    <a:pt x="20797" y="20040"/>
                    <a:pt x="20797" y="20040"/>
                  </a:cubicBezTo>
                  <a:cubicBezTo>
                    <a:pt x="20877" y="19680"/>
                    <a:pt x="20877" y="19680"/>
                    <a:pt x="20877" y="19680"/>
                  </a:cubicBezTo>
                  <a:cubicBezTo>
                    <a:pt x="21118" y="19560"/>
                    <a:pt x="21118" y="19560"/>
                    <a:pt x="21118" y="19560"/>
                  </a:cubicBezTo>
                  <a:cubicBezTo>
                    <a:pt x="21118" y="18720"/>
                    <a:pt x="21118" y="18720"/>
                    <a:pt x="21118" y="18720"/>
                  </a:cubicBezTo>
                  <a:cubicBezTo>
                    <a:pt x="21199" y="18360"/>
                    <a:pt x="21199" y="18360"/>
                    <a:pt x="21199" y="18360"/>
                  </a:cubicBezTo>
                  <a:cubicBezTo>
                    <a:pt x="21359" y="18240"/>
                    <a:pt x="21359" y="18240"/>
                    <a:pt x="21359" y="18240"/>
                  </a:cubicBezTo>
                  <a:cubicBezTo>
                    <a:pt x="21359" y="17760"/>
                    <a:pt x="21359" y="17760"/>
                    <a:pt x="21359" y="17760"/>
                  </a:cubicBezTo>
                  <a:cubicBezTo>
                    <a:pt x="21199" y="17160"/>
                    <a:pt x="21199" y="17160"/>
                    <a:pt x="21199" y="17160"/>
                  </a:cubicBezTo>
                  <a:cubicBezTo>
                    <a:pt x="21038" y="17040"/>
                    <a:pt x="21038" y="17040"/>
                    <a:pt x="21038" y="17040"/>
                  </a:cubicBezTo>
                  <a:cubicBezTo>
                    <a:pt x="21118" y="16440"/>
                    <a:pt x="21118" y="16440"/>
                    <a:pt x="21118" y="16440"/>
                  </a:cubicBezTo>
                  <a:cubicBezTo>
                    <a:pt x="21118" y="16080"/>
                    <a:pt x="21118" y="16080"/>
                    <a:pt x="21118" y="16080"/>
                  </a:cubicBezTo>
                  <a:cubicBezTo>
                    <a:pt x="21359" y="16080"/>
                    <a:pt x="21359" y="16080"/>
                    <a:pt x="21359" y="16080"/>
                  </a:cubicBezTo>
                  <a:cubicBezTo>
                    <a:pt x="21600" y="5640"/>
                    <a:pt x="21600" y="5640"/>
                    <a:pt x="21600" y="5640"/>
                  </a:cubicBezTo>
                  <a:cubicBezTo>
                    <a:pt x="21359" y="5280"/>
                    <a:pt x="21359" y="5280"/>
                    <a:pt x="21359" y="5280"/>
                  </a:cubicBezTo>
                  <a:cubicBezTo>
                    <a:pt x="21199" y="4920"/>
                    <a:pt x="21199" y="4920"/>
                    <a:pt x="21199" y="4920"/>
                  </a:cubicBezTo>
                  <a:cubicBezTo>
                    <a:pt x="20797" y="4680"/>
                    <a:pt x="20797" y="4680"/>
                    <a:pt x="20797" y="4680"/>
                  </a:cubicBezTo>
                  <a:cubicBezTo>
                    <a:pt x="20717" y="4320"/>
                    <a:pt x="20717" y="4320"/>
                    <a:pt x="20717" y="4320"/>
                  </a:cubicBezTo>
                  <a:cubicBezTo>
                    <a:pt x="20476" y="3960"/>
                    <a:pt x="20476" y="3960"/>
                    <a:pt x="20476" y="3960"/>
                  </a:cubicBezTo>
                  <a:cubicBezTo>
                    <a:pt x="20396" y="3720"/>
                    <a:pt x="20396" y="3720"/>
                    <a:pt x="20396" y="3720"/>
                  </a:cubicBezTo>
                  <a:cubicBezTo>
                    <a:pt x="20396" y="3480"/>
                    <a:pt x="20396" y="3480"/>
                    <a:pt x="20396" y="3480"/>
                  </a:cubicBezTo>
                  <a:cubicBezTo>
                    <a:pt x="20396" y="3240"/>
                    <a:pt x="20396" y="3240"/>
                    <a:pt x="20396" y="3240"/>
                  </a:cubicBezTo>
                  <a:cubicBezTo>
                    <a:pt x="20636" y="2880"/>
                    <a:pt x="20636" y="2880"/>
                    <a:pt x="20636" y="2880"/>
                  </a:cubicBezTo>
                  <a:cubicBezTo>
                    <a:pt x="20877" y="2520"/>
                    <a:pt x="20877" y="2520"/>
                    <a:pt x="20877" y="2520"/>
                  </a:cubicBezTo>
                  <a:cubicBezTo>
                    <a:pt x="21199" y="2040"/>
                    <a:pt x="21199" y="2040"/>
                    <a:pt x="21199" y="2040"/>
                  </a:cubicBezTo>
                  <a:cubicBezTo>
                    <a:pt x="21118" y="1800"/>
                    <a:pt x="21118" y="1800"/>
                    <a:pt x="21118" y="1800"/>
                  </a:cubicBezTo>
                  <a:cubicBezTo>
                    <a:pt x="21118" y="1680"/>
                    <a:pt x="21118" y="1680"/>
                    <a:pt x="21118" y="1680"/>
                  </a:cubicBezTo>
                  <a:cubicBezTo>
                    <a:pt x="21118" y="1680"/>
                    <a:pt x="13410" y="1200"/>
                    <a:pt x="10920" y="960"/>
                  </a:cubicBezTo>
                  <a:cubicBezTo>
                    <a:pt x="8431" y="720"/>
                    <a:pt x="1124" y="0"/>
                    <a:pt x="1124" y="0"/>
                  </a:cubicBezTo>
                  <a:cubicBezTo>
                    <a:pt x="0" y="17040"/>
                    <a:pt x="0" y="17040"/>
                    <a:pt x="0" y="17040"/>
                  </a:cubicBezTo>
                  <a:cubicBezTo>
                    <a:pt x="15417" y="18480"/>
                    <a:pt x="15417" y="18480"/>
                    <a:pt x="15417" y="18480"/>
                  </a:cubicBezTo>
                  <a:lnTo>
                    <a:pt x="16059" y="1896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4" name="Shape 2289">
              <a:extLst>
                <a:ext uri="{FF2B5EF4-FFF2-40B4-BE49-F238E27FC236}">
                  <a16:creationId xmlns:a16="http://schemas.microsoft.com/office/drawing/2014/main" id="{CDB4D876-004A-B759-EECF-00679591CBA1}"/>
                </a:ext>
              </a:extLst>
            </p:cNvPr>
            <p:cNvSpPr/>
            <p:nvPr/>
          </p:nvSpPr>
          <p:spPr>
            <a:xfrm>
              <a:off x="2606374" y="1340454"/>
              <a:ext cx="1317103" cy="1087324"/>
            </a:xfrm>
            <a:custGeom>
              <a:avLst/>
              <a:gdLst/>
              <a:ahLst/>
              <a:cxnLst>
                <a:cxn ang="0">
                  <a:pos x="wd2" y="hd2"/>
                </a:cxn>
                <a:cxn ang="5400000">
                  <a:pos x="wd2" y="hd2"/>
                </a:cxn>
                <a:cxn ang="10800000">
                  <a:pos x="wd2" y="hd2"/>
                </a:cxn>
                <a:cxn ang="16200000">
                  <a:pos x="wd2" y="hd2"/>
                </a:cxn>
              </a:cxnLst>
              <a:rect l="0" t="0" r="r" b="b"/>
              <a:pathLst>
                <a:path w="21600" h="21600" extrusionOk="0">
                  <a:moveTo>
                    <a:pt x="21600" y="3086"/>
                  </a:moveTo>
                  <a:lnTo>
                    <a:pt x="21506" y="3086"/>
                  </a:lnTo>
                  <a:lnTo>
                    <a:pt x="2641" y="0"/>
                  </a:lnTo>
                  <a:lnTo>
                    <a:pt x="2264" y="2629"/>
                  </a:lnTo>
                  <a:lnTo>
                    <a:pt x="660" y="13943"/>
                  </a:lnTo>
                  <a:lnTo>
                    <a:pt x="0" y="18514"/>
                  </a:lnTo>
                  <a:lnTo>
                    <a:pt x="5754" y="19657"/>
                  </a:lnTo>
                  <a:lnTo>
                    <a:pt x="19997" y="21600"/>
                  </a:lnTo>
                  <a:lnTo>
                    <a:pt x="20751" y="12457"/>
                  </a:lnTo>
                  <a:lnTo>
                    <a:pt x="21600" y="3086"/>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5" name="Shape 2290">
              <a:extLst>
                <a:ext uri="{FF2B5EF4-FFF2-40B4-BE49-F238E27FC236}">
                  <a16:creationId xmlns:a16="http://schemas.microsoft.com/office/drawing/2014/main" id="{44471A44-62A0-E5FD-B4FD-908D4AB2F32E}"/>
                </a:ext>
              </a:extLst>
            </p:cNvPr>
            <p:cNvSpPr/>
            <p:nvPr/>
          </p:nvSpPr>
          <p:spPr>
            <a:xfrm>
              <a:off x="3940733" y="558040"/>
              <a:ext cx="1225078" cy="788170"/>
            </a:xfrm>
            <a:custGeom>
              <a:avLst/>
              <a:gdLst/>
              <a:ahLst/>
              <a:cxnLst>
                <a:cxn ang="0">
                  <a:pos x="wd2" y="hd2"/>
                </a:cxn>
                <a:cxn ang="5400000">
                  <a:pos x="wd2" y="hd2"/>
                </a:cxn>
                <a:cxn ang="10800000">
                  <a:pos x="wd2" y="hd2"/>
                </a:cxn>
                <a:cxn ang="16200000">
                  <a:pos x="wd2" y="hd2"/>
                </a:cxn>
              </a:cxnLst>
              <a:rect l="0" t="0" r="r" b="b"/>
              <a:pathLst>
                <a:path w="21600" h="21600" extrusionOk="0">
                  <a:moveTo>
                    <a:pt x="21428" y="21467"/>
                  </a:moveTo>
                  <a:cubicBezTo>
                    <a:pt x="21428" y="21600"/>
                    <a:pt x="21428" y="21600"/>
                    <a:pt x="21428" y="21600"/>
                  </a:cubicBezTo>
                  <a:cubicBezTo>
                    <a:pt x="21428" y="21600"/>
                    <a:pt x="21428" y="21600"/>
                    <a:pt x="21428" y="21600"/>
                  </a:cubicBezTo>
                  <a:cubicBezTo>
                    <a:pt x="21600" y="21333"/>
                    <a:pt x="21600" y="21333"/>
                    <a:pt x="21600" y="21333"/>
                  </a:cubicBezTo>
                  <a:cubicBezTo>
                    <a:pt x="21600" y="20667"/>
                    <a:pt x="21600" y="20667"/>
                    <a:pt x="21600" y="20667"/>
                  </a:cubicBezTo>
                  <a:cubicBezTo>
                    <a:pt x="21600" y="20000"/>
                    <a:pt x="21600" y="20000"/>
                    <a:pt x="21600" y="20000"/>
                  </a:cubicBezTo>
                  <a:cubicBezTo>
                    <a:pt x="21514" y="19200"/>
                    <a:pt x="21514" y="19200"/>
                    <a:pt x="21514" y="19200"/>
                  </a:cubicBezTo>
                  <a:cubicBezTo>
                    <a:pt x="21342" y="18800"/>
                    <a:pt x="21342" y="18800"/>
                    <a:pt x="21342" y="18800"/>
                  </a:cubicBezTo>
                  <a:cubicBezTo>
                    <a:pt x="21084" y="18400"/>
                    <a:pt x="21084" y="18400"/>
                    <a:pt x="21084" y="18400"/>
                  </a:cubicBezTo>
                  <a:cubicBezTo>
                    <a:pt x="21084" y="17467"/>
                    <a:pt x="21084" y="17467"/>
                    <a:pt x="21084" y="17467"/>
                  </a:cubicBezTo>
                  <a:cubicBezTo>
                    <a:pt x="20998" y="17200"/>
                    <a:pt x="20998" y="17200"/>
                    <a:pt x="20998" y="17200"/>
                  </a:cubicBezTo>
                  <a:cubicBezTo>
                    <a:pt x="20825" y="16800"/>
                    <a:pt x="20825" y="16800"/>
                    <a:pt x="20825" y="16800"/>
                  </a:cubicBezTo>
                  <a:cubicBezTo>
                    <a:pt x="20825" y="15600"/>
                    <a:pt x="20825" y="15600"/>
                    <a:pt x="20825" y="15600"/>
                  </a:cubicBezTo>
                  <a:cubicBezTo>
                    <a:pt x="20825" y="13733"/>
                    <a:pt x="20825" y="13733"/>
                    <a:pt x="20825" y="13733"/>
                  </a:cubicBezTo>
                  <a:cubicBezTo>
                    <a:pt x="20739" y="11467"/>
                    <a:pt x="20739" y="11467"/>
                    <a:pt x="20739" y="11467"/>
                  </a:cubicBezTo>
                  <a:cubicBezTo>
                    <a:pt x="20739" y="10267"/>
                    <a:pt x="20739" y="10267"/>
                    <a:pt x="20739" y="10267"/>
                  </a:cubicBezTo>
                  <a:cubicBezTo>
                    <a:pt x="20395" y="9333"/>
                    <a:pt x="20395" y="9333"/>
                    <a:pt x="20395" y="9333"/>
                  </a:cubicBezTo>
                  <a:cubicBezTo>
                    <a:pt x="20137" y="8000"/>
                    <a:pt x="20137" y="8000"/>
                    <a:pt x="20137" y="8000"/>
                  </a:cubicBezTo>
                  <a:cubicBezTo>
                    <a:pt x="19965" y="7200"/>
                    <a:pt x="19965" y="7200"/>
                    <a:pt x="19965" y="7200"/>
                  </a:cubicBezTo>
                  <a:cubicBezTo>
                    <a:pt x="20137" y="6267"/>
                    <a:pt x="20137" y="6267"/>
                    <a:pt x="20137" y="6267"/>
                  </a:cubicBezTo>
                  <a:cubicBezTo>
                    <a:pt x="20051" y="5467"/>
                    <a:pt x="20051" y="5467"/>
                    <a:pt x="20051" y="5467"/>
                  </a:cubicBezTo>
                  <a:cubicBezTo>
                    <a:pt x="19965" y="5200"/>
                    <a:pt x="19965" y="5200"/>
                    <a:pt x="19965" y="5200"/>
                  </a:cubicBezTo>
                  <a:cubicBezTo>
                    <a:pt x="19965" y="4533"/>
                    <a:pt x="19965" y="4533"/>
                    <a:pt x="19965" y="4533"/>
                  </a:cubicBezTo>
                  <a:cubicBezTo>
                    <a:pt x="19965" y="4400"/>
                    <a:pt x="19965" y="4400"/>
                    <a:pt x="19965" y="4400"/>
                  </a:cubicBezTo>
                  <a:cubicBezTo>
                    <a:pt x="20137" y="4133"/>
                    <a:pt x="20137" y="4133"/>
                    <a:pt x="20137" y="4133"/>
                  </a:cubicBezTo>
                  <a:cubicBezTo>
                    <a:pt x="20223" y="3867"/>
                    <a:pt x="20223" y="3867"/>
                    <a:pt x="20223" y="3867"/>
                  </a:cubicBezTo>
                  <a:cubicBezTo>
                    <a:pt x="20223" y="3333"/>
                    <a:pt x="20223" y="3333"/>
                    <a:pt x="20223" y="3333"/>
                  </a:cubicBezTo>
                  <a:cubicBezTo>
                    <a:pt x="19965" y="2933"/>
                    <a:pt x="19965" y="2933"/>
                    <a:pt x="19965" y="2933"/>
                  </a:cubicBezTo>
                  <a:cubicBezTo>
                    <a:pt x="19965" y="2800"/>
                    <a:pt x="19965" y="2800"/>
                    <a:pt x="19965" y="2800"/>
                  </a:cubicBezTo>
                  <a:cubicBezTo>
                    <a:pt x="19879" y="2400"/>
                    <a:pt x="19879" y="2400"/>
                    <a:pt x="19879" y="2400"/>
                  </a:cubicBezTo>
                  <a:cubicBezTo>
                    <a:pt x="19793" y="1733"/>
                    <a:pt x="19793" y="1733"/>
                    <a:pt x="19793" y="1733"/>
                  </a:cubicBezTo>
                  <a:cubicBezTo>
                    <a:pt x="19793" y="1733"/>
                    <a:pt x="11187" y="1200"/>
                    <a:pt x="8347" y="933"/>
                  </a:cubicBezTo>
                  <a:cubicBezTo>
                    <a:pt x="6540" y="800"/>
                    <a:pt x="1205" y="0"/>
                    <a:pt x="1205" y="0"/>
                  </a:cubicBezTo>
                  <a:cubicBezTo>
                    <a:pt x="0" y="19600"/>
                    <a:pt x="0" y="19600"/>
                    <a:pt x="0" y="19600"/>
                  </a:cubicBezTo>
                  <a:cubicBezTo>
                    <a:pt x="0" y="19600"/>
                    <a:pt x="7831" y="20400"/>
                    <a:pt x="10499" y="20667"/>
                  </a:cubicBezTo>
                  <a:cubicBezTo>
                    <a:pt x="13167" y="20933"/>
                    <a:pt x="21428" y="21467"/>
                    <a:pt x="21428" y="21467"/>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6" name="Shape 2291">
              <a:extLst>
                <a:ext uri="{FF2B5EF4-FFF2-40B4-BE49-F238E27FC236}">
                  <a16:creationId xmlns:a16="http://schemas.microsoft.com/office/drawing/2014/main" id="{50F5E6E1-FB79-90AE-B500-80EE0EC51436}"/>
                </a:ext>
              </a:extLst>
            </p:cNvPr>
            <p:cNvSpPr/>
            <p:nvPr/>
          </p:nvSpPr>
          <p:spPr>
            <a:xfrm>
              <a:off x="2813430" y="2329977"/>
              <a:ext cx="1368866" cy="1075818"/>
            </a:xfrm>
            <a:custGeom>
              <a:avLst/>
              <a:gdLst/>
              <a:ahLst/>
              <a:cxnLst>
                <a:cxn ang="0">
                  <a:pos x="wd2" y="hd2"/>
                </a:cxn>
                <a:cxn ang="5400000">
                  <a:pos x="wd2" y="hd2"/>
                </a:cxn>
                <a:cxn ang="10800000">
                  <a:pos x="wd2" y="hd2"/>
                </a:cxn>
                <a:cxn ang="16200000">
                  <a:pos x="wd2" y="hd2"/>
                </a:cxn>
              </a:cxnLst>
              <a:rect l="0" t="0" r="r" b="b"/>
              <a:pathLst>
                <a:path w="21600" h="21600" extrusionOk="0">
                  <a:moveTo>
                    <a:pt x="20524" y="21600"/>
                  </a:moveTo>
                  <a:cubicBezTo>
                    <a:pt x="21293" y="7330"/>
                    <a:pt x="21293" y="7330"/>
                    <a:pt x="21293" y="7330"/>
                  </a:cubicBezTo>
                  <a:cubicBezTo>
                    <a:pt x="21293" y="7330"/>
                    <a:pt x="21293" y="7330"/>
                    <a:pt x="21293" y="7330"/>
                  </a:cubicBezTo>
                  <a:cubicBezTo>
                    <a:pt x="21293" y="7330"/>
                    <a:pt x="21293" y="7330"/>
                    <a:pt x="21293" y="7330"/>
                  </a:cubicBezTo>
                  <a:cubicBezTo>
                    <a:pt x="21600" y="2737"/>
                    <a:pt x="21600" y="2737"/>
                    <a:pt x="21600" y="2737"/>
                  </a:cubicBezTo>
                  <a:cubicBezTo>
                    <a:pt x="15989" y="2052"/>
                    <a:pt x="15989" y="2052"/>
                    <a:pt x="15989" y="2052"/>
                  </a:cubicBezTo>
                  <a:cubicBezTo>
                    <a:pt x="2306" y="0"/>
                    <a:pt x="2306" y="0"/>
                    <a:pt x="2306" y="0"/>
                  </a:cubicBezTo>
                  <a:cubicBezTo>
                    <a:pt x="0" y="18766"/>
                    <a:pt x="0" y="18766"/>
                    <a:pt x="0" y="18766"/>
                  </a:cubicBezTo>
                  <a:cubicBezTo>
                    <a:pt x="17603" y="21405"/>
                    <a:pt x="17603" y="21405"/>
                    <a:pt x="17603" y="21405"/>
                  </a:cubicBezTo>
                  <a:cubicBezTo>
                    <a:pt x="17603" y="21405"/>
                    <a:pt x="18833" y="21502"/>
                    <a:pt x="20524"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7" name="Shape 2292">
              <a:extLst>
                <a:ext uri="{FF2B5EF4-FFF2-40B4-BE49-F238E27FC236}">
                  <a16:creationId xmlns:a16="http://schemas.microsoft.com/office/drawing/2014/main" id="{4282A628-B8A3-D0D7-DB98-A3F593A88C01}"/>
                </a:ext>
              </a:extLst>
            </p:cNvPr>
            <p:cNvSpPr/>
            <p:nvPr/>
          </p:nvSpPr>
          <p:spPr>
            <a:xfrm>
              <a:off x="1904686" y="1944524"/>
              <a:ext cx="1052533" cy="1317446"/>
            </a:xfrm>
            <a:custGeom>
              <a:avLst/>
              <a:gdLst/>
              <a:ahLst/>
              <a:cxnLst>
                <a:cxn ang="0">
                  <a:pos x="wd2" y="hd2"/>
                </a:cxn>
                <a:cxn ang="5400000">
                  <a:pos x="wd2" y="hd2"/>
                </a:cxn>
                <a:cxn ang="10800000">
                  <a:pos x="wd2" y="hd2"/>
                </a:cxn>
                <a:cxn ang="16200000">
                  <a:pos x="wd2" y="hd2"/>
                </a:cxn>
              </a:cxnLst>
              <a:rect l="0" t="0" r="r" b="b"/>
              <a:pathLst>
                <a:path w="21600" h="21600" extrusionOk="0">
                  <a:moveTo>
                    <a:pt x="21600" y="6320"/>
                  </a:moveTo>
                  <a:lnTo>
                    <a:pt x="14400" y="5376"/>
                  </a:lnTo>
                  <a:lnTo>
                    <a:pt x="15226" y="1603"/>
                  </a:lnTo>
                  <a:lnTo>
                    <a:pt x="4603" y="0"/>
                  </a:lnTo>
                  <a:lnTo>
                    <a:pt x="0" y="18959"/>
                  </a:lnTo>
                  <a:lnTo>
                    <a:pt x="18649" y="21600"/>
                  </a:lnTo>
                  <a:lnTo>
                    <a:pt x="21600" y="632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8" name="Shape 2293">
              <a:extLst>
                <a:ext uri="{FF2B5EF4-FFF2-40B4-BE49-F238E27FC236}">
                  <a16:creationId xmlns:a16="http://schemas.microsoft.com/office/drawing/2014/main" id="{82E7B42C-50BB-539D-3D2A-5B817669149D}"/>
                </a:ext>
              </a:extLst>
            </p:cNvPr>
            <p:cNvSpPr/>
            <p:nvPr/>
          </p:nvSpPr>
          <p:spPr>
            <a:xfrm>
              <a:off x="921171" y="1702899"/>
              <a:ext cx="1207825" cy="1829460"/>
            </a:xfrm>
            <a:custGeom>
              <a:avLst/>
              <a:gdLst/>
              <a:ahLst/>
              <a:cxnLst>
                <a:cxn ang="0">
                  <a:pos x="wd2" y="hd2"/>
                </a:cxn>
                <a:cxn ang="5400000">
                  <a:pos x="wd2" y="hd2"/>
                </a:cxn>
                <a:cxn ang="10800000">
                  <a:pos x="wd2" y="hd2"/>
                </a:cxn>
                <a:cxn ang="16200000">
                  <a:pos x="wd2" y="hd2"/>
                </a:cxn>
              </a:cxnLst>
              <a:rect l="0" t="0" r="r" b="b"/>
              <a:pathLst>
                <a:path w="21600" h="21600" extrusionOk="0">
                  <a:moveTo>
                    <a:pt x="435" y="7546"/>
                  </a:moveTo>
                  <a:cubicBezTo>
                    <a:pt x="87" y="7603"/>
                    <a:pt x="87" y="7603"/>
                    <a:pt x="87" y="7603"/>
                  </a:cubicBezTo>
                  <a:cubicBezTo>
                    <a:pt x="0" y="7776"/>
                    <a:pt x="0" y="7776"/>
                    <a:pt x="0" y="7776"/>
                  </a:cubicBezTo>
                  <a:cubicBezTo>
                    <a:pt x="87" y="8006"/>
                    <a:pt x="87" y="8006"/>
                    <a:pt x="87" y="8006"/>
                  </a:cubicBezTo>
                  <a:cubicBezTo>
                    <a:pt x="174" y="8179"/>
                    <a:pt x="174" y="8179"/>
                    <a:pt x="174" y="8179"/>
                  </a:cubicBezTo>
                  <a:cubicBezTo>
                    <a:pt x="261" y="8237"/>
                    <a:pt x="261" y="8237"/>
                    <a:pt x="261" y="8237"/>
                  </a:cubicBezTo>
                  <a:cubicBezTo>
                    <a:pt x="610" y="8352"/>
                    <a:pt x="610" y="8352"/>
                    <a:pt x="610" y="8352"/>
                  </a:cubicBezTo>
                  <a:cubicBezTo>
                    <a:pt x="13935" y="21600"/>
                    <a:pt x="13935" y="21600"/>
                    <a:pt x="13935" y="21600"/>
                  </a:cubicBezTo>
                  <a:cubicBezTo>
                    <a:pt x="14197" y="21370"/>
                    <a:pt x="14197" y="21370"/>
                    <a:pt x="14197" y="21370"/>
                  </a:cubicBezTo>
                  <a:cubicBezTo>
                    <a:pt x="14284" y="21139"/>
                    <a:pt x="14284" y="21139"/>
                    <a:pt x="14284" y="21139"/>
                  </a:cubicBezTo>
                  <a:cubicBezTo>
                    <a:pt x="14284" y="20390"/>
                    <a:pt x="14284" y="20390"/>
                    <a:pt x="14284" y="20390"/>
                  </a:cubicBezTo>
                  <a:cubicBezTo>
                    <a:pt x="14284" y="19584"/>
                    <a:pt x="14284" y="19584"/>
                    <a:pt x="14284" y="19584"/>
                  </a:cubicBezTo>
                  <a:cubicBezTo>
                    <a:pt x="14284" y="18950"/>
                    <a:pt x="14284" y="18950"/>
                    <a:pt x="14284" y="18950"/>
                  </a:cubicBezTo>
                  <a:cubicBezTo>
                    <a:pt x="14545" y="18778"/>
                    <a:pt x="14545" y="18778"/>
                    <a:pt x="14545" y="18778"/>
                  </a:cubicBezTo>
                  <a:cubicBezTo>
                    <a:pt x="15155" y="18662"/>
                    <a:pt x="15155" y="18662"/>
                    <a:pt x="15155" y="18662"/>
                  </a:cubicBezTo>
                  <a:cubicBezTo>
                    <a:pt x="15329" y="18893"/>
                    <a:pt x="15329" y="18893"/>
                    <a:pt x="15329" y="18893"/>
                  </a:cubicBezTo>
                  <a:cubicBezTo>
                    <a:pt x="15677" y="18778"/>
                    <a:pt x="15677" y="18778"/>
                    <a:pt x="15677" y="18778"/>
                  </a:cubicBezTo>
                  <a:cubicBezTo>
                    <a:pt x="16113" y="19008"/>
                    <a:pt x="16113" y="19008"/>
                    <a:pt x="16113" y="19008"/>
                  </a:cubicBezTo>
                  <a:cubicBezTo>
                    <a:pt x="16374" y="19123"/>
                    <a:pt x="16374" y="19123"/>
                    <a:pt x="16374" y="19123"/>
                  </a:cubicBezTo>
                  <a:cubicBezTo>
                    <a:pt x="16635" y="19008"/>
                    <a:pt x="16635" y="19008"/>
                    <a:pt x="16635" y="19008"/>
                  </a:cubicBezTo>
                  <a:cubicBezTo>
                    <a:pt x="16635" y="19008"/>
                    <a:pt x="16984" y="18202"/>
                    <a:pt x="17158" y="17971"/>
                  </a:cubicBezTo>
                  <a:cubicBezTo>
                    <a:pt x="17245" y="17626"/>
                    <a:pt x="17594" y="16531"/>
                    <a:pt x="17594" y="16531"/>
                  </a:cubicBezTo>
                  <a:cubicBezTo>
                    <a:pt x="21600" y="2822"/>
                    <a:pt x="21600" y="2822"/>
                    <a:pt x="21600" y="2822"/>
                  </a:cubicBezTo>
                  <a:cubicBezTo>
                    <a:pt x="21600" y="2822"/>
                    <a:pt x="14197" y="1786"/>
                    <a:pt x="11671" y="1382"/>
                  </a:cubicBezTo>
                  <a:cubicBezTo>
                    <a:pt x="9668" y="1094"/>
                    <a:pt x="3658" y="0"/>
                    <a:pt x="3658" y="0"/>
                  </a:cubicBezTo>
                  <a:cubicBezTo>
                    <a:pt x="697" y="7488"/>
                    <a:pt x="697" y="7488"/>
                    <a:pt x="697" y="7488"/>
                  </a:cubicBezTo>
                  <a:lnTo>
                    <a:pt x="435" y="754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9" name="Shape 2294">
              <a:extLst>
                <a:ext uri="{FF2B5EF4-FFF2-40B4-BE49-F238E27FC236}">
                  <a16:creationId xmlns:a16="http://schemas.microsoft.com/office/drawing/2014/main" id="{BC191889-2F50-4FF5-2358-5A866C09429F}"/>
                </a:ext>
              </a:extLst>
            </p:cNvPr>
            <p:cNvSpPr/>
            <p:nvPr/>
          </p:nvSpPr>
          <p:spPr>
            <a:xfrm>
              <a:off x="409286" y="563798"/>
              <a:ext cx="1501151" cy="1271421"/>
            </a:xfrm>
            <a:custGeom>
              <a:avLst/>
              <a:gdLst/>
              <a:ahLst/>
              <a:cxnLst>
                <a:cxn ang="0">
                  <a:pos x="wd2" y="hd2"/>
                </a:cxn>
                <a:cxn ang="5400000">
                  <a:pos x="wd2" y="hd2"/>
                </a:cxn>
                <a:cxn ang="10800000">
                  <a:pos x="wd2" y="hd2"/>
                </a:cxn>
                <a:cxn ang="16200000">
                  <a:pos x="wd2" y="hd2"/>
                </a:cxn>
              </a:cxnLst>
              <a:rect l="0" t="0" r="r" b="b"/>
              <a:pathLst>
                <a:path w="21600" h="21600" extrusionOk="0">
                  <a:moveTo>
                    <a:pt x="17603" y="21600"/>
                  </a:moveTo>
                  <a:cubicBezTo>
                    <a:pt x="18865" y="15062"/>
                    <a:pt x="18865" y="15062"/>
                    <a:pt x="18865" y="15062"/>
                  </a:cubicBezTo>
                  <a:cubicBezTo>
                    <a:pt x="18865" y="14648"/>
                    <a:pt x="18865" y="14648"/>
                    <a:pt x="18865" y="14648"/>
                  </a:cubicBezTo>
                  <a:cubicBezTo>
                    <a:pt x="18935" y="14483"/>
                    <a:pt x="18935" y="14483"/>
                    <a:pt x="18935" y="14483"/>
                  </a:cubicBezTo>
                  <a:cubicBezTo>
                    <a:pt x="19286" y="14317"/>
                    <a:pt x="19286" y="14317"/>
                    <a:pt x="19286" y="14317"/>
                  </a:cubicBezTo>
                  <a:cubicBezTo>
                    <a:pt x="19286" y="14152"/>
                    <a:pt x="19286" y="14152"/>
                    <a:pt x="19286" y="14152"/>
                  </a:cubicBezTo>
                  <a:cubicBezTo>
                    <a:pt x="19356" y="13821"/>
                    <a:pt x="19356" y="13821"/>
                    <a:pt x="19356" y="13821"/>
                  </a:cubicBezTo>
                  <a:cubicBezTo>
                    <a:pt x="19356" y="13159"/>
                    <a:pt x="19356" y="13159"/>
                    <a:pt x="19356" y="13159"/>
                  </a:cubicBezTo>
                  <a:cubicBezTo>
                    <a:pt x="19426" y="12993"/>
                    <a:pt x="19426" y="12993"/>
                    <a:pt x="19426" y="12993"/>
                  </a:cubicBezTo>
                  <a:cubicBezTo>
                    <a:pt x="19216" y="12745"/>
                    <a:pt x="19216" y="12745"/>
                    <a:pt x="19216" y="12745"/>
                  </a:cubicBezTo>
                  <a:cubicBezTo>
                    <a:pt x="19145" y="12745"/>
                    <a:pt x="19145" y="12745"/>
                    <a:pt x="19145" y="12745"/>
                  </a:cubicBezTo>
                  <a:cubicBezTo>
                    <a:pt x="19005" y="12662"/>
                    <a:pt x="19005" y="12662"/>
                    <a:pt x="19005" y="12662"/>
                  </a:cubicBezTo>
                  <a:cubicBezTo>
                    <a:pt x="18865" y="12414"/>
                    <a:pt x="18865" y="12414"/>
                    <a:pt x="18865" y="12414"/>
                  </a:cubicBezTo>
                  <a:cubicBezTo>
                    <a:pt x="18935" y="12000"/>
                    <a:pt x="18935" y="12000"/>
                    <a:pt x="18935" y="12000"/>
                  </a:cubicBezTo>
                  <a:cubicBezTo>
                    <a:pt x="19005" y="11752"/>
                    <a:pt x="19005" y="11752"/>
                    <a:pt x="19005" y="11752"/>
                  </a:cubicBezTo>
                  <a:cubicBezTo>
                    <a:pt x="19426" y="11338"/>
                    <a:pt x="19426" y="11338"/>
                    <a:pt x="19426" y="11338"/>
                  </a:cubicBezTo>
                  <a:cubicBezTo>
                    <a:pt x="19987" y="10676"/>
                    <a:pt x="19987" y="10676"/>
                    <a:pt x="19987" y="10676"/>
                  </a:cubicBezTo>
                  <a:cubicBezTo>
                    <a:pt x="20197" y="10345"/>
                    <a:pt x="20197" y="10345"/>
                    <a:pt x="20197" y="10345"/>
                  </a:cubicBezTo>
                  <a:cubicBezTo>
                    <a:pt x="20268" y="10014"/>
                    <a:pt x="20268" y="10014"/>
                    <a:pt x="20268" y="10014"/>
                  </a:cubicBezTo>
                  <a:cubicBezTo>
                    <a:pt x="20408" y="9931"/>
                    <a:pt x="20408" y="9931"/>
                    <a:pt x="20408" y="9931"/>
                  </a:cubicBezTo>
                  <a:cubicBezTo>
                    <a:pt x="20548" y="9517"/>
                    <a:pt x="20548" y="9517"/>
                    <a:pt x="20548" y="9517"/>
                  </a:cubicBezTo>
                  <a:cubicBezTo>
                    <a:pt x="20829" y="9186"/>
                    <a:pt x="20829" y="9186"/>
                    <a:pt x="20829" y="9186"/>
                  </a:cubicBezTo>
                  <a:cubicBezTo>
                    <a:pt x="21039" y="8855"/>
                    <a:pt x="21039" y="8855"/>
                    <a:pt x="21039" y="8855"/>
                  </a:cubicBezTo>
                  <a:cubicBezTo>
                    <a:pt x="21319" y="8607"/>
                    <a:pt x="21319" y="8607"/>
                    <a:pt x="21319" y="8607"/>
                  </a:cubicBezTo>
                  <a:cubicBezTo>
                    <a:pt x="21390" y="8193"/>
                    <a:pt x="21390" y="8193"/>
                    <a:pt x="21390" y="8193"/>
                  </a:cubicBezTo>
                  <a:cubicBezTo>
                    <a:pt x="21600" y="8110"/>
                    <a:pt x="21600" y="8110"/>
                    <a:pt x="21600" y="8110"/>
                  </a:cubicBezTo>
                  <a:cubicBezTo>
                    <a:pt x="21600" y="7779"/>
                    <a:pt x="21600" y="7779"/>
                    <a:pt x="21600" y="7779"/>
                  </a:cubicBezTo>
                  <a:cubicBezTo>
                    <a:pt x="21530" y="7448"/>
                    <a:pt x="21530" y="7448"/>
                    <a:pt x="21530" y="7448"/>
                  </a:cubicBezTo>
                  <a:cubicBezTo>
                    <a:pt x="21390" y="7200"/>
                    <a:pt x="21390" y="7200"/>
                    <a:pt x="21390" y="7200"/>
                  </a:cubicBezTo>
                  <a:cubicBezTo>
                    <a:pt x="21039" y="6869"/>
                    <a:pt x="21039" y="6869"/>
                    <a:pt x="21039" y="6869"/>
                  </a:cubicBezTo>
                  <a:cubicBezTo>
                    <a:pt x="20829" y="6455"/>
                    <a:pt x="20829" y="6455"/>
                    <a:pt x="20829" y="6455"/>
                  </a:cubicBezTo>
                  <a:cubicBezTo>
                    <a:pt x="20829" y="6124"/>
                    <a:pt x="20829" y="6124"/>
                    <a:pt x="20829" y="6124"/>
                  </a:cubicBezTo>
                  <a:cubicBezTo>
                    <a:pt x="16200" y="4717"/>
                    <a:pt x="16200" y="4717"/>
                    <a:pt x="16200" y="4717"/>
                  </a:cubicBezTo>
                  <a:cubicBezTo>
                    <a:pt x="15429" y="4634"/>
                    <a:pt x="15429" y="4634"/>
                    <a:pt x="15429" y="4634"/>
                  </a:cubicBezTo>
                  <a:cubicBezTo>
                    <a:pt x="15148" y="4717"/>
                    <a:pt x="15148" y="4717"/>
                    <a:pt x="15148" y="4717"/>
                  </a:cubicBezTo>
                  <a:cubicBezTo>
                    <a:pt x="14797" y="4634"/>
                    <a:pt x="14797" y="4634"/>
                    <a:pt x="14797" y="4634"/>
                  </a:cubicBezTo>
                  <a:cubicBezTo>
                    <a:pt x="14517" y="4717"/>
                    <a:pt x="14517" y="4717"/>
                    <a:pt x="14517" y="4717"/>
                  </a:cubicBezTo>
                  <a:cubicBezTo>
                    <a:pt x="12483" y="4800"/>
                    <a:pt x="12483" y="4800"/>
                    <a:pt x="12483" y="4800"/>
                  </a:cubicBezTo>
                  <a:cubicBezTo>
                    <a:pt x="12273" y="4634"/>
                    <a:pt x="12273" y="4634"/>
                    <a:pt x="12273" y="4634"/>
                  </a:cubicBezTo>
                  <a:cubicBezTo>
                    <a:pt x="12062" y="4717"/>
                    <a:pt x="12062" y="4717"/>
                    <a:pt x="12062" y="4717"/>
                  </a:cubicBezTo>
                  <a:cubicBezTo>
                    <a:pt x="11852" y="4800"/>
                    <a:pt x="11852" y="4800"/>
                    <a:pt x="11852" y="4800"/>
                  </a:cubicBezTo>
                  <a:cubicBezTo>
                    <a:pt x="11712" y="4800"/>
                    <a:pt x="11712" y="4800"/>
                    <a:pt x="11712" y="4800"/>
                  </a:cubicBezTo>
                  <a:cubicBezTo>
                    <a:pt x="11501" y="4717"/>
                    <a:pt x="11501" y="4717"/>
                    <a:pt x="11501" y="4717"/>
                  </a:cubicBezTo>
                  <a:cubicBezTo>
                    <a:pt x="11501" y="4634"/>
                    <a:pt x="11501" y="4634"/>
                    <a:pt x="11501" y="4634"/>
                  </a:cubicBezTo>
                  <a:cubicBezTo>
                    <a:pt x="11151" y="4634"/>
                    <a:pt x="11151" y="4634"/>
                    <a:pt x="11151" y="4634"/>
                  </a:cubicBezTo>
                  <a:cubicBezTo>
                    <a:pt x="10940" y="4552"/>
                    <a:pt x="10940" y="4552"/>
                    <a:pt x="10940" y="4552"/>
                  </a:cubicBezTo>
                  <a:cubicBezTo>
                    <a:pt x="10870" y="4386"/>
                    <a:pt x="10870" y="4386"/>
                    <a:pt x="10870" y="4386"/>
                  </a:cubicBezTo>
                  <a:cubicBezTo>
                    <a:pt x="10870" y="4303"/>
                    <a:pt x="10870" y="4303"/>
                    <a:pt x="10870" y="4303"/>
                  </a:cubicBezTo>
                  <a:cubicBezTo>
                    <a:pt x="10590" y="4221"/>
                    <a:pt x="10590" y="4221"/>
                    <a:pt x="10590" y="4221"/>
                  </a:cubicBezTo>
                  <a:cubicBezTo>
                    <a:pt x="10029" y="4055"/>
                    <a:pt x="10029" y="4055"/>
                    <a:pt x="10029" y="4055"/>
                  </a:cubicBezTo>
                  <a:cubicBezTo>
                    <a:pt x="9678" y="3890"/>
                    <a:pt x="9678" y="3890"/>
                    <a:pt x="9678" y="3890"/>
                  </a:cubicBezTo>
                  <a:cubicBezTo>
                    <a:pt x="9538" y="3807"/>
                    <a:pt x="9538" y="3807"/>
                    <a:pt x="9538" y="3807"/>
                  </a:cubicBezTo>
                  <a:cubicBezTo>
                    <a:pt x="9117" y="3890"/>
                    <a:pt x="9117" y="3890"/>
                    <a:pt x="9117" y="3890"/>
                  </a:cubicBezTo>
                  <a:cubicBezTo>
                    <a:pt x="8486" y="4055"/>
                    <a:pt x="8486" y="4055"/>
                    <a:pt x="8486" y="4055"/>
                  </a:cubicBezTo>
                  <a:cubicBezTo>
                    <a:pt x="7714" y="3807"/>
                    <a:pt x="7714" y="3807"/>
                    <a:pt x="7714" y="3807"/>
                  </a:cubicBezTo>
                  <a:cubicBezTo>
                    <a:pt x="7223" y="3310"/>
                    <a:pt x="7223" y="3310"/>
                    <a:pt x="7223" y="3310"/>
                  </a:cubicBezTo>
                  <a:cubicBezTo>
                    <a:pt x="7223" y="3310"/>
                    <a:pt x="7434" y="2731"/>
                    <a:pt x="7364" y="1986"/>
                  </a:cubicBezTo>
                  <a:cubicBezTo>
                    <a:pt x="7294" y="1159"/>
                    <a:pt x="6943" y="993"/>
                    <a:pt x="6943" y="993"/>
                  </a:cubicBezTo>
                  <a:cubicBezTo>
                    <a:pt x="6592" y="993"/>
                    <a:pt x="6592" y="993"/>
                    <a:pt x="6592" y="993"/>
                  </a:cubicBezTo>
                  <a:cubicBezTo>
                    <a:pt x="6312" y="828"/>
                    <a:pt x="6312" y="828"/>
                    <a:pt x="6312" y="828"/>
                  </a:cubicBezTo>
                  <a:cubicBezTo>
                    <a:pt x="6312" y="828"/>
                    <a:pt x="6312" y="331"/>
                    <a:pt x="5961" y="331"/>
                  </a:cubicBezTo>
                  <a:cubicBezTo>
                    <a:pt x="5610" y="331"/>
                    <a:pt x="5610" y="331"/>
                    <a:pt x="5610" y="331"/>
                  </a:cubicBezTo>
                  <a:cubicBezTo>
                    <a:pt x="5190" y="248"/>
                    <a:pt x="5190" y="248"/>
                    <a:pt x="5190" y="248"/>
                  </a:cubicBezTo>
                  <a:cubicBezTo>
                    <a:pt x="4909" y="0"/>
                    <a:pt x="4909" y="0"/>
                    <a:pt x="4909" y="0"/>
                  </a:cubicBezTo>
                  <a:cubicBezTo>
                    <a:pt x="4909" y="579"/>
                    <a:pt x="4909" y="579"/>
                    <a:pt x="4909" y="579"/>
                  </a:cubicBezTo>
                  <a:cubicBezTo>
                    <a:pt x="4769" y="1076"/>
                    <a:pt x="4769" y="1076"/>
                    <a:pt x="4769" y="1076"/>
                  </a:cubicBezTo>
                  <a:cubicBezTo>
                    <a:pt x="4418" y="1821"/>
                    <a:pt x="4418" y="1821"/>
                    <a:pt x="4418" y="1821"/>
                  </a:cubicBezTo>
                  <a:cubicBezTo>
                    <a:pt x="4488" y="2317"/>
                    <a:pt x="4488" y="2317"/>
                    <a:pt x="4488" y="2317"/>
                  </a:cubicBezTo>
                  <a:cubicBezTo>
                    <a:pt x="4418" y="2731"/>
                    <a:pt x="4418" y="2731"/>
                    <a:pt x="4418" y="2731"/>
                  </a:cubicBezTo>
                  <a:cubicBezTo>
                    <a:pt x="4208" y="3145"/>
                    <a:pt x="4208" y="3145"/>
                    <a:pt x="4208" y="3145"/>
                  </a:cubicBezTo>
                  <a:cubicBezTo>
                    <a:pt x="4068" y="3559"/>
                    <a:pt x="4068" y="3559"/>
                    <a:pt x="4068" y="3559"/>
                  </a:cubicBezTo>
                  <a:cubicBezTo>
                    <a:pt x="3857" y="4138"/>
                    <a:pt x="3857" y="4138"/>
                    <a:pt x="3857" y="4138"/>
                  </a:cubicBezTo>
                  <a:cubicBezTo>
                    <a:pt x="3717" y="4552"/>
                    <a:pt x="3717" y="4552"/>
                    <a:pt x="3717" y="4552"/>
                  </a:cubicBezTo>
                  <a:cubicBezTo>
                    <a:pt x="3296" y="5545"/>
                    <a:pt x="3296" y="5545"/>
                    <a:pt x="3296" y="5545"/>
                  </a:cubicBezTo>
                  <a:cubicBezTo>
                    <a:pt x="2805" y="7034"/>
                    <a:pt x="2805" y="7034"/>
                    <a:pt x="2805" y="7034"/>
                  </a:cubicBezTo>
                  <a:cubicBezTo>
                    <a:pt x="2455" y="8110"/>
                    <a:pt x="2455" y="8110"/>
                    <a:pt x="2455" y="8110"/>
                  </a:cubicBezTo>
                  <a:cubicBezTo>
                    <a:pt x="2104" y="9186"/>
                    <a:pt x="2104" y="9186"/>
                    <a:pt x="2104" y="9186"/>
                  </a:cubicBezTo>
                  <a:cubicBezTo>
                    <a:pt x="1683" y="9931"/>
                    <a:pt x="1683" y="9931"/>
                    <a:pt x="1683" y="9931"/>
                  </a:cubicBezTo>
                  <a:cubicBezTo>
                    <a:pt x="1543" y="10262"/>
                    <a:pt x="1543" y="10262"/>
                    <a:pt x="1543" y="10262"/>
                  </a:cubicBezTo>
                  <a:cubicBezTo>
                    <a:pt x="1262" y="10759"/>
                    <a:pt x="1262" y="10759"/>
                    <a:pt x="1262" y="10759"/>
                  </a:cubicBezTo>
                  <a:cubicBezTo>
                    <a:pt x="1052" y="11007"/>
                    <a:pt x="1052" y="11007"/>
                    <a:pt x="1052" y="11007"/>
                  </a:cubicBezTo>
                  <a:cubicBezTo>
                    <a:pt x="982" y="11255"/>
                    <a:pt x="982" y="11255"/>
                    <a:pt x="982" y="11255"/>
                  </a:cubicBezTo>
                  <a:cubicBezTo>
                    <a:pt x="771" y="11669"/>
                    <a:pt x="771" y="11669"/>
                    <a:pt x="771" y="11669"/>
                  </a:cubicBezTo>
                  <a:cubicBezTo>
                    <a:pt x="351" y="12248"/>
                    <a:pt x="351" y="12248"/>
                    <a:pt x="351" y="12248"/>
                  </a:cubicBezTo>
                  <a:cubicBezTo>
                    <a:pt x="210" y="12579"/>
                    <a:pt x="210" y="12579"/>
                    <a:pt x="210" y="12579"/>
                  </a:cubicBezTo>
                  <a:cubicBezTo>
                    <a:pt x="351" y="13241"/>
                    <a:pt x="351" y="13241"/>
                    <a:pt x="351" y="13241"/>
                  </a:cubicBezTo>
                  <a:cubicBezTo>
                    <a:pt x="351" y="13407"/>
                    <a:pt x="351" y="13407"/>
                    <a:pt x="351" y="13407"/>
                  </a:cubicBezTo>
                  <a:cubicBezTo>
                    <a:pt x="351" y="13572"/>
                    <a:pt x="351" y="13572"/>
                    <a:pt x="351" y="13572"/>
                  </a:cubicBezTo>
                  <a:cubicBezTo>
                    <a:pt x="281" y="13655"/>
                    <a:pt x="281" y="13655"/>
                    <a:pt x="281" y="13655"/>
                  </a:cubicBezTo>
                  <a:cubicBezTo>
                    <a:pt x="210" y="13986"/>
                    <a:pt x="210" y="13986"/>
                    <a:pt x="210" y="13986"/>
                  </a:cubicBezTo>
                  <a:cubicBezTo>
                    <a:pt x="70" y="14069"/>
                    <a:pt x="70" y="14069"/>
                    <a:pt x="70" y="14069"/>
                  </a:cubicBezTo>
                  <a:cubicBezTo>
                    <a:pt x="70" y="14400"/>
                    <a:pt x="70" y="14400"/>
                    <a:pt x="70" y="14400"/>
                  </a:cubicBezTo>
                  <a:cubicBezTo>
                    <a:pt x="0" y="15062"/>
                    <a:pt x="0" y="15062"/>
                    <a:pt x="0" y="15062"/>
                  </a:cubicBezTo>
                  <a:cubicBezTo>
                    <a:pt x="0" y="15476"/>
                    <a:pt x="0" y="15476"/>
                    <a:pt x="0" y="15476"/>
                  </a:cubicBezTo>
                  <a:cubicBezTo>
                    <a:pt x="140" y="15724"/>
                    <a:pt x="140" y="15724"/>
                    <a:pt x="140" y="15724"/>
                  </a:cubicBezTo>
                  <a:cubicBezTo>
                    <a:pt x="210" y="15972"/>
                    <a:pt x="210" y="15972"/>
                    <a:pt x="210" y="15972"/>
                  </a:cubicBezTo>
                  <a:cubicBezTo>
                    <a:pt x="10309" y="19366"/>
                    <a:pt x="10309" y="19366"/>
                    <a:pt x="10309" y="19366"/>
                  </a:cubicBezTo>
                  <a:cubicBezTo>
                    <a:pt x="10309" y="19366"/>
                    <a:pt x="15148" y="20938"/>
                    <a:pt x="16761" y="21352"/>
                  </a:cubicBezTo>
                  <a:cubicBezTo>
                    <a:pt x="16971" y="21434"/>
                    <a:pt x="17252" y="21517"/>
                    <a:pt x="17603"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0" name="Shape 2295">
              <a:extLst>
                <a:ext uri="{FF2B5EF4-FFF2-40B4-BE49-F238E27FC236}">
                  <a16:creationId xmlns:a16="http://schemas.microsoft.com/office/drawing/2014/main" id="{8A15F0F0-0D26-8AFF-8249-14CDFFA2A7E8}"/>
                </a:ext>
              </a:extLst>
            </p:cNvPr>
            <p:cNvSpPr/>
            <p:nvPr/>
          </p:nvSpPr>
          <p:spPr>
            <a:xfrm>
              <a:off x="1634359" y="224366"/>
              <a:ext cx="1110047" cy="1817958"/>
            </a:xfrm>
            <a:custGeom>
              <a:avLst/>
              <a:gdLst/>
              <a:ahLst/>
              <a:cxnLst>
                <a:cxn ang="0">
                  <a:pos x="wd2" y="hd2"/>
                </a:cxn>
                <a:cxn ang="5400000">
                  <a:pos x="wd2" y="hd2"/>
                </a:cxn>
                <a:cxn ang="10800000">
                  <a:pos x="wd2" y="hd2"/>
                </a:cxn>
                <a:cxn ang="16200000">
                  <a:pos x="wd2" y="hd2"/>
                </a:cxn>
              </a:cxnLst>
              <a:rect l="0" t="0" r="r" b="b"/>
              <a:pathLst>
                <a:path w="21600" h="21600" extrusionOk="0">
                  <a:moveTo>
                    <a:pt x="4547" y="7644"/>
                  </a:moveTo>
                  <a:cubicBezTo>
                    <a:pt x="4547" y="7991"/>
                    <a:pt x="4358" y="8281"/>
                    <a:pt x="4358" y="8281"/>
                  </a:cubicBezTo>
                  <a:cubicBezTo>
                    <a:pt x="4358" y="8513"/>
                    <a:pt x="4358" y="8513"/>
                    <a:pt x="4358" y="8513"/>
                  </a:cubicBezTo>
                  <a:cubicBezTo>
                    <a:pt x="4642" y="8802"/>
                    <a:pt x="4642" y="8802"/>
                    <a:pt x="4642" y="8802"/>
                  </a:cubicBezTo>
                  <a:cubicBezTo>
                    <a:pt x="5116" y="9034"/>
                    <a:pt x="5116" y="9034"/>
                    <a:pt x="5116" y="9034"/>
                  </a:cubicBezTo>
                  <a:cubicBezTo>
                    <a:pt x="5305" y="9208"/>
                    <a:pt x="5305" y="9208"/>
                    <a:pt x="5305" y="9208"/>
                  </a:cubicBezTo>
                  <a:cubicBezTo>
                    <a:pt x="5400" y="9439"/>
                    <a:pt x="5400" y="9439"/>
                    <a:pt x="5400" y="9439"/>
                  </a:cubicBezTo>
                  <a:cubicBezTo>
                    <a:pt x="5400" y="9671"/>
                    <a:pt x="5400" y="9671"/>
                    <a:pt x="5400" y="9671"/>
                  </a:cubicBezTo>
                  <a:cubicBezTo>
                    <a:pt x="5116" y="9729"/>
                    <a:pt x="5116" y="9729"/>
                    <a:pt x="5116" y="9729"/>
                  </a:cubicBezTo>
                  <a:cubicBezTo>
                    <a:pt x="5021" y="10018"/>
                    <a:pt x="5021" y="10018"/>
                    <a:pt x="5021" y="10018"/>
                  </a:cubicBezTo>
                  <a:cubicBezTo>
                    <a:pt x="4642" y="10192"/>
                    <a:pt x="4642" y="10192"/>
                    <a:pt x="4642" y="10192"/>
                  </a:cubicBezTo>
                  <a:cubicBezTo>
                    <a:pt x="4358" y="10424"/>
                    <a:pt x="4358" y="10424"/>
                    <a:pt x="4358" y="10424"/>
                  </a:cubicBezTo>
                  <a:cubicBezTo>
                    <a:pt x="3979" y="10655"/>
                    <a:pt x="3979" y="10655"/>
                    <a:pt x="3979" y="10655"/>
                  </a:cubicBezTo>
                  <a:cubicBezTo>
                    <a:pt x="3789" y="10945"/>
                    <a:pt x="3789" y="10945"/>
                    <a:pt x="3789" y="10945"/>
                  </a:cubicBezTo>
                  <a:cubicBezTo>
                    <a:pt x="3600" y="11003"/>
                    <a:pt x="3600" y="11003"/>
                    <a:pt x="3600" y="11003"/>
                  </a:cubicBezTo>
                  <a:cubicBezTo>
                    <a:pt x="3505" y="11234"/>
                    <a:pt x="3505" y="11234"/>
                    <a:pt x="3505" y="11234"/>
                  </a:cubicBezTo>
                  <a:cubicBezTo>
                    <a:pt x="3221" y="11466"/>
                    <a:pt x="3221" y="11466"/>
                    <a:pt x="3221" y="11466"/>
                  </a:cubicBezTo>
                  <a:cubicBezTo>
                    <a:pt x="2463" y="11929"/>
                    <a:pt x="2463" y="11929"/>
                    <a:pt x="2463" y="11929"/>
                  </a:cubicBezTo>
                  <a:cubicBezTo>
                    <a:pt x="1895" y="12219"/>
                    <a:pt x="1895" y="12219"/>
                    <a:pt x="1895" y="12219"/>
                  </a:cubicBezTo>
                  <a:cubicBezTo>
                    <a:pt x="1800" y="12392"/>
                    <a:pt x="1800" y="12392"/>
                    <a:pt x="1800" y="12392"/>
                  </a:cubicBezTo>
                  <a:cubicBezTo>
                    <a:pt x="1705" y="12682"/>
                    <a:pt x="1705" y="12682"/>
                    <a:pt x="1705" y="12682"/>
                  </a:cubicBezTo>
                  <a:cubicBezTo>
                    <a:pt x="1895" y="12856"/>
                    <a:pt x="1895" y="12856"/>
                    <a:pt x="1895" y="12856"/>
                  </a:cubicBezTo>
                  <a:cubicBezTo>
                    <a:pt x="2084" y="12914"/>
                    <a:pt x="2084" y="12914"/>
                    <a:pt x="2084" y="12914"/>
                  </a:cubicBezTo>
                  <a:cubicBezTo>
                    <a:pt x="2179" y="12914"/>
                    <a:pt x="2179" y="12914"/>
                    <a:pt x="2179" y="12914"/>
                  </a:cubicBezTo>
                  <a:cubicBezTo>
                    <a:pt x="2463" y="13087"/>
                    <a:pt x="2463" y="13087"/>
                    <a:pt x="2463" y="13087"/>
                  </a:cubicBezTo>
                  <a:cubicBezTo>
                    <a:pt x="2368" y="13203"/>
                    <a:pt x="2368" y="13203"/>
                    <a:pt x="2368" y="13203"/>
                  </a:cubicBezTo>
                  <a:cubicBezTo>
                    <a:pt x="2368" y="13666"/>
                    <a:pt x="2368" y="13666"/>
                    <a:pt x="2368" y="13666"/>
                  </a:cubicBezTo>
                  <a:cubicBezTo>
                    <a:pt x="2274" y="13898"/>
                    <a:pt x="2274" y="13898"/>
                    <a:pt x="2274" y="13898"/>
                  </a:cubicBezTo>
                  <a:cubicBezTo>
                    <a:pt x="2274" y="14014"/>
                    <a:pt x="2274" y="14014"/>
                    <a:pt x="2274" y="14014"/>
                  </a:cubicBezTo>
                  <a:cubicBezTo>
                    <a:pt x="1800" y="14130"/>
                    <a:pt x="1800" y="14130"/>
                    <a:pt x="1800" y="14130"/>
                  </a:cubicBezTo>
                  <a:cubicBezTo>
                    <a:pt x="1705" y="14246"/>
                    <a:pt x="1705" y="14246"/>
                    <a:pt x="1705" y="14246"/>
                  </a:cubicBezTo>
                  <a:cubicBezTo>
                    <a:pt x="1705" y="14535"/>
                    <a:pt x="1705" y="14535"/>
                    <a:pt x="1705" y="14535"/>
                  </a:cubicBezTo>
                  <a:cubicBezTo>
                    <a:pt x="0" y="19110"/>
                    <a:pt x="0" y="19110"/>
                    <a:pt x="0" y="19110"/>
                  </a:cubicBezTo>
                  <a:cubicBezTo>
                    <a:pt x="3316" y="19573"/>
                    <a:pt x="9663" y="20384"/>
                    <a:pt x="9663" y="20384"/>
                  </a:cubicBezTo>
                  <a:cubicBezTo>
                    <a:pt x="19705" y="21600"/>
                    <a:pt x="19705" y="21600"/>
                    <a:pt x="19705" y="21600"/>
                  </a:cubicBezTo>
                  <a:cubicBezTo>
                    <a:pt x="21600" y="14825"/>
                    <a:pt x="21600" y="14825"/>
                    <a:pt x="21600" y="14825"/>
                  </a:cubicBezTo>
                  <a:cubicBezTo>
                    <a:pt x="21411" y="14709"/>
                    <a:pt x="21411" y="14709"/>
                    <a:pt x="21411" y="14709"/>
                  </a:cubicBezTo>
                  <a:cubicBezTo>
                    <a:pt x="21221" y="14593"/>
                    <a:pt x="21221" y="14593"/>
                    <a:pt x="21221" y="14593"/>
                  </a:cubicBezTo>
                  <a:cubicBezTo>
                    <a:pt x="21221" y="14535"/>
                    <a:pt x="21221" y="14535"/>
                    <a:pt x="21221" y="14535"/>
                  </a:cubicBezTo>
                  <a:cubicBezTo>
                    <a:pt x="21126" y="14303"/>
                    <a:pt x="21126" y="14303"/>
                    <a:pt x="21126" y="14303"/>
                  </a:cubicBezTo>
                  <a:cubicBezTo>
                    <a:pt x="20937" y="14130"/>
                    <a:pt x="20937" y="14130"/>
                    <a:pt x="20937" y="14130"/>
                  </a:cubicBezTo>
                  <a:cubicBezTo>
                    <a:pt x="20653" y="13956"/>
                    <a:pt x="20653" y="13956"/>
                    <a:pt x="20653" y="13956"/>
                  </a:cubicBezTo>
                  <a:cubicBezTo>
                    <a:pt x="20274" y="13956"/>
                    <a:pt x="20274" y="13956"/>
                    <a:pt x="20274" y="13956"/>
                  </a:cubicBezTo>
                  <a:cubicBezTo>
                    <a:pt x="20179" y="14246"/>
                    <a:pt x="20179" y="14246"/>
                    <a:pt x="20179" y="14246"/>
                  </a:cubicBezTo>
                  <a:cubicBezTo>
                    <a:pt x="20084" y="14419"/>
                    <a:pt x="20084" y="14419"/>
                    <a:pt x="20084" y="14419"/>
                  </a:cubicBezTo>
                  <a:cubicBezTo>
                    <a:pt x="19137" y="14361"/>
                    <a:pt x="19137" y="14361"/>
                    <a:pt x="19137" y="14361"/>
                  </a:cubicBezTo>
                  <a:cubicBezTo>
                    <a:pt x="18663" y="14246"/>
                    <a:pt x="18663" y="14246"/>
                    <a:pt x="18663" y="14246"/>
                  </a:cubicBezTo>
                  <a:cubicBezTo>
                    <a:pt x="17905" y="14188"/>
                    <a:pt x="17905" y="14188"/>
                    <a:pt x="17905" y="14188"/>
                  </a:cubicBezTo>
                  <a:cubicBezTo>
                    <a:pt x="17526" y="14188"/>
                    <a:pt x="17526" y="14188"/>
                    <a:pt x="17526" y="14188"/>
                  </a:cubicBezTo>
                  <a:cubicBezTo>
                    <a:pt x="17432" y="14303"/>
                    <a:pt x="17432" y="14303"/>
                    <a:pt x="17432" y="14303"/>
                  </a:cubicBezTo>
                  <a:cubicBezTo>
                    <a:pt x="17432" y="14419"/>
                    <a:pt x="17432" y="14419"/>
                    <a:pt x="17432" y="14419"/>
                  </a:cubicBezTo>
                  <a:cubicBezTo>
                    <a:pt x="16958" y="14303"/>
                    <a:pt x="16958" y="14303"/>
                    <a:pt x="16958" y="14303"/>
                  </a:cubicBezTo>
                  <a:cubicBezTo>
                    <a:pt x="16484" y="14130"/>
                    <a:pt x="16484" y="14130"/>
                    <a:pt x="16484" y="14130"/>
                  </a:cubicBezTo>
                  <a:cubicBezTo>
                    <a:pt x="16200" y="14130"/>
                    <a:pt x="16200" y="14130"/>
                    <a:pt x="16200" y="14130"/>
                  </a:cubicBezTo>
                  <a:cubicBezTo>
                    <a:pt x="16011" y="14130"/>
                    <a:pt x="16011" y="14130"/>
                    <a:pt x="16011" y="14130"/>
                  </a:cubicBezTo>
                  <a:cubicBezTo>
                    <a:pt x="15916" y="14303"/>
                    <a:pt x="15916" y="14303"/>
                    <a:pt x="15916" y="14303"/>
                  </a:cubicBezTo>
                  <a:cubicBezTo>
                    <a:pt x="15916" y="14419"/>
                    <a:pt x="15916" y="14419"/>
                    <a:pt x="15916" y="14419"/>
                  </a:cubicBezTo>
                  <a:cubicBezTo>
                    <a:pt x="15537" y="14419"/>
                    <a:pt x="15537" y="14419"/>
                    <a:pt x="15537" y="14419"/>
                  </a:cubicBezTo>
                  <a:cubicBezTo>
                    <a:pt x="15347" y="14188"/>
                    <a:pt x="15347" y="14188"/>
                    <a:pt x="15347" y="14188"/>
                  </a:cubicBezTo>
                  <a:cubicBezTo>
                    <a:pt x="15347" y="14014"/>
                    <a:pt x="15347" y="14014"/>
                    <a:pt x="15347" y="14014"/>
                  </a:cubicBezTo>
                  <a:cubicBezTo>
                    <a:pt x="15347" y="13782"/>
                    <a:pt x="15347" y="13782"/>
                    <a:pt x="15347" y="13782"/>
                  </a:cubicBezTo>
                  <a:cubicBezTo>
                    <a:pt x="15158" y="13435"/>
                    <a:pt x="15158" y="13435"/>
                    <a:pt x="15158" y="13435"/>
                  </a:cubicBezTo>
                  <a:cubicBezTo>
                    <a:pt x="15158" y="13087"/>
                    <a:pt x="15158" y="13087"/>
                    <a:pt x="15158" y="13087"/>
                  </a:cubicBezTo>
                  <a:cubicBezTo>
                    <a:pt x="14779" y="13087"/>
                    <a:pt x="14779" y="13087"/>
                    <a:pt x="14779" y="13087"/>
                  </a:cubicBezTo>
                  <a:cubicBezTo>
                    <a:pt x="14305" y="12914"/>
                    <a:pt x="14305" y="12914"/>
                    <a:pt x="14305" y="12914"/>
                  </a:cubicBezTo>
                  <a:cubicBezTo>
                    <a:pt x="14116" y="12740"/>
                    <a:pt x="14116" y="12740"/>
                    <a:pt x="14116" y="12740"/>
                  </a:cubicBezTo>
                  <a:cubicBezTo>
                    <a:pt x="14116" y="12624"/>
                    <a:pt x="14116" y="12624"/>
                    <a:pt x="14116" y="12624"/>
                  </a:cubicBezTo>
                  <a:cubicBezTo>
                    <a:pt x="14116" y="12335"/>
                    <a:pt x="14116" y="12335"/>
                    <a:pt x="14116" y="12335"/>
                  </a:cubicBezTo>
                  <a:cubicBezTo>
                    <a:pt x="14116" y="12045"/>
                    <a:pt x="14116" y="12045"/>
                    <a:pt x="14116" y="12045"/>
                  </a:cubicBezTo>
                  <a:cubicBezTo>
                    <a:pt x="13737" y="11813"/>
                    <a:pt x="13737" y="11813"/>
                    <a:pt x="13737" y="11813"/>
                  </a:cubicBezTo>
                  <a:cubicBezTo>
                    <a:pt x="13737" y="11640"/>
                    <a:pt x="13737" y="11640"/>
                    <a:pt x="13737" y="11640"/>
                  </a:cubicBezTo>
                  <a:cubicBezTo>
                    <a:pt x="13737" y="11292"/>
                    <a:pt x="13737" y="11292"/>
                    <a:pt x="13737" y="11292"/>
                  </a:cubicBezTo>
                  <a:cubicBezTo>
                    <a:pt x="13642" y="10829"/>
                    <a:pt x="13642" y="10829"/>
                    <a:pt x="13642" y="10829"/>
                  </a:cubicBezTo>
                  <a:cubicBezTo>
                    <a:pt x="13453" y="10597"/>
                    <a:pt x="13453" y="10597"/>
                    <a:pt x="13453" y="10597"/>
                  </a:cubicBezTo>
                  <a:cubicBezTo>
                    <a:pt x="13358" y="10366"/>
                    <a:pt x="13358" y="10366"/>
                    <a:pt x="13358" y="10366"/>
                  </a:cubicBezTo>
                  <a:cubicBezTo>
                    <a:pt x="13168" y="10366"/>
                    <a:pt x="13168" y="10366"/>
                    <a:pt x="13168" y="10366"/>
                  </a:cubicBezTo>
                  <a:cubicBezTo>
                    <a:pt x="12789" y="10539"/>
                    <a:pt x="12789" y="10539"/>
                    <a:pt x="12789" y="10539"/>
                  </a:cubicBezTo>
                  <a:cubicBezTo>
                    <a:pt x="12600" y="10539"/>
                    <a:pt x="12600" y="10539"/>
                    <a:pt x="12600" y="10539"/>
                  </a:cubicBezTo>
                  <a:cubicBezTo>
                    <a:pt x="12316" y="10597"/>
                    <a:pt x="12316" y="10597"/>
                    <a:pt x="12316" y="10597"/>
                  </a:cubicBezTo>
                  <a:cubicBezTo>
                    <a:pt x="12032" y="10771"/>
                    <a:pt x="12032" y="10771"/>
                    <a:pt x="12032" y="10771"/>
                  </a:cubicBezTo>
                  <a:cubicBezTo>
                    <a:pt x="11842" y="10771"/>
                    <a:pt x="11842" y="10771"/>
                    <a:pt x="11842" y="10771"/>
                  </a:cubicBezTo>
                  <a:cubicBezTo>
                    <a:pt x="11842" y="10597"/>
                    <a:pt x="11842" y="10597"/>
                    <a:pt x="11842" y="10597"/>
                  </a:cubicBezTo>
                  <a:cubicBezTo>
                    <a:pt x="11463" y="10482"/>
                    <a:pt x="11463" y="10482"/>
                    <a:pt x="11463" y="10482"/>
                  </a:cubicBezTo>
                  <a:cubicBezTo>
                    <a:pt x="11274" y="10366"/>
                    <a:pt x="11274" y="10366"/>
                    <a:pt x="11274" y="10366"/>
                  </a:cubicBezTo>
                  <a:cubicBezTo>
                    <a:pt x="11558" y="9960"/>
                    <a:pt x="11558" y="9960"/>
                    <a:pt x="11558" y="9960"/>
                  </a:cubicBezTo>
                  <a:cubicBezTo>
                    <a:pt x="11842" y="9729"/>
                    <a:pt x="11842" y="9729"/>
                    <a:pt x="11842" y="9729"/>
                  </a:cubicBezTo>
                  <a:cubicBezTo>
                    <a:pt x="12126" y="9729"/>
                    <a:pt x="12126" y="9729"/>
                    <a:pt x="12126" y="9729"/>
                  </a:cubicBezTo>
                  <a:cubicBezTo>
                    <a:pt x="12221" y="9613"/>
                    <a:pt x="12221" y="9613"/>
                    <a:pt x="12221" y="9613"/>
                  </a:cubicBezTo>
                  <a:cubicBezTo>
                    <a:pt x="12032" y="9265"/>
                    <a:pt x="12032" y="9265"/>
                    <a:pt x="12032" y="9265"/>
                  </a:cubicBezTo>
                  <a:cubicBezTo>
                    <a:pt x="12126" y="8918"/>
                    <a:pt x="12126" y="8918"/>
                    <a:pt x="12126" y="8918"/>
                  </a:cubicBezTo>
                  <a:cubicBezTo>
                    <a:pt x="12411" y="8513"/>
                    <a:pt x="12411" y="8513"/>
                    <a:pt x="12411" y="8513"/>
                  </a:cubicBezTo>
                  <a:cubicBezTo>
                    <a:pt x="12695" y="8165"/>
                    <a:pt x="12695" y="8165"/>
                    <a:pt x="12695" y="8165"/>
                  </a:cubicBezTo>
                  <a:cubicBezTo>
                    <a:pt x="12979" y="7818"/>
                    <a:pt x="12979" y="7818"/>
                    <a:pt x="12979" y="7818"/>
                  </a:cubicBezTo>
                  <a:cubicBezTo>
                    <a:pt x="12979" y="7586"/>
                    <a:pt x="12979" y="7586"/>
                    <a:pt x="12979" y="7586"/>
                  </a:cubicBezTo>
                  <a:cubicBezTo>
                    <a:pt x="12126" y="7470"/>
                    <a:pt x="12126" y="7470"/>
                    <a:pt x="12126" y="7470"/>
                  </a:cubicBezTo>
                  <a:cubicBezTo>
                    <a:pt x="12126" y="7412"/>
                    <a:pt x="12126" y="7412"/>
                    <a:pt x="12126" y="7412"/>
                  </a:cubicBezTo>
                  <a:cubicBezTo>
                    <a:pt x="11842" y="7181"/>
                    <a:pt x="11842" y="7181"/>
                    <a:pt x="11842" y="7181"/>
                  </a:cubicBezTo>
                  <a:cubicBezTo>
                    <a:pt x="11653" y="6833"/>
                    <a:pt x="11653" y="6833"/>
                    <a:pt x="11653" y="6833"/>
                  </a:cubicBezTo>
                  <a:cubicBezTo>
                    <a:pt x="11558" y="6428"/>
                    <a:pt x="11558" y="6428"/>
                    <a:pt x="11558" y="6428"/>
                  </a:cubicBezTo>
                  <a:cubicBezTo>
                    <a:pt x="11274" y="6138"/>
                    <a:pt x="11274" y="6138"/>
                    <a:pt x="11274" y="6138"/>
                  </a:cubicBezTo>
                  <a:cubicBezTo>
                    <a:pt x="10800" y="5849"/>
                    <a:pt x="10800" y="5849"/>
                    <a:pt x="10800" y="5849"/>
                  </a:cubicBezTo>
                  <a:cubicBezTo>
                    <a:pt x="10326" y="5386"/>
                    <a:pt x="10326" y="5386"/>
                    <a:pt x="10326" y="5386"/>
                  </a:cubicBezTo>
                  <a:cubicBezTo>
                    <a:pt x="10232" y="5096"/>
                    <a:pt x="10232" y="5096"/>
                    <a:pt x="10232" y="5096"/>
                  </a:cubicBezTo>
                  <a:cubicBezTo>
                    <a:pt x="9853" y="4749"/>
                    <a:pt x="9853" y="4749"/>
                    <a:pt x="9853" y="4749"/>
                  </a:cubicBezTo>
                  <a:cubicBezTo>
                    <a:pt x="9853" y="4575"/>
                    <a:pt x="9853" y="4575"/>
                    <a:pt x="9853" y="4575"/>
                  </a:cubicBezTo>
                  <a:cubicBezTo>
                    <a:pt x="9568" y="4401"/>
                    <a:pt x="9568" y="4401"/>
                    <a:pt x="9568" y="4401"/>
                  </a:cubicBezTo>
                  <a:cubicBezTo>
                    <a:pt x="9568" y="4169"/>
                    <a:pt x="9568" y="4169"/>
                    <a:pt x="9568" y="4169"/>
                  </a:cubicBezTo>
                  <a:cubicBezTo>
                    <a:pt x="9568" y="3996"/>
                    <a:pt x="9568" y="3996"/>
                    <a:pt x="9568" y="3996"/>
                  </a:cubicBezTo>
                  <a:cubicBezTo>
                    <a:pt x="9379" y="3706"/>
                    <a:pt x="9379" y="3706"/>
                    <a:pt x="9379" y="3706"/>
                  </a:cubicBezTo>
                  <a:cubicBezTo>
                    <a:pt x="9189" y="3590"/>
                    <a:pt x="9189" y="3590"/>
                    <a:pt x="9189" y="3590"/>
                  </a:cubicBezTo>
                  <a:cubicBezTo>
                    <a:pt x="9189" y="3417"/>
                    <a:pt x="9189" y="3417"/>
                    <a:pt x="9189" y="3417"/>
                  </a:cubicBezTo>
                  <a:cubicBezTo>
                    <a:pt x="9284" y="2780"/>
                    <a:pt x="9284" y="2780"/>
                    <a:pt x="9284" y="2780"/>
                  </a:cubicBezTo>
                  <a:cubicBezTo>
                    <a:pt x="9568" y="2085"/>
                    <a:pt x="9568" y="2085"/>
                    <a:pt x="9568" y="2085"/>
                  </a:cubicBezTo>
                  <a:cubicBezTo>
                    <a:pt x="9853" y="1448"/>
                    <a:pt x="9853" y="1448"/>
                    <a:pt x="9853" y="1448"/>
                  </a:cubicBezTo>
                  <a:cubicBezTo>
                    <a:pt x="10042" y="1042"/>
                    <a:pt x="10042" y="1042"/>
                    <a:pt x="10042" y="1042"/>
                  </a:cubicBezTo>
                  <a:cubicBezTo>
                    <a:pt x="10232" y="463"/>
                    <a:pt x="10232" y="463"/>
                    <a:pt x="10232" y="463"/>
                  </a:cubicBezTo>
                  <a:cubicBezTo>
                    <a:pt x="7200" y="0"/>
                    <a:pt x="7200" y="0"/>
                    <a:pt x="7200" y="0"/>
                  </a:cubicBezTo>
                  <a:cubicBezTo>
                    <a:pt x="7200" y="0"/>
                    <a:pt x="4926" y="6602"/>
                    <a:pt x="4453" y="6949"/>
                  </a:cubicBezTo>
                  <a:cubicBezTo>
                    <a:pt x="4074" y="7354"/>
                    <a:pt x="4547" y="7239"/>
                    <a:pt x="4547" y="7644"/>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1" name="Shape 2296">
              <a:extLst>
                <a:ext uri="{FF2B5EF4-FFF2-40B4-BE49-F238E27FC236}">
                  <a16:creationId xmlns:a16="http://schemas.microsoft.com/office/drawing/2014/main" id="{8D9D4C9B-609B-207C-A7A8-50597930F1D1}"/>
                </a:ext>
              </a:extLst>
            </p:cNvPr>
            <p:cNvSpPr/>
            <p:nvPr/>
          </p:nvSpPr>
          <p:spPr>
            <a:xfrm>
              <a:off x="2105988" y="264638"/>
              <a:ext cx="1903760" cy="1231149"/>
            </a:xfrm>
            <a:custGeom>
              <a:avLst/>
              <a:gdLst/>
              <a:ahLst/>
              <a:cxnLst>
                <a:cxn ang="0">
                  <a:pos x="wd2" y="hd2"/>
                </a:cxn>
                <a:cxn ang="5400000">
                  <a:pos x="wd2" y="hd2"/>
                </a:cxn>
                <a:cxn ang="10800000">
                  <a:pos x="wd2" y="hd2"/>
                </a:cxn>
                <a:cxn ang="16200000">
                  <a:pos x="wd2" y="hd2"/>
                </a:cxn>
              </a:cxnLst>
              <a:rect l="0" t="0" r="r" b="b"/>
              <a:pathLst>
                <a:path w="21600" h="21600" extrusionOk="0">
                  <a:moveTo>
                    <a:pt x="21600" y="5143"/>
                  </a:moveTo>
                  <a:cubicBezTo>
                    <a:pt x="21600" y="5143"/>
                    <a:pt x="13424" y="3600"/>
                    <a:pt x="10165" y="2829"/>
                  </a:cubicBezTo>
                  <a:cubicBezTo>
                    <a:pt x="6187" y="1886"/>
                    <a:pt x="608" y="0"/>
                    <a:pt x="608" y="0"/>
                  </a:cubicBezTo>
                  <a:cubicBezTo>
                    <a:pt x="497" y="857"/>
                    <a:pt x="497" y="857"/>
                    <a:pt x="497" y="857"/>
                  </a:cubicBezTo>
                  <a:cubicBezTo>
                    <a:pt x="387" y="1457"/>
                    <a:pt x="387" y="1457"/>
                    <a:pt x="387" y="1457"/>
                  </a:cubicBezTo>
                  <a:cubicBezTo>
                    <a:pt x="221" y="2400"/>
                    <a:pt x="221" y="2400"/>
                    <a:pt x="221" y="2400"/>
                  </a:cubicBezTo>
                  <a:cubicBezTo>
                    <a:pt x="55" y="3429"/>
                    <a:pt x="55" y="3429"/>
                    <a:pt x="55" y="3429"/>
                  </a:cubicBezTo>
                  <a:cubicBezTo>
                    <a:pt x="0" y="4371"/>
                    <a:pt x="0" y="4371"/>
                    <a:pt x="0" y="4371"/>
                  </a:cubicBezTo>
                  <a:cubicBezTo>
                    <a:pt x="0" y="4629"/>
                    <a:pt x="0" y="4629"/>
                    <a:pt x="0" y="4629"/>
                  </a:cubicBezTo>
                  <a:cubicBezTo>
                    <a:pt x="110" y="4800"/>
                    <a:pt x="110" y="4800"/>
                    <a:pt x="110" y="4800"/>
                  </a:cubicBezTo>
                  <a:cubicBezTo>
                    <a:pt x="221" y="5229"/>
                    <a:pt x="221" y="5229"/>
                    <a:pt x="221" y="5229"/>
                  </a:cubicBezTo>
                  <a:cubicBezTo>
                    <a:pt x="221" y="5486"/>
                    <a:pt x="221" y="5486"/>
                    <a:pt x="221" y="5486"/>
                  </a:cubicBezTo>
                  <a:cubicBezTo>
                    <a:pt x="221" y="5829"/>
                    <a:pt x="221" y="5829"/>
                    <a:pt x="221" y="5829"/>
                  </a:cubicBezTo>
                  <a:cubicBezTo>
                    <a:pt x="387" y="6086"/>
                    <a:pt x="387" y="6086"/>
                    <a:pt x="387" y="6086"/>
                  </a:cubicBezTo>
                  <a:cubicBezTo>
                    <a:pt x="387" y="6343"/>
                    <a:pt x="387" y="6343"/>
                    <a:pt x="387" y="6343"/>
                  </a:cubicBezTo>
                  <a:cubicBezTo>
                    <a:pt x="608" y="6857"/>
                    <a:pt x="608" y="6857"/>
                    <a:pt x="608" y="6857"/>
                  </a:cubicBezTo>
                  <a:cubicBezTo>
                    <a:pt x="663" y="7286"/>
                    <a:pt x="663" y="7286"/>
                    <a:pt x="663" y="7286"/>
                  </a:cubicBezTo>
                  <a:cubicBezTo>
                    <a:pt x="939" y="7971"/>
                    <a:pt x="939" y="7971"/>
                    <a:pt x="939" y="7971"/>
                  </a:cubicBezTo>
                  <a:cubicBezTo>
                    <a:pt x="1215" y="8400"/>
                    <a:pt x="1215" y="8400"/>
                    <a:pt x="1215" y="8400"/>
                  </a:cubicBezTo>
                  <a:cubicBezTo>
                    <a:pt x="1381" y="8829"/>
                    <a:pt x="1381" y="8829"/>
                    <a:pt x="1381" y="8829"/>
                  </a:cubicBezTo>
                  <a:cubicBezTo>
                    <a:pt x="1436" y="9429"/>
                    <a:pt x="1436" y="9429"/>
                    <a:pt x="1436" y="9429"/>
                  </a:cubicBezTo>
                  <a:cubicBezTo>
                    <a:pt x="1547" y="9943"/>
                    <a:pt x="1547" y="9943"/>
                    <a:pt x="1547" y="9943"/>
                  </a:cubicBezTo>
                  <a:cubicBezTo>
                    <a:pt x="1713" y="10286"/>
                    <a:pt x="1713" y="10286"/>
                    <a:pt x="1713" y="10286"/>
                  </a:cubicBezTo>
                  <a:cubicBezTo>
                    <a:pt x="1713" y="10371"/>
                    <a:pt x="1713" y="10371"/>
                    <a:pt x="1713" y="10371"/>
                  </a:cubicBezTo>
                  <a:cubicBezTo>
                    <a:pt x="2210" y="10543"/>
                    <a:pt x="2210" y="10543"/>
                    <a:pt x="2210" y="10543"/>
                  </a:cubicBezTo>
                  <a:cubicBezTo>
                    <a:pt x="2210" y="10886"/>
                    <a:pt x="2210" y="10886"/>
                    <a:pt x="2210" y="10886"/>
                  </a:cubicBezTo>
                  <a:cubicBezTo>
                    <a:pt x="2044" y="11400"/>
                    <a:pt x="2044" y="11400"/>
                    <a:pt x="2044" y="11400"/>
                  </a:cubicBezTo>
                  <a:cubicBezTo>
                    <a:pt x="1878" y="11914"/>
                    <a:pt x="1878" y="11914"/>
                    <a:pt x="1878" y="11914"/>
                  </a:cubicBezTo>
                  <a:cubicBezTo>
                    <a:pt x="1713" y="12514"/>
                    <a:pt x="1713" y="12514"/>
                    <a:pt x="1713" y="12514"/>
                  </a:cubicBezTo>
                  <a:cubicBezTo>
                    <a:pt x="1657" y="13029"/>
                    <a:pt x="1657" y="13029"/>
                    <a:pt x="1657" y="13029"/>
                  </a:cubicBezTo>
                  <a:cubicBezTo>
                    <a:pt x="1768" y="13543"/>
                    <a:pt x="1768" y="13543"/>
                    <a:pt x="1768" y="13543"/>
                  </a:cubicBezTo>
                  <a:cubicBezTo>
                    <a:pt x="1713" y="13714"/>
                    <a:pt x="1713" y="13714"/>
                    <a:pt x="1713" y="13714"/>
                  </a:cubicBezTo>
                  <a:cubicBezTo>
                    <a:pt x="1547" y="13714"/>
                    <a:pt x="1547" y="13714"/>
                    <a:pt x="1547" y="13714"/>
                  </a:cubicBezTo>
                  <a:cubicBezTo>
                    <a:pt x="1381" y="14057"/>
                    <a:pt x="1381" y="14057"/>
                    <a:pt x="1381" y="14057"/>
                  </a:cubicBezTo>
                  <a:cubicBezTo>
                    <a:pt x="1215" y="14657"/>
                    <a:pt x="1215" y="14657"/>
                    <a:pt x="1215" y="14657"/>
                  </a:cubicBezTo>
                  <a:cubicBezTo>
                    <a:pt x="1326" y="14829"/>
                    <a:pt x="1326" y="14829"/>
                    <a:pt x="1326" y="14829"/>
                  </a:cubicBezTo>
                  <a:cubicBezTo>
                    <a:pt x="1547" y="15000"/>
                    <a:pt x="1547" y="15000"/>
                    <a:pt x="1547" y="15000"/>
                  </a:cubicBezTo>
                  <a:cubicBezTo>
                    <a:pt x="1547" y="15257"/>
                    <a:pt x="1547" y="15257"/>
                    <a:pt x="1547" y="15257"/>
                  </a:cubicBezTo>
                  <a:cubicBezTo>
                    <a:pt x="1657" y="15257"/>
                    <a:pt x="1657" y="15257"/>
                    <a:pt x="1657" y="15257"/>
                  </a:cubicBezTo>
                  <a:cubicBezTo>
                    <a:pt x="1823" y="15000"/>
                    <a:pt x="1823" y="15000"/>
                    <a:pt x="1823" y="15000"/>
                  </a:cubicBezTo>
                  <a:cubicBezTo>
                    <a:pt x="1989" y="14914"/>
                    <a:pt x="1989" y="14914"/>
                    <a:pt x="1989" y="14914"/>
                  </a:cubicBezTo>
                  <a:cubicBezTo>
                    <a:pt x="2099" y="14914"/>
                    <a:pt x="2099" y="14914"/>
                    <a:pt x="2099" y="14914"/>
                  </a:cubicBezTo>
                  <a:cubicBezTo>
                    <a:pt x="2320" y="14657"/>
                    <a:pt x="2320" y="14657"/>
                    <a:pt x="2320" y="14657"/>
                  </a:cubicBezTo>
                  <a:cubicBezTo>
                    <a:pt x="2431" y="14657"/>
                    <a:pt x="2431" y="14657"/>
                    <a:pt x="2431" y="14657"/>
                  </a:cubicBezTo>
                  <a:cubicBezTo>
                    <a:pt x="2486" y="15000"/>
                    <a:pt x="2486" y="15000"/>
                    <a:pt x="2486" y="15000"/>
                  </a:cubicBezTo>
                  <a:cubicBezTo>
                    <a:pt x="2596" y="15343"/>
                    <a:pt x="2596" y="15343"/>
                    <a:pt x="2596" y="15343"/>
                  </a:cubicBezTo>
                  <a:cubicBezTo>
                    <a:pt x="2652" y="16029"/>
                    <a:pt x="2652" y="16029"/>
                    <a:pt x="2652" y="16029"/>
                  </a:cubicBezTo>
                  <a:cubicBezTo>
                    <a:pt x="2652" y="16543"/>
                    <a:pt x="2652" y="16543"/>
                    <a:pt x="2652" y="16543"/>
                  </a:cubicBezTo>
                  <a:cubicBezTo>
                    <a:pt x="2652" y="16800"/>
                    <a:pt x="2652" y="16800"/>
                    <a:pt x="2652" y="16800"/>
                  </a:cubicBezTo>
                  <a:cubicBezTo>
                    <a:pt x="2873" y="17143"/>
                    <a:pt x="2873" y="17143"/>
                    <a:pt x="2873" y="17143"/>
                  </a:cubicBezTo>
                  <a:cubicBezTo>
                    <a:pt x="2873" y="17571"/>
                    <a:pt x="2873" y="17571"/>
                    <a:pt x="2873" y="17571"/>
                  </a:cubicBezTo>
                  <a:cubicBezTo>
                    <a:pt x="2873" y="18000"/>
                    <a:pt x="2873" y="18000"/>
                    <a:pt x="2873" y="18000"/>
                  </a:cubicBezTo>
                  <a:cubicBezTo>
                    <a:pt x="2873" y="18171"/>
                    <a:pt x="2873" y="18171"/>
                    <a:pt x="2873" y="18171"/>
                  </a:cubicBezTo>
                  <a:cubicBezTo>
                    <a:pt x="2983" y="18429"/>
                    <a:pt x="2983" y="18429"/>
                    <a:pt x="2983" y="18429"/>
                  </a:cubicBezTo>
                  <a:cubicBezTo>
                    <a:pt x="3259" y="18686"/>
                    <a:pt x="3259" y="18686"/>
                    <a:pt x="3259" y="18686"/>
                  </a:cubicBezTo>
                  <a:cubicBezTo>
                    <a:pt x="3480" y="18686"/>
                    <a:pt x="3480" y="18686"/>
                    <a:pt x="3480" y="18686"/>
                  </a:cubicBezTo>
                  <a:cubicBezTo>
                    <a:pt x="3480" y="19200"/>
                    <a:pt x="3480" y="19200"/>
                    <a:pt x="3480" y="19200"/>
                  </a:cubicBezTo>
                  <a:cubicBezTo>
                    <a:pt x="3591" y="19714"/>
                    <a:pt x="3591" y="19714"/>
                    <a:pt x="3591" y="19714"/>
                  </a:cubicBezTo>
                  <a:cubicBezTo>
                    <a:pt x="3591" y="20057"/>
                    <a:pt x="3591" y="20057"/>
                    <a:pt x="3591" y="20057"/>
                  </a:cubicBezTo>
                  <a:cubicBezTo>
                    <a:pt x="3591" y="20314"/>
                    <a:pt x="3591" y="20314"/>
                    <a:pt x="3591" y="20314"/>
                  </a:cubicBezTo>
                  <a:cubicBezTo>
                    <a:pt x="3701" y="20657"/>
                    <a:pt x="3701" y="20657"/>
                    <a:pt x="3701" y="20657"/>
                  </a:cubicBezTo>
                  <a:cubicBezTo>
                    <a:pt x="3922" y="20657"/>
                    <a:pt x="3922" y="20657"/>
                    <a:pt x="3922" y="20657"/>
                  </a:cubicBezTo>
                  <a:cubicBezTo>
                    <a:pt x="3922" y="20486"/>
                    <a:pt x="3922" y="20486"/>
                    <a:pt x="3922" y="20486"/>
                  </a:cubicBezTo>
                  <a:cubicBezTo>
                    <a:pt x="3977" y="20229"/>
                    <a:pt x="3977" y="20229"/>
                    <a:pt x="3977" y="20229"/>
                  </a:cubicBezTo>
                  <a:cubicBezTo>
                    <a:pt x="4088" y="20229"/>
                    <a:pt x="4088" y="20229"/>
                    <a:pt x="4088" y="20229"/>
                  </a:cubicBezTo>
                  <a:cubicBezTo>
                    <a:pt x="4254" y="20229"/>
                    <a:pt x="4254" y="20229"/>
                    <a:pt x="4254" y="20229"/>
                  </a:cubicBezTo>
                  <a:cubicBezTo>
                    <a:pt x="4530" y="20486"/>
                    <a:pt x="4530" y="20486"/>
                    <a:pt x="4530" y="20486"/>
                  </a:cubicBezTo>
                  <a:cubicBezTo>
                    <a:pt x="4806" y="20657"/>
                    <a:pt x="4806" y="20657"/>
                    <a:pt x="4806" y="20657"/>
                  </a:cubicBezTo>
                  <a:cubicBezTo>
                    <a:pt x="4806" y="20486"/>
                    <a:pt x="4806" y="20486"/>
                    <a:pt x="4806" y="20486"/>
                  </a:cubicBezTo>
                  <a:cubicBezTo>
                    <a:pt x="4861" y="20314"/>
                    <a:pt x="4861" y="20314"/>
                    <a:pt x="4861" y="20314"/>
                  </a:cubicBezTo>
                  <a:cubicBezTo>
                    <a:pt x="5082" y="20314"/>
                    <a:pt x="5082" y="20314"/>
                    <a:pt x="5082" y="20314"/>
                  </a:cubicBezTo>
                  <a:cubicBezTo>
                    <a:pt x="5524" y="20400"/>
                    <a:pt x="5524" y="20400"/>
                    <a:pt x="5524" y="20400"/>
                  </a:cubicBezTo>
                  <a:cubicBezTo>
                    <a:pt x="5801" y="20571"/>
                    <a:pt x="5801" y="20571"/>
                    <a:pt x="5801" y="20571"/>
                  </a:cubicBezTo>
                  <a:cubicBezTo>
                    <a:pt x="6353" y="20657"/>
                    <a:pt x="6353" y="20657"/>
                    <a:pt x="6353" y="20657"/>
                  </a:cubicBezTo>
                  <a:cubicBezTo>
                    <a:pt x="6408" y="20400"/>
                    <a:pt x="6408" y="20400"/>
                    <a:pt x="6408" y="20400"/>
                  </a:cubicBezTo>
                  <a:cubicBezTo>
                    <a:pt x="6463" y="19971"/>
                    <a:pt x="6463" y="19971"/>
                    <a:pt x="6463" y="19971"/>
                  </a:cubicBezTo>
                  <a:cubicBezTo>
                    <a:pt x="6684" y="19971"/>
                    <a:pt x="6684" y="19971"/>
                    <a:pt x="6684" y="19971"/>
                  </a:cubicBezTo>
                  <a:cubicBezTo>
                    <a:pt x="6850" y="20229"/>
                    <a:pt x="6850" y="20229"/>
                    <a:pt x="6850" y="20229"/>
                  </a:cubicBezTo>
                  <a:cubicBezTo>
                    <a:pt x="6961" y="20486"/>
                    <a:pt x="6961" y="20486"/>
                    <a:pt x="6961" y="20486"/>
                  </a:cubicBezTo>
                  <a:cubicBezTo>
                    <a:pt x="7016" y="20829"/>
                    <a:pt x="7016" y="20829"/>
                    <a:pt x="7016" y="20829"/>
                  </a:cubicBezTo>
                  <a:cubicBezTo>
                    <a:pt x="7016" y="20914"/>
                    <a:pt x="7016" y="20914"/>
                    <a:pt x="7016" y="20914"/>
                  </a:cubicBezTo>
                  <a:cubicBezTo>
                    <a:pt x="7126" y="21086"/>
                    <a:pt x="7126" y="21086"/>
                    <a:pt x="7126" y="21086"/>
                  </a:cubicBezTo>
                  <a:cubicBezTo>
                    <a:pt x="7237" y="21257"/>
                    <a:pt x="7237" y="21257"/>
                    <a:pt x="7237" y="21257"/>
                  </a:cubicBezTo>
                  <a:cubicBezTo>
                    <a:pt x="7513" y="18943"/>
                    <a:pt x="7513" y="18943"/>
                    <a:pt x="7513" y="18943"/>
                  </a:cubicBezTo>
                  <a:cubicBezTo>
                    <a:pt x="20550" y="21600"/>
                    <a:pt x="20550" y="21600"/>
                    <a:pt x="20550" y="21600"/>
                  </a:cubicBezTo>
                  <a:cubicBezTo>
                    <a:pt x="20606" y="21600"/>
                    <a:pt x="20606" y="21600"/>
                    <a:pt x="20606" y="21600"/>
                  </a:cubicBezTo>
                  <a:cubicBezTo>
                    <a:pt x="20827" y="17743"/>
                    <a:pt x="20827" y="17743"/>
                    <a:pt x="20827" y="17743"/>
                  </a:cubicBezTo>
                  <a:lnTo>
                    <a:pt x="21600" y="514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2" name="Shape 2297">
              <a:extLst>
                <a:ext uri="{FF2B5EF4-FFF2-40B4-BE49-F238E27FC236}">
                  <a16:creationId xmlns:a16="http://schemas.microsoft.com/office/drawing/2014/main" id="{3E1D1BA1-1A9F-B1A4-1DB4-69403A12F62F}"/>
                </a:ext>
              </a:extLst>
            </p:cNvPr>
            <p:cNvSpPr/>
            <p:nvPr/>
          </p:nvSpPr>
          <p:spPr>
            <a:xfrm>
              <a:off x="9341425" y="414218"/>
              <a:ext cx="672932" cy="1075818"/>
            </a:xfrm>
            <a:custGeom>
              <a:avLst/>
              <a:gdLst/>
              <a:ahLst/>
              <a:cxnLst>
                <a:cxn ang="0">
                  <a:pos x="wd2" y="hd2"/>
                </a:cxn>
                <a:cxn ang="5400000">
                  <a:pos x="wd2" y="hd2"/>
                </a:cxn>
                <a:cxn ang="10800000">
                  <a:pos x="wd2" y="hd2"/>
                </a:cxn>
                <a:cxn ang="16200000">
                  <a:pos x="wd2" y="hd2"/>
                </a:cxn>
              </a:cxnLst>
              <a:rect l="0" t="0" r="r" b="b"/>
              <a:pathLst>
                <a:path w="21600" h="21600" extrusionOk="0">
                  <a:moveTo>
                    <a:pt x="6092" y="21600"/>
                  </a:moveTo>
                  <a:lnTo>
                    <a:pt x="6092" y="21369"/>
                  </a:lnTo>
                  <a:lnTo>
                    <a:pt x="6277" y="21022"/>
                  </a:lnTo>
                  <a:lnTo>
                    <a:pt x="6277" y="20329"/>
                  </a:lnTo>
                  <a:lnTo>
                    <a:pt x="6462" y="20098"/>
                  </a:lnTo>
                  <a:lnTo>
                    <a:pt x="6831" y="20098"/>
                  </a:lnTo>
                  <a:lnTo>
                    <a:pt x="6831" y="19752"/>
                  </a:lnTo>
                  <a:lnTo>
                    <a:pt x="7015" y="19521"/>
                  </a:lnTo>
                  <a:lnTo>
                    <a:pt x="7015" y="19174"/>
                  </a:lnTo>
                  <a:lnTo>
                    <a:pt x="8123" y="19174"/>
                  </a:lnTo>
                  <a:lnTo>
                    <a:pt x="8123" y="18597"/>
                  </a:lnTo>
                  <a:lnTo>
                    <a:pt x="7385" y="18597"/>
                  </a:lnTo>
                  <a:lnTo>
                    <a:pt x="7385" y="18250"/>
                  </a:lnTo>
                  <a:lnTo>
                    <a:pt x="7754" y="18019"/>
                  </a:lnTo>
                  <a:lnTo>
                    <a:pt x="7754" y="17904"/>
                  </a:lnTo>
                  <a:lnTo>
                    <a:pt x="8123" y="17673"/>
                  </a:lnTo>
                  <a:lnTo>
                    <a:pt x="8308" y="17788"/>
                  </a:lnTo>
                  <a:lnTo>
                    <a:pt x="8308" y="17904"/>
                  </a:lnTo>
                  <a:lnTo>
                    <a:pt x="8677" y="17788"/>
                  </a:lnTo>
                  <a:lnTo>
                    <a:pt x="8862" y="17673"/>
                  </a:lnTo>
                  <a:lnTo>
                    <a:pt x="8862" y="17326"/>
                  </a:lnTo>
                  <a:lnTo>
                    <a:pt x="9415" y="17673"/>
                  </a:lnTo>
                  <a:lnTo>
                    <a:pt x="9600" y="17673"/>
                  </a:lnTo>
                  <a:lnTo>
                    <a:pt x="9600" y="17211"/>
                  </a:lnTo>
                  <a:lnTo>
                    <a:pt x="9415" y="17211"/>
                  </a:lnTo>
                  <a:lnTo>
                    <a:pt x="9231" y="16980"/>
                  </a:lnTo>
                  <a:lnTo>
                    <a:pt x="9969" y="16980"/>
                  </a:lnTo>
                  <a:lnTo>
                    <a:pt x="10338" y="17095"/>
                  </a:lnTo>
                  <a:lnTo>
                    <a:pt x="10892" y="16980"/>
                  </a:lnTo>
                  <a:lnTo>
                    <a:pt x="11077" y="16633"/>
                  </a:lnTo>
                  <a:lnTo>
                    <a:pt x="10892" y="16056"/>
                  </a:lnTo>
                  <a:lnTo>
                    <a:pt x="11262" y="16056"/>
                  </a:lnTo>
                  <a:lnTo>
                    <a:pt x="11815" y="16402"/>
                  </a:lnTo>
                  <a:lnTo>
                    <a:pt x="12369" y="16287"/>
                  </a:lnTo>
                  <a:lnTo>
                    <a:pt x="12554" y="16056"/>
                  </a:lnTo>
                  <a:lnTo>
                    <a:pt x="12738" y="15594"/>
                  </a:lnTo>
                  <a:lnTo>
                    <a:pt x="12554" y="15247"/>
                  </a:lnTo>
                  <a:lnTo>
                    <a:pt x="12738" y="14785"/>
                  </a:lnTo>
                  <a:lnTo>
                    <a:pt x="12738" y="14554"/>
                  </a:lnTo>
                  <a:lnTo>
                    <a:pt x="12554" y="14207"/>
                  </a:lnTo>
                  <a:lnTo>
                    <a:pt x="12554" y="13976"/>
                  </a:lnTo>
                  <a:lnTo>
                    <a:pt x="12738" y="13630"/>
                  </a:lnTo>
                  <a:lnTo>
                    <a:pt x="12738" y="13399"/>
                  </a:lnTo>
                  <a:lnTo>
                    <a:pt x="13477" y="13861"/>
                  </a:lnTo>
                  <a:lnTo>
                    <a:pt x="13662" y="14092"/>
                  </a:lnTo>
                  <a:lnTo>
                    <a:pt x="14585" y="14092"/>
                  </a:lnTo>
                  <a:lnTo>
                    <a:pt x="14585" y="13399"/>
                  </a:lnTo>
                  <a:lnTo>
                    <a:pt x="14954" y="13283"/>
                  </a:lnTo>
                  <a:lnTo>
                    <a:pt x="15508" y="13399"/>
                  </a:lnTo>
                  <a:lnTo>
                    <a:pt x="15508" y="14092"/>
                  </a:lnTo>
                  <a:lnTo>
                    <a:pt x="16062" y="13976"/>
                  </a:lnTo>
                  <a:lnTo>
                    <a:pt x="16615" y="13630"/>
                  </a:lnTo>
                  <a:lnTo>
                    <a:pt x="15877" y="13168"/>
                  </a:lnTo>
                  <a:lnTo>
                    <a:pt x="15877" y="12937"/>
                  </a:lnTo>
                  <a:lnTo>
                    <a:pt x="16062" y="12821"/>
                  </a:lnTo>
                  <a:lnTo>
                    <a:pt x="16615" y="13168"/>
                  </a:lnTo>
                  <a:lnTo>
                    <a:pt x="17169" y="13399"/>
                  </a:lnTo>
                  <a:lnTo>
                    <a:pt x="17538" y="13283"/>
                  </a:lnTo>
                  <a:lnTo>
                    <a:pt x="17354" y="12821"/>
                  </a:lnTo>
                  <a:lnTo>
                    <a:pt x="17908" y="12821"/>
                  </a:lnTo>
                  <a:lnTo>
                    <a:pt x="17908" y="12128"/>
                  </a:lnTo>
                  <a:lnTo>
                    <a:pt x="19015" y="12128"/>
                  </a:lnTo>
                  <a:lnTo>
                    <a:pt x="19200" y="12013"/>
                  </a:lnTo>
                  <a:lnTo>
                    <a:pt x="19200" y="11666"/>
                  </a:lnTo>
                  <a:lnTo>
                    <a:pt x="19569" y="11666"/>
                  </a:lnTo>
                  <a:lnTo>
                    <a:pt x="20308" y="11204"/>
                  </a:lnTo>
                  <a:lnTo>
                    <a:pt x="21046" y="11204"/>
                  </a:lnTo>
                  <a:lnTo>
                    <a:pt x="21415" y="10973"/>
                  </a:lnTo>
                  <a:lnTo>
                    <a:pt x="21600" y="10280"/>
                  </a:lnTo>
                  <a:lnTo>
                    <a:pt x="21415" y="10165"/>
                  </a:lnTo>
                  <a:lnTo>
                    <a:pt x="20862" y="10165"/>
                  </a:lnTo>
                  <a:lnTo>
                    <a:pt x="20677" y="9934"/>
                  </a:lnTo>
                  <a:lnTo>
                    <a:pt x="21046" y="9703"/>
                  </a:lnTo>
                  <a:lnTo>
                    <a:pt x="21046" y="9587"/>
                  </a:lnTo>
                  <a:lnTo>
                    <a:pt x="20677" y="9472"/>
                  </a:lnTo>
                  <a:lnTo>
                    <a:pt x="20308" y="8894"/>
                  </a:lnTo>
                  <a:lnTo>
                    <a:pt x="19200" y="8894"/>
                  </a:lnTo>
                  <a:lnTo>
                    <a:pt x="18831" y="8432"/>
                  </a:lnTo>
                  <a:lnTo>
                    <a:pt x="18646" y="7855"/>
                  </a:lnTo>
                  <a:lnTo>
                    <a:pt x="18646" y="7393"/>
                  </a:lnTo>
                  <a:lnTo>
                    <a:pt x="18462" y="7046"/>
                  </a:lnTo>
                  <a:lnTo>
                    <a:pt x="17908" y="7161"/>
                  </a:lnTo>
                  <a:lnTo>
                    <a:pt x="17538" y="7277"/>
                  </a:lnTo>
                  <a:lnTo>
                    <a:pt x="16800" y="7277"/>
                  </a:lnTo>
                  <a:lnTo>
                    <a:pt x="16062" y="7046"/>
                  </a:lnTo>
                  <a:lnTo>
                    <a:pt x="15508" y="6468"/>
                  </a:lnTo>
                  <a:lnTo>
                    <a:pt x="15323" y="5660"/>
                  </a:lnTo>
                  <a:lnTo>
                    <a:pt x="14585" y="4620"/>
                  </a:lnTo>
                  <a:lnTo>
                    <a:pt x="14215" y="3581"/>
                  </a:lnTo>
                  <a:lnTo>
                    <a:pt x="13846" y="3003"/>
                  </a:lnTo>
                  <a:lnTo>
                    <a:pt x="13477" y="2079"/>
                  </a:lnTo>
                  <a:lnTo>
                    <a:pt x="13108" y="1271"/>
                  </a:lnTo>
                  <a:lnTo>
                    <a:pt x="12738" y="924"/>
                  </a:lnTo>
                  <a:lnTo>
                    <a:pt x="10338" y="0"/>
                  </a:lnTo>
                  <a:lnTo>
                    <a:pt x="9785" y="347"/>
                  </a:lnTo>
                  <a:lnTo>
                    <a:pt x="9231" y="809"/>
                  </a:lnTo>
                  <a:lnTo>
                    <a:pt x="8308" y="1271"/>
                  </a:lnTo>
                  <a:lnTo>
                    <a:pt x="7754" y="1271"/>
                  </a:lnTo>
                  <a:lnTo>
                    <a:pt x="7200" y="1040"/>
                  </a:lnTo>
                  <a:lnTo>
                    <a:pt x="6277" y="693"/>
                  </a:lnTo>
                  <a:lnTo>
                    <a:pt x="5538" y="578"/>
                  </a:lnTo>
                  <a:lnTo>
                    <a:pt x="5354" y="578"/>
                  </a:lnTo>
                  <a:lnTo>
                    <a:pt x="4985" y="809"/>
                  </a:lnTo>
                  <a:lnTo>
                    <a:pt x="4062" y="2541"/>
                  </a:lnTo>
                  <a:lnTo>
                    <a:pt x="3692" y="3812"/>
                  </a:lnTo>
                  <a:lnTo>
                    <a:pt x="2769" y="5198"/>
                  </a:lnTo>
                  <a:lnTo>
                    <a:pt x="2400" y="6237"/>
                  </a:lnTo>
                  <a:lnTo>
                    <a:pt x="2215" y="7393"/>
                  </a:lnTo>
                  <a:lnTo>
                    <a:pt x="2400" y="7970"/>
                  </a:lnTo>
                  <a:lnTo>
                    <a:pt x="2769" y="8201"/>
                  </a:lnTo>
                  <a:lnTo>
                    <a:pt x="2585" y="8432"/>
                  </a:lnTo>
                  <a:lnTo>
                    <a:pt x="2215" y="8779"/>
                  </a:lnTo>
                  <a:lnTo>
                    <a:pt x="2215" y="9472"/>
                  </a:lnTo>
                  <a:lnTo>
                    <a:pt x="1846" y="10049"/>
                  </a:lnTo>
                  <a:lnTo>
                    <a:pt x="1846" y="10858"/>
                  </a:lnTo>
                  <a:lnTo>
                    <a:pt x="1292" y="10973"/>
                  </a:lnTo>
                  <a:lnTo>
                    <a:pt x="1292" y="11551"/>
                  </a:lnTo>
                  <a:lnTo>
                    <a:pt x="185" y="11551"/>
                  </a:lnTo>
                  <a:lnTo>
                    <a:pt x="0" y="11897"/>
                  </a:lnTo>
                  <a:lnTo>
                    <a:pt x="4246" y="20560"/>
                  </a:lnTo>
                  <a:lnTo>
                    <a:pt x="6092" y="216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3" name="Shape 2298">
              <a:extLst>
                <a:ext uri="{FF2B5EF4-FFF2-40B4-BE49-F238E27FC236}">
                  <a16:creationId xmlns:a16="http://schemas.microsoft.com/office/drawing/2014/main" id="{606011DA-985B-37B3-B7AD-C508D739F06D}"/>
                </a:ext>
              </a:extLst>
            </p:cNvPr>
            <p:cNvSpPr/>
            <p:nvPr/>
          </p:nvSpPr>
          <p:spPr>
            <a:xfrm>
              <a:off x="8047333" y="1150610"/>
              <a:ext cx="1391874" cy="1024040"/>
            </a:xfrm>
            <a:custGeom>
              <a:avLst/>
              <a:gdLst/>
              <a:ahLst/>
              <a:cxnLst>
                <a:cxn ang="0">
                  <a:pos x="wd2" y="hd2"/>
                </a:cxn>
                <a:cxn ang="5400000">
                  <a:pos x="wd2" y="hd2"/>
                </a:cxn>
                <a:cxn ang="10800000">
                  <a:pos x="wd2" y="hd2"/>
                </a:cxn>
                <a:cxn ang="16200000">
                  <a:pos x="wd2" y="hd2"/>
                </a:cxn>
              </a:cxnLst>
              <a:rect l="0" t="0" r="r" b="b"/>
              <a:pathLst>
                <a:path w="21600" h="21600" extrusionOk="0">
                  <a:moveTo>
                    <a:pt x="0" y="17717"/>
                  </a:moveTo>
                  <a:lnTo>
                    <a:pt x="893" y="16503"/>
                  </a:lnTo>
                  <a:lnTo>
                    <a:pt x="1071" y="16139"/>
                  </a:lnTo>
                  <a:lnTo>
                    <a:pt x="1607" y="15411"/>
                  </a:lnTo>
                  <a:lnTo>
                    <a:pt x="1964" y="15047"/>
                  </a:lnTo>
                  <a:lnTo>
                    <a:pt x="1964" y="14440"/>
                  </a:lnTo>
                  <a:lnTo>
                    <a:pt x="1517" y="13227"/>
                  </a:lnTo>
                  <a:lnTo>
                    <a:pt x="1250" y="12378"/>
                  </a:lnTo>
                  <a:lnTo>
                    <a:pt x="1607" y="12013"/>
                  </a:lnTo>
                  <a:lnTo>
                    <a:pt x="2767" y="11649"/>
                  </a:lnTo>
                  <a:lnTo>
                    <a:pt x="4998" y="11649"/>
                  </a:lnTo>
                  <a:lnTo>
                    <a:pt x="5623" y="11285"/>
                  </a:lnTo>
                  <a:lnTo>
                    <a:pt x="5980" y="11285"/>
                  </a:lnTo>
                  <a:lnTo>
                    <a:pt x="6873" y="10921"/>
                  </a:lnTo>
                  <a:lnTo>
                    <a:pt x="7408" y="10072"/>
                  </a:lnTo>
                  <a:lnTo>
                    <a:pt x="7944" y="9708"/>
                  </a:lnTo>
                  <a:lnTo>
                    <a:pt x="8301" y="9344"/>
                  </a:lnTo>
                  <a:lnTo>
                    <a:pt x="8301" y="8616"/>
                  </a:lnTo>
                  <a:lnTo>
                    <a:pt x="7944" y="8009"/>
                  </a:lnTo>
                  <a:lnTo>
                    <a:pt x="8301" y="7645"/>
                  </a:lnTo>
                  <a:lnTo>
                    <a:pt x="8390" y="7160"/>
                  </a:lnTo>
                  <a:lnTo>
                    <a:pt x="7944" y="7402"/>
                  </a:lnTo>
                  <a:lnTo>
                    <a:pt x="7765" y="7160"/>
                  </a:lnTo>
                  <a:lnTo>
                    <a:pt x="7587" y="6674"/>
                  </a:lnTo>
                  <a:lnTo>
                    <a:pt x="8033" y="6189"/>
                  </a:lnTo>
                  <a:lnTo>
                    <a:pt x="8747" y="5339"/>
                  </a:lnTo>
                  <a:lnTo>
                    <a:pt x="9015" y="4611"/>
                  </a:lnTo>
                  <a:lnTo>
                    <a:pt x="9104" y="4004"/>
                  </a:lnTo>
                  <a:lnTo>
                    <a:pt x="9818" y="2791"/>
                  </a:lnTo>
                  <a:lnTo>
                    <a:pt x="10354" y="1820"/>
                  </a:lnTo>
                  <a:lnTo>
                    <a:pt x="10979" y="1213"/>
                  </a:lnTo>
                  <a:lnTo>
                    <a:pt x="11603" y="971"/>
                  </a:lnTo>
                  <a:lnTo>
                    <a:pt x="12585" y="607"/>
                  </a:lnTo>
                  <a:lnTo>
                    <a:pt x="13121" y="243"/>
                  </a:lnTo>
                  <a:lnTo>
                    <a:pt x="14549" y="0"/>
                  </a:lnTo>
                  <a:lnTo>
                    <a:pt x="14549" y="1335"/>
                  </a:lnTo>
                  <a:lnTo>
                    <a:pt x="14727" y="1942"/>
                  </a:lnTo>
                  <a:lnTo>
                    <a:pt x="14995" y="2791"/>
                  </a:lnTo>
                  <a:lnTo>
                    <a:pt x="15263" y="2912"/>
                  </a:lnTo>
                  <a:lnTo>
                    <a:pt x="15531" y="3883"/>
                  </a:lnTo>
                  <a:lnTo>
                    <a:pt x="15263" y="4126"/>
                  </a:lnTo>
                  <a:lnTo>
                    <a:pt x="15174" y="4975"/>
                  </a:lnTo>
                  <a:lnTo>
                    <a:pt x="15531" y="5825"/>
                  </a:lnTo>
                  <a:lnTo>
                    <a:pt x="15798" y="6796"/>
                  </a:lnTo>
                  <a:lnTo>
                    <a:pt x="16155" y="7160"/>
                  </a:lnTo>
                  <a:lnTo>
                    <a:pt x="16245" y="8494"/>
                  </a:lnTo>
                  <a:lnTo>
                    <a:pt x="16423" y="9587"/>
                  </a:lnTo>
                  <a:lnTo>
                    <a:pt x="16780" y="10679"/>
                  </a:lnTo>
                  <a:lnTo>
                    <a:pt x="16780" y="14562"/>
                  </a:lnTo>
                  <a:lnTo>
                    <a:pt x="17137" y="16867"/>
                  </a:lnTo>
                  <a:lnTo>
                    <a:pt x="17137" y="17717"/>
                  </a:lnTo>
                  <a:lnTo>
                    <a:pt x="17494" y="18445"/>
                  </a:lnTo>
                  <a:lnTo>
                    <a:pt x="17137" y="19173"/>
                  </a:lnTo>
                  <a:lnTo>
                    <a:pt x="17226" y="19537"/>
                  </a:lnTo>
                  <a:lnTo>
                    <a:pt x="16602" y="20751"/>
                  </a:lnTo>
                  <a:lnTo>
                    <a:pt x="17226" y="20387"/>
                  </a:lnTo>
                  <a:lnTo>
                    <a:pt x="17673" y="20144"/>
                  </a:lnTo>
                  <a:lnTo>
                    <a:pt x="18208" y="19658"/>
                  </a:lnTo>
                  <a:lnTo>
                    <a:pt x="18387" y="19416"/>
                  </a:lnTo>
                  <a:lnTo>
                    <a:pt x="18922" y="19294"/>
                  </a:lnTo>
                  <a:lnTo>
                    <a:pt x="19369" y="19173"/>
                  </a:lnTo>
                  <a:lnTo>
                    <a:pt x="19547" y="18930"/>
                  </a:lnTo>
                  <a:lnTo>
                    <a:pt x="20083" y="18566"/>
                  </a:lnTo>
                  <a:lnTo>
                    <a:pt x="20529" y="17838"/>
                  </a:lnTo>
                  <a:lnTo>
                    <a:pt x="20083" y="19052"/>
                  </a:lnTo>
                  <a:lnTo>
                    <a:pt x="20529" y="18809"/>
                  </a:lnTo>
                  <a:lnTo>
                    <a:pt x="20797" y="18324"/>
                  </a:lnTo>
                  <a:lnTo>
                    <a:pt x="21064" y="18202"/>
                  </a:lnTo>
                  <a:lnTo>
                    <a:pt x="21421" y="18081"/>
                  </a:lnTo>
                  <a:lnTo>
                    <a:pt x="21600" y="18081"/>
                  </a:lnTo>
                  <a:lnTo>
                    <a:pt x="20797" y="19052"/>
                  </a:lnTo>
                  <a:lnTo>
                    <a:pt x="20083" y="19780"/>
                  </a:lnTo>
                  <a:lnTo>
                    <a:pt x="19547" y="20144"/>
                  </a:lnTo>
                  <a:lnTo>
                    <a:pt x="19101" y="20751"/>
                  </a:lnTo>
                  <a:lnTo>
                    <a:pt x="18387" y="20993"/>
                  </a:lnTo>
                  <a:lnTo>
                    <a:pt x="17583" y="21357"/>
                  </a:lnTo>
                  <a:lnTo>
                    <a:pt x="16869" y="21600"/>
                  </a:lnTo>
                  <a:lnTo>
                    <a:pt x="16423" y="21236"/>
                  </a:lnTo>
                  <a:lnTo>
                    <a:pt x="16245" y="20751"/>
                  </a:lnTo>
                  <a:lnTo>
                    <a:pt x="16245" y="20265"/>
                  </a:lnTo>
                  <a:lnTo>
                    <a:pt x="16066" y="20022"/>
                  </a:lnTo>
                  <a:lnTo>
                    <a:pt x="14906" y="19537"/>
                  </a:lnTo>
                  <a:lnTo>
                    <a:pt x="13835" y="19173"/>
                  </a:lnTo>
                  <a:lnTo>
                    <a:pt x="14013" y="18566"/>
                  </a:lnTo>
                  <a:lnTo>
                    <a:pt x="13745" y="18324"/>
                  </a:lnTo>
                  <a:lnTo>
                    <a:pt x="13478" y="18324"/>
                  </a:lnTo>
                  <a:lnTo>
                    <a:pt x="13210" y="18202"/>
                  </a:lnTo>
                  <a:lnTo>
                    <a:pt x="12853" y="17353"/>
                  </a:lnTo>
                  <a:lnTo>
                    <a:pt x="12496" y="16746"/>
                  </a:lnTo>
                  <a:lnTo>
                    <a:pt x="11782" y="16139"/>
                  </a:lnTo>
                  <a:lnTo>
                    <a:pt x="179" y="18930"/>
                  </a:lnTo>
                  <a:lnTo>
                    <a:pt x="0" y="1771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4" name="Shape 2299">
              <a:extLst>
                <a:ext uri="{FF2B5EF4-FFF2-40B4-BE49-F238E27FC236}">
                  <a16:creationId xmlns:a16="http://schemas.microsoft.com/office/drawing/2014/main" id="{DA4588FE-BB17-A755-220A-174194D82F35}"/>
                </a:ext>
              </a:extLst>
            </p:cNvPr>
            <p:cNvSpPr/>
            <p:nvPr/>
          </p:nvSpPr>
          <p:spPr>
            <a:xfrm>
              <a:off x="8984834" y="1081568"/>
              <a:ext cx="322088" cy="581057"/>
            </a:xfrm>
            <a:custGeom>
              <a:avLst/>
              <a:gdLst/>
              <a:ahLst/>
              <a:cxnLst>
                <a:cxn ang="0">
                  <a:pos x="wd2" y="hd2"/>
                </a:cxn>
                <a:cxn ang="5400000">
                  <a:pos x="wd2" y="hd2"/>
                </a:cxn>
                <a:cxn ang="10800000">
                  <a:pos x="wd2" y="hd2"/>
                </a:cxn>
                <a:cxn ang="16200000">
                  <a:pos x="wd2" y="hd2"/>
                </a:cxn>
              </a:cxnLst>
              <a:rect l="0" t="0" r="r" b="b"/>
              <a:pathLst>
                <a:path w="21600" h="21600" extrusionOk="0">
                  <a:moveTo>
                    <a:pt x="0" y="4919"/>
                  </a:moveTo>
                  <a:lnTo>
                    <a:pt x="771" y="5988"/>
                  </a:lnTo>
                  <a:lnTo>
                    <a:pt x="1929" y="7485"/>
                  </a:lnTo>
                  <a:lnTo>
                    <a:pt x="3086" y="7699"/>
                  </a:lnTo>
                  <a:lnTo>
                    <a:pt x="4243" y="9410"/>
                  </a:lnTo>
                  <a:lnTo>
                    <a:pt x="3086" y="9838"/>
                  </a:lnTo>
                  <a:lnTo>
                    <a:pt x="2700" y="11335"/>
                  </a:lnTo>
                  <a:lnTo>
                    <a:pt x="4243" y="12832"/>
                  </a:lnTo>
                  <a:lnTo>
                    <a:pt x="5400" y="14543"/>
                  </a:lnTo>
                  <a:lnTo>
                    <a:pt x="6943" y="15184"/>
                  </a:lnTo>
                  <a:lnTo>
                    <a:pt x="7329" y="17537"/>
                  </a:lnTo>
                  <a:lnTo>
                    <a:pt x="8100" y="19461"/>
                  </a:lnTo>
                  <a:lnTo>
                    <a:pt x="9643" y="21386"/>
                  </a:lnTo>
                  <a:lnTo>
                    <a:pt x="9643" y="21600"/>
                  </a:lnTo>
                  <a:lnTo>
                    <a:pt x="18129" y="20958"/>
                  </a:lnTo>
                  <a:lnTo>
                    <a:pt x="17357" y="19461"/>
                  </a:lnTo>
                  <a:lnTo>
                    <a:pt x="17743" y="17537"/>
                  </a:lnTo>
                  <a:lnTo>
                    <a:pt x="16971" y="12832"/>
                  </a:lnTo>
                  <a:lnTo>
                    <a:pt x="18129" y="9624"/>
                  </a:lnTo>
                  <a:lnTo>
                    <a:pt x="18129" y="6844"/>
                  </a:lnTo>
                  <a:lnTo>
                    <a:pt x="21600" y="5347"/>
                  </a:lnTo>
                  <a:lnTo>
                    <a:pt x="21600" y="4491"/>
                  </a:lnTo>
                  <a:lnTo>
                    <a:pt x="20443" y="3636"/>
                  </a:lnTo>
                  <a:lnTo>
                    <a:pt x="20443" y="855"/>
                  </a:lnTo>
                  <a:lnTo>
                    <a:pt x="19286" y="0"/>
                  </a:lnTo>
                  <a:lnTo>
                    <a:pt x="13886" y="855"/>
                  </a:lnTo>
                  <a:lnTo>
                    <a:pt x="8486" y="1283"/>
                  </a:lnTo>
                  <a:lnTo>
                    <a:pt x="5786" y="1711"/>
                  </a:lnTo>
                  <a:lnTo>
                    <a:pt x="1929" y="2566"/>
                  </a:lnTo>
                  <a:lnTo>
                    <a:pt x="0" y="2566"/>
                  </a:lnTo>
                  <a:lnTo>
                    <a:pt x="0" y="4919"/>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5" name="Shape 2300">
              <a:extLst>
                <a:ext uri="{FF2B5EF4-FFF2-40B4-BE49-F238E27FC236}">
                  <a16:creationId xmlns:a16="http://schemas.microsoft.com/office/drawing/2014/main" id="{37AE57C3-B244-0D45-0AD5-617E7C4ADBC6}"/>
                </a:ext>
              </a:extLst>
            </p:cNvPr>
            <p:cNvSpPr/>
            <p:nvPr/>
          </p:nvSpPr>
          <p:spPr>
            <a:xfrm>
              <a:off x="9237901" y="1006777"/>
              <a:ext cx="287577" cy="638587"/>
            </a:xfrm>
            <a:custGeom>
              <a:avLst/>
              <a:gdLst/>
              <a:ahLst/>
              <a:cxnLst>
                <a:cxn ang="0">
                  <a:pos x="wd2" y="hd2"/>
                </a:cxn>
                <a:cxn ang="5400000">
                  <a:pos x="wd2" y="hd2"/>
                </a:cxn>
                <a:cxn ang="10800000">
                  <a:pos x="wd2" y="hd2"/>
                </a:cxn>
                <a:cxn ang="16200000">
                  <a:pos x="wd2" y="hd2"/>
                </a:cxn>
              </a:cxnLst>
              <a:rect l="0" t="0" r="r" b="b"/>
              <a:pathLst>
                <a:path w="21600" h="21600" extrusionOk="0">
                  <a:moveTo>
                    <a:pt x="7776" y="0"/>
                  </a:moveTo>
                  <a:lnTo>
                    <a:pt x="6048" y="195"/>
                  </a:lnTo>
                  <a:lnTo>
                    <a:pt x="3888" y="195"/>
                  </a:lnTo>
                  <a:lnTo>
                    <a:pt x="3888" y="1168"/>
                  </a:lnTo>
                  <a:lnTo>
                    <a:pt x="3456" y="1751"/>
                  </a:lnTo>
                  <a:lnTo>
                    <a:pt x="2592" y="2530"/>
                  </a:lnTo>
                  <a:lnTo>
                    <a:pt x="3888" y="3308"/>
                  </a:lnTo>
                  <a:lnTo>
                    <a:pt x="3888" y="5838"/>
                  </a:lnTo>
                  <a:lnTo>
                    <a:pt x="5184" y="6616"/>
                  </a:lnTo>
                  <a:lnTo>
                    <a:pt x="5184" y="7395"/>
                  </a:lnTo>
                  <a:lnTo>
                    <a:pt x="1296" y="8757"/>
                  </a:lnTo>
                  <a:lnTo>
                    <a:pt x="1296" y="11286"/>
                  </a:lnTo>
                  <a:lnTo>
                    <a:pt x="0" y="14205"/>
                  </a:lnTo>
                  <a:lnTo>
                    <a:pt x="864" y="18486"/>
                  </a:lnTo>
                  <a:lnTo>
                    <a:pt x="432" y="20238"/>
                  </a:lnTo>
                  <a:lnTo>
                    <a:pt x="1296" y="21600"/>
                  </a:lnTo>
                  <a:lnTo>
                    <a:pt x="17280" y="19849"/>
                  </a:lnTo>
                  <a:lnTo>
                    <a:pt x="17712" y="18876"/>
                  </a:lnTo>
                  <a:lnTo>
                    <a:pt x="21168" y="18292"/>
                  </a:lnTo>
                  <a:lnTo>
                    <a:pt x="20736" y="17708"/>
                  </a:lnTo>
                  <a:lnTo>
                    <a:pt x="21600" y="16151"/>
                  </a:lnTo>
                  <a:lnTo>
                    <a:pt x="17712" y="14595"/>
                  </a:lnTo>
                  <a:lnTo>
                    <a:pt x="7776"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6" name="Shape 2301">
              <a:extLst>
                <a:ext uri="{FF2B5EF4-FFF2-40B4-BE49-F238E27FC236}">
                  <a16:creationId xmlns:a16="http://schemas.microsoft.com/office/drawing/2014/main" id="{273D3F72-5F4A-9ED6-1599-6310EE7CCF54}"/>
                </a:ext>
              </a:extLst>
            </p:cNvPr>
            <p:cNvSpPr/>
            <p:nvPr/>
          </p:nvSpPr>
          <p:spPr>
            <a:xfrm>
              <a:off x="9128625" y="1783440"/>
              <a:ext cx="322088" cy="293407"/>
            </a:xfrm>
            <a:custGeom>
              <a:avLst/>
              <a:gdLst/>
              <a:ahLst/>
              <a:cxnLst>
                <a:cxn ang="0">
                  <a:pos x="wd2" y="hd2"/>
                </a:cxn>
                <a:cxn ang="5400000">
                  <a:pos x="wd2" y="hd2"/>
                </a:cxn>
                <a:cxn ang="10800000">
                  <a:pos x="wd2" y="hd2"/>
                </a:cxn>
                <a:cxn ang="16200000">
                  <a:pos x="wd2" y="hd2"/>
                </a:cxn>
              </a:cxnLst>
              <a:rect l="0" t="0" r="r" b="b"/>
              <a:pathLst>
                <a:path w="21600" h="21600" extrusionOk="0">
                  <a:moveTo>
                    <a:pt x="1543" y="12282"/>
                  </a:moveTo>
                  <a:lnTo>
                    <a:pt x="1543" y="15247"/>
                  </a:lnTo>
                  <a:lnTo>
                    <a:pt x="3086" y="17788"/>
                  </a:lnTo>
                  <a:lnTo>
                    <a:pt x="1543" y="20329"/>
                  </a:lnTo>
                  <a:lnTo>
                    <a:pt x="1929" y="21600"/>
                  </a:lnTo>
                  <a:lnTo>
                    <a:pt x="3471" y="21176"/>
                  </a:lnTo>
                  <a:lnTo>
                    <a:pt x="5014" y="19059"/>
                  </a:lnTo>
                  <a:lnTo>
                    <a:pt x="5786" y="18635"/>
                  </a:lnTo>
                  <a:lnTo>
                    <a:pt x="7714" y="16518"/>
                  </a:lnTo>
                  <a:lnTo>
                    <a:pt x="9643" y="15247"/>
                  </a:lnTo>
                  <a:lnTo>
                    <a:pt x="12729" y="15247"/>
                  </a:lnTo>
                  <a:lnTo>
                    <a:pt x="14271" y="14400"/>
                  </a:lnTo>
                  <a:lnTo>
                    <a:pt x="15043" y="13553"/>
                  </a:lnTo>
                  <a:lnTo>
                    <a:pt x="18900" y="11859"/>
                  </a:lnTo>
                  <a:lnTo>
                    <a:pt x="21214" y="11859"/>
                  </a:lnTo>
                  <a:lnTo>
                    <a:pt x="21600" y="11012"/>
                  </a:lnTo>
                  <a:lnTo>
                    <a:pt x="19286" y="0"/>
                  </a:lnTo>
                  <a:lnTo>
                    <a:pt x="9257" y="2118"/>
                  </a:lnTo>
                  <a:lnTo>
                    <a:pt x="0" y="3812"/>
                  </a:lnTo>
                  <a:lnTo>
                    <a:pt x="0" y="4235"/>
                  </a:lnTo>
                  <a:lnTo>
                    <a:pt x="1543" y="1228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7" name="Shape 2302">
              <a:extLst>
                <a:ext uri="{FF2B5EF4-FFF2-40B4-BE49-F238E27FC236}">
                  <a16:creationId xmlns:a16="http://schemas.microsoft.com/office/drawing/2014/main" id="{BADBDFB4-23F7-A7BA-5A94-0D754B8D73A8}"/>
                </a:ext>
              </a:extLst>
            </p:cNvPr>
            <p:cNvSpPr/>
            <p:nvPr/>
          </p:nvSpPr>
          <p:spPr>
            <a:xfrm>
              <a:off x="9416202" y="1754672"/>
              <a:ext cx="138040" cy="178346"/>
            </a:xfrm>
            <a:custGeom>
              <a:avLst/>
              <a:gdLst/>
              <a:ahLst/>
              <a:cxnLst>
                <a:cxn ang="0">
                  <a:pos x="wd2" y="hd2"/>
                </a:cxn>
                <a:cxn ang="5400000">
                  <a:pos x="wd2" y="hd2"/>
                </a:cxn>
                <a:cxn ang="10800000">
                  <a:pos x="wd2" y="hd2"/>
                </a:cxn>
                <a:cxn ang="16200000">
                  <a:pos x="wd2" y="hd2"/>
                </a:cxn>
              </a:cxnLst>
              <a:rect l="0" t="0" r="r" b="b"/>
              <a:pathLst>
                <a:path w="21600" h="21600" extrusionOk="0">
                  <a:moveTo>
                    <a:pt x="20700" y="10452"/>
                  </a:moveTo>
                  <a:lnTo>
                    <a:pt x="18900" y="9058"/>
                  </a:lnTo>
                  <a:lnTo>
                    <a:pt x="18900" y="8361"/>
                  </a:lnTo>
                  <a:lnTo>
                    <a:pt x="16200" y="7665"/>
                  </a:lnTo>
                  <a:lnTo>
                    <a:pt x="14400" y="6968"/>
                  </a:lnTo>
                  <a:lnTo>
                    <a:pt x="14400" y="4877"/>
                  </a:lnTo>
                  <a:lnTo>
                    <a:pt x="11700" y="3484"/>
                  </a:lnTo>
                  <a:lnTo>
                    <a:pt x="9000" y="0"/>
                  </a:lnTo>
                  <a:lnTo>
                    <a:pt x="0" y="3484"/>
                  </a:lnTo>
                  <a:lnTo>
                    <a:pt x="5400" y="21600"/>
                  </a:lnTo>
                  <a:lnTo>
                    <a:pt x="7200" y="20206"/>
                  </a:lnTo>
                  <a:lnTo>
                    <a:pt x="12600" y="18116"/>
                  </a:lnTo>
                  <a:lnTo>
                    <a:pt x="12600" y="9755"/>
                  </a:lnTo>
                  <a:lnTo>
                    <a:pt x="13500" y="9058"/>
                  </a:lnTo>
                  <a:lnTo>
                    <a:pt x="14400" y="9058"/>
                  </a:lnTo>
                  <a:lnTo>
                    <a:pt x="17100" y="9755"/>
                  </a:lnTo>
                  <a:lnTo>
                    <a:pt x="17100" y="11148"/>
                  </a:lnTo>
                  <a:lnTo>
                    <a:pt x="18900" y="13935"/>
                  </a:lnTo>
                  <a:lnTo>
                    <a:pt x="18900" y="14632"/>
                  </a:lnTo>
                  <a:lnTo>
                    <a:pt x="19800" y="15329"/>
                  </a:lnTo>
                  <a:lnTo>
                    <a:pt x="21600" y="14632"/>
                  </a:lnTo>
                  <a:lnTo>
                    <a:pt x="21600" y="13239"/>
                  </a:lnTo>
                  <a:lnTo>
                    <a:pt x="20700" y="1045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8" name="Shape 2303">
              <a:extLst>
                <a:ext uri="{FF2B5EF4-FFF2-40B4-BE49-F238E27FC236}">
                  <a16:creationId xmlns:a16="http://schemas.microsoft.com/office/drawing/2014/main" id="{267F9356-D2B1-8321-D64E-45E3CC4D9025}"/>
                </a:ext>
              </a:extLst>
            </p:cNvPr>
            <p:cNvSpPr/>
            <p:nvPr/>
          </p:nvSpPr>
          <p:spPr>
            <a:xfrm>
              <a:off x="9128625" y="1547560"/>
              <a:ext cx="626918" cy="316419"/>
            </a:xfrm>
            <a:custGeom>
              <a:avLst/>
              <a:gdLst/>
              <a:ahLst/>
              <a:cxnLst>
                <a:cxn ang="0">
                  <a:pos x="wd2" y="hd2"/>
                </a:cxn>
                <a:cxn ang="5400000">
                  <a:pos x="wd2" y="hd2"/>
                </a:cxn>
                <a:cxn ang="10800000">
                  <a:pos x="wd2" y="hd2"/>
                </a:cxn>
                <a:cxn ang="16200000">
                  <a:pos x="wd2" y="hd2"/>
                </a:cxn>
              </a:cxnLst>
              <a:rect l="0" t="0" r="r" b="b"/>
              <a:pathLst>
                <a:path w="21600" h="21600" extrusionOk="0">
                  <a:moveTo>
                    <a:pt x="21204" y="13745"/>
                  </a:moveTo>
                  <a:lnTo>
                    <a:pt x="20807" y="12567"/>
                  </a:lnTo>
                  <a:lnTo>
                    <a:pt x="20609" y="12175"/>
                  </a:lnTo>
                  <a:lnTo>
                    <a:pt x="19420" y="10604"/>
                  </a:lnTo>
                  <a:lnTo>
                    <a:pt x="19222" y="9818"/>
                  </a:lnTo>
                  <a:lnTo>
                    <a:pt x="19024" y="10604"/>
                  </a:lnTo>
                  <a:lnTo>
                    <a:pt x="19222" y="11389"/>
                  </a:lnTo>
                  <a:lnTo>
                    <a:pt x="19817" y="12567"/>
                  </a:lnTo>
                  <a:lnTo>
                    <a:pt x="20213" y="13745"/>
                  </a:lnTo>
                  <a:lnTo>
                    <a:pt x="19618" y="14138"/>
                  </a:lnTo>
                  <a:lnTo>
                    <a:pt x="18826" y="14138"/>
                  </a:lnTo>
                  <a:lnTo>
                    <a:pt x="17637" y="15316"/>
                  </a:lnTo>
                  <a:lnTo>
                    <a:pt x="17439" y="14531"/>
                  </a:lnTo>
                  <a:lnTo>
                    <a:pt x="17240" y="14138"/>
                  </a:lnTo>
                  <a:lnTo>
                    <a:pt x="16844" y="13745"/>
                  </a:lnTo>
                  <a:lnTo>
                    <a:pt x="16250" y="12960"/>
                  </a:lnTo>
                  <a:lnTo>
                    <a:pt x="16051" y="12567"/>
                  </a:lnTo>
                  <a:lnTo>
                    <a:pt x="16250" y="11782"/>
                  </a:lnTo>
                  <a:lnTo>
                    <a:pt x="16051" y="10604"/>
                  </a:lnTo>
                  <a:lnTo>
                    <a:pt x="15259" y="9425"/>
                  </a:lnTo>
                  <a:lnTo>
                    <a:pt x="14466" y="8640"/>
                  </a:lnTo>
                  <a:lnTo>
                    <a:pt x="13673" y="8640"/>
                  </a:lnTo>
                  <a:lnTo>
                    <a:pt x="13475" y="7855"/>
                  </a:lnTo>
                  <a:lnTo>
                    <a:pt x="13475" y="6284"/>
                  </a:lnTo>
                  <a:lnTo>
                    <a:pt x="14466" y="4320"/>
                  </a:lnTo>
                  <a:lnTo>
                    <a:pt x="15259" y="3535"/>
                  </a:lnTo>
                  <a:lnTo>
                    <a:pt x="15259" y="3142"/>
                  </a:lnTo>
                  <a:lnTo>
                    <a:pt x="15061" y="2356"/>
                  </a:lnTo>
                  <a:lnTo>
                    <a:pt x="14070" y="2356"/>
                  </a:lnTo>
                  <a:lnTo>
                    <a:pt x="13872" y="1178"/>
                  </a:lnTo>
                  <a:lnTo>
                    <a:pt x="13475" y="0"/>
                  </a:lnTo>
                  <a:lnTo>
                    <a:pt x="11890" y="1178"/>
                  </a:lnTo>
                  <a:lnTo>
                    <a:pt x="11692" y="3142"/>
                  </a:lnTo>
                  <a:lnTo>
                    <a:pt x="4360" y="6676"/>
                  </a:lnTo>
                  <a:lnTo>
                    <a:pt x="0" y="7855"/>
                  </a:lnTo>
                  <a:lnTo>
                    <a:pt x="0" y="19636"/>
                  </a:lnTo>
                  <a:lnTo>
                    <a:pt x="4756" y="18065"/>
                  </a:lnTo>
                  <a:lnTo>
                    <a:pt x="9908" y="16102"/>
                  </a:lnTo>
                  <a:lnTo>
                    <a:pt x="11890" y="14138"/>
                  </a:lnTo>
                  <a:lnTo>
                    <a:pt x="12484" y="16102"/>
                  </a:lnTo>
                  <a:lnTo>
                    <a:pt x="13079" y="16887"/>
                  </a:lnTo>
                  <a:lnTo>
                    <a:pt x="13079" y="18065"/>
                  </a:lnTo>
                  <a:lnTo>
                    <a:pt x="13475" y="18458"/>
                  </a:lnTo>
                  <a:lnTo>
                    <a:pt x="14070" y="18851"/>
                  </a:lnTo>
                  <a:lnTo>
                    <a:pt x="14070" y="19244"/>
                  </a:lnTo>
                  <a:lnTo>
                    <a:pt x="14466" y="20029"/>
                  </a:lnTo>
                  <a:lnTo>
                    <a:pt x="14664" y="21600"/>
                  </a:lnTo>
                  <a:lnTo>
                    <a:pt x="15259" y="21600"/>
                  </a:lnTo>
                  <a:lnTo>
                    <a:pt x="15655" y="20815"/>
                  </a:lnTo>
                  <a:lnTo>
                    <a:pt x="15655" y="19244"/>
                  </a:lnTo>
                  <a:lnTo>
                    <a:pt x="16250" y="18458"/>
                  </a:lnTo>
                  <a:lnTo>
                    <a:pt x="16250" y="17673"/>
                  </a:lnTo>
                  <a:lnTo>
                    <a:pt x="16844" y="16887"/>
                  </a:lnTo>
                  <a:lnTo>
                    <a:pt x="17240" y="19244"/>
                  </a:lnTo>
                  <a:lnTo>
                    <a:pt x="17240" y="20029"/>
                  </a:lnTo>
                  <a:lnTo>
                    <a:pt x="17835" y="19244"/>
                  </a:lnTo>
                  <a:lnTo>
                    <a:pt x="18231" y="18458"/>
                  </a:lnTo>
                  <a:lnTo>
                    <a:pt x="18231" y="17673"/>
                  </a:lnTo>
                  <a:lnTo>
                    <a:pt x="18628" y="17673"/>
                  </a:lnTo>
                  <a:lnTo>
                    <a:pt x="19222" y="16887"/>
                  </a:lnTo>
                  <a:lnTo>
                    <a:pt x="20015" y="16887"/>
                  </a:lnTo>
                  <a:lnTo>
                    <a:pt x="20411" y="16102"/>
                  </a:lnTo>
                  <a:lnTo>
                    <a:pt x="21006" y="15709"/>
                  </a:lnTo>
                  <a:lnTo>
                    <a:pt x="21402" y="14924"/>
                  </a:lnTo>
                  <a:lnTo>
                    <a:pt x="21600" y="14138"/>
                  </a:lnTo>
                  <a:lnTo>
                    <a:pt x="21204" y="13745"/>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9" name="Shape 2304">
              <a:extLst>
                <a:ext uri="{FF2B5EF4-FFF2-40B4-BE49-F238E27FC236}">
                  <a16:creationId xmlns:a16="http://schemas.microsoft.com/office/drawing/2014/main" id="{1BC60520-7D90-66A9-CD3E-4539A3B2493D}"/>
                </a:ext>
              </a:extLst>
            </p:cNvPr>
            <p:cNvSpPr/>
            <p:nvPr/>
          </p:nvSpPr>
          <p:spPr>
            <a:xfrm>
              <a:off x="9611755" y="1844191"/>
              <a:ext cx="57515" cy="37053"/>
            </a:xfrm>
            <a:custGeom>
              <a:avLst/>
              <a:gdLst/>
              <a:ahLst/>
              <a:cxnLst>
                <a:cxn ang="0">
                  <a:pos x="wd2" y="hd2"/>
                </a:cxn>
                <a:cxn ang="5400000">
                  <a:pos x="wd2" y="hd2"/>
                </a:cxn>
                <a:cxn ang="10800000">
                  <a:pos x="wd2" y="hd2"/>
                </a:cxn>
                <a:cxn ang="16200000">
                  <a:pos x="wd2" y="hd2"/>
                </a:cxn>
              </a:cxnLst>
              <a:rect l="0" t="0" r="r" b="b"/>
              <a:pathLst>
                <a:path w="21600" h="19872" extrusionOk="0">
                  <a:moveTo>
                    <a:pt x="5400" y="19872"/>
                  </a:moveTo>
                  <a:cubicBezTo>
                    <a:pt x="12600" y="19872"/>
                    <a:pt x="12600" y="19872"/>
                    <a:pt x="12600" y="19872"/>
                  </a:cubicBezTo>
                  <a:cubicBezTo>
                    <a:pt x="18000" y="12672"/>
                    <a:pt x="18000" y="12672"/>
                    <a:pt x="18000" y="12672"/>
                  </a:cubicBezTo>
                  <a:cubicBezTo>
                    <a:pt x="21600" y="7872"/>
                    <a:pt x="21600" y="7872"/>
                    <a:pt x="21600" y="7872"/>
                  </a:cubicBezTo>
                  <a:cubicBezTo>
                    <a:pt x="14400" y="3072"/>
                    <a:pt x="14400" y="3072"/>
                    <a:pt x="14400" y="3072"/>
                  </a:cubicBezTo>
                  <a:cubicBezTo>
                    <a:pt x="14400" y="3072"/>
                    <a:pt x="9000" y="-1728"/>
                    <a:pt x="7200" y="672"/>
                  </a:cubicBezTo>
                  <a:cubicBezTo>
                    <a:pt x="7200" y="3072"/>
                    <a:pt x="0" y="15072"/>
                    <a:pt x="0" y="15072"/>
                  </a:cubicBezTo>
                  <a:lnTo>
                    <a:pt x="5400" y="1987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0" name="Shape 2305">
              <a:extLst>
                <a:ext uri="{FF2B5EF4-FFF2-40B4-BE49-F238E27FC236}">
                  <a16:creationId xmlns:a16="http://schemas.microsoft.com/office/drawing/2014/main" id="{514AE529-0F3C-0E08-E15D-BA60FE700B74}"/>
                </a:ext>
              </a:extLst>
            </p:cNvPr>
            <p:cNvSpPr/>
            <p:nvPr/>
          </p:nvSpPr>
          <p:spPr>
            <a:xfrm>
              <a:off x="8887057" y="2059588"/>
              <a:ext cx="241564" cy="540783"/>
            </a:xfrm>
            <a:custGeom>
              <a:avLst/>
              <a:gdLst/>
              <a:ahLst/>
              <a:cxnLst>
                <a:cxn ang="0">
                  <a:pos x="wd2" y="hd2"/>
                </a:cxn>
                <a:cxn ang="5400000">
                  <a:pos x="wd2" y="hd2"/>
                </a:cxn>
                <a:cxn ang="10800000">
                  <a:pos x="wd2" y="hd2"/>
                </a:cxn>
                <a:cxn ang="16200000">
                  <a:pos x="wd2" y="hd2"/>
                </a:cxn>
              </a:cxnLst>
              <a:rect l="0" t="0" r="r" b="b"/>
              <a:pathLst>
                <a:path w="21600" h="21600" extrusionOk="0">
                  <a:moveTo>
                    <a:pt x="18514" y="2987"/>
                  </a:moveTo>
                  <a:lnTo>
                    <a:pt x="18514" y="2068"/>
                  </a:lnTo>
                  <a:lnTo>
                    <a:pt x="17486" y="1609"/>
                  </a:lnTo>
                  <a:lnTo>
                    <a:pt x="10800" y="689"/>
                  </a:lnTo>
                  <a:lnTo>
                    <a:pt x="4629" y="0"/>
                  </a:lnTo>
                  <a:lnTo>
                    <a:pt x="4114" y="689"/>
                  </a:lnTo>
                  <a:lnTo>
                    <a:pt x="3086" y="1609"/>
                  </a:lnTo>
                  <a:lnTo>
                    <a:pt x="1543" y="2068"/>
                  </a:lnTo>
                  <a:lnTo>
                    <a:pt x="1029" y="3217"/>
                  </a:lnTo>
                  <a:lnTo>
                    <a:pt x="1543" y="4596"/>
                  </a:lnTo>
                  <a:lnTo>
                    <a:pt x="1543" y="5745"/>
                  </a:lnTo>
                  <a:lnTo>
                    <a:pt x="1029" y="6894"/>
                  </a:lnTo>
                  <a:lnTo>
                    <a:pt x="2571" y="7353"/>
                  </a:lnTo>
                  <a:lnTo>
                    <a:pt x="4629" y="7813"/>
                  </a:lnTo>
                  <a:lnTo>
                    <a:pt x="5657" y="8732"/>
                  </a:lnTo>
                  <a:lnTo>
                    <a:pt x="7714" y="9651"/>
                  </a:lnTo>
                  <a:lnTo>
                    <a:pt x="10286" y="10570"/>
                  </a:lnTo>
                  <a:lnTo>
                    <a:pt x="10286" y="10800"/>
                  </a:lnTo>
                  <a:lnTo>
                    <a:pt x="9257" y="12179"/>
                  </a:lnTo>
                  <a:lnTo>
                    <a:pt x="5143" y="13328"/>
                  </a:lnTo>
                  <a:lnTo>
                    <a:pt x="1543" y="14706"/>
                  </a:lnTo>
                  <a:lnTo>
                    <a:pt x="1029" y="15396"/>
                  </a:lnTo>
                  <a:lnTo>
                    <a:pt x="0" y="16545"/>
                  </a:lnTo>
                  <a:lnTo>
                    <a:pt x="514" y="17234"/>
                  </a:lnTo>
                  <a:lnTo>
                    <a:pt x="1543" y="18153"/>
                  </a:lnTo>
                  <a:lnTo>
                    <a:pt x="4114" y="19072"/>
                  </a:lnTo>
                  <a:lnTo>
                    <a:pt x="6171" y="19532"/>
                  </a:lnTo>
                  <a:lnTo>
                    <a:pt x="7714" y="19762"/>
                  </a:lnTo>
                  <a:lnTo>
                    <a:pt x="12857" y="19762"/>
                  </a:lnTo>
                  <a:lnTo>
                    <a:pt x="12343" y="20681"/>
                  </a:lnTo>
                  <a:lnTo>
                    <a:pt x="12343" y="21370"/>
                  </a:lnTo>
                  <a:lnTo>
                    <a:pt x="12857" y="21600"/>
                  </a:lnTo>
                  <a:lnTo>
                    <a:pt x="13371" y="21600"/>
                  </a:lnTo>
                  <a:lnTo>
                    <a:pt x="13886" y="19991"/>
                  </a:lnTo>
                  <a:lnTo>
                    <a:pt x="14400" y="19762"/>
                  </a:lnTo>
                  <a:lnTo>
                    <a:pt x="15943" y="18843"/>
                  </a:lnTo>
                  <a:lnTo>
                    <a:pt x="18514" y="17923"/>
                  </a:lnTo>
                  <a:lnTo>
                    <a:pt x="18514" y="14936"/>
                  </a:lnTo>
                  <a:lnTo>
                    <a:pt x="20571" y="14017"/>
                  </a:lnTo>
                  <a:lnTo>
                    <a:pt x="21086" y="12179"/>
                  </a:lnTo>
                  <a:lnTo>
                    <a:pt x="21600" y="11030"/>
                  </a:lnTo>
                  <a:lnTo>
                    <a:pt x="21600" y="8272"/>
                  </a:lnTo>
                  <a:lnTo>
                    <a:pt x="20571" y="6894"/>
                  </a:lnTo>
                  <a:lnTo>
                    <a:pt x="17486" y="6894"/>
                  </a:lnTo>
                  <a:lnTo>
                    <a:pt x="18000" y="5745"/>
                  </a:lnTo>
                  <a:lnTo>
                    <a:pt x="19029" y="4596"/>
                  </a:lnTo>
                  <a:lnTo>
                    <a:pt x="20057" y="4136"/>
                  </a:lnTo>
                  <a:lnTo>
                    <a:pt x="19543" y="3906"/>
                  </a:lnTo>
                  <a:lnTo>
                    <a:pt x="18514" y="298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1" name="Shape 2306">
              <a:extLst>
                <a:ext uri="{FF2B5EF4-FFF2-40B4-BE49-F238E27FC236}">
                  <a16:creationId xmlns:a16="http://schemas.microsoft.com/office/drawing/2014/main" id="{E20BF181-5264-1B19-336F-1021C51A015F}"/>
                </a:ext>
              </a:extLst>
            </p:cNvPr>
            <p:cNvSpPr/>
            <p:nvPr/>
          </p:nvSpPr>
          <p:spPr>
            <a:xfrm>
              <a:off x="8841046" y="2433532"/>
              <a:ext cx="189800" cy="310665"/>
            </a:xfrm>
            <a:custGeom>
              <a:avLst/>
              <a:gdLst/>
              <a:ahLst/>
              <a:cxnLst>
                <a:cxn ang="0">
                  <a:pos x="wd2" y="hd2"/>
                </a:cxn>
                <a:cxn ang="5400000">
                  <a:pos x="wd2" y="hd2"/>
                </a:cxn>
                <a:cxn ang="10800000">
                  <a:pos x="wd2" y="hd2"/>
                </a:cxn>
                <a:cxn ang="16200000">
                  <a:pos x="wd2" y="hd2"/>
                </a:cxn>
              </a:cxnLst>
              <a:rect l="0" t="0" r="r" b="b"/>
              <a:pathLst>
                <a:path w="21600" h="21600" extrusionOk="0">
                  <a:moveTo>
                    <a:pt x="5891" y="4000"/>
                  </a:moveTo>
                  <a:lnTo>
                    <a:pt x="5236" y="2800"/>
                  </a:lnTo>
                  <a:lnTo>
                    <a:pt x="6545" y="800"/>
                  </a:lnTo>
                  <a:lnTo>
                    <a:pt x="7200" y="400"/>
                  </a:lnTo>
                  <a:lnTo>
                    <a:pt x="5891" y="0"/>
                  </a:lnTo>
                  <a:lnTo>
                    <a:pt x="3273" y="0"/>
                  </a:lnTo>
                  <a:lnTo>
                    <a:pt x="1309" y="800"/>
                  </a:lnTo>
                  <a:lnTo>
                    <a:pt x="0" y="2000"/>
                  </a:lnTo>
                  <a:lnTo>
                    <a:pt x="7855" y="21600"/>
                  </a:lnTo>
                  <a:lnTo>
                    <a:pt x="21600" y="20400"/>
                  </a:lnTo>
                  <a:lnTo>
                    <a:pt x="20945" y="17200"/>
                  </a:lnTo>
                  <a:lnTo>
                    <a:pt x="18982" y="16000"/>
                  </a:lnTo>
                  <a:lnTo>
                    <a:pt x="18327" y="15200"/>
                  </a:lnTo>
                  <a:lnTo>
                    <a:pt x="17018" y="14800"/>
                  </a:lnTo>
                  <a:lnTo>
                    <a:pt x="15055" y="13600"/>
                  </a:lnTo>
                  <a:lnTo>
                    <a:pt x="13091" y="12800"/>
                  </a:lnTo>
                  <a:lnTo>
                    <a:pt x="9164" y="8000"/>
                  </a:lnTo>
                  <a:lnTo>
                    <a:pt x="10473" y="6800"/>
                  </a:lnTo>
                  <a:lnTo>
                    <a:pt x="7200" y="5600"/>
                  </a:lnTo>
                  <a:lnTo>
                    <a:pt x="5891" y="40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2" name="Shape 2307">
              <a:extLst>
                <a:ext uri="{FF2B5EF4-FFF2-40B4-BE49-F238E27FC236}">
                  <a16:creationId xmlns:a16="http://schemas.microsoft.com/office/drawing/2014/main" id="{E3FEE381-D948-5A50-B521-BEBA693EC5A5}"/>
                </a:ext>
              </a:extLst>
            </p:cNvPr>
            <p:cNvSpPr/>
            <p:nvPr/>
          </p:nvSpPr>
          <p:spPr>
            <a:xfrm>
              <a:off x="7920799" y="1915756"/>
              <a:ext cx="1081290" cy="701870"/>
            </a:xfrm>
            <a:custGeom>
              <a:avLst/>
              <a:gdLst/>
              <a:ahLst/>
              <a:cxnLst>
                <a:cxn ang="0">
                  <a:pos x="wd2" y="hd2"/>
                </a:cxn>
                <a:cxn ang="5400000">
                  <a:pos x="wd2" y="hd2"/>
                </a:cxn>
                <a:cxn ang="10800000">
                  <a:pos x="wd2" y="hd2"/>
                </a:cxn>
                <a:cxn ang="16200000">
                  <a:pos x="wd2" y="hd2"/>
                </a:cxn>
              </a:cxnLst>
              <a:rect l="0" t="0" r="r" b="b"/>
              <a:pathLst>
                <a:path w="21600" h="21600" extrusionOk="0">
                  <a:moveTo>
                    <a:pt x="18957" y="15934"/>
                  </a:moveTo>
                  <a:lnTo>
                    <a:pt x="19417" y="15934"/>
                  </a:lnTo>
                  <a:lnTo>
                    <a:pt x="19647" y="16111"/>
                  </a:lnTo>
                  <a:lnTo>
                    <a:pt x="19647" y="15757"/>
                  </a:lnTo>
                  <a:lnTo>
                    <a:pt x="20451" y="14695"/>
                  </a:lnTo>
                  <a:lnTo>
                    <a:pt x="21370" y="13810"/>
                  </a:lnTo>
                  <a:lnTo>
                    <a:pt x="21600" y="12748"/>
                  </a:lnTo>
                  <a:lnTo>
                    <a:pt x="21600" y="12570"/>
                  </a:lnTo>
                  <a:lnTo>
                    <a:pt x="21026" y="11862"/>
                  </a:lnTo>
                  <a:lnTo>
                    <a:pt x="20566" y="11154"/>
                  </a:lnTo>
                  <a:lnTo>
                    <a:pt x="20336" y="10446"/>
                  </a:lnTo>
                  <a:lnTo>
                    <a:pt x="19877" y="10092"/>
                  </a:lnTo>
                  <a:lnTo>
                    <a:pt x="19532" y="9738"/>
                  </a:lnTo>
                  <a:lnTo>
                    <a:pt x="19647" y="8852"/>
                  </a:lnTo>
                  <a:lnTo>
                    <a:pt x="19647" y="7967"/>
                  </a:lnTo>
                  <a:lnTo>
                    <a:pt x="19532" y="6905"/>
                  </a:lnTo>
                  <a:lnTo>
                    <a:pt x="19647" y="6020"/>
                  </a:lnTo>
                  <a:lnTo>
                    <a:pt x="19991" y="5666"/>
                  </a:lnTo>
                  <a:lnTo>
                    <a:pt x="20221" y="4957"/>
                  </a:lnTo>
                  <a:lnTo>
                    <a:pt x="20336" y="4426"/>
                  </a:lnTo>
                  <a:lnTo>
                    <a:pt x="20566" y="3541"/>
                  </a:lnTo>
                  <a:lnTo>
                    <a:pt x="20221" y="3187"/>
                  </a:lnTo>
                  <a:lnTo>
                    <a:pt x="19877" y="3187"/>
                  </a:lnTo>
                  <a:lnTo>
                    <a:pt x="19532" y="3010"/>
                  </a:lnTo>
                  <a:lnTo>
                    <a:pt x="19072" y="1770"/>
                  </a:lnTo>
                  <a:lnTo>
                    <a:pt x="18613" y="885"/>
                  </a:lnTo>
                  <a:lnTo>
                    <a:pt x="17694" y="0"/>
                  </a:lnTo>
                  <a:lnTo>
                    <a:pt x="2757" y="4072"/>
                  </a:lnTo>
                  <a:lnTo>
                    <a:pt x="2528" y="2302"/>
                  </a:lnTo>
                  <a:lnTo>
                    <a:pt x="1838" y="3010"/>
                  </a:lnTo>
                  <a:lnTo>
                    <a:pt x="1264" y="3718"/>
                  </a:lnTo>
                  <a:lnTo>
                    <a:pt x="689" y="4249"/>
                  </a:lnTo>
                  <a:lnTo>
                    <a:pt x="0" y="4957"/>
                  </a:lnTo>
                  <a:lnTo>
                    <a:pt x="1838" y="21600"/>
                  </a:lnTo>
                  <a:lnTo>
                    <a:pt x="18383" y="16820"/>
                  </a:lnTo>
                  <a:lnTo>
                    <a:pt x="18613" y="16289"/>
                  </a:lnTo>
                  <a:lnTo>
                    <a:pt x="18957" y="15934"/>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3" name="Shape 2308">
              <a:extLst>
                <a:ext uri="{FF2B5EF4-FFF2-40B4-BE49-F238E27FC236}">
                  <a16:creationId xmlns:a16="http://schemas.microsoft.com/office/drawing/2014/main" id="{E4011C8C-A4F0-30F0-6284-84FA6901DC53}"/>
                </a:ext>
              </a:extLst>
            </p:cNvPr>
            <p:cNvSpPr/>
            <p:nvPr/>
          </p:nvSpPr>
          <p:spPr>
            <a:xfrm>
              <a:off x="6908527" y="4728991"/>
              <a:ext cx="1673697" cy="1311691"/>
            </a:xfrm>
            <a:custGeom>
              <a:avLst/>
              <a:gdLst/>
              <a:ahLst/>
              <a:cxnLst>
                <a:cxn ang="0">
                  <a:pos x="wd2" y="hd2"/>
                </a:cxn>
                <a:cxn ang="5400000">
                  <a:pos x="wd2" y="hd2"/>
                </a:cxn>
                <a:cxn ang="10800000">
                  <a:pos x="wd2" y="hd2"/>
                </a:cxn>
                <a:cxn ang="16200000">
                  <a:pos x="wd2" y="hd2"/>
                </a:cxn>
              </a:cxnLst>
              <a:rect l="0" t="0" r="r" b="b"/>
              <a:pathLst>
                <a:path w="21600" h="21600" extrusionOk="0">
                  <a:moveTo>
                    <a:pt x="14400" y="0"/>
                  </a:moveTo>
                  <a:lnTo>
                    <a:pt x="14845" y="0"/>
                  </a:lnTo>
                  <a:lnTo>
                    <a:pt x="15513" y="189"/>
                  </a:lnTo>
                  <a:lnTo>
                    <a:pt x="15588" y="663"/>
                  </a:lnTo>
                  <a:lnTo>
                    <a:pt x="15662" y="947"/>
                  </a:lnTo>
                  <a:lnTo>
                    <a:pt x="15959" y="1137"/>
                  </a:lnTo>
                  <a:lnTo>
                    <a:pt x="16181" y="1611"/>
                  </a:lnTo>
                  <a:lnTo>
                    <a:pt x="16553" y="2842"/>
                  </a:lnTo>
                  <a:lnTo>
                    <a:pt x="16998" y="3789"/>
                  </a:lnTo>
                  <a:lnTo>
                    <a:pt x="17592" y="5211"/>
                  </a:lnTo>
                  <a:lnTo>
                    <a:pt x="17889" y="5874"/>
                  </a:lnTo>
                  <a:lnTo>
                    <a:pt x="18631" y="7295"/>
                  </a:lnTo>
                  <a:lnTo>
                    <a:pt x="19002" y="7674"/>
                  </a:lnTo>
                  <a:lnTo>
                    <a:pt x="19225" y="7958"/>
                  </a:lnTo>
                  <a:lnTo>
                    <a:pt x="19225" y="9095"/>
                  </a:lnTo>
                  <a:lnTo>
                    <a:pt x="19002" y="8147"/>
                  </a:lnTo>
                  <a:lnTo>
                    <a:pt x="18928" y="9095"/>
                  </a:lnTo>
                  <a:lnTo>
                    <a:pt x="19373" y="10042"/>
                  </a:lnTo>
                  <a:lnTo>
                    <a:pt x="19893" y="10989"/>
                  </a:lnTo>
                  <a:lnTo>
                    <a:pt x="20412" y="12221"/>
                  </a:lnTo>
                  <a:lnTo>
                    <a:pt x="20784" y="12979"/>
                  </a:lnTo>
                  <a:lnTo>
                    <a:pt x="21229" y="13642"/>
                  </a:lnTo>
                  <a:lnTo>
                    <a:pt x="21452" y="14495"/>
                  </a:lnTo>
                  <a:lnTo>
                    <a:pt x="21600" y="15916"/>
                  </a:lnTo>
                  <a:lnTo>
                    <a:pt x="21600" y="18284"/>
                  </a:lnTo>
                  <a:lnTo>
                    <a:pt x="21377" y="18568"/>
                  </a:lnTo>
                  <a:lnTo>
                    <a:pt x="21229" y="18947"/>
                  </a:lnTo>
                  <a:lnTo>
                    <a:pt x="21229" y="19421"/>
                  </a:lnTo>
                  <a:lnTo>
                    <a:pt x="21303" y="19989"/>
                  </a:lnTo>
                  <a:lnTo>
                    <a:pt x="21229" y="20653"/>
                  </a:lnTo>
                  <a:lnTo>
                    <a:pt x="21006" y="21316"/>
                  </a:lnTo>
                  <a:lnTo>
                    <a:pt x="20784" y="21505"/>
                  </a:lnTo>
                  <a:lnTo>
                    <a:pt x="20561" y="21600"/>
                  </a:lnTo>
                  <a:lnTo>
                    <a:pt x="20709" y="21221"/>
                  </a:lnTo>
                  <a:lnTo>
                    <a:pt x="20858" y="21032"/>
                  </a:lnTo>
                  <a:lnTo>
                    <a:pt x="20858" y="20558"/>
                  </a:lnTo>
                  <a:lnTo>
                    <a:pt x="20784" y="20558"/>
                  </a:lnTo>
                  <a:lnTo>
                    <a:pt x="20338" y="20937"/>
                  </a:lnTo>
                  <a:lnTo>
                    <a:pt x="20041" y="21032"/>
                  </a:lnTo>
                  <a:lnTo>
                    <a:pt x="19819" y="20937"/>
                  </a:lnTo>
                  <a:lnTo>
                    <a:pt x="19596" y="21032"/>
                  </a:lnTo>
                  <a:lnTo>
                    <a:pt x="19373" y="21221"/>
                  </a:lnTo>
                  <a:lnTo>
                    <a:pt x="19225" y="21126"/>
                  </a:lnTo>
                  <a:lnTo>
                    <a:pt x="18928" y="21032"/>
                  </a:lnTo>
                  <a:lnTo>
                    <a:pt x="18779" y="20747"/>
                  </a:lnTo>
                  <a:lnTo>
                    <a:pt x="18854" y="20558"/>
                  </a:lnTo>
                  <a:lnTo>
                    <a:pt x="18928" y="20558"/>
                  </a:lnTo>
                  <a:lnTo>
                    <a:pt x="19447" y="20653"/>
                  </a:lnTo>
                  <a:lnTo>
                    <a:pt x="19596" y="20558"/>
                  </a:lnTo>
                  <a:lnTo>
                    <a:pt x="19522" y="20463"/>
                  </a:lnTo>
                  <a:lnTo>
                    <a:pt x="19299" y="20274"/>
                  </a:lnTo>
                  <a:lnTo>
                    <a:pt x="19002" y="20368"/>
                  </a:lnTo>
                  <a:lnTo>
                    <a:pt x="18779" y="20084"/>
                  </a:lnTo>
                  <a:lnTo>
                    <a:pt x="18557" y="19611"/>
                  </a:lnTo>
                  <a:lnTo>
                    <a:pt x="18260" y="19232"/>
                  </a:lnTo>
                  <a:lnTo>
                    <a:pt x="18186" y="18947"/>
                  </a:lnTo>
                  <a:lnTo>
                    <a:pt x="17963" y="18568"/>
                  </a:lnTo>
                  <a:lnTo>
                    <a:pt x="17592" y="18474"/>
                  </a:lnTo>
                  <a:lnTo>
                    <a:pt x="17295" y="18284"/>
                  </a:lnTo>
                  <a:lnTo>
                    <a:pt x="16998" y="18189"/>
                  </a:lnTo>
                  <a:lnTo>
                    <a:pt x="16701" y="17147"/>
                  </a:lnTo>
                  <a:lnTo>
                    <a:pt x="16553" y="16768"/>
                  </a:lnTo>
                  <a:lnTo>
                    <a:pt x="16330" y="16484"/>
                  </a:lnTo>
                  <a:lnTo>
                    <a:pt x="16256" y="16295"/>
                  </a:lnTo>
                  <a:lnTo>
                    <a:pt x="16033" y="16011"/>
                  </a:lnTo>
                  <a:lnTo>
                    <a:pt x="15810" y="15821"/>
                  </a:lnTo>
                  <a:lnTo>
                    <a:pt x="15885" y="15442"/>
                  </a:lnTo>
                  <a:lnTo>
                    <a:pt x="15959" y="15253"/>
                  </a:lnTo>
                  <a:lnTo>
                    <a:pt x="15736" y="14684"/>
                  </a:lnTo>
                  <a:lnTo>
                    <a:pt x="15513" y="14779"/>
                  </a:lnTo>
                  <a:lnTo>
                    <a:pt x="15513" y="15442"/>
                  </a:lnTo>
                  <a:lnTo>
                    <a:pt x="15365" y="15442"/>
                  </a:lnTo>
                  <a:lnTo>
                    <a:pt x="14994" y="14968"/>
                  </a:lnTo>
                  <a:lnTo>
                    <a:pt x="14623" y="14211"/>
                  </a:lnTo>
                  <a:lnTo>
                    <a:pt x="14326" y="13832"/>
                  </a:lnTo>
                  <a:lnTo>
                    <a:pt x="14400" y="13642"/>
                  </a:lnTo>
                  <a:lnTo>
                    <a:pt x="14252" y="13263"/>
                  </a:lnTo>
                  <a:lnTo>
                    <a:pt x="14029" y="13168"/>
                  </a:lnTo>
                  <a:lnTo>
                    <a:pt x="14252" y="12600"/>
                  </a:lnTo>
                  <a:lnTo>
                    <a:pt x="14400" y="12316"/>
                  </a:lnTo>
                  <a:lnTo>
                    <a:pt x="14548" y="11747"/>
                  </a:lnTo>
                  <a:lnTo>
                    <a:pt x="14400" y="11463"/>
                  </a:lnTo>
                  <a:lnTo>
                    <a:pt x="14326" y="11842"/>
                  </a:lnTo>
                  <a:lnTo>
                    <a:pt x="14177" y="11747"/>
                  </a:lnTo>
                  <a:lnTo>
                    <a:pt x="14177" y="11558"/>
                  </a:lnTo>
                  <a:lnTo>
                    <a:pt x="13955" y="11179"/>
                  </a:lnTo>
                  <a:lnTo>
                    <a:pt x="13880" y="11179"/>
                  </a:lnTo>
                  <a:lnTo>
                    <a:pt x="13880" y="11274"/>
                  </a:lnTo>
                  <a:lnTo>
                    <a:pt x="13955" y="11463"/>
                  </a:lnTo>
                  <a:lnTo>
                    <a:pt x="14029" y="11747"/>
                  </a:lnTo>
                  <a:lnTo>
                    <a:pt x="14029" y="12126"/>
                  </a:lnTo>
                  <a:lnTo>
                    <a:pt x="13880" y="12316"/>
                  </a:lnTo>
                  <a:lnTo>
                    <a:pt x="13658" y="12032"/>
                  </a:lnTo>
                  <a:lnTo>
                    <a:pt x="13435" y="11558"/>
                  </a:lnTo>
                  <a:lnTo>
                    <a:pt x="13361" y="11368"/>
                  </a:lnTo>
                  <a:lnTo>
                    <a:pt x="13361" y="10421"/>
                  </a:lnTo>
                  <a:lnTo>
                    <a:pt x="13509" y="10042"/>
                  </a:lnTo>
                  <a:lnTo>
                    <a:pt x="13584" y="9284"/>
                  </a:lnTo>
                  <a:lnTo>
                    <a:pt x="13584" y="8811"/>
                  </a:lnTo>
                  <a:lnTo>
                    <a:pt x="13509" y="8147"/>
                  </a:lnTo>
                  <a:lnTo>
                    <a:pt x="13361" y="7484"/>
                  </a:lnTo>
                  <a:lnTo>
                    <a:pt x="13138" y="7295"/>
                  </a:lnTo>
                  <a:lnTo>
                    <a:pt x="12915" y="6821"/>
                  </a:lnTo>
                  <a:lnTo>
                    <a:pt x="12470" y="6726"/>
                  </a:lnTo>
                  <a:lnTo>
                    <a:pt x="12247" y="6726"/>
                  </a:lnTo>
                  <a:lnTo>
                    <a:pt x="12099" y="6347"/>
                  </a:lnTo>
                  <a:lnTo>
                    <a:pt x="11876" y="6253"/>
                  </a:lnTo>
                  <a:lnTo>
                    <a:pt x="11579" y="5779"/>
                  </a:lnTo>
                  <a:lnTo>
                    <a:pt x="11282" y="5684"/>
                  </a:lnTo>
                  <a:lnTo>
                    <a:pt x="11208" y="5211"/>
                  </a:lnTo>
                  <a:lnTo>
                    <a:pt x="11060" y="5021"/>
                  </a:lnTo>
                  <a:lnTo>
                    <a:pt x="10614" y="4547"/>
                  </a:lnTo>
                  <a:lnTo>
                    <a:pt x="10243" y="4168"/>
                  </a:lnTo>
                  <a:lnTo>
                    <a:pt x="9946" y="3979"/>
                  </a:lnTo>
                  <a:lnTo>
                    <a:pt x="9649" y="3695"/>
                  </a:lnTo>
                  <a:lnTo>
                    <a:pt x="9427" y="3600"/>
                  </a:lnTo>
                  <a:lnTo>
                    <a:pt x="9056" y="3600"/>
                  </a:lnTo>
                  <a:lnTo>
                    <a:pt x="8685" y="3695"/>
                  </a:lnTo>
                  <a:lnTo>
                    <a:pt x="8610" y="3979"/>
                  </a:lnTo>
                  <a:lnTo>
                    <a:pt x="8685" y="4263"/>
                  </a:lnTo>
                  <a:lnTo>
                    <a:pt x="8610" y="4453"/>
                  </a:lnTo>
                  <a:lnTo>
                    <a:pt x="8462" y="4453"/>
                  </a:lnTo>
                  <a:lnTo>
                    <a:pt x="8313" y="4263"/>
                  </a:lnTo>
                  <a:lnTo>
                    <a:pt x="7942" y="4642"/>
                  </a:lnTo>
                  <a:lnTo>
                    <a:pt x="7497" y="5116"/>
                  </a:lnTo>
                  <a:lnTo>
                    <a:pt x="6977" y="5305"/>
                  </a:lnTo>
                  <a:lnTo>
                    <a:pt x="6161" y="5589"/>
                  </a:lnTo>
                  <a:lnTo>
                    <a:pt x="6161" y="5021"/>
                  </a:lnTo>
                  <a:lnTo>
                    <a:pt x="5938" y="4737"/>
                  </a:lnTo>
                  <a:lnTo>
                    <a:pt x="5715" y="4642"/>
                  </a:lnTo>
                  <a:lnTo>
                    <a:pt x="5344" y="4358"/>
                  </a:lnTo>
                  <a:lnTo>
                    <a:pt x="5641" y="4168"/>
                  </a:lnTo>
                  <a:lnTo>
                    <a:pt x="5715" y="4074"/>
                  </a:lnTo>
                  <a:lnTo>
                    <a:pt x="5196" y="3979"/>
                  </a:lnTo>
                  <a:lnTo>
                    <a:pt x="5196" y="3695"/>
                  </a:lnTo>
                  <a:lnTo>
                    <a:pt x="5344" y="3695"/>
                  </a:lnTo>
                  <a:lnTo>
                    <a:pt x="5419" y="3505"/>
                  </a:lnTo>
                  <a:lnTo>
                    <a:pt x="5419" y="3316"/>
                  </a:lnTo>
                  <a:lnTo>
                    <a:pt x="5344" y="3316"/>
                  </a:lnTo>
                  <a:lnTo>
                    <a:pt x="5196" y="3411"/>
                  </a:lnTo>
                  <a:lnTo>
                    <a:pt x="5196" y="3505"/>
                  </a:lnTo>
                  <a:lnTo>
                    <a:pt x="5122" y="3600"/>
                  </a:lnTo>
                  <a:lnTo>
                    <a:pt x="4973" y="3411"/>
                  </a:lnTo>
                  <a:lnTo>
                    <a:pt x="4602" y="3411"/>
                  </a:lnTo>
                  <a:lnTo>
                    <a:pt x="4751" y="3695"/>
                  </a:lnTo>
                  <a:lnTo>
                    <a:pt x="4825" y="3695"/>
                  </a:lnTo>
                  <a:lnTo>
                    <a:pt x="4899" y="4074"/>
                  </a:lnTo>
                  <a:lnTo>
                    <a:pt x="4825" y="4074"/>
                  </a:lnTo>
                  <a:lnTo>
                    <a:pt x="4528" y="3884"/>
                  </a:lnTo>
                  <a:lnTo>
                    <a:pt x="4231" y="3600"/>
                  </a:lnTo>
                  <a:lnTo>
                    <a:pt x="3934" y="3505"/>
                  </a:lnTo>
                  <a:lnTo>
                    <a:pt x="3266" y="3505"/>
                  </a:lnTo>
                  <a:lnTo>
                    <a:pt x="3043" y="3316"/>
                  </a:lnTo>
                  <a:lnTo>
                    <a:pt x="2895" y="3126"/>
                  </a:lnTo>
                  <a:lnTo>
                    <a:pt x="2672" y="3126"/>
                  </a:lnTo>
                  <a:lnTo>
                    <a:pt x="1930" y="3316"/>
                  </a:lnTo>
                  <a:lnTo>
                    <a:pt x="1410" y="3316"/>
                  </a:lnTo>
                  <a:lnTo>
                    <a:pt x="1039" y="3600"/>
                  </a:lnTo>
                  <a:lnTo>
                    <a:pt x="816" y="3695"/>
                  </a:lnTo>
                  <a:lnTo>
                    <a:pt x="520" y="3032"/>
                  </a:lnTo>
                  <a:lnTo>
                    <a:pt x="445" y="2558"/>
                  </a:lnTo>
                  <a:lnTo>
                    <a:pt x="148" y="2084"/>
                  </a:lnTo>
                  <a:lnTo>
                    <a:pt x="0" y="1895"/>
                  </a:lnTo>
                  <a:lnTo>
                    <a:pt x="0" y="1611"/>
                  </a:lnTo>
                  <a:lnTo>
                    <a:pt x="223" y="1516"/>
                  </a:lnTo>
                  <a:lnTo>
                    <a:pt x="742" y="1326"/>
                  </a:lnTo>
                  <a:lnTo>
                    <a:pt x="1336" y="1137"/>
                  </a:lnTo>
                  <a:lnTo>
                    <a:pt x="6903" y="568"/>
                  </a:lnTo>
                  <a:lnTo>
                    <a:pt x="7274" y="1516"/>
                  </a:lnTo>
                  <a:lnTo>
                    <a:pt x="14029" y="1042"/>
                  </a:lnTo>
                  <a:lnTo>
                    <a:pt x="14103" y="1800"/>
                  </a:lnTo>
                  <a:lnTo>
                    <a:pt x="14623" y="1800"/>
                  </a:lnTo>
                  <a:lnTo>
                    <a:pt x="14400"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4" name="Shape 2309">
              <a:extLst>
                <a:ext uri="{FF2B5EF4-FFF2-40B4-BE49-F238E27FC236}">
                  <a16:creationId xmlns:a16="http://schemas.microsoft.com/office/drawing/2014/main" id="{A40B5BD9-AB4F-48A7-B8E9-24FEEE304131}"/>
                </a:ext>
              </a:extLst>
            </p:cNvPr>
            <p:cNvSpPr/>
            <p:nvPr/>
          </p:nvSpPr>
          <p:spPr>
            <a:xfrm>
              <a:off x="5608679" y="4383804"/>
              <a:ext cx="1046783" cy="926241"/>
            </a:xfrm>
            <a:custGeom>
              <a:avLst/>
              <a:gdLst/>
              <a:ahLst/>
              <a:cxnLst>
                <a:cxn ang="0">
                  <a:pos x="wd2" y="hd2"/>
                </a:cxn>
                <a:cxn ang="5400000">
                  <a:pos x="wd2" y="hd2"/>
                </a:cxn>
                <a:cxn ang="10800000">
                  <a:pos x="wd2" y="hd2"/>
                </a:cxn>
                <a:cxn ang="16200000">
                  <a:pos x="wd2" y="hd2"/>
                </a:cxn>
              </a:cxnLst>
              <a:rect l="0" t="0" r="r" b="b"/>
              <a:pathLst>
                <a:path w="21600" h="21600" extrusionOk="0">
                  <a:moveTo>
                    <a:pt x="21481" y="19990"/>
                  </a:moveTo>
                  <a:lnTo>
                    <a:pt x="21244" y="19990"/>
                  </a:lnTo>
                  <a:lnTo>
                    <a:pt x="20888" y="19722"/>
                  </a:lnTo>
                  <a:lnTo>
                    <a:pt x="20532" y="19722"/>
                  </a:lnTo>
                  <a:lnTo>
                    <a:pt x="20295" y="19588"/>
                  </a:lnTo>
                  <a:lnTo>
                    <a:pt x="19701" y="19185"/>
                  </a:lnTo>
                  <a:lnTo>
                    <a:pt x="19582" y="19185"/>
                  </a:lnTo>
                  <a:lnTo>
                    <a:pt x="18989" y="18648"/>
                  </a:lnTo>
                  <a:lnTo>
                    <a:pt x="18752" y="18380"/>
                  </a:lnTo>
                  <a:lnTo>
                    <a:pt x="18396" y="18246"/>
                  </a:lnTo>
                  <a:lnTo>
                    <a:pt x="18040" y="17978"/>
                  </a:lnTo>
                  <a:lnTo>
                    <a:pt x="17802" y="17709"/>
                  </a:lnTo>
                  <a:lnTo>
                    <a:pt x="18158" y="17709"/>
                  </a:lnTo>
                  <a:lnTo>
                    <a:pt x="18396" y="17441"/>
                  </a:lnTo>
                  <a:lnTo>
                    <a:pt x="18989" y="17441"/>
                  </a:lnTo>
                  <a:lnTo>
                    <a:pt x="19108" y="17173"/>
                  </a:lnTo>
                  <a:lnTo>
                    <a:pt x="19701" y="17173"/>
                  </a:lnTo>
                  <a:lnTo>
                    <a:pt x="19938" y="16904"/>
                  </a:lnTo>
                  <a:lnTo>
                    <a:pt x="19582" y="16234"/>
                  </a:lnTo>
                  <a:lnTo>
                    <a:pt x="19226" y="15831"/>
                  </a:lnTo>
                  <a:lnTo>
                    <a:pt x="19108" y="15831"/>
                  </a:lnTo>
                  <a:lnTo>
                    <a:pt x="17921" y="16234"/>
                  </a:lnTo>
                  <a:lnTo>
                    <a:pt x="17565" y="16368"/>
                  </a:lnTo>
                  <a:lnTo>
                    <a:pt x="17209" y="16368"/>
                  </a:lnTo>
                  <a:lnTo>
                    <a:pt x="17209" y="16234"/>
                  </a:lnTo>
                  <a:lnTo>
                    <a:pt x="17565" y="15965"/>
                  </a:lnTo>
                  <a:lnTo>
                    <a:pt x="17921" y="15831"/>
                  </a:lnTo>
                  <a:lnTo>
                    <a:pt x="18277" y="15563"/>
                  </a:lnTo>
                  <a:lnTo>
                    <a:pt x="18277" y="14758"/>
                  </a:lnTo>
                  <a:lnTo>
                    <a:pt x="18158" y="13819"/>
                  </a:lnTo>
                  <a:lnTo>
                    <a:pt x="17802" y="13282"/>
                  </a:lnTo>
                  <a:lnTo>
                    <a:pt x="17565" y="12745"/>
                  </a:lnTo>
                  <a:lnTo>
                    <a:pt x="17684" y="10599"/>
                  </a:lnTo>
                  <a:lnTo>
                    <a:pt x="9969" y="11001"/>
                  </a:lnTo>
                  <a:lnTo>
                    <a:pt x="9851" y="10465"/>
                  </a:lnTo>
                  <a:lnTo>
                    <a:pt x="9851" y="10062"/>
                  </a:lnTo>
                  <a:lnTo>
                    <a:pt x="9969" y="9794"/>
                  </a:lnTo>
                  <a:lnTo>
                    <a:pt x="10325" y="9525"/>
                  </a:lnTo>
                  <a:lnTo>
                    <a:pt x="10325" y="8586"/>
                  </a:lnTo>
                  <a:lnTo>
                    <a:pt x="10444" y="8184"/>
                  </a:lnTo>
                  <a:lnTo>
                    <a:pt x="10563" y="8050"/>
                  </a:lnTo>
                  <a:lnTo>
                    <a:pt x="10681" y="7781"/>
                  </a:lnTo>
                  <a:lnTo>
                    <a:pt x="10800" y="6842"/>
                  </a:lnTo>
                  <a:lnTo>
                    <a:pt x="11037" y="6574"/>
                  </a:lnTo>
                  <a:lnTo>
                    <a:pt x="11512" y="5769"/>
                  </a:lnTo>
                  <a:lnTo>
                    <a:pt x="11631" y="5501"/>
                  </a:lnTo>
                  <a:lnTo>
                    <a:pt x="11631" y="4964"/>
                  </a:lnTo>
                  <a:lnTo>
                    <a:pt x="11749" y="4964"/>
                  </a:lnTo>
                  <a:lnTo>
                    <a:pt x="12105" y="4561"/>
                  </a:lnTo>
                  <a:lnTo>
                    <a:pt x="12224" y="3488"/>
                  </a:lnTo>
                  <a:lnTo>
                    <a:pt x="12105" y="3086"/>
                  </a:lnTo>
                  <a:lnTo>
                    <a:pt x="11749" y="2817"/>
                  </a:lnTo>
                  <a:lnTo>
                    <a:pt x="11749" y="2549"/>
                  </a:lnTo>
                  <a:lnTo>
                    <a:pt x="11631" y="1878"/>
                  </a:lnTo>
                  <a:lnTo>
                    <a:pt x="11631" y="1744"/>
                  </a:lnTo>
                  <a:lnTo>
                    <a:pt x="11512" y="1476"/>
                  </a:lnTo>
                  <a:lnTo>
                    <a:pt x="11156" y="1207"/>
                  </a:lnTo>
                  <a:lnTo>
                    <a:pt x="11631" y="939"/>
                  </a:lnTo>
                  <a:lnTo>
                    <a:pt x="11631" y="671"/>
                  </a:lnTo>
                  <a:lnTo>
                    <a:pt x="11512" y="268"/>
                  </a:lnTo>
                  <a:lnTo>
                    <a:pt x="11156" y="0"/>
                  </a:lnTo>
                  <a:lnTo>
                    <a:pt x="0" y="402"/>
                  </a:lnTo>
                  <a:lnTo>
                    <a:pt x="0" y="6306"/>
                  </a:lnTo>
                  <a:lnTo>
                    <a:pt x="831" y="7111"/>
                  </a:lnTo>
                  <a:lnTo>
                    <a:pt x="831" y="7379"/>
                  </a:lnTo>
                  <a:lnTo>
                    <a:pt x="1305" y="8586"/>
                  </a:lnTo>
                  <a:lnTo>
                    <a:pt x="1424" y="8855"/>
                  </a:lnTo>
                  <a:lnTo>
                    <a:pt x="1424" y="9660"/>
                  </a:lnTo>
                  <a:lnTo>
                    <a:pt x="1543" y="10062"/>
                  </a:lnTo>
                  <a:lnTo>
                    <a:pt x="1780" y="11135"/>
                  </a:lnTo>
                  <a:lnTo>
                    <a:pt x="2018" y="11940"/>
                  </a:lnTo>
                  <a:lnTo>
                    <a:pt x="1543" y="12611"/>
                  </a:lnTo>
                  <a:lnTo>
                    <a:pt x="1305" y="13684"/>
                  </a:lnTo>
                  <a:lnTo>
                    <a:pt x="1305" y="14087"/>
                  </a:lnTo>
                  <a:lnTo>
                    <a:pt x="1068" y="14758"/>
                  </a:lnTo>
                  <a:lnTo>
                    <a:pt x="1424" y="15697"/>
                  </a:lnTo>
                  <a:lnTo>
                    <a:pt x="1424" y="16234"/>
                  </a:lnTo>
                  <a:lnTo>
                    <a:pt x="1068" y="17575"/>
                  </a:lnTo>
                  <a:lnTo>
                    <a:pt x="712" y="18246"/>
                  </a:lnTo>
                  <a:lnTo>
                    <a:pt x="1780" y="18246"/>
                  </a:lnTo>
                  <a:lnTo>
                    <a:pt x="2136" y="17978"/>
                  </a:lnTo>
                  <a:lnTo>
                    <a:pt x="2967" y="17978"/>
                  </a:lnTo>
                  <a:lnTo>
                    <a:pt x="4035" y="18246"/>
                  </a:lnTo>
                  <a:lnTo>
                    <a:pt x="4629" y="18380"/>
                  </a:lnTo>
                  <a:lnTo>
                    <a:pt x="5222" y="18648"/>
                  </a:lnTo>
                  <a:lnTo>
                    <a:pt x="6053" y="19051"/>
                  </a:lnTo>
                  <a:lnTo>
                    <a:pt x="9376" y="19051"/>
                  </a:lnTo>
                  <a:lnTo>
                    <a:pt x="9495" y="18917"/>
                  </a:lnTo>
                  <a:lnTo>
                    <a:pt x="9257" y="18514"/>
                  </a:lnTo>
                  <a:lnTo>
                    <a:pt x="8545" y="18514"/>
                  </a:lnTo>
                  <a:lnTo>
                    <a:pt x="8308" y="18380"/>
                  </a:lnTo>
                  <a:lnTo>
                    <a:pt x="8426" y="17978"/>
                  </a:lnTo>
                  <a:lnTo>
                    <a:pt x="8545" y="17709"/>
                  </a:lnTo>
                  <a:lnTo>
                    <a:pt x="9138" y="17709"/>
                  </a:lnTo>
                  <a:lnTo>
                    <a:pt x="9969" y="18112"/>
                  </a:lnTo>
                  <a:lnTo>
                    <a:pt x="10800" y="18917"/>
                  </a:lnTo>
                  <a:lnTo>
                    <a:pt x="11512" y="19051"/>
                  </a:lnTo>
                  <a:lnTo>
                    <a:pt x="11987" y="18783"/>
                  </a:lnTo>
                  <a:lnTo>
                    <a:pt x="11868" y="19319"/>
                  </a:lnTo>
                  <a:lnTo>
                    <a:pt x="11631" y="20124"/>
                  </a:lnTo>
                  <a:lnTo>
                    <a:pt x="11868" y="20527"/>
                  </a:lnTo>
                  <a:lnTo>
                    <a:pt x="12580" y="20795"/>
                  </a:lnTo>
                  <a:lnTo>
                    <a:pt x="13174" y="20795"/>
                  </a:lnTo>
                  <a:lnTo>
                    <a:pt x="13648" y="21198"/>
                  </a:lnTo>
                  <a:lnTo>
                    <a:pt x="14123" y="21198"/>
                  </a:lnTo>
                  <a:lnTo>
                    <a:pt x="14360" y="20661"/>
                  </a:lnTo>
                  <a:lnTo>
                    <a:pt x="14835" y="20124"/>
                  </a:lnTo>
                  <a:lnTo>
                    <a:pt x="15191" y="19990"/>
                  </a:lnTo>
                  <a:lnTo>
                    <a:pt x="15666" y="20124"/>
                  </a:lnTo>
                  <a:lnTo>
                    <a:pt x="16141" y="20795"/>
                  </a:lnTo>
                  <a:lnTo>
                    <a:pt x="16615" y="20795"/>
                  </a:lnTo>
                  <a:lnTo>
                    <a:pt x="16853" y="20527"/>
                  </a:lnTo>
                  <a:lnTo>
                    <a:pt x="16615" y="19453"/>
                  </a:lnTo>
                  <a:lnTo>
                    <a:pt x="16615" y="19185"/>
                  </a:lnTo>
                  <a:lnTo>
                    <a:pt x="16853" y="18917"/>
                  </a:lnTo>
                  <a:lnTo>
                    <a:pt x="17327" y="18917"/>
                  </a:lnTo>
                  <a:lnTo>
                    <a:pt x="17802" y="19185"/>
                  </a:lnTo>
                  <a:lnTo>
                    <a:pt x="17802" y="19722"/>
                  </a:lnTo>
                  <a:lnTo>
                    <a:pt x="18752" y="19856"/>
                  </a:lnTo>
                  <a:lnTo>
                    <a:pt x="19582" y="20258"/>
                  </a:lnTo>
                  <a:lnTo>
                    <a:pt x="19938" y="20661"/>
                  </a:lnTo>
                  <a:lnTo>
                    <a:pt x="19701" y="21063"/>
                  </a:lnTo>
                  <a:lnTo>
                    <a:pt x="19582" y="21600"/>
                  </a:lnTo>
                  <a:lnTo>
                    <a:pt x="20057" y="21600"/>
                  </a:lnTo>
                  <a:lnTo>
                    <a:pt x="20295" y="21198"/>
                  </a:lnTo>
                  <a:lnTo>
                    <a:pt x="20532" y="20929"/>
                  </a:lnTo>
                  <a:lnTo>
                    <a:pt x="20888" y="21198"/>
                  </a:lnTo>
                  <a:lnTo>
                    <a:pt x="20888" y="21466"/>
                  </a:lnTo>
                  <a:lnTo>
                    <a:pt x="21125" y="21063"/>
                  </a:lnTo>
                  <a:lnTo>
                    <a:pt x="21600" y="20527"/>
                  </a:lnTo>
                  <a:lnTo>
                    <a:pt x="21481" y="1999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5" name="Shape 2310">
              <a:extLst>
                <a:ext uri="{FF2B5EF4-FFF2-40B4-BE49-F238E27FC236}">
                  <a16:creationId xmlns:a16="http://schemas.microsoft.com/office/drawing/2014/main" id="{6C970E08-000E-F2FF-6991-DFEA24ACEB3D}"/>
                </a:ext>
              </a:extLst>
            </p:cNvPr>
            <p:cNvSpPr/>
            <p:nvPr/>
          </p:nvSpPr>
          <p:spPr>
            <a:xfrm>
              <a:off x="5482144" y="3555370"/>
              <a:ext cx="937501" cy="845699"/>
            </a:xfrm>
            <a:custGeom>
              <a:avLst/>
              <a:gdLst/>
              <a:ahLst/>
              <a:cxnLst>
                <a:cxn ang="0">
                  <a:pos x="wd2" y="hd2"/>
                </a:cxn>
                <a:cxn ang="5400000">
                  <a:pos x="wd2" y="hd2"/>
                </a:cxn>
                <a:cxn ang="10800000">
                  <a:pos x="wd2" y="hd2"/>
                </a:cxn>
                <a:cxn ang="16200000">
                  <a:pos x="wd2" y="hd2"/>
                </a:cxn>
              </a:cxnLst>
              <a:rect l="0" t="0" r="r" b="b"/>
              <a:pathLst>
                <a:path w="21600" h="21600" extrusionOk="0">
                  <a:moveTo>
                    <a:pt x="795" y="18073"/>
                  </a:moveTo>
                  <a:lnTo>
                    <a:pt x="530" y="17780"/>
                  </a:lnTo>
                  <a:lnTo>
                    <a:pt x="928" y="18220"/>
                  </a:lnTo>
                  <a:lnTo>
                    <a:pt x="1325" y="18367"/>
                  </a:lnTo>
                  <a:lnTo>
                    <a:pt x="1590" y="18073"/>
                  </a:lnTo>
                  <a:lnTo>
                    <a:pt x="2915" y="18220"/>
                  </a:lnTo>
                  <a:lnTo>
                    <a:pt x="2915" y="21600"/>
                  </a:lnTo>
                  <a:lnTo>
                    <a:pt x="15372" y="21159"/>
                  </a:lnTo>
                  <a:lnTo>
                    <a:pt x="15504" y="21159"/>
                  </a:lnTo>
                  <a:lnTo>
                    <a:pt x="15769" y="20424"/>
                  </a:lnTo>
                  <a:lnTo>
                    <a:pt x="15902" y="19984"/>
                  </a:lnTo>
                  <a:lnTo>
                    <a:pt x="15769" y="19543"/>
                  </a:lnTo>
                  <a:lnTo>
                    <a:pt x="15769" y="18367"/>
                  </a:lnTo>
                  <a:lnTo>
                    <a:pt x="15504" y="17927"/>
                  </a:lnTo>
                  <a:lnTo>
                    <a:pt x="15372" y="17780"/>
                  </a:lnTo>
                  <a:lnTo>
                    <a:pt x="15372" y="17486"/>
                  </a:lnTo>
                  <a:lnTo>
                    <a:pt x="15504" y="17192"/>
                  </a:lnTo>
                  <a:lnTo>
                    <a:pt x="15372" y="17045"/>
                  </a:lnTo>
                  <a:lnTo>
                    <a:pt x="15637" y="16604"/>
                  </a:lnTo>
                  <a:lnTo>
                    <a:pt x="16034" y="16016"/>
                  </a:lnTo>
                  <a:lnTo>
                    <a:pt x="16167" y="16016"/>
                  </a:lnTo>
                  <a:lnTo>
                    <a:pt x="16034" y="15722"/>
                  </a:lnTo>
                  <a:lnTo>
                    <a:pt x="16299" y="15135"/>
                  </a:lnTo>
                  <a:lnTo>
                    <a:pt x="16564" y="14694"/>
                  </a:lnTo>
                  <a:lnTo>
                    <a:pt x="16299" y="14547"/>
                  </a:lnTo>
                  <a:lnTo>
                    <a:pt x="16432" y="13959"/>
                  </a:lnTo>
                  <a:lnTo>
                    <a:pt x="16829" y="13518"/>
                  </a:lnTo>
                  <a:lnTo>
                    <a:pt x="17492" y="12637"/>
                  </a:lnTo>
                  <a:lnTo>
                    <a:pt x="17890" y="11902"/>
                  </a:lnTo>
                  <a:lnTo>
                    <a:pt x="17890" y="11314"/>
                  </a:lnTo>
                  <a:lnTo>
                    <a:pt x="18155" y="10580"/>
                  </a:lnTo>
                  <a:lnTo>
                    <a:pt x="18287" y="10580"/>
                  </a:lnTo>
                  <a:lnTo>
                    <a:pt x="18552" y="10286"/>
                  </a:lnTo>
                  <a:lnTo>
                    <a:pt x="18685" y="9845"/>
                  </a:lnTo>
                  <a:lnTo>
                    <a:pt x="18950" y="9551"/>
                  </a:lnTo>
                  <a:lnTo>
                    <a:pt x="19480" y="9257"/>
                  </a:lnTo>
                  <a:lnTo>
                    <a:pt x="19347" y="8816"/>
                  </a:lnTo>
                  <a:lnTo>
                    <a:pt x="19612" y="8522"/>
                  </a:lnTo>
                  <a:lnTo>
                    <a:pt x="19877" y="7935"/>
                  </a:lnTo>
                  <a:lnTo>
                    <a:pt x="19877" y="6318"/>
                  </a:lnTo>
                  <a:lnTo>
                    <a:pt x="20275" y="5731"/>
                  </a:lnTo>
                  <a:lnTo>
                    <a:pt x="20672" y="5437"/>
                  </a:lnTo>
                  <a:lnTo>
                    <a:pt x="20672" y="5143"/>
                  </a:lnTo>
                  <a:lnTo>
                    <a:pt x="20805" y="4849"/>
                  </a:lnTo>
                  <a:lnTo>
                    <a:pt x="20805" y="4261"/>
                  </a:lnTo>
                  <a:lnTo>
                    <a:pt x="21202" y="4114"/>
                  </a:lnTo>
                  <a:lnTo>
                    <a:pt x="21600" y="3233"/>
                  </a:lnTo>
                  <a:lnTo>
                    <a:pt x="21600" y="2792"/>
                  </a:lnTo>
                  <a:lnTo>
                    <a:pt x="18287" y="2939"/>
                  </a:lnTo>
                  <a:lnTo>
                    <a:pt x="19612" y="735"/>
                  </a:lnTo>
                  <a:lnTo>
                    <a:pt x="19480" y="0"/>
                  </a:lnTo>
                  <a:lnTo>
                    <a:pt x="0" y="588"/>
                  </a:lnTo>
                  <a:lnTo>
                    <a:pt x="928" y="6906"/>
                  </a:lnTo>
                  <a:lnTo>
                    <a:pt x="795" y="1807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6" name="Shape 2311">
              <a:extLst>
                <a:ext uri="{FF2B5EF4-FFF2-40B4-BE49-F238E27FC236}">
                  <a16:creationId xmlns:a16="http://schemas.microsoft.com/office/drawing/2014/main" id="{0626A1FA-1D3D-0486-909F-140A9F86C357}"/>
                </a:ext>
              </a:extLst>
            </p:cNvPr>
            <p:cNvSpPr/>
            <p:nvPr/>
          </p:nvSpPr>
          <p:spPr>
            <a:xfrm>
              <a:off x="6321871" y="3382781"/>
              <a:ext cx="1587426" cy="517771"/>
            </a:xfrm>
            <a:custGeom>
              <a:avLst/>
              <a:gdLst/>
              <a:ahLst/>
              <a:cxnLst>
                <a:cxn ang="0">
                  <a:pos x="wd2" y="hd2"/>
                </a:cxn>
                <a:cxn ang="5400000">
                  <a:pos x="wd2" y="hd2"/>
                </a:cxn>
                <a:cxn ang="10800000">
                  <a:pos x="wd2" y="hd2"/>
                </a:cxn>
                <a:cxn ang="16200000">
                  <a:pos x="wd2" y="hd2"/>
                </a:cxn>
              </a:cxnLst>
              <a:rect l="0" t="0" r="r" b="b"/>
              <a:pathLst>
                <a:path w="21600" h="21600" extrusionOk="0">
                  <a:moveTo>
                    <a:pt x="12788" y="2826"/>
                  </a:moveTo>
                  <a:cubicBezTo>
                    <a:pt x="5499" y="4239"/>
                    <a:pt x="5499" y="4239"/>
                    <a:pt x="5499" y="4239"/>
                  </a:cubicBezTo>
                  <a:cubicBezTo>
                    <a:pt x="5632" y="6258"/>
                    <a:pt x="5632" y="6258"/>
                    <a:pt x="5632" y="6258"/>
                  </a:cubicBezTo>
                  <a:cubicBezTo>
                    <a:pt x="1723" y="6460"/>
                    <a:pt x="1723" y="6460"/>
                    <a:pt x="1723" y="6460"/>
                  </a:cubicBezTo>
                  <a:cubicBezTo>
                    <a:pt x="1590" y="6662"/>
                    <a:pt x="1590" y="6662"/>
                    <a:pt x="1590" y="6662"/>
                  </a:cubicBezTo>
                  <a:cubicBezTo>
                    <a:pt x="1590" y="7267"/>
                    <a:pt x="1590" y="7267"/>
                    <a:pt x="1590" y="7267"/>
                  </a:cubicBezTo>
                  <a:cubicBezTo>
                    <a:pt x="1590" y="7873"/>
                    <a:pt x="1590" y="7873"/>
                    <a:pt x="1590" y="7873"/>
                  </a:cubicBezTo>
                  <a:cubicBezTo>
                    <a:pt x="1524" y="8479"/>
                    <a:pt x="1524" y="8479"/>
                    <a:pt x="1524" y="8479"/>
                  </a:cubicBezTo>
                  <a:cubicBezTo>
                    <a:pt x="1391" y="8680"/>
                    <a:pt x="1391" y="8680"/>
                    <a:pt x="1391" y="8680"/>
                  </a:cubicBezTo>
                  <a:cubicBezTo>
                    <a:pt x="1325" y="9084"/>
                    <a:pt x="1325" y="9084"/>
                    <a:pt x="1325" y="9084"/>
                  </a:cubicBezTo>
                  <a:cubicBezTo>
                    <a:pt x="1391" y="9286"/>
                    <a:pt x="1391" y="9286"/>
                    <a:pt x="1391" y="9286"/>
                  </a:cubicBezTo>
                  <a:cubicBezTo>
                    <a:pt x="1391" y="9286"/>
                    <a:pt x="1524" y="9892"/>
                    <a:pt x="1524" y="10093"/>
                  </a:cubicBezTo>
                  <a:cubicBezTo>
                    <a:pt x="1590" y="10295"/>
                    <a:pt x="1458" y="10497"/>
                    <a:pt x="1458" y="10497"/>
                  </a:cubicBezTo>
                  <a:cubicBezTo>
                    <a:pt x="1325" y="11103"/>
                    <a:pt x="1325" y="11103"/>
                    <a:pt x="1325" y="11103"/>
                  </a:cubicBezTo>
                  <a:cubicBezTo>
                    <a:pt x="1259" y="11708"/>
                    <a:pt x="1259" y="11708"/>
                    <a:pt x="1259" y="11708"/>
                  </a:cubicBezTo>
                  <a:cubicBezTo>
                    <a:pt x="1325" y="11708"/>
                    <a:pt x="1325" y="11708"/>
                    <a:pt x="1325" y="11708"/>
                  </a:cubicBezTo>
                  <a:cubicBezTo>
                    <a:pt x="1325" y="12516"/>
                    <a:pt x="1325" y="12516"/>
                    <a:pt x="1325" y="12516"/>
                  </a:cubicBezTo>
                  <a:cubicBezTo>
                    <a:pt x="1259" y="12920"/>
                    <a:pt x="1259" y="12920"/>
                    <a:pt x="1259" y="12920"/>
                  </a:cubicBezTo>
                  <a:cubicBezTo>
                    <a:pt x="1193" y="13323"/>
                    <a:pt x="1193" y="13323"/>
                    <a:pt x="1193" y="13323"/>
                  </a:cubicBezTo>
                  <a:cubicBezTo>
                    <a:pt x="1060" y="13929"/>
                    <a:pt x="1060" y="13929"/>
                    <a:pt x="1060" y="13929"/>
                  </a:cubicBezTo>
                  <a:cubicBezTo>
                    <a:pt x="861" y="14131"/>
                    <a:pt x="861" y="14131"/>
                    <a:pt x="861" y="14131"/>
                  </a:cubicBezTo>
                  <a:cubicBezTo>
                    <a:pt x="861" y="15140"/>
                    <a:pt x="861" y="15140"/>
                    <a:pt x="861" y="15140"/>
                  </a:cubicBezTo>
                  <a:cubicBezTo>
                    <a:pt x="795" y="15544"/>
                    <a:pt x="795" y="15544"/>
                    <a:pt x="795" y="15544"/>
                  </a:cubicBezTo>
                  <a:cubicBezTo>
                    <a:pt x="795" y="15948"/>
                    <a:pt x="795" y="15948"/>
                    <a:pt x="795" y="15948"/>
                  </a:cubicBezTo>
                  <a:cubicBezTo>
                    <a:pt x="530" y="16553"/>
                    <a:pt x="530" y="16553"/>
                    <a:pt x="530" y="16553"/>
                  </a:cubicBezTo>
                  <a:cubicBezTo>
                    <a:pt x="331" y="17563"/>
                    <a:pt x="331" y="17563"/>
                    <a:pt x="331" y="17563"/>
                  </a:cubicBezTo>
                  <a:cubicBezTo>
                    <a:pt x="331" y="18572"/>
                    <a:pt x="331" y="18572"/>
                    <a:pt x="331" y="18572"/>
                  </a:cubicBezTo>
                  <a:cubicBezTo>
                    <a:pt x="331" y="19985"/>
                    <a:pt x="331" y="19985"/>
                    <a:pt x="331" y="19985"/>
                  </a:cubicBezTo>
                  <a:cubicBezTo>
                    <a:pt x="133" y="20994"/>
                    <a:pt x="133" y="20994"/>
                    <a:pt x="133" y="20994"/>
                  </a:cubicBezTo>
                  <a:cubicBezTo>
                    <a:pt x="0" y="21600"/>
                    <a:pt x="0" y="21600"/>
                    <a:pt x="0" y="21600"/>
                  </a:cubicBezTo>
                  <a:cubicBezTo>
                    <a:pt x="0" y="21600"/>
                    <a:pt x="0" y="21600"/>
                    <a:pt x="0" y="21600"/>
                  </a:cubicBezTo>
                  <a:cubicBezTo>
                    <a:pt x="15372" y="17966"/>
                    <a:pt x="15372" y="17966"/>
                    <a:pt x="15372" y="17966"/>
                  </a:cubicBezTo>
                  <a:cubicBezTo>
                    <a:pt x="15372" y="17966"/>
                    <a:pt x="15372" y="17966"/>
                    <a:pt x="15372" y="17966"/>
                  </a:cubicBezTo>
                  <a:cubicBezTo>
                    <a:pt x="15372" y="17764"/>
                    <a:pt x="15372" y="17764"/>
                    <a:pt x="15372" y="17764"/>
                  </a:cubicBezTo>
                  <a:cubicBezTo>
                    <a:pt x="15438" y="16553"/>
                    <a:pt x="15438" y="16553"/>
                    <a:pt x="15438" y="16553"/>
                  </a:cubicBezTo>
                  <a:cubicBezTo>
                    <a:pt x="15438" y="15948"/>
                    <a:pt x="15438" y="15948"/>
                    <a:pt x="15438" y="15948"/>
                  </a:cubicBezTo>
                  <a:cubicBezTo>
                    <a:pt x="15703" y="15140"/>
                    <a:pt x="15703" y="15140"/>
                    <a:pt x="15703" y="15140"/>
                  </a:cubicBezTo>
                  <a:cubicBezTo>
                    <a:pt x="15902" y="15140"/>
                    <a:pt x="15902" y="15140"/>
                    <a:pt x="15902" y="15140"/>
                  </a:cubicBezTo>
                  <a:cubicBezTo>
                    <a:pt x="16167" y="14535"/>
                    <a:pt x="16167" y="14535"/>
                    <a:pt x="16167" y="14535"/>
                  </a:cubicBezTo>
                  <a:cubicBezTo>
                    <a:pt x="16101" y="13727"/>
                    <a:pt x="16101" y="13727"/>
                    <a:pt x="16101" y="13727"/>
                  </a:cubicBezTo>
                  <a:cubicBezTo>
                    <a:pt x="16299" y="12920"/>
                    <a:pt x="16299" y="12920"/>
                    <a:pt x="16299" y="12920"/>
                  </a:cubicBezTo>
                  <a:cubicBezTo>
                    <a:pt x="18552" y="8882"/>
                    <a:pt x="18552" y="8882"/>
                    <a:pt x="18552" y="8882"/>
                  </a:cubicBezTo>
                  <a:cubicBezTo>
                    <a:pt x="18883" y="8277"/>
                    <a:pt x="18883" y="8277"/>
                    <a:pt x="18883" y="8277"/>
                  </a:cubicBezTo>
                  <a:cubicBezTo>
                    <a:pt x="19016" y="7469"/>
                    <a:pt x="19016" y="7469"/>
                    <a:pt x="19016" y="7469"/>
                  </a:cubicBezTo>
                  <a:cubicBezTo>
                    <a:pt x="19281" y="6258"/>
                    <a:pt x="19281" y="6258"/>
                    <a:pt x="19281" y="6258"/>
                  </a:cubicBezTo>
                  <a:cubicBezTo>
                    <a:pt x="19480" y="6258"/>
                    <a:pt x="19480" y="6258"/>
                    <a:pt x="19480" y="6258"/>
                  </a:cubicBezTo>
                  <a:cubicBezTo>
                    <a:pt x="19679" y="7065"/>
                    <a:pt x="19679" y="7065"/>
                    <a:pt x="19679" y="7065"/>
                  </a:cubicBezTo>
                  <a:cubicBezTo>
                    <a:pt x="19944" y="6258"/>
                    <a:pt x="19944" y="6258"/>
                    <a:pt x="19944" y="6258"/>
                  </a:cubicBezTo>
                  <a:cubicBezTo>
                    <a:pt x="20275" y="5047"/>
                    <a:pt x="20275" y="5047"/>
                    <a:pt x="20275" y="5047"/>
                  </a:cubicBezTo>
                  <a:cubicBezTo>
                    <a:pt x="21004" y="4643"/>
                    <a:pt x="21004" y="4643"/>
                    <a:pt x="21004" y="4643"/>
                  </a:cubicBezTo>
                  <a:cubicBezTo>
                    <a:pt x="21070" y="3836"/>
                    <a:pt x="21070" y="3836"/>
                    <a:pt x="21070" y="3836"/>
                  </a:cubicBezTo>
                  <a:cubicBezTo>
                    <a:pt x="21269" y="2826"/>
                    <a:pt x="21269" y="2826"/>
                    <a:pt x="21269" y="2826"/>
                  </a:cubicBezTo>
                  <a:cubicBezTo>
                    <a:pt x="21534" y="2422"/>
                    <a:pt x="21534" y="2422"/>
                    <a:pt x="21534" y="2422"/>
                  </a:cubicBezTo>
                  <a:cubicBezTo>
                    <a:pt x="21600" y="2422"/>
                    <a:pt x="21600" y="2422"/>
                    <a:pt x="21600" y="2422"/>
                  </a:cubicBezTo>
                  <a:cubicBezTo>
                    <a:pt x="21600" y="0"/>
                    <a:pt x="21600" y="0"/>
                    <a:pt x="21600" y="0"/>
                  </a:cubicBezTo>
                  <a:lnTo>
                    <a:pt x="12788" y="282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7" name="Shape 2312">
              <a:extLst>
                <a:ext uri="{FF2B5EF4-FFF2-40B4-BE49-F238E27FC236}">
                  <a16:creationId xmlns:a16="http://schemas.microsoft.com/office/drawing/2014/main" id="{D8F1E01A-4C19-B8B6-5285-1B06EB344BF8}"/>
                </a:ext>
              </a:extLst>
            </p:cNvPr>
            <p:cNvSpPr/>
            <p:nvPr/>
          </p:nvSpPr>
          <p:spPr>
            <a:xfrm>
              <a:off x="7449173" y="3210188"/>
              <a:ext cx="1587426" cy="701870"/>
            </a:xfrm>
            <a:custGeom>
              <a:avLst/>
              <a:gdLst/>
              <a:ahLst/>
              <a:cxnLst>
                <a:cxn ang="0">
                  <a:pos x="wd2" y="hd2"/>
                </a:cxn>
                <a:cxn ang="5400000">
                  <a:pos x="wd2" y="hd2"/>
                </a:cxn>
                <a:cxn ang="10800000">
                  <a:pos x="wd2" y="hd2"/>
                </a:cxn>
                <a:cxn ang="16200000">
                  <a:pos x="wd2" y="hd2"/>
                </a:cxn>
              </a:cxnLst>
              <a:rect l="0" t="0" r="r" b="b"/>
              <a:pathLst>
                <a:path w="21600" h="21600" extrusionOk="0">
                  <a:moveTo>
                    <a:pt x="21467" y="5100"/>
                  </a:moveTo>
                  <a:cubicBezTo>
                    <a:pt x="21335" y="4650"/>
                    <a:pt x="21335" y="4650"/>
                    <a:pt x="21335" y="4650"/>
                  </a:cubicBezTo>
                  <a:cubicBezTo>
                    <a:pt x="21202" y="4200"/>
                    <a:pt x="21202" y="4200"/>
                    <a:pt x="21202" y="4200"/>
                  </a:cubicBezTo>
                  <a:cubicBezTo>
                    <a:pt x="21004" y="4200"/>
                    <a:pt x="21004" y="4200"/>
                    <a:pt x="21004" y="4200"/>
                  </a:cubicBezTo>
                  <a:cubicBezTo>
                    <a:pt x="20937" y="4350"/>
                    <a:pt x="20937" y="4350"/>
                    <a:pt x="20937" y="4350"/>
                  </a:cubicBezTo>
                  <a:cubicBezTo>
                    <a:pt x="20871" y="5700"/>
                    <a:pt x="20871" y="5700"/>
                    <a:pt x="20871" y="5700"/>
                  </a:cubicBezTo>
                  <a:cubicBezTo>
                    <a:pt x="20871" y="6000"/>
                    <a:pt x="20871" y="6000"/>
                    <a:pt x="20871" y="6000"/>
                  </a:cubicBezTo>
                  <a:cubicBezTo>
                    <a:pt x="20672" y="5700"/>
                    <a:pt x="20672" y="5700"/>
                    <a:pt x="20672" y="5700"/>
                  </a:cubicBezTo>
                  <a:cubicBezTo>
                    <a:pt x="20606" y="4800"/>
                    <a:pt x="20606" y="4800"/>
                    <a:pt x="20606" y="4800"/>
                  </a:cubicBezTo>
                  <a:cubicBezTo>
                    <a:pt x="20474" y="4200"/>
                    <a:pt x="20474" y="4200"/>
                    <a:pt x="20474" y="4200"/>
                  </a:cubicBezTo>
                  <a:cubicBezTo>
                    <a:pt x="20275" y="4050"/>
                    <a:pt x="20275" y="4050"/>
                    <a:pt x="20275" y="4050"/>
                  </a:cubicBezTo>
                  <a:cubicBezTo>
                    <a:pt x="19877" y="4500"/>
                    <a:pt x="19877" y="4500"/>
                    <a:pt x="19877" y="4500"/>
                  </a:cubicBezTo>
                  <a:cubicBezTo>
                    <a:pt x="19745" y="4500"/>
                    <a:pt x="19745" y="4500"/>
                    <a:pt x="19745" y="4500"/>
                  </a:cubicBezTo>
                  <a:cubicBezTo>
                    <a:pt x="19347" y="4800"/>
                    <a:pt x="19347" y="4800"/>
                    <a:pt x="19347" y="4800"/>
                  </a:cubicBezTo>
                  <a:cubicBezTo>
                    <a:pt x="19148" y="5250"/>
                    <a:pt x="19148" y="5250"/>
                    <a:pt x="19148" y="5250"/>
                  </a:cubicBezTo>
                  <a:cubicBezTo>
                    <a:pt x="18950" y="5850"/>
                    <a:pt x="18950" y="5850"/>
                    <a:pt x="18950" y="5850"/>
                  </a:cubicBezTo>
                  <a:cubicBezTo>
                    <a:pt x="18883" y="5550"/>
                    <a:pt x="18883" y="5550"/>
                    <a:pt x="18883" y="5550"/>
                  </a:cubicBezTo>
                  <a:cubicBezTo>
                    <a:pt x="18883" y="4800"/>
                    <a:pt x="18883" y="4800"/>
                    <a:pt x="18883" y="4800"/>
                  </a:cubicBezTo>
                  <a:cubicBezTo>
                    <a:pt x="18883" y="4500"/>
                    <a:pt x="18883" y="4500"/>
                    <a:pt x="18883" y="4500"/>
                  </a:cubicBezTo>
                  <a:cubicBezTo>
                    <a:pt x="18751" y="4050"/>
                    <a:pt x="18751" y="4050"/>
                    <a:pt x="18751" y="4050"/>
                  </a:cubicBezTo>
                  <a:cubicBezTo>
                    <a:pt x="18685" y="3750"/>
                    <a:pt x="18685" y="3750"/>
                    <a:pt x="18685" y="3750"/>
                  </a:cubicBezTo>
                  <a:cubicBezTo>
                    <a:pt x="18618" y="3450"/>
                    <a:pt x="18618" y="3450"/>
                    <a:pt x="18618" y="3450"/>
                  </a:cubicBezTo>
                  <a:cubicBezTo>
                    <a:pt x="18618" y="3000"/>
                    <a:pt x="18618" y="3000"/>
                    <a:pt x="18618" y="3000"/>
                  </a:cubicBezTo>
                  <a:cubicBezTo>
                    <a:pt x="18618" y="2700"/>
                    <a:pt x="18618" y="2700"/>
                    <a:pt x="18618" y="2700"/>
                  </a:cubicBezTo>
                  <a:cubicBezTo>
                    <a:pt x="18751" y="2400"/>
                    <a:pt x="18751" y="2400"/>
                    <a:pt x="18751" y="2400"/>
                  </a:cubicBezTo>
                  <a:cubicBezTo>
                    <a:pt x="18751" y="2400"/>
                    <a:pt x="18751" y="2400"/>
                    <a:pt x="18751" y="2400"/>
                  </a:cubicBezTo>
                  <a:cubicBezTo>
                    <a:pt x="18817" y="3000"/>
                    <a:pt x="18817" y="3000"/>
                    <a:pt x="18817" y="3000"/>
                  </a:cubicBezTo>
                  <a:cubicBezTo>
                    <a:pt x="18883" y="3900"/>
                    <a:pt x="18883" y="3900"/>
                    <a:pt x="18883" y="3900"/>
                  </a:cubicBezTo>
                  <a:cubicBezTo>
                    <a:pt x="19016" y="4650"/>
                    <a:pt x="19016" y="4650"/>
                    <a:pt x="19016" y="4650"/>
                  </a:cubicBezTo>
                  <a:cubicBezTo>
                    <a:pt x="19215" y="4350"/>
                    <a:pt x="19215" y="4350"/>
                    <a:pt x="19215" y="4350"/>
                  </a:cubicBezTo>
                  <a:cubicBezTo>
                    <a:pt x="19281" y="4200"/>
                    <a:pt x="19281" y="4200"/>
                    <a:pt x="19281" y="4200"/>
                  </a:cubicBezTo>
                  <a:cubicBezTo>
                    <a:pt x="19480" y="3900"/>
                    <a:pt x="19480" y="3900"/>
                    <a:pt x="19480" y="3900"/>
                  </a:cubicBezTo>
                  <a:cubicBezTo>
                    <a:pt x="19546" y="3900"/>
                    <a:pt x="19546" y="3900"/>
                    <a:pt x="19546" y="3900"/>
                  </a:cubicBezTo>
                  <a:cubicBezTo>
                    <a:pt x="19811" y="3600"/>
                    <a:pt x="19811" y="3600"/>
                    <a:pt x="19811" y="3600"/>
                  </a:cubicBezTo>
                  <a:cubicBezTo>
                    <a:pt x="19877" y="3300"/>
                    <a:pt x="19877" y="3300"/>
                    <a:pt x="19877" y="3300"/>
                  </a:cubicBezTo>
                  <a:cubicBezTo>
                    <a:pt x="20209" y="3300"/>
                    <a:pt x="20209" y="3300"/>
                    <a:pt x="20209" y="3300"/>
                  </a:cubicBezTo>
                  <a:cubicBezTo>
                    <a:pt x="20275" y="2850"/>
                    <a:pt x="20275" y="2850"/>
                    <a:pt x="20275" y="2850"/>
                  </a:cubicBezTo>
                  <a:cubicBezTo>
                    <a:pt x="20341" y="2700"/>
                    <a:pt x="20341" y="2700"/>
                    <a:pt x="20341" y="2700"/>
                  </a:cubicBezTo>
                  <a:cubicBezTo>
                    <a:pt x="20341" y="2700"/>
                    <a:pt x="20275" y="2550"/>
                    <a:pt x="20275" y="2400"/>
                  </a:cubicBezTo>
                  <a:cubicBezTo>
                    <a:pt x="20209" y="2400"/>
                    <a:pt x="20209" y="2400"/>
                    <a:pt x="20209" y="2400"/>
                  </a:cubicBezTo>
                  <a:cubicBezTo>
                    <a:pt x="20076" y="1950"/>
                    <a:pt x="20076" y="1950"/>
                    <a:pt x="20076" y="1950"/>
                  </a:cubicBezTo>
                  <a:cubicBezTo>
                    <a:pt x="20076" y="1800"/>
                    <a:pt x="20076" y="1800"/>
                    <a:pt x="20076" y="1800"/>
                  </a:cubicBezTo>
                  <a:cubicBezTo>
                    <a:pt x="20142" y="1800"/>
                    <a:pt x="20142" y="1800"/>
                    <a:pt x="20142" y="1800"/>
                  </a:cubicBezTo>
                  <a:cubicBezTo>
                    <a:pt x="20474" y="2100"/>
                    <a:pt x="20474" y="2100"/>
                    <a:pt x="20474" y="2100"/>
                  </a:cubicBezTo>
                  <a:cubicBezTo>
                    <a:pt x="20672" y="2100"/>
                    <a:pt x="20672" y="2100"/>
                    <a:pt x="20672" y="2100"/>
                  </a:cubicBezTo>
                  <a:cubicBezTo>
                    <a:pt x="20672" y="1650"/>
                    <a:pt x="20672" y="1650"/>
                    <a:pt x="20672" y="1650"/>
                  </a:cubicBezTo>
                  <a:cubicBezTo>
                    <a:pt x="20474" y="1050"/>
                    <a:pt x="20474" y="1050"/>
                    <a:pt x="20474" y="1050"/>
                  </a:cubicBezTo>
                  <a:cubicBezTo>
                    <a:pt x="20407" y="600"/>
                    <a:pt x="20407" y="600"/>
                    <a:pt x="20407" y="600"/>
                  </a:cubicBezTo>
                  <a:cubicBezTo>
                    <a:pt x="20209" y="0"/>
                    <a:pt x="20209" y="0"/>
                    <a:pt x="20209" y="0"/>
                  </a:cubicBezTo>
                  <a:cubicBezTo>
                    <a:pt x="14444" y="2700"/>
                    <a:pt x="14444" y="2700"/>
                    <a:pt x="14444" y="2700"/>
                  </a:cubicBezTo>
                  <a:cubicBezTo>
                    <a:pt x="10270" y="4200"/>
                    <a:pt x="10270" y="4200"/>
                    <a:pt x="10270" y="4200"/>
                  </a:cubicBezTo>
                  <a:cubicBezTo>
                    <a:pt x="6228" y="5250"/>
                    <a:pt x="6228" y="5250"/>
                    <a:pt x="6228" y="5250"/>
                  </a:cubicBezTo>
                  <a:cubicBezTo>
                    <a:pt x="6228" y="7050"/>
                    <a:pt x="6228" y="7050"/>
                    <a:pt x="6228" y="7050"/>
                  </a:cubicBezTo>
                  <a:cubicBezTo>
                    <a:pt x="6162" y="7050"/>
                    <a:pt x="6162" y="7050"/>
                    <a:pt x="6162" y="7050"/>
                  </a:cubicBezTo>
                  <a:cubicBezTo>
                    <a:pt x="5897" y="7350"/>
                    <a:pt x="5897" y="7350"/>
                    <a:pt x="5897" y="7350"/>
                  </a:cubicBezTo>
                  <a:cubicBezTo>
                    <a:pt x="5698" y="8100"/>
                    <a:pt x="5698" y="8100"/>
                    <a:pt x="5698" y="8100"/>
                  </a:cubicBezTo>
                  <a:cubicBezTo>
                    <a:pt x="5632" y="8700"/>
                    <a:pt x="5632" y="8700"/>
                    <a:pt x="5632" y="8700"/>
                  </a:cubicBezTo>
                  <a:cubicBezTo>
                    <a:pt x="4903" y="9000"/>
                    <a:pt x="4903" y="9000"/>
                    <a:pt x="4903" y="9000"/>
                  </a:cubicBezTo>
                  <a:cubicBezTo>
                    <a:pt x="4572" y="9900"/>
                    <a:pt x="4572" y="9900"/>
                    <a:pt x="4572" y="9900"/>
                  </a:cubicBezTo>
                  <a:cubicBezTo>
                    <a:pt x="4307" y="10500"/>
                    <a:pt x="4307" y="10500"/>
                    <a:pt x="4307" y="10500"/>
                  </a:cubicBezTo>
                  <a:cubicBezTo>
                    <a:pt x="4108" y="9900"/>
                    <a:pt x="4108" y="9900"/>
                    <a:pt x="4108" y="9900"/>
                  </a:cubicBezTo>
                  <a:cubicBezTo>
                    <a:pt x="3909" y="9900"/>
                    <a:pt x="3909" y="9900"/>
                    <a:pt x="3909" y="9900"/>
                  </a:cubicBezTo>
                  <a:cubicBezTo>
                    <a:pt x="3644" y="10800"/>
                    <a:pt x="3644" y="10800"/>
                    <a:pt x="3644" y="10800"/>
                  </a:cubicBezTo>
                  <a:cubicBezTo>
                    <a:pt x="3512" y="11400"/>
                    <a:pt x="3512" y="11400"/>
                    <a:pt x="3512" y="11400"/>
                  </a:cubicBezTo>
                  <a:cubicBezTo>
                    <a:pt x="3180" y="11850"/>
                    <a:pt x="3180" y="11850"/>
                    <a:pt x="3180" y="11850"/>
                  </a:cubicBezTo>
                  <a:cubicBezTo>
                    <a:pt x="928" y="14850"/>
                    <a:pt x="928" y="14850"/>
                    <a:pt x="928" y="14850"/>
                  </a:cubicBezTo>
                  <a:cubicBezTo>
                    <a:pt x="729" y="15450"/>
                    <a:pt x="729" y="15450"/>
                    <a:pt x="729" y="15450"/>
                  </a:cubicBezTo>
                  <a:cubicBezTo>
                    <a:pt x="795" y="16050"/>
                    <a:pt x="795" y="16050"/>
                    <a:pt x="795" y="16050"/>
                  </a:cubicBezTo>
                  <a:cubicBezTo>
                    <a:pt x="530" y="16500"/>
                    <a:pt x="530" y="16500"/>
                    <a:pt x="530" y="16500"/>
                  </a:cubicBezTo>
                  <a:cubicBezTo>
                    <a:pt x="331" y="16500"/>
                    <a:pt x="331" y="16500"/>
                    <a:pt x="331" y="16500"/>
                  </a:cubicBezTo>
                  <a:cubicBezTo>
                    <a:pt x="66" y="17100"/>
                    <a:pt x="66" y="17100"/>
                    <a:pt x="66" y="17100"/>
                  </a:cubicBezTo>
                  <a:cubicBezTo>
                    <a:pt x="66" y="17550"/>
                    <a:pt x="66" y="17550"/>
                    <a:pt x="66" y="17550"/>
                  </a:cubicBezTo>
                  <a:cubicBezTo>
                    <a:pt x="0" y="18450"/>
                    <a:pt x="0" y="18450"/>
                    <a:pt x="0" y="18450"/>
                  </a:cubicBezTo>
                  <a:cubicBezTo>
                    <a:pt x="0" y="18600"/>
                    <a:pt x="0" y="18600"/>
                    <a:pt x="0" y="18600"/>
                  </a:cubicBezTo>
                  <a:cubicBezTo>
                    <a:pt x="0" y="18600"/>
                    <a:pt x="0" y="18600"/>
                    <a:pt x="0" y="18600"/>
                  </a:cubicBezTo>
                  <a:cubicBezTo>
                    <a:pt x="3710" y="17700"/>
                    <a:pt x="3710" y="17700"/>
                    <a:pt x="3710" y="17700"/>
                  </a:cubicBezTo>
                  <a:cubicBezTo>
                    <a:pt x="4837" y="15750"/>
                    <a:pt x="4837" y="15750"/>
                    <a:pt x="4837" y="15750"/>
                  </a:cubicBezTo>
                  <a:cubicBezTo>
                    <a:pt x="5499" y="15600"/>
                    <a:pt x="5499" y="15600"/>
                    <a:pt x="5499" y="15600"/>
                  </a:cubicBezTo>
                  <a:cubicBezTo>
                    <a:pt x="5963" y="15600"/>
                    <a:pt x="5963" y="15600"/>
                    <a:pt x="5963" y="15600"/>
                  </a:cubicBezTo>
                  <a:cubicBezTo>
                    <a:pt x="6758" y="15900"/>
                    <a:pt x="6758" y="15900"/>
                    <a:pt x="6758" y="15900"/>
                  </a:cubicBezTo>
                  <a:cubicBezTo>
                    <a:pt x="7156" y="15750"/>
                    <a:pt x="7156" y="15750"/>
                    <a:pt x="7156" y="15750"/>
                  </a:cubicBezTo>
                  <a:cubicBezTo>
                    <a:pt x="7355" y="15600"/>
                    <a:pt x="7355" y="15600"/>
                    <a:pt x="7355" y="15600"/>
                  </a:cubicBezTo>
                  <a:cubicBezTo>
                    <a:pt x="7686" y="15150"/>
                    <a:pt x="7686" y="15150"/>
                    <a:pt x="7686" y="15150"/>
                  </a:cubicBezTo>
                  <a:cubicBezTo>
                    <a:pt x="8150" y="15000"/>
                    <a:pt x="8150" y="15000"/>
                    <a:pt x="8150" y="15000"/>
                  </a:cubicBezTo>
                  <a:cubicBezTo>
                    <a:pt x="8746" y="15150"/>
                    <a:pt x="8746" y="15150"/>
                    <a:pt x="8746" y="15150"/>
                  </a:cubicBezTo>
                  <a:cubicBezTo>
                    <a:pt x="9144" y="15600"/>
                    <a:pt x="9144" y="15600"/>
                    <a:pt x="9144" y="15600"/>
                  </a:cubicBezTo>
                  <a:cubicBezTo>
                    <a:pt x="9409" y="17100"/>
                    <a:pt x="9409" y="17100"/>
                    <a:pt x="9409" y="17100"/>
                  </a:cubicBezTo>
                  <a:cubicBezTo>
                    <a:pt x="12059" y="15900"/>
                    <a:pt x="12059" y="15900"/>
                    <a:pt x="12059" y="15900"/>
                  </a:cubicBezTo>
                  <a:cubicBezTo>
                    <a:pt x="15504" y="21600"/>
                    <a:pt x="15504" y="21600"/>
                    <a:pt x="15504" y="21600"/>
                  </a:cubicBezTo>
                  <a:cubicBezTo>
                    <a:pt x="16101" y="21000"/>
                    <a:pt x="16101" y="21000"/>
                    <a:pt x="16101" y="21000"/>
                  </a:cubicBezTo>
                  <a:cubicBezTo>
                    <a:pt x="16233" y="21000"/>
                    <a:pt x="16233" y="21000"/>
                    <a:pt x="16233" y="21000"/>
                  </a:cubicBezTo>
                  <a:cubicBezTo>
                    <a:pt x="16829" y="20850"/>
                    <a:pt x="16829" y="20850"/>
                    <a:pt x="16829" y="20850"/>
                  </a:cubicBezTo>
                  <a:cubicBezTo>
                    <a:pt x="16962" y="20400"/>
                    <a:pt x="16962" y="20400"/>
                    <a:pt x="16962" y="20400"/>
                  </a:cubicBezTo>
                  <a:cubicBezTo>
                    <a:pt x="17161" y="19950"/>
                    <a:pt x="17161" y="19950"/>
                    <a:pt x="17161" y="19950"/>
                  </a:cubicBezTo>
                  <a:cubicBezTo>
                    <a:pt x="17227" y="18600"/>
                    <a:pt x="17227" y="18600"/>
                    <a:pt x="17227" y="18600"/>
                  </a:cubicBezTo>
                  <a:cubicBezTo>
                    <a:pt x="17426" y="17550"/>
                    <a:pt x="17426" y="17550"/>
                    <a:pt x="17426" y="17550"/>
                  </a:cubicBezTo>
                  <a:cubicBezTo>
                    <a:pt x="17691" y="16650"/>
                    <a:pt x="17691" y="16650"/>
                    <a:pt x="17691" y="16650"/>
                  </a:cubicBezTo>
                  <a:cubicBezTo>
                    <a:pt x="17956" y="16200"/>
                    <a:pt x="17956" y="16200"/>
                    <a:pt x="17956" y="16200"/>
                  </a:cubicBezTo>
                  <a:cubicBezTo>
                    <a:pt x="17956" y="15900"/>
                    <a:pt x="17956" y="15900"/>
                    <a:pt x="17956" y="15900"/>
                  </a:cubicBezTo>
                  <a:cubicBezTo>
                    <a:pt x="17890" y="15450"/>
                    <a:pt x="17890" y="15450"/>
                    <a:pt x="17890" y="15450"/>
                  </a:cubicBezTo>
                  <a:cubicBezTo>
                    <a:pt x="17823" y="15150"/>
                    <a:pt x="17823" y="15150"/>
                    <a:pt x="17823" y="15150"/>
                  </a:cubicBezTo>
                  <a:cubicBezTo>
                    <a:pt x="17890" y="15000"/>
                    <a:pt x="17890" y="15000"/>
                    <a:pt x="17890" y="15000"/>
                  </a:cubicBezTo>
                  <a:cubicBezTo>
                    <a:pt x="17890" y="14700"/>
                    <a:pt x="17890" y="14700"/>
                    <a:pt x="17890" y="14700"/>
                  </a:cubicBezTo>
                  <a:cubicBezTo>
                    <a:pt x="17956" y="14550"/>
                    <a:pt x="17956" y="14550"/>
                    <a:pt x="17956" y="14550"/>
                  </a:cubicBezTo>
                  <a:cubicBezTo>
                    <a:pt x="18022" y="14550"/>
                    <a:pt x="18022" y="14550"/>
                    <a:pt x="18022" y="14550"/>
                  </a:cubicBezTo>
                  <a:cubicBezTo>
                    <a:pt x="18088" y="14700"/>
                    <a:pt x="18088" y="14700"/>
                    <a:pt x="18088" y="14700"/>
                  </a:cubicBezTo>
                  <a:cubicBezTo>
                    <a:pt x="18155" y="15300"/>
                    <a:pt x="18155" y="15300"/>
                    <a:pt x="18155" y="15300"/>
                  </a:cubicBezTo>
                  <a:cubicBezTo>
                    <a:pt x="18420" y="15000"/>
                    <a:pt x="18420" y="15000"/>
                    <a:pt x="18420" y="15000"/>
                  </a:cubicBezTo>
                  <a:cubicBezTo>
                    <a:pt x="18618" y="14850"/>
                    <a:pt x="18618" y="14850"/>
                    <a:pt x="18618" y="14850"/>
                  </a:cubicBezTo>
                  <a:cubicBezTo>
                    <a:pt x="18618" y="14550"/>
                    <a:pt x="18618" y="14550"/>
                    <a:pt x="18618" y="14550"/>
                  </a:cubicBezTo>
                  <a:cubicBezTo>
                    <a:pt x="18618" y="14250"/>
                    <a:pt x="18618" y="14250"/>
                    <a:pt x="18618" y="14250"/>
                  </a:cubicBezTo>
                  <a:cubicBezTo>
                    <a:pt x="18751" y="14100"/>
                    <a:pt x="18751" y="14100"/>
                    <a:pt x="18751" y="14100"/>
                  </a:cubicBezTo>
                  <a:cubicBezTo>
                    <a:pt x="18751" y="13950"/>
                    <a:pt x="18751" y="13950"/>
                    <a:pt x="18751" y="13950"/>
                  </a:cubicBezTo>
                  <a:cubicBezTo>
                    <a:pt x="18883" y="14250"/>
                    <a:pt x="18883" y="14250"/>
                    <a:pt x="18883" y="14250"/>
                  </a:cubicBezTo>
                  <a:cubicBezTo>
                    <a:pt x="19215" y="13950"/>
                    <a:pt x="19215" y="13950"/>
                    <a:pt x="19215" y="13950"/>
                  </a:cubicBezTo>
                  <a:cubicBezTo>
                    <a:pt x="19480" y="13650"/>
                    <a:pt x="19480" y="13650"/>
                    <a:pt x="19480" y="13650"/>
                  </a:cubicBezTo>
                  <a:cubicBezTo>
                    <a:pt x="19612" y="13650"/>
                    <a:pt x="19612" y="13650"/>
                    <a:pt x="19612" y="13650"/>
                  </a:cubicBezTo>
                  <a:cubicBezTo>
                    <a:pt x="19811" y="13350"/>
                    <a:pt x="19811" y="13350"/>
                    <a:pt x="19811" y="13350"/>
                  </a:cubicBezTo>
                  <a:cubicBezTo>
                    <a:pt x="19944" y="13200"/>
                    <a:pt x="19944" y="13200"/>
                    <a:pt x="19944" y="13200"/>
                  </a:cubicBezTo>
                  <a:cubicBezTo>
                    <a:pt x="19944" y="13050"/>
                    <a:pt x="19944" y="13050"/>
                    <a:pt x="19944" y="13050"/>
                  </a:cubicBezTo>
                  <a:cubicBezTo>
                    <a:pt x="20209" y="13500"/>
                    <a:pt x="20209" y="13500"/>
                    <a:pt x="20209" y="13500"/>
                  </a:cubicBezTo>
                  <a:cubicBezTo>
                    <a:pt x="20341" y="12900"/>
                    <a:pt x="20341" y="12900"/>
                    <a:pt x="20341" y="12900"/>
                  </a:cubicBezTo>
                  <a:cubicBezTo>
                    <a:pt x="20407" y="12150"/>
                    <a:pt x="20407" y="12150"/>
                    <a:pt x="20407" y="12150"/>
                  </a:cubicBezTo>
                  <a:cubicBezTo>
                    <a:pt x="20474" y="11850"/>
                    <a:pt x="20474" y="11850"/>
                    <a:pt x="20474" y="11850"/>
                  </a:cubicBezTo>
                  <a:cubicBezTo>
                    <a:pt x="20540" y="11550"/>
                    <a:pt x="20540" y="11550"/>
                    <a:pt x="20540" y="11550"/>
                  </a:cubicBezTo>
                  <a:cubicBezTo>
                    <a:pt x="20540" y="11550"/>
                    <a:pt x="20474" y="11100"/>
                    <a:pt x="20407" y="11250"/>
                  </a:cubicBezTo>
                  <a:cubicBezTo>
                    <a:pt x="20341" y="11250"/>
                    <a:pt x="20142" y="11400"/>
                    <a:pt x="20142" y="11400"/>
                  </a:cubicBezTo>
                  <a:cubicBezTo>
                    <a:pt x="20076" y="11700"/>
                    <a:pt x="20076" y="11700"/>
                    <a:pt x="20076" y="11700"/>
                  </a:cubicBezTo>
                  <a:cubicBezTo>
                    <a:pt x="19944" y="11700"/>
                    <a:pt x="19944" y="11700"/>
                    <a:pt x="19944" y="11700"/>
                  </a:cubicBezTo>
                  <a:cubicBezTo>
                    <a:pt x="19811" y="12000"/>
                    <a:pt x="19811" y="12000"/>
                    <a:pt x="19811" y="12000"/>
                  </a:cubicBezTo>
                  <a:cubicBezTo>
                    <a:pt x="19480" y="12450"/>
                    <a:pt x="19480" y="12450"/>
                    <a:pt x="19480" y="12450"/>
                  </a:cubicBezTo>
                  <a:cubicBezTo>
                    <a:pt x="19281" y="12450"/>
                    <a:pt x="19281" y="12450"/>
                    <a:pt x="19281" y="12450"/>
                  </a:cubicBezTo>
                  <a:cubicBezTo>
                    <a:pt x="18751" y="12150"/>
                    <a:pt x="18751" y="12150"/>
                    <a:pt x="18751" y="12150"/>
                  </a:cubicBezTo>
                  <a:cubicBezTo>
                    <a:pt x="18751" y="11850"/>
                    <a:pt x="18751" y="11850"/>
                    <a:pt x="18751" y="11850"/>
                  </a:cubicBezTo>
                  <a:cubicBezTo>
                    <a:pt x="18751" y="11550"/>
                    <a:pt x="18751" y="11550"/>
                    <a:pt x="18751" y="11550"/>
                  </a:cubicBezTo>
                  <a:cubicBezTo>
                    <a:pt x="18817" y="11400"/>
                    <a:pt x="18817" y="11400"/>
                    <a:pt x="18817" y="11400"/>
                  </a:cubicBezTo>
                  <a:cubicBezTo>
                    <a:pt x="18950" y="11400"/>
                    <a:pt x="18950" y="11400"/>
                    <a:pt x="18950" y="11400"/>
                  </a:cubicBezTo>
                  <a:cubicBezTo>
                    <a:pt x="19082" y="11550"/>
                    <a:pt x="19082" y="11550"/>
                    <a:pt x="19082" y="11550"/>
                  </a:cubicBezTo>
                  <a:cubicBezTo>
                    <a:pt x="19413" y="11550"/>
                    <a:pt x="19413" y="11550"/>
                    <a:pt x="19413" y="11550"/>
                  </a:cubicBezTo>
                  <a:cubicBezTo>
                    <a:pt x="19612" y="11250"/>
                    <a:pt x="19612" y="11250"/>
                    <a:pt x="19612" y="11250"/>
                  </a:cubicBezTo>
                  <a:cubicBezTo>
                    <a:pt x="19612" y="10950"/>
                    <a:pt x="19612" y="10950"/>
                    <a:pt x="19612" y="10950"/>
                  </a:cubicBezTo>
                  <a:cubicBezTo>
                    <a:pt x="19546" y="10650"/>
                    <a:pt x="19546" y="10650"/>
                    <a:pt x="19546" y="10650"/>
                  </a:cubicBezTo>
                  <a:cubicBezTo>
                    <a:pt x="19612" y="10200"/>
                    <a:pt x="19612" y="10200"/>
                    <a:pt x="19612" y="10200"/>
                  </a:cubicBezTo>
                  <a:cubicBezTo>
                    <a:pt x="19679" y="10200"/>
                    <a:pt x="19679" y="10200"/>
                    <a:pt x="19679" y="10200"/>
                  </a:cubicBezTo>
                  <a:cubicBezTo>
                    <a:pt x="19811" y="9900"/>
                    <a:pt x="19811" y="9900"/>
                    <a:pt x="19811" y="9900"/>
                  </a:cubicBezTo>
                  <a:cubicBezTo>
                    <a:pt x="19811" y="9600"/>
                    <a:pt x="19811" y="9600"/>
                    <a:pt x="19811" y="9600"/>
                  </a:cubicBezTo>
                  <a:cubicBezTo>
                    <a:pt x="19612" y="9600"/>
                    <a:pt x="19612" y="9600"/>
                    <a:pt x="19612" y="9600"/>
                  </a:cubicBezTo>
                  <a:cubicBezTo>
                    <a:pt x="19215" y="9150"/>
                    <a:pt x="19215" y="9150"/>
                    <a:pt x="19215" y="9150"/>
                  </a:cubicBezTo>
                  <a:cubicBezTo>
                    <a:pt x="18751" y="9000"/>
                    <a:pt x="18751" y="9000"/>
                    <a:pt x="18751" y="9000"/>
                  </a:cubicBezTo>
                  <a:cubicBezTo>
                    <a:pt x="18552" y="8700"/>
                    <a:pt x="18552" y="8700"/>
                    <a:pt x="18552" y="8700"/>
                  </a:cubicBezTo>
                  <a:cubicBezTo>
                    <a:pt x="18552" y="8550"/>
                    <a:pt x="18552" y="8550"/>
                    <a:pt x="18552" y="8550"/>
                  </a:cubicBezTo>
                  <a:cubicBezTo>
                    <a:pt x="18817" y="8550"/>
                    <a:pt x="18817" y="8550"/>
                    <a:pt x="18817" y="8550"/>
                  </a:cubicBezTo>
                  <a:cubicBezTo>
                    <a:pt x="19215" y="8550"/>
                    <a:pt x="19215" y="8550"/>
                    <a:pt x="19215" y="8550"/>
                  </a:cubicBezTo>
                  <a:cubicBezTo>
                    <a:pt x="19480" y="8850"/>
                    <a:pt x="19480" y="8850"/>
                    <a:pt x="19480" y="8850"/>
                  </a:cubicBezTo>
                  <a:cubicBezTo>
                    <a:pt x="19546" y="8550"/>
                    <a:pt x="19546" y="8550"/>
                    <a:pt x="19546" y="8550"/>
                  </a:cubicBezTo>
                  <a:cubicBezTo>
                    <a:pt x="19480" y="8250"/>
                    <a:pt x="19480" y="8250"/>
                    <a:pt x="19480" y="8250"/>
                  </a:cubicBezTo>
                  <a:cubicBezTo>
                    <a:pt x="19413" y="8100"/>
                    <a:pt x="19413" y="8100"/>
                    <a:pt x="19413" y="8100"/>
                  </a:cubicBezTo>
                  <a:cubicBezTo>
                    <a:pt x="19347" y="7800"/>
                    <a:pt x="19347" y="7800"/>
                    <a:pt x="19347" y="7800"/>
                  </a:cubicBezTo>
                  <a:cubicBezTo>
                    <a:pt x="19480" y="7650"/>
                    <a:pt x="19480" y="7650"/>
                    <a:pt x="19480" y="7650"/>
                  </a:cubicBezTo>
                  <a:cubicBezTo>
                    <a:pt x="19679" y="7650"/>
                    <a:pt x="19679" y="7650"/>
                    <a:pt x="19679" y="7650"/>
                  </a:cubicBezTo>
                  <a:cubicBezTo>
                    <a:pt x="19745" y="8400"/>
                    <a:pt x="19745" y="8400"/>
                    <a:pt x="19745" y="8400"/>
                  </a:cubicBezTo>
                  <a:cubicBezTo>
                    <a:pt x="19877" y="8700"/>
                    <a:pt x="19877" y="8700"/>
                    <a:pt x="19877" y="8700"/>
                  </a:cubicBezTo>
                  <a:cubicBezTo>
                    <a:pt x="20076" y="8700"/>
                    <a:pt x="20076" y="8700"/>
                    <a:pt x="20076" y="8700"/>
                  </a:cubicBezTo>
                  <a:cubicBezTo>
                    <a:pt x="20142" y="8550"/>
                    <a:pt x="20142" y="8550"/>
                    <a:pt x="20142" y="8550"/>
                  </a:cubicBezTo>
                  <a:cubicBezTo>
                    <a:pt x="20275" y="8700"/>
                    <a:pt x="20275" y="8700"/>
                    <a:pt x="20275" y="8700"/>
                  </a:cubicBezTo>
                  <a:cubicBezTo>
                    <a:pt x="20540" y="8700"/>
                    <a:pt x="20540" y="8700"/>
                    <a:pt x="20540" y="8700"/>
                  </a:cubicBezTo>
                  <a:cubicBezTo>
                    <a:pt x="20937" y="8700"/>
                    <a:pt x="20937" y="8700"/>
                    <a:pt x="20937" y="8700"/>
                  </a:cubicBezTo>
                  <a:cubicBezTo>
                    <a:pt x="21004" y="8550"/>
                    <a:pt x="21004" y="8550"/>
                    <a:pt x="21004" y="8550"/>
                  </a:cubicBezTo>
                  <a:cubicBezTo>
                    <a:pt x="21004" y="7950"/>
                    <a:pt x="21004" y="7950"/>
                    <a:pt x="21004" y="7950"/>
                  </a:cubicBezTo>
                  <a:cubicBezTo>
                    <a:pt x="21070" y="7650"/>
                    <a:pt x="21070" y="7650"/>
                    <a:pt x="21070" y="7650"/>
                  </a:cubicBezTo>
                  <a:cubicBezTo>
                    <a:pt x="21136" y="7200"/>
                    <a:pt x="21136" y="7200"/>
                    <a:pt x="21136" y="7200"/>
                  </a:cubicBezTo>
                  <a:cubicBezTo>
                    <a:pt x="21136" y="6900"/>
                    <a:pt x="21136" y="6900"/>
                    <a:pt x="21136" y="6900"/>
                  </a:cubicBezTo>
                  <a:cubicBezTo>
                    <a:pt x="21202" y="6300"/>
                    <a:pt x="21202" y="6300"/>
                    <a:pt x="21202" y="6300"/>
                  </a:cubicBezTo>
                  <a:cubicBezTo>
                    <a:pt x="21335" y="6300"/>
                    <a:pt x="21335" y="6300"/>
                    <a:pt x="21335" y="6300"/>
                  </a:cubicBezTo>
                  <a:cubicBezTo>
                    <a:pt x="21401" y="6600"/>
                    <a:pt x="21401" y="6600"/>
                    <a:pt x="21401" y="6600"/>
                  </a:cubicBezTo>
                  <a:cubicBezTo>
                    <a:pt x="21534" y="6300"/>
                    <a:pt x="21534" y="6300"/>
                    <a:pt x="21534" y="6300"/>
                  </a:cubicBezTo>
                  <a:cubicBezTo>
                    <a:pt x="21534" y="5850"/>
                    <a:pt x="21534" y="5850"/>
                    <a:pt x="21534" y="5850"/>
                  </a:cubicBezTo>
                  <a:cubicBezTo>
                    <a:pt x="21600" y="5550"/>
                    <a:pt x="21600" y="5550"/>
                    <a:pt x="21600" y="5550"/>
                  </a:cubicBezTo>
                  <a:lnTo>
                    <a:pt x="21467" y="51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 name="Shape 2313">
              <a:extLst>
                <a:ext uri="{FF2B5EF4-FFF2-40B4-BE49-F238E27FC236}">
                  <a16:creationId xmlns:a16="http://schemas.microsoft.com/office/drawing/2014/main" id="{B61989C7-9DC8-D9BB-7B15-90739677EE1E}"/>
                </a:ext>
              </a:extLst>
            </p:cNvPr>
            <p:cNvSpPr/>
            <p:nvPr/>
          </p:nvSpPr>
          <p:spPr>
            <a:xfrm>
              <a:off x="7219111" y="3785492"/>
              <a:ext cx="977762" cy="1052808"/>
            </a:xfrm>
            <a:custGeom>
              <a:avLst/>
              <a:gdLst/>
              <a:ahLst/>
              <a:cxnLst>
                <a:cxn ang="0">
                  <a:pos x="wd2" y="hd2"/>
                </a:cxn>
                <a:cxn ang="5400000">
                  <a:pos x="wd2" y="hd2"/>
                </a:cxn>
                <a:cxn ang="10800000">
                  <a:pos x="wd2" y="hd2"/>
                </a:cxn>
                <a:cxn ang="16200000">
                  <a:pos x="wd2" y="hd2"/>
                </a:cxn>
              </a:cxnLst>
              <a:rect l="0" t="0" r="r" b="b"/>
              <a:pathLst>
                <a:path w="21600" h="21600" extrusionOk="0">
                  <a:moveTo>
                    <a:pt x="21278" y="12800"/>
                  </a:moveTo>
                  <a:cubicBezTo>
                    <a:pt x="21063" y="12700"/>
                    <a:pt x="21063" y="12700"/>
                    <a:pt x="21063" y="12700"/>
                  </a:cubicBezTo>
                  <a:cubicBezTo>
                    <a:pt x="20955" y="12400"/>
                    <a:pt x="20955" y="12400"/>
                    <a:pt x="20955" y="12400"/>
                  </a:cubicBezTo>
                  <a:cubicBezTo>
                    <a:pt x="20955" y="12000"/>
                    <a:pt x="20955" y="12000"/>
                    <a:pt x="20955" y="12000"/>
                  </a:cubicBezTo>
                  <a:cubicBezTo>
                    <a:pt x="20955" y="11900"/>
                    <a:pt x="20955" y="11900"/>
                    <a:pt x="20955" y="11900"/>
                  </a:cubicBezTo>
                  <a:cubicBezTo>
                    <a:pt x="20525" y="11500"/>
                    <a:pt x="20525" y="11500"/>
                    <a:pt x="20525" y="11500"/>
                  </a:cubicBezTo>
                  <a:cubicBezTo>
                    <a:pt x="20418" y="11200"/>
                    <a:pt x="20418" y="11200"/>
                    <a:pt x="20418" y="11200"/>
                  </a:cubicBezTo>
                  <a:cubicBezTo>
                    <a:pt x="20418" y="11000"/>
                    <a:pt x="20418" y="11000"/>
                    <a:pt x="20418" y="11000"/>
                  </a:cubicBezTo>
                  <a:cubicBezTo>
                    <a:pt x="20418" y="10900"/>
                    <a:pt x="20418" y="10900"/>
                    <a:pt x="20418" y="10900"/>
                  </a:cubicBezTo>
                  <a:cubicBezTo>
                    <a:pt x="20096" y="10700"/>
                    <a:pt x="20096" y="10700"/>
                    <a:pt x="20096" y="10700"/>
                  </a:cubicBezTo>
                  <a:cubicBezTo>
                    <a:pt x="19773" y="10600"/>
                    <a:pt x="19773" y="10600"/>
                    <a:pt x="19773" y="10600"/>
                  </a:cubicBezTo>
                  <a:cubicBezTo>
                    <a:pt x="19666" y="10600"/>
                    <a:pt x="19666" y="10600"/>
                    <a:pt x="19666" y="10600"/>
                  </a:cubicBezTo>
                  <a:cubicBezTo>
                    <a:pt x="19558" y="10400"/>
                    <a:pt x="19558" y="10400"/>
                    <a:pt x="19558" y="10400"/>
                  </a:cubicBezTo>
                  <a:cubicBezTo>
                    <a:pt x="19451" y="10100"/>
                    <a:pt x="19451" y="10100"/>
                    <a:pt x="19451" y="10100"/>
                  </a:cubicBezTo>
                  <a:cubicBezTo>
                    <a:pt x="19451" y="9900"/>
                    <a:pt x="19451" y="9900"/>
                    <a:pt x="19451" y="9900"/>
                  </a:cubicBezTo>
                  <a:cubicBezTo>
                    <a:pt x="19236" y="9600"/>
                    <a:pt x="19236" y="9600"/>
                    <a:pt x="19236" y="9600"/>
                  </a:cubicBezTo>
                  <a:cubicBezTo>
                    <a:pt x="18913" y="9100"/>
                    <a:pt x="18913" y="9100"/>
                    <a:pt x="18913" y="9100"/>
                  </a:cubicBezTo>
                  <a:cubicBezTo>
                    <a:pt x="18699" y="8900"/>
                    <a:pt x="18699" y="8900"/>
                    <a:pt x="18699" y="8900"/>
                  </a:cubicBezTo>
                  <a:cubicBezTo>
                    <a:pt x="18376" y="8700"/>
                    <a:pt x="18376" y="8700"/>
                    <a:pt x="18376" y="8700"/>
                  </a:cubicBezTo>
                  <a:cubicBezTo>
                    <a:pt x="18054" y="8400"/>
                    <a:pt x="18054" y="8400"/>
                    <a:pt x="18054" y="8400"/>
                  </a:cubicBezTo>
                  <a:cubicBezTo>
                    <a:pt x="17731" y="8100"/>
                    <a:pt x="17731" y="8100"/>
                    <a:pt x="17731" y="8100"/>
                  </a:cubicBezTo>
                  <a:cubicBezTo>
                    <a:pt x="16979" y="7800"/>
                    <a:pt x="16979" y="7800"/>
                    <a:pt x="16979" y="7800"/>
                  </a:cubicBezTo>
                  <a:cubicBezTo>
                    <a:pt x="16442" y="7100"/>
                    <a:pt x="16442" y="7100"/>
                    <a:pt x="16442" y="7100"/>
                  </a:cubicBezTo>
                  <a:cubicBezTo>
                    <a:pt x="15797" y="6300"/>
                    <a:pt x="15797" y="6300"/>
                    <a:pt x="15797" y="6300"/>
                  </a:cubicBezTo>
                  <a:cubicBezTo>
                    <a:pt x="15260" y="5900"/>
                    <a:pt x="15260" y="5900"/>
                    <a:pt x="15260" y="5900"/>
                  </a:cubicBezTo>
                  <a:cubicBezTo>
                    <a:pt x="13540" y="4600"/>
                    <a:pt x="13540" y="4600"/>
                    <a:pt x="13540" y="4600"/>
                  </a:cubicBezTo>
                  <a:cubicBezTo>
                    <a:pt x="13003" y="4000"/>
                    <a:pt x="13003" y="4000"/>
                    <a:pt x="13003" y="4000"/>
                  </a:cubicBezTo>
                  <a:cubicBezTo>
                    <a:pt x="12466" y="3500"/>
                    <a:pt x="12466" y="3500"/>
                    <a:pt x="12466" y="3500"/>
                  </a:cubicBezTo>
                  <a:cubicBezTo>
                    <a:pt x="12251" y="3100"/>
                    <a:pt x="12251" y="3100"/>
                    <a:pt x="12251" y="3100"/>
                  </a:cubicBezTo>
                  <a:cubicBezTo>
                    <a:pt x="11928" y="2700"/>
                    <a:pt x="11928" y="2700"/>
                    <a:pt x="11928" y="2700"/>
                  </a:cubicBezTo>
                  <a:cubicBezTo>
                    <a:pt x="11606" y="2400"/>
                    <a:pt x="11606" y="2400"/>
                    <a:pt x="11606" y="2400"/>
                  </a:cubicBezTo>
                  <a:cubicBezTo>
                    <a:pt x="10316" y="1900"/>
                    <a:pt x="10316" y="1900"/>
                    <a:pt x="10316" y="1900"/>
                  </a:cubicBezTo>
                  <a:cubicBezTo>
                    <a:pt x="10101" y="1600"/>
                    <a:pt x="10101" y="1600"/>
                    <a:pt x="10101" y="1600"/>
                  </a:cubicBezTo>
                  <a:cubicBezTo>
                    <a:pt x="9887" y="1400"/>
                    <a:pt x="9887" y="1400"/>
                    <a:pt x="9887" y="1400"/>
                  </a:cubicBezTo>
                  <a:cubicBezTo>
                    <a:pt x="9887" y="1100"/>
                    <a:pt x="9887" y="1100"/>
                    <a:pt x="9887" y="1100"/>
                  </a:cubicBezTo>
                  <a:cubicBezTo>
                    <a:pt x="10424" y="800"/>
                    <a:pt x="10424" y="800"/>
                    <a:pt x="10424" y="800"/>
                  </a:cubicBezTo>
                  <a:cubicBezTo>
                    <a:pt x="10854" y="500"/>
                    <a:pt x="10854" y="500"/>
                    <a:pt x="10854" y="500"/>
                  </a:cubicBezTo>
                  <a:cubicBezTo>
                    <a:pt x="11069" y="400"/>
                    <a:pt x="11069" y="400"/>
                    <a:pt x="11069" y="400"/>
                  </a:cubicBezTo>
                  <a:cubicBezTo>
                    <a:pt x="11069" y="200"/>
                    <a:pt x="11069" y="200"/>
                    <a:pt x="11069" y="200"/>
                  </a:cubicBezTo>
                  <a:cubicBezTo>
                    <a:pt x="11176" y="0"/>
                    <a:pt x="11176" y="0"/>
                    <a:pt x="11176" y="0"/>
                  </a:cubicBezTo>
                  <a:cubicBezTo>
                    <a:pt x="11176" y="0"/>
                    <a:pt x="11176" y="0"/>
                    <a:pt x="11176" y="0"/>
                  </a:cubicBezTo>
                  <a:cubicBezTo>
                    <a:pt x="5158" y="600"/>
                    <a:pt x="5158" y="600"/>
                    <a:pt x="5158" y="600"/>
                  </a:cubicBezTo>
                  <a:cubicBezTo>
                    <a:pt x="5158" y="600"/>
                    <a:pt x="5158" y="600"/>
                    <a:pt x="5158" y="600"/>
                  </a:cubicBezTo>
                  <a:cubicBezTo>
                    <a:pt x="0" y="1000"/>
                    <a:pt x="0" y="1000"/>
                    <a:pt x="0" y="1000"/>
                  </a:cubicBezTo>
                  <a:cubicBezTo>
                    <a:pt x="322" y="2400"/>
                    <a:pt x="322" y="2400"/>
                    <a:pt x="322" y="2400"/>
                  </a:cubicBezTo>
                  <a:cubicBezTo>
                    <a:pt x="1182" y="5800"/>
                    <a:pt x="1182" y="5800"/>
                    <a:pt x="1182" y="5800"/>
                  </a:cubicBezTo>
                  <a:cubicBezTo>
                    <a:pt x="2472" y="9800"/>
                    <a:pt x="2472" y="9800"/>
                    <a:pt x="2472" y="9800"/>
                  </a:cubicBezTo>
                  <a:cubicBezTo>
                    <a:pt x="2687" y="10700"/>
                    <a:pt x="2687" y="10700"/>
                    <a:pt x="2687" y="10700"/>
                  </a:cubicBezTo>
                  <a:cubicBezTo>
                    <a:pt x="3546" y="12200"/>
                    <a:pt x="3546" y="12200"/>
                    <a:pt x="3546" y="12200"/>
                  </a:cubicBezTo>
                  <a:cubicBezTo>
                    <a:pt x="4084" y="12800"/>
                    <a:pt x="4084" y="12800"/>
                    <a:pt x="4084" y="12800"/>
                  </a:cubicBezTo>
                  <a:cubicBezTo>
                    <a:pt x="4084" y="13200"/>
                    <a:pt x="4084" y="13200"/>
                    <a:pt x="4084" y="13200"/>
                  </a:cubicBezTo>
                  <a:cubicBezTo>
                    <a:pt x="4191" y="13700"/>
                    <a:pt x="4191" y="13700"/>
                    <a:pt x="4191" y="13700"/>
                  </a:cubicBezTo>
                  <a:cubicBezTo>
                    <a:pt x="4513" y="13900"/>
                    <a:pt x="4513" y="13900"/>
                    <a:pt x="4513" y="13900"/>
                  </a:cubicBezTo>
                  <a:cubicBezTo>
                    <a:pt x="4299" y="14400"/>
                    <a:pt x="4299" y="14400"/>
                    <a:pt x="4299" y="14400"/>
                  </a:cubicBezTo>
                  <a:cubicBezTo>
                    <a:pt x="3761" y="14700"/>
                    <a:pt x="3761" y="14700"/>
                    <a:pt x="3761" y="14700"/>
                  </a:cubicBezTo>
                  <a:cubicBezTo>
                    <a:pt x="4191" y="15000"/>
                    <a:pt x="4191" y="15000"/>
                    <a:pt x="4191" y="15000"/>
                  </a:cubicBezTo>
                  <a:cubicBezTo>
                    <a:pt x="4084" y="15500"/>
                    <a:pt x="4084" y="15500"/>
                    <a:pt x="4084" y="15500"/>
                  </a:cubicBezTo>
                  <a:cubicBezTo>
                    <a:pt x="3761" y="15700"/>
                    <a:pt x="3761" y="15700"/>
                    <a:pt x="3761" y="15700"/>
                  </a:cubicBezTo>
                  <a:cubicBezTo>
                    <a:pt x="3761" y="16300"/>
                    <a:pt x="3761" y="16300"/>
                    <a:pt x="3761" y="16300"/>
                  </a:cubicBezTo>
                  <a:cubicBezTo>
                    <a:pt x="3976" y="17200"/>
                    <a:pt x="3976" y="17200"/>
                    <a:pt x="3976" y="17200"/>
                  </a:cubicBezTo>
                  <a:cubicBezTo>
                    <a:pt x="4191" y="17600"/>
                    <a:pt x="4191" y="17600"/>
                    <a:pt x="4191" y="17600"/>
                  </a:cubicBezTo>
                  <a:cubicBezTo>
                    <a:pt x="4299" y="18200"/>
                    <a:pt x="4299" y="18200"/>
                    <a:pt x="4299" y="18200"/>
                  </a:cubicBezTo>
                  <a:cubicBezTo>
                    <a:pt x="4084" y="18400"/>
                    <a:pt x="4084" y="18400"/>
                    <a:pt x="4084" y="18400"/>
                  </a:cubicBezTo>
                  <a:cubicBezTo>
                    <a:pt x="3976" y="18600"/>
                    <a:pt x="3976" y="18600"/>
                    <a:pt x="3976" y="18600"/>
                  </a:cubicBezTo>
                  <a:cubicBezTo>
                    <a:pt x="4191" y="19000"/>
                    <a:pt x="4191" y="19000"/>
                    <a:pt x="4191" y="19000"/>
                  </a:cubicBezTo>
                  <a:cubicBezTo>
                    <a:pt x="4406" y="19300"/>
                    <a:pt x="4406" y="19300"/>
                    <a:pt x="4406" y="19300"/>
                  </a:cubicBezTo>
                  <a:cubicBezTo>
                    <a:pt x="4836" y="19900"/>
                    <a:pt x="4836" y="19900"/>
                    <a:pt x="4836" y="19900"/>
                  </a:cubicBezTo>
                  <a:cubicBezTo>
                    <a:pt x="4943" y="20100"/>
                    <a:pt x="4943" y="20100"/>
                    <a:pt x="4943" y="20100"/>
                  </a:cubicBezTo>
                  <a:cubicBezTo>
                    <a:pt x="5588" y="21300"/>
                    <a:pt x="5588" y="21300"/>
                    <a:pt x="5588" y="21300"/>
                  </a:cubicBezTo>
                  <a:cubicBezTo>
                    <a:pt x="17194" y="20700"/>
                    <a:pt x="17194" y="20700"/>
                    <a:pt x="17194" y="20700"/>
                  </a:cubicBezTo>
                  <a:cubicBezTo>
                    <a:pt x="17301" y="21600"/>
                    <a:pt x="17301" y="21600"/>
                    <a:pt x="17301" y="21600"/>
                  </a:cubicBezTo>
                  <a:cubicBezTo>
                    <a:pt x="18161" y="21600"/>
                    <a:pt x="18161" y="21600"/>
                    <a:pt x="18161" y="21600"/>
                  </a:cubicBezTo>
                  <a:cubicBezTo>
                    <a:pt x="17839" y="19300"/>
                    <a:pt x="17839" y="19300"/>
                    <a:pt x="17839" y="19300"/>
                  </a:cubicBezTo>
                  <a:cubicBezTo>
                    <a:pt x="17839" y="19300"/>
                    <a:pt x="17839" y="19300"/>
                    <a:pt x="17839" y="19300"/>
                  </a:cubicBezTo>
                  <a:cubicBezTo>
                    <a:pt x="18591" y="19400"/>
                    <a:pt x="18591" y="19400"/>
                    <a:pt x="18591" y="19400"/>
                  </a:cubicBezTo>
                  <a:cubicBezTo>
                    <a:pt x="19666" y="19600"/>
                    <a:pt x="19666" y="19600"/>
                    <a:pt x="19666" y="19600"/>
                  </a:cubicBezTo>
                  <a:cubicBezTo>
                    <a:pt x="19773" y="19300"/>
                    <a:pt x="19773" y="19300"/>
                    <a:pt x="19773" y="19300"/>
                  </a:cubicBezTo>
                  <a:cubicBezTo>
                    <a:pt x="19773" y="19300"/>
                    <a:pt x="19881" y="18900"/>
                    <a:pt x="19881" y="18900"/>
                  </a:cubicBezTo>
                  <a:cubicBezTo>
                    <a:pt x="19881" y="18800"/>
                    <a:pt x="19773" y="18800"/>
                    <a:pt x="19773" y="18800"/>
                  </a:cubicBezTo>
                  <a:cubicBezTo>
                    <a:pt x="19773" y="18800"/>
                    <a:pt x="19666" y="18700"/>
                    <a:pt x="19558" y="18700"/>
                  </a:cubicBezTo>
                  <a:cubicBezTo>
                    <a:pt x="19451" y="18600"/>
                    <a:pt x="19451" y="18500"/>
                    <a:pt x="19343" y="18400"/>
                  </a:cubicBezTo>
                  <a:cubicBezTo>
                    <a:pt x="19236" y="18300"/>
                    <a:pt x="19343" y="18300"/>
                    <a:pt x="19343" y="18300"/>
                  </a:cubicBezTo>
                  <a:cubicBezTo>
                    <a:pt x="19558" y="18300"/>
                    <a:pt x="19558" y="18300"/>
                    <a:pt x="19558" y="18300"/>
                  </a:cubicBezTo>
                  <a:cubicBezTo>
                    <a:pt x="19881" y="18300"/>
                    <a:pt x="19881" y="18300"/>
                    <a:pt x="19881" y="18300"/>
                  </a:cubicBezTo>
                  <a:cubicBezTo>
                    <a:pt x="19881" y="18300"/>
                    <a:pt x="19773" y="18100"/>
                    <a:pt x="19773" y="17900"/>
                  </a:cubicBezTo>
                  <a:cubicBezTo>
                    <a:pt x="19666" y="17700"/>
                    <a:pt x="19666" y="17700"/>
                    <a:pt x="19666" y="17700"/>
                  </a:cubicBezTo>
                  <a:cubicBezTo>
                    <a:pt x="19988" y="17600"/>
                    <a:pt x="19988" y="17600"/>
                    <a:pt x="19988" y="17600"/>
                  </a:cubicBezTo>
                  <a:cubicBezTo>
                    <a:pt x="20203" y="17400"/>
                    <a:pt x="20203" y="17400"/>
                    <a:pt x="20203" y="17400"/>
                  </a:cubicBezTo>
                  <a:cubicBezTo>
                    <a:pt x="20418" y="16900"/>
                    <a:pt x="20418" y="16900"/>
                    <a:pt x="20418" y="16900"/>
                  </a:cubicBezTo>
                  <a:cubicBezTo>
                    <a:pt x="20096" y="16800"/>
                    <a:pt x="20096" y="16800"/>
                    <a:pt x="20096" y="16800"/>
                  </a:cubicBezTo>
                  <a:cubicBezTo>
                    <a:pt x="20096" y="16800"/>
                    <a:pt x="20096" y="16700"/>
                    <a:pt x="20096" y="16700"/>
                  </a:cubicBezTo>
                  <a:cubicBezTo>
                    <a:pt x="20096" y="16600"/>
                    <a:pt x="20203" y="16600"/>
                    <a:pt x="20203" y="16500"/>
                  </a:cubicBezTo>
                  <a:cubicBezTo>
                    <a:pt x="20203" y="16500"/>
                    <a:pt x="20310" y="16400"/>
                    <a:pt x="20310" y="16400"/>
                  </a:cubicBezTo>
                  <a:cubicBezTo>
                    <a:pt x="20310" y="16100"/>
                    <a:pt x="20310" y="16100"/>
                    <a:pt x="20310" y="16100"/>
                  </a:cubicBezTo>
                  <a:cubicBezTo>
                    <a:pt x="20310" y="15400"/>
                    <a:pt x="20310" y="15400"/>
                    <a:pt x="20310" y="15400"/>
                  </a:cubicBezTo>
                  <a:cubicBezTo>
                    <a:pt x="20310" y="15100"/>
                    <a:pt x="20310" y="15100"/>
                    <a:pt x="20310" y="15100"/>
                  </a:cubicBezTo>
                  <a:cubicBezTo>
                    <a:pt x="20310" y="15100"/>
                    <a:pt x="20525" y="15100"/>
                    <a:pt x="20633" y="15100"/>
                  </a:cubicBezTo>
                  <a:cubicBezTo>
                    <a:pt x="20633" y="15100"/>
                    <a:pt x="20848" y="15200"/>
                    <a:pt x="20848" y="15200"/>
                  </a:cubicBezTo>
                  <a:cubicBezTo>
                    <a:pt x="20848" y="15200"/>
                    <a:pt x="20955" y="15100"/>
                    <a:pt x="20955" y="15000"/>
                  </a:cubicBezTo>
                  <a:cubicBezTo>
                    <a:pt x="20955" y="15000"/>
                    <a:pt x="20955" y="15000"/>
                    <a:pt x="20740" y="14900"/>
                  </a:cubicBezTo>
                  <a:cubicBezTo>
                    <a:pt x="20633" y="14800"/>
                    <a:pt x="20418" y="14700"/>
                    <a:pt x="20418" y="14700"/>
                  </a:cubicBezTo>
                  <a:cubicBezTo>
                    <a:pt x="20418" y="14600"/>
                    <a:pt x="20310" y="14400"/>
                    <a:pt x="20310" y="14400"/>
                  </a:cubicBezTo>
                  <a:cubicBezTo>
                    <a:pt x="20525" y="14400"/>
                    <a:pt x="20525" y="14400"/>
                    <a:pt x="20525" y="14400"/>
                  </a:cubicBezTo>
                  <a:cubicBezTo>
                    <a:pt x="21063" y="14400"/>
                    <a:pt x="21063" y="14400"/>
                    <a:pt x="21063" y="14400"/>
                  </a:cubicBezTo>
                  <a:cubicBezTo>
                    <a:pt x="21170" y="14100"/>
                    <a:pt x="21170" y="14100"/>
                    <a:pt x="21170" y="14100"/>
                  </a:cubicBezTo>
                  <a:cubicBezTo>
                    <a:pt x="21170" y="14100"/>
                    <a:pt x="20740" y="14100"/>
                    <a:pt x="20740" y="14100"/>
                  </a:cubicBezTo>
                  <a:cubicBezTo>
                    <a:pt x="20740" y="14100"/>
                    <a:pt x="20525" y="13900"/>
                    <a:pt x="20525" y="13900"/>
                  </a:cubicBezTo>
                  <a:cubicBezTo>
                    <a:pt x="20633" y="13700"/>
                    <a:pt x="20633" y="13700"/>
                    <a:pt x="20633" y="13700"/>
                  </a:cubicBezTo>
                  <a:cubicBezTo>
                    <a:pt x="20740" y="13800"/>
                    <a:pt x="20740" y="13800"/>
                    <a:pt x="20740" y="13800"/>
                  </a:cubicBezTo>
                  <a:cubicBezTo>
                    <a:pt x="21170" y="13800"/>
                    <a:pt x="21170" y="13800"/>
                    <a:pt x="21170" y="13800"/>
                  </a:cubicBezTo>
                  <a:cubicBezTo>
                    <a:pt x="21385" y="13700"/>
                    <a:pt x="21385" y="13700"/>
                    <a:pt x="21385" y="13700"/>
                  </a:cubicBezTo>
                  <a:cubicBezTo>
                    <a:pt x="21385" y="13400"/>
                    <a:pt x="21385" y="13400"/>
                    <a:pt x="21385" y="13400"/>
                  </a:cubicBezTo>
                  <a:cubicBezTo>
                    <a:pt x="21385" y="13200"/>
                    <a:pt x="21385" y="13200"/>
                    <a:pt x="21385" y="13200"/>
                  </a:cubicBezTo>
                  <a:cubicBezTo>
                    <a:pt x="21600" y="13000"/>
                    <a:pt x="21600" y="13000"/>
                    <a:pt x="21600" y="13000"/>
                  </a:cubicBezTo>
                  <a:cubicBezTo>
                    <a:pt x="21493" y="12900"/>
                    <a:pt x="21493" y="12900"/>
                    <a:pt x="21493" y="12900"/>
                  </a:cubicBezTo>
                  <a:lnTo>
                    <a:pt x="21278" y="12800"/>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91969B"/>
                  </a:solidFill>
                  <a:uFill>
                    <a:solidFill>
                      <a:srgbClr val="91969B"/>
                    </a:solidFill>
                  </a:uFill>
                  <a:latin typeface="Lato Regular"/>
                  <a:ea typeface="Lato Regular"/>
                  <a:cs typeface="Lato Regular"/>
                  <a:sym typeface="Lato Regular"/>
                </a:defRPr>
              </a:pPr>
              <a:endParaRPr sz="3600" b="0" i="0">
                <a:solidFill>
                  <a:srgbClr val="91969B"/>
                </a:solidFill>
                <a:uFill>
                  <a:solidFill>
                    <a:srgbClr val="91969B"/>
                  </a:solidFill>
                </a:uFill>
                <a:latin typeface="DM Sans" pitchFamily="2" charset="77"/>
                <a:ea typeface="Lato Regular"/>
                <a:cs typeface="Lato Regular"/>
                <a:sym typeface="Lato Regular"/>
              </a:endParaRPr>
            </a:p>
          </p:txBody>
        </p:sp>
        <p:sp>
          <p:nvSpPr>
            <p:cNvPr id="39" name="Shape 2314">
              <a:extLst>
                <a:ext uri="{FF2B5EF4-FFF2-40B4-BE49-F238E27FC236}">
                  <a16:creationId xmlns:a16="http://schemas.microsoft.com/office/drawing/2014/main" id="{4F1973F2-00EB-E3CC-F3E5-E5620B28BCA1}"/>
                </a:ext>
              </a:extLst>
            </p:cNvPr>
            <p:cNvSpPr/>
            <p:nvPr/>
          </p:nvSpPr>
          <p:spPr>
            <a:xfrm>
              <a:off x="7541198" y="2617628"/>
              <a:ext cx="1426384" cy="799673"/>
            </a:xfrm>
            <a:custGeom>
              <a:avLst/>
              <a:gdLst/>
              <a:ahLst/>
              <a:cxnLst>
                <a:cxn ang="0">
                  <a:pos x="wd2" y="hd2"/>
                </a:cxn>
                <a:cxn ang="5400000">
                  <a:pos x="wd2" y="hd2"/>
                </a:cxn>
                <a:cxn ang="10800000">
                  <a:pos x="wd2" y="hd2"/>
                </a:cxn>
                <a:cxn ang="16200000">
                  <a:pos x="wd2" y="hd2"/>
                </a:cxn>
              </a:cxnLst>
              <a:rect l="0" t="0" r="r" b="b"/>
              <a:pathLst>
                <a:path w="21600" h="21600" extrusionOk="0">
                  <a:moveTo>
                    <a:pt x="10103" y="19735"/>
                  </a:moveTo>
                  <a:lnTo>
                    <a:pt x="14719" y="18337"/>
                  </a:lnTo>
                  <a:lnTo>
                    <a:pt x="21165" y="16006"/>
                  </a:lnTo>
                  <a:lnTo>
                    <a:pt x="21600" y="15695"/>
                  </a:lnTo>
                  <a:lnTo>
                    <a:pt x="21600" y="15229"/>
                  </a:lnTo>
                  <a:lnTo>
                    <a:pt x="21426" y="14452"/>
                  </a:lnTo>
                  <a:lnTo>
                    <a:pt x="21165" y="13830"/>
                  </a:lnTo>
                  <a:lnTo>
                    <a:pt x="20816" y="13364"/>
                  </a:lnTo>
                  <a:lnTo>
                    <a:pt x="20642" y="13364"/>
                  </a:lnTo>
                  <a:lnTo>
                    <a:pt x="20206" y="12898"/>
                  </a:lnTo>
                  <a:lnTo>
                    <a:pt x="20119" y="12432"/>
                  </a:lnTo>
                  <a:lnTo>
                    <a:pt x="19858" y="12121"/>
                  </a:lnTo>
                  <a:lnTo>
                    <a:pt x="19684" y="11499"/>
                  </a:lnTo>
                  <a:lnTo>
                    <a:pt x="19510" y="11188"/>
                  </a:lnTo>
                  <a:lnTo>
                    <a:pt x="19510" y="10878"/>
                  </a:lnTo>
                  <a:lnTo>
                    <a:pt x="19684" y="10567"/>
                  </a:lnTo>
                  <a:lnTo>
                    <a:pt x="20032" y="10878"/>
                  </a:lnTo>
                  <a:lnTo>
                    <a:pt x="19684" y="9945"/>
                  </a:lnTo>
                  <a:lnTo>
                    <a:pt x="19510" y="9790"/>
                  </a:lnTo>
                  <a:lnTo>
                    <a:pt x="18726" y="9324"/>
                  </a:lnTo>
                  <a:lnTo>
                    <a:pt x="18377" y="8391"/>
                  </a:lnTo>
                  <a:lnTo>
                    <a:pt x="18377" y="8236"/>
                  </a:lnTo>
                  <a:lnTo>
                    <a:pt x="18726" y="8547"/>
                  </a:lnTo>
                  <a:lnTo>
                    <a:pt x="19161" y="8702"/>
                  </a:lnTo>
                  <a:lnTo>
                    <a:pt x="19248" y="9168"/>
                  </a:lnTo>
                  <a:lnTo>
                    <a:pt x="19771" y="9324"/>
                  </a:lnTo>
                  <a:lnTo>
                    <a:pt x="19597" y="8702"/>
                  </a:lnTo>
                  <a:lnTo>
                    <a:pt x="19597" y="7459"/>
                  </a:lnTo>
                  <a:lnTo>
                    <a:pt x="19248" y="7614"/>
                  </a:lnTo>
                  <a:lnTo>
                    <a:pt x="18726" y="6993"/>
                  </a:lnTo>
                  <a:lnTo>
                    <a:pt x="18465" y="6371"/>
                  </a:lnTo>
                  <a:lnTo>
                    <a:pt x="18377" y="6371"/>
                  </a:lnTo>
                  <a:lnTo>
                    <a:pt x="18290" y="6682"/>
                  </a:lnTo>
                  <a:lnTo>
                    <a:pt x="18029" y="6682"/>
                  </a:lnTo>
                  <a:lnTo>
                    <a:pt x="17681" y="6060"/>
                  </a:lnTo>
                  <a:lnTo>
                    <a:pt x="17332" y="5750"/>
                  </a:lnTo>
                  <a:lnTo>
                    <a:pt x="16984" y="5594"/>
                  </a:lnTo>
                  <a:lnTo>
                    <a:pt x="16810" y="5750"/>
                  </a:lnTo>
                  <a:lnTo>
                    <a:pt x="16548" y="5905"/>
                  </a:lnTo>
                  <a:lnTo>
                    <a:pt x="16374" y="5594"/>
                  </a:lnTo>
                  <a:lnTo>
                    <a:pt x="16374" y="3885"/>
                  </a:lnTo>
                  <a:lnTo>
                    <a:pt x="16635" y="3729"/>
                  </a:lnTo>
                  <a:lnTo>
                    <a:pt x="16810" y="3263"/>
                  </a:lnTo>
                  <a:lnTo>
                    <a:pt x="16723" y="2642"/>
                  </a:lnTo>
                  <a:lnTo>
                    <a:pt x="16374" y="2176"/>
                  </a:lnTo>
                  <a:lnTo>
                    <a:pt x="15939" y="1554"/>
                  </a:lnTo>
                  <a:lnTo>
                    <a:pt x="15068" y="622"/>
                  </a:lnTo>
                  <a:lnTo>
                    <a:pt x="14894" y="777"/>
                  </a:lnTo>
                  <a:lnTo>
                    <a:pt x="14632" y="1243"/>
                  </a:lnTo>
                  <a:lnTo>
                    <a:pt x="14458" y="1243"/>
                  </a:lnTo>
                  <a:lnTo>
                    <a:pt x="13935" y="777"/>
                  </a:lnTo>
                  <a:lnTo>
                    <a:pt x="13152" y="0"/>
                  </a:lnTo>
                  <a:lnTo>
                    <a:pt x="13152" y="1243"/>
                  </a:lnTo>
                  <a:lnTo>
                    <a:pt x="12977" y="2331"/>
                  </a:lnTo>
                  <a:lnTo>
                    <a:pt x="12803" y="2797"/>
                  </a:lnTo>
                  <a:lnTo>
                    <a:pt x="12542" y="3263"/>
                  </a:lnTo>
                  <a:lnTo>
                    <a:pt x="12106" y="4662"/>
                  </a:lnTo>
                  <a:lnTo>
                    <a:pt x="12019" y="4351"/>
                  </a:lnTo>
                  <a:lnTo>
                    <a:pt x="11671" y="4351"/>
                  </a:lnTo>
                  <a:lnTo>
                    <a:pt x="11584" y="4973"/>
                  </a:lnTo>
                  <a:lnTo>
                    <a:pt x="11410" y="5594"/>
                  </a:lnTo>
                  <a:lnTo>
                    <a:pt x="11148" y="6837"/>
                  </a:lnTo>
                  <a:lnTo>
                    <a:pt x="11061" y="7148"/>
                  </a:lnTo>
                  <a:lnTo>
                    <a:pt x="10887" y="6993"/>
                  </a:lnTo>
                  <a:lnTo>
                    <a:pt x="10452" y="6682"/>
                  </a:lnTo>
                  <a:lnTo>
                    <a:pt x="10103" y="6371"/>
                  </a:lnTo>
                  <a:lnTo>
                    <a:pt x="10016" y="7459"/>
                  </a:lnTo>
                  <a:lnTo>
                    <a:pt x="9755" y="9324"/>
                  </a:lnTo>
                  <a:lnTo>
                    <a:pt x="9494" y="10567"/>
                  </a:lnTo>
                  <a:lnTo>
                    <a:pt x="9058" y="11344"/>
                  </a:lnTo>
                  <a:lnTo>
                    <a:pt x="8971" y="12121"/>
                  </a:lnTo>
                  <a:lnTo>
                    <a:pt x="9058" y="13364"/>
                  </a:lnTo>
                  <a:lnTo>
                    <a:pt x="8710" y="13830"/>
                  </a:lnTo>
                  <a:lnTo>
                    <a:pt x="7752" y="14763"/>
                  </a:lnTo>
                  <a:lnTo>
                    <a:pt x="7142" y="15695"/>
                  </a:lnTo>
                  <a:lnTo>
                    <a:pt x="6358" y="16006"/>
                  </a:lnTo>
                  <a:lnTo>
                    <a:pt x="6010" y="15540"/>
                  </a:lnTo>
                  <a:lnTo>
                    <a:pt x="5487" y="16627"/>
                  </a:lnTo>
                  <a:lnTo>
                    <a:pt x="5313" y="16627"/>
                  </a:lnTo>
                  <a:lnTo>
                    <a:pt x="4877" y="16317"/>
                  </a:lnTo>
                  <a:lnTo>
                    <a:pt x="4355" y="15540"/>
                  </a:lnTo>
                  <a:lnTo>
                    <a:pt x="4268" y="15073"/>
                  </a:lnTo>
                  <a:lnTo>
                    <a:pt x="4006" y="15073"/>
                  </a:lnTo>
                  <a:lnTo>
                    <a:pt x="3745" y="16006"/>
                  </a:lnTo>
                  <a:lnTo>
                    <a:pt x="3397" y="16938"/>
                  </a:lnTo>
                  <a:lnTo>
                    <a:pt x="2439" y="17560"/>
                  </a:lnTo>
                  <a:lnTo>
                    <a:pt x="2177" y="18337"/>
                  </a:lnTo>
                  <a:lnTo>
                    <a:pt x="1916" y="19735"/>
                  </a:lnTo>
                  <a:lnTo>
                    <a:pt x="1568" y="19891"/>
                  </a:lnTo>
                  <a:lnTo>
                    <a:pt x="1306" y="20201"/>
                  </a:lnTo>
                  <a:lnTo>
                    <a:pt x="871" y="20668"/>
                  </a:lnTo>
                  <a:lnTo>
                    <a:pt x="523" y="21134"/>
                  </a:lnTo>
                  <a:lnTo>
                    <a:pt x="0" y="21600"/>
                  </a:lnTo>
                  <a:lnTo>
                    <a:pt x="5574" y="20668"/>
                  </a:lnTo>
                  <a:lnTo>
                    <a:pt x="10103" y="19735"/>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 name="Shape 2315">
              <a:extLst>
                <a:ext uri="{FF2B5EF4-FFF2-40B4-BE49-F238E27FC236}">
                  <a16:creationId xmlns:a16="http://schemas.microsoft.com/office/drawing/2014/main" id="{30BF4F37-EF5E-BAC1-6E6D-924396E92A83}"/>
                </a:ext>
              </a:extLst>
            </p:cNvPr>
            <p:cNvSpPr/>
            <p:nvPr/>
          </p:nvSpPr>
          <p:spPr>
            <a:xfrm>
              <a:off x="7667730" y="3699196"/>
              <a:ext cx="920248" cy="713377"/>
            </a:xfrm>
            <a:custGeom>
              <a:avLst/>
              <a:gdLst/>
              <a:ahLst/>
              <a:cxnLst>
                <a:cxn ang="0">
                  <a:pos x="wd2" y="hd2"/>
                </a:cxn>
                <a:cxn ang="5400000">
                  <a:pos x="wd2" y="hd2"/>
                </a:cxn>
                <a:cxn ang="10800000">
                  <a:pos x="wd2" y="hd2"/>
                </a:cxn>
                <a:cxn ang="16200000">
                  <a:pos x="wd2" y="hd2"/>
                </a:cxn>
              </a:cxnLst>
              <a:rect l="0" t="0" r="r" b="b"/>
              <a:pathLst>
                <a:path w="21600" h="21600" extrusionOk="0">
                  <a:moveTo>
                    <a:pt x="11200" y="2057"/>
                  </a:moveTo>
                  <a:cubicBezTo>
                    <a:pt x="10743" y="588"/>
                    <a:pt x="10743" y="588"/>
                    <a:pt x="10743" y="588"/>
                  </a:cubicBezTo>
                  <a:cubicBezTo>
                    <a:pt x="10057" y="147"/>
                    <a:pt x="10057" y="147"/>
                    <a:pt x="10057" y="147"/>
                  </a:cubicBezTo>
                  <a:cubicBezTo>
                    <a:pt x="9029" y="0"/>
                    <a:pt x="9029" y="0"/>
                    <a:pt x="9029" y="0"/>
                  </a:cubicBezTo>
                  <a:cubicBezTo>
                    <a:pt x="8229" y="147"/>
                    <a:pt x="8229" y="147"/>
                    <a:pt x="8229" y="147"/>
                  </a:cubicBezTo>
                  <a:cubicBezTo>
                    <a:pt x="7657" y="588"/>
                    <a:pt x="7657" y="588"/>
                    <a:pt x="7657" y="588"/>
                  </a:cubicBezTo>
                  <a:cubicBezTo>
                    <a:pt x="7314" y="735"/>
                    <a:pt x="7314" y="735"/>
                    <a:pt x="7314" y="735"/>
                  </a:cubicBezTo>
                  <a:cubicBezTo>
                    <a:pt x="6629" y="882"/>
                    <a:pt x="6629" y="882"/>
                    <a:pt x="6629" y="882"/>
                  </a:cubicBezTo>
                  <a:cubicBezTo>
                    <a:pt x="5257" y="588"/>
                    <a:pt x="5257" y="588"/>
                    <a:pt x="5257" y="588"/>
                  </a:cubicBezTo>
                  <a:cubicBezTo>
                    <a:pt x="4457" y="588"/>
                    <a:pt x="4457" y="588"/>
                    <a:pt x="4457" y="588"/>
                  </a:cubicBezTo>
                  <a:cubicBezTo>
                    <a:pt x="3543" y="735"/>
                    <a:pt x="3543" y="735"/>
                    <a:pt x="3543" y="735"/>
                  </a:cubicBezTo>
                  <a:cubicBezTo>
                    <a:pt x="2971" y="1029"/>
                    <a:pt x="2971" y="1029"/>
                    <a:pt x="2971" y="1029"/>
                  </a:cubicBezTo>
                  <a:cubicBezTo>
                    <a:pt x="1371" y="2645"/>
                    <a:pt x="1371" y="2645"/>
                    <a:pt x="1371" y="2645"/>
                  </a:cubicBezTo>
                  <a:cubicBezTo>
                    <a:pt x="1371" y="2645"/>
                    <a:pt x="1371" y="2645"/>
                    <a:pt x="1371" y="2645"/>
                  </a:cubicBezTo>
                  <a:cubicBezTo>
                    <a:pt x="1257" y="2939"/>
                    <a:pt x="1257" y="2939"/>
                    <a:pt x="1257" y="2939"/>
                  </a:cubicBezTo>
                  <a:cubicBezTo>
                    <a:pt x="1257" y="3233"/>
                    <a:pt x="1257" y="3233"/>
                    <a:pt x="1257" y="3233"/>
                  </a:cubicBezTo>
                  <a:cubicBezTo>
                    <a:pt x="1029" y="3380"/>
                    <a:pt x="1029" y="3380"/>
                    <a:pt x="1029" y="3380"/>
                  </a:cubicBezTo>
                  <a:cubicBezTo>
                    <a:pt x="571" y="3820"/>
                    <a:pt x="571" y="3820"/>
                    <a:pt x="571" y="3820"/>
                  </a:cubicBezTo>
                  <a:cubicBezTo>
                    <a:pt x="0" y="4261"/>
                    <a:pt x="0" y="4261"/>
                    <a:pt x="0" y="4261"/>
                  </a:cubicBezTo>
                  <a:cubicBezTo>
                    <a:pt x="0" y="4702"/>
                    <a:pt x="0" y="4702"/>
                    <a:pt x="0" y="4702"/>
                  </a:cubicBezTo>
                  <a:cubicBezTo>
                    <a:pt x="229" y="4996"/>
                    <a:pt x="229" y="4996"/>
                    <a:pt x="229" y="4996"/>
                  </a:cubicBezTo>
                  <a:cubicBezTo>
                    <a:pt x="457" y="5437"/>
                    <a:pt x="457" y="5437"/>
                    <a:pt x="457" y="5437"/>
                  </a:cubicBezTo>
                  <a:cubicBezTo>
                    <a:pt x="1829" y="6171"/>
                    <a:pt x="1829" y="6171"/>
                    <a:pt x="1829" y="6171"/>
                  </a:cubicBezTo>
                  <a:cubicBezTo>
                    <a:pt x="2171" y="6612"/>
                    <a:pt x="2171" y="6612"/>
                    <a:pt x="2171" y="6612"/>
                  </a:cubicBezTo>
                  <a:cubicBezTo>
                    <a:pt x="2514" y="7200"/>
                    <a:pt x="2514" y="7200"/>
                    <a:pt x="2514" y="7200"/>
                  </a:cubicBezTo>
                  <a:cubicBezTo>
                    <a:pt x="2743" y="7788"/>
                    <a:pt x="2743" y="7788"/>
                    <a:pt x="2743" y="7788"/>
                  </a:cubicBezTo>
                  <a:cubicBezTo>
                    <a:pt x="3314" y="8522"/>
                    <a:pt x="3314" y="8522"/>
                    <a:pt x="3314" y="8522"/>
                  </a:cubicBezTo>
                  <a:cubicBezTo>
                    <a:pt x="3886" y="9404"/>
                    <a:pt x="3886" y="9404"/>
                    <a:pt x="3886" y="9404"/>
                  </a:cubicBezTo>
                  <a:cubicBezTo>
                    <a:pt x="5714" y="11314"/>
                    <a:pt x="5714" y="11314"/>
                    <a:pt x="5714" y="11314"/>
                  </a:cubicBezTo>
                  <a:cubicBezTo>
                    <a:pt x="6286" y="11902"/>
                    <a:pt x="6286" y="11902"/>
                    <a:pt x="6286" y="11902"/>
                  </a:cubicBezTo>
                  <a:cubicBezTo>
                    <a:pt x="6971" y="13078"/>
                    <a:pt x="6971" y="13078"/>
                    <a:pt x="6971" y="13078"/>
                  </a:cubicBezTo>
                  <a:cubicBezTo>
                    <a:pt x="7543" y="14106"/>
                    <a:pt x="7543" y="14106"/>
                    <a:pt x="7543" y="14106"/>
                  </a:cubicBezTo>
                  <a:cubicBezTo>
                    <a:pt x="8343" y="14547"/>
                    <a:pt x="8343" y="14547"/>
                    <a:pt x="8343" y="14547"/>
                  </a:cubicBezTo>
                  <a:cubicBezTo>
                    <a:pt x="8686" y="14988"/>
                    <a:pt x="8686" y="14988"/>
                    <a:pt x="8686" y="14988"/>
                  </a:cubicBezTo>
                  <a:cubicBezTo>
                    <a:pt x="9029" y="15429"/>
                    <a:pt x="9029" y="15429"/>
                    <a:pt x="9029" y="15429"/>
                  </a:cubicBezTo>
                  <a:cubicBezTo>
                    <a:pt x="9371" y="15722"/>
                    <a:pt x="9371" y="15722"/>
                    <a:pt x="9371" y="15722"/>
                  </a:cubicBezTo>
                  <a:cubicBezTo>
                    <a:pt x="9600" y="16016"/>
                    <a:pt x="9600" y="16016"/>
                    <a:pt x="9600" y="16016"/>
                  </a:cubicBezTo>
                  <a:cubicBezTo>
                    <a:pt x="9943" y="16751"/>
                    <a:pt x="9943" y="16751"/>
                    <a:pt x="9943" y="16751"/>
                  </a:cubicBezTo>
                  <a:cubicBezTo>
                    <a:pt x="10171" y="17192"/>
                    <a:pt x="10171" y="17192"/>
                    <a:pt x="10171" y="17192"/>
                  </a:cubicBezTo>
                  <a:cubicBezTo>
                    <a:pt x="10171" y="17486"/>
                    <a:pt x="10171" y="17486"/>
                    <a:pt x="10171" y="17486"/>
                  </a:cubicBezTo>
                  <a:cubicBezTo>
                    <a:pt x="10286" y="17927"/>
                    <a:pt x="10286" y="17927"/>
                    <a:pt x="10286" y="17927"/>
                  </a:cubicBezTo>
                  <a:cubicBezTo>
                    <a:pt x="10400" y="18220"/>
                    <a:pt x="10400" y="18220"/>
                    <a:pt x="10400" y="18220"/>
                  </a:cubicBezTo>
                  <a:cubicBezTo>
                    <a:pt x="10514" y="18220"/>
                    <a:pt x="10514" y="18220"/>
                    <a:pt x="10514" y="18220"/>
                  </a:cubicBezTo>
                  <a:cubicBezTo>
                    <a:pt x="10857" y="18367"/>
                    <a:pt x="10857" y="18367"/>
                    <a:pt x="10857" y="18367"/>
                  </a:cubicBezTo>
                  <a:cubicBezTo>
                    <a:pt x="11200" y="18661"/>
                    <a:pt x="11200" y="18661"/>
                    <a:pt x="11200" y="18661"/>
                  </a:cubicBezTo>
                  <a:cubicBezTo>
                    <a:pt x="11200" y="18808"/>
                    <a:pt x="11200" y="18808"/>
                    <a:pt x="11200" y="18808"/>
                  </a:cubicBezTo>
                  <a:cubicBezTo>
                    <a:pt x="11200" y="19102"/>
                    <a:pt x="11200" y="19102"/>
                    <a:pt x="11200" y="19102"/>
                  </a:cubicBezTo>
                  <a:cubicBezTo>
                    <a:pt x="11314" y="19543"/>
                    <a:pt x="11314" y="19543"/>
                    <a:pt x="11314" y="19543"/>
                  </a:cubicBezTo>
                  <a:cubicBezTo>
                    <a:pt x="11771" y="20131"/>
                    <a:pt x="11771" y="20131"/>
                    <a:pt x="11771" y="20131"/>
                  </a:cubicBezTo>
                  <a:cubicBezTo>
                    <a:pt x="11771" y="20278"/>
                    <a:pt x="11771" y="20278"/>
                    <a:pt x="11771" y="20278"/>
                  </a:cubicBezTo>
                  <a:cubicBezTo>
                    <a:pt x="11771" y="20865"/>
                    <a:pt x="11771" y="20865"/>
                    <a:pt x="11771" y="20865"/>
                  </a:cubicBezTo>
                  <a:cubicBezTo>
                    <a:pt x="11886" y="21306"/>
                    <a:pt x="11886" y="21306"/>
                    <a:pt x="11886" y="21306"/>
                  </a:cubicBezTo>
                  <a:cubicBezTo>
                    <a:pt x="12114" y="21453"/>
                    <a:pt x="12114" y="21453"/>
                    <a:pt x="12114" y="21453"/>
                  </a:cubicBezTo>
                  <a:cubicBezTo>
                    <a:pt x="12343" y="21600"/>
                    <a:pt x="12343" y="21600"/>
                    <a:pt x="12343" y="21600"/>
                  </a:cubicBezTo>
                  <a:cubicBezTo>
                    <a:pt x="12343" y="20718"/>
                    <a:pt x="12343" y="20718"/>
                    <a:pt x="12343" y="20718"/>
                  </a:cubicBezTo>
                  <a:cubicBezTo>
                    <a:pt x="12571" y="20571"/>
                    <a:pt x="12571" y="20571"/>
                    <a:pt x="12571" y="20571"/>
                  </a:cubicBezTo>
                  <a:cubicBezTo>
                    <a:pt x="13143" y="20571"/>
                    <a:pt x="13143" y="20571"/>
                    <a:pt x="13143" y="20571"/>
                  </a:cubicBezTo>
                  <a:cubicBezTo>
                    <a:pt x="13257" y="20571"/>
                    <a:pt x="13257" y="20571"/>
                    <a:pt x="13257" y="20571"/>
                  </a:cubicBezTo>
                  <a:cubicBezTo>
                    <a:pt x="13257" y="20571"/>
                    <a:pt x="13486" y="20424"/>
                    <a:pt x="13486" y="20424"/>
                  </a:cubicBezTo>
                  <a:cubicBezTo>
                    <a:pt x="13486" y="20278"/>
                    <a:pt x="13371" y="20131"/>
                    <a:pt x="13371" y="20131"/>
                  </a:cubicBezTo>
                  <a:cubicBezTo>
                    <a:pt x="13257" y="20131"/>
                    <a:pt x="13257" y="20131"/>
                    <a:pt x="13257" y="20131"/>
                  </a:cubicBezTo>
                  <a:cubicBezTo>
                    <a:pt x="13257" y="20131"/>
                    <a:pt x="12800" y="19984"/>
                    <a:pt x="12800" y="19984"/>
                  </a:cubicBezTo>
                  <a:cubicBezTo>
                    <a:pt x="12686" y="19984"/>
                    <a:pt x="12571" y="19690"/>
                    <a:pt x="12571" y="19690"/>
                  </a:cubicBezTo>
                  <a:cubicBezTo>
                    <a:pt x="12571" y="19543"/>
                    <a:pt x="12571" y="19543"/>
                    <a:pt x="12571" y="19543"/>
                  </a:cubicBezTo>
                  <a:cubicBezTo>
                    <a:pt x="12686" y="18955"/>
                    <a:pt x="12686" y="18955"/>
                    <a:pt x="12686" y="18955"/>
                  </a:cubicBezTo>
                  <a:cubicBezTo>
                    <a:pt x="13143" y="19396"/>
                    <a:pt x="13143" y="19396"/>
                    <a:pt x="13143" y="19396"/>
                  </a:cubicBezTo>
                  <a:cubicBezTo>
                    <a:pt x="13257" y="19543"/>
                    <a:pt x="13257" y="19543"/>
                    <a:pt x="13257" y="19543"/>
                  </a:cubicBezTo>
                  <a:cubicBezTo>
                    <a:pt x="13600" y="19837"/>
                    <a:pt x="13600" y="19837"/>
                    <a:pt x="13600" y="19837"/>
                  </a:cubicBezTo>
                  <a:cubicBezTo>
                    <a:pt x="14057" y="19690"/>
                    <a:pt x="14057" y="19690"/>
                    <a:pt x="14057" y="19690"/>
                  </a:cubicBezTo>
                  <a:cubicBezTo>
                    <a:pt x="14171" y="18808"/>
                    <a:pt x="14171" y="18808"/>
                    <a:pt x="14171" y="18808"/>
                  </a:cubicBezTo>
                  <a:cubicBezTo>
                    <a:pt x="14171" y="18661"/>
                    <a:pt x="14171" y="18661"/>
                    <a:pt x="14171" y="18661"/>
                  </a:cubicBezTo>
                  <a:cubicBezTo>
                    <a:pt x="14057" y="18073"/>
                    <a:pt x="14057" y="18073"/>
                    <a:pt x="14057" y="18073"/>
                  </a:cubicBezTo>
                  <a:cubicBezTo>
                    <a:pt x="14400" y="18073"/>
                    <a:pt x="14400" y="18073"/>
                    <a:pt x="14400" y="18073"/>
                  </a:cubicBezTo>
                  <a:cubicBezTo>
                    <a:pt x="14857" y="18073"/>
                    <a:pt x="14857" y="18073"/>
                    <a:pt x="14857" y="18073"/>
                  </a:cubicBezTo>
                  <a:cubicBezTo>
                    <a:pt x="15429" y="17633"/>
                    <a:pt x="15429" y="17633"/>
                    <a:pt x="15429" y="17633"/>
                  </a:cubicBezTo>
                  <a:cubicBezTo>
                    <a:pt x="15429" y="17486"/>
                    <a:pt x="15429" y="17486"/>
                    <a:pt x="15429" y="17486"/>
                  </a:cubicBezTo>
                  <a:cubicBezTo>
                    <a:pt x="15200" y="17339"/>
                    <a:pt x="15200" y="17339"/>
                    <a:pt x="15200" y="17339"/>
                  </a:cubicBezTo>
                  <a:cubicBezTo>
                    <a:pt x="14971" y="17339"/>
                    <a:pt x="14971" y="17339"/>
                    <a:pt x="14971" y="17339"/>
                  </a:cubicBezTo>
                  <a:cubicBezTo>
                    <a:pt x="14743" y="17192"/>
                    <a:pt x="14743" y="17192"/>
                    <a:pt x="14743" y="17192"/>
                  </a:cubicBezTo>
                  <a:cubicBezTo>
                    <a:pt x="14743" y="16898"/>
                    <a:pt x="14743" y="16898"/>
                    <a:pt x="14743" y="16898"/>
                  </a:cubicBezTo>
                  <a:cubicBezTo>
                    <a:pt x="15086" y="16751"/>
                    <a:pt x="15086" y="16751"/>
                    <a:pt x="15086" y="16751"/>
                  </a:cubicBezTo>
                  <a:cubicBezTo>
                    <a:pt x="15200" y="16898"/>
                    <a:pt x="15200" y="16898"/>
                    <a:pt x="15200" y="16898"/>
                  </a:cubicBezTo>
                  <a:cubicBezTo>
                    <a:pt x="15543" y="17192"/>
                    <a:pt x="15543" y="17192"/>
                    <a:pt x="15543" y="17192"/>
                  </a:cubicBezTo>
                  <a:cubicBezTo>
                    <a:pt x="15771" y="17192"/>
                    <a:pt x="15771" y="17192"/>
                    <a:pt x="15771" y="17192"/>
                  </a:cubicBezTo>
                  <a:cubicBezTo>
                    <a:pt x="16229" y="16751"/>
                    <a:pt x="16229" y="16751"/>
                    <a:pt x="16229" y="16751"/>
                  </a:cubicBezTo>
                  <a:cubicBezTo>
                    <a:pt x="16571" y="16163"/>
                    <a:pt x="16571" y="16163"/>
                    <a:pt x="16571" y="16163"/>
                  </a:cubicBezTo>
                  <a:cubicBezTo>
                    <a:pt x="16457" y="15722"/>
                    <a:pt x="16457" y="15722"/>
                    <a:pt x="16457" y="15722"/>
                  </a:cubicBezTo>
                  <a:cubicBezTo>
                    <a:pt x="16114" y="15429"/>
                    <a:pt x="16114" y="15429"/>
                    <a:pt x="16114" y="15429"/>
                  </a:cubicBezTo>
                  <a:cubicBezTo>
                    <a:pt x="16114" y="15282"/>
                    <a:pt x="16114" y="15282"/>
                    <a:pt x="16114" y="15282"/>
                  </a:cubicBezTo>
                  <a:cubicBezTo>
                    <a:pt x="16343" y="15135"/>
                    <a:pt x="16343" y="15135"/>
                    <a:pt x="16343" y="15135"/>
                  </a:cubicBezTo>
                  <a:cubicBezTo>
                    <a:pt x="16800" y="15429"/>
                    <a:pt x="16800" y="15429"/>
                    <a:pt x="16800" y="15429"/>
                  </a:cubicBezTo>
                  <a:cubicBezTo>
                    <a:pt x="17029" y="15135"/>
                    <a:pt x="17029" y="15135"/>
                    <a:pt x="17029" y="15135"/>
                  </a:cubicBezTo>
                  <a:cubicBezTo>
                    <a:pt x="17257" y="14694"/>
                    <a:pt x="17257" y="14694"/>
                    <a:pt x="17257" y="14694"/>
                  </a:cubicBezTo>
                  <a:cubicBezTo>
                    <a:pt x="17714" y="13665"/>
                    <a:pt x="17714" y="13665"/>
                    <a:pt x="17714" y="13665"/>
                  </a:cubicBezTo>
                  <a:cubicBezTo>
                    <a:pt x="18171" y="13224"/>
                    <a:pt x="18171" y="13224"/>
                    <a:pt x="18171" y="13224"/>
                  </a:cubicBezTo>
                  <a:cubicBezTo>
                    <a:pt x="18743" y="13078"/>
                    <a:pt x="18743" y="13078"/>
                    <a:pt x="18743" y="13078"/>
                  </a:cubicBezTo>
                  <a:cubicBezTo>
                    <a:pt x="19086" y="12343"/>
                    <a:pt x="19086" y="12343"/>
                    <a:pt x="19086" y="12343"/>
                  </a:cubicBezTo>
                  <a:cubicBezTo>
                    <a:pt x="19314" y="11902"/>
                    <a:pt x="19314" y="11902"/>
                    <a:pt x="19314" y="11902"/>
                  </a:cubicBezTo>
                  <a:cubicBezTo>
                    <a:pt x="19086" y="11608"/>
                    <a:pt x="19086" y="11608"/>
                    <a:pt x="19086" y="11608"/>
                  </a:cubicBezTo>
                  <a:cubicBezTo>
                    <a:pt x="18857" y="11020"/>
                    <a:pt x="18857" y="11020"/>
                    <a:pt x="18857" y="11020"/>
                  </a:cubicBezTo>
                  <a:cubicBezTo>
                    <a:pt x="19086" y="11020"/>
                    <a:pt x="19086" y="11020"/>
                    <a:pt x="19086" y="11020"/>
                  </a:cubicBezTo>
                  <a:cubicBezTo>
                    <a:pt x="19314" y="11020"/>
                    <a:pt x="19314" y="11020"/>
                    <a:pt x="19314" y="11020"/>
                  </a:cubicBezTo>
                  <a:cubicBezTo>
                    <a:pt x="19314" y="10580"/>
                    <a:pt x="19314" y="10580"/>
                    <a:pt x="19314" y="10580"/>
                  </a:cubicBezTo>
                  <a:cubicBezTo>
                    <a:pt x="19429" y="10286"/>
                    <a:pt x="19429" y="10286"/>
                    <a:pt x="19429" y="10286"/>
                  </a:cubicBezTo>
                  <a:cubicBezTo>
                    <a:pt x="19771" y="9698"/>
                    <a:pt x="19771" y="9698"/>
                    <a:pt x="19771" y="9698"/>
                  </a:cubicBezTo>
                  <a:cubicBezTo>
                    <a:pt x="20000" y="8816"/>
                    <a:pt x="20000" y="8816"/>
                    <a:pt x="20000" y="8816"/>
                  </a:cubicBezTo>
                  <a:cubicBezTo>
                    <a:pt x="20229" y="8229"/>
                    <a:pt x="20229" y="8229"/>
                    <a:pt x="20229" y="8229"/>
                  </a:cubicBezTo>
                  <a:cubicBezTo>
                    <a:pt x="20343" y="7935"/>
                    <a:pt x="20343" y="7935"/>
                    <a:pt x="20343" y="7935"/>
                  </a:cubicBezTo>
                  <a:cubicBezTo>
                    <a:pt x="20571" y="7641"/>
                    <a:pt x="20571" y="7641"/>
                    <a:pt x="20571" y="7641"/>
                  </a:cubicBezTo>
                  <a:cubicBezTo>
                    <a:pt x="21371" y="6759"/>
                    <a:pt x="21371" y="6759"/>
                    <a:pt x="21371" y="6759"/>
                  </a:cubicBezTo>
                  <a:cubicBezTo>
                    <a:pt x="21600" y="6465"/>
                    <a:pt x="21600" y="6465"/>
                    <a:pt x="21600" y="6465"/>
                  </a:cubicBezTo>
                  <a:cubicBezTo>
                    <a:pt x="15771" y="882"/>
                    <a:pt x="15771" y="882"/>
                    <a:pt x="15771" y="882"/>
                  </a:cubicBezTo>
                  <a:lnTo>
                    <a:pt x="11200" y="205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 name="Shape 2316">
              <a:extLst>
                <a:ext uri="{FF2B5EF4-FFF2-40B4-BE49-F238E27FC236}">
                  <a16:creationId xmlns:a16="http://schemas.microsoft.com/office/drawing/2014/main" id="{5B003E81-46D5-DBCC-CDAB-E0775C2A1E28}"/>
                </a:ext>
              </a:extLst>
            </p:cNvPr>
            <p:cNvSpPr/>
            <p:nvPr/>
          </p:nvSpPr>
          <p:spPr>
            <a:xfrm>
              <a:off x="6718725" y="3831515"/>
              <a:ext cx="724696" cy="1162111"/>
            </a:xfrm>
            <a:custGeom>
              <a:avLst/>
              <a:gdLst/>
              <a:ahLst/>
              <a:cxnLst>
                <a:cxn ang="0">
                  <a:pos x="wd2" y="hd2"/>
                </a:cxn>
                <a:cxn ang="5400000">
                  <a:pos x="wd2" y="hd2"/>
                </a:cxn>
                <a:cxn ang="10800000">
                  <a:pos x="wd2" y="hd2"/>
                </a:cxn>
                <a:cxn ang="16200000">
                  <a:pos x="wd2" y="hd2"/>
                </a:cxn>
              </a:cxnLst>
              <a:rect l="0" t="0" r="r" b="b"/>
              <a:pathLst>
                <a:path w="21600" h="21600" extrusionOk="0">
                  <a:moveTo>
                    <a:pt x="6857" y="20103"/>
                  </a:moveTo>
                  <a:lnTo>
                    <a:pt x="6686" y="19568"/>
                  </a:lnTo>
                  <a:lnTo>
                    <a:pt x="6000" y="19034"/>
                  </a:lnTo>
                  <a:lnTo>
                    <a:pt x="5657" y="18820"/>
                  </a:lnTo>
                  <a:lnTo>
                    <a:pt x="5657" y="18499"/>
                  </a:lnTo>
                  <a:lnTo>
                    <a:pt x="6171" y="18392"/>
                  </a:lnTo>
                  <a:lnTo>
                    <a:pt x="7371" y="18178"/>
                  </a:lnTo>
                  <a:lnTo>
                    <a:pt x="8743" y="17964"/>
                  </a:lnTo>
                  <a:lnTo>
                    <a:pt x="21600" y="17323"/>
                  </a:lnTo>
                  <a:lnTo>
                    <a:pt x="21429" y="17216"/>
                  </a:lnTo>
                  <a:lnTo>
                    <a:pt x="20743" y="16681"/>
                  </a:lnTo>
                  <a:lnTo>
                    <a:pt x="20571" y="16360"/>
                  </a:lnTo>
                  <a:lnTo>
                    <a:pt x="20229" y="16040"/>
                  </a:lnTo>
                  <a:lnTo>
                    <a:pt x="20400" y="15826"/>
                  </a:lnTo>
                  <a:lnTo>
                    <a:pt x="20743" y="15612"/>
                  </a:lnTo>
                  <a:lnTo>
                    <a:pt x="20571" y="15077"/>
                  </a:lnTo>
                  <a:lnTo>
                    <a:pt x="20229" y="14756"/>
                  </a:lnTo>
                  <a:lnTo>
                    <a:pt x="19886" y="13901"/>
                  </a:lnTo>
                  <a:lnTo>
                    <a:pt x="19886" y="13366"/>
                  </a:lnTo>
                  <a:lnTo>
                    <a:pt x="20400" y="13152"/>
                  </a:lnTo>
                  <a:lnTo>
                    <a:pt x="20571" y="12725"/>
                  </a:lnTo>
                  <a:lnTo>
                    <a:pt x="19886" y="12511"/>
                  </a:lnTo>
                  <a:lnTo>
                    <a:pt x="20743" y="12190"/>
                  </a:lnTo>
                  <a:lnTo>
                    <a:pt x="20914" y="11762"/>
                  </a:lnTo>
                  <a:lnTo>
                    <a:pt x="20571" y="11549"/>
                  </a:lnTo>
                  <a:lnTo>
                    <a:pt x="20400" y="11121"/>
                  </a:lnTo>
                  <a:lnTo>
                    <a:pt x="20400" y="10693"/>
                  </a:lnTo>
                  <a:lnTo>
                    <a:pt x="19714" y="10158"/>
                  </a:lnTo>
                  <a:lnTo>
                    <a:pt x="18514" y="8875"/>
                  </a:lnTo>
                  <a:lnTo>
                    <a:pt x="18171" y="8020"/>
                  </a:lnTo>
                  <a:lnTo>
                    <a:pt x="16457" y="4384"/>
                  </a:lnTo>
                  <a:lnTo>
                    <a:pt x="15257" y="1283"/>
                  </a:lnTo>
                  <a:lnTo>
                    <a:pt x="14914" y="0"/>
                  </a:lnTo>
                  <a:lnTo>
                    <a:pt x="16114" y="0"/>
                  </a:lnTo>
                  <a:lnTo>
                    <a:pt x="171" y="749"/>
                  </a:lnTo>
                  <a:lnTo>
                    <a:pt x="171" y="1497"/>
                  </a:lnTo>
                  <a:lnTo>
                    <a:pt x="0" y="11335"/>
                  </a:lnTo>
                  <a:lnTo>
                    <a:pt x="0" y="16574"/>
                  </a:lnTo>
                  <a:lnTo>
                    <a:pt x="1029" y="20958"/>
                  </a:lnTo>
                  <a:lnTo>
                    <a:pt x="1371" y="20958"/>
                  </a:lnTo>
                  <a:lnTo>
                    <a:pt x="1886" y="21065"/>
                  </a:lnTo>
                  <a:lnTo>
                    <a:pt x="2571" y="21172"/>
                  </a:lnTo>
                  <a:lnTo>
                    <a:pt x="2743" y="20851"/>
                  </a:lnTo>
                  <a:lnTo>
                    <a:pt x="2571" y="20424"/>
                  </a:lnTo>
                  <a:lnTo>
                    <a:pt x="2743" y="19996"/>
                  </a:lnTo>
                  <a:lnTo>
                    <a:pt x="3086" y="19782"/>
                  </a:lnTo>
                  <a:lnTo>
                    <a:pt x="3600" y="19675"/>
                  </a:lnTo>
                  <a:lnTo>
                    <a:pt x="3771" y="19889"/>
                  </a:lnTo>
                  <a:lnTo>
                    <a:pt x="3771" y="20210"/>
                  </a:lnTo>
                  <a:lnTo>
                    <a:pt x="3600" y="20424"/>
                  </a:lnTo>
                  <a:lnTo>
                    <a:pt x="3771" y="20638"/>
                  </a:lnTo>
                  <a:lnTo>
                    <a:pt x="3943" y="20745"/>
                  </a:lnTo>
                  <a:lnTo>
                    <a:pt x="4286" y="20851"/>
                  </a:lnTo>
                  <a:lnTo>
                    <a:pt x="4629" y="21065"/>
                  </a:lnTo>
                  <a:lnTo>
                    <a:pt x="4629" y="21386"/>
                  </a:lnTo>
                  <a:lnTo>
                    <a:pt x="4286" y="21600"/>
                  </a:lnTo>
                  <a:lnTo>
                    <a:pt x="4629" y="21493"/>
                  </a:lnTo>
                  <a:lnTo>
                    <a:pt x="5314" y="21386"/>
                  </a:lnTo>
                  <a:lnTo>
                    <a:pt x="6171" y="21279"/>
                  </a:lnTo>
                  <a:lnTo>
                    <a:pt x="6514" y="21065"/>
                  </a:lnTo>
                  <a:lnTo>
                    <a:pt x="6686" y="21065"/>
                  </a:lnTo>
                  <a:lnTo>
                    <a:pt x="7371" y="20958"/>
                  </a:lnTo>
                  <a:lnTo>
                    <a:pt x="7543" y="20851"/>
                  </a:lnTo>
                  <a:lnTo>
                    <a:pt x="6857" y="2010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 name="Shape 2317">
              <a:extLst>
                <a:ext uri="{FF2B5EF4-FFF2-40B4-BE49-F238E27FC236}">
                  <a16:creationId xmlns:a16="http://schemas.microsoft.com/office/drawing/2014/main" id="{93BEB7CC-3090-D2DB-57EA-0C65693CA1B2}"/>
                </a:ext>
              </a:extLst>
            </p:cNvPr>
            <p:cNvSpPr/>
            <p:nvPr/>
          </p:nvSpPr>
          <p:spPr>
            <a:xfrm>
              <a:off x="6086054" y="3871786"/>
              <a:ext cx="667183" cy="1167866"/>
            </a:xfrm>
            <a:custGeom>
              <a:avLst/>
              <a:gdLst/>
              <a:ahLst/>
              <a:cxnLst>
                <a:cxn ang="0">
                  <a:pos x="wd2" y="hd2"/>
                </a:cxn>
                <a:cxn ang="5400000">
                  <a:pos x="wd2" y="hd2"/>
                </a:cxn>
                <a:cxn ang="10800000">
                  <a:pos x="wd2" y="hd2"/>
                </a:cxn>
                <a:cxn ang="16200000">
                  <a:pos x="wd2" y="hd2"/>
                </a:cxn>
              </a:cxnLst>
              <a:rect l="0" t="0" r="r" b="b"/>
              <a:pathLst>
                <a:path w="21600" h="21600" extrusionOk="0">
                  <a:moveTo>
                    <a:pt x="20483" y="15748"/>
                  </a:moveTo>
                  <a:lnTo>
                    <a:pt x="20483" y="10534"/>
                  </a:lnTo>
                  <a:lnTo>
                    <a:pt x="20669" y="745"/>
                  </a:lnTo>
                  <a:lnTo>
                    <a:pt x="20669" y="0"/>
                  </a:lnTo>
                  <a:lnTo>
                    <a:pt x="7634" y="532"/>
                  </a:lnTo>
                  <a:lnTo>
                    <a:pt x="7821" y="851"/>
                  </a:lnTo>
                  <a:lnTo>
                    <a:pt x="7076" y="1064"/>
                  </a:lnTo>
                  <a:lnTo>
                    <a:pt x="6703" y="1277"/>
                  </a:lnTo>
                  <a:lnTo>
                    <a:pt x="6517" y="1596"/>
                  </a:lnTo>
                  <a:lnTo>
                    <a:pt x="6145" y="1809"/>
                  </a:lnTo>
                  <a:lnTo>
                    <a:pt x="5959" y="1809"/>
                  </a:lnTo>
                  <a:lnTo>
                    <a:pt x="5586" y="2341"/>
                  </a:lnTo>
                  <a:lnTo>
                    <a:pt x="5586" y="2767"/>
                  </a:lnTo>
                  <a:lnTo>
                    <a:pt x="5028" y="3299"/>
                  </a:lnTo>
                  <a:lnTo>
                    <a:pt x="4097" y="3937"/>
                  </a:lnTo>
                  <a:lnTo>
                    <a:pt x="3538" y="4256"/>
                  </a:lnTo>
                  <a:lnTo>
                    <a:pt x="3352" y="4682"/>
                  </a:lnTo>
                  <a:lnTo>
                    <a:pt x="3724" y="4788"/>
                  </a:lnTo>
                  <a:lnTo>
                    <a:pt x="3352" y="5107"/>
                  </a:lnTo>
                  <a:lnTo>
                    <a:pt x="2979" y="5533"/>
                  </a:lnTo>
                  <a:lnTo>
                    <a:pt x="3166" y="5746"/>
                  </a:lnTo>
                  <a:lnTo>
                    <a:pt x="2979" y="5746"/>
                  </a:lnTo>
                  <a:lnTo>
                    <a:pt x="2421" y="6171"/>
                  </a:lnTo>
                  <a:lnTo>
                    <a:pt x="2048" y="6491"/>
                  </a:lnTo>
                  <a:lnTo>
                    <a:pt x="2234" y="6597"/>
                  </a:lnTo>
                  <a:lnTo>
                    <a:pt x="2048" y="6810"/>
                  </a:lnTo>
                  <a:lnTo>
                    <a:pt x="2048" y="7023"/>
                  </a:lnTo>
                  <a:lnTo>
                    <a:pt x="2234" y="7129"/>
                  </a:lnTo>
                  <a:lnTo>
                    <a:pt x="2607" y="7448"/>
                  </a:lnTo>
                  <a:lnTo>
                    <a:pt x="2607" y="8300"/>
                  </a:lnTo>
                  <a:lnTo>
                    <a:pt x="2793" y="8619"/>
                  </a:lnTo>
                  <a:lnTo>
                    <a:pt x="2607" y="8938"/>
                  </a:lnTo>
                  <a:lnTo>
                    <a:pt x="2234" y="9470"/>
                  </a:lnTo>
                  <a:lnTo>
                    <a:pt x="2048" y="9470"/>
                  </a:lnTo>
                  <a:lnTo>
                    <a:pt x="2607" y="9683"/>
                  </a:lnTo>
                  <a:lnTo>
                    <a:pt x="2793" y="10002"/>
                  </a:lnTo>
                  <a:lnTo>
                    <a:pt x="2793" y="10215"/>
                  </a:lnTo>
                  <a:lnTo>
                    <a:pt x="2048" y="10428"/>
                  </a:lnTo>
                  <a:lnTo>
                    <a:pt x="2607" y="10640"/>
                  </a:lnTo>
                  <a:lnTo>
                    <a:pt x="2793" y="10853"/>
                  </a:lnTo>
                  <a:lnTo>
                    <a:pt x="2793" y="10960"/>
                  </a:lnTo>
                  <a:lnTo>
                    <a:pt x="2979" y="11492"/>
                  </a:lnTo>
                  <a:lnTo>
                    <a:pt x="2979" y="11704"/>
                  </a:lnTo>
                  <a:lnTo>
                    <a:pt x="3538" y="11917"/>
                  </a:lnTo>
                  <a:lnTo>
                    <a:pt x="3724" y="12236"/>
                  </a:lnTo>
                  <a:lnTo>
                    <a:pt x="3538" y="13088"/>
                  </a:lnTo>
                  <a:lnTo>
                    <a:pt x="2979" y="13407"/>
                  </a:lnTo>
                  <a:lnTo>
                    <a:pt x="2793" y="13407"/>
                  </a:lnTo>
                  <a:lnTo>
                    <a:pt x="2793" y="13833"/>
                  </a:lnTo>
                  <a:lnTo>
                    <a:pt x="2607" y="14045"/>
                  </a:lnTo>
                  <a:lnTo>
                    <a:pt x="1862" y="14684"/>
                  </a:lnTo>
                  <a:lnTo>
                    <a:pt x="1490" y="14897"/>
                  </a:lnTo>
                  <a:lnTo>
                    <a:pt x="1303" y="15641"/>
                  </a:lnTo>
                  <a:lnTo>
                    <a:pt x="1117" y="15854"/>
                  </a:lnTo>
                  <a:lnTo>
                    <a:pt x="931" y="15961"/>
                  </a:lnTo>
                  <a:lnTo>
                    <a:pt x="745" y="16280"/>
                  </a:lnTo>
                  <a:lnTo>
                    <a:pt x="745" y="17025"/>
                  </a:lnTo>
                  <a:lnTo>
                    <a:pt x="186" y="17237"/>
                  </a:lnTo>
                  <a:lnTo>
                    <a:pt x="0" y="17450"/>
                  </a:lnTo>
                  <a:lnTo>
                    <a:pt x="0" y="17769"/>
                  </a:lnTo>
                  <a:lnTo>
                    <a:pt x="186" y="18195"/>
                  </a:lnTo>
                  <a:lnTo>
                    <a:pt x="12290" y="17876"/>
                  </a:lnTo>
                  <a:lnTo>
                    <a:pt x="12103" y="19578"/>
                  </a:lnTo>
                  <a:lnTo>
                    <a:pt x="12476" y="20004"/>
                  </a:lnTo>
                  <a:lnTo>
                    <a:pt x="13034" y="20430"/>
                  </a:lnTo>
                  <a:lnTo>
                    <a:pt x="13221" y="21174"/>
                  </a:lnTo>
                  <a:lnTo>
                    <a:pt x="13221" y="21600"/>
                  </a:lnTo>
                  <a:lnTo>
                    <a:pt x="13407" y="21600"/>
                  </a:lnTo>
                  <a:lnTo>
                    <a:pt x="14338" y="21281"/>
                  </a:lnTo>
                  <a:lnTo>
                    <a:pt x="14710" y="21174"/>
                  </a:lnTo>
                  <a:lnTo>
                    <a:pt x="15269" y="20962"/>
                  </a:lnTo>
                  <a:lnTo>
                    <a:pt x="15269" y="20536"/>
                  </a:lnTo>
                  <a:lnTo>
                    <a:pt x="16572" y="20536"/>
                  </a:lnTo>
                  <a:lnTo>
                    <a:pt x="17317" y="20430"/>
                  </a:lnTo>
                  <a:lnTo>
                    <a:pt x="18248" y="20217"/>
                  </a:lnTo>
                  <a:lnTo>
                    <a:pt x="20297" y="20217"/>
                  </a:lnTo>
                  <a:lnTo>
                    <a:pt x="21041" y="20430"/>
                  </a:lnTo>
                  <a:lnTo>
                    <a:pt x="21600" y="20110"/>
                  </a:lnTo>
                  <a:lnTo>
                    <a:pt x="20483" y="15748"/>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 name="Shape 2318">
              <a:extLst>
                <a:ext uri="{FF2B5EF4-FFF2-40B4-BE49-F238E27FC236}">
                  <a16:creationId xmlns:a16="http://schemas.microsoft.com/office/drawing/2014/main" id="{8D5F86FD-B508-DFB3-FB05-F76660D1CDC4}"/>
                </a:ext>
              </a:extLst>
            </p:cNvPr>
            <p:cNvSpPr/>
            <p:nvPr/>
          </p:nvSpPr>
          <p:spPr>
            <a:xfrm>
              <a:off x="8191124" y="2462296"/>
              <a:ext cx="828224" cy="604071"/>
            </a:xfrm>
            <a:custGeom>
              <a:avLst/>
              <a:gdLst/>
              <a:ahLst/>
              <a:cxnLst>
                <a:cxn ang="0">
                  <a:pos x="wd2" y="hd2"/>
                </a:cxn>
                <a:cxn ang="5400000">
                  <a:pos x="wd2" y="hd2"/>
                </a:cxn>
                <a:cxn ang="10800000">
                  <a:pos x="wd2" y="hd2"/>
                </a:cxn>
                <a:cxn ang="16200000">
                  <a:pos x="wd2" y="hd2"/>
                </a:cxn>
              </a:cxnLst>
              <a:rect l="0" t="0" r="r" b="b"/>
              <a:pathLst>
                <a:path w="21600" h="21600" extrusionOk="0">
                  <a:moveTo>
                    <a:pt x="17026" y="0"/>
                  </a:moveTo>
                  <a:cubicBezTo>
                    <a:pt x="0" y="4215"/>
                    <a:pt x="0" y="4215"/>
                    <a:pt x="0" y="4215"/>
                  </a:cubicBezTo>
                  <a:cubicBezTo>
                    <a:pt x="0" y="4215"/>
                    <a:pt x="0" y="4215"/>
                    <a:pt x="0" y="4215"/>
                  </a:cubicBezTo>
                  <a:cubicBezTo>
                    <a:pt x="381" y="7727"/>
                    <a:pt x="381" y="7727"/>
                    <a:pt x="381" y="7727"/>
                  </a:cubicBezTo>
                  <a:cubicBezTo>
                    <a:pt x="889" y="7727"/>
                    <a:pt x="889" y="7727"/>
                    <a:pt x="889" y="7727"/>
                  </a:cubicBezTo>
                  <a:cubicBezTo>
                    <a:pt x="2033" y="5795"/>
                    <a:pt x="2033" y="5795"/>
                    <a:pt x="2033" y="5795"/>
                  </a:cubicBezTo>
                  <a:cubicBezTo>
                    <a:pt x="2795" y="5795"/>
                    <a:pt x="2795" y="5795"/>
                    <a:pt x="2795" y="5795"/>
                  </a:cubicBezTo>
                  <a:cubicBezTo>
                    <a:pt x="3558" y="4390"/>
                    <a:pt x="3558" y="4390"/>
                    <a:pt x="3558" y="4390"/>
                  </a:cubicBezTo>
                  <a:cubicBezTo>
                    <a:pt x="3812" y="4390"/>
                    <a:pt x="3812" y="4390"/>
                    <a:pt x="3812" y="4390"/>
                  </a:cubicBezTo>
                  <a:cubicBezTo>
                    <a:pt x="3939" y="4741"/>
                    <a:pt x="3939" y="4741"/>
                    <a:pt x="3939" y="4741"/>
                  </a:cubicBezTo>
                  <a:cubicBezTo>
                    <a:pt x="4828" y="3863"/>
                    <a:pt x="4828" y="3863"/>
                    <a:pt x="4828" y="3863"/>
                  </a:cubicBezTo>
                  <a:cubicBezTo>
                    <a:pt x="5209" y="3863"/>
                    <a:pt x="5209" y="3863"/>
                    <a:pt x="5209" y="3863"/>
                  </a:cubicBezTo>
                  <a:cubicBezTo>
                    <a:pt x="6226" y="3161"/>
                    <a:pt x="6226" y="3161"/>
                    <a:pt x="6226" y="3161"/>
                  </a:cubicBezTo>
                  <a:cubicBezTo>
                    <a:pt x="8005" y="3863"/>
                    <a:pt x="8005" y="3863"/>
                    <a:pt x="8005" y="3863"/>
                  </a:cubicBezTo>
                  <a:cubicBezTo>
                    <a:pt x="8513" y="4917"/>
                    <a:pt x="8513" y="4917"/>
                    <a:pt x="8513" y="4917"/>
                  </a:cubicBezTo>
                  <a:cubicBezTo>
                    <a:pt x="8894" y="6322"/>
                    <a:pt x="8894" y="6322"/>
                    <a:pt x="8894" y="6322"/>
                  </a:cubicBezTo>
                  <a:cubicBezTo>
                    <a:pt x="9021" y="6322"/>
                    <a:pt x="9021" y="6322"/>
                    <a:pt x="9021" y="6322"/>
                  </a:cubicBezTo>
                  <a:cubicBezTo>
                    <a:pt x="10546" y="7551"/>
                    <a:pt x="10546" y="7551"/>
                    <a:pt x="10546" y="7551"/>
                  </a:cubicBezTo>
                  <a:cubicBezTo>
                    <a:pt x="11181" y="8429"/>
                    <a:pt x="11181" y="8429"/>
                    <a:pt x="11181" y="8429"/>
                  </a:cubicBezTo>
                  <a:cubicBezTo>
                    <a:pt x="11816" y="8956"/>
                    <a:pt x="11816" y="8956"/>
                    <a:pt x="11816" y="8956"/>
                  </a:cubicBezTo>
                  <a:cubicBezTo>
                    <a:pt x="11944" y="9834"/>
                    <a:pt x="11944" y="9834"/>
                    <a:pt x="11944" y="9834"/>
                  </a:cubicBezTo>
                  <a:cubicBezTo>
                    <a:pt x="11689" y="10537"/>
                    <a:pt x="11689" y="10537"/>
                    <a:pt x="11689" y="10537"/>
                  </a:cubicBezTo>
                  <a:cubicBezTo>
                    <a:pt x="11181" y="10712"/>
                    <a:pt x="11181" y="10712"/>
                    <a:pt x="11181" y="10712"/>
                  </a:cubicBezTo>
                  <a:cubicBezTo>
                    <a:pt x="11308" y="12995"/>
                    <a:pt x="11308" y="12995"/>
                    <a:pt x="11308" y="12995"/>
                  </a:cubicBezTo>
                  <a:cubicBezTo>
                    <a:pt x="11562" y="13346"/>
                    <a:pt x="11562" y="13346"/>
                    <a:pt x="11562" y="13346"/>
                  </a:cubicBezTo>
                  <a:cubicBezTo>
                    <a:pt x="11944" y="13171"/>
                    <a:pt x="11944" y="13171"/>
                    <a:pt x="11944" y="13171"/>
                  </a:cubicBezTo>
                  <a:cubicBezTo>
                    <a:pt x="12325" y="12995"/>
                    <a:pt x="12325" y="12995"/>
                    <a:pt x="12325" y="12995"/>
                  </a:cubicBezTo>
                  <a:cubicBezTo>
                    <a:pt x="12833" y="13171"/>
                    <a:pt x="12833" y="13171"/>
                    <a:pt x="12833" y="13171"/>
                  </a:cubicBezTo>
                  <a:cubicBezTo>
                    <a:pt x="12960" y="13346"/>
                    <a:pt x="12960" y="13346"/>
                    <a:pt x="12960" y="13346"/>
                  </a:cubicBezTo>
                  <a:cubicBezTo>
                    <a:pt x="13468" y="13171"/>
                    <a:pt x="13468" y="13171"/>
                    <a:pt x="13468" y="13171"/>
                  </a:cubicBezTo>
                  <a:cubicBezTo>
                    <a:pt x="15120" y="13346"/>
                    <a:pt x="15120" y="13346"/>
                    <a:pt x="15120" y="13346"/>
                  </a:cubicBezTo>
                  <a:cubicBezTo>
                    <a:pt x="15501" y="13698"/>
                    <a:pt x="15501" y="13698"/>
                    <a:pt x="15501" y="13698"/>
                  </a:cubicBezTo>
                  <a:cubicBezTo>
                    <a:pt x="16009" y="14049"/>
                    <a:pt x="16009" y="14049"/>
                    <a:pt x="16009" y="14049"/>
                  </a:cubicBezTo>
                  <a:cubicBezTo>
                    <a:pt x="16391" y="13873"/>
                    <a:pt x="16391" y="13873"/>
                    <a:pt x="16391" y="13873"/>
                  </a:cubicBezTo>
                  <a:cubicBezTo>
                    <a:pt x="16136" y="13171"/>
                    <a:pt x="16136" y="13171"/>
                    <a:pt x="16136" y="13171"/>
                  </a:cubicBezTo>
                  <a:cubicBezTo>
                    <a:pt x="15755" y="12644"/>
                    <a:pt x="15755" y="12644"/>
                    <a:pt x="15755" y="12644"/>
                  </a:cubicBezTo>
                  <a:cubicBezTo>
                    <a:pt x="15755" y="12117"/>
                    <a:pt x="15755" y="12117"/>
                    <a:pt x="15755" y="12117"/>
                  </a:cubicBezTo>
                  <a:cubicBezTo>
                    <a:pt x="15755" y="11941"/>
                    <a:pt x="15755" y="11941"/>
                    <a:pt x="15755" y="11941"/>
                  </a:cubicBezTo>
                  <a:cubicBezTo>
                    <a:pt x="14993" y="10537"/>
                    <a:pt x="14993" y="10537"/>
                    <a:pt x="14993" y="10537"/>
                  </a:cubicBezTo>
                  <a:cubicBezTo>
                    <a:pt x="14739" y="10010"/>
                    <a:pt x="14739" y="10010"/>
                    <a:pt x="14739" y="10010"/>
                  </a:cubicBezTo>
                  <a:cubicBezTo>
                    <a:pt x="14739" y="8780"/>
                    <a:pt x="14739" y="8780"/>
                    <a:pt x="14739" y="8780"/>
                  </a:cubicBezTo>
                  <a:cubicBezTo>
                    <a:pt x="14612" y="7551"/>
                    <a:pt x="14612" y="7551"/>
                    <a:pt x="14612" y="7551"/>
                  </a:cubicBezTo>
                  <a:cubicBezTo>
                    <a:pt x="14739" y="6322"/>
                    <a:pt x="14739" y="6322"/>
                    <a:pt x="14739" y="6322"/>
                  </a:cubicBezTo>
                  <a:cubicBezTo>
                    <a:pt x="14358" y="5444"/>
                    <a:pt x="14358" y="5444"/>
                    <a:pt x="14358" y="5444"/>
                  </a:cubicBezTo>
                  <a:cubicBezTo>
                    <a:pt x="14104" y="4917"/>
                    <a:pt x="14104" y="4917"/>
                    <a:pt x="14104" y="4917"/>
                  </a:cubicBezTo>
                  <a:cubicBezTo>
                    <a:pt x="14612" y="4917"/>
                    <a:pt x="14612" y="4917"/>
                    <a:pt x="14612" y="4917"/>
                  </a:cubicBezTo>
                  <a:cubicBezTo>
                    <a:pt x="14993" y="3863"/>
                    <a:pt x="14993" y="3863"/>
                    <a:pt x="14993" y="3863"/>
                  </a:cubicBezTo>
                  <a:cubicBezTo>
                    <a:pt x="15755" y="3161"/>
                    <a:pt x="15755" y="3161"/>
                    <a:pt x="15755" y="3161"/>
                  </a:cubicBezTo>
                  <a:cubicBezTo>
                    <a:pt x="16136" y="2107"/>
                    <a:pt x="16136" y="2107"/>
                    <a:pt x="16136" y="2107"/>
                  </a:cubicBezTo>
                  <a:cubicBezTo>
                    <a:pt x="16391" y="2283"/>
                    <a:pt x="16391" y="2283"/>
                    <a:pt x="16391" y="2283"/>
                  </a:cubicBezTo>
                  <a:cubicBezTo>
                    <a:pt x="16264" y="3512"/>
                    <a:pt x="16264" y="3512"/>
                    <a:pt x="16264" y="3512"/>
                  </a:cubicBezTo>
                  <a:cubicBezTo>
                    <a:pt x="15882" y="3688"/>
                    <a:pt x="15882" y="3688"/>
                    <a:pt x="15882" y="3688"/>
                  </a:cubicBezTo>
                  <a:cubicBezTo>
                    <a:pt x="15628" y="4741"/>
                    <a:pt x="15628" y="4741"/>
                    <a:pt x="15628" y="4741"/>
                  </a:cubicBezTo>
                  <a:cubicBezTo>
                    <a:pt x="15628" y="5444"/>
                    <a:pt x="15628" y="5444"/>
                    <a:pt x="15628" y="5444"/>
                  </a:cubicBezTo>
                  <a:cubicBezTo>
                    <a:pt x="16136" y="5444"/>
                    <a:pt x="16136" y="5444"/>
                    <a:pt x="16136" y="5444"/>
                  </a:cubicBezTo>
                  <a:cubicBezTo>
                    <a:pt x="15501" y="6322"/>
                    <a:pt x="15501" y="6322"/>
                    <a:pt x="15501" y="6322"/>
                  </a:cubicBezTo>
                  <a:cubicBezTo>
                    <a:pt x="15247" y="6849"/>
                    <a:pt x="15247" y="6849"/>
                    <a:pt x="15247" y="6849"/>
                  </a:cubicBezTo>
                  <a:cubicBezTo>
                    <a:pt x="16009" y="7200"/>
                    <a:pt x="16009" y="7200"/>
                    <a:pt x="16009" y="7200"/>
                  </a:cubicBezTo>
                  <a:cubicBezTo>
                    <a:pt x="16264" y="7376"/>
                    <a:pt x="16264" y="7376"/>
                    <a:pt x="16264" y="7376"/>
                  </a:cubicBezTo>
                  <a:cubicBezTo>
                    <a:pt x="16645" y="8078"/>
                    <a:pt x="16645" y="8078"/>
                    <a:pt x="16645" y="8078"/>
                  </a:cubicBezTo>
                  <a:cubicBezTo>
                    <a:pt x="16518" y="8254"/>
                    <a:pt x="16518" y="8254"/>
                    <a:pt x="16518" y="8254"/>
                  </a:cubicBezTo>
                  <a:cubicBezTo>
                    <a:pt x="17026" y="8956"/>
                    <a:pt x="17026" y="8956"/>
                    <a:pt x="17026" y="8956"/>
                  </a:cubicBezTo>
                  <a:cubicBezTo>
                    <a:pt x="17026" y="9307"/>
                    <a:pt x="17026" y="9307"/>
                    <a:pt x="17026" y="9307"/>
                  </a:cubicBezTo>
                  <a:cubicBezTo>
                    <a:pt x="16518" y="10010"/>
                    <a:pt x="16518" y="10010"/>
                    <a:pt x="16518" y="10010"/>
                  </a:cubicBezTo>
                  <a:cubicBezTo>
                    <a:pt x="16136" y="10010"/>
                    <a:pt x="16136" y="10010"/>
                    <a:pt x="16136" y="10010"/>
                  </a:cubicBezTo>
                  <a:cubicBezTo>
                    <a:pt x="16264" y="10712"/>
                    <a:pt x="16264" y="10712"/>
                    <a:pt x="16264" y="10712"/>
                  </a:cubicBezTo>
                  <a:cubicBezTo>
                    <a:pt x="16136" y="11063"/>
                    <a:pt x="16136" y="11063"/>
                    <a:pt x="16136" y="11063"/>
                  </a:cubicBezTo>
                  <a:cubicBezTo>
                    <a:pt x="16391" y="11415"/>
                    <a:pt x="16391" y="11415"/>
                    <a:pt x="16391" y="11415"/>
                  </a:cubicBezTo>
                  <a:cubicBezTo>
                    <a:pt x="16899" y="11590"/>
                    <a:pt x="16899" y="11590"/>
                    <a:pt x="16899" y="11590"/>
                  </a:cubicBezTo>
                  <a:cubicBezTo>
                    <a:pt x="17661" y="11590"/>
                    <a:pt x="17661" y="11590"/>
                    <a:pt x="17661" y="11590"/>
                  </a:cubicBezTo>
                  <a:cubicBezTo>
                    <a:pt x="18169" y="12117"/>
                    <a:pt x="18169" y="12117"/>
                    <a:pt x="18169" y="12117"/>
                  </a:cubicBezTo>
                  <a:cubicBezTo>
                    <a:pt x="18551" y="13171"/>
                    <a:pt x="18551" y="13171"/>
                    <a:pt x="18551" y="13171"/>
                  </a:cubicBezTo>
                  <a:cubicBezTo>
                    <a:pt x="18805" y="14049"/>
                    <a:pt x="18805" y="14049"/>
                    <a:pt x="18805" y="14049"/>
                  </a:cubicBezTo>
                  <a:cubicBezTo>
                    <a:pt x="18678" y="14224"/>
                    <a:pt x="18678" y="14224"/>
                    <a:pt x="18678" y="14224"/>
                  </a:cubicBezTo>
                  <a:cubicBezTo>
                    <a:pt x="19059" y="14751"/>
                    <a:pt x="19059" y="14751"/>
                    <a:pt x="19059" y="14751"/>
                  </a:cubicBezTo>
                  <a:cubicBezTo>
                    <a:pt x="19313" y="15629"/>
                    <a:pt x="19313" y="15629"/>
                    <a:pt x="19313" y="15629"/>
                  </a:cubicBezTo>
                  <a:cubicBezTo>
                    <a:pt x="18932" y="17210"/>
                    <a:pt x="18932" y="17210"/>
                    <a:pt x="18932" y="17210"/>
                  </a:cubicBezTo>
                  <a:cubicBezTo>
                    <a:pt x="18805" y="18263"/>
                    <a:pt x="18805" y="18263"/>
                    <a:pt x="18805" y="18263"/>
                  </a:cubicBezTo>
                  <a:cubicBezTo>
                    <a:pt x="18805" y="20020"/>
                    <a:pt x="18805" y="20020"/>
                    <a:pt x="18805" y="20020"/>
                  </a:cubicBezTo>
                  <a:cubicBezTo>
                    <a:pt x="18932" y="21073"/>
                    <a:pt x="18932" y="21073"/>
                    <a:pt x="18932" y="21073"/>
                  </a:cubicBezTo>
                  <a:cubicBezTo>
                    <a:pt x="19186" y="21600"/>
                    <a:pt x="19186" y="21600"/>
                    <a:pt x="19186" y="21600"/>
                  </a:cubicBezTo>
                  <a:cubicBezTo>
                    <a:pt x="19440" y="20371"/>
                    <a:pt x="19440" y="20371"/>
                    <a:pt x="19440" y="20371"/>
                  </a:cubicBezTo>
                  <a:cubicBezTo>
                    <a:pt x="19567" y="18439"/>
                    <a:pt x="19567" y="18439"/>
                    <a:pt x="19567" y="18439"/>
                  </a:cubicBezTo>
                  <a:cubicBezTo>
                    <a:pt x="19948" y="17912"/>
                    <a:pt x="19948" y="17912"/>
                    <a:pt x="19948" y="17912"/>
                  </a:cubicBezTo>
                  <a:cubicBezTo>
                    <a:pt x="19948" y="17385"/>
                    <a:pt x="19948" y="17385"/>
                    <a:pt x="19948" y="17385"/>
                  </a:cubicBezTo>
                  <a:cubicBezTo>
                    <a:pt x="19948" y="17034"/>
                    <a:pt x="19948" y="17034"/>
                    <a:pt x="19948" y="17034"/>
                  </a:cubicBezTo>
                  <a:cubicBezTo>
                    <a:pt x="20329" y="16683"/>
                    <a:pt x="20329" y="16683"/>
                    <a:pt x="20329" y="16683"/>
                  </a:cubicBezTo>
                  <a:cubicBezTo>
                    <a:pt x="20711" y="15980"/>
                    <a:pt x="20711" y="15980"/>
                    <a:pt x="20711" y="15980"/>
                  </a:cubicBezTo>
                  <a:cubicBezTo>
                    <a:pt x="20711" y="14400"/>
                    <a:pt x="20711" y="14400"/>
                    <a:pt x="20711" y="14400"/>
                  </a:cubicBezTo>
                  <a:cubicBezTo>
                    <a:pt x="20711" y="13873"/>
                    <a:pt x="20711" y="13873"/>
                    <a:pt x="20711" y="13873"/>
                  </a:cubicBezTo>
                  <a:cubicBezTo>
                    <a:pt x="20711" y="13171"/>
                    <a:pt x="20711" y="13171"/>
                    <a:pt x="20711" y="13171"/>
                  </a:cubicBezTo>
                  <a:cubicBezTo>
                    <a:pt x="21219" y="12468"/>
                    <a:pt x="21219" y="12468"/>
                    <a:pt x="21219" y="12468"/>
                  </a:cubicBezTo>
                  <a:cubicBezTo>
                    <a:pt x="21346" y="12995"/>
                    <a:pt x="21346" y="12995"/>
                    <a:pt x="21346" y="12995"/>
                  </a:cubicBezTo>
                  <a:cubicBezTo>
                    <a:pt x="21219" y="13522"/>
                    <a:pt x="21219" y="13522"/>
                    <a:pt x="21219" y="13522"/>
                  </a:cubicBezTo>
                  <a:cubicBezTo>
                    <a:pt x="21219" y="13522"/>
                    <a:pt x="20965" y="14049"/>
                    <a:pt x="20965" y="14049"/>
                  </a:cubicBezTo>
                  <a:cubicBezTo>
                    <a:pt x="21092" y="14224"/>
                    <a:pt x="21346" y="14400"/>
                    <a:pt x="21346" y="14400"/>
                  </a:cubicBezTo>
                  <a:cubicBezTo>
                    <a:pt x="21600" y="13522"/>
                    <a:pt x="21600" y="13522"/>
                    <a:pt x="21600" y="13522"/>
                  </a:cubicBezTo>
                  <a:cubicBezTo>
                    <a:pt x="21600" y="11941"/>
                    <a:pt x="21600" y="11941"/>
                    <a:pt x="21600" y="11941"/>
                  </a:cubicBezTo>
                  <a:cubicBezTo>
                    <a:pt x="21473" y="9483"/>
                    <a:pt x="21473" y="9483"/>
                    <a:pt x="21473" y="9483"/>
                  </a:cubicBezTo>
                  <a:cubicBezTo>
                    <a:pt x="21473" y="9483"/>
                    <a:pt x="21473" y="9483"/>
                    <a:pt x="21473" y="9483"/>
                  </a:cubicBezTo>
                  <a:cubicBezTo>
                    <a:pt x="18805" y="10010"/>
                    <a:pt x="18805" y="10010"/>
                    <a:pt x="18805" y="10010"/>
                  </a:cubicBezTo>
                  <a:lnTo>
                    <a:pt x="17026"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 name="Shape 2319">
              <a:extLst>
                <a:ext uri="{FF2B5EF4-FFF2-40B4-BE49-F238E27FC236}">
                  <a16:creationId xmlns:a16="http://schemas.microsoft.com/office/drawing/2014/main" id="{83C6CFD1-A567-D5F5-C61A-1D05A6F6A6E9}"/>
                </a:ext>
              </a:extLst>
            </p:cNvPr>
            <p:cNvSpPr/>
            <p:nvPr/>
          </p:nvSpPr>
          <p:spPr>
            <a:xfrm>
              <a:off x="7684985" y="2393261"/>
              <a:ext cx="851231" cy="839944"/>
            </a:xfrm>
            <a:custGeom>
              <a:avLst/>
              <a:gdLst/>
              <a:ahLst/>
              <a:cxnLst>
                <a:cxn ang="0">
                  <a:pos x="wd2" y="hd2"/>
                </a:cxn>
                <a:cxn ang="5400000">
                  <a:pos x="wd2" y="hd2"/>
                </a:cxn>
                <a:cxn ang="10800000">
                  <a:pos x="wd2" y="hd2"/>
                </a:cxn>
                <a:cxn ang="16200000">
                  <a:pos x="wd2" y="hd2"/>
                </a:cxn>
              </a:cxnLst>
              <a:rect l="0" t="0" r="r" b="b"/>
              <a:pathLst>
                <a:path w="21600" h="21600" extrusionOk="0">
                  <a:moveTo>
                    <a:pt x="3065" y="20121"/>
                  </a:moveTo>
                  <a:lnTo>
                    <a:pt x="3503" y="20121"/>
                  </a:lnTo>
                  <a:lnTo>
                    <a:pt x="3649" y="20564"/>
                  </a:lnTo>
                  <a:lnTo>
                    <a:pt x="4524" y="21304"/>
                  </a:lnTo>
                  <a:lnTo>
                    <a:pt x="5254" y="21600"/>
                  </a:lnTo>
                  <a:lnTo>
                    <a:pt x="5546" y="21600"/>
                  </a:lnTo>
                  <a:lnTo>
                    <a:pt x="6422" y="20564"/>
                  </a:lnTo>
                  <a:lnTo>
                    <a:pt x="7005" y="21008"/>
                  </a:lnTo>
                  <a:lnTo>
                    <a:pt x="8319" y="20712"/>
                  </a:lnTo>
                  <a:lnTo>
                    <a:pt x="9341" y="19825"/>
                  </a:lnTo>
                  <a:lnTo>
                    <a:pt x="10946" y="18937"/>
                  </a:lnTo>
                  <a:lnTo>
                    <a:pt x="11530" y="18493"/>
                  </a:lnTo>
                  <a:lnTo>
                    <a:pt x="11384" y="17310"/>
                  </a:lnTo>
                  <a:lnTo>
                    <a:pt x="11530" y="16570"/>
                  </a:lnTo>
                  <a:lnTo>
                    <a:pt x="12259" y="15830"/>
                  </a:lnTo>
                  <a:lnTo>
                    <a:pt x="12697" y="14647"/>
                  </a:lnTo>
                  <a:lnTo>
                    <a:pt x="13135" y="12871"/>
                  </a:lnTo>
                  <a:lnTo>
                    <a:pt x="13281" y="11836"/>
                  </a:lnTo>
                  <a:lnTo>
                    <a:pt x="13865" y="12132"/>
                  </a:lnTo>
                  <a:lnTo>
                    <a:pt x="14595" y="12427"/>
                  </a:lnTo>
                  <a:lnTo>
                    <a:pt x="14886" y="12575"/>
                  </a:lnTo>
                  <a:lnTo>
                    <a:pt x="15032" y="12279"/>
                  </a:lnTo>
                  <a:lnTo>
                    <a:pt x="15470" y="11096"/>
                  </a:lnTo>
                  <a:lnTo>
                    <a:pt x="15762" y="10504"/>
                  </a:lnTo>
                  <a:lnTo>
                    <a:pt x="15908" y="9912"/>
                  </a:lnTo>
                  <a:lnTo>
                    <a:pt x="16492" y="9912"/>
                  </a:lnTo>
                  <a:lnTo>
                    <a:pt x="16638" y="10208"/>
                  </a:lnTo>
                  <a:lnTo>
                    <a:pt x="17368" y="8877"/>
                  </a:lnTo>
                  <a:lnTo>
                    <a:pt x="17805" y="8433"/>
                  </a:lnTo>
                  <a:lnTo>
                    <a:pt x="18097" y="7989"/>
                  </a:lnTo>
                  <a:lnTo>
                    <a:pt x="18389" y="6953"/>
                  </a:lnTo>
                  <a:lnTo>
                    <a:pt x="18389" y="5770"/>
                  </a:lnTo>
                  <a:lnTo>
                    <a:pt x="19703" y="6510"/>
                  </a:lnTo>
                  <a:lnTo>
                    <a:pt x="20578" y="6953"/>
                  </a:lnTo>
                  <a:lnTo>
                    <a:pt x="20870" y="6953"/>
                  </a:lnTo>
                  <a:lnTo>
                    <a:pt x="21308" y="6510"/>
                  </a:lnTo>
                  <a:lnTo>
                    <a:pt x="21600" y="6362"/>
                  </a:lnTo>
                  <a:lnTo>
                    <a:pt x="21454" y="6362"/>
                  </a:lnTo>
                  <a:lnTo>
                    <a:pt x="21162" y="5326"/>
                  </a:lnTo>
                  <a:lnTo>
                    <a:pt x="20578" y="4586"/>
                  </a:lnTo>
                  <a:lnTo>
                    <a:pt x="18973" y="4142"/>
                  </a:lnTo>
                  <a:lnTo>
                    <a:pt x="17951" y="4586"/>
                  </a:lnTo>
                  <a:lnTo>
                    <a:pt x="17514" y="4586"/>
                  </a:lnTo>
                  <a:lnTo>
                    <a:pt x="16638" y="5178"/>
                  </a:lnTo>
                  <a:lnTo>
                    <a:pt x="16492" y="5030"/>
                  </a:lnTo>
                  <a:lnTo>
                    <a:pt x="16346" y="5030"/>
                  </a:lnTo>
                  <a:lnTo>
                    <a:pt x="15616" y="5918"/>
                  </a:lnTo>
                  <a:lnTo>
                    <a:pt x="14886" y="5918"/>
                  </a:lnTo>
                  <a:lnTo>
                    <a:pt x="13719" y="7397"/>
                  </a:lnTo>
                  <a:lnTo>
                    <a:pt x="13281" y="7397"/>
                  </a:lnTo>
                  <a:lnTo>
                    <a:pt x="12843" y="4882"/>
                  </a:lnTo>
                  <a:lnTo>
                    <a:pt x="8319" y="5770"/>
                  </a:lnTo>
                  <a:lnTo>
                    <a:pt x="7443" y="0"/>
                  </a:lnTo>
                  <a:lnTo>
                    <a:pt x="7005" y="0"/>
                  </a:lnTo>
                  <a:lnTo>
                    <a:pt x="6859" y="444"/>
                  </a:lnTo>
                  <a:lnTo>
                    <a:pt x="7005" y="888"/>
                  </a:lnTo>
                  <a:lnTo>
                    <a:pt x="7005" y="2811"/>
                  </a:lnTo>
                  <a:lnTo>
                    <a:pt x="6859" y="3255"/>
                  </a:lnTo>
                  <a:lnTo>
                    <a:pt x="6859" y="4142"/>
                  </a:lnTo>
                  <a:lnTo>
                    <a:pt x="6714" y="5326"/>
                  </a:lnTo>
                  <a:lnTo>
                    <a:pt x="6714" y="5770"/>
                  </a:lnTo>
                  <a:lnTo>
                    <a:pt x="6422" y="6510"/>
                  </a:lnTo>
                  <a:lnTo>
                    <a:pt x="5254" y="7545"/>
                  </a:lnTo>
                  <a:lnTo>
                    <a:pt x="4816" y="8137"/>
                  </a:lnTo>
                  <a:lnTo>
                    <a:pt x="4086" y="8137"/>
                  </a:lnTo>
                  <a:lnTo>
                    <a:pt x="3503" y="9025"/>
                  </a:lnTo>
                  <a:lnTo>
                    <a:pt x="3065" y="9616"/>
                  </a:lnTo>
                  <a:lnTo>
                    <a:pt x="2919" y="11096"/>
                  </a:lnTo>
                  <a:lnTo>
                    <a:pt x="2773" y="11244"/>
                  </a:lnTo>
                  <a:lnTo>
                    <a:pt x="2189" y="10800"/>
                  </a:lnTo>
                  <a:lnTo>
                    <a:pt x="1751" y="11244"/>
                  </a:lnTo>
                  <a:lnTo>
                    <a:pt x="1314" y="12871"/>
                  </a:lnTo>
                  <a:lnTo>
                    <a:pt x="1314" y="13463"/>
                  </a:lnTo>
                  <a:lnTo>
                    <a:pt x="1022" y="13907"/>
                  </a:lnTo>
                  <a:lnTo>
                    <a:pt x="0" y="14942"/>
                  </a:lnTo>
                  <a:lnTo>
                    <a:pt x="438" y="16866"/>
                  </a:lnTo>
                  <a:lnTo>
                    <a:pt x="730" y="17753"/>
                  </a:lnTo>
                  <a:lnTo>
                    <a:pt x="1459" y="18789"/>
                  </a:lnTo>
                  <a:lnTo>
                    <a:pt x="2189" y="19529"/>
                  </a:lnTo>
                  <a:lnTo>
                    <a:pt x="2773" y="20416"/>
                  </a:lnTo>
                  <a:lnTo>
                    <a:pt x="2919" y="20416"/>
                  </a:lnTo>
                  <a:lnTo>
                    <a:pt x="3065" y="20121"/>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 name="Shape 2320">
              <a:extLst>
                <a:ext uri="{FF2B5EF4-FFF2-40B4-BE49-F238E27FC236}">
                  <a16:creationId xmlns:a16="http://schemas.microsoft.com/office/drawing/2014/main" id="{B7508F9B-8DBD-5D5E-872B-65BDA592269E}"/>
                </a:ext>
              </a:extLst>
            </p:cNvPr>
            <p:cNvSpPr/>
            <p:nvPr/>
          </p:nvSpPr>
          <p:spPr>
            <a:xfrm>
              <a:off x="6436905" y="2841995"/>
              <a:ext cx="1357364" cy="701871"/>
            </a:xfrm>
            <a:custGeom>
              <a:avLst/>
              <a:gdLst/>
              <a:ahLst/>
              <a:cxnLst>
                <a:cxn ang="0">
                  <a:pos x="wd2" y="hd2"/>
                </a:cxn>
                <a:cxn ang="5400000">
                  <a:pos x="wd2" y="hd2"/>
                </a:cxn>
                <a:cxn ang="10800000">
                  <a:pos x="wd2" y="hd2"/>
                </a:cxn>
                <a:cxn ang="16200000">
                  <a:pos x="wd2" y="hd2"/>
                </a:cxn>
              </a:cxnLst>
              <a:rect l="0" t="0" r="r" b="b"/>
              <a:pathLst>
                <a:path w="21600" h="21600" extrusionOk="0">
                  <a:moveTo>
                    <a:pt x="18488" y="16643"/>
                  </a:moveTo>
                  <a:lnTo>
                    <a:pt x="18946" y="16111"/>
                  </a:lnTo>
                  <a:lnTo>
                    <a:pt x="19220" y="15757"/>
                  </a:lnTo>
                  <a:lnTo>
                    <a:pt x="19586" y="15580"/>
                  </a:lnTo>
                  <a:lnTo>
                    <a:pt x="19861" y="13987"/>
                  </a:lnTo>
                  <a:lnTo>
                    <a:pt x="20136" y="13102"/>
                  </a:lnTo>
                  <a:lnTo>
                    <a:pt x="21142" y="12393"/>
                  </a:lnTo>
                  <a:lnTo>
                    <a:pt x="21508" y="11331"/>
                  </a:lnTo>
                  <a:lnTo>
                    <a:pt x="21600" y="10623"/>
                  </a:lnTo>
                  <a:lnTo>
                    <a:pt x="21234" y="9561"/>
                  </a:lnTo>
                  <a:lnTo>
                    <a:pt x="20776" y="8675"/>
                  </a:lnTo>
                  <a:lnTo>
                    <a:pt x="20319" y="7436"/>
                  </a:lnTo>
                  <a:lnTo>
                    <a:pt x="20136" y="6374"/>
                  </a:lnTo>
                  <a:lnTo>
                    <a:pt x="19861" y="4072"/>
                  </a:lnTo>
                  <a:lnTo>
                    <a:pt x="19953" y="3895"/>
                  </a:lnTo>
                  <a:lnTo>
                    <a:pt x="19678" y="3895"/>
                  </a:lnTo>
                  <a:lnTo>
                    <a:pt x="19312" y="3187"/>
                  </a:lnTo>
                  <a:lnTo>
                    <a:pt x="18946" y="2302"/>
                  </a:lnTo>
                  <a:lnTo>
                    <a:pt x="18671" y="1770"/>
                  </a:lnTo>
                  <a:lnTo>
                    <a:pt x="18580" y="1948"/>
                  </a:lnTo>
                  <a:lnTo>
                    <a:pt x="18397" y="2125"/>
                  </a:lnTo>
                  <a:lnTo>
                    <a:pt x="18214" y="2656"/>
                  </a:lnTo>
                  <a:lnTo>
                    <a:pt x="18122" y="2833"/>
                  </a:lnTo>
                  <a:lnTo>
                    <a:pt x="17573" y="3010"/>
                  </a:lnTo>
                  <a:lnTo>
                    <a:pt x="17115" y="2656"/>
                  </a:lnTo>
                  <a:lnTo>
                    <a:pt x="16841" y="2302"/>
                  </a:lnTo>
                  <a:lnTo>
                    <a:pt x="16566" y="2833"/>
                  </a:lnTo>
                  <a:lnTo>
                    <a:pt x="16566" y="3010"/>
                  </a:lnTo>
                  <a:lnTo>
                    <a:pt x="16292" y="3187"/>
                  </a:lnTo>
                  <a:lnTo>
                    <a:pt x="16108" y="2833"/>
                  </a:lnTo>
                  <a:lnTo>
                    <a:pt x="15925" y="2656"/>
                  </a:lnTo>
                  <a:lnTo>
                    <a:pt x="15651" y="2479"/>
                  </a:lnTo>
                  <a:lnTo>
                    <a:pt x="15193" y="2302"/>
                  </a:lnTo>
                  <a:lnTo>
                    <a:pt x="14919" y="1239"/>
                  </a:lnTo>
                  <a:lnTo>
                    <a:pt x="14553" y="708"/>
                  </a:lnTo>
                  <a:lnTo>
                    <a:pt x="14095" y="0"/>
                  </a:lnTo>
                  <a:lnTo>
                    <a:pt x="14003" y="177"/>
                  </a:lnTo>
                  <a:lnTo>
                    <a:pt x="13546" y="531"/>
                  </a:lnTo>
                  <a:lnTo>
                    <a:pt x="13088" y="177"/>
                  </a:lnTo>
                  <a:lnTo>
                    <a:pt x="12905" y="354"/>
                  </a:lnTo>
                  <a:lnTo>
                    <a:pt x="12997" y="1062"/>
                  </a:lnTo>
                  <a:lnTo>
                    <a:pt x="13180" y="1239"/>
                  </a:lnTo>
                  <a:lnTo>
                    <a:pt x="13088" y="1593"/>
                  </a:lnTo>
                  <a:lnTo>
                    <a:pt x="13180" y="2656"/>
                  </a:lnTo>
                  <a:lnTo>
                    <a:pt x="12997" y="3010"/>
                  </a:lnTo>
                  <a:lnTo>
                    <a:pt x="12631" y="3010"/>
                  </a:lnTo>
                  <a:lnTo>
                    <a:pt x="12264" y="3364"/>
                  </a:lnTo>
                  <a:lnTo>
                    <a:pt x="11532" y="3541"/>
                  </a:lnTo>
                  <a:lnTo>
                    <a:pt x="11441" y="3718"/>
                  </a:lnTo>
                  <a:lnTo>
                    <a:pt x="11441" y="4072"/>
                  </a:lnTo>
                  <a:lnTo>
                    <a:pt x="11349" y="4426"/>
                  </a:lnTo>
                  <a:lnTo>
                    <a:pt x="11349" y="5134"/>
                  </a:lnTo>
                  <a:lnTo>
                    <a:pt x="10983" y="6551"/>
                  </a:lnTo>
                  <a:lnTo>
                    <a:pt x="10800" y="6905"/>
                  </a:lnTo>
                  <a:lnTo>
                    <a:pt x="10525" y="6905"/>
                  </a:lnTo>
                  <a:lnTo>
                    <a:pt x="10251" y="7790"/>
                  </a:lnTo>
                  <a:lnTo>
                    <a:pt x="10251" y="8321"/>
                  </a:lnTo>
                  <a:lnTo>
                    <a:pt x="10068" y="9030"/>
                  </a:lnTo>
                  <a:lnTo>
                    <a:pt x="9519" y="9207"/>
                  </a:lnTo>
                  <a:lnTo>
                    <a:pt x="9153" y="8498"/>
                  </a:lnTo>
                  <a:lnTo>
                    <a:pt x="9061" y="7790"/>
                  </a:lnTo>
                  <a:lnTo>
                    <a:pt x="8878" y="7790"/>
                  </a:lnTo>
                  <a:lnTo>
                    <a:pt x="8786" y="8498"/>
                  </a:lnTo>
                  <a:lnTo>
                    <a:pt x="8512" y="9030"/>
                  </a:lnTo>
                  <a:lnTo>
                    <a:pt x="8512" y="9738"/>
                  </a:lnTo>
                  <a:lnTo>
                    <a:pt x="8420" y="10269"/>
                  </a:lnTo>
                  <a:lnTo>
                    <a:pt x="8054" y="10092"/>
                  </a:lnTo>
                  <a:lnTo>
                    <a:pt x="7871" y="9738"/>
                  </a:lnTo>
                  <a:lnTo>
                    <a:pt x="7505" y="9738"/>
                  </a:lnTo>
                  <a:lnTo>
                    <a:pt x="7322" y="9915"/>
                  </a:lnTo>
                  <a:lnTo>
                    <a:pt x="6956" y="10092"/>
                  </a:lnTo>
                  <a:lnTo>
                    <a:pt x="6956" y="10800"/>
                  </a:lnTo>
                  <a:lnTo>
                    <a:pt x="6864" y="10977"/>
                  </a:lnTo>
                  <a:lnTo>
                    <a:pt x="6498" y="10623"/>
                  </a:lnTo>
                  <a:lnTo>
                    <a:pt x="6224" y="10092"/>
                  </a:lnTo>
                  <a:lnTo>
                    <a:pt x="5492" y="10092"/>
                  </a:lnTo>
                  <a:lnTo>
                    <a:pt x="5217" y="10800"/>
                  </a:lnTo>
                  <a:lnTo>
                    <a:pt x="4485" y="10800"/>
                  </a:lnTo>
                  <a:lnTo>
                    <a:pt x="4485" y="11685"/>
                  </a:lnTo>
                  <a:lnTo>
                    <a:pt x="4210" y="11685"/>
                  </a:lnTo>
                  <a:lnTo>
                    <a:pt x="3936" y="11862"/>
                  </a:lnTo>
                  <a:lnTo>
                    <a:pt x="3936" y="13279"/>
                  </a:lnTo>
                  <a:lnTo>
                    <a:pt x="4027" y="13810"/>
                  </a:lnTo>
                  <a:lnTo>
                    <a:pt x="3844" y="13987"/>
                  </a:lnTo>
                  <a:lnTo>
                    <a:pt x="3295" y="14341"/>
                  </a:lnTo>
                  <a:lnTo>
                    <a:pt x="3020" y="14695"/>
                  </a:lnTo>
                  <a:lnTo>
                    <a:pt x="3020" y="15580"/>
                  </a:lnTo>
                  <a:lnTo>
                    <a:pt x="3203" y="16466"/>
                  </a:lnTo>
                  <a:lnTo>
                    <a:pt x="3020" y="16643"/>
                  </a:lnTo>
                  <a:lnTo>
                    <a:pt x="2471" y="16643"/>
                  </a:lnTo>
                  <a:lnTo>
                    <a:pt x="2105" y="16111"/>
                  </a:lnTo>
                  <a:lnTo>
                    <a:pt x="1739" y="15757"/>
                  </a:lnTo>
                  <a:lnTo>
                    <a:pt x="1556" y="15934"/>
                  </a:lnTo>
                  <a:lnTo>
                    <a:pt x="1281" y="16466"/>
                  </a:lnTo>
                  <a:lnTo>
                    <a:pt x="1007" y="16643"/>
                  </a:lnTo>
                  <a:lnTo>
                    <a:pt x="915" y="17174"/>
                  </a:lnTo>
                  <a:lnTo>
                    <a:pt x="915" y="17705"/>
                  </a:lnTo>
                  <a:lnTo>
                    <a:pt x="1281" y="18059"/>
                  </a:lnTo>
                  <a:lnTo>
                    <a:pt x="1281" y="19830"/>
                  </a:lnTo>
                  <a:lnTo>
                    <a:pt x="1098" y="20361"/>
                  </a:lnTo>
                  <a:lnTo>
                    <a:pt x="915" y="20538"/>
                  </a:lnTo>
                  <a:lnTo>
                    <a:pt x="641" y="20538"/>
                  </a:lnTo>
                  <a:lnTo>
                    <a:pt x="458" y="20715"/>
                  </a:lnTo>
                  <a:lnTo>
                    <a:pt x="0" y="20715"/>
                  </a:lnTo>
                  <a:lnTo>
                    <a:pt x="0" y="21600"/>
                  </a:lnTo>
                  <a:lnTo>
                    <a:pt x="183" y="21423"/>
                  </a:lnTo>
                  <a:lnTo>
                    <a:pt x="4759" y="21246"/>
                  </a:lnTo>
                  <a:lnTo>
                    <a:pt x="4576" y="19652"/>
                  </a:lnTo>
                  <a:lnTo>
                    <a:pt x="13088" y="18590"/>
                  </a:lnTo>
                  <a:lnTo>
                    <a:pt x="17573" y="17705"/>
                  </a:lnTo>
                  <a:lnTo>
                    <a:pt x="18122" y="17174"/>
                  </a:lnTo>
                  <a:lnTo>
                    <a:pt x="18488" y="1664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 name="Shape 2321">
              <a:extLst>
                <a:ext uri="{FF2B5EF4-FFF2-40B4-BE49-F238E27FC236}">
                  <a16:creationId xmlns:a16="http://schemas.microsoft.com/office/drawing/2014/main" id="{1B5DB68D-3A4D-4C30-1FE3-4981D9475115}"/>
                </a:ext>
              </a:extLst>
            </p:cNvPr>
            <p:cNvSpPr/>
            <p:nvPr/>
          </p:nvSpPr>
          <p:spPr>
            <a:xfrm>
              <a:off x="5280841" y="2594616"/>
              <a:ext cx="1236582" cy="1075817"/>
            </a:xfrm>
            <a:custGeom>
              <a:avLst/>
              <a:gdLst/>
              <a:ahLst/>
              <a:cxnLst>
                <a:cxn ang="0">
                  <a:pos x="wd2" y="hd2"/>
                </a:cxn>
                <a:cxn ang="5400000">
                  <a:pos x="wd2" y="hd2"/>
                </a:cxn>
                <a:cxn ang="10800000">
                  <a:pos x="wd2" y="hd2"/>
                </a:cxn>
                <a:cxn ang="16200000">
                  <a:pos x="wd2" y="hd2"/>
                </a:cxn>
              </a:cxnLst>
              <a:rect l="0" t="0" r="r" b="b"/>
              <a:pathLst>
                <a:path w="21600" h="21600" extrusionOk="0">
                  <a:moveTo>
                    <a:pt x="20239" y="18863"/>
                  </a:moveTo>
                  <a:cubicBezTo>
                    <a:pt x="20239" y="18570"/>
                    <a:pt x="20239" y="18570"/>
                    <a:pt x="20239" y="18570"/>
                  </a:cubicBezTo>
                  <a:cubicBezTo>
                    <a:pt x="20239" y="18472"/>
                    <a:pt x="20239" y="18472"/>
                    <a:pt x="20239" y="18472"/>
                  </a:cubicBezTo>
                  <a:cubicBezTo>
                    <a:pt x="20580" y="18472"/>
                    <a:pt x="20580" y="18472"/>
                    <a:pt x="20580" y="18472"/>
                  </a:cubicBezTo>
                  <a:cubicBezTo>
                    <a:pt x="20665" y="18472"/>
                    <a:pt x="20665" y="18472"/>
                    <a:pt x="20665" y="18472"/>
                  </a:cubicBezTo>
                  <a:cubicBezTo>
                    <a:pt x="20750" y="18375"/>
                    <a:pt x="20750" y="18375"/>
                    <a:pt x="20750" y="18375"/>
                  </a:cubicBezTo>
                  <a:cubicBezTo>
                    <a:pt x="20920" y="18277"/>
                    <a:pt x="20920" y="18277"/>
                    <a:pt x="20920" y="18277"/>
                  </a:cubicBezTo>
                  <a:cubicBezTo>
                    <a:pt x="21175" y="18277"/>
                    <a:pt x="21175" y="18277"/>
                    <a:pt x="21175" y="18277"/>
                  </a:cubicBezTo>
                  <a:cubicBezTo>
                    <a:pt x="21430" y="18179"/>
                    <a:pt x="21430" y="18179"/>
                    <a:pt x="21430" y="18179"/>
                  </a:cubicBezTo>
                  <a:cubicBezTo>
                    <a:pt x="21600" y="17886"/>
                    <a:pt x="21600" y="17886"/>
                    <a:pt x="21600" y="17886"/>
                  </a:cubicBezTo>
                  <a:cubicBezTo>
                    <a:pt x="21600" y="17300"/>
                    <a:pt x="21600" y="17300"/>
                    <a:pt x="21600" y="17300"/>
                  </a:cubicBezTo>
                  <a:cubicBezTo>
                    <a:pt x="21600" y="16909"/>
                    <a:pt x="21600" y="16909"/>
                    <a:pt x="21600" y="16909"/>
                  </a:cubicBezTo>
                  <a:cubicBezTo>
                    <a:pt x="21600" y="16713"/>
                    <a:pt x="21600" y="16713"/>
                    <a:pt x="21600" y="16713"/>
                  </a:cubicBezTo>
                  <a:cubicBezTo>
                    <a:pt x="21260" y="16420"/>
                    <a:pt x="21260" y="16420"/>
                    <a:pt x="21260" y="16420"/>
                  </a:cubicBezTo>
                  <a:cubicBezTo>
                    <a:pt x="21260" y="16127"/>
                    <a:pt x="21260" y="16127"/>
                    <a:pt x="21260" y="16127"/>
                  </a:cubicBezTo>
                  <a:cubicBezTo>
                    <a:pt x="21345" y="15736"/>
                    <a:pt x="21345" y="15736"/>
                    <a:pt x="21345" y="15736"/>
                  </a:cubicBezTo>
                  <a:cubicBezTo>
                    <a:pt x="20920" y="15736"/>
                    <a:pt x="20920" y="15736"/>
                    <a:pt x="20920" y="15736"/>
                  </a:cubicBezTo>
                  <a:cubicBezTo>
                    <a:pt x="20665" y="16224"/>
                    <a:pt x="20665" y="16224"/>
                    <a:pt x="20665" y="16224"/>
                  </a:cubicBezTo>
                  <a:cubicBezTo>
                    <a:pt x="20665" y="15736"/>
                    <a:pt x="20665" y="15736"/>
                    <a:pt x="20665" y="15736"/>
                  </a:cubicBezTo>
                  <a:cubicBezTo>
                    <a:pt x="20239" y="15247"/>
                    <a:pt x="20239" y="15247"/>
                    <a:pt x="20239" y="15247"/>
                  </a:cubicBezTo>
                  <a:cubicBezTo>
                    <a:pt x="20324" y="14856"/>
                    <a:pt x="20324" y="14856"/>
                    <a:pt x="20324" y="14856"/>
                  </a:cubicBezTo>
                  <a:cubicBezTo>
                    <a:pt x="20409" y="14270"/>
                    <a:pt x="20409" y="14270"/>
                    <a:pt x="20409" y="14270"/>
                  </a:cubicBezTo>
                  <a:cubicBezTo>
                    <a:pt x="20069" y="13195"/>
                    <a:pt x="20069" y="13195"/>
                    <a:pt x="20069" y="13195"/>
                  </a:cubicBezTo>
                  <a:cubicBezTo>
                    <a:pt x="19729" y="12804"/>
                    <a:pt x="19729" y="12804"/>
                    <a:pt x="19729" y="12804"/>
                  </a:cubicBezTo>
                  <a:cubicBezTo>
                    <a:pt x="18624" y="11924"/>
                    <a:pt x="18624" y="11924"/>
                    <a:pt x="18624" y="11924"/>
                  </a:cubicBezTo>
                  <a:cubicBezTo>
                    <a:pt x="18369" y="12119"/>
                    <a:pt x="18369" y="12119"/>
                    <a:pt x="18369" y="12119"/>
                  </a:cubicBezTo>
                  <a:cubicBezTo>
                    <a:pt x="17688" y="11533"/>
                    <a:pt x="17688" y="11533"/>
                    <a:pt x="17688" y="11533"/>
                  </a:cubicBezTo>
                  <a:cubicBezTo>
                    <a:pt x="17178" y="10947"/>
                    <a:pt x="17178" y="10947"/>
                    <a:pt x="17178" y="10947"/>
                  </a:cubicBezTo>
                  <a:cubicBezTo>
                    <a:pt x="17178" y="10360"/>
                    <a:pt x="17178" y="10360"/>
                    <a:pt x="17178" y="10360"/>
                  </a:cubicBezTo>
                  <a:cubicBezTo>
                    <a:pt x="17348" y="9774"/>
                    <a:pt x="17348" y="9774"/>
                    <a:pt x="17348" y="9774"/>
                  </a:cubicBezTo>
                  <a:cubicBezTo>
                    <a:pt x="17433" y="9383"/>
                    <a:pt x="17433" y="9383"/>
                    <a:pt x="17433" y="9383"/>
                  </a:cubicBezTo>
                  <a:cubicBezTo>
                    <a:pt x="17518" y="8894"/>
                    <a:pt x="17518" y="8894"/>
                    <a:pt x="17518" y="8894"/>
                  </a:cubicBezTo>
                  <a:cubicBezTo>
                    <a:pt x="17773" y="8210"/>
                    <a:pt x="17773" y="8210"/>
                    <a:pt x="17773" y="8210"/>
                  </a:cubicBezTo>
                  <a:cubicBezTo>
                    <a:pt x="17518" y="7819"/>
                    <a:pt x="17518" y="7819"/>
                    <a:pt x="17518" y="7819"/>
                  </a:cubicBezTo>
                  <a:cubicBezTo>
                    <a:pt x="17178" y="7428"/>
                    <a:pt x="17178" y="7428"/>
                    <a:pt x="17178" y="7428"/>
                  </a:cubicBezTo>
                  <a:cubicBezTo>
                    <a:pt x="16668" y="7428"/>
                    <a:pt x="16668" y="7428"/>
                    <a:pt x="16668" y="7428"/>
                  </a:cubicBezTo>
                  <a:cubicBezTo>
                    <a:pt x="16413" y="7624"/>
                    <a:pt x="16413" y="7624"/>
                    <a:pt x="16413" y="7624"/>
                  </a:cubicBezTo>
                  <a:cubicBezTo>
                    <a:pt x="16243" y="7917"/>
                    <a:pt x="16243" y="7917"/>
                    <a:pt x="16243" y="7917"/>
                  </a:cubicBezTo>
                  <a:cubicBezTo>
                    <a:pt x="15817" y="7428"/>
                    <a:pt x="15817" y="7428"/>
                    <a:pt x="15817" y="7428"/>
                  </a:cubicBezTo>
                  <a:cubicBezTo>
                    <a:pt x="15817" y="6548"/>
                    <a:pt x="15817" y="6548"/>
                    <a:pt x="15817" y="6548"/>
                  </a:cubicBezTo>
                  <a:cubicBezTo>
                    <a:pt x="15392" y="5864"/>
                    <a:pt x="15392" y="5864"/>
                    <a:pt x="15392" y="5864"/>
                  </a:cubicBezTo>
                  <a:cubicBezTo>
                    <a:pt x="13861" y="4398"/>
                    <a:pt x="13861" y="4398"/>
                    <a:pt x="13861" y="4398"/>
                  </a:cubicBezTo>
                  <a:cubicBezTo>
                    <a:pt x="13266" y="3225"/>
                    <a:pt x="13266" y="3225"/>
                    <a:pt x="13266" y="3225"/>
                  </a:cubicBezTo>
                  <a:cubicBezTo>
                    <a:pt x="13266" y="2150"/>
                    <a:pt x="13266" y="2150"/>
                    <a:pt x="13266" y="2150"/>
                  </a:cubicBezTo>
                  <a:cubicBezTo>
                    <a:pt x="13266" y="1075"/>
                    <a:pt x="13266" y="1075"/>
                    <a:pt x="13266" y="1075"/>
                  </a:cubicBezTo>
                  <a:cubicBezTo>
                    <a:pt x="13436" y="977"/>
                    <a:pt x="13436" y="977"/>
                    <a:pt x="13436" y="977"/>
                  </a:cubicBezTo>
                  <a:cubicBezTo>
                    <a:pt x="12416" y="0"/>
                    <a:pt x="12416" y="0"/>
                    <a:pt x="12416" y="0"/>
                  </a:cubicBezTo>
                  <a:cubicBezTo>
                    <a:pt x="0" y="195"/>
                    <a:pt x="0" y="195"/>
                    <a:pt x="0" y="195"/>
                  </a:cubicBezTo>
                  <a:cubicBezTo>
                    <a:pt x="85" y="391"/>
                    <a:pt x="85" y="391"/>
                    <a:pt x="85" y="391"/>
                  </a:cubicBezTo>
                  <a:cubicBezTo>
                    <a:pt x="340" y="586"/>
                    <a:pt x="340" y="586"/>
                    <a:pt x="340" y="586"/>
                  </a:cubicBezTo>
                  <a:cubicBezTo>
                    <a:pt x="425" y="1075"/>
                    <a:pt x="425" y="1075"/>
                    <a:pt x="425" y="1075"/>
                  </a:cubicBezTo>
                  <a:cubicBezTo>
                    <a:pt x="255" y="1271"/>
                    <a:pt x="255" y="1271"/>
                    <a:pt x="255" y="1271"/>
                  </a:cubicBezTo>
                  <a:cubicBezTo>
                    <a:pt x="425" y="1564"/>
                    <a:pt x="425" y="1564"/>
                    <a:pt x="425" y="1564"/>
                  </a:cubicBezTo>
                  <a:cubicBezTo>
                    <a:pt x="425" y="1564"/>
                    <a:pt x="340" y="1564"/>
                    <a:pt x="425" y="1662"/>
                  </a:cubicBezTo>
                  <a:cubicBezTo>
                    <a:pt x="510" y="1759"/>
                    <a:pt x="935" y="1857"/>
                    <a:pt x="935" y="1857"/>
                  </a:cubicBezTo>
                  <a:cubicBezTo>
                    <a:pt x="1020" y="2443"/>
                    <a:pt x="1020" y="2443"/>
                    <a:pt x="1020" y="2443"/>
                  </a:cubicBezTo>
                  <a:cubicBezTo>
                    <a:pt x="1191" y="2834"/>
                    <a:pt x="1191" y="2834"/>
                    <a:pt x="1191" y="2834"/>
                  </a:cubicBezTo>
                  <a:cubicBezTo>
                    <a:pt x="1191" y="2834"/>
                    <a:pt x="1191" y="2834"/>
                    <a:pt x="1191" y="2834"/>
                  </a:cubicBezTo>
                  <a:cubicBezTo>
                    <a:pt x="1531" y="3421"/>
                    <a:pt x="1531" y="3421"/>
                    <a:pt x="1531" y="3421"/>
                  </a:cubicBezTo>
                  <a:cubicBezTo>
                    <a:pt x="1701" y="3812"/>
                    <a:pt x="1701" y="3812"/>
                    <a:pt x="1701" y="3812"/>
                  </a:cubicBezTo>
                  <a:cubicBezTo>
                    <a:pt x="2466" y="3812"/>
                    <a:pt x="2466" y="3812"/>
                    <a:pt x="2466" y="3812"/>
                  </a:cubicBezTo>
                  <a:cubicBezTo>
                    <a:pt x="2636" y="3812"/>
                    <a:pt x="2636" y="3812"/>
                    <a:pt x="2636" y="3812"/>
                  </a:cubicBezTo>
                  <a:cubicBezTo>
                    <a:pt x="2636" y="4300"/>
                    <a:pt x="2636" y="4300"/>
                    <a:pt x="2636" y="4300"/>
                  </a:cubicBezTo>
                  <a:cubicBezTo>
                    <a:pt x="2381" y="4887"/>
                    <a:pt x="2381" y="4887"/>
                    <a:pt x="2381" y="4887"/>
                  </a:cubicBezTo>
                  <a:cubicBezTo>
                    <a:pt x="2126" y="5376"/>
                    <a:pt x="2126" y="5376"/>
                    <a:pt x="2126" y="5376"/>
                  </a:cubicBezTo>
                  <a:cubicBezTo>
                    <a:pt x="2636" y="5962"/>
                    <a:pt x="2636" y="5962"/>
                    <a:pt x="2636" y="5962"/>
                  </a:cubicBezTo>
                  <a:cubicBezTo>
                    <a:pt x="2806" y="6548"/>
                    <a:pt x="2806" y="6548"/>
                    <a:pt x="2806" y="6548"/>
                  </a:cubicBezTo>
                  <a:cubicBezTo>
                    <a:pt x="3061" y="6744"/>
                    <a:pt x="3061" y="6744"/>
                    <a:pt x="3061" y="6744"/>
                  </a:cubicBezTo>
                  <a:cubicBezTo>
                    <a:pt x="3572" y="7037"/>
                    <a:pt x="3572" y="7037"/>
                    <a:pt x="3572" y="7037"/>
                  </a:cubicBezTo>
                  <a:cubicBezTo>
                    <a:pt x="3572" y="17202"/>
                    <a:pt x="3572" y="17202"/>
                    <a:pt x="3572" y="17202"/>
                  </a:cubicBezTo>
                  <a:cubicBezTo>
                    <a:pt x="3572" y="19645"/>
                    <a:pt x="3572" y="19645"/>
                    <a:pt x="3572" y="19645"/>
                  </a:cubicBezTo>
                  <a:cubicBezTo>
                    <a:pt x="18283" y="19254"/>
                    <a:pt x="18283" y="19254"/>
                    <a:pt x="18283" y="19254"/>
                  </a:cubicBezTo>
                  <a:cubicBezTo>
                    <a:pt x="18369" y="19841"/>
                    <a:pt x="18369" y="19841"/>
                    <a:pt x="18369" y="19841"/>
                  </a:cubicBezTo>
                  <a:cubicBezTo>
                    <a:pt x="17433" y="21600"/>
                    <a:pt x="17433" y="21600"/>
                    <a:pt x="17433" y="21600"/>
                  </a:cubicBezTo>
                  <a:cubicBezTo>
                    <a:pt x="19814" y="21405"/>
                    <a:pt x="19814" y="21405"/>
                    <a:pt x="19814" y="21405"/>
                  </a:cubicBezTo>
                  <a:cubicBezTo>
                    <a:pt x="19899" y="21111"/>
                    <a:pt x="19899" y="21111"/>
                    <a:pt x="19899" y="21111"/>
                  </a:cubicBezTo>
                  <a:cubicBezTo>
                    <a:pt x="20069" y="20818"/>
                    <a:pt x="20069" y="20818"/>
                    <a:pt x="20069" y="20818"/>
                  </a:cubicBezTo>
                  <a:cubicBezTo>
                    <a:pt x="20069" y="20818"/>
                    <a:pt x="20239" y="20720"/>
                    <a:pt x="20154" y="20623"/>
                  </a:cubicBezTo>
                  <a:cubicBezTo>
                    <a:pt x="20154" y="20525"/>
                    <a:pt x="19984" y="20232"/>
                    <a:pt x="19984" y="20232"/>
                  </a:cubicBezTo>
                  <a:cubicBezTo>
                    <a:pt x="19899" y="20134"/>
                    <a:pt x="19899" y="20134"/>
                    <a:pt x="19899" y="20134"/>
                  </a:cubicBezTo>
                  <a:cubicBezTo>
                    <a:pt x="19984" y="19938"/>
                    <a:pt x="19984" y="19938"/>
                    <a:pt x="19984" y="19938"/>
                  </a:cubicBezTo>
                  <a:cubicBezTo>
                    <a:pt x="20154" y="19841"/>
                    <a:pt x="20154" y="19841"/>
                    <a:pt x="20154" y="19841"/>
                  </a:cubicBezTo>
                  <a:cubicBezTo>
                    <a:pt x="20239" y="19548"/>
                    <a:pt x="20239" y="19548"/>
                    <a:pt x="20239" y="19548"/>
                  </a:cubicBezTo>
                  <a:cubicBezTo>
                    <a:pt x="20239" y="19254"/>
                    <a:pt x="20239" y="19254"/>
                    <a:pt x="20239" y="19254"/>
                  </a:cubicBezTo>
                  <a:cubicBezTo>
                    <a:pt x="20239" y="18961"/>
                    <a:pt x="20239" y="18961"/>
                    <a:pt x="20239" y="18961"/>
                  </a:cubicBezTo>
                  <a:lnTo>
                    <a:pt x="20239" y="1886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 name="Shape 2322">
              <a:extLst>
                <a:ext uri="{FF2B5EF4-FFF2-40B4-BE49-F238E27FC236}">
                  <a16:creationId xmlns:a16="http://schemas.microsoft.com/office/drawing/2014/main" id="{ADB255A8-E5A5-949F-A198-4D3EAB5DB793}"/>
                </a:ext>
              </a:extLst>
            </p:cNvPr>
            <p:cNvSpPr/>
            <p:nvPr/>
          </p:nvSpPr>
          <p:spPr>
            <a:xfrm>
              <a:off x="5062279" y="529275"/>
              <a:ext cx="1196321" cy="1392233"/>
            </a:xfrm>
            <a:custGeom>
              <a:avLst/>
              <a:gdLst/>
              <a:ahLst/>
              <a:cxnLst>
                <a:cxn ang="0">
                  <a:pos x="wd2" y="hd2"/>
                </a:cxn>
                <a:cxn ang="5400000">
                  <a:pos x="wd2" y="hd2"/>
                </a:cxn>
                <a:cxn ang="10800000">
                  <a:pos x="wd2" y="hd2"/>
                </a:cxn>
                <a:cxn ang="16200000">
                  <a:pos x="wd2" y="hd2"/>
                </a:cxn>
              </a:cxnLst>
              <a:rect l="0" t="0" r="r" b="b"/>
              <a:pathLst>
                <a:path w="21600" h="21600" extrusionOk="0">
                  <a:moveTo>
                    <a:pt x="13292" y="12585"/>
                  </a:moveTo>
                  <a:lnTo>
                    <a:pt x="14435" y="12050"/>
                  </a:lnTo>
                  <a:lnTo>
                    <a:pt x="14435" y="9907"/>
                  </a:lnTo>
                  <a:lnTo>
                    <a:pt x="14954" y="9550"/>
                  </a:lnTo>
                  <a:lnTo>
                    <a:pt x="16719" y="8122"/>
                  </a:lnTo>
                  <a:lnTo>
                    <a:pt x="17550" y="7140"/>
                  </a:lnTo>
                  <a:lnTo>
                    <a:pt x="19212" y="6159"/>
                  </a:lnTo>
                  <a:lnTo>
                    <a:pt x="21600" y="4909"/>
                  </a:lnTo>
                  <a:lnTo>
                    <a:pt x="20769" y="4731"/>
                  </a:lnTo>
                  <a:lnTo>
                    <a:pt x="19004" y="4641"/>
                  </a:lnTo>
                  <a:lnTo>
                    <a:pt x="17550" y="4374"/>
                  </a:lnTo>
                  <a:lnTo>
                    <a:pt x="17238" y="4641"/>
                  </a:lnTo>
                  <a:lnTo>
                    <a:pt x="16823" y="4909"/>
                  </a:lnTo>
                  <a:lnTo>
                    <a:pt x="15992" y="4909"/>
                  </a:lnTo>
                  <a:lnTo>
                    <a:pt x="15681" y="4552"/>
                  </a:lnTo>
                  <a:lnTo>
                    <a:pt x="15265" y="4284"/>
                  </a:lnTo>
                  <a:lnTo>
                    <a:pt x="14123" y="4017"/>
                  </a:lnTo>
                  <a:lnTo>
                    <a:pt x="13812" y="4017"/>
                  </a:lnTo>
                  <a:lnTo>
                    <a:pt x="13396" y="3838"/>
                  </a:lnTo>
                  <a:lnTo>
                    <a:pt x="13292" y="3749"/>
                  </a:lnTo>
                  <a:lnTo>
                    <a:pt x="12358" y="3660"/>
                  </a:lnTo>
                  <a:lnTo>
                    <a:pt x="11838" y="3213"/>
                  </a:lnTo>
                  <a:lnTo>
                    <a:pt x="12462" y="3481"/>
                  </a:lnTo>
                  <a:lnTo>
                    <a:pt x="12773" y="3213"/>
                  </a:lnTo>
                  <a:lnTo>
                    <a:pt x="12358" y="3124"/>
                  </a:lnTo>
                  <a:lnTo>
                    <a:pt x="10385" y="3124"/>
                  </a:lnTo>
                  <a:lnTo>
                    <a:pt x="10073" y="3481"/>
                  </a:lnTo>
                  <a:lnTo>
                    <a:pt x="9658" y="3481"/>
                  </a:lnTo>
                  <a:lnTo>
                    <a:pt x="9035" y="3035"/>
                  </a:lnTo>
                  <a:lnTo>
                    <a:pt x="8308" y="3035"/>
                  </a:lnTo>
                  <a:lnTo>
                    <a:pt x="7581" y="2856"/>
                  </a:lnTo>
                  <a:lnTo>
                    <a:pt x="7062" y="2142"/>
                  </a:lnTo>
                  <a:lnTo>
                    <a:pt x="6854" y="1785"/>
                  </a:lnTo>
                  <a:lnTo>
                    <a:pt x="5712" y="1785"/>
                  </a:lnTo>
                  <a:lnTo>
                    <a:pt x="5608" y="1428"/>
                  </a:lnTo>
                  <a:lnTo>
                    <a:pt x="5919" y="1071"/>
                  </a:lnTo>
                  <a:lnTo>
                    <a:pt x="6023" y="714"/>
                  </a:lnTo>
                  <a:lnTo>
                    <a:pt x="6438" y="446"/>
                  </a:lnTo>
                  <a:lnTo>
                    <a:pt x="6231" y="179"/>
                  </a:lnTo>
                  <a:lnTo>
                    <a:pt x="5815" y="0"/>
                  </a:lnTo>
                  <a:lnTo>
                    <a:pt x="5815" y="893"/>
                  </a:lnTo>
                  <a:lnTo>
                    <a:pt x="5608" y="1071"/>
                  </a:lnTo>
                  <a:lnTo>
                    <a:pt x="5400" y="1428"/>
                  </a:lnTo>
                  <a:lnTo>
                    <a:pt x="0" y="1428"/>
                  </a:lnTo>
                  <a:lnTo>
                    <a:pt x="104" y="1785"/>
                  </a:lnTo>
                  <a:lnTo>
                    <a:pt x="104" y="2142"/>
                  </a:lnTo>
                  <a:lnTo>
                    <a:pt x="415" y="2321"/>
                  </a:lnTo>
                  <a:lnTo>
                    <a:pt x="415" y="2678"/>
                  </a:lnTo>
                  <a:lnTo>
                    <a:pt x="104" y="2945"/>
                  </a:lnTo>
                  <a:lnTo>
                    <a:pt x="104" y="3392"/>
                  </a:lnTo>
                  <a:lnTo>
                    <a:pt x="208" y="3570"/>
                  </a:lnTo>
                  <a:lnTo>
                    <a:pt x="312" y="4017"/>
                  </a:lnTo>
                  <a:lnTo>
                    <a:pt x="104" y="4552"/>
                  </a:lnTo>
                  <a:lnTo>
                    <a:pt x="312" y="4998"/>
                  </a:lnTo>
                  <a:lnTo>
                    <a:pt x="623" y="5712"/>
                  </a:lnTo>
                  <a:lnTo>
                    <a:pt x="935" y="6248"/>
                  </a:lnTo>
                  <a:lnTo>
                    <a:pt x="935" y="6962"/>
                  </a:lnTo>
                  <a:lnTo>
                    <a:pt x="1038" y="8212"/>
                  </a:lnTo>
                  <a:lnTo>
                    <a:pt x="1038" y="9997"/>
                  </a:lnTo>
                  <a:lnTo>
                    <a:pt x="1246" y="10175"/>
                  </a:lnTo>
                  <a:lnTo>
                    <a:pt x="1246" y="10889"/>
                  </a:lnTo>
                  <a:lnTo>
                    <a:pt x="1558" y="11068"/>
                  </a:lnTo>
                  <a:lnTo>
                    <a:pt x="1765" y="11336"/>
                  </a:lnTo>
                  <a:lnTo>
                    <a:pt x="1869" y="11782"/>
                  </a:lnTo>
                  <a:lnTo>
                    <a:pt x="1869" y="12585"/>
                  </a:lnTo>
                  <a:lnTo>
                    <a:pt x="1662" y="12674"/>
                  </a:lnTo>
                  <a:lnTo>
                    <a:pt x="1765" y="12853"/>
                  </a:lnTo>
                  <a:lnTo>
                    <a:pt x="1350" y="13121"/>
                  </a:lnTo>
                  <a:lnTo>
                    <a:pt x="1142" y="13388"/>
                  </a:lnTo>
                  <a:lnTo>
                    <a:pt x="831" y="13567"/>
                  </a:lnTo>
                  <a:lnTo>
                    <a:pt x="831" y="13924"/>
                  </a:lnTo>
                  <a:lnTo>
                    <a:pt x="935" y="14102"/>
                  </a:lnTo>
                  <a:lnTo>
                    <a:pt x="1246" y="14281"/>
                  </a:lnTo>
                  <a:lnTo>
                    <a:pt x="1246" y="14549"/>
                  </a:lnTo>
                  <a:lnTo>
                    <a:pt x="1765" y="14638"/>
                  </a:lnTo>
                  <a:lnTo>
                    <a:pt x="1869" y="14906"/>
                  </a:lnTo>
                  <a:lnTo>
                    <a:pt x="2181" y="15084"/>
                  </a:lnTo>
                  <a:lnTo>
                    <a:pt x="1869" y="21600"/>
                  </a:lnTo>
                  <a:lnTo>
                    <a:pt x="17862" y="21332"/>
                  </a:lnTo>
                  <a:lnTo>
                    <a:pt x="17965" y="20797"/>
                  </a:lnTo>
                  <a:lnTo>
                    <a:pt x="17862" y="20261"/>
                  </a:lnTo>
                  <a:lnTo>
                    <a:pt x="17238" y="19636"/>
                  </a:lnTo>
                  <a:lnTo>
                    <a:pt x="16615" y="19279"/>
                  </a:lnTo>
                  <a:lnTo>
                    <a:pt x="16304" y="19012"/>
                  </a:lnTo>
                  <a:lnTo>
                    <a:pt x="15577" y="18208"/>
                  </a:lnTo>
                  <a:lnTo>
                    <a:pt x="14331" y="17583"/>
                  </a:lnTo>
                  <a:lnTo>
                    <a:pt x="13500" y="17226"/>
                  </a:lnTo>
                  <a:lnTo>
                    <a:pt x="12981" y="16869"/>
                  </a:lnTo>
                  <a:lnTo>
                    <a:pt x="13085" y="15531"/>
                  </a:lnTo>
                  <a:lnTo>
                    <a:pt x="13292" y="14192"/>
                  </a:lnTo>
                  <a:lnTo>
                    <a:pt x="13085" y="14192"/>
                  </a:lnTo>
                  <a:lnTo>
                    <a:pt x="12669" y="13745"/>
                  </a:lnTo>
                  <a:lnTo>
                    <a:pt x="13085" y="12942"/>
                  </a:lnTo>
                  <a:lnTo>
                    <a:pt x="13292" y="12585"/>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 name="Shape 2323">
              <a:extLst>
                <a:ext uri="{FF2B5EF4-FFF2-40B4-BE49-F238E27FC236}">
                  <a16:creationId xmlns:a16="http://schemas.microsoft.com/office/drawing/2014/main" id="{7B481656-A6B1-6BAC-7EF0-FF1B41134C9C}"/>
                </a:ext>
              </a:extLst>
            </p:cNvPr>
            <p:cNvSpPr/>
            <p:nvPr/>
          </p:nvSpPr>
          <p:spPr>
            <a:xfrm>
              <a:off x="6160832" y="937742"/>
              <a:ext cx="1397624" cy="1317446"/>
            </a:xfrm>
            <a:custGeom>
              <a:avLst/>
              <a:gdLst/>
              <a:ahLst/>
              <a:cxnLst>
                <a:cxn ang="0">
                  <a:pos x="wd2" y="hd2"/>
                </a:cxn>
                <a:cxn ang="5400000">
                  <a:pos x="wd2" y="hd2"/>
                </a:cxn>
                <a:cxn ang="10800000">
                  <a:pos x="wd2" y="hd2"/>
                </a:cxn>
                <a:cxn ang="16200000">
                  <a:pos x="wd2" y="hd2"/>
                </a:cxn>
              </a:cxnLst>
              <a:rect l="0" t="0" r="r" b="b"/>
              <a:pathLst>
                <a:path w="21600" h="21600" extrusionOk="0">
                  <a:moveTo>
                    <a:pt x="0" y="4080"/>
                  </a:moveTo>
                  <a:cubicBezTo>
                    <a:pt x="151" y="3920"/>
                    <a:pt x="151" y="3920"/>
                    <a:pt x="151" y="3920"/>
                  </a:cubicBezTo>
                  <a:cubicBezTo>
                    <a:pt x="452" y="3920"/>
                    <a:pt x="452" y="3920"/>
                    <a:pt x="452" y="3920"/>
                  </a:cubicBezTo>
                  <a:cubicBezTo>
                    <a:pt x="828" y="3680"/>
                    <a:pt x="828" y="3680"/>
                    <a:pt x="828" y="3680"/>
                  </a:cubicBezTo>
                  <a:cubicBezTo>
                    <a:pt x="903" y="3520"/>
                    <a:pt x="903" y="3520"/>
                    <a:pt x="903" y="3520"/>
                  </a:cubicBezTo>
                  <a:cubicBezTo>
                    <a:pt x="1054" y="3200"/>
                    <a:pt x="1054" y="3200"/>
                    <a:pt x="1054" y="3200"/>
                  </a:cubicBezTo>
                  <a:cubicBezTo>
                    <a:pt x="1279" y="2960"/>
                    <a:pt x="1279" y="2960"/>
                    <a:pt x="1279" y="2960"/>
                  </a:cubicBezTo>
                  <a:cubicBezTo>
                    <a:pt x="1505" y="2880"/>
                    <a:pt x="1505" y="2880"/>
                    <a:pt x="1505" y="2880"/>
                  </a:cubicBezTo>
                  <a:cubicBezTo>
                    <a:pt x="1731" y="2880"/>
                    <a:pt x="1731" y="2880"/>
                    <a:pt x="1731" y="2880"/>
                  </a:cubicBezTo>
                  <a:cubicBezTo>
                    <a:pt x="2183" y="2880"/>
                    <a:pt x="2183" y="2880"/>
                    <a:pt x="2183" y="2880"/>
                  </a:cubicBezTo>
                  <a:cubicBezTo>
                    <a:pt x="2408" y="2720"/>
                    <a:pt x="2408" y="2720"/>
                    <a:pt x="2408" y="2720"/>
                  </a:cubicBezTo>
                  <a:cubicBezTo>
                    <a:pt x="3161" y="2160"/>
                    <a:pt x="3161" y="2160"/>
                    <a:pt x="3161" y="2160"/>
                  </a:cubicBezTo>
                  <a:cubicBezTo>
                    <a:pt x="3387" y="2080"/>
                    <a:pt x="3387" y="2080"/>
                    <a:pt x="3387" y="2080"/>
                  </a:cubicBezTo>
                  <a:cubicBezTo>
                    <a:pt x="3688" y="1760"/>
                    <a:pt x="3688" y="1760"/>
                    <a:pt x="3688" y="1760"/>
                  </a:cubicBezTo>
                  <a:cubicBezTo>
                    <a:pt x="3914" y="1360"/>
                    <a:pt x="3914" y="1360"/>
                    <a:pt x="3914" y="1360"/>
                  </a:cubicBezTo>
                  <a:cubicBezTo>
                    <a:pt x="4215" y="1120"/>
                    <a:pt x="4215" y="1120"/>
                    <a:pt x="4215" y="1120"/>
                  </a:cubicBezTo>
                  <a:cubicBezTo>
                    <a:pt x="4591" y="720"/>
                    <a:pt x="4591" y="720"/>
                    <a:pt x="4591" y="720"/>
                  </a:cubicBezTo>
                  <a:cubicBezTo>
                    <a:pt x="4892" y="320"/>
                    <a:pt x="4892" y="320"/>
                    <a:pt x="4892" y="320"/>
                  </a:cubicBezTo>
                  <a:cubicBezTo>
                    <a:pt x="5268" y="80"/>
                    <a:pt x="5268" y="80"/>
                    <a:pt x="5268" y="80"/>
                  </a:cubicBezTo>
                  <a:cubicBezTo>
                    <a:pt x="5795" y="0"/>
                    <a:pt x="5795" y="0"/>
                    <a:pt x="5795" y="0"/>
                  </a:cubicBezTo>
                  <a:cubicBezTo>
                    <a:pt x="6021" y="0"/>
                    <a:pt x="6021" y="0"/>
                    <a:pt x="6021" y="0"/>
                  </a:cubicBezTo>
                  <a:cubicBezTo>
                    <a:pt x="6397" y="160"/>
                    <a:pt x="6397" y="160"/>
                    <a:pt x="6397" y="160"/>
                  </a:cubicBezTo>
                  <a:cubicBezTo>
                    <a:pt x="6247" y="240"/>
                    <a:pt x="6247" y="240"/>
                    <a:pt x="6247" y="240"/>
                  </a:cubicBezTo>
                  <a:cubicBezTo>
                    <a:pt x="5946" y="400"/>
                    <a:pt x="5946" y="400"/>
                    <a:pt x="5946" y="400"/>
                  </a:cubicBezTo>
                  <a:cubicBezTo>
                    <a:pt x="5645" y="480"/>
                    <a:pt x="5645" y="480"/>
                    <a:pt x="5645" y="480"/>
                  </a:cubicBezTo>
                  <a:cubicBezTo>
                    <a:pt x="5720" y="640"/>
                    <a:pt x="5720" y="640"/>
                    <a:pt x="5720" y="640"/>
                  </a:cubicBezTo>
                  <a:cubicBezTo>
                    <a:pt x="5268" y="1120"/>
                    <a:pt x="5268" y="1120"/>
                    <a:pt x="5268" y="1120"/>
                  </a:cubicBezTo>
                  <a:cubicBezTo>
                    <a:pt x="5268" y="1120"/>
                    <a:pt x="5118" y="1120"/>
                    <a:pt x="5118" y="1200"/>
                  </a:cubicBezTo>
                  <a:cubicBezTo>
                    <a:pt x="5118" y="1280"/>
                    <a:pt x="4892" y="1840"/>
                    <a:pt x="4892" y="1840"/>
                  </a:cubicBezTo>
                  <a:cubicBezTo>
                    <a:pt x="4892" y="1520"/>
                    <a:pt x="4892" y="1520"/>
                    <a:pt x="4892" y="1520"/>
                  </a:cubicBezTo>
                  <a:cubicBezTo>
                    <a:pt x="4741" y="1360"/>
                    <a:pt x="4741" y="1360"/>
                    <a:pt x="4741" y="1360"/>
                  </a:cubicBezTo>
                  <a:cubicBezTo>
                    <a:pt x="4666" y="2160"/>
                    <a:pt x="4666" y="2160"/>
                    <a:pt x="4666" y="2160"/>
                  </a:cubicBezTo>
                  <a:cubicBezTo>
                    <a:pt x="4666" y="2640"/>
                    <a:pt x="4666" y="2640"/>
                    <a:pt x="4666" y="2640"/>
                  </a:cubicBezTo>
                  <a:cubicBezTo>
                    <a:pt x="4892" y="2480"/>
                    <a:pt x="4892" y="2480"/>
                    <a:pt x="4892" y="2480"/>
                  </a:cubicBezTo>
                  <a:cubicBezTo>
                    <a:pt x="5043" y="2320"/>
                    <a:pt x="5043" y="2320"/>
                    <a:pt x="5043" y="2320"/>
                  </a:cubicBezTo>
                  <a:cubicBezTo>
                    <a:pt x="5118" y="2320"/>
                    <a:pt x="5118" y="2320"/>
                    <a:pt x="5118" y="2320"/>
                  </a:cubicBezTo>
                  <a:cubicBezTo>
                    <a:pt x="5193" y="2480"/>
                    <a:pt x="5193" y="2480"/>
                    <a:pt x="5193" y="2480"/>
                  </a:cubicBezTo>
                  <a:cubicBezTo>
                    <a:pt x="5419" y="2480"/>
                    <a:pt x="5419" y="2480"/>
                    <a:pt x="5419" y="2480"/>
                  </a:cubicBezTo>
                  <a:cubicBezTo>
                    <a:pt x="5569" y="2400"/>
                    <a:pt x="5569" y="2400"/>
                    <a:pt x="5569" y="2400"/>
                  </a:cubicBezTo>
                  <a:cubicBezTo>
                    <a:pt x="5795" y="2240"/>
                    <a:pt x="5795" y="2240"/>
                    <a:pt x="5795" y="2240"/>
                  </a:cubicBezTo>
                  <a:cubicBezTo>
                    <a:pt x="6171" y="2320"/>
                    <a:pt x="6171" y="2320"/>
                    <a:pt x="6171" y="2320"/>
                  </a:cubicBezTo>
                  <a:cubicBezTo>
                    <a:pt x="6924" y="2720"/>
                    <a:pt x="6924" y="2720"/>
                    <a:pt x="6924" y="2720"/>
                  </a:cubicBezTo>
                  <a:cubicBezTo>
                    <a:pt x="7376" y="3280"/>
                    <a:pt x="7376" y="3280"/>
                    <a:pt x="7376" y="3280"/>
                  </a:cubicBezTo>
                  <a:cubicBezTo>
                    <a:pt x="7677" y="3520"/>
                    <a:pt x="7677" y="3520"/>
                    <a:pt x="7677" y="3520"/>
                  </a:cubicBezTo>
                  <a:cubicBezTo>
                    <a:pt x="8354" y="3600"/>
                    <a:pt x="8354" y="3600"/>
                    <a:pt x="8354" y="3600"/>
                  </a:cubicBezTo>
                  <a:cubicBezTo>
                    <a:pt x="8580" y="3520"/>
                    <a:pt x="8580" y="3520"/>
                    <a:pt x="8580" y="3520"/>
                  </a:cubicBezTo>
                  <a:cubicBezTo>
                    <a:pt x="9107" y="3680"/>
                    <a:pt x="9107" y="3680"/>
                    <a:pt x="9107" y="3680"/>
                  </a:cubicBezTo>
                  <a:cubicBezTo>
                    <a:pt x="9558" y="3840"/>
                    <a:pt x="9558" y="3840"/>
                    <a:pt x="9558" y="3840"/>
                  </a:cubicBezTo>
                  <a:cubicBezTo>
                    <a:pt x="9784" y="3520"/>
                    <a:pt x="9784" y="3520"/>
                    <a:pt x="9784" y="3520"/>
                  </a:cubicBezTo>
                  <a:cubicBezTo>
                    <a:pt x="10160" y="3120"/>
                    <a:pt x="10160" y="3120"/>
                    <a:pt x="10160" y="3120"/>
                  </a:cubicBezTo>
                  <a:cubicBezTo>
                    <a:pt x="10461" y="2800"/>
                    <a:pt x="10461" y="2800"/>
                    <a:pt x="10461" y="2800"/>
                  </a:cubicBezTo>
                  <a:cubicBezTo>
                    <a:pt x="11139" y="2640"/>
                    <a:pt x="11139" y="2640"/>
                    <a:pt x="11139" y="2640"/>
                  </a:cubicBezTo>
                  <a:cubicBezTo>
                    <a:pt x="11590" y="2480"/>
                    <a:pt x="11590" y="2480"/>
                    <a:pt x="11590" y="2480"/>
                  </a:cubicBezTo>
                  <a:cubicBezTo>
                    <a:pt x="12042" y="2480"/>
                    <a:pt x="12042" y="2480"/>
                    <a:pt x="12042" y="2480"/>
                  </a:cubicBezTo>
                  <a:cubicBezTo>
                    <a:pt x="12719" y="2240"/>
                    <a:pt x="12719" y="2240"/>
                    <a:pt x="12719" y="2240"/>
                  </a:cubicBezTo>
                  <a:cubicBezTo>
                    <a:pt x="13171" y="2080"/>
                    <a:pt x="13171" y="2080"/>
                    <a:pt x="13171" y="2080"/>
                  </a:cubicBezTo>
                  <a:cubicBezTo>
                    <a:pt x="13397" y="2240"/>
                    <a:pt x="13397" y="2240"/>
                    <a:pt x="13397" y="2240"/>
                  </a:cubicBezTo>
                  <a:cubicBezTo>
                    <a:pt x="13547" y="2880"/>
                    <a:pt x="13547" y="2880"/>
                    <a:pt x="13547" y="2880"/>
                  </a:cubicBezTo>
                  <a:cubicBezTo>
                    <a:pt x="14375" y="3040"/>
                    <a:pt x="14375" y="3040"/>
                    <a:pt x="14375" y="3040"/>
                  </a:cubicBezTo>
                  <a:cubicBezTo>
                    <a:pt x="14902" y="3040"/>
                    <a:pt x="14902" y="3040"/>
                    <a:pt x="14902" y="3040"/>
                  </a:cubicBezTo>
                  <a:cubicBezTo>
                    <a:pt x="15278" y="3120"/>
                    <a:pt x="15278" y="3120"/>
                    <a:pt x="15278" y="3120"/>
                  </a:cubicBezTo>
                  <a:cubicBezTo>
                    <a:pt x="15579" y="3520"/>
                    <a:pt x="15579" y="3520"/>
                    <a:pt x="15579" y="3520"/>
                  </a:cubicBezTo>
                  <a:cubicBezTo>
                    <a:pt x="16031" y="4080"/>
                    <a:pt x="16031" y="4080"/>
                    <a:pt x="16031" y="4080"/>
                  </a:cubicBezTo>
                  <a:cubicBezTo>
                    <a:pt x="16181" y="4240"/>
                    <a:pt x="16181" y="4240"/>
                    <a:pt x="16181" y="4240"/>
                  </a:cubicBezTo>
                  <a:cubicBezTo>
                    <a:pt x="16181" y="4240"/>
                    <a:pt x="16256" y="4320"/>
                    <a:pt x="16332" y="4400"/>
                  </a:cubicBezTo>
                  <a:cubicBezTo>
                    <a:pt x="16407" y="4480"/>
                    <a:pt x="16482" y="4640"/>
                    <a:pt x="16482" y="4640"/>
                  </a:cubicBezTo>
                  <a:cubicBezTo>
                    <a:pt x="16859" y="4720"/>
                    <a:pt x="16859" y="4720"/>
                    <a:pt x="16859" y="4720"/>
                  </a:cubicBezTo>
                  <a:cubicBezTo>
                    <a:pt x="16859" y="4720"/>
                    <a:pt x="17009" y="4560"/>
                    <a:pt x="17009" y="4560"/>
                  </a:cubicBezTo>
                  <a:cubicBezTo>
                    <a:pt x="17009" y="4480"/>
                    <a:pt x="17310" y="4320"/>
                    <a:pt x="17310" y="4320"/>
                  </a:cubicBezTo>
                  <a:cubicBezTo>
                    <a:pt x="17461" y="4480"/>
                    <a:pt x="17461" y="4480"/>
                    <a:pt x="17461" y="4480"/>
                  </a:cubicBezTo>
                  <a:cubicBezTo>
                    <a:pt x="17461" y="4480"/>
                    <a:pt x="17611" y="4560"/>
                    <a:pt x="17461" y="4640"/>
                  </a:cubicBezTo>
                  <a:cubicBezTo>
                    <a:pt x="17385" y="4640"/>
                    <a:pt x="17310" y="4800"/>
                    <a:pt x="17235" y="4800"/>
                  </a:cubicBezTo>
                  <a:cubicBezTo>
                    <a:pt x="17084" y="4800"/>
                    <a:pt x="16934" y="4800"/>
                    <a:pt x="16934" y="4800"/>
                  </a:cubicBezTo>
                  <a:cubicBezTo>
                    <a:pt x="16633" y="4800"/>
                    <a:pt x="16633" y="4800"/>
                    <a:pt x="16633" y="4800"/>
                  </a:cubicBezTo>
                  <a:cubicBezTo>
                    <a:pt x="16482" y="4960"/>
                    <a:pt x="16482" y="4960"/>
                    <a:pt x="16482" y="4960"/>
                  </a:cubicBezTo>
                  <a:cubicBezTo>
                    <a:pt x="15654" y="4960"/>
                    <a:pt x="15654" y="4960"/>
                    <a:pt x="15654" y="4960"/>
                  </a:cubicBezTo>
                  <a:cubicBezTo>
                    <a:pt x="15429" y="5040"/>
                    <a:pt x="15429" y="5040"/>
                    <a:pt x="15429" y="5040"/>
                  </a:cubicBezTo>
                  <a:cubicBezTo>
                    <a:pt x="15128" y="4880"/>
                    <a:pt x="15128" y="4880"/>
                    <a:pt x="15128" y="4880"/>
                  </a:cubicBezTo>
                  <a:cubicBezTo>
                    <a:pt x="14826" y="4720"/>
                    <a:pt x="14826" y="4720"/>
                    <a:pt x="14826" y="4720"/>
                  </a:cubicBezTo>
                  <a:cubicBezTo>
                    <a:pt x="14525" y="5120"/>
                    <a:pt x="14525" y="5120"/>
                    <a:pt x="14525" y="5120"/>
                  </a:cubicBezTo>
                  <a:cubicBezTo>
                    <a:pt x="14601" y="5360"/>
                    <a:pt x="14601" y="5360"/>
                    <a:pt x="14601" y="5360"/>
                  </a:cubicBezTo>
                  <a:cubicBezTo>
                    <a:pt x="14601" y="5520"/>
                    <a:pt x="14601" y="5520"/>
                    <a:pt x="14601" y="5520"/>
                  </a:cubicBezTo>
                  <a:cubicBezTo>
                    <a:pt x="14601" y="5520"/>
                    <a:pt x="14601" y="5680"/>
                    <a:pt x="14676" y="5680"/>
                  </a:cubicBezTo>
                  <a:cubicBezTo>
                    <a:pt x="14676" y="5680"/>
                    <a:pt x="14751" y="5760"/>
                    <a:pt x="14751" y="5760"/>
                  </a:cubicBezTo>
                  <a:cubicBezTo>
                    <a:pt x="15128" y="5920"/>
                    <a:pt x="15128" y="5920"/>
                    <a:pt x="15128" y="5920"/>
                  </a:cubicBezTo>
                  <a:cubicBezTo>
                    <a:pt x="15278" y="5760"/>
                    <a:pt x="15278" y="5760"/>
                    <a:pt x="15278" y="5760"/>
                  </a:cubicBezTo>
                  <a:cubicBezTo>
                    <a:pt x="15278" y="5760"/>
                    <a:pt x="15052" y="5600"/>
                    <a:pt x="15128" y="5600"/>
                  </a:cubicBezTo>
                  <a:cubicBezTo>
                    <a:pt x="15203" y="5600"/>
                    <a:pt x="15504" y="5760"/>
                    <a:pt x="15504" y="5760"/>
                  </a:cubicBezTo>
                  <a:cubicBezTo>
                    <a:pt x="15504" y="5760"/>
                    <a:pt x="15429" y="5920"/>
                    <a:pt x="15429" y="5920"/>
                  </a:cubicBezTo>
                  <a:cubicBezTo>
                    <a:pt x="15353" y="6000"/>
                    <a:pt x="15353" y="6000"/>
                    <a:pt x="15353" y="6000"/>
                  </a:cubicBezTo>
                  <a:cubicBezTo>
                    <a:pt x="15429" y="6080"/>
                    <a:pt x="15805" y="6160"/>
                    <a:pt x="15805" y="6160"/>
                  </a:cubicBezTo>
                  <a:cubicBezTo>
                    <a:pt x="15880" y="6160"/>
                    <a:pt x="16106" y="6320"/>
                    <a:pt x="16106" y="6320"/>
                  </a:cubicBezTo>
                  <a:cubicBezTo>
                    <a:pt x="16482" y="6560"/>
                    <a:pt x="16482" y="6560"/>
                    <a:pt x="16482" y="6560"/>
                  </a:cubicBezTo>
                  <a:cubicBezTo>
                    <a:pt x="17009" y="6800"/>
                    <a:pt x="17009" y="6800"/>
                    <a:pt x="17009" y="6800"/>
                  </a:cubicBezTo>
                  <a:cubicBezTo>
                    <a:pt x="17611" y="7040"/>
                    <a:pt x="17611" y="7040"/>
                    <a:pt x="17611" y="7040"/>
                  </a:cubicBezTo>
                  <a:cubicBezTo>
                    <a:pt x="18213" y="7680"/>
                    <a:pt x="18213" y="7680"/>
                    <a:pt x="18213" y="7680"/>
                  </a:cubicBezTo>
                  <a:cubicBezTo>
                    <a:pt x="18514" y="8080"/>
                    <a:pt x="18514" y="8080"/>
                    <a:pt x="18514" y="8080"/>
                  </a:cubicBezTo>
                  <a:cubicBezTo>
                    <a:pt x="18364" y="8240"/>
                    <a:pt x="18364" y="8240"/>
                    <a:pt x="18364" y="8240"/>
                  </a:cubicBezTo>
                  <a:cubicBezTo>
                    <a:pt x="18364" y="8240"/>
                    <a:pt x="18289" y="8240"/>
                    <a:pt x="18289" y="8320"/>
                  </a:cubicBezTo>
                  <a:cubicBezTo>
                    <a:pt x="18364" y="8400"/>
                    <a:pt x="18514" y="8720"/>
                    <a:pt x="18514" y="8720"/>
                  </a:cubicBezTo>
                  <a:cubicBezTo>
                    <a:pt x="18439" y="8800"/>
                    <a:pt x="18590" y="9040"/>
                    <a:pt x="18590" y="9040"/>
                  </a:cubicBezTo>
                  <a:cubicBezTo>
                    <a:pt x="18740" y="9920"/>
                    <a:pt x="18740" y="9920"/>
                    <a:pt x="18740" y="9920"/>
                  </a:cubicBezTo>
                  <a:cubicBezTo>
                    <a:pt x="18815" y="10400"/>
                    <a:pt x="18815" y="10400"/>
                    <a:pt x="18815" y="10400"/>
                  </a:cubicBezTo>
                  <a:cubicBezTo>
                    <a:pt x="18740" y="10880"/>
                    <a:pt x="18740" y="10880"/>
                    <a:pt x="18740" y="10880"/>
                  </a:cubicBezTo>
                  <a:cubicBezTo>
                    <a:pt x="18439" y="11280"/>
                    <a:pt x="18439" y="11280"/>
                    <a:pt x="18439" y="11280"/>
                  </a:cubicBezTo>
                  <a:cubicBezTo>
                    <a:pt x="18213" y="11760"/>
                    <a:pt x="18213" y="11760"/>
                    <a:pt x="18213" y="11760"/>
                  </a:cubicBezTo>
                  <a:cubicBezTo>
                    <a:pt x="18213" y="11760"/>
                    <a:pt x="18063" y="12080"/>
                    <a:pt x="17987" y="12160"/>
                  </a:cubicBezTo>
                  <a:cubicBezTo>
                    <a:pt x="17987" y="12160"/>
                    <a:pt x="17686" y="12400"/>
                    <a:pt x="17686" y="12480"/>
                  </a:cubicBezTo>
                  <a:cubicBezTo>
                    <a:pt x="17686" y="12480"/>
                    <a:pt x="17536" y="12800"/>
                    <a:pt x="17536" y="12800"/>
                  </a:cubicBezTo>
                  <a:cubicBezTo>
                    <a:pt x="17536" y="13440"/>
                    <a:pt x="17536" y="13440"/>
                    <a:pt x="17536" y="13440"/>
                  </a:cubicBezTo>
                  <a:cubicBezTo>
                    <a:pt x="17686" y="13600"/>
                    <a:pt x="17686" y="13600"/>
                    <a:pt x="17686" y="13600"/>
                  </a:cubicBezTo>
                  <a:cubicBezTo>
                    <a:pt x="18063" y="13760"/>
                    <a:pt x="18063" y="13760"/>
                    <a:pt x="18063" y="13760"/>
                  </a:cubicBezTo>
                  <a:cubicBezTo>
                    <a:pt x="18213" y="13600"/>
                    <a:pt x="18213" y="13600"/>
                    <a:pt x="18213" y="13600"/>
                  </a:cubicBezTo>
                  <a:cubicBezTo>
                    <a:pt x="18213" y="13600"/>
                    <a:pt x="18364" y="13520"/>
                    <a:pt x="18364" y="13440"/>
                  </a:cubicBezTo>
                  <a:cubicBezTo>
                    <a:pt x="18439" y="13440"/>
                    <a:pt x="18514" y="13280"/>
                    <a:pt x="18514" y="13280"/>
                  </a:cubicBezTo>
                  <a:cubicBezTo>
                    <a:pt x="18514" y="13280"/>
                    <a:pt x="18740" y="13120"/>
                    <a:pt x="18740" y="13120"/>
                  </a:cubicBezTo>
                  <a:cubicBezTo>
                    <a:pt x="18740" y="13120"/>
                    <a:pt x="18740" y="12880"/>
                    <a:pt x="18740" y="12880"/>
                  </a:cubicBezTo>
                  <a:cubicBezTo>
                    <a:pt x="18740" y="12880"/>
                    <a:pt x="18815" y="12560"/>
                    <a:pt x="18815" y="12560"/>
                  </a:cubicBezTo>
                  <a:cubicBezTo>
                    <a:pt x="18815" y="12560"/>
                    <a:pt x="18966" y="12480"/>
                    <a:pt x="18966" y="12480"/>
                  </a:cubicBezTo>
                  <a:cubicBezTo>
                    <a:pt x="18966" y="12400"/>
                    <a:pt x="19192" y="12240"/>
                    <a:pt x="19192" y="12240"/>
                  </a:cubicBezTo>
                  <a:cubicBezTo>
                    <a:pt x="19192" y="12240"/>
                    <a:pt x="19493" y="12000"/>
                    <a:pt x="19493" y="12000"/>
                  </a:cubicBezTo>
                  <a:cubicBezTo>
                    <a:pt x="19568" y="12000"/>
                    <a:pt x="19718" y="11760"/>
                    <a:pt x="19718" y="11760"/>
                  </a:cubicBezTo>
                  <a:cubicBezTo>
                    <a:pt x="19944" y="11760"/>
                    <a:pt x="19944" y="11760"/>
                    <a:pt x="19944" y="11760"/>
                  </a:cubicBezTo>
                  <a:cubicBezTo>
                    <a:pt x="20245" y="11840"/>
                    <a:pt x="20245" y="11840"/>
                    <a:pt x="20245" y="11840"/>
                  </a:cubicBezTo>
                  <a:cubicBezTo>
                    <a:pt x="20697" y="12320"/>
                    <a:pt x="20697" y="12320"/>
                    <a:pt x="20697" y="12320"/>
                  </a:cubicBezTo>
                  <a:cubicBezTo>
                    <a:pt x="20998" y="12960"/>
                    <a:pt x="20998" y="12960"/>
                    <a:pt x="20998" y="12960"/>
                  </a:cubicBezTo>
                  <a:cubicBezTo>
                    <a:pt x="21299" y="14720"/>
                    <a:pt x="21299" y="14720"/>
                    <a:pt x="21299" y="14720"/>
                  </a:cubicBezTo>
                  <a:cubicBezTo>
                    <a:pt x="21525" y="15120"/>
                    <a:pt x="21525" y="15120"/>
                    <a:pt x="21525" y="15120"/>
                  </a:cubicBezTo>
                  <a:cubicBezTo>
                    <a:pt x="21525" y="15440"/>
                    <a:pt x="21525" y="15440"/>
                    <a:pt x="21525" y="15440"/>
                  </a:cubicBezTo>
                  <a:cubicBezTo>
                    <a:pt x="21525" y="15440"/>
                    <a:pt x="21600" y="15680"/>
                    <a:pt x="21600" y="15760"/>
                  </a:cubicBezTo>
                  <a:cubicBezTo>
                    <a:pt x="21600" y="15840"/>
                    <a:pt x="21600" y="17040"/>
                    <a:pt x="21600" y="17040"/>
                  </a:cubicBezTo>
                  <a:cubicBezTo>
                    <a:pt x="21073" y="17040"/>
                    <a:pt x="21073" y="17040"/>
                    <a:pt x="21073" y="17040"/>
                  </a:cubicBezTo>
                  <a:cubicBezTo>
                    <a:pt x="20923" y="17040"/>
                    <a:pt x="20923" y="17040"/>
                    <a:pt x="20923" y="17040"/>
                  </a:cubicBezTo>
                  <a:cubicBezTo>
                    <a:pt x="20923" y="17280"/>
                    <a:pt x="20923" y="17280"/>
                    <a:pt x="20923" y="17280"/>
                  </a:cubicBezTo>
                  <a:cubicBezTo>
                    <a:pt x="20697" y="17600"/>
                    <a:pt x="20697" y="17600"/>
                    <a:pt x="20697" y="17600"/>
                  </a:cubicBezTo>
                  <a:cubicBezTo>
                    <a:pt x="20622" y="18000"/>
                    <a:pt x="20622" y="18000"/>
                    <a:pt x="20622" y="18000"/>
                  </a:cubicBezTo>
                  <a:cubicBezTo>
                    <a:pt x="20471" y="18320"/>
                    <a:pt x="20471" y="18320"/>
                    <a:pt x="20471" y="18320"/>
                  </a:cubicBezTo>
                  <a:cubicBezTo>
                    <a:pt x="20245" y="18640"/>
                    <a:pt x="20245" y="18640"/>
                    <a:pt x="20245" y="18640"/>
                  </a:cubicBezTo>
                  <a:cubicBezTo>
                    <a:pt x="20020" y="19440"/>
                    <a:pt x="20020" y="19440"/>
                    <a:pt x="20020" y="19440"/>
                  </a:cubicBezTo>
                  <a:cubicBezTo>
                    <a:pt x="20020" y="19920"/>
                    <a:pt x="20020" y="19920"/>
                    <a:pt x="20020" y="19920"/>
                  </a:cubicBezTo>
                  <a:cubicBezTo>
                    <a:pt x="19718" y="20320"/>
                    <a:pt x="19718" y="20320"/>
                    <a:pt x="19718" y="20320"/>
                  </a:cubicBezTo>
                  <a:cubicBezTo>
                    <a:pt x="19493" y="20720"/>
                    <a:pt x="19493" y="20720"/>
                    <a:pt x="19493" y="20720"/>
                  </a:cubicBezTo>
                  <a:cubicBezTo>
                    <a:pt x="16031" y="21360"/>
                    <a:pt x="16031" y="21360"/>
                    <a:pt x="16031" y="21360"/>
                  </a:cubicBezTo>
                  <a:cubicBezTo>
                    <a:pt x="15955" y="21200"/>
                    <a:pt x="15955" y="21200"/>
                    <a:pt x="15955" y="21200"/>
                  </a:cubicBezTo>
                  <a:cubicBezTo>
                    <a:pt x="10612" y="21600"/>
                    <a:pt x="10612" y="21600"/>
                    <a:pt x="10612" y="21600"/>
                  </a:cubicBezTo>
                  <a:cubicBezTo>
                    <a:pt x="10988" y="21200"/>
                    <a:pt x="10988" y="21200"/>
                    <a:pt x="10988" y="21200"/>
                  </a:cubicBezTo>
                  <a:cubicBezTo>
                    <a:pt x="11139" y="20880"/>
                    <a:pt x="11139" y="20880"/>
                    <a:pt x="11139" y="20880"/>
                  </a:cubicBezTo>
                  <a:cubicBezTo>
                    <a:pt x="11440" y="20320"/>
                    <a:pt x="11440" y="20320"/>
                    <a:pt x="11440" y="20320"/>
                  </a:cubicBezTo>
                  <a:cubicBezTo>
                    <a:pt x="11741" y="19600"/>
                    <a:pt x="11741" y="19600"/>
                    <a:pt x="11741" y="19600"/>
                  </a:cubicBezTo>
                  <a:cubicBezTo>
                    <a:pt x="11891" y="18800"/>
                    <a:pt x="11891" y="18800"/>
                    <a:pt x="11891" y="18800"/>
                  </a:cubicBezTo>
                  <a:cubicBezTo>
                    <a:pt x="11816" y="17360"/>
                    <a:pt x="11816" y="17360"/>
                    <a:pt x="11816" y="17360"/>
                  </a:cubicBezTo>
                  <a:cubicBezTo>
                    <a:pt x="11816" y="16720"/>
                    <a:pt x="11816" y="16720"/>
                    <a:pt x="11816" y="16720"/>
                  </a:cubicBezTo>
                  <a:cubicBezTo>
                    <a:pt x="11515" y="16240"/>
                    <a:pt x="11515" y="16240"/>
                    <a:pt x="11515" y="16240"/>
                  </a:cubicBezTo>
                  <a:cubicBezTo>
                    <a:pt x="11214" y="15600"/>
                    <a:pt x="11214" y="15600"/>
                    <a:pt x="11214" y="15600"/>
                  </a:cubicBezTo>
                  <a:cubicBezTo>
                    <a:pt x="10913" y="15280"/>
                    <a:pt x="10913" y="15280"/>
                    <a:pt x="10913" y="15280"/>
                  </a:cubicBezTo>
                  <a:cubicBezTo>
                    <a:pt x="10687" y="14720"/>
                    <a:pt x="10687" y="14720"/>
                    <a:pt x="10687" y="14720"/>
                  </a:cubicBezTo>
                  <a:cubicBezTo>
                    <a:pt x="10838" y="14320"/>
                    <a:pt x="10838" y="14320"/>
                    <a:pt x="10838" y="14320"/>
                  </a:cubicBezTo>
                  <a:cubicBezTo>
                    <a:pt x="10988" y="14160"/>
                    <a:pt x="10988" y="14160"/>
                    <a:pt x="10988" y="14160"/>
                  </a:cubicBezTo>
                  <a:cubicBezTo>
                    <a:pt x="10988" y="13840"/>
                    <a:pt x="10988" y="13840"/>
                    <a:pt x="10988" y="13840"/>
                  </a:cubicBezTo>
                  <a:cubicBezTo>
                    <a:pt x="10838" y="13200"/>
                    <a:pt x="10838" y="13200"/>
                    <a:pt x="10838" y="13200"/>
                  </a:cubicBezTo>
                  <a:cubicBezTo>
                    <a:pt x="10612" y="12960"/>
                    <a:pt x="10612" y="12960"/>
                    <a:pt x="10612" y="12960"/>
                  </a:cubicBezTo>
                  <a:cubicBezTo>
                    <a:pt x="10838" y="12800"/>
                    <a:pt x="10838" y="12800"/>
                    <a:pt x="10838" y="12800"/>
                  </a:cubicBezTo>
                  <a:cubicBezTo>
                    <a:pt x="10913" y="12400"/>
                    <a:pt x="10913" y="12400"/>
                    <a:pt x="10913" y="12400"/>
                  </a:cubicBezTo>
                  <a:cubicBezTo>
                    <a:pt x="10988" y="12000"/>
                    <a:pt x="10988" y="12000"/>
                    <a:pt x="10988" y="12000"/>
                  </a:cubicBezTo>
                  <a:cubicBezTo>
                    <a:pt x="11139" y="11760"/>
                    <a:pt x="11139" y="11760"/>
                    <a:pt x="11139" y="11760"/>
                  </a:cubicBezTo>
                  <a:cubicBezTo>
                    <a:pt x="11139" y="11120"/>
                    <a:pt x="11139" y="11120"/>
                    <a:pt x="11139" y="11120"/>
                  </a:cubicBezTo>
                  <a:cubicBezTo>
                    <a:pt x="11063" y="10800"/>
                    <a:pt x="11063" y="10800"/>
                    <a:pt x="11063" y="10800"/>
                  </a:cubicBezTo>
                  <a:cubicBezTo>
                    <a:pt x="11139" y="10400"/>
                    <a:pt x="11139" y="10400"/>
                    <a:pt x="11139" y="10400"/>
                  </a:cubicBezTo>
                  <a:cubicBezTo>
                    <a:pt x="11364" y="10080"/>
                    <a:pt x="11364" y="10080"/>
                    <a:pt x="11364" y="10080"/>
                  </a:cubicBezTo>
                  <a:cubicBezTo>
                    <a:pt x="11515" y="9760"/>
                    <a:pt x="11515" y="9760"/>
                    <a:pt x="11515" y="9760"/>
                  </a:cubicBezTo>
                  <a:cubicBezTo>
                    <a:pt x="11515" y="9360"/>
                    <a:pt x="11515" y="9360"/>
                    <a:pt x="11515" y="9360"/>
                  </a:cubicBezTo>
                  <a:cubicBezTo>
                    <a:pt x="11816" y="9280"/>
                    <a:pt x="11816" y="9280"/>
                    <a:pt x="11816" y="9280"/>
                  </a:cubicBezTo>
                  <a:cubicBezTo>
                    <a:pt x="12268" y="9280"/>
                    <a:pt x="12268" y="9280"/>
                    <a:pt x="12268" y="9280"/>
                  </a:cubicBezTo>
                  <a:cubicBezTo>
                    <a:pt x="12418" y="8640"/>
                    <a:pt x="12418" y="8640"/>
                    <a:pt x="12418" y="8640"/>
                  </a:cubicBezTo>
                  <a:cubicBezTo>
                    <a:pt x="12493" y="8480"/>
                    <a:pt x="12493" y="8480"/>
                    <a:pt x="12493" y="8480"/>
                  </a:cubicBezTo>
                  <a:cubicBezTo>
                    <a:pt x="12644" y="8400"/>
                    <a:pt x="12644" y="8400"/>
                    <a:pt x="12644" y="8400"/>
                  </a:cubicBezTo>
                  <a:cubicBezTo>
                    <a:pt x="12870" y="9120"/>
                    <a:pt x="12870" y="9120"/>
                    <a:pt x="12870" y="9120"/>
                  </a:cubicBezTo>
                  <a:cubicBezTo>
                    <a:pt x="12569" y="9520"/>
                    <a:pt x="12569" y="9520"/>
                    <a:pt x="12569" y="9520"/>
                  </a:cubicBezTo>
                  <a:cubicBezTo>
                    <a:pt x="12569" y="9680"/>
                    <a:pt x="12569" y="9680"/>
                    <a:pt x="12569" y="9680"/>
                  </a:cubicBezTo>
                  <a:cubicBezTo>
                    <a:pt x="12569" y="9680"/>
                    <a:pt x="12644" y="9760"/>
                    <a:pt x="12719" y="9760"/>
                  </a:cubicBezTo>
                  <a:cubicBezTo>
                    <a:pt x="12794" y="9760"/>
                    <a:pt x="12794" y="9760"/>
                    <a:pt x="12794" y="9760"/>
                  </a:cubicBezTo>
                  <a:cubicBezTo>
                    <a:pt x="12794" y="9760"/>
                    <a:pt x="12945" y="9680"/>
                    <a:pt x="12945" y="9680"/>
                  </a:cubicBezTo>
                  <a:cubicBezTo>
                    <a:pt x="12945" y="9600"/>
                    <a:pt x="13020" y="9360"/>
                    <a:pt x="13020" y="9360"/>
                  </a:cubicBezTo>
                  <a:cubicBezTo>
                    <a:pt x="13095" y="9280"/>
                    <a:pt x="13095" y="9280"/>
                    <a:pt x="13095" y="9280"/>
                  </a:cubicBezTo>
                  <a:cubicBezTo>
                    <a:pt x="13171" y="8880"/>
                    <a:pt x="13171" y="8880"/>
                    <a:pt x="13171" y="8880"/>
                  </a:cubicBezTo>
                  <a:cubicBezTo>
                    <a:pt x="13171" y="8640"/>
                    <a:pt x="13171" y="8640"/>
                    <a:pt x="13171" y="8640"/>
                  </a:cubicBezTo>
                  <a:cubicBezTo>
                    <a:pt x="13171" y="8320"/>
                    <a:pt x="13171" y="8320"/>
                    <a:pt x="13171" y="8320"/>
                  </a:cubicBezTo>
                  <a:cubicBezTo>
                    <a:pt x="13171" y="8000"/>
                    <a:pt x="13171" y="8000"/>
                    <a:pt x="13171" y="8000"/>
                  </a:cubicBezTo>
                  <a:cubicBezTo>
                    <a:pt x="13397" y="7680"/>
                    <a:pt x="13397" y="7680"/>
                    <a:pt x="13397" y="7680"/>
                  </a:cubicBezTo>
                  <a:cubicBezTo>
                    <a:pt x="13547" y="7520"/>
                    <a:pt x="13547" y="7520"/>
                    <a:pt x="13547" y="7520"/>
                  </a:cubicBezTo>
                  <a:cubicBezTo>
                    <a:pt x="13923" y="7440"/>
                    <a:pt x="13923" y="7440"/>
                    <a:pt x="13923" y="7440"/>
                  </a:cubicBezTo>
                  <a:cubicBezTo>
                    <a:pt x="14074" y="7280"/>
                    <a:pt x="14074" y="7280"/>
                    <a:pt x="14074" y="7280"/>
                  </a:cubicBezTo>
                  <a:cubicBezTo>
                    <a:pt x="13773" y="6960"/>
                    <a:pt x="13773" y="6960"/>
                    <a:pt x="13773" y="6960"/>
                  </a:cubicBezTo>
                  <a:cubicBezTo>
                    <a:pt x="13698" y="6720"/>
                    <a:pt x="13698" y="6720"/>
                    <a:pt x="13698" y="6720"/>
                  </a:cubicBezTo>
                  <a:cubicBezTo>
                    <a:pt x="13848" y="6480"/>
                    <a:pt x="13848" y="6480"/>
                    <a:pt x="13848" y="6480"/>
                  </a:cubicBezTo>
                  <a:cubicBezTo>
                    <a:pt x="13999" y="6240"/>
                    <a:pt x="13999" y="6240"/>
                    <a:pt x="13999" y="6240"/>
                  </a:cubicBezTo>
                  <a:cubicBezTo>
                    <a:pt x="14074" y="6160"/>
                    <a:pt x="14074" y="6160"/>
                    <a:pt x="14074" y="6160"/>
                  </a:cubicBezTo>
                  <a:cubicBezTo>
                    <a:pt x="14074" y="6000"/>
                    <a:pt x="14074" y="6000"/>
                    <a:pt x="14074" y="6000"/>
                  </a:cubicBezTo>
                  <a:cubicBezTo>
                    <a:pt x="14149" y="5920"/>
                    <a:pt x="14149" y="5920"/>
                    <a:pt x="14149" y="5920"/>
                  </a:cubicBezTo>
                  <a:cubicBezTo>
                    <a:pt x="14149" y="5920"/>
                    <a:pt x="14149" y="5920"/>
                    <a:pt x="14224" y="5920"/>
                  </a:cubicBezTo>
                  <a:cubicBezTo>
                    <a:pt x="14224" y="5920"/>
                    <a:pt x="14525" y="5840"/>
                    <a:pt x="14525" y="5840"/>
                  </a:cubicBezTo>
                  <a:cubicBezTo>
                    <a:pt x="14676" y="5840"/>
                    <a:pt x="14676" y="5840"/>
                    <a:pt x="14676" y="5840"/>
                  </a:cubicBezTo>
                  <a:cubicBezTo>
                    <a:pt x="14525" y="5600"/>
                    <a:pt x="14525" y="5600"/>
                    <a:pt x="14525" y="5600"/>
                  </a:cubicBezTo>
                  <a:cubicBezTo>
                    <a:pt x="14224" y="5360"/>
                    <a:pt x="14224" y="5360"/>
                    <a:pt x="14224" y="5360"/>
                  </a:cubicBezTo>
                  <a:cubicBezTo>
                    <a:pt x="14074" y="5200"/>
                    <a:pt x="14074" y="5200"/>
                    <a:pt x="14074" y="5200"/>
                  </a:cubicBezTo>
                  <a:cubicBezTo>
                    <a:pt x="13848" y="5040"/>
                    <a:pt x="13848" y="5040"/>
                    <a:pt x="13848" y="5040"/>
                  </a:cubicBezTo>
                  <a:cubicBezTo>
                    <a:pt x="13472" y="4880"/>
                    <a:pt x="13472" y="4880"/>
                    <a:pt x="13472" y="4880"/>
                  </a:cubicBezTo>
                  <a:cubicBezTo>
                    <a:pt x="12794" y="4800"/>
                    <a:pt x="12794" y="4800"/>
                    <a:pt x="12794" y="4800"/>
                  </a:cubicBezTo>
                  <a:cubicBezTo>
                    <a:pt x="12268" y="5120"/>
                    <a:pt x="12268" y="5120"/>
                    <a:pt x="12268" y="5120"/>
                  </a:cubicBezTo>
                  <a:cubicBezTo>
                    <a:pt x="11967" y="5440"/>
                    <a:pt x="11967" y="5440"/>
                    <a:pt x="11967" y="5440"/>
                  </a:cubicBezTo>
                  <a:cubicBezTo>
                    <a:pt x="11440" y="5520"/>
                    <a:pt x="11440" y="5520"/>
                    <a:pt x="11440" y="5520"/>
                  </a:cubicBezTo>
                  <a:cubicBezTo>
                    <a:pt x="10838" y="5520"/>
                    <a:pt x="10838" y="5520"/>
                    <a:pt x="10838" y="5520"/>
                  </a:cubicBezTo>
                  <a:cubicBezTo>
                    <a:pt x="10537" y="5760"/>
                    <a:pt x="10537" y="5760"/>
                    <a:pt x="10537" y="5760"/>
                  </a:cubicBezTo>
                  <a:cubicBezTo>
                    <a:pt x="10160" y="6480"/>
                    <a:pt x="10160" y="6480"/>
                    <a:pt x="10160" y="6480"/>
                  </a:cubicBezTo>
                  <a:cubicBezTo>
                    <a:pt x="9709" y="6800"/>
                    <a:pt x="9709" y="6800"/>
                    <a:pt x="9709" y="6800"/>
                  </a:cubicBezTo>
                  <a:cubicBezTo>
                    <a:pt x="9633" y="6720"/>
                    <a:pt x="9633" y="6720"/>
                    <a:pt x="9633" y="6720"/>
                  </a:cubicBezTo>
                  <a:cubicBezTo>
                    <a:pt x="9784" y="6400"/>
                    <a:pt x="9784" y="6400"/>
                    <a:pt x="9784" y="6400"/>
                  </a:cubicBezTo>
                  <a:cubicBezTo>
                    <a:pt x="10010" y="6160"/>
                    <a:pt x="10010" y="6160"/>
                    <a:pt x="10010" y="6160"/>
                  </a:cubicBezTo>
                  <a:cubicBezTo>
                    <a:pt x="9859" y="5920"/>
                    <a:pt x="9859" y="5920"/>
                    <a:pt x="9859" y="5920"/>
                  </a:cubicBezTo>
                  <a:cubicBezTo>
                    <a:pt x="9558" y="6080"/>
                    <a:pt x="9558" y="6080"/>
                    <a:pt x="9558" y="6080"/>
                  </a:cubicBezTo>
                  <a:cubicBezTo>
                    <a:pt x="9408" y="6160"/>
                    <a:pt x="9408" y="6160"/>
                    <a:pt x="9408" y="6160"/>
                  </a:cubicBezTo>
                  <a:cubicBezTo>
                    <a:pt x="9257" y="6480"/>
                    <a:pt x="9257" y="6480"/>
                    <a:pt x="9257" y="6480"/>
                  </a:cubicBezTo>
                  <a:cubicBezTo>
                    <a:pt x="9107" y="6560"/>
                    <a:pt x="9107" y="6560"/>
                    <a:pt x="9107" y="6560"/>
                  </a:cubicBezTo>
                  <a:cubicBezTo>
                    <a:pt x="9031" y="6560"/>
                    <a:pt x="9031" y="6560"/>
                    <a:pt x="9031" y="6560"/>
                  </a:cubicBezTo>
                  <a:cubicBezTo>
                    <a:pt x="8881" y="6000"/>
                    <a:pt x="8881" y="6000"/>
                    <a:pt x="8881" y="6000"/>
                  </a:cubicBezTo>
                  <a:cubicBezTo>
                    <a:pt x="8806" y="6000"/>
                    <a:pt x="8806" y="6000"/>
                    <a:pt x="8806" y="6000"/>
                  </a:cubicBezTo>
                  <a:cubicBezTo>
                    <a:pt x="8655" y="6480"/>
                    <a:pt x="8655" y="6480"/>
                    <a:pt x="8655" y="6480"/>
                  </a:cubicBezTo>
                  <a:cubicBezTo>
                    <a:pt x="8580" y="6800"/>
                    <a:pt x="8580" y="6800"/>
                    <a:pt x="8580" y="6800"/>
                  </a:cubicBezTo>
                  <a:cubicBezTo>
                    <a:pt x="8279" y="7200"/>
                    <a:pt x="8279" y="7200"/>
                    <a:pt x="8279" y="7200"/>
                  </a:cubicBezTo>
                  <a:cubicBezTo>
                    <a:pt x="8053" y="8080"/>
                    <a:pt x="8053" y="8080"/>
                    <a:pt x="8053" y="8080"/>
                  </a:cubicBezTo>
                  <a:cubicBezTo>
                    <a:pt x="7902" y="8560"/>
                    <a:pt x="7902" y="8560"/>
                    <a:pt x="7902" y="8560"/>
                  </a:cubicBezTo>
                  <a:cubicBezTo>
                    <a:pt x="7451" y="8960"/>
                    <a:pt x="7451" y="8960"/>
                    <a:pt x="7451" y="8960"/>
                  </a:cubicBezTo>
                  <a:cubicBezTo>
                    <a:pt x="7300" y="8640"/>
                    <a:pt x="7300" y="8640"/>
                    <a:pt x="7300" y="8640"/>
                  </a:cubicBezTo>
                  <a:cubicBezTo>
                    <a:pt x="7225" y="8080"/>
                    <a:pt x="7225" y="8080"/>
                    <a:pt x="7225" y="8080"/>
                  </a:cubicBezTo>
                  <a:cubicBezTo>
                    <a:pt x="7150" y="8000"/>
                    <a:pt x="7150" y="8000"/>
                    <a:pt x="7150" y="8000"/>
                  </a:cubicBezTo>
                  <a:cubicBezTo>
                    <a:pt x="6999" y="7760"/>
                    <a:pt x="6999" y="7760"/>
                    <a:pt x="6999" y="7760"/>
                  </a:cubicBezTo>
                  <a:cubicBezTo>
                    <a:pt x="7075" y="7520"/>
                    <a:pt x="7075" y="7520"/>
                    <a:pt x="7075" y="7520"/>
                  </a:cubicBezTo>
                  <a:cubicBezTo>
                    <a:pt x="6999" y="7040"/>
                    <a:pt x="6999" y="7040"/>
                    <a:pt x="6999" y="7040"/>
                  </a:cubicBezTo>
                  <a:cubicBezTo>
                    <a:pt x="6774" y="6800"/>
                    <a:pt x="6774" y="6800"/>
                    <a:pt x="6774" y="6800"/>
                  </a:cubicBezTo>
                  <a:cubicBezTo>
                    <a:pt x="6322" y="6480"/>
                    <a:pt x="6322" y="6480"/>
                    <a:pt x="6322" y="6480"/>
                  </a:cubicBezTo>
                  <a:cubicBezTo>
                    <a:pt x="6171" y="6160"/>
                    <a:pt x="6171" y="6160"/>
                    <a:pt x="6171" y="6160"/>
                  </a:cubicBezTo>
                  <a:cubicBezTo>
                    <a:pt x="5645" y="6080"/>
                    <a:pt x="5645" y="6080"/>
                    <a:pt x="5645" y="6080"/>
                  </a:cubicBezTo>
                  <a:cubicBezTo>
                    <a:pt x="4967" y="6080"/>
                    <a:pt x="4967" y="6080"/>
                    <a:pt x="4967" y="6080"/>
                  </a:cubicBezTo>
                  <a:cubicBezTo>
                    <a:pt x="4817" y="5920"/>
                    <a:pt x="4817" y="5920"/>
                    <a:pt x="4817" y="5920"/>
                  </a:cubicBezTo>
                  <a:cubicBezTo>
                    <a:pt x="4365" y="5920"/>
                    <a:pt x="4365" y="5920"/>
                    <a:pt x="4365" y="5920"/>
                  </a:cubicBezTo>
                  <a:cubicBezTo>
                    <a:pt x="3763" y="5840"/>
                    <a:pt x="3763" y="5840"/>
                    <a:pt x="3763" y="5840"/>
                  </a:cubicBezTo>
                  <a:cubicBezTo>
                    <a:pt x="3688" y="5680"/>
                    <a:pt x="3688" y="5680"/>
                    <a:pt x="3688" y="5680"/>
                  </a:cubicBezTo>
                  <a:cubicBezTo>
                    <a:pt x="3236" y="5440"/>
                    <a:pt x="3236" y="5440"/>
                    <a:pt x="3236" y="5440"/>
                  </a:cubicBezTo>
                  <a:cubicBezTo>
                    <a:pt x="2709" y="5360"/>
                    <a:pt x="2709" y="5360"/>
                    <a:pt x="2709" y="5360"/>
                  </a:cubicBezTo>
                  <a:cubicBezTo>
                    <a:pt x="2183" y="5200"/>
                    <a:pt x="2183" y="5200"/>
                    <a:pt x="2183" y="5200"/>
                  </a:cubicBezTo>
                  <a:cubicBezTo>
                    <a:pt x="1580" y="4960"/>
                    <a:pt x="1580" y="4960"/>
                    <a:pt x="1580" y="4960"/>
                  </a:cubicBezTo>
                  <a:cubicBezTo>
                    <a:pt x="1204" y="4720"/>
                    <a:pt x="1204" y="4720"/>
                    <a:pt x="1204" y="4720"/>
                  </a:cubicBezTo>
                  <a:cubicBezTo>
                    <a:pt x="903" y="4720"/>
                    <a:pt x="903" y="4720"/>
                    <a:pt x="903" y="4720"/>
                  </a:cubicBezTo>
                  <a:cubicBezTo>
                    <a:pt x="828" y="4720"/>
                    <a:pt x="828" y="4720"/>
                    <a:pt x="828" y="4720"/>
                  </a:cubicBezTo>
                  <a:cubicBezTo>
                    <a:pt x="677" y="4560"/>
                    <a:pt x="677" y="4560"/>
                    <a:pt x="677" y="4560"/>
                  </a:cubicBezTo>
                  <a:cubicBezTo>
                    <a:pt x="527" y="4320"/>
                    <a:pt x="527" y="4320"/>
                    <a:pt x="527" y="4320"/>
                  </a:cubicBezTo>
                  <a:cubicBezTo>
                    <a:pt x="0" y="4160"/>
                    <a:pt x="0" y="4160"/>
                    <a:pt x="0" y="4160"/>
                  </a:cubicBezTo>
                  <a:lnTo>
                    <a:pt x="0" y="408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 name="Shape 2324">
              <a:extLst>
                <a:ext uri="{FF2B5EF4-FFF2-40B4-BE49-F238E27FC236}">
                  <a16:creationId xmlns:a16="http://schemas.microsoft.com/office/drawing/2014/main" id="{6F938838-BA8B-036E-133F-35FCC6957D77}"/>
                </a:ext>
              </a:extLst>
            </p:cNvPr>
            <p:cNvSpPr/>
            <p:nvPr/>
          </p:nvSpPr>
          <p:spPr>
            <a:xfrm>
              <a:off x="5763974" y="1093074"/>
              <a:ext cx="977762" cy="1041302"/>
            </a:xfrm>
            <a:custGeom>
              <a:avLst/>
              <a:gdLst/>
              <a:ahLst/>
              <a:cxnLst>
                <a:cxn ang="0">
                  <a:pos x="wd2" y="hd2"/>
                </a:cxn>
                <a:cxn ang="5400000">
                  <a:pos x="wd2" y="hd2"/>
                </a:cxn>
                <a:cxn ang="10800000">
                  <a:pos x="wd2" y="hd2"/>
                </a:cxn>
                <a:cxn ang="16200000">
                  <a:pos x="wd2" y="hd2"/>
                </a:cxn>
              </a:cxnLst>
              <a:rect l="0" t="0" r="r" b="b"/>
              <a:pathLst>
                <a:path w="21600" h="21600" extrusionOk="0">
                  <a:moveTo>
                    <a:pt x="19128" y="6997"/>
                  </a:moveTo>
                  <a:cubicBezTo>
                    <a:pt x="19021" y="6896"/>
                    <a:pt x="19021" y="6896"/>
                    <a:pt x="19021" y="6896"/>
                  </a:cubicBezTo>
                  <a:cubicBezTo>
                    <a:pt x="18806" y="6592"/>
                    <a:pt x="18806" y="6592"/>
                    <a:pt x="18806" y="6592"/>
                  </a:cubicBezTo>
                  <a:cubicBezTo>
                    <a:pt x="18913" y="6287"/>
                    <a:pt x="18913" y="6287"/>
                    <a:pt x="18913" y="6287"/>
                  </a:cubicBezTo>
                  <a:cubicBezTo>
                    <a:pt x="18806" y="5679"/>
                    <a:pt x="18806" y="5679"/>
                    <a:pt x="18806" y="5679"/>
                  </a:cubicBezTo>
                  <a:cubicBezTo>
                    <a:pt x="18484" y="5375"/>
                    <a:pt x="18484" y="5375"/>
                    <a:pt x="18484" y="5375"/>
                  </a:cubicBezTo>
                  <a:cubicBezTo>
                    <a:pt x="17839" y="4969"/>
                    <a:pt x="17839" y="4969"/>
                    <a:pt x="17839" y="4969"/>
                  </a:cubicBezTo>
                  <a:cubicBezTo>
                    <a:pt x="17624" y="4563"/>
                    <a:pt x="17624" y="4563"/>
                    <a:pt x="17624" y="4563"/>
                  </a:cubicBezTo>
                  <a:cubicBezTo>
                    <a:pt x="16872" y="4462"/>
                    <a:pt x="16872" y="4462"/>
                    <a:pt x="16872" y="4462"/>
                  </a:cubicBezTo>
                  <a:cubicBezTo>
                    <a:pt x="15904" y="4462"/>
                    <a:pt x="15904" y="4462"/>
                    <a:pt x="15904" y="4462"/>
                  </a:cubicBezTo>
                  <a:cubicBezTo>
                    <a:pt x="15690" y="4259"/>
                    <a:pt x="15690" y="4259"/>
                    <a:pt x="15690" y="4259"/>
                  </a:cubicBezTo>
                  <a:cubicBezTo>
                    <a:pt x="15045" y="4259"/>
                    <a:pt x="15045" y="4259"/>
                    <a:pt x="15045" y="4259"/>
                  </a:cubicBezTo>
                  <a:cubicBezTo>
                    <a:pt x="14185" y="4158"/>
                    <a:pt x="14185" y="4158"/>
                    <a:pt x="14185" y="4158"/>
                  </a:cubicBezTo>
                  <a:cubicBezTo>
                    <a:pt x="14078" y="3955"/>
                    <a:pt x="14078" y="3955"/>
                    <a:pt x="14078" y="3955"/>
                  </a:cubicBezTo>
                  <a:cubicBezTo>
                    <a:pt x="13433" y="3651"/>
                    <a:pt x="13433" y="3651"/>
                    <a:pt x="13433" y="3651"/>
                  </a:cubicBezTo>
                  <a:cubicBezTo>
                    <a:pt x="12681" y="3549"/>
                    <a:pt x="12681" y="3549"/>
                    <a:pt x="12681" y="3549"/>
                  </a:cubicBezTo>
                  <a:cubicBezTo>
                    <a:pt x="11928" y="3346"/>
                    <a:pt x="11928" y="3346"/>
                    <a:pt x="11928" y="3346"/>
                  </a:cubicBezTo>
                  <a:cubicBezTo>
                    <a:pt x="11069" y="3042"/>
                    <a:pt x="11069" y="3042"/>
                    <a:pt x="11069" y="3042"/>
                  </a:cubicBezTo>
                  <a:cubicBezTo>
                    <a:pt x="10531" y="2738"/>
                    <a:pt x="10531" y="2738"/>
                    <a:pt x="10531" y="2738"/>
                  </a:cubicBezTo>
                  <a:cubicBezTo>
                    <a:pt x="10101" y="2738"/>
                    <a:pt x="10101" y="2738"/>
                    <a:pt x="10101" y="2738"/>
                  </a:cubicBezTo>
                  <a:cubicBezTo>
                    <a:pt x="9994" y="2738"/>
                    <a:pt x="9994" y="2738"/>
                    <a:pt x="9994" y="2738"/>
                  </a:cubicBezTo>
                  <a:cubicBezTo>
                    <a:pt x="9779" y="2535"/>
                    <a:pt x="9779" y="2535"/>
                    <a:pt x="9779" y="2535"/>
                  </a:cubicBezTo>
                  <a:cubicBezTo>
                    <a:pt x="9564" y="2231"/>
                    <a:pt x="9564" y="2231"/>
                    <a:pt x="9564" y="2231"/>
                  </a:cubicBezTo>
                  <a:cubicBezTo>
                    <a:pt x="8812" y="2028"/>
                    <a:pt x="8812" y="2028"/>
                    <a:pt x="8812" y="2028"/>
                  </a:cubicBezTo>
                  <a:cubicBezTo>
                    <a:pt x="8812" y="2028"/>
                    <a:pt x="8812" y="2028"/>
                    <a:pt x="8812" y="2028"/>
                  </a:cubicBezTo>
                  <a:cubicBezTo>
                    <a:pt x="8704" y="2028"/>
                    <a:pt x="8704" y="2028"/>
                    <a:pt x="8704" y="2028"/>
                  </a:cubicBezTo>
                  <a:cubicBezTo>
                    <a:pt x="8382" y="1825"/>
                    <a:pt x="8382" y="1825"/>
                    <a:pt x="8382" y="1825"/>
                  </a:cubicBezTo>
                  <a:cubicBezTo>
                    <a:pt x="8060" y="1623"/>
                    <a:pt x="8060" y="1623"/>
                    <a:pt x="8060" y="1623"/>
                  </a:cubicBezTo>
                  <a:cubicBezTo>
                    <a:pt x="7737" y="1521"/>
                    <a:pt x="7737" y="1521"/>
                    <a:pt x="7737" y="1521"/>
                  </a:cubicBezTo>
                  <a:cubicBezTo>
                    <a:pt x="7522" y="1724"/>
                    <a:pt x="7522" y="1724"/>
                    <a:pt x="7522" y="1724"/>
                  </a:cubicBezTo>
                  <a:cubicBezTo>
                    <a:pt x="7200" y="1825"/>
                    <a:pt x="7200" y="1825"/>
                    <a:pt x="7200" y="1825"/>
                  </a:cubicBezTo>
                  <a:cubicBezTo>
                    <a:pt x="7093" y="1724"/>
                    <a:pt x="7093" y="1724"/>
                    <a:pt x="7093" y="1724"/>
                  </a:cubicBezTo>
                  <a:cubicBezTo>
                    <a:pt x="7200" y="1521"/>
                    <a:pt x="7200" y="1521"/>
                    <a:pt x="7200" y="1521"/>
                  </a:cubicBezTo>
                  <a:cubicBezTo>
                    <a:pt x="7307" y="913"/>
                    <a:pt x="7307" y="913"/>
                    <a:pt x="7307" y="913"/>
                  </a:cubicBezTo>
                  <a:cubicBezTo>
                    <a:pt x="7415" y="710"/>
                    <a:pt x="7415" y="710"/>
                    <a:pt x="7415" y="710"/>
                  </a:cubicBezTo>
                  <a:cubicBezTo>
                    <a:pt x="7522" y="203"/>
                    <a:pt x="7522" y="203"/>
                    <a:pt x="7522" y="203"/>
                  </a:cubicBezTo>
                  <a:cubicBezTo>
                    <a:pt x="7200" y="0"/>
                    <a:pt x="7200" y="0"/>
                    <a:pt x="7200" y="0"/>
                  </a:cubicBezTo>
                  <a:cubicBezTo>
                    <a:pt x="6985" y="101"/>
                    <a:pt x="6985" y="101"/>
                    <a:pt x="6985" y="101"/>
                  </a:cubicBezTo>
                  <a:cubicBezTo>
                    <a:pt x="6555" y="304"/>
                    <a:pt x="6555" y="304"/>
                    <a:pt x="6555" y="304"/>
                  </a:cubicBezTo>
                  <a:cubicBezTo>
                    <a:pt x="6125" y="406"/>
                    <a:pt x="6125" y="406"/>
                    <a:pt x="6125" y="406"/>
                  </a:cubicBezTo>
                  <a:cubicBezTo>
                    <a:pt x="5588" y="608"/>
                    <a:pt x="5588" y="608"/>
                    <a:pt x="5588" y="608"/>
                  </a:cubicBezTo>
                  <a:cubicBezTo>
                    <a:pt x="5051" y="913"/>
                    <a:pt x="5051" y="913"/>
                    <a:pt x="5051" y="913"/>
                  </a:cubicBezTo>
                  <a:cubicBezTo>
                    <a:pt x="4191" y="1318"/>
                    <a:pt x="4191" y="1318"/>
                    <a:pt x="4191" y="1318"/>
                  </a:cubicBezTo>
                  <a:cubicBezTo>
                    <a:pt x="3976" y="1623"/>
                    <a:pt x="3976" y="1623"/>
                    <a:pt x="3976" y="1623"/>
                  </a:cubicBezTo>
                  <a:cubicBezTo>
                    <a:pt x="3546" y="1623"/>
                    <a:pt x="3546" y="1623"/>
                    <a:pt x="3546" y="1623"/>
                  </a:cubicBezTo>
                  <a:cubicBezTo>
                    <a:pt x="3009" y="1420"/>
                    <a:pt x="3009" y="1420"/>
                    <a:pt x="3009" y="1420"/>
                  </a:cubicBezTo>
                  <a:cubicBezTo>
                    <a:pt x="2687" y="1115"/>
                    <a:pt x="2687" y="1115"/>
                    <a:pt x="2687" y="1115"/>
                  </a:cubicBezTo>
                  <a:cubicBezTo>
                    <a:pt x="2257" y="1521"/>
                    <a:pt x="2257" y="1521"/>
                    <a:pt x="2257" y="1521"/>
                  </a:cubicBezTo>
                  <a:cubicBezTo>
                    <a:pt x="2149" y="4361"/>
                    <a:pt x="2149" y="4361"/>
                    <a:pt x="2149" y="4361"/>
                  </a:cubicBezTo>
                  <a:cubicBezTo>
                    <a:pt x="752" y="5172"/>
                    <a:pt x="752" y="5172"/>
                    <a:pt x="752" y="5172"/>
                  </a:cubicBezTo>
                  <a:cubicBezTo>
                    <a:pt x="537" y="5577"/>
                    <a:pt x="537" y="5577"/>
                    <a:pt x="537" y="5577"/>
                  </a:cubicBezTo>
                  <a:cubicBezTo>
                    <a:pt x="0" y="6693"/>
                    <a:pt x="0" y="6693"/>
                    <a:pt x="0" y="6693"/>
                  </a:cubicBezTo>
                  <a:cubicBezTo>
                    <a:pt x="537" y="7301"/>
                    <a:pt x="537" y="7301"/>
                    <a:pt x="537" y="7301"/>
                  </a:cubicBezTo>
                  <a:cubicBezTo>
                    <a:pt x="752" y="7301"/>
                    <a:pt x="752" y="7301"/>
                    <a:pt x="752" y="7301"/>
                  </a:cubicBezTo>
                  <a:cubicBezTo>
                    <a:pt x="537" y="9025"/>
                    <a:pt x="537" y="9025"/>
                    <a:pt x="537" y="9025"/>
                  </a:cubicBezTo>
                  <a:cubicBezTo>
                    <a:pt x="430" y="10851"/>
                    <a:pt x="430" y="10851"/>
                    <a:pt x="430" y="10851"/>
                  </a:cubicBezTo>
                  <a:cubicBezTo>
                    <a:pt x="1075" y="11358"/>
                    <a:pt x="1075" y="11358"/>
                    <a:pt x="1075" y="11358"/>
                  </a:cubicBezTo>
                  <a:cubicBezTo>
                    <a:pt x="2042" y="11865"/>
                    <a:pt x="2042" y="11865"/>
                    <a:pt x="2042" y="11865"/>
                  </a:cubicBezTo>
                  <a:cubicBezTo>
                    <a:pt x="3546" y="12676"/>
                    <a:pt x="3546" y="12676"/>
                    <a:pt x="3546" y="12676"/>
                  </a:cubicBezTo>
                  <a:cubicBezTo>
                    <a:pt x="4513" y="13690"/>
                    <a:pt x="4513" y="13690"/>
                    <a:pt x="4513" y="13690"/>
                  </a:cubicBezTo>
                  <a:cubicBezTo>
                    <a:pt x="4836" y="14096"/>
                    <a:pt x="4836" y="14096"/>
                    <a:pt x="4836" y="14096"/>
                  </a:cubicBezTo>
                  <a:cubicBezTo>
                    <a:pt x="5588" y="14603"/>
                    <a:pt x="5588" y="14603"/>
                    <a:pt x="5588" y="14603"/>
                  </a:cubicBezTo>
                  <a:cubicBezTo>
                    <a:pt x="6448" y="15414"/>
                    <a:pt x="6448" y="15414"/>
                    <a:pt x="6448" y="15414"/>
                  </a:cubicBezTo>
                  <a:cubicBezTo>
                    <a:pt x="6555" y="16124"/>
                    <a:pt x="6555" y="16124"/>
                    <a:pt x="6555" y="16124"/>
                  </a:cubicBezTo>
                  <a:cubicBezTo>
                    <a:pt x="6448" y="16834"/>
                    <a:pt x="6448" y="16834"/>
                    <a:pt x="6448" y="16834"/>
                  </a:cubicBezTo>
                  <a:cubicBezTo>
                    <a:pt x="6770" y="17544"/>
                    <a:pt x="6770" y="17544"/>
                    <a:pt x="6770" y="17544"/>
                  </a:cubicBezTo>
                  <a:cubicBezTo>
                    <a:pt x="6985" y="17848"/>
                    <a:pt x="6985" y="17848"/>
                    <a:pt x="6985" y="17848"/>
                  </a:cubicBezTo>
                  <a:cubicBezTo>
                    <a:pt x="6985" y="18558"/>
                    <a:pt x="6985" y="18558"/>
                    <a:pt x="6985" y="18558"/>
                  </a:cubicBezTo>
                  <a:cubicBezTo>
                    <a:pt x="6985" y="18963"/>
                    <a:pt x="6985" y="18963"/>
                    <a:pt x="6985" y="18963"/>
                  </a:cubicBezTo>
                  <a:cubicBezTo>
                    <a:pt x="6985" y="19572"/>
                    <a:pt x="6985" y="19572"/>
                    <a:pt x="6985" y="19572"/>
                  </a:cubicBezTo>
                  <a:cubicBezTo>
                    <a:pt x="7200" y="20079"/>
                    <a:pt x="7200" y="20079"/>
                    <a:pt x="7200" y="20079"/>
                  </a:cubicBezTo>
                  <a:cubicBezTo>
                    <a:pt x="7200" y="20586"/>
                    <a:pt x="7200" y="20586"/>
                    <a:pt x="7200" y="20586"/>
                  </a:cubicBezTo>
                  <a:cubicBezTo>
                    <a:pt x="7737" y="20586"/>
                    <a:pt x="7737" y="20586"/>
                    <a:pt x="7737" y="20586"/>
                  </a:cubicBezTo>
                  <a:cubicBezTo>
                    <a:pt x="7737" y="20586"/>
                    <a:pt x="8167" y="20992"/>
                    <a:pt x="8275" y="20992"/>
                  </a:cubicBezTo>
                  <a:cubicBezTo>
                    <a:pt x="8382" y="20992"/>
                    <a:pt x="8812" y="21194"/>
                    <a:pt x="8812" y="21194"/>
                  </a:cubicBezTo>
                  <a:cubicBezTo>
                    <a:pt x="9134" y="21600"/>
                    <a:pt x="9134" y="21600"/>
                    <a:pt x="9134" y="21600"/>
                  </a:cubicBezTo>
                  <a:cubicBezTo>
                    <a:pt x="19773" y="20992"/>
                    <a:pt x="19773" y="20992"/>
                    <a:pt x="19773" y="20992"/>
                  </a:cubicBezTo>
                  <a:cubicBezTo>
                    <a:pt x="19773" y="19775"/>
                    <a:pt x="19773" y="19775"/>
                    <a:pt x="19773" y="19775"/>
                  </a:cubicBezTo>
                  <a:cubicBezTo>
                    <a:pt x="19773" y="19369"/>
                    <a:pt x="19773" y="19369"/>
                    <a:pt x="19773" y="19369"/>
                  </a:cubicBezTo>
                  <a:cubicBezTo>
                    <a:pt x="19236" y="18152"/>
                    <a:pt x="19236" y="18152"/>
                    <a:pt x="19236" y="18152"/>
                  </a:cubicBezTo>
                  <a:cubicBezTo>
                    <a:pt x="19128" y="17442"/>
                    <a:pt x="19128" y="17442"/>
                    <a:pt x="19128" y="17442"/>
                  </a:cubicBezTo>
                  <a:cubicBezTo>
                    <a:pt x="19236" y="16631"/>
                    <a:pt x="19236" y="16631"/>
                    <a:pt x="19236" y="16631"/>
                  </a:cubicBezTo>
                  <a:cubicBezTo>
                    <a:pt x="19451" y="16023"/>
                    <a:pt x="19451" y="16023"/>
                    <a:pt x="19451" y="16023"/>
                  </a:cubicBezTo>
                  <a:cubicBezTo>
                    <a:pt x="19558" y="15718"/>
                    <a:pt x="19558" y="15718"/>
                    <a:pt x="19558" y="15718"/>
                  </a:cubicBezTo>
                  <a:cubicBezTo>
                    <a:pt x="19773" y="15414"/>
                    <a:pt x="19773" y="15414"/>
                    <a:pt x="19773" y="15414"/>
                  </a:cubicBezTo>
                  <a:cubicBezTo>
                    <a:pt x="19558" y="14907"/>
                    <a:pt x="19558" y="14907"/>
                    <a:pt x="19558" y="14907"/>
                  </a:cubicBezTo>
                  <a:cubicBezTo>
                    <a:pt x="19558" y="14197"/>
                    <a:pt x="19558" y="14197"/>
                    <a:pt x="19558" y="14197"/>
                  </a:cubicBezTo>
                  <a:cubicBezTo>
                    <a:pt x="19558" y="13792"/>
                    <a:pt x="19558" y="13792"/>
                    <a:pt x="19558" y="13792"/>
                  </a:cubicBezTo>
                  <a:cubicBezTo>
                    <a:pt x="19773" y="13487"/>
                    <a:pt x="19773" y="13487"/>
                    <a:pt x="19773" y="13487"/>
                  </a:cubicBezTo>
                  <a:cubicBezTo>
                    <a:pt x="19773" y="13285"/>
                    <a:pt x="19773" y="13285"/>
                    <a:pt x="19773" y="13285"/>
                  </a:cubicBezTo>
                  <a:cubicBezTo>
                    <a:pt x="20203" y="12879"/>
                    <a:pt x="20203" y="12879"/>
                    <a:pt x="20203" y="12879"/>
                  </a:cubicBezTo>
                  <a:cubicBezTo>
                    <a:pt x="20203" y="12676"/>
                    <a:pt x="20203" y="12676"/>
                    <a:pt x="20203" y="12676"/>
                  </a:cubicBezTo>
                  <a:cubicBezTo>
                    <a:pt x="19988" y="12270"/>
                    <a:pt x="19988" y="12270"/>
                    <a:pt x="19988" y="12270"/>
                  </a:cubicBezTo>
                  <a:cubicBezTo>
                    <a:pt x="19988" y="11966"/>
                    <a:pt x="19988" y="11966"/>
                    <a:pt x="19988" y="11966"/>
                  </a:cubicBezTo>
                  <a:cubicBezTo>
                    <a:pt x="20096" y="11155"/>
                    <a:pt x="20096" y="11155"/>
                    <a:pt x="20096" y="11155"/>
                  </a:cubicBezTo>
                  <a:cubicBezTo>
                    <a:pt x="20203" y="10648"/>
                    <a:pt x="20203" y="10648"/>
                    <a:pt x="20203" y="10648"/>
                  </a:cubicBezTo>
                  <a:cubicBezTo>
                    <a:pt x="20525" y="10039"/>
                    <a:pt x="20525" y="10039"/>
                    <a:pt x="20525" y="10039"/>
                  </a:cubicBezTo>
                  <a:cubicBezTo>
                    <a:pt x="21063" y="9025"/>
                    <a:pt x="21063" y="9025"/>
                    <a:pt x="21063" y="9025"/>
                  </a:cubicBezTo>
                  <a:cubicBezTo>
                    <a:pt x="21170" y="8620"/>
                    <a:pt x="21170" y="8620"/>
                    <a:pt x="21170" y="8620"/>
                  </a:cubicBezTo>
                  <a:cubicBezTo>
                    <a:pt x="21170" y="8315"/>
                    <a:pt x="21170" y="8315"/>
                    <a:pt x="21170" y="8315"/>
                  </a:cubicBezTo>
                  <a:cubicBezTo>
                    <a:pt x="21600" y="8214"/>
                    <a:pt x="21600" y="8214"/>
                    <a:pt x="21600" y="8214"/>
                  </a:cubicBezTo>
                  <a:cubicBezTo>
                    <a:pt x="21600" y="8011"/>
                    <a:pt x="21600" y="8011"/>
                    <a:pt x="21600" y="8011"/>
                  </a:cubicBezTo>
                  <a:cubicBezTo>
                    <a:pt x="21600" y="7808"/>
                    <a:pt x="21600" y="7808"/>
                    <a:pt x="21600" y="7808"/>
                  </a:cubicBezTo>
                  <a:cubicBezTo>
                    <a:pt x="21600" y="7606"/>
                    <a:pt x="21600" y="7606"/>
                    <a:pt x="21600" y="7606"/>
                  </a:cubicBezTo>
                  <a:cubicBezTo>
                    <a:pt x="21600" y="7403"/>
                    <a:pt x="21600" y="7403"/>
                    <a:pt x="21600" y="7403"/>
                  </a:cubicBezTo>
                  <a:cubicBezTo>
                    <a:pt x="21600" y="7200"/>
                    <a:pt x="21600" y="7200"/>
                    <a:pt x="21600" y="7200"/>
                  </a:cubicBezTo>
                  <a:cubicBezTo>
                    <a:pt x="21170" y="7606"/>
                    <a:pt x="21170" y="7606"/>
                    <a:pt x="21170" y="7606"/>
                  </a:cubicBezTo>
                  <a:cubicBezTo>
                    <a:pt x="20848" y="8011"/>
                    <a:pt x="20848" y="8011"/>
                    <a:pt x="20848" y="8011"/>
                  </a:cubicBezTo>
                  <a:cubicBezTo>
                    <a:pt x="20740" y="8518"/>
                    <a:pt x="20740" y="8518"/>
                    <a:pt x="20740" y="8518"/>
                  </a:cubicBezTo>
                  <a:cubicBezTo>
                    <a:pt x="20418" y="9127"/>
                    <a:pt x="20418" y="9127"/>
                    <a:pt x="20418" y="9127"/>
                  </a:cubicBezTo>
                  <a:cubicBezTo>
                    <a:pt x="20096" y="9330"/>
                    <a:pt x="20096" y="9330"/>
                    <a:pt x="20096" y="9330"/>
                  </a:cubicBezTo>
                  <a:cubicBezTo>
                    <a:pt x="19451" y="9634"/>
                    <a:pt x="19451" y="9634"/>
                    <a:pt x="19451" y="9634"/>
                  </a:cubicBezTo>
                  <a:cubicBezTo>
                    <a:pt x="19128" y="10039"/>
                    <a:pt x="19128" y="10039"/>
                    <a:pt x="19128" y="10039"/>
                  </a:cubicBezTo>
                  <a:cubicBezTo>
                    <a:pt x="19021" y="10242"/>
                    <a:pt x="19021" y="10242"/>
                    <a:pt x="19021" y="10242"/>
                  </a:cubicBezTo>
                  <a:cubicBezTo>
                    <a:pt x="18806" y="10648"/>
                    <a:pt x="18806" y="10648"/>
                    <a:pt x="18806" y="10648"/>
                  </a:cubicBezTo>
                  <a:cubicBezTo>
                    <a:pt x="18376" y="11155"/>
                    <a:pt x="18376" y="11155"/>
                    <a:pt x="18376" y="11155"/>
                  </a:cubicBezTo>
                  <a:cubicBezTo>
                    <a:pt x="18054" y="10851"/>
                    <a:pt x="18054" y="10851"/>
                    <a:pt x="18054" y="10851"/>
                  </a:cubicBezTo>
                  <a:cubicBezTo>
                    <a:pt x="18376" y="10445"/>
                    <a:pt x="18376" y="10445"/>
                    <a:pt x="18376" y="10445"/>
                  </a:cubicBezTo>
                  <a:cubicBezTo>
                    <a:pt x="18591" y="9735"/>
                    <a:pt x="18591" y="9735"/>
                    <a:pt x="18591" y="9735"/>
                  </a:cubicBezTo>
                  <a:cubicBezTo>
                    <a:pt x="18699" y="9431"/>
                    <a:pt x="18699" y="9431"/>
                    <a:pt x="18699" y="9431"/>
                  </a:cubicBezTo>
                  <a:cubicBezTo>
                    <a:pt x="18806" y="9228"/>
                    <a:pt x="18806" y="9228"/>
                    <a:pt x="18806" y="9228"/>
                  </a:cubicBezTo>
                  <a:cubicBezTo>
                    <a:pt x="19021" y="9025"/>
                    <a:pt x="19021" y="9025"/>
                    <a:pt x="19021" y="9025"/>
                  </a:cubicBezTo>
                  <a:cubicBezTo>
                    <a:pt x="19236" y="8823"/>
                    <a:pt x="19236" y="8823"/>
                    <a:pt x="19236" y="8823"/>
                  </a:cubicBezTo>
                  <a:cubicBezTo>
                    <a:pt x="19343" y="8620"/>
                    <a:pt x="19343" y="8620"/>
                    <a:pt x="19343" y="8620"/>
                  </a:cubicBezTo>
                  <a:cubicBezTo>
                    <a:pt x="19236" y="8113"/>
                    <a:pt x="19236" y="8113"/>
                    <a:pt x="19236" y="8113"/>
                  </a:cubicBezTo>
                  <a:cubicBezTo>
                    <a:pt x="19343" y="7910"/>
                    <a:pt x="19343" y="7910"/>
                    <a:pt x="19343" y="7910"/>
                  </a:cubicBezTo>
                  <a:cubicBezTo>
                    <a:pt x="19236" y="7707"/>
                    <a:pt x="19236" y="7707"/>
                    <a:pt x="19236" y="7707"/>
                  </a:cubicBezTo>
                  <a:lnTo>
                    <a:pt x="19128" y="699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 name="Shape 2325">
              <a:extLst>
                <a:ext uri="{FF2B5EF4-FFF2-40B4-BE49-F238E27FC236}">
                  <a16:creationId xmlns:a16="http://schemas.microsoft.com/office/drawing/2014/main" id="{0824C8D6-F054-A04C-5F5E-8E8A3A5DF1A6}"/>
                </a:ext>
              </a:extLst>
            </p:cNvPr>
            <p:cNvSpPr/>
            <p:nvPr/>
          </p:nvSpPr>
          <p:spPr>
            <a:xfrm>
              <a:off x="7196108" y="2076839"/>
              <a:ext cx="782213" cy="897473"/>
            </a:xfrm>
            <a:custGeom>
              <a:avLst/>
              <a:gdLst/>
              <a:ahLst/>
              <a:cxnLst>
                <a:cxn ang="0">
                  <a:pos x="wd2" y="hd2"/>
                </a:cxn>
                <a:cxn ang="5400000">
                  <a:pos x="wd2" y="hd2"/>
                </a:cxn>
                <a:cxn ang="10800000">
                  <a:pos x="wd2" y="hd2"/>
                </a:cxn>
                <a:cxn ang="16200000">
                  <a:pos x="wd2" y="hd2"/>
                </a:cxn>
              </a:cxnLst>
              <a:rect l="0" t="0" r="r" b="b"/>
              <a:pathLst>
                <a:path w="21600" h="21600" extrusionOk="0">
                  <a:moveTo>
                    <a:pt x="19218" y="692"/>
                  </a:moveTo>
                  <a:lnTo>
                    <a:pt x="18106" y="1108"/>
                  </a:lnTo>
                  <a:lnTo>
                    <a:pt x="17153" y="1800"/>
                  </a:lnTo>
                  <a:lnTo>
                    <a:pt x="16041" y="2354"/>
                  </a:lnTo>
                  <a:lnTo>
                    <a:pt x="15247" y="2908"/>
                  </a:lnTo>
                  <a:lnTo>
                    <a:pt x="14771" y="3046"/>
                  </a:lnTo>
                  <a:lnTo>
                    <a:pt x="13976" y="3738"/>
                  </a:lnTo>
                  <a:lnTo>
                    <a:pt x="13024" y="3738"/>
                  </a:lnTo>
                  <a:lnTo>
                    <a:pt x="12388" y="4015"/>
                  </a:lnTo>
                  <a:lnTo>
                    <a:pt x="11753" y="4569"/>
                  </a:lnTo>
                  <a:lnTo>
                    <a:pt x="10800" y="4569"/>
                  </a:lnTo>
                  <a:lnTo>
                    <a:pt x="10324" y="4292"/>
                  </a:lnTo>
                  <a:lnTo>
                    <a:pt x="9847" y="3877"/>
                  </a:lnTo>
                  <a:lnTo>
                    <a:pt x="9529" y="4015"/>
                  </a:lnTo>
                  <a:lnTo>
                    <a:pt x="8894" y="3877"/>
                  </a:lnTo>
                  <a:lnTo>
                    <a:pt x="8735" y="3738"/>
                  </a:lnTo>
                  <a:lnTo>
                    <a:pt x="8100" y="3323"/>
                  </a:lnTo>
                  <a:lnTo>
                    <a:pt x="7465" y="3185"/>
                  </a:lnTo>
                  <a:lnTo>
                    <a:pt x="6194" y="3046"/>
                  </a:lnTo>
                  <a:lnTo>
                    <a:pt x="0" y="3877"/>
                  </a:lnTo>
                  <a:lnTo>
                    <a:pt x="1747" y="18554"/>
                  </a:lnTo>
                  <a:lnTo>
                    <a:pt x="2541" y="18831"/>
                  </a:lnTo>
                  <a:lnTo>
                    <a:pt x="3335" y="18554"/>
                  </a:lnTo>
                  <a:lnTo>
                    <a:pt x="3494" y="18415"/>
                  </a:lnTo>
                  <a:lnTo>
                    <a:pt x="4288" y="18969"/>
                  </a:lnTo>
                  <a:lnTo>
                    <a:pt x="4924" y="19385"/>
                  </a:lnTo>
                  <a:lnTo>
                    <a:pt x="5400" y="20215"/>
                  </a:lnTo>
                  <a:lnTo>
                    <a:pt x="6194" y="20354"/>
                  </a:lnTo>
                  <a:lnTo>
                    <a:pt x="6671" y="20492"/>
                  </a:lnTo>
                  <a:lnTo>
                    <a:pt x="6988" y="20631"/>
                  </a:lnTo>
                  <a:lnTo>
                    <a:pt x="7306" y="20908"/>
                  </a:lnTo>
                  <a:lnTo>
                    <a:pt x="7782" y="20769"/>
                  </a:lnTo>
                  <a:lnTo>
                    <a:pt x="7782" y="20631"/>
                  </a:lnTo>
                  <a:lnTo>
                    <a:pt x="8259" y="20215"/>
                  </a:lnTo>
                  <a:lnTo>
                    <a:pt x="8735" y="20492"/>
                  </a:lnTo>
                  <a:lnTo>
                    <a:pt x="9529" y="20769"/>
                  </a:lnTo>
                  <a:lnTo>
                    <a:pt x="10482" y="20631"/>
                  </a:lnTo>
                  <a:lnTo>
                    <a:pt x="10641" y="20492"/>
                  </a:lnTo>
                  <a:lnTo>
                    <a:pt x="10959" y="20077"/>
                  </a:lnTo>
                  <a:lnTo>
                    <a:pt x="11276" y="19938"/>
                  </a:lnTo>
                  <a:lnTo>
                    <a:pt x="11435" y="19800"/>
                  </a:lnTo>
                  <a:lnTo>
                    <a:pt x="11912" y="20215"/>
                  </a:lnTo>
                  <a:lnTo>
                    <a:pt x="12547" y="20908"/>
                  </a:lnTo>
                  <a:lnTo>
                    <a:pt x="13182" y="21462"/>
                  </a:lnTo>
                  <a:lnTo>
                    <a:pt x="13659" y="21462"/>
                  </a:lnTo>
                  <a:lnTo>
                    <a:pt x="13500" y="21600"/>
                  </a:lnTo>
                  <a:lnTo>
                    <a:pt x="14612" y="20631"/>
                  </a:lnTo>
                  <a:lnTo>
                    <a:pt x="14929" y="20215"/>
                  </a:lnTo>
                  <a:lnTo>
                    <a:pt x="14929" y="19662"/>
                  </a:lnTo>
                  <a:lnTo>
                    <a:pt x="15406" y="18138"/>
                  </a:lnTo>
                  <a:lnTo>
                    <a:pt x="15882" y="17723"/>
                  </a:lnTo>
                  <a:lnTo>
                    <a:pt x="16518" y="18138"/>
                  </a:lnTo>
                  <a:lnTo>
                    <a:pt x="16676" y="18000"/>
                  </a:lnTo>
                  <a:lnTo>
                    <a:pt x="16835" y="16615"/>
                  </a:lnTo>
                  <a:lnTo>
                    <a:pt x="17312" y="16062"/>
                  </a:lnTo>
                  <a:lnTo>
                    <a:pt x="17947" y="15231"/>
                  </a:lnTo>
                  <a:lnTo>
                    <a:pt x="18741" y="15231"/>
                  </a:lnTo>
                  <a:lnTo>
                    <a:pt x="19218" y="14677"/>
                  </a:lnTo>
                  <a:lnTo>
                    <a:pt x="20488" y="13708"/>
                  </a:lnTo>
                  <a:lnTo>
                    <a:pt x="20806" y="13015"/>
                  </a:lnTo>
                  <a:lnTo>
                    <a:pt x="20806" y="12600"/>
                  </a:lnTo>
                  <a:lnTo>
                    <a:pt x="20965" y="11492"/>
                  </a:lnTo>
                  <a:lnTo>
                    <a:pt x="20965" y="10662"/>
                  </a:lnTo>
                  <a:lnTo>
                    <a:pt x="21124" y="10246"/>
                  </a:lnTo>
                  <a:lnTo>
                    <a:pt x="21124" y="8446"/>
                  </a:lnTo>
                  <a:lnTo>
                    <a:pt x="20965" y="8031"/>
                  </a:lnTo>
                  <a:lnTo>
                    <a:pt x="21124" y="7615"/>
                  </a:lnTo>
                  <a:lnTo>
                    <a:pt x="21600" y="7615"/>
                  </a:lnTo>
                  <a:lnTo>
                    <a:pt x="20012" y="0"/>
                  </a:lnTo>
                  <a:lnTo>
                    <a:pt x="19218" y="69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 name="Shape 2326">
              <a:extLst>
                <a:ext uri="{FF2B5EF4-FFF2-40B4-BE49-F238E27FC236}">
                  <a16:creationId xmlns:a16="http://schemas.microsoft.com/office/drawing/2014/main" id="{78DFDFD5-6CF2-DA79-B1A3-3B4BDCDB5C5A}"/>
                </a:ext>
              </a:extLst>
            </p:cNvPr>
            <p:cNvSpPr/>
            <p:nvPr/>
          </p:nvSpPr>
          <p:spPr>
            <a:xfrm>
              <a:off x="6689971" y="2232174"/>
              <a:ext cx="575154" cy="989521"/>
            </a:xfrm>
            <a:custGeom>
              <a:avLst/>
              <a:gdLst/>
              <a:ahLst/>
              <a:cxnLst>
                <a:cxn ang="0">
                  <a:pos x="wd2" y="hd2"/>
                </a:cxn>
                <a:cxn ang="5400000">
                  <a:pos x="wd2" y="hd2"/>
                </a:cxn>
                <a:cxn ang="10800000">
                  <a:pos x="wd2" y="hd2"/>
                </a:cxn>
                <a:cxn ang="16200000">
                  <a:pos x="wd2" y="hd2"/>
                </a:cxn>
              </a:cxnLst>
              <a:rect l="0" t="0" r="r" b="b"/>
              <a:pathLst>
                <a:path w="21600" h="21600" extrusionOk="0">
                  <a:moveTo>
                    <a:pt x="1080" y="21600"/>
                  </a:moveTo>
                  <a:lnTo>
                    <a:pt x="1080" y="20972"/>
                  </a:lnTo>
                  <a:lnTo>
                    <a:pt x="2808" y="20972"/>
                  </a:lnTo>
                  <a:lnTo>
                    <a:pt x="3456" y="20470"/>
                  </a:lnTo>
                  <a:lnTo>
                    <a:pt x="5184" y="20470"/>
                  </a:lnTo>
                  <a:lnTo>
                    <a:pt x="5832" y="20847"/>
                  </a:lnTo>
                  <a:lnTo>
                    <a:pt x="6696" y="21098"/>
                  </a:lnTo>
                  <a:lnTo>
                    <a:pt x="6912" y="20972"/>
                  </a:lnTo>
                  <a:lnTo>
                    <a:pt x="6912" y="20470"/>
                  </a:lnTo>
                  <a:lnTo>
                    <a:pt x="7776" y="20344"/>
                  </a:lnTo>
                  <a:lnTo>
                    <a:pt x="8208" y="20219"/>
                  </a:lnTo>
                  <a:lnTo>
                    <a:pt x="9072" y="20219"/>
                  </a:lnTo>
                  <a:lnTo>
                    <a:pt x="9504" y="20470"/>
                  </a:lnTo>
                  <a:lnTo>
                    <a:pt x="10368" y="20595"/>
                  </a:lnTo>
                  <a:lnTo>
                    <a:pt x="10584" y="20219"/>
                  </a:lnTo>
                  <a:lnTo>
                    <a:pt x="10584" y="19716"/>
                  </a:lnTo>
                  <a:lnTo>
                    <a:pt x="11232" y="19340"/>
                  </a:lnTo>
                  <a:lnTo>
                    <a:pt x="11448" y="18837"/>
                  </a:lnTo>
                  <a:lnTo>
                    <a:pt x="11880" y="18837"/>
                  </a:lnTo>
                  <a:lnTo>
                    <a:pt x="12096" y="19340"/>
                  </a:lnTo>
                  <a:lnTo>
                    <a:pt x="12960" y="19842"/>
                  </a:lnTo>
                  <a:lnTo>
                    <a:pt x="14256" y="19716"/>
                  </a:lnTo>
                  <a:lnTo>
                    <a:pt x="14688" y="19214"/>
                  </a:lnTo>
                  <a:lnTo>
                    <a:pt x="14688" y="18837"/>
                  </a:lnTo>
                  <a:lnTo>
                    <a:pt x="15336" y="18209"/>
                  </a:lnTo>
                  <a:lnTo>
                    <a:pt x="15984" y="18209"/>
                  </a:lnTo>
                  <a:lnTo>
                    <a:pt x="16416" y="17958"/>
                  </a:lnTo>
                  <a:lnTo>
                    <a:pt x="17280" y="16953"/>
                  </a:lnTo>
                  <a:lnTo>
                    <a:pt x="17280" y="16451"/>
                  </a:lnTo>
                  <a:lnTo>
                    <a:pt x="17496" y="16200"/>
                  </a:lnTo>
                  <a:lnTo>
                    <a:pt x="17496" y="15949"/>
                  </a:lnTo>
                  <a:lnTo>
                    <a:pt x="17712" y="15823"/>
                  </a:lnTo>
                  <a:lnTo>
                    <a:pt x="19440" y="15698"/>
                  </a:lnTo>
                  <a:lnTo>
                    <a:pt x="20304" y="15447"/>
                  </a:lnTo>
                  <a:lnTo>
                    <a:pt x="21168" y="15447"/>
                  </a:lnTo>
                  <a:lnTo>
                    <a:pt x="21600" y="15195"/>
                  </a:lnTo>
                  <a:lnTo>
                    <a:pt x="21384" y="14442"/>
                  </a:lnTo>
                  <a:lnTo>
                    <a:pt x="21600" y="14191"/>
                  </a:lnTo>
                  <a:lnTo>
                    <a:pt x="21168" y="14065"/>
                  </a:lnTo>
                  <a:lnTo>
                    <a:pt x="20952" y="13563"/>
                  </a:lnTo>
                  <a:lnTo>
                    <a:pt x="21384" y="13437"/>
                  </a:lnTo>
                  <a:lnTo>
                    <a:pt x="19008" y="126"/>
                  </a:lnTo>
                  <a:lnTo>
                    <a:pt x="19008" y="0"/>
                  </a:lnTo>
                  <a:lnTo>
                    <a:pt x="5832" y="502"/>
                  </a:lnTo>
                  <a:lnTo>
                    <a:pt x="5832" y="628"/>
                  </a:lnTo>
                  <a:lnTo>
                    <a:pt x="4320" y="1130"/>
                  </a:lnTo>
                  <a:lnTo>
                    <a:pt x="3456" y="1507"/>
                  </a:lnTo>
                  <a:lnTo>
                    <a:pt x="2808" y="1633"/>
                  </a:lnTo>
                  <a:lnTo>
                    <a:pt x="1728" y="1507"/>
                  </a:lnTo>
                  <a:lnTo>
                    <a:pt x="2376" y="12935"/>
                  </a:lnTo>
                  <a:lnTo>
                    <a:pt x="2160" y="13312"/>
                  </a:lnTo>
                  <a:lnTo>
                    <a:pt x="2160" y="14191"/>
                  </a:lnTo>
                  <a:lnTo>
                    <a:pt x="2376" y="14693"/>
                  </a:lnTo>
                  <a:lnTo>
                    <a:pt x="3240" y="15572"/>
                  </a:lnTo>
                  <a:lnTo>
                    <a:pt x="3456" y="16326"/>
                  </a:lnTo>
                  <a:lnTo>
                    <a:pt x="3456" y="16828"/>
                  </a:lnTo>
                  <a:lnTo>
                    <a:pt x="2808" y="17079"/>
                  </a:lnTo>
                  <a:lnTo>
                    <a:pt x="2376" y="17581"/>
                  </a:lnTo>
                  <a:lnTo>
                    <a:pt x="2160" y="18209"/>
                  </a:lnTo>
                  <a:lnTo>
                    <a:pt x="1080" y="18837"/>
                  </a:lnTo>
                  <a:lnTo>
                    <a:pt x="864" y="19591"/>
                  </a:lnTo>
                  <a:lnTo>
                    <a:pt x="432" y="19716"/>
                  </a:lnTo>
                  <a:lnTo>
                    <a:pt x="0" y="20219"/>
                  </a:lnTo>
                  <a:lnTo>
                    <a:pt x="0" y="20972"/>
                  </a:lnTo>
                  <a:lnTo>
                    <a:pt x="216" y="21474"/>
                  </a:lnTo>
                  <a:lnTo>
                    <a:pt x="432" y="21600"/>
                  </a:lnTo>
                  <a:lnTo>
                    <a:pt x="1080" y="216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 name="Shape 2327">
              <a:extLst>
                <a:ext uri="{FF2B5EF4-FFF2-40B4-BE49-F238E27FC236}">
                  <a16:creationId xmlns:a16="http://schemas.microsoft.com/office/drawing/2014/main" id="{E733D288-73AF-D615-FEF6-D740BA679DD8}"/>
                </a:ext>
              </a:extLst>
            </p:cNvPr>
            <p:cNvSpPr/>
            <p:nvPr/>
          </p:nvSpPr>
          <p:spPr>
            <a:xfrm>
              <a:off x="6040047" y="2105610"/>
              <a:ext cx="741950" cy="1300185"/>
            </a:xfrm>
            <a:custGeom>
              <a:avLst/>
              <a:gdLst/>
              <a:ahLst/>
              <a:cxnLst>
                <a:cxn ang="0">
                  <a:pos x="wd2" y="hd2"/>
                </a:cxn>
                <a:cxn ang="5400000">
                  <a:pos x="wd2" y="hd2"/>
                </a:cxn>
                <a:cxn ang="10800000">
                  <a:pos x="wd2" y="hd2"/>
                </a:cxn>
                <a:cxn ang="16200000">
                  <a:pos x="wd2" y="hd2"/>
                </a:cxn>
              </a:cxnLst>
              <a:rect l="0" t="0" r="r" b="b"/>
              <a:pathLst>
                <a:path w="21600" h="21600" extrusionOk="0">
                  <a:moveTo>
                    <a:pt x="14400" y="20835"/>
                  </a:moveTo>
                  <a:lnTo>
                    <a:pt x="14735" y="20740"/>
                  </a:lnTo>
                  <a:lnTo>
                    <a:pt x="15405" y="20931"/>
                  </a:lnTo>
                  <a:lnTo>
                    <a:pt x="16074" y="21218"/>
                  </a:lnTo>
                  <a:lnTo>
                    <a:pt x="17079" y="21218"/>
                  </a:lnTo>
                  <a:lnTo>
                    <a:pt x="17414" y="21122"/>
                  </a:lnTo>
                  <a:lnTo>
                    <a:pt x="17079" y="20644"/>
                  </a:lnTo>
                  <a:lnTo>
                    <a:pt x="17079" y="20166"/>
                  </a:lnTo>
                  <a:lnTo>
                    <a:pt x="17581" y="19975"/>
                  </a:lnTo>
                  <a:lnTo>
                    <a:pt x="18586" y="19784"/>
                  </a:lnTo>
                  <a:lnTo>
                    <a:pt x="18921" y="19688"/>
                  </a:lnTo>
                  <a:lnTo>
                    <a:pt x="18753" y="19402"/>
                  </a:lnTo>
                  <a:lnTo>
                    <a:pt x="18753" y="18637"/>
                  </a:lnTo>
                  <a:lnTo>
                    <a:pt x="19256" y="18542"/>
                  </a:lnTo>
                  <a:lnTo>
                    <a:pt x="19088" y="18446"/>
                  </a:lnTo>
                  <a:lnTo>
                    <a:pt x="18921" y="18064"/>
                  </a:lnTo>
                  <a:lnTo>
                    <a:pt x="18921" y="17490"/>
                  </a:lnTo>
                  <a:lnTo>
                    <a:pt x="19256" y="17108"/>
                  </a:lnTo>
                  <a:lnTo>
                    <a:pt x="19591" y="17012"/>
                  </a:lnTo>
                  <a:lnTo>
                    <a:pt x="19758" y="16439"/>
                  </a:lnTo>
                  <a:lnTo>
                    <a:pt x="20595" y="15961"/>
                  </a:lnTo>
                  <a:lnTo>
                    <a:pt x="20763" y="15483"/>
                  </a:lnTo>
                  <a:lnTo>
                    <a:pt x="21098" y="15101"/>
                  </a:lnTo>
                  <a:lnTo>
                    <a:pt x="21600" y="14910"/>
                  </a:lnTo>
                  <a:lnTo>
                    <a:pt x="21600" y="14527"/>
                  </a:lnTo>
                  <a:lnTo>
                    <a:pt x="21433" y="13954"/>
                  </a:lnTo>
                  <a:lnTo>
                    <a:pt x="20763" y="13285"/>
                  </a:lnTo>
                  <a:lnTo>
                    <a:pt x="20595" y="12903"/>
                  </a:lnTo>
                  <a:lnTo>
                    <a:pt x="20595" y="12234"/>
                  </a:lnTo>
                  <a:lnTo>
                    <a:pt x="20763" y="11947"/>
                  </a:lnTo>
                  <a:lnTo>
                    <a:pt x="20260" y="3250"/>
                  </a:lnTo>
                  <a:lnTo>
                    <a:pt x="20428" y="3250"/>
                  </a:lnTo>
                  <a:lnTo>
                    <a:pt x="19758" y="2963"/>
                  </a:lnTo>
                  <a:lnTo>
                    <a:pt x="19423" y="2485"/>
                  </a:lnTo>
                  <a:lnTo>
                    <a:pt x="19088" y="2198"/>
                  </a:lnTo>
                  <a:lnTo>
                    <a:pt x="18921" y="1625"/>
                  </a:lnTo>
                  <a:lnTo>
                    <a:pt x="18251" y="1242"/>
                  </a:lnTo>
                  <a:lnTo>
                    <a:pt x="17916" y="287"/>
                  </a:lnTo>
                  <a:lnTo>
                    <a:pt x="17916" y="0"/>
                  </a:lnTo>
                  <a:lnTo>
                    <a:pt x="4019" y="478"/>
                  </a:lnTo>
                  <a:lnTo>
                    <a:pt x="3684" y="287"/>
                  </a:lnTo>
                  <a:lnTo>
                    <a:pt x="3516" y="573"/>
                  </a:lnTo>
                  <a:lnTo>
                    <a:pt x="3516" y="765"/>
                  </a:lnTo>
                  <a:lnTo>
                    <a:pt x="4019" y="1051"/>
                  </a:lnTo>
                  <a:lnTo>
                    <a:pt x="4688" y="1338"/>
                  </a:lnTo>
                  <a:lnTo>
                    <a:pt x="5526" y="1720"/>
                  </a:lnTo>
                  <a:lnTo>
                    <a:pt x="6363" y="2198"/>
                  </a:lnTo>
                  <a:lnTo>
                    <a:pt x="6363" y="2485"/>
                  </a:lnTo>
                  <a:lnTo>
                    <a:pt x="6028" y="3058"/>
                  </a:lnTo>
                  <a:lnTo>
                    <a:pt x="5693" y="3345"/>
                  </a:lnTo>
                  <a:lnTo>
                    <a:pt x="5191" y="4110"/>
                  </a:lnTo>
                  <a:lnTo>
                    <a:pt x="4521" y="4492"/>
                  </a:lnTo>
                  <a:lnTo>
                    <a:pt x="3516" y="4779"/>
                  </a:lnTo>
                  <a:lnTo>
                    <a:pt x="2512" y="4779"/>
                  </a:lnTo>
                  <a:lnTo>
                    <a:pt x="2009" y="4874"/>
                  </a:lnTo>
                  <a:lnTo>
                    <a:pt x="2009" y="5543"/>
                  </a:lnTo>
                  <a:lnTo>
                    <a:pt x="2512" y="6212"/>
                  </a:lnTo>
                  <a:lnTo>
                    <a:pt x="2847" y="6404"/>
                  </a:lnTo>
                  <a:lnTo>
                    <a:pt x="2177" y="6690"/>
                  </a:lnTo>
                  <a:lnTo>
                    <a:pt x="2177" y="7359"/>
                  </a:lnTo>
                  <a:lnTo>
                    <a:pt x="1842" y="7359"/>
                  </a:lnTo>
                  <a:lnTo>
                    <a:pt x="335" y="8219"/>
                  </a:lnTo>
                  <a:lnTo>
                    <a:pt x="502" y="8793"/>
                  </a:lnTo>
                  <a:lnTo>
                    <a:pt x="0" y="9080"/>
                  </a:lnTo>
                  <a:lnTo>
                    <a:pt x="0" y="10800"/>
                  </a:lnTo>
                  <a:lnTo>
                    <a:pt x="1005" y="11756"/>
                  </a:lnTo>
                  <a:lnTo>
                    <a:pt x="3516" y="12998"/>
                  </a:lnTo>
                  <a:lnTo>
                    <a:pt x="4186" y="13572"/>
                  </a:lnTo>
                  <a:lnTo>
                    <a:pt x="4186" y="14336"/>
                  </a:lnTo>
                  <a:lnTo>
                    <a:pt x="5023" y="14719"/>
                  </a:lnTo>
                  <a:lnTo>
                    <a:pt x="5191" y="14432"/>
                  </a:lnTo>
                  <a:lnTo>
                    <a:pt x="5693" y="14336"/>
                  </a:lnTo>
                  <a:lnTo>
                    <a:pt x="6530" y="14336"/>
                  </a:lnTo>
                  <a:lnTo>
                    <a:pt x="7535" y="14910"/>
                  </a:lnTo>
                  <a:lnTo>
                    <a:pt x="7033" y="15483"/>
                  </a:lnTo>
                  <a:lnTo>
                    <a:pt x="6865" y="15961"/>
                  </a:lnTo>
                  <a:lnTo>
                    <a:pt x="6865" y="16248"/>
                  </a:lnTo>
                  <a:lnTo>
                    <a:pt x="6530" y="16726"/>
                  </a:lnTo>
                  <a:lnTo>
                    <a:pt x="6530" y="17204"/>
                  </a:lnTo>
                  <a:lnTo>
                    <a:pt x="7367" y="17681"/>
                  </a:lnTo>
                  <a:lnTo>
                    <a:pt x="8540" y="18159"/>
                  </a:lnTo>
                  <a:lnTo>
                    <a:pt x="8874" y="18064"/>
                  </a:lnTo>
                  <a:lnTo>
                    <a:pt x="10716" y="18733"/>
                  </a:lnTo>
                  <a:lnTo>
                    <a:pt x="11386" y="19115"/>
                  </a:lnTo>
                  <a:lnTo>
                    <a:pt x="11888" y="19975"/>
                  </a:lnTo>
                  <a:lnTo>
                    <a:pt x="11721" y="20453"/>
                  </a:lnTo>
                  <a:lnTo>
                    <a:pt x="11553" y="20740"/>
                  </a:lnTo>
                  <a:lnTo>
                    <a:pt x="12391" y="21218"/>
                  </a:lnTo>
                  <a:lnTo>
                    <a:pt x="12391" y="21600"/>
                  </a:lnTo>
                  <a:lnTo>
                    <a:pt x="12726" y="21218"/>
                  </a:lnTo>
                  <a:lnTo>
                    <a:pt x="13395" y="21218"/>
                  </a:lnTo>
                  <a:lnTo>
                    <a:pt x="13898" y="21122"/>
                  </a:lnTo>
                  <a:lnTo>
                    <a:pt x="14400" y="20835"/>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 name="Shape 2328">
              <a:extLst>
                <a:ext uri="{FF2B5EF4-FFF2-40B4-BE49-F238E27FC236}">
                  <a16:creationId xmlns:a16="http://schemas.microsoft.com/office/drawing/2014/main" id="{59E1428A-7942-D1AF-CC93-09EF7276512A}"/>
                </a:ext>
              </a:extLst>
            </p:cNvPr>
            <p:cNvSpPr/>
            <p:nvPr/>
          </p:nvSpPr>
          <p:spPr>
            <a:xfrm>
              <a:off x="5131303" y="1817953"/>
              <a:ext cx="1127304" cy="828437"/>
            </a:xfrm>
            <a:custGeom>
              <a:avLst/>
              <a:gdLst/>
              <a:ahLst/>
              <a:cxnLst>
                <a:cxn ang="0">
                  <a:pos x="wd2" y="hd2"/>
                </a:cxn>
                <a:cxn ang="5400000">
                  <a:pos x="wd2" y="hd2"/>
                </a:cxn>
                <a:cxn ang="10800000">
                  <a:pos x="wd2" y="hd2"/>
                </a:cxn>
                <a:cxn ang="16200000">
                  <a:pos x="wd2" y="hd2"/>
                </a:cxn>
              </a:cxnLst>
              <a:rect l="0" t="0" r="r" b="b"/>
              <a:pathLst>
                <a:path w="21600" h="21600" extrusionOk="0">
                  <a:moveTo>
                    <a:pt x="17673" y="20456"/>
                  </a:moveTo>
                  <a:cubicBezTo>
                    <a:pt x="18327" y="19567"/>
                    <a:pt x="18327" y="19567"/>
                    <a:pt x="18327" y="19567"/>
                  </a:cubicBezTo>
                  <a:cubicBezTo>
                    <a:pt x="18608" y="19059"/>
                    <a:pt x="18608" y="19059"/>
                    <a:pt x="18608" y="19059"/>
                  </a:cubicBezTo>
                  <a:cubicBezTo>
                    <a:pt x="18795" y="19059"/>
                    <a:pt x="18795" y="19059"/>
                    <a:pt x="18795" y="19059"/>
                  </a:cubicBezTo>
                  <a:cubicBezTo>
                    <a:pt x="18888" y="18042"/>
                    <a:pt x="18888" y="18042"/>
                    <a:pt x="18888" y="18042"/>
                  </a:cubicBezTo>
                  <a:cubicBezTo>
                    <a:pt x="19262" y="17661"/>
                    <a:pt x="19262" y="17661"/>
                    <a:pt x="19262" y="17661"/>
                  </a:cubicBezTo>
                  <a:cubicBezTo>
                    <a:pt x="19075" y="17280"/>
                    <a:pt x="19075" y="17280"/>
                    <a:pt x="19075" y="17280"/>
                  </a:cubicBezTo>
                  <a:cubicBezTo>
                    <a:pt x="18701" y="16264"/>
                    <a:pt x="18701" y="16264"/>
                    <a:pt x="18701" y="16264"/>
                  </a:cubicBezTo>
                  <a:cubicBezTo>
                    <a:pt x="18701" y="15755"/>
                    <a:pt x="18701" y="15755"/>
                    <a:pt x="18701" y="15755"/>
                  </a:cubicBezTo>
                  <a:cubicBezTo>
                    <a:pt x="18701" y="15247"/>
                    <a:pt x="18701" y="15247"/>
                    <a:pt x="18701" y="15247"/>
                  </a:cubicBezTo>
                  <a:cubicBezTo>
                    <a:pt x="19075" y="14993"/>
                    <a:pt x="19075" y="14993"/>
                    <a:pt x="19075" y="14993"/>
                  </a:cubicBezTo>
                  <a:cubicBezTo>
                    <a:pt x="19730" y="14993"/>
                    <a:pt x="19730" y="14993"/>
                    <a:pt x="19730" y="14993"/>
                  </a:cubicBezTo>
                  <a:cubicBezTo>
                    <a:pt x="20384" y="14612"/>
                    <a:pt x="20384" y="14612"/>
                    <a:pt x="20384" y="14612"/>
                  </a:cubicBezTo>
                  <a:cubicBezTo>
                    <a:pt x="20571" y="14358"/>
                    <a:pt x="20571" y="14358"/>
                    <a:pt x="20571" y="14358"/>
                  </a:cubicBezTo>
                  <a:cubicBezTo>
                    <a:pt x="20852" y="13976"/>
                    <a:pt x="20852" y="13976"/>
                    <a:pt x="20852" y="13976"/>
                  </a:cubicBezTo>
                  <a:cubicBezTo>
                    <a:pt x="21132" y="12833"/>
                    <a:pt x="21132" y="12833"/>
                    <a:pt x="21132" y="12833"/>
                  </a:cubicBezTo>
                  <a:cubicBezTo>
                    <a:pt x="21413" y="12325"/>
                    <a:pt x="21413" y="12325"/>
                    <a:pt x="21413" y="12325"/>
                  </a:cubicBezTo>
                  <a:cubicBezTo>
                    <a:pt x="21600" y="11435"/>
                    <a:pt x="21600" y="11435"/>
                    <a:pt x="21600" y="11435"/>
                  </a:cubicBezTo>
                  <a:cubicBezTo>
                    <a:pt x="21600" y="11054"/>
                    <a:pt x="21600" y="11054"/>
                    <a:pt x="21600" y="11054"/>
                  </a:cubicBezTo>
                  <a:cubicBezTo>
                    <a:pt x="21039" y="10292"/>
                    <a:pt x="21039" y="10292"/>
                    <a:pt x="21039" y="10292"/>
                  </a:cubicBezTo>
                  <a:cubicBezTo>
                    <a:pt x="20478" y="9656"/>
                    <a:pt x="20478" y="9656"/>
                    <a:pt x="20478" y="9656"/>
                  </a:cubicBezTo>
                  <a:cubicBezTo>
                    <a:pt x="20104" y="9148"/>
                    <a:pt x="20104" y="9148"/>
                    <a:pt x="20104" y="9148"/>
                  </a:cubicBezTo>
                  <a:cubicBezTo>
                    <a:pt x="19730" y="8767"/>
                    <a:pt x="19730" y="8767"/>
                    <a:pt x="19730" y="8767"/>
                  </a:cubicBezTo>
                  <a:cubicBezTo>
                    <a:pt x="19730" y="8386"/>
                    <a:pt x="19730" y="8386"/>
                    <a:pt x="19730" y="8386"/>
                  </a:cubicBezTo>
                  <a:cubicBezTo>
                    <a:pt x="19823" y="8005"/>
                    <a:pt x="19823" y="8005"/>
                    <a:pt x="19823" y="8005"/>
                  </a:cubicBezTo>
                  <a:cubicBezTo>
                    <a:pt x="20010" y="8259"/>
                    <a:pt x="20010" y="8259"/>
                    <a:pt x="20010" y="8259"/>
                  </a:cubicBezTo>
                  <a:cubicBezTo>
                    <a:pt x="19730" y="7751"/>
                    <a:pt x="19730" y="7751"/>
                    <a:pt x="19730" y="7751"/>
                  </a:cubicBezTo>
                  <a:cubicBezTo>
                    <a:pt x="19730" y="7751"/>
                    <a:pt x="19356" y="7496"/>
                    <a:pt x="19262" y="7496"/>
                  </a:cubicBezTo>
                  <a:cubicBezTo>
                    <a:pt x="19169" y="7496"/>
                    <a:pt x="18795" y="6988"/>
                    <a:pt x="18795" y="6988"/>
                  </a:cubicBezTo>
                  <a:cubicBezTo>
                    <a:pt x="18327" y="6988"/>
                    <a:pt x="18327" y="6988"/>
                    <a:pt x="18327" y="6988"/>
                  </a:cubicBezTo>
                  <a:cubicBezTo>
                    <a:pt x="18327" y="6353"/>
                    <a:pt x="18327" y="6353"/>
                    <a:pt x="18327" y="6353"/>
                  </a:cubicBezTo>
                  <a:cubicBezTo>
                    <a:pt x="18140" y="5718"/>
                    <a:pt x="18140" y="5718"/>
                    <a:pt x="18140" y="5718"/>
                  </a:cubicBezTo>
                  <a:cubicBezTo>
                    <a:pt x="18140" y="4955"/>
                    <a:pt x="18140" y="4955"/>
                    <a:pt x="18140" y="4955"/>
                  </a:cubicBezTo>
                  <a:cubicBezTo>
                    <a:pt x="18140" y="4447"/>
                    <a:pt x="18140" y="4447"/>
                    <a:pt x="18140" y="4447"/>
                  </a:cubicBezTo>
                  <a:cubicBezTo>
                    <a:pt x="18140" y="3558"/>
                    <a:pt x="18140" y="3558"/>
                    <a:pt x="18140" y="3558"/>
                  </a:cubicBezTo>
                  <a:cubicBezTo>
                    <a:pt x="17953" y="3176"/>
                    <a:pt x="17953" y="3176"/>
                    <a:pt x="17953" y="3176"/>
                  </a:cubicBezTo>
                  <a:cubicBezTo>
                    <a:pt x="17673" y="2287"/>
                    <a:pt x="17673" y="2287"/>
                    <a:pt x="17673" y="2287"/>
                  </a:cubicBezTo>
                  <a:cubicBezTo>
                    <a:pt x="655" y="2795"/>
                    <a:pt x="655" y="2795"/>
                    <a:pt x="655" y="2795"/>
                  </a:cubicBezTo>
                  <a:cubicBezTo>
                    <a:pt x="748" y="0"/>
                    <a:pt x="748" y="0"/>
                    <a:pt x="748" y="0"/>
                  </a:cubicBezTo>
                  <a:cubicBezTo>
                    <a:pt x="748" y="0"/>
                    <a:pt x="748" y="0"/>
                    <a:pt x="748" y="0"/>
                  </a:cubicBezTo>
                  <a:cubicBezTo>
                    <a:pt x="655" y="2922"/>
                    <a:pt x="655" y="2922"/>
                    <a:pt x="655" y="2922"/>
                  </a:cubicBezTo>
                  <a:cubicBezTo>
                    <a:pt x="374" y="2922"/>
                    <a:pt x="374" y="2922"/>
                    <a:pt x="374" y="2922"/>
                  </a:cubicBezTo>
                  <a:cubicBezTo>
                    <a:pt x="374" y="3304"/>
                    <a:pt x="374" y="3304"/>
                    <a:pt x="374" y="3304"/>
                  </a:cubicBezTo>
                  <a:cubicBezTo>
                    <a:pt x="281" y="3939"/>
                    <a:pt x="281" y="3939"/>
                    <a:pt x="281" y="3939"/>
                  </a:cubicBezTo>
                  <a:cubicBezTo>
                    <a:pt x="468" y="4066"/>
                    <a:pt x="468" y="4066"/>
                    <a:pt x="468" y="4066"/>
                  </a:cubicBezTo>
                  <a:cubicBezTo>
                    <a:pt x="655" y="4701"/>
                    <a:pt x="655" y="4701"/>
                    <a:pt x="655" y="4701"/>
                  </a:cubicBezTo>
                  <a:cubicBezTo>
                    <a:pt x="655" y="5209"/>
                    <a:pt x="655" y="5209"/>
                    <a:pt x="655" y="5209"/>
                  </a:cubicBezTo>
                  <a:cubicBezTo>
                    <a:pt x="468" y="5336"/>
                    <a:pt x="468" y="5336"/>
                    <a:pt x="468" y="5336"/>
                  </a:cubicBezTo>
                  <a:cubicBezTo>
                    <a:pt x="374" y="5718"/>
                    <a:pt x="374" y="5718"/>
                    <a:pt x="374" y="5718"/>
                  </a:cubicBezTo>
                  <a:cubicBezTo>
                    <a:pt x="374" y="6607"/>
                    <a:pt x="374" y="6607"/>
                    <a:pt x="374" y="6607"/>
                  </a:cubicBezTo>
                  <a:cubicBezTo>
                    <a:pt x="94" y="6734"/>
                    <a:pt x="94" y="6734"/>
                    <a:pt x="94" y="6734"/>
                  </a:cubicBezTo>
                  <a:cubicBezTo>
                    <a:pt x="0" y="7115"/>
                    <a:pt x="0" y="7115"/>
                    <a:pt x="0" y="7115"/>
                  </a:cubicBezTo>
                  <a:cubicBezTo>
                    <a:pt x="0" y="7496"/>
                    <a:pt x="0" y="7496"/>
                    <a:pt x="0" y="7496"/>
                  </a:cubicBezTo>
                  <a:cubicBezTo>
                    <a:pt x="374" y="7878"/>
                    <a:pt x="374" y="7878"/>
                    <a:pt x="374" y="7878"/>
                  </a:cubicBezTo>
                  <a:cubicBezTo>
                    <a:pt x="374" y="8386"/>
                    <a:pt x="374" y="8386"/>
                    <a:pt x="374" y="8386"/>
                  </a:cubicBezTo>
                  <a:cubicBezTo>
                    <a:pt x="374" y="8767"/>
                    <a:pt x="374" y="8767"/>
                    <a:pt x="374" y="8767"/>
                  </a:cubicBezTo>
                  <a:cubicBezTo>
                    <a:pt x="281" y="8513"/>
                    <a:pt x="281" y="8513"/>
                    <a:pt x="281" y="8513"/>
                  </a:cubicBezTo>
                  <a:cubicBezTo>
                    <a:pt x="561" y="9021"/>
                    <a:pt x="561" y="9021"/>
                    <a:pt x="561" y="9021"/>
                  </a:cubicBezTo>
                  <a:cubicBezTo>
                    <a:pt x="842" y="10165"/>
                    <a:pt x="842" y="10165"/>
                    <a:pt x="842" y="10165"/>
                  </a:cubicBezTo>
                  <a:cubicBezTo>
                    <a:pt x="1122" y="10800"/>
                    <a:pt x="1122" y="10800"/>
                    <a:pt x="1122" y="10800"/>
                  </a:cubicBezTo>
                  <a:cubicBezTo>
                    <a:pt x="1309" y="11562"/>
                    <a:pt x="1309" y="11562"/>
                    <a:pt x="1309" y="11562"/>
                  </a:cubicBezTo>
                  <a:cubicBezTo>
                    <a:pt x="1496" y="12198"/>
                    <a:pt x="1496" y="12198"/>
                    <a:pt x="1496" y="12198"/>
                  </a:cubicBezTo>
                  <a:cubicBezTo>
                    <a:pt x="1683" y="12579"/>
                    <a:pt x="1683" y="12579"/>
                    <a:pt x="1683" y="12579"/>
                  </a:cubicBezTo>
                  <a:cubicBezTo>
                    <a:pt x="1777" y="12960"/>
                    <a:pt x="1777" y="12960"/>
                    <a:pt x="1777" y="12960"/>
                  </a:cubicBezTo>
                  <a:cubicBezTo>
                    <a:pt x="1870" y="13087"/>
                    <a:pt x="1870" y="13087"/>
                    <a:pt x="1870" y="13087"/>
                  </a:cubicBezTo>
                  <a:cubicBezTo>
                    <a:pt x="1870" y="13214"/>
                    <a:pt x="1870" y="13214"/>
                    <a:pt x="1870" y="13214"/>
                  </a:cubicBezTo>
                  <a:cubicBezTo>
                    <a:pt x="1590" y="13341"/>
                    <a:pt x="1590" y="13341"/>
                    <a:pt x="1590" y="13341"/>
                  </a:cubicBezTo>
                  <a:cubicBezTo>
                    <a:pt x="1683" y="13849"/>
                    <a:pt x="1683" y="13849"/>
                    <a:pt x="1683" y="13849"/>
                  </a:cubicBezTo>
                  <a:cubicBezTo>
                    <a:pt x="1777" y="14485"/>
                    <a:pt x="1777" y="14485"/>
                    <a:pt x="1777" y="14485"/>
                  </a:cubicBezTo>
                  <a:cubicBezTo>
                    <a:pt x="1870" y="14739"/>
                    <a:pt x="1870" y="14739"/>
                    <a:pt x="1870" y="14739"/>
                  </a:cubicBezTo>
                  <a:cubicBezTo>
                    <a:pt x="2057" y="14739"/>
                    <a:pt x="2057" y="14739"/>
                    <a:pt x="2057" y="14739"/>
                  </a:cubicBezTo>
                  <a:cubicBezTo>
                    <a:pt x="2244" y="14993"/>
                    <a:pt x="2244" y="14993"/>
                    <a:pt x="2244" y="14993"/>
                  </a:cubicBezTo>
                  <a:cubicBezTo>
                    <a:pt x="2431" y="15882"/>
                    <a:pt x="2431" y="15882"/>
                    <a:pt x="2431" y="15882"/>
                  </a:cubicBezTo>
                  <a:cubicBezTo>
                    <a:pt x="2431" y="17153"/>
                    <a:pt x="2431" y="17153"/>
                    <a:pt x="2431" y="17153"/>
                  </a:cubicBezTo>
                  <a:cubicBezTo>
                    <a:pt x="2338" y="17661"/>
                    <a:pt x="2338" y="17661"/>
                    <a:pt x="2338" y="17661"/>
                  </a:cubicBezTo>
                  <a:cubicBezTo>
                    <a:pt x="2525" y="18042"/>
                    <a:pt x="2525" y="18042"/>
                    <a:pt x="2525" y="18042"/>
                  </a:cubicBezTo>
                  <a:cubicBezTo>
                    <a:pt x="2618" y="18296"/>
                    <a:pt x="2618" y="18296"/>
                    <a:pt x="2618" y="18296"/>
                  </a:cubicBezTo>
                  <a:cubicBezTo>
                    <a:pt x="2618" y="19567"/>
                    <a:pt x="2618" y="19567"/>
                    <a:pt x="2618" y="19567"/>
                  </a:cubicBezTo>
                  <a:cubicBezTo>
                    <a:pt x="2805" y="20456"/>
                    <a:pt x="2805" y="20456"/>
                    <a:pt x="2805" y="20456"/>
                  </a:cubicBezTo>
                  <a:cubicBezTo>
                    <a:pt x="2805" y="20584"/>
                    <a:pt x="2805" y="20584"/>
                    <a:pt x="2805" y="20584"/>
                  </a:cubicBezTo>
                  <a:cubicBezTo>
                    <a:pt x="16457" y="20329"/>
                    <a:pt x="16457" y="20329"/>
                    <a:pt x="16457" y="20329"/>
                  </a:cubicBezTo>
                  <a:cubicBezTo>
                    <a:pt x="17579" y="21600"/>
                    <a:pt x="17579" y="21600"/>
                    <a:pt x="17579" y="21600"/>
                  </a:cubicBezTo>
                  <a:cubicBezTo>
                    <a:pt x="17766" y="21346"/>
                    <a:pt x="17766" y="21346"/>
                    <a:pt x="17766" y="21346"/>
                  </a:cubicBezTo>
                  <a:lnTo>
                    <a:pt x="17673" y="2045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 name="Shape 2329">
              <a:extLst>
                <a:ext uri="{FF2B5EF4-FFF2-40B4-BE49-F238E27FC236}">
                  <a16:creationId xmlns:a16="http://schemas.microsoft.com/office/drawing/2014/main" id="{4D605FEC-E357-5AB0-2987-DC316040D0F0}"/>
                </a:ext>
              </a:extLst>
            </p:cNvPr>
            <p:cNvSpPr/>
            <p:nvPr/>
          </p:nvSpPr>
          <p:spPr>
            <a:xfrm>
              <a:off x="0" y="4596665"/>
              <a:ext cx="2508597" cy="1950276"/>
            </a:xfrm>
            <a:custGeom>
              <a:avLst/>
              <a:gdLst/>
              <a:ahLst/>
              <a:cxnLst>
                <a:cxn ang="0">
                  <a:pos x="wd2" y="hd2"/>
                </a:cxn>
                <a:cxn ang="5400000">
                  <a:pos x="wd2" y="hd2"/>
                </a:cxn>
                <a:cxn ang="10800000">
                  <a:pos x="wd2" y="hd2"/>
                </a:cxn>
                <a:cxn ang="16200000">
                  <a:pos x="wd2" y="hd2"/>
                </a:cxn>
              </a:cxnLst>
              <a:rect l="0" t="0" r="r" b="b"/>
              <a:pathLst>
                <a:path w="21559" h="21600" extrusionOk="0">
                  <a:moveTo>
                    <a:pt x="8461" y="17395"/>
                  </a:moveTo>
                  <a:lnTo>
                    <a:pt x="8609" y="17586"/>
                  </a:lnTo>
                  <a:lnTo>
                    <a:pt x="8905" y="17841"/>
                  </a:lnTo>
                  <a:lnTo>
                    <a:pt x="8708" y="17904"/>
                  </a:lnTo>
                  <a:lnTo>
                    <a:pt x="8609" y="17904"/>
                  </a:lnTo>
                  <a:lnTo>
                    <a:pt x="8411" y="18096"/>
                  </a:lnTo>
                  <a:lnTo>
                    <a:pt x="8411" y="18350"/>
                  </a:lnTo>
                  <a:lnTo>
                    <a:pt x="8510" y="18350"/>
                  </a:lnTo>
                  <a:lnTo>
                    <a:pt x="8708" y="18669"/>
                  </a:lnTo>
                  <a:lnTo>
                    <a:pt x="8708" y="18796"/>
                  </a:lnTo>
                  <a:lnTo>
                    <a:pt x="8559" y="18860"/>
                  </a:lnTo>
                  <a:lnTo>
                    <a:pt x="8461" y="18860"/>
                  </a:lnTo>
                  <a:lnTo>
                    <a:pt x="8362" y="18924"/>
                  </a:lnTo>
                  <a:lnTo>
                    <a:pt x="8312" y="18924"/>
                  </a:lnTo>
                  <a:lnTo>
                    <a:pt x="8164" y="19051"/>
                  </a:lnTo>
                  <a:lnTo>
                    <a:pt x="8164" y="19306"/>
                  </a:lnTo>
                  <a:lnTo>
                    <a:pt x="8065" y="19497"/>
                  </a:lnTo>
                  <a:lnTo>
                    <a:pt x="7917" y="19179"/>
                  </a:lnTo>
                  <a:lnTo>
                    <a:pt x="7917" y="19242"/>
                  </a:lnTo>
                  <a:lnTo>
                    <a:pt x="7867" y="19370"/>
                  </a:lnTo>
                  <a:lnTo>
                    <a:pt x="7719" y="19561"/>
                  </a:lnTo>
                  <a:lnTo>
                    <a:pt x="7620" y="19816"/>
                  </a:lnTo>
                  <a:lnTo>
                    <a:pt x="7620" y="20135"/>
                  </a:lnTo>
                  <a:lnTo>
                    <a:pt x="7175" y="20135"/>
                  </a:lnTo>
                  <a:lnTo>
                    <a:pt x="7521" y="20007"/>
                  </a:lnTo>
                  <a:lnTo>
                    <a:pt x="7571" y="19880"/>
                  </a:lnTo>
                  <a:lnTo>
                    <a:pt x="7620" y="19752"/>
                  </a:lnTo>
                  <a:lnTo>
                    <a:pt x="7571" y="19561"/>
                  </a:lnTo>
                  <a:lnTo>
                    <a:pt x="7472" y="19497"/>
                  </a:lnTo>
                  <a:lnTo>
                    <a:pt x="7423" y="19497"/>
                  </a:lnTo>
                  <a:lnTo>
                    <a:pt x="7324" y="19370"/>
                  </a:lnTo>
                  <a:lnTo>
                    <a:pt x="7324" y="19306"/>
                  </a:lnTo>
                  <a:lnTo>
                    <a:pt x="7274" y="18924"/>
                  </a:lnTo>
                  <a:lnTo>
                    <a:pt x="7373" y="18796"/>
                  </a:lnTo>
                  <a:lnTo>
                    <a:pt x="7423" y="18669"/>
                  </a:lnTo>
                  <a:lnTo>
                    <a:pt x="7571" y="18542"/>
                  </a:lnTo>
                  <a:lnTo>
                    <a:pt x="7620" y="18605"/>
                  </a:lnTo>
                  <a:lnTo>
                    <a:pt x="7769" y="18796"/>
                  </a:lnTo>
                  <a:lnTo>
                    <a:pt x="7867" y="19051"/>
                  </a:lnTo>
                  <a:lnTo>
                    <a:pt x="7867" y="18796"/>
                  </a:lnTo>
                  <a:lnTo>
                    <a:pt x="7818" y="18542"/>
                  </a:lnTo>
                  <a:lnTo>
                    <a:pt x="7719" y="18350"/>
                  </a:lnTo>
                  <a:lnTo>
                    <a:pt x="7867" y="18287"/>
                  </a:lnTo>
                  <a:lnTo>
                    <a:pt x="8065" y="18414"/>
                  </a:lnTo>
                  <a:lnTo>
                    <a:pt x="8164" y="18414"/>
                  </a:lnTo>
                  <a:lnTo>
                    <a:pt x="8164" y="17904"/>
                  </a:lnTo>
                  <a:lnTo>
                    <a:pt x="8115" y="17777"/>
                  </a:lnTo>
                  <a:lnTo>
                    <a:pt x="8312" y="17586"/>
                  </a:lnTo>
                  <a:close/>
                  <a:moveTo>
                    <a:pt x="1541" y="13508"/>
                  </a:moveTo>
                  <a:lnTo>
                    <a:pt x="1640" y="13508"/>
                  </a:lnTo>
                  <a:lnTo>
                    <a:pt x="1788" y="13890"/>
                  </a:lnTo>
                  <a:lnTo>
                    <a:pt x="1788" y="14081"/>
                  </a:lnTo>
                  <a:lnTo>
                    <a:pt x="1689" y="14273"/>
                  </a:lnTo>
                  <a:lnTo>
                    <a:pt x="1442" y="14273"/>
                  </a:lnTo>
                  <a:lnTo>
                    <a:pt x="1244" y="14081"/>
                  </a:lnTo>
                  <a:lnTo>
                    <a:pt x="997" y="13827"/>
                  </a:lnTo>
                  <a:lnTo>
                    <a:pt x="1244" y="13635"/>
                  </a:lnTo>
                  <a:lnTo>
                    <a:pt x="1392" y="13635"/>
                  </a:lnTo>
                  <a:close/>
                  <a:moveTo>
                    <a:pt x="125" y="8092"/>
                  </a:moveTo>
                  <a:cubicBezTo>
                    <a:pt x="125" y="8092"/>
                    <a:pt x="125" y="8092"/>
                    <a:pt x="166" y="8309"/>
                  </a:cubicBezTo>
                  <a:cubicBezTo>
                    <a:pt x="166" y="8309"/>
                    <a:pt x="166" y="8309"/>
                    <a:pt x="249" y="8418"/>
                  </a:cubicBezTo>
                  <a:cubicBezTo>
                    <a:pt x="249" y="8418"/>
                    <a:pt x="249" y="8418"/>
                    <a:pt x="456" y="8472"/>
                  </a:cubicBezTo>
                  <a:cubicBezTo>
                    <a:pt x="456" y="8472"/>
                    <a:pt x="456" y="8472"/>
                    <a:pt x="664" y="8472"/>
                  </a:cubicBezTo>
                  <a:cubicBezTo>
                    <a:pt x="664" y="8472"/>
                    <a:pt x="664" y="8472"/>
                    <a:pt x="788" y="8581"/>
                  </a:cubicBezTo>
                  <a:cubicBezTo>
                    <a:pt x="788" y="8581"/>
                    <a:pt x="788" y="8581"/>
                    <a:pt x="788" y="8743"/>
                  </a:cubicBezTo>
                  <a:cubicBezTo>
                    <a:pt x="788" y="8743"/>
                    <a:pt x="788" y="8743"/>
                    <a:pt x="871" y="8852"/>
                  </a:cubicBezTo>
                  <a:cubicBezTo>
                    <a:pt x="871" y="8852"/>
                    <a:pt x="871" y="8852"/>
                    <a:pt x="1037" y="9069"/>
                  </a:cubicBezTo>
                  <a:cubicBezTo>
                    <a:pt x="1037" y="9069"/>
                    <a:pt x="1037" y="9069"/>
                    <a:pt x="1244" y="9449"/>
                  </a:cubicBezTo>
                  <a:cubicBezTo>
                    <a:pt x="1244" y="9449"/>
                    <a:pt x="1244" y="9449"/>
                    <a:pt x="1120" y="9449"/>
                  </a:cubicBezTo>
                  <a:cubicBezTo>
                    <a:pt x="1120" y="9449"/>
                    <a:pt x="1120" y="9449"/>
                    <a:pt x="871" y="9449"/>
                  </a:cubicBezTo>
                  <a:lnTo>
                    <a:pt x="830" y="9558"/>
                  </a:lnTo>
                  <a:cubicBezTo>
                    <a:pt x="830" y="9558"/>
                    <a:pt x="830" y="9558"/>
                    <a:pt x="664" y="9340"/>
                  </a:cubicBezTo>
                  <a:cubicBezTo>
                    <a:pt x="664" y="9340"/>
                    <a:pt x="664" y="9340"/>
                    <a:pt x="581" y="9015"/>
                  </a:cubicBezTo>
                  <a:cubicBezTo>
                    <a:pt x="581" y="9015"/>
                    <a:pt x="581" y="9015"/>
                    <a:pt x="539" y="8906"/>
                  </a:cubicBezTo>
                  <a:cubicBezTo>
                    <a:pt x="539" y="8906"/>
                    <a:pt x="539" y="8906"/>
                    <a:pt x="456" y="8798"/>
                  </a:cubicBezTo>
                  <a:cubicBezTo>
                    <a:pt x="456" y="8798"/>
                    <a:pt x="456" y="8798"/>
                    <a:pt x="415" y="8798"/>
                  </a:cubicBezTo>
                  <a:cubicBezTo>
                    <a:pt x="415" y="8798"/>
                    <a:pt x="415" y="8798"/>
                    <a:pt x="374" y="8798"/>
                  </a:cubicBezTo>
                  <a:cubicBezTo>
                    <a:pt x="374" y="8798"/>
                    <a:pt x="291" y="8798"/>
                    <a:pt x="291" y="8798"/>
                  </a:cubicBezTo>
                  <a:cubicBezTo>
                    <a:pt x="249" y="8743"/>
                    <a:pt x="249" y="8798"/>
                    <a:pt x="249" y="8798"/>
                  </a:cubicBezTo>
                  <a:cubicBezTo>
                    <a:pt x="249" y="8798"/>
                    <a:pt x="249" y="8798"/>
                    <a:pt x="125" y="8798"/>
                  </a:cubicBezTo>
                  <a:cubicBezTo>
                    <a:pt x="-41" y="8743"/>
                    <a:pt x="83" y="8743"/>
                    <a:pt x="83" y="8743"/>
                  </a:cubicBezTo>
                  <a:cubicBezTo>
                    <a:pt x="42" y="8689"/>
                    <a:pt x="42" y="8689"/>
                    <a:pt x="42" y="8635"/>
                  </a:cubicBezTo>
                  <a:cubicBezTo>
                    <a:pt x="42" y="8635"/>
                    <a:pt x="0" y="8526"/>
                    <a:pt x="0" y="8472"/>
                  </a:cubicBezTo>
                  <a:cubicBezTo>
                    <a:pt x="0" y="8472"/>
                    <a:pt x="0" y="8309"/>
                    <a:pt x="0" y="8309"/>
                  </a:cubicBezTo>
                  <a:cubicBezTo>
                    <a:pt x="0" y="8309"/>
                    <a:pt x="0" y="8309"/>
                    <a:pt x="125" y="8092"/>
                  </a:cubicBezTo>
                  <a:close/>
                  <a:moveTo>
                    <a:pt x="7752" y="0"/>
                  </a:moveTo>
                  <a:cubicBezTo>
                    <a:pt x="7752" y="0"/>
                    <a:pt x="7752" y="0"/>
                    <a:pt x="7920" y="215"/>
                  </a:cubicBezTo>
                  <a:cubicBezTo>
                    <a:pt x="7920" y="215"/>
                    <a:pt x="7920" y="215"/>
                    <a:pt x="8003" y="377"/>
                  </a:cubicBezTo>
                  <a:cubicBezTo>
                    <a:pt x="8003" y="377"/>
                    <a:pt x="8003" y="377"/>
                    <a:pt x="7920" y="377"/>
                  </a:cubicBezTo>
                  <a:cubicBezTo>
                    <a:pt x="7920" y="377"/>
                    <a:pt x="7920" y="377"/>
                    <a:pt x="7920" y="539"/>
                  </a:cubicBezTo>
                  <a:cubicBezTo>
                    <a:pt x="7920" y="539"/>
                    <a:pt x="7920" y="539"/>
                    <a:pt x="8045" y="646"/>
                  </a:cubicBezTo>
                  <a:cubicBezTo>
                    <a:pt x="8045" y="646"/>
                    <a:pt x="8045" y="646"/>
                    <a:pt x="8212" y="646"/>
                  </a:cubicBezTo>
                  <a:cubicBezTo>
                    <a:pt x="8212" y="646"/>
                    <a:pt x="8212" y="646"/>
                    <a:pt x="8212" y="485"/>
                  </a:cubicBezTo>
                  <a:cubicBezTo>
                    <a:pt x="8212" y="485"/>
                    <a:pt x="8212" y="485"/>
                    <a:pt x="8296" y="377"/>
                  </a:cubicBezTo>
                  <a:cubicBezTo>
                    <a:pt x="8296" y="377"/>
                    <a:pt x="8296" y="377"/>
                    <a:pt x="8380" y="485"/>
                  </a:cubicBezTo>
                  <a:cubicBezTo>
                    <a:pt x="8380" y="485"/>
                    <a:pt x="8380" y="485"/>
                    <a:pt x="8505" y="700"/>
                  </a:cubicBezTo>
                  <a:cubicBezTo>
                    <a:pt x="8505" y="700"/>
                    <a:pt x="8505" y="700"/>
                    <a:pt x="8756" y="646"/>
                  </a:cubicBezTo>
                  <a:cubicBezTo>
                    <a:pt x="8756" y="646"/>
                    <a:pt x="8756" y="646"/>
                    <a:pt x="9091" y="754"/>
                  </a:cubicBezTo>
                  <a:cubicBezTo>
                    <a:pt x="9091" y="754"/>
                    <a:pt x="9091" y="754"/>
                    <a:pt x="9091" y="916"/>
                  </a:cubicBezTo>
                  <a:cubicBezTo>
                    <a:pt x="9091" y="916"/>
                    <a:pt x="9091" y="916"/>
                    <a:pt x="9175" y="1131"/>
                  </a:cubicBezTo>
                  <a:cubicBezTo>
                    <a:pt x="9175" y="1131"/>
                    <a:pt x="9175" y="1131"/>
                    <a:pt x="9384" y="1347"/>
                  </a:cubicBezTo>
                  <a:cubicBezTo>
                    <a:pt x="9384" y="1347"/>
                    <a:pt x="9384" y="1347"/>
                    <a:pt x="9844" y="1347"/>
                  </a:cubicBezTo>
                  <a:cubicBezTo>
                    <a:pt x="9844" y="1347"/>
                    <a:pt x="9844" y="1347"/>
                    <a:pt x="9970" y="1347"/>
                  </a:cubicBezTo>
                  <a:cubicBezTo>
                    <a:pt x="9970" y="1347"/>
                    <a:pt x="9970" y="1347"/>
                    <a:pt x="10095" y="1239"/>
                  </a:cubicBezTo>
                  <a:cubicBezTo>
                    <a:pt x="10095" y="1239"/>
                    <a:pt x="10095" y="1239"/>
                    <a:pt x="10262" y="1239"/>
                  </a:cubicBezTo>
                  <a:cubicBezTo>
                    <a:pt x="10262" y="1239"/>
                    <a:pt x="10262" y="1239"/>
                    <a:pt x="10472" y="1400"/>
                  </a:cubicBezTo>
                  <a:cubicBezTo>
                    <a:pt x="10472" y="1400"/>
                    <a:pt x="10472" y="1400"/>
                    <a:pt x="10514" y="1562"/>
                  </a:cubicBezTo>
                  <a:cubicBezTo>
                    <a:pt x="10514" y="1562"/>
                    <a:pt x="10514" y="1562"/>
                    <a:pt x="10514" y="1724"/>
                  </a:cubicBezTo>
                  <a:cubicBezTo>
                    <a:pt x="10514" y="1724"/>
                    <a:pt x="10514" y="1724"/>
                    <a:pt x="10514" y="1751"/>
                  </a:cubicBezTo>
                  <a:lnTo>
                    <a:pt x="10514" y="1831"/>
                  </a:lnTo>
                  <a:cubicBezTo>
                    <a:pt x="10514" y="1831"/>
                    <a:pt x="10514" y="1831"/>
                    <a:pt x="10723" y="1670"/>
                  </a:cubicBezTo>
                  <a:cubicBezTo>
                    <a:pt x="10723" y="1670"/>
                    <a:pt x="10723" y="1670"/>
                    <a:pt x="10974" y="1562"/>
                  </a:cubicBezTo>
                  <a:cubicBezTo>
                    <a:pt x="10974" y="1562"/>
                    <a:pt x="10974" y="1562"/>
                    <a:pt x="11141" y="1562"/>
                  </a:cubicBezTo>
                  <a:cubicBezTo>
                    <a:pt x="11141" y="1562"/>
                    <a:pt x="11141" y="1562"/>
                    <a:pt x="11476" y="1724"/>
                  </a:cubicBezTo>
                  <a:cubicBezTo>
                    <a:pt x="11476" y="1724"/>
                    <a:pt x="11476" y="1724"/>
                    <a:pt x="11769" y="1831"/>
                  </a:cubicBezTo>
                  <a:cubicBezTo>
                    <a:pt x="11769" y="1831"/>
                    <a:pt x="11769" y="1831"/>
                    <a:pt x="12103" y="1724"/>
                  </a:cubicBezTo>
                  <a:cubicBezTo>
                    <a:pt x="12103" y="1724"/>
                    <a:pt x="12103" y="1724"/>
                    <a:pt x="12271" y="1562"/>
                  </a:cubicBezTo>
                  <a:cubicBezTo>
                    <a:pt x="12271" y="1562"/>
                    <a:pt x="12271" y="1562"/>
                    <a:pt x="12438" y="1562"/>
                  </a:cubicBezTo>
                  <a:cubicBezTo>
                    <a:pt x="12438" y="1562"/>
                    <a:pt x="12438" y="1562"/>
                    <a:pt x="12522" y="1562"/>
                  </a:cubicBezTo>
                  <a:cubicBezTo>
                    <a:pt x="12522" y="1562"/>
                    <a:pt x="12522" y="1562"/>
                    <a:pt x="12731" y="1831"/>
                  </a:cubicBezTo>
                  <a:cubicBezTo>
                    <a:pt x="12731" y="1831"/>
                    <a:pt x="12731" y="1831"/>
                    <a:pt x="12940" y="2047"/>
                  </a:cubicBezTo>
                  <a:cubicBezTo>
                    <a:pt x="12940" y="2047"/>
                    <a:pt x="12940" y="2047"/>
                    <a:pt x="13317" y="2101"/>
                  </a:cubicBezTo>
                  <a:lnTo>
                    <a:pt x="13484" y="3986"/>
                  </a:lnTo>
                  <a:cubicBezTo>
                    <a:pt x="13484" y="3986"/>
                    <a:pt x="13484" y="3986"/>
                    <a:pt x="13986" y="8726"/>
                  </a:cubicBezTo>
                  <a:cubicBezTo>
                    <a:pt x="13986" y="8726"/>
                    <a:pt x="13986" y="8726"/>
                    <a:pt x="14572" y="14436"/>
                  </a:cubicBezTo>
                  <a:cubicBezTo>
                    <a:pt x="14572" y="14436"/>
                    <a:pt x="14572" y="14436"/>
                    <a:pt x="14697" y="14759"/>
                  </a:cubicBezTo>
                  <a:cubicBezTo>
                    <a:pt x="14697" y="14759"/>
                    <a:pt x="14697" y="14759"/>
                    <a:pt x="15116" y="14759"/>
                  </a:cubicBezTo>
                  <a:cubicBezTo>
                    <a:pt x="15116" y="14759"/>
                    <a:pt x="15116" y="14759"/>
                    <a:pt x="15199" y="14436"/>
                  </a:cubicBezTo>
                  <a:cubicBezTo>
                    <a:pt x="15199" y="14436"/>
                    <a:pt x="15199" y="14436"/>
                    <a:pt x="15534" y="14436"/>
                  </a:cubicBezTo>
                  <a:cubicBezTo>
                    <a:pt x="15534" y="14436"/>
                    <a:pt x="15534" y="14436"/>
                    <a:pt x="15534" y="14598"/>
                  </a:cubicBezTo>
                  <a:cubicBezTo>
                    <a:pt x="15534" y="14598"/>
                    <a:pt x="15534" y="14598"/>
                    <a:pt x="15660" y="14813"/>
                  </a:cubicBezTo>
                  <a:cubicBezTo>
                    <a:pt x="15660" y="14813"/>
                    <a:pt x="15660" y="14813"/>
                    <a:pt x="16204" y="15298"/>
                  </a:cubicBezTo>
                  <a:cubicBezTo>
                    <a:pt x="16204" y="15298"/>
                    <a:pt x="16204" y="15298"/>
                    <a:pt x="16664" y="15944"/>
                  </a:cubicBezTo>
                  <a:cubicBezTo>
                    <a:pt x="16664" y="15944"/>
                    <a:pt x="16664" y="15944"/>
                    <a:pt x="16915" y="15675"/>
                  </a:cubicBezTo>
                  <a:cubicBezTo>
                    <a:pt x="16915" y="15675"/>
                    <a:pt x="16915" y="15675"/>
                    <a:pt x="17082" y="15136"/>
                  </a:cubicBezTo>
                  <a:cubicBezTo>
                    <a:pt x="17082" y="15136"/>
                    <a:pt x="17082" y="15136"/>
                    <a:pt x="17291" y="14867"/>
                  </a:cubicBezTo>
                  <a:cubicBezTo>
                    <a:pt x="17291" y="14867"/>
                    <a:pt x="17291" y="14867"/>
                    <a:pt x="17501" y="14705"/>
                  </a:cubicBezTo>
                  <a:cubicBezTo>
                    <a:pt x="17501" y="14705"/>
                    <a:pt x="17501" y="14705"/>
                    <a:pt x="17877" y="14921"/>
                  </a:cubicBezTo>
                  <a:cubicBezTo>
                    <a:pt x="17877" y="14921"/>
                    <a:pt x="17877" y="14921"/>
                    <a:pt x="18337" y="15352"/>
                  </a:cubicBezTo>
                  <a:cubicBezTo>
                    <a:pt x="18337" y="15352"/>
                    <a:pt x="18337" y="15352"/>
                    <a:pt x="18798" y="15944"/>
                  </a:cubicBezTo>
                  <a:cubicBezTo>
                    <a:pt x="18798" y="15944"/>
                    <a:pt x="18798" y="15944"/>
                    <a:pt x="19132" y="16429"/>
                  </a:cubicBezTo>
                  <a:cubicBezTo>
                    <a:pt x="19132" y="16429"/>
                    <a:pt x="19132" y="16429"/>
                    <a:pt x="19802" y="17291"/>
                  </a:cubicBezTo>
                  <a:cubicBezTo>
                    <a:pt x="19802" y="17291"/>
                    <a:pt x="19802" y="17291"/>
                    <a:pt x="20220" y="18045"/>
                  </a:cubicBezTo>
                  <a:cubicBezTo>
                    <a:pt x="20220" y="18045"/>
                    <a:pt x="20220" y="18045"/>
                    <a:pt x="20471" y="18099"/>
                  </a:cubicBezTo>
                  <a:cubicBezTo>
                    <a:pt x="20471" y="18099"/>
                    <a:pt x="20471" y="18099"/>
                    <a:pt x="20764" y="18153"/>
                  </a:cubicBezTo>
                  <a:cubicBezTo>
                    <a:pt x="20764" y="18153"/>
                    <a:pt x="20764" y="18153"/>
                    <a:pt x="21266" y="18368"/>
                  </a:cubicBezTo>
                  <a:cubicBezTo>
                    <a:pt x="21266" y="18368"/>
                    <a:pt x="21266" y="18368"/>
                    <a:pt x="21475" y="18530"/>
                  </a:cubicBezTo>
                  <a:cubicBezTo>
                    <a:pt x="21475" y="18530"/>
                    <a:pt x="21475" y="18530"/>
                    <a:pt x="21475" y="18745"/>
                  </a:cubicBezTo>
                  <a:cubicBezTo>
                    <a:pt x="21475" y="18745"/>
                    <a:pt x="21475" y="18745"/>
                    <a:pt x="21559" y="19230"/>
                  </a:cubicBezTo>
                  <a:cubicBezTo>
                    <a:pt x="21559" y="19230"/>
                    <a:pt x="21559" y="19230"/>
                    <a:pt x="21559" y="19445"/>
                  </a:cubicBezTo>
                  <a:cubicBezTo>
                    <a:pt x="21559" y="19445"/>
                    <a:pt x="21559" y="19445"/>
                    <a:pt x="21559" y="19661"/>
                  </a:cubicBezTo>
                  <a:cubicBezTo>
                    <a:pt x="21559" y="19661"/>
                    <a:pt x="21559" y="19661"/>
                    <a:pt x="21559" y="20146"/>
                  </a:cubicBezTo>
                  <a:cubicBezTo>
                    <a:pt x="21559" y="20146"/>
                    <a:pt x="21559" y="20146"/>
                    <a:pt x="21392" y="20307"/>
                  </a:cubicBezTo>
                  <a:cubicBezTo>
                    <a:pt x="21392" y="20307"/>
                    <a:pt x="21392" y="20307"/>
                    <a:pt x="21266" y="20092"/>
                  </a:cubicBezTo>
                  <a:cubicBezTo>
                    <a:pt x="21266" y="20092"/>
                    <a:pt x="21266" y="20092"/>
                    <a:pt x="21141" y="19822"/>
                  </a:cubicBezTo>
                  <a:cubicBezTo>
                    <a:pt x="21141" y="19822"/>
                    <a:pt x="21141" y="19822"/>
                    <a:pt x="21015" y="19930"/>
                  </a:cubicBezTo>
                  <a:cubicBezTo>
                    <a:pt x="21015" y="19930"/>
                    <a:pt x="21015" y="19930"/>
                    <a:pt x="21141" y="20200"/>
                  </a:cubicBezTo>
                  <a:cubicBezTo>
                    <a:pt x="21141" y="20200"/>
                    <a:pt x="21141" y="20200"/>
                    <a:pt x="21057" y="20253"/>
                  </a:cubicBezTo>
                  <a:cubicBezTo>
                    <a:pt x="21057" y="20253"/>
                    <a:pt x="21057" y="20253"/>
                    <a:pt x="20931" y="20146"/>
                  </a:cubicBezTo>
                  <a:cubicBezTo>
                    <a:pt x="20931" y="20146"/>
                    <a:pt x="20931" y="20146"/>
                    <a:pt x="20680" y="20038"/>
                  </a:cubicBezTo>
                  <a:cubicBezTo>
                    <a:pt x="20680" y="20038"/>
                    <a:pt x="20680" y="20038"/>
                    <a:pt x="20680" y="19822"/>
                  </a:cubicBezTo>
                  <a:cubicBezTo>
                    <a:pt x="20680" y="19822"/>
                    <a:pt x="20680" y="19822"/>
                    <a:pt x="20597" y="19553"/>
                  </a:cubicBezTo>
                  <a:cubicBezTo>
                    <a:pt x="20597" y="19553"/>
                    <a:pt x="20597" y="19553"/>
                    <a:pt x="20471" y="19445"/>
                  </a:cubicBezTo>
                  <a:cubicBezTo>
                    <a:pt x="20471" y="19445"/>
                    <a:pt x="20471" y="19445"/>
                    <a:pt x="20388" y="19230"/>
                  </a:cubicBezTo>
                  <a:cubicBezTo>
                    <a:pt x="20388" y="19230"/>
                    <a:pt x="20388" y="19230"/>
                    <a:pt x="20053" y="18907"/>
                  </a:cubicBezTo>
                  <a:cubicBezTo>
                    <a:pt x="20053" y="18907"/>
                    <a:pt x="20053" y="18907"/>
                    <a:pt x="19760" y="18961"/>
                  </a:cubicBezTo>
                  <a:cubicBezTo>
                    <a:pt x="19760" y="18961"/>
                    <a:pt x="19760" y="18961"/>
                    <a:pt x="19844" y="19122"/>
                  </a:cubicBezTo>
                  <a:cubicBezTo>
                    <a:pt x="19844" y="19122"/>
                    <a:pt x="19844" y="19122"/>
                    <a:pt x="19927" y="19230"/>
                  </a:cubicBezTo>
                  <a:cubicBezTo>
                    <a:pt x="19927" y="19230"/>
                    <a:pt x="19927" y="19230"/>
                    <a:pt x="20220" y="19445"/>
                  </a:cubicBezTo>
                  <a:cubicBezTo>
                    <a:pt x="20220" y="19445"/>
                    <a:pt x="20220" y="19445"/>
                    <a:pt x="20388" y="19661"/>
                  </a:cubicBezTo>
                  <a:cubicBezTo>
                    <a:pt x="20388" y="19661"/>
                    <a:pt x="20388" y="19661"/>
                    <a:pt x="20388" y="19822"/>
                  </a:cubicBezTo>
                  <a:cubicBezTo>
                    <a:pt x="20388" y="19822"/>
                    <a:pt x="20388" y="19822"/>
                    <a:pt x="20513" y="19984"/>
                  </a:cubicBezTo>
                  <a:cubicBezTo>
                    <a:pt x="20513" y="19984"/>
                    <a:pt x="20513" y="19984"/>
                    <a:pt x="20597" y="20146"/>
                  </a:cubicBezTo>
                  <a:cubicBezTo>
                    <a:pt x="20597" y="20146"/>
                    <a:pt x="20597" y="20146"/>
                    <a:pt x="20680" y="20523"/>
                  </a:cubicBezTo>
                  <a:cubicBezTo>
                    <a:pt x="20680" y="20523"/>
                    <a:pt x="20680" y="20523"/>
                    <a:pt x="20680" y="20630"/>
                  </a:cubicBezTo>
                  <a:cubicBezTo>
                    <a:pt x="20680" y="20630"/>
                    <a:pt x="20680" y="20630"/>
                    <a:pt x="20555" y="20684"/>
                  </a:cubicBezTo>
                  <a:cubicBezTo>
                    <a:pt x="20555" y="20684"/>
                    <a:pt x="20555" y="20684"/>
                    <a:pt x="20471" y="20415"/>
                  </a:cubicBezTo>
                  <a:cubicBezTo>
                    <a:pt x="20471" y="20415"/>
                    <a:pt x="20471" y="20415"/>
                    <a:pt x="20471" y="20684"/>
                  </a:cubicBezTo>
                  <a:cubicBezTo>
                    <a:pt x="20471" y="20684"/>
                    <a:pt x="20471" y="20684"/>
                    <a:pt x="20388" y="20900"/>
                  </a:cubicBezTo>
                  <a:cubicBezTo>
                    <a:pt x="20388" y="20900"/>
                    <a:pt x="20388" y="20900"/>
                    <a:pt x="20262" y="20846"/>
                  </a:cubicBezTo>
                  <a:cubicBezTo>
                    <a:pt x="20262" y="20846"/>
                    <a:pt x="20262" y="20846"/>
                    <a:pt x="20053" y="20577"/>
                  </a:cubicBezTo>
                  <a:cubicBezTo>
                    <a:pt x="20053" y="20577"/>
                    <a:pt x="20053" y="20577"/>
                    <a:pt x="19844" y="20253"/>
                  </a:cubicBezTo>
                  <a:cubicBezTo>
                    <a:pt x="19844" y="20253"/>
                    <a:pt x="19844" y="20253"/>
                    <a:pt x="19676" y="20361"/>
                  </a:cubicBezTo>
                  <a:cubicBezTo>
                    <a:pt x="19676" y="20361"/>
                    <a:pt x="19676" y="20361"/>
                    <a:pt x="19551" y="20361"/>
                  </a:cubicBezTo>
                  <a:cubicBezTo>
                    <a:pt x="19551" y="20361"/>
                    <a:pt x="19551" y="20361"/>
                    <a:pt x="19634" y="20038"/>
                  </a:cubicBezTo>
                  <a:cubicBezTo>
                    <a:pt x="19634" y="20038"/>
                    <a:pt x="19634" y="20038"/>
                    <a:pt x="19844" y="19984"/>
                  </a:cubicBezTo>
                  <a:cubicBezTo>
                    <a:pt x="19844" y="19984"/>
                    <a:pt x="19844" y="19984"/>
                    <a:pt x="19760" y="19661"/>
                  </a:cubicBezTo>
                  <a:cubicBezTo>
                    <a:pt x="19760" y="19661"/>
                    <a:pt x="19760" y="19661"/>
                    <a:pt x="19509" y="19822"/>
                  </a:cubicBezTo>
                  <a:cubicBezTo>
                    <a:pt x="19509" y="19822"/>
                    <a:pt x="19509" y="19822"/>
                    <a:pt x="19593" y="19499"/>
                  </a:cubicBezTo>
                  <a:cubicBezTo>
                    <a:pt x="19593" y="19499"/>
                    <a:pt x="19593" y="19499"/>
                    <a:pt x="19467" y="19284"/>
                  </a:cubicBezTo>
                  <a:cubicBezTo>
                    <a:pt x="19467" y="19284"/>
                    <a:pt x="19467" y="19284"/>
                    <a:pt x="19425" y="19122"/>
                  </a:cubicBezTo>
                  <a:cubicBezTo>
                    <a:pt x="19425" y="19122"/>
                    <a:pt x="19425" y="19122"/>
                    <a:pt x="19425" y="18961"/>
                  </a:cubicBezTo>
                  <a:cubicBezTo>
                    <a:pt x="19425" y="18961"/>
                    <a:pt x="19425" y="18961"/>
                    <a:pt x="19593" y="18637"/>
                  </a:cubicBezTo>
                  <a:cubicBezTo>
                    <a:pt x="19593" y="18637"/>
                    <a:pt x="19593" y="18637"/>
                    <a:pt x="19383" y="18637"/>
                  </a:cubicBezTo>
                  <a:cubicBezTo>
                    <a:pt x="19383" y="18637"/>
                    <a:pt x="19383" y="18637"/>
                    <a:pt x="19300" y="18745"/>
                  </a:cubicBezTo>
                  <a:cubicBezTo>
                    <a:pt x="19300" y="18745"/>
                    <a:pt x="19300" y="18745"/>
                    <a:pt x="19300" y="18853"/>
                  </a:cubicBezTo>
                  <a:cubicBezTo>
                    <a:pt x="19300" y="18853"/>
                    <a:pt x="19300" y="18853"/>
                    <a:pt x="19300" y="19176"/>
                  </a:cubicBezTo>
                  <a:cubicBezTo>
                    <a:pt x="19300" y="19176"/>
                    <a:pt x="19300" y="19176"/>
                    <a:pt x="19174" y="19284"/>
                  </a:cubicBezTo>
                  <a:cubicBezTo>
                    <a:pt x="19174" y="19284"/>
                    <a:pt x="19174" y="19284"/>
                    <a:pt x="19091" y="19392"/>
                  </a:cubicBezTo>
                  <a:cubicBezTo>
                    <a:pt x="19091" y="19392"/>
                    <a:pt x="19091" y="19284"/>
                    <a:pt x="19091" y="19230"/>
                  </a:cubicBezTo>
                  <a:cubicBezTo>
                    <a:pt x="19091" y="19176"/>
                    <a:pt x="19049" y="19014"/>
                    <a:pt x="19049" y="19014"/>
                  </a:cubicBezTo>
                  <a:cubicBezTo>
                    <a:pt x="19049" y="19014"/>
                    <a:pt x="19007" y="18853"/>
                    <a:pt x="19007" y="18745"/>
                  </a:cubicBezTo>
                  <a:cubicBezTo>
                    <a:pt x="19007" y="18691"/>
                    <a:pt x="18965" y="18584"/>
                    <a:pt x="18965" y="18584"/>
                  </a:cubicBezTo>
                  <a:cubicBezTo>
                    <a:pt x="18965" y="18584"/>
                    <a:pt x="18923" y="18476"/>
                    <a:pt x="18923" y="18422"/>
                  </a:cubicBezTo>
                  <a:cubicBezTo>
                    <a:pt x="18923" y="18314"/>
                    <a:pt x="18923" y="18260"/>
                    <a:pt x="18923" y="18260"/>
                  </a:cubicBezTo>
                  <a:cubicBezTo>
                    <a:pt x="18923" y="18260"/>
                    <a:pt x="18965" y="18153"/>
                    <a:pt x="19049" y="18153"/>
                  </a:cubicBezTo>
                  <a:cubicBezTo>
                    <a:pt x="19091" y="18099"/>
                    <a:pt x="19132" y="17991"/>
                    <a:pt x="19132" y="17991"/>
                  </a:cubicBezTo>
                  <a:cubicBezTo>
                    <a:pt x="19132" y="17991"/>
                    <a:pt x="19132" y="17991"/>
                    <a:pt x="19300" y="17776"/>
                  </a:cubicBezTo>
                  <a:cubicBezTo>
                    <a:pt x="19300" y="17776"/>
                    <a:pt x="19300" y="17776"/>
                    <a:pt x="19132" y="17399"/>
                  </a:cubicBezTo>
                  <a:cubicBezTo>
                    <a:pt x="19132" y="17399"/>
                    <a:pt x="19132" y="17399"/>
                    <a:pt x="19049" y="17452"/>
                  </a:cubicBezTo>
                  <a:cubicBezTo>
                    <a:pt x="19049" y="17452"/>
                    <a:pt x="19049" y="17452"/>
                    <a:pt x="18965" y="17722"/>
                  </a:cubicBezTo>
                  <a:cubicBezTo>
                    <a:pt x="18965" y="17722"/>
                    <a:pt x="18965" y="17722"/>
                    <a:pt x="18798" y="17991"/>
                  </a:cubicBezTo>
                  <a:cubicBezTo>
                    <a:pt x="18798" y="17991"/>
                    <a:pt x="18798" y="17991"/>
                    <a:pt x="18672" y="18099"/>
                  </a:cubicBezTo>
                  <a:cubicBezTo>
                    <a:pt x="18672" y="18099"/>
                    <a:pt x="18672" y="18099"/>
                    <a:pt x="18630" y="18206"/>
                  </a:cubicBezTo>
                  <a:cubicBezTo>
                    <a:pt x="18630" y="18206"/>
                    <a:pt x="18630" y="18206"/>
                    <a:pt x="18714" y="18637"/>
                  </a:cubicBezTo>
                  <a:cubicBezTo>
                    <a:pt x="18714" y="18637"/>
                    <a:pt x="18714" y="18637"/>
                    <a:pt x="18881" y="19230"/>
                  </a:cubicBezTo>
                  <a:cubicBezTo>
                    <a:pt x="18881" y="19230"/>
                    <a:pt x="18881" y="19230"/>
                    <a:pt x="18714" y="19176"/>
                  </a:cubicBezTo>
                  <a:cubicBezTo>
                    <a:pt x="18714" y="19176"/>
                    <a:pt x="18714" y="19176"/>
                    <a:pt x="18463" y="18530"/>
                  </a:cubicBezTo>
                  <a:cubicBezTo>
                    <a:pt x="18463" y="18530"/>
                    <a:pt x="18463" y="18530"/>
                    <a:pt x="18170" y="17991"/>
                  </a:cubicBezTo>
                  <a:cubicBezTo>
                    <a:pt x="18170" y="17991"/>
                    <a:pt x="18170" y="17991"/>
                    <a:pt x="18086" y="18314"/>
                  </a:cubicBezTo>
                  <a:cubicBezTo>
                    <a:pt x="18086" y="18314"/>
                    <a:pt x="18086" y="18314"/>
                    <a:pt x="18003" y="18260"/>
                  </a:cubicBezTo>
                  <a:cubicBezTo>
                    <a:pt x="18003" y="18260"/>
                    <a:pt x="18003" y="18260"/>
                    <a:pt x="17877" y="17883"/>
                  </a:cubicBezTo>
                  <a:cubicBezTo>
                    <a:pt x="17877" y="17883"/>
                    <a:pt x="17877" y="17883"/>
                    <a:pt x="17710" y="17722"/>
                  </a:cubicBezTo>
                  <a:cubicBezTo>
                    <a:pt x="17710" y="17722"/>
                    <a:pt x="17710" y="17722"/>
                    <a:pt x="17291" y="17129"/>
                  </a:cubicBezTo>
                  <a:cubicBezTo>
                    <a:pt x="17291" y="17129"/>
                    <a:pt x="17291" y="17129"/>
                    <a:pt x="17291" y="16752"/>
                  </a:cubicBezTo>
                  <a:cubicBezTo>
                    <a:pt x="17291" y="16752"/>
                    <a:pt x="17291" y="16752"/>
                    <a:pt x="17208" y="16968"/>
                  </a:cubicBezTo>
                  <a:cubicBezTo>
                    <a:pt x="17208" y="16968"/>
                    <a:pt x="17208" y="16968"/>
                    <a:pt x="16999" y="16860"/>
                  </a:cubicBezTo>
                  <a:cubicBezTo>
                    <a:pt x="16999" y="16860"/>
                    <a:pt x="16999" y="16860"/>
                    <a:pt x="16538" y="16321"/>
                  </a:cubicBezTo>
                  <a:cubicBezTo>
                    <a:pt x="16538" y="16321"/>
                    <a:pt x="16538" y="16321"/>
                    <a:pt x="16245" y="15890"/>
                  </a:cubicBezTo>
                  <a:cubicBezTo>
                    <a:pt x="16245" y="15890"/>
                    <a:pt x="16245" y="15890"/>
                    <a:pt x="16078" y="15944"/>
                  </a:cubicBezTo>
                  <a:cubicBezTo>
                    <a:pt x="16078" y="15944"/>
                    <a:pt x="16078" y="15944"/>
                    <a:pt x="15702" y="15836"/>
                  </a:cubicBezTo>
                  <a:cubicBezTo>
                    <a:pt x="15702" y="15836"/>
                    <a:pt x="15702" y="15836"/>
                    <a:pt x="15451" y="15513"/>
                  </a:cubicBezTo>
                  <a:cubicBezTo>
                    <a:pt x="15451" y="15513"/>
                    <a:pt x="15451" y="15513"/>
                    <a:pt x="15451" y="15136"/>
                  </a:cubicBezTo>
                  <a:cubicBezTo>
                    <a:pt x="15451" y="15136"/>
                    <a:pt x="15451" y="15136"/>
                    <a:pt x="15325" y="15244"/>
                  </a:cubicBezTo>
                  <a:cubicBezTo>
                    <a:pt x="15325" y="15244"/>
                    <a:pt x="15325" y="15244"/>
                    <a:pt x="14823" y="15244"/>
                  </a:cubicBezTo>
                  <a:cubicBezTo>
                    <a:pt x="14823" y="15244"/>
                    <a:pt x="14823" y="15244"/>
                    <a:pt x="14572" y="15190"/>
                  </a:cubicBezTo>
                  <a:cubicBezTo>
                    <a:pt x="14572" y="15190"/>
                    <a:pt x="14572" y="15190"/>
                    <a:pt x="14279" y="15082"/>
                  </a:cubicBezTo>
                  <a:cubicBezTo>
                    <a:pt x="14279" y="15082"/>
                    <a:pt x="14279" y="15082"/>
                    <a:pt x="13735" y="15028"/>
                  </a:cubicBezTo>
                  <a:cubicBezTo>
                    <a:pt x="13735" y="15028"/>
                    <a:pt x="13735" y="15028"/>
                    <a:pt x="13191" y="15190"/>
                  </a:cubicBezTo>
                  <a:cubicBezTo>
                    <a:pt x="13191" y="15190"/>
                    <a:pt x="13191" y="15190"/>
                    <a:pt x="12815" y="15298"/>
                  </a:cubicBezTo>
                  <a:cubicBezTo>
                    <a:pt x="12815" y="15298"/>
                    <a:pt x="12815" y="15298"/>
                    <a:pt x="12898" y="14867"/>
                  </a:cubicBezTo>
                  <a:cubicBezTo>
                    <a:pt x="12898" y="14867"/>
                    <a:pt x="12898" y="14867"/>
                    <a:pt x="12773" y="14975"/>
                  </a:cubicBezTo>
                  <a:cubicBezTo>
                    <a:pt x="12773" y="14975"/>
                    <a:pt x="12773" y="14975"/>
                    <a:pt x="12564" y="14813"/>
                  </a:cubicBezTo>
                  <a:cubicBezTo>
                    <a:pt x="12564" y="14813"/>
                    <a:pt x="12564" y="14813"/>
                    <a:pt x="12396" y="14705"/>
                  </a:cubicBezTo>
                  <a:cubicBezTo>
                    <a:pt x="12396" y="14705"/>
                    <a:pt x="12396" y="14705"/>
                    <a:pt x="12229" y="14705"/>
                  </a:cubicBezTo>
                  <a:cubicBezTo>
                    <a:pt x="12229" y="14705"/>
                    <a:pt x="12229" y="14705"/>
                    <a:pt x="12103" y="14705"/>
                  </a:cubicBezTo>
                  <a:cubicBezTo>
                    <a:pt x="12103" y="14705"/>
                    <a:pt x="12103" y="14705"/>
                    <a:pt x="11894" y="14867"/>
                  </a:cubicBezTo>
                  <a:cubicBezTo>
                    <a:pt x="11894" y="14867"/>
                    <a:pt x="11894" y="14867"/>
                    <a:pt x="11727" y="14975"/>
                  </a:cubicBezTo>
                  <a:cubicBezTo>
                    <a:pt x="11727" y="14975"/>
                    <a:pt x="11727" y="14975"/>
                    <a:pt x="11559" y="15244"/>
                  </a:cubicBezTo>
                  <a:cubicBezTo>
                    <a:pt x="11559" y="15244"/>
                    <a:pt x="11559" y="15244"/>
                    <a:pt x="11476" y="15352"/>
                  </a:cubicBezTo>
                  <a:cubicBezTo>
                    <a:pt x="11476" y="15352"/>
                    <a:pt x="11476" y="15352"/>
                    <a:pt x="11267" y="15298"/>
                  </a:cubicBezTo>
                  <a:cubicBezTo>
                    <a:pt x="11267" y="15298"/>
                    <a:pt x="11267" y="15298"/>
                    <a:pt x="11476" y="15082"/>
                  </a:cubicBezTo>
                  <a:cubicBezTo>
                    <a:pt x="11476" y="15082"/>
                    <a:pt x="11476" y="15082"/>
                    <a:pt x="11727" y="14759"/>
                  </a:cubicBezTo>
                  <a:cubicBezTo>
                    <a:pt x="11727" y="14759"/>
                    <a:pt x="11727" y="14759"/>
                    <a:pt x="11894" y="14544"/>
                  </a:cubicBezTo>
                  <a:cubicBezTo>
                    <a:pt x="11894" y="14544"/>
                    <a:pt x="11894" y="14544"/>
                    <a:pt x="12020" y="14328"/>
                  </a:cubicBezTo>
                  <a:cubicBezTo>
                    <a:pt x="12020" y="14328"/>
                    <a:pt x="12020" y="14328"/>
                    <a:pt x="11936" y="14328"/>
                  </a:cubicBezTo>
                  <a:cubicBezTo>
                    <a:pt x="11936" y="14328"/>
                    <a:pt x="11936" y="14328"/>
                    <a:pt x="11769" y="14220"/>
                  </a:cubicBezTo>
                  <a:cubicBezTo>
                    <a:pt x="11769" y="14220"/>
                    <a:pt x="11769" y="14220"/>
                    <a:pt x="11769" y="13843"/>
                  </a:cubicBezTo>
                  <a:cubicBezTo>
                    <a:pt x="11769" y="13843"/>
                    <a:pt x="11769" y="13843"/>
                    <a:pt x="11601" y="14005"/>
                  </a:cubicBezTo>
                  <a:cubicBezTo>
                    <a:pt x="11601" y="14005"/>
                    <a:pt x="11601" y="14005"/>
                    <a:pt x="11559" y="14059"/>
                  </a:cubicBezTo>
                  <a:cubicBezTo>
                    <a:pt x="11559" y="14059"/>
                    <a:pt x="11559" y="14059"/>
                    <a:pt x="11267" y="14059"/>
                  </a:cubicBezTo>
                  <a:cubicBezTo>
                    <a:pt x="11267" y="14059"/>
                    <a:pt x="11267" y="14059"/>
                    <a:pt x="11016" y="14005"/>
                  </a:cubicBezTo>
                  <a:cubicBezTo>
                    <a:pt x="11016" y="14005"/>
                    <a:pt x="11016" y="14005"/>
                    <a:pt x="10890" y="14167"/>
                  </a:cubicBezTo>
                  <a:cubicBezTo>
                    <a:pt x="10890" y="14167"/>
                    <a:pt x="10890" y="14167"/>
                    <a:pt x="10806" y="14490"/>
                  </a:cubicBezTo>
                  <a:cubicBezTo>
                    <a:pt x="10806" y="14490"/>
                    <a:pt x="10806" y="14490"/>
                    <a:pt x="10974" y="14759"/>
                  </a:cubicBezTo>
                  <a:cubicBezTo>
                    <a:pt x="10974" y="14759"/>
                    <a:pt x="10974" y="14759"/>
                    <a:pt x="10890" y="15190"/>
                  </a:cubicBezTo>
                  <a:cubicBezTo>
                    <a:pt x="10890" y="15190"/>
                    <a:pt x="10890" y="15190"/>
                    <a:pt x="10681" y="15459"/>
                  </a:cubicBezTo>
                  <a:cubicBezTo>
                    <a:pt x="10681" y="15459"/>
                    <a:pt x="10681" y="15459"/>
                    <a:pt x="10472" y="15459"/>
                  </a:cubicBezTo>
                  <a:cubicBezTo>
                    <a:pt x="10472" y="15459"/>
                    <a:pt x="10472" y="15459"/>
                    <a:pt x="10221" y="15459"/>
                  </a:cubicBezTo>
                  <a:cubicBezTo>
                    <a:pt x="10221" y="15459"/>
                    <a:pt x="10221" y="15459"/>
                    <a:pt x="10137" y="15836"/>
                  </a:cubicBezTo>
                  <a:cubicBezTo>
                    <a:pt x="10137" y="15836"/>
                    <a:pt x="10137" y="15836"/>
                    <a:pt x="9802" y="15998"/>
                  </a:cubicBezTo>
                  <a:cubicBezTo>
                    <a:pt x="9802" y="15998"/>
                    <a:pt x="9802" y="15998"/>
                    <a:pt x="9760" y="16106"/>
                  </a:cubicBezTo>
                  <a:cubicBezTo>
                    <a:pt x="9760" y="16106"/>
                    <a:pt x="9760" y="16106"/>
                    <a:pt x="9468" y="16375"/>
                  </a:cubicBezTo>
                  <a:cubicBezTo>
                    <a:pt x="9468" y="16375"/>
                    <a:pt x="9468" y="16375"/>
                    <a:pt x="9175" y="16483"/>
                  </a:cubicBezTo>
                  <a:cubicBezTo>
                    <a:pt x="9175" y="16483"/>
                    <a:pt x="9175" y="16483"/>
                    <a:pt x="9007" y="16537"/>
                  </a:cubicBezTo>
                  <a:cubicBezTo>
                    <a:pt x="9007" y="16537"/>
                    <a:pt x="9007" y="16537"/>
                    <a:pt x="8924" y="16375"/>
                  </a:cubicBezTo>
                  <a:cubicBezTo>
                    <a:pt x="8924" y="16375"/>
                    <a:pt x="8924" y="16375"/>
                    <a:pt x="8882" y="16267"/>
                  </a:cubicBezTo>
                  <a:cubicBezTo>
                    <a:pt x="8882" y="16267"/>
                    <a:pt x="8882" y="16267"/>
                    <a:pt x="9091" y="16160"/>
                  </a:cubicBezTo>
                  <a:cubicBezTo>
                    <a:pt x="9091" y="16160"/>
                    <a:pt x="9091" y="16160"/>
                    <a:pt x="9258" y="15890"/>
                  </a:cubicBezTo>
                  <a:cubicBezTo>
                    <a:pt x="9258" y="15890"/>
                    <a:pt x="9258" y="15890"/>
                    <a:pt x="9049" y="15890"/>
                  </a:cubicBezTo>
                  <a:cubicBezTo>
                    <a:pt x="9049" y="15890"/>
                    <a:pt x="9049" y="15890"/>
                    <a:pt x="8965" y="15729"/>
                  </a:cubicBezTo>
                  <a:cubicBezTo>
                    <a:pt x="8965" y="15729"/>
                    <a:pt x="8965" y="15729"/>
                    <a:pt x="9175" y="15352"/>
                  </a:cubicBezTo>
                  <a:cubicBezTo>
                    <a:pt x="9175" y="15352"/>
                    <a:pt x="9175" y="15352"/>
                    <a:pt x="9258" y="14975"/>
                  </a:cubicBezTo>
                  <a:cubicBezTo>
                    <a:pt x="9258" y="14975"/>
                    <a:pt x="9258" y="14975"/>
                    <a:pt x="9384" y="14436"/>
                  </a:cubicBezTo>
                  <a:cubicBezTo>
                    <a:pt x="9384" y="14436"/>
                    <a:pt x="9384" y="14436"/>
                    <a:pt x="9593" y="14113"/>
                  </a:cubicBezTo>
                  <a:cubicBezTo>
                    <a:pt x="9593" y="14113"/>
                    <a:pt x="9593" y="14113"/>
                    <a:pt x="10346" y="14220"/>
                  </a:cubicBezTo>
                  <a:cubicBezTo>
                    <a:pt x="10346" y="14220"/>
                    <a:pt x="10346" y="14220"/>
                    <a:pt x="10221" y="14005"/>
                  </a:cubicBezTo>
                  <a:cubicBezTo>
                    <a:pt x="10221" y="14005"/>
                    <a:pt x="10221" y="14005"/>
                    <a:pt x="10011" y="13951"/>
                  </a:cubicBezTo>
                  <a:cubicBezTo>
                    <a:pt x="10011" y="13951"/>
                    <a:pt x="10011" y="13951"/>
                    <a:pt x="9635" y="13736"/>
                  </a:cubicBezTo>
                  <a:cubicBezTo>
                    <a:pt x="9635" y="13736"/>
                    <a:pt x="9635" y="13736"/>
                    <a:pt x="9342" y="13897"/>
                  </a:cubicBezTo>
                  <a:cubicBezTo>
                    <a:pt x="9342" y="13897"/>
                    <a:pt x="9342" y="13897"/>
                    <a:pt x="9091" y="14167"/>
                  </a:cubicBezTo>
                  <a:cubicBezTo>
                    <a:pt x="9091" y="14167"/>
                    <a:pt x="9091" y="14167"/>
                    <a:pt x="8840" y="14436"/>
                  </a:cubicBezTo>
                  <a:cubicBezTo>
                    <a:pt x="8840" y="14436"/>
                    <a:pt x="8840" y="14436"/>
                    <a:pt x="8714" y="14759"/>
                  </a:cubicBezTo>
                  <a:cubicBezTo>
                    <a:pt x="8714" y="14759"/>
                    <a:pt x="8714" y="14759"/>
                    <a:pt x="8673" y="15028"/>
                  </a:cubicBezTo>
                  <a:cubicBezTo>
                    <a:pt x="8673" y="15028"/>
                    <a:pt x="8673" y="15028"/>
                    <a:pt x="8505" y="15028"/>
                  </a:cubicBezTo>
                  <a:cubicBezTo>
                    <a:pt x="8505" y="15028"/>
                    <a:pt x="8505" y="15028"/>
                    <a:pt x="8505" y="15136"/>
                  </a:cubicBezTo>
                  <a:cubicBezTo>
                    <a:pt x="8505" y="15136"/>
                    <a:pt x="8505" y="15136"/>
                    <a:pt x="8589" y="15352"/>
                  </a:cubicBezTo>
                  <a:cubicBezTo>
                    <a:pt x="8589" y="15352"/>
                    <a:pt x="8589" y="15352"/>
                    <a:pt x="8547" y="15513"/>
                  </a:cubicBezTo>
                  <a:cubicBezTo>
                    <a:pt x="8547" y="15513"/>
                    <a:pt x="8547" y="15513"/>
                    <a:pt x="8422" y="15675"/>
                  </a:cubicBezTo>
                  <a:cubicBezTo>
                    <a:pt x="8422" y="15675"/>
                    <a:pt x="8422" y="15675"/>
                    <a:pt x="8129" y="15890"/>
                  </a:cubicBezTo>
                  <a:cubicBezTo>
                    <a:pt x="8129" y="15890"/>
                    <a:pt x="8129" y="15890"/>
                    <a:pt x="7961" y="16052"/>
                  </a:cubicBezTo>
                  <a:cubicBezTo>
                    <a:pt x="7961" y="16052"/>
                    <a:pt x="7961" y="16052"/>
                    <a:pt x="7752" y="16321"/>
                  </a:cubicBezTo>
                  <a:cubicBezTo>
                    <a:pt x="7752" y="16321"/>
                    <a:pt x="7752" y="16321"/>
                    <a:pt x="7710" y="16591"/>
                  </a:cubicBezTo>
                  <a:cubicBezTo>
                    <a:pt x="7710" y="16591"/>
                    <a:pt x="7710" y="16591"/>
                    <a:pt x="8003" y="16698"/>
                  </a:cubicBezTo>
                  <a:cubicBezTo>
                    <a:pt x="8003" y="16698"/>
                    <a:pt x="8003" y="16698"/>
                    <a:pt x="8045" y="17075"/>
                  </a:cubicBezTo>
                  <a:cubicBezTo>
                    <a:pt x="8045" y="17075"/>
                    <a:pt x="8045" y="17075"/>
                    <a:pt x="7920" y="17291"/>
                  </a:cubicBezTo>
                  <a:cubicBezTo>
                    <a:pt x="7920" y="17291"/>
                    <a:pt x="7920" y="17291"/>
                    <a:pt x="7710" y="17452"/>
                  </a:cubicBezTo>
                  <a:cubicBezTo>
                    <a:pt x="7710" y="17452"/>
                    <a:pt x="7710" y="17452"/>
                    <a:pt x="7459" y="17883"/>
                  </a:cubicBezTo>
                  <a:cubicBezTo>
                    <a:pt x="7459" y="17883"/>
                    <a:pt x="7459" y="17883"/>
                    <a:pt x="7083" y="18206"/>
                  </a:cubicBezTo>
                  <a:cubicBezTo>
                    <a:pt x="7083" y="18206"/>
                    <a:pt x="7083" y="18206"/>
                    <a:pt x="6330" y="18691"/>
                  </a:cubicBezTo>
                  <a:cubicBezTo>
                    <a:pt x="6330" y="18691"/>
                    <a:pt x="6330" y="18691"/>
                    <a:pt x="6288" y="19122"/>
                  </a:cubicBezTo>
                  <a:cubicBezTo>
                    <a:pt x="6288" y="19122"/>
                    <a:pt x="6288" y="19122"/>
                    <a:pt x="5995" y="19284"/>
                  </a:cubicBezTo>
                  <a:cubicBezTo>
                    <a:pt x="5995" y="19284"/>
                    <a:pt x="5995" y="19284"/>
                    <a:pt x="5702" y="19499"/>
                  </a:cubicBezTo>
                  <a:cubicBezTo>
                    <a:pt x="5702" y="19499"/>
                    <a:pt x="5702" y="19499"/>
                    <a:pt x="5325" y="19661"/>
                  </a:cubicBezTo>
                  <a:cubicBezTo>
                    <a:pt x="5325" y="19661"/>
                    <a:pt x="5325" y="19661"/>
                    <a:pt x="5200" y="19769"/>
                  </a:cubicBezTo>
                  <a:cubicBezTo>
                    <a:pt x="5200" y="19769"/>
                    <a:pt x="5200" y="19769"/>
                    <a:pt x="5033" y="19930"/>
                  </a:cubicBezTo>
                  <a:cubicBezTo>
                    <a:pt x="5033" y="19930"/>
                    <a:pt x="5033" y="19930"/>
                    <a:pt x="4907" y="20092"/>
                  </a:cubicBezTo>
                  <a:cubicBezTo>
                    <a:pt x="4907" y="20092"/>
                    <a:pt x="4907" y="20092"/>
                    <a:pt x="4823" y="20415"/>
                  </a:cubicBezTo>
                  <a:cubicBezTo>
                    <a:pt x="4823" y="20415"/>
                    <a:pt x="4823" y="20415"/>
                    <a:pt x="4614" y="20469"/>
                  </a:cubicBezTo>
                  <a:cubicBezTo>
                    <a:pt x="4614" y="20469"/>
                    <a:pt x="4614" y="20469"/>
                    <a:pt x="4321" y="20577"/>
                  </a:cubicBezTo>
                  <a:cubicBezTo>
                    <a:pt x="4321" y="20577"/>
                    <a:pt x="4321" y="20577"/>
                    <a:pt x="4112" y="20577"/>
                  </a:cubicBezTo>
                  <a:cubicBezTo>
                    <a:pt x="4112" y="20577"/>
                    <a:pt x="4112" y="20577"/>
                    <a:pt x="3903" y="20684"/>
                  </a:cubicBezTo>
                  <a:cubicBezTo>
                    <a:pt x="3903" y="20684"/>
                    <a:pt x="3903" y="20684"/>
                    <a:pt x="3610" y="20900"/>
                  </a:cubicBezTo>
                  <a:cubicBezTo>
                    <a:pt x="3610" y="20900"/>
                    <a:pt x="3610" y="20900"/>
                    <a:pt x="3694" y="21169"/>
                  </a:cubicBezTo>
                  <a:cubicBezTo>
                    <a:pt x="3694" y="21169"/>
                    <a:pt x="3694" y="21169"/>
                    <a:pt x="3610" y="21223"/>
                  </a:cubicBezTo>
                  <a:cubicBezTo>
                    <a:pt x="3610" y="21223"/>
                    <a:pt x="3610" y="21223"/>
                    <a:pt x="3401" y="21061"/>
                  </a:cubicBezTo>
                  <a:cubicBezTo>
                    <a:pt x="3401" y="21061"/>
                    <a:pt x="3401" y="21061"/>
                    <a:pt x="3192" y="20954"/>
                  </a:cubicBezTo>
                  <a:cubicBezTo>
                    <a:pt x="3192" y="20954"/>
                    <a:pt x="3192" y="20954"/>
                    <a:pt x="3024" y="20630"/>
                  </a:cubicBezTo>
                  <a:cubicBezTo>
                    <a:pt x="3024" y="20630"/>
                    <a:pt x="3024" y="20630"/>
                    <a:pt x="2983" y="20738"/>
                  </a:cubicBezTo>
                  <a:cubicBezTo>
                    <a:pt x="2983" y="20738"/>
                    <a:pt x="2983" y="20738"/>
                    <a:pt x="2983" y="21169"/>
                  </a:cubicBezTo>
                  <a:cubicBezTo>
                    <a:pt x="2983" y="21169"/>
                    <a:pt x="2983" y="21169"/>
                    <a:pt x="2731" y="21169"/>
                  </a:cubicBezTo>
                  <a:cubicBezTo>
                    <a:pt x="2731" y="21169"/>
                    <a:pt x="2731" y="21169"/>
                    <a:pt x="2731" y="21331"/>
                  </a:cubicBezTo>
                  <a:cubicBezTo>
                    <a:pt x="2731" y="21331"/>
                    <a:pt x="2731" y="21331"/>
                    <a:pt x="2480" y="21331"/>
                  </a:cubicBezTo>
                  <a:cubicBezTo>
                    <a:pt x="2480" y="21331"/>
                    <a:pt x="2480" y="21331"/>
                    <a:pt x="2480" y="21277"/>
                  </a:cubicBezTo>
                  <a:cubicBezTo>
                    <a:pt x="2480" y="21223"/>
                    <a:pt x="2355" y="21223"/>
                    <a:pt x="2355" y="21223"/>
                  </a:cubicBezTo>
                  <a:cubicBezTo>
                    <a:pt x="2355" y="21223"/>
                    <a:pt x="2355" y="21223"/>
                    <a:pt x="2188" y="21223"/>
                  </a:cubicBezTo>
                  <a:cubicBezTo>
                    <a:pt x="2188" y="21223"/>
                    <a:pt x="2188" y="21223"/>
                    <a:pt x="1978" y="21277"/>
                  </a:cubicBezTo>
                  <a:cubicBezTo>
                    <a:pt x="1978" y="21277"/>
                    <a:pt x="1978" y="21277"/>
                    <a:pt x="1727" y="21600"/>
                  </a:cubicBezTo>
                  <a:cubicBezTo>
                    <a:pt x="1727" y="21600"/>
                    <a:pt x="1727" y="21600"/>
                    <a:pt x="1267" y="21600"/>
                  </a:cubicBezTo>
                  <a:cubicBezTo>
                    <a:pt x="1267" y="21600"/>
                    <a:pt x="1267" y="21600"/>
                    <a:pt x="849" y="21600"/>
                  </a:cubicBezTo>
                  <a:cubicBezTo>
                    <a:pt x="849" y="21600"/>
                    <a:pt x="849" y="21600"/>
                    <a:pt x="849" y="21385"/>
                  </a:cubicBezTo>
                  <a:cubicBezTo>
                    <a:pt x="849" y="21385"/>
                    <a:pt x="849" y="21385"/>
                    <a:pt x="1142" y="20954"/>
                  </a:cubicBezTo>
                  <a:cubicBezTo>
                    <a:pt x="1142" y="20954"/>
                    <a:pt x="1142" y="20954"/>
                    <a:pt x="1644" y="20954"/>
                  </a:cubicBezTo>
                  <a:cubicBezTo>
                    <a:pt x="1644" y="20954"/>
                    <a:pt x="1644" y="20954"/>
                    <a:pt x="1853" y="20954"/>
                  </a:cubicBezTo>
                  <a:cubicBezTo>
                    <a:pt x="1853" y="20954"/>
                    <a:pt x="1853" y="20954"/>
                    <a:pt x="2062" y="20792"/>
                  </a:cubicBezTo>
                  <a:cubicBezTo>
                    <a:pt x="2062" y="20792"/>
                    <a:pt x="2062" y="20792"/>
                    <a:pt x="2355" y="20684"/>
                  </a:cubicBezTo>
                  <a:cubicBezTo>
                    <a:pt x="2355" y="20684"/>
                    <a:pt x="2355" y="20684"/>
                    <a:pt x="2480" y="20577"/>
                  </a:cubicBezTo>
                  <a:cubicBezTo>
                    <a:pt x="2480" y="20577"/>
                    <a:pt x="2480" y="20577"/>
                    <a:pt x="2606" y="20307"/>
                  </a:cubicBezTo>
                  <a:cubicBezTo>
                    <a:pt x="2606" y="20307"/>
                    <a:pt x="2606" y="20307"/>
                    <a:pt x="2857" y="20146"/>
                  </a:cubicBezTo>
                  <a:cubicBezTo>
                    <a:pt x="2857" y="20146"/>
                    <a:pt x="2857" y="20146"/>
                    <a:pt x="3234" y="20092"/>
                  </a:cubicBezTo>
                  <a:cubicBezTo>
                    <a:pt x="3234" y="20092"/>
                    <a:pt x="3234" y="20092"/>
                    <a:pt x="3443" y="20092"/>
                  </a:cubicBezTo>
                  <a:cubicBezTo>
                    <a:pt x="3443" y="20092"/>
                    <a:pt x="3443" y="20092"/>
                    <a:pt x="3610" y="20307"/>
                  </a:cubicBezTo>
                  <a:cubicBezTo>
                    <a:pt x="3610" y="20307"/>
                    <a:pt x="3610" y="20307"/>
                    <a:pt x="3777" y="20146"/>
                  </a:cubicBezTo>
                  <a:cubicBezTo>
                    <a:pt x="3777" y="20146"/>
                    <a:pt x="3777" y="20146"/>
                    <a:pt x="3945" y="19822"/>
                  </a:cubicBezTo>
                  <a:cubicBezTo>
                    <a:pt x="3945" y="19822"/>
                    <a:pt x="3945" y="19822"/>
                    <a:pt x="4154" y="19553"/>
                  </a:cubicBezTo>
                  <a:cubicBezTo>
                    <a:pt x="4154" y="19553"/>
                    <a:pt x="4154" y="19553"/>
                    <a:pt x="4363" y="19392"/>
                  </a:cubicBezTo>
                  <a:cubicBezTo>
                    <a:pt x="4363" y="19392"/>
                    <a:pt x="4363" y="19392"/>
                    <a:pt x="4782" y="19284"/>
                  </a:cubicBezTo>
                  <a:cubicBezTo>
                    <a:pt x="4782" y="19284"/>
                    <a:pt x="4782" y="19284"/>
                    <a:pt x="4949" y="19068"/>
                  </a:cubicBezTo>
                  <a:cubicBezTo>
                    <a:pt x="4949" y="19068"/>
                    <a:pt x="4949" y="19068"/>
                    <a:pt x="5158" y="18799"/>
                  </a:cubicBezTo>
                  <a:cubicBezTo>
                    <a:pt x="5158" y="18799"/>
                    <a:pt x="5158" y="18799"/>
                    <a:pt x="5409" y="18530"/>
                  </a:cubicBezTo>
                  <a:cubicBezTo>
                    <a:pt x="5409" y="18530"/>
                    <a:pt x="5409" y="18530"/>
                    <a:pt x="5618" y="18368"/>
                  </a:cubicBezTo>
                  <a:cubicBezTo>
                    <a:pt x="5618" y="18368"/>
                    <a:pt x="5618" y="18368"/>
                    <a:pt x="5702" y="18045"/>
                  </a:cubicBezTo>
                  <a:cubicBezTo>
                    <a:pt x="5702" y="18045"/>
                    <a:pt x="5702" y="18045"/>
                    <a:pt x="5744" y="17560"/>
                  </a:cubicBezTo>
                  <a:cubicBezTo>
                    <a:pt x="5744" y="17560"/>
                    <a:pt x="5744" y="17560"/>
                    <a:pt x="5828" y="17237"/>
                  </a:cubicBezTo>
                  <a:cubicBezTo>
                    <a:pt x="5828" y="17237"/>
                    <a:pt x="5828" y="17237"/>
                    <a:pt x="5869" y="17129"/>
                  </a:cubicBezTo>
                  <a:cubicBezTo>
                    <a:pt x="5869" y="17129"/>
                    <a:pt x="5869" y="17129"/>
                    <a:pt x="6079" y="16752"/>
                  </a:cubicBezTo>
                  <a:cubicBezTo>
                    <a:pt x="6079" y="16752"/>
                    <a:pt x="6079" y="16752"/>
                    <a:pt x="5953" y="16752"/>
                  </a:cubicBezTo>
                  <a:cubicBezTo>
                    <a:pt x="5953" y="16752"/>
                    <a:pt x="5953" y="16752"/>
                    <a:pt x="5744" y="16806"/>
                  </a:cubicBezTo>
                  <a:cubicBezTo>
                    <a:pt x="5744" y="16806"/>
                    <a:pt x="5744" y="16806"/>
                    <a:pt x="5618" y="16806"/>
                  </a:cubicBezTo>
                  <a:cubicBezTo>
                    <a:pt x="5618" y="16806"/>
                    <a:pt x="5618" y="16806"/>
                    <a:pt x="5409" y="16752"/>
                  </a:cubicBezTo>
                  <a:cubicBezTo>
                    <a:pt x="5409" y="16752"/>
                    <a:pt x="5409" y="16752"/>
                    <a:pt x="5325" y="16644"/>
                  </a:cubicBezTo>
                  <a:cubicBezTo>
                    <a:pt x="5325" y="16644"/>
                    <a:pt x="5325" y="16644"/>
                    <a:pt x="5535" y="16375"/>
                  </a:cubicBezTo>
                  <a:cubicBezTo>
                    <a:pt x="5535" y="16375"/>
                    <a:pt x="5535" y="16375"/>
                    <a:pt x="5325" y="16429"/>
                  </a:cubicBezTo>
                  <a:cubicBezTo>
                    <a:pt x="5325" y="16429"/>
                    <a:pt x="5325" y="16429"/>
                    <a:pt x="5200" y="16591"/>
                  </a:cubicBezTo>
                  <a:cubicBezTo>
                    <a:pt x="5200" y="16591"/>
                    <a:pt x="5200" y="16591"/>
                    <a:pt x="5116" y="16968"/>
                  </a:cubicBezTo>
                  <a:cubicBezTo>
                    <a:pt x="5116" y="16968"/>
                    <a:pt x="5116" y="16968"/>
                    <a:pt x="4991" y="17129"/>
                  </a:cubicBezTo>
                  <a:cubicBezTo>
                    <a:pt x="4991" y="17129"/>
                    <a:pt x="4991" y="17129"/>
                    <a:pt x="4949" y="16968"/>
                  </a:cubicBezTo>
                  <a:cubicBezTo>
                    <a:pt x="4949" y="16968"/>
                    <a:pt x="4949" y="16968"/>
                    <a:pt x="4823" y="16752"/>
                  </a:cubicBezTo>
                  <a:cubicBezTo>
                    <a:pt x="4823" y="16752"/>
                    <a:pt x="4823" y="16752"/>
                    <a:pt x="4614" y="16483"/>
                  </a:cubicBezTo>
                  <a:cubicBezTo>
                    <a:pt x="4614" y="16483"/>
                    <a:pt x="4614" y="16483"/>
                    <a:pt x="4280" y="16213"/>
                  </a:cubicBezTo>
                  <a:cubicBezTo>
                    <a:pt x="4280" y="16213"/>
                    <a:pt x="4280" y="16213"/>
                    <a:pt x="4196" y="16213"/>
                  </a:cubicBezTo>
                  <a:cubicBezTo>
                    <a:pt x="4196" y="16213"/>
                    <a:pt x="4196" y="16213"/>
                    <a:pt x="3903" y="16483"/>
                  </a:cubicBezTo>
                  <a:cubicBezTo>
                    <a:pt x="3903" y="16483"/>
                    <a:pt x="3903" y="16483"/>
                    <a:pt x="3736" y="16483"/>
                  </a:cubicBezTo>
                  <a:cubicBezTo>
                    <a:pt x="3736" y="16483"/>
                    <a:pt x="3736" y="16483"/>
                    <a:pt x="3485" y="16483"/>
                  </a:cubicBezTo>
                  <a:cubicBezTo>
                    <a:pt x="3485" y="16483"/>
                    <a:pt x="3485" y="16483"/>
                    <a:pt x="3526" y="15783"/>
                  </a:cubicBezTo>
                  <a:cubicBezTo>
                    <a:pt x="3526" y="15783"/>
                    <a:pt x="3526" y="15783"/>
                    <a:pt x="3568" y="15567"/>
                  </a:cubicBezTo>
                  <a:cubicBezTo>
                    <a:pt x="3568" y="15567"/>
                    <a:pt x="3568" y="15567"/>
                    <a:pt x="3694" y="15352"/>
                  </a:cubicBezTo>
                  <a:cubicBezTo>
                    <a:pt x="3694" y="15352"/>
                    <a:pt x="3694" y="15352"/>
                    <a:pt x="3694" y="15082"/>
                  </a:cubicBezTo>
                  <a:cubicBezTo>
                    <a:pt x="3694" y="15082"/>
                    <a:pt x="3694" y="15082"/>
                    <a:pt x="3652" y="14651"/>
                  </a:cubicBezTo>
                  <a:cubicBezTo>
                    <a:pt x="3652" y="14651"/>
                    <a:pt x="3652" y="14651"/>
                    <a:pt x="3568" y="14220"/>
                  </a:cubicBezTo>
                  <a:cubicBezTo>
                    <a:pt x="3568" y="14220"/>
                    <a:pt x="3568" y="14220"/>
                    <a:pt x="3485" y="14328"/>
                  </a:cubicBezTo>
                  <a:cubicBezTo>
                    <a:pt x="3485" y="14328"/>
                    <a:pt x="3485" y="14328"/>
                    <a:pt x="3317" y="14544"/>
                  </a:cubicBezTo>
                  <a:cubicBezTo>
                    <a:pt x="3317" y="14544"/>
                    <a:pt x="3317" y="14544"/>
                    <a:pt x="3192" y="14651"/>
                  </a:cubicBezTo>
                  <a:cubicBezTo>
                    <a:pt x="3192" y="14651"/>
                    <a:pt x="3192" y="14651"/>
                    <a:pt x="3066" y="14651"/>
                  </a:cubicBezTo>
                  <a:cubicBezTo>
                    <a:pt x="3066" y="14651"/>
                    <a:pt x="3066" y="14651"/>
                    <a:pt x="2941" y="14490"/>
                  </a:cubicBezTo>
                  <a:cubicBezTo>
                    <a:pt x="2941" y="14490"/>
                    <a:pt x="2941" y="14490"/>
                    <a:pt x="2857" y="14490"/>
                  </a:cubicBezTo>
                  <a:cubicBezTo>
                    <a:pt x="2857" y="14490"/>
                    <a:pt x="2857" y="14490"/>
                    <a:pt x="2690" y="14382"/>
                  </a:cubicBezTo>
                  <a:cubicBezTo>
                    <a:pt x="2690" y="14382"/>
                    <a:pt x="2690" y="14382"/>
                    <a:pt x="2564" y="14220"/>
                  </a:cubicBezTo>
                  <a:cubicBezTo>
                    <a:pt x="2564" y="14220"/>
                    <a:pt x="2564" y="14220"/>
                    <a:pt x="2439" y="14113"/>
                  </a:cubicBezTo>
                  <a:cubicBezTo>
                    <a:pt x="2439" y="14113"/>
                    <a:pt x="2439" y="14113"/>
                    <a:pt x="2313" y="13951"/>
                  </a:cubicBezTo>
                  <a:cubicBezTo>
                    <a:pt x="2313" y="13951"/>
                    <a:pt x="2313" y="13951"/>
                    <a:pt x="2271" y="13790"/>
                  </a:cubicBezTo>
                  <a:cubicBezTo>
                    <a:pt x="2271" y="13790"/>
                    <a:pt x="2271" y="13790"/>
                    <a:pt x="2229" y="13412"/>
                  </a:cubicBezTo>
                  <a:cubicBezTo>
                    <a:pt x="2229" y="13412"/>
                    <a:pt x="2229" y="13412"/>
                    <a:pt x="2397" y="13251"/>
                  </a:cubicBezTo>
                  <a:cubicBezTo>
                    <a:pt x="2397" y="13251"/>
                    <a:pt x="2397" y="13251"/>
                    <a:pt x="2564" y="13251"/>
                  </a:cubicBezTo>
                  <a:cubicBezTo>
                    <a:pt x="2564" y="13251"/>
                    <a:pt x="2564" y="13251"/>
                    <a:pt x="2773" y="13251"/>
                  </a:cubicBezTo>
                  <a:cubicBezTo>
                    <a:pt x="2773" y="13251"/>
                    <a:pt x="2773" y="13251"/>
                    <a:pt x="2983" y="13412"/>
                  </a:cubicBezTo>
                  <a:cubicBezTo>
                    <a:pt x="2983" y="13412"/>
                    <a:pt x="2983" y="13412"/>
                    <a:pt x="3066" y="13143"/>
                  </a:cubicBezTo>
                  <a:cubicBezTo>
                    <a:pt x="3066" y="13143"/>
                    <a:pt x="3066" y="13143"/>
                    <a:pt x="2941" y="12982"/>
                  </a:cubicBezTo>
                  <a:cubicBezTo>
                    <a:pt x="2941" y="12982"/>
                    <a:pt x="2941" y="12982"/>
                    <a:pt x="2899" y="12982"/>
                  </a:cubicBezTo>
                  <a:cubicBezTo>
                    <a:pt x="2899" y="12982"/>
                    <a:pt x="2899" y="12982"/>
                    <a:pt x="2690" y="12982"/>
                  </a:cubicBezTo>
                  <a:cubicBezTo>
                    <a:pt x="2690" y="12982"/>
                    <a:pt x="2690" y="12982"/>
                    <a:pt x="2564" y="12982"/>
                  </a:cubicBezTo>
                  <a:cubicBezTo>
                    <a:pt x="2564" y="12982"/>
                    <a:pt x="2564" y="12982"/>
                    <a:pt x="2313" y="12766"/>
                  </a:cubicBezTo>
                  <a:cubicBezTo>
                    <a:pt x="2313" y="12766"/>
                    <a:pt x="2313" y="12766"/>
                    <a:pt x="2229" y="12551"/>
                  </a:cubicBezTo>
                  <a:cubicBezTo>
                    <a:pt x="2229" y="12551"/>
                    <a:pt x="2229" y="12551"/>
                    <a:pt x="2146" y="12281"/>
                  </a:cubicBezTo>
                  <a:cubicBezTo>
                    <a:pt x="2146" y="12281"/>
                    <a:pt x="2146" y="12281"/>
                    <a:pt x="2062" y="12012"/>
                  </a:cubicBezTo>
                  <a:cubicBezTo>
                    <a:pt x="2062" y="12012"/>
                    <a:pt x="2062" y="12012"/>
                    <a:pt x="2062" y="11904"/>
                  </a:cubicBezTo>
                  <a:cubicBezTo>
                    <a:pt x="2062" y="11904"/>
                    <a:pt x="2062" y="11904"/>
                    <a:pt x="2146" y="11797"/>
                  </a:cubicBezTo>
                  <a:cubicBezTo>
                    <a:pt x="2146" y="11797"/>
                    <a:pt x="2146" y="11797"/>
                    <a:pt x="2271" y="11527"/>
                  </a:cubicBezTo>
                  <a:cubicBezTo>
                    <a:pt x="2271" y="11527"/>
                    <a:pt x="2271" y="11527"/>
                    <a:pt x="2480" y="11204"/>
                  </a:cubicBezTo>
                  <a:cubicBezTo>
                    <a:pt x="2480" y="11204"/>
                    <a:pt x="2480" y="11204"/>
                    <a:pt x="2731" y="10989"/>
                  </a:cubicBezTo>
                  <a:cubicBezTo>
                    <a:pt x="2731" y="10989"/>
                    <a:pt x="2731" y="10989"/>
                    <a:pt x="2899" y="10719"/>
                  </a:cubicBezTo>
                  <a:cubicBezTo>
                    <a:pt x="2899" y="10719"/>
                    <a:pt x="2899" y="10719"/>
                    <a:pt x="2941" y="10450"/>
                  </a:cubicBezTo>
                  <a:cubicBezTo>
                    <a:pt x="2941" y="10450"/>
                    <a:pt x="2941" y="10450"/>
                    <a:pt x="3150" y="10181"/>
                  </a:cubicBezTo>
                  <a:cubicBezTo>
                    <a:pt x="3150" y="10181"/>
                    <a:pt x="3150" y="10181"/>
                    <a:pt x="3317" y="10127"/>
                  </a:cubicBezTo>
                  <a:cubicBezTo>
                    <a:pt x="3317" y="10127"/>
                    <a:pt x="3317" y="10127"/>
                    <a:pt x="3443" y="10234"/>
                  </a:cubicBezTo>
                  <a:cubicBezTo>
                    <a:pt x="3443" y="10234"/>
                    <a:pt x="3443" y="10234"/>
                    <a:pt x="3568" y="10450"/>
                  </a:cubicBezTo>
                  <a:cubicBezTo>
                    <a:pt x="3568" y="10450"/>
                    <a:pt x="3568" y="10450"/>
                    <a:pt x="3652" y="10450"/>
                  </a:cubicBezTo>
                  <a:cubicBezTo>
                    <a:pt x="3652" y="10450"/>
                    <a:pt x="3652" y="10450"/>
                    <a:pt x="3819" y="10450"/>
                  </a:cubicBezTo>
                  <a:cubicBezTo>
                    <a:pt x="3819" y="10450"/>
                    <a:pt x="3819" y="10450"/>
                    <a:pt x="3903" y="10450"/>
                  </a:cubicBezTo>
                  <a:cubicBezTo>
                    <a:pt x="3903" y="10450"/>
                    <a:pt x="3903" y="10450"/>
                    <a:pt x="4028" y="10234"/>
                  </a:cubicBezTo>
                  <a:cubicBezTo>
                    <a:pt x="4028" y="10234"/>
                    <a:pt x="4028" y="10234"/>
                    <a:pt x="4154" y="10234"/>
                  </a:cubicBezTo>
                  <a:cubicBezTo>
                    <a:pt x="4154" y="10234"/>
                    <a:pt x="4154" y="10234"/>
                    <a:pt x="4196" y="10127"/>
                  </a:cubicBezTo>
                  <a:cubicBezTo>
                    <a:pt x="4196" y="10127"/>
                    <a:pt x="4196" y="10127"/>
                    <a:pt x="4280" y="9965"/>
                  </a:cubicBezTo>
                  <a:cubicBezTo>
                    <a:pt x="4280" y="9965"/>
                    <a:pt x="4280" y="9965"/>
                    <a:pt x="4321" y="10127"/>
                  </a:cubicBezTo>
                  <a:cubicBezTo>
                    <a:pt x="4321" y="10127"/>
                    <a:pt x="4321" y="10127"/>
                    <a:pt x="4447" y="10127"/>
                  </a:cubicBezTo>
                  <a:cubicBezTo>
                    <a:pt x="4447" y="10127"/>
                    <a:pt x="4447" y="10127"/>
                    <a:pt x="4531" y="10127"/>
                  </a:cubicBezTo>
                  <a:cubicBezTo>
                    <a:pt x="4531" y="10127"/>
                    <a:pt x="4531" y="10127"/>
                    <a:pt x="4698" y="10127"/>
                  </a:cubicBezTo>
                  <a:cubicBezTo>
                    <a:pt x="4698" y="10127"/>
                    <a:pt x="4698" y="10127"/>
                    <a:pt x="4823" y="9965"/>
                  </a:cubicBezTo>
                  <a:cubicBezTo>
                    <a:pt x="4823" y="9965"/>
                    <a:pt x="4823" y="9965"/>
                    <a:pt x="4949" y="9965"/>
                  </a:cubicBezTo>
                  <a:cubicBezTo>
                    <a:pt x="4949" y="9965"/>
                    <a:pt x="4949" y="9965"/>
                    <a:pt x="4991" y="9588"/>
                  </a:cubicBezTo>
                  <a:cubicBezTo>
                    <a:pt x="4991" y="9588"/>
                    <a:pt x="4991" y="9588"/>
                    <a:pt x="4907" y="9319"/>
                  </a:cubicBezTo>
                  <a:cubicBezTo>
                    <a:pt x="4907" y="9319"/>
                    <a:pt x="4907" y="9319"/>
                    <a:pt x="4823" y="8888"/>
                  </a:cubicBezTo>
                  <a:cubicBezTo>
                    <a:pt x="4823" y="8888"/>
                    <a:pt x="4823" y="8888"/>
                    <a:pt x="4991" y="8888"/>
                  </a:cubicBezTo>
                  <a:cubicBezTo>
                    <a:pt x="4991" y="8888"/>
                    <a:pt x="4991" y="8888"/>
                    <a:pt x="5158" y="8672"/>
                  </a:cubicBezTo>
                  <a:cubicBezTo>
                    <a:pt x="5158" y="8672"/>
                    <a:pt x="5158" y="8672"/>
                    <a:pt x="5116" y="8349"/>
                  </a:cubicBezTo>
                  <a:cubicBezTo>
                    <a:pt x="5116" y="8349"/>
                    <a:pt x="5116" y="8349"/>
                    <a:pt x="4865" y="8295"/>
                  </a:cubicBezTo>
                  <a:cubicBezTo>
                    <a:pt x="4865" y="8295"/>
                    <a:pt x="4865" y="8295"/>
                    <a:pt x="4740" y="8295"/>
                  </a:cubicBezTo>
                  <a:cubicBezTo>
                    <a:pt x="4740" y="8295"/>
                    <a:pt x="4740" y="8295"/>
                    <a:pt x="4614" y="8349"/>
                  </a:cubicBezTo>
                  <a:cubicBezTo>
                    <a:pt x="4614" y="8349"/>
                    <a:pt x="4614" y="8349"/>
                    <a:pt x="4489" y="8457"/>
                  </a:cubicBezTo>
                  <a:cubicBezTo>
                    <a:pt x="4489" y="8457"/>
                    <a:pt x="4489" y="8457"/>
                    <a:pt x="4405" y="8672"/>
                  </a:cubicBezTo>
                  <a:cubicBezTo>
                    <a:pt x="4405" y="8672"/>
                    <a:pt x="4405" y="8672"/>
                    <a:pt x="4280" y="8672"/>
                  </a:cubicBezTo>
                  <a:cubicBezTo>
                    <a:pt x="4280" y="8672"/>
                    <a:pt x="4280" y="8672"/>
                    <a:pt x="4154" y="8349"/>
                  </a:cubicBezTo>
                  <a:cubicBezTo>
                    <a:pt x="4154" y="8349"/>
                    <a:pt x="4154" y="8349"/>
                    <a:pt x="3819" y="8349"/>
                  </a:cubicBezTo>
                  <a:cubicBezTo>
                    <a:pt x="3819" y="8349"/>
                    <a:pt x="3819" y="8349"/>
                    <a:pt x="3443" y="8349"/>
                  </a:cubicBezTo>
                  <a:cubicBezTo>
                    <a:pt x="3443" y="8349"/>
                    <a:pt x="3443" y="8349"/>
                    <a:pt x="3150" y="8241"/>
                  </a:cubicBezTo>
                  <a:cubicBezTo>
                    <a:pt x="3150" y="8241"/>
                    <a:pt x="3150" y="8241"/>
                    <a:pt x="2857" y="8080"/>
                  </a:cubicBezTo>
                  <a:cubicBezTo>
                    <a:pt x="2857" y="8080"/>
                    <a:pt x="2857" y="8080"/>
                    <a:pt x="2690" y="7810"/>
                  </a:cubicBezTo>
                  <a:cubicBezTo>
                    <a:pt x="2690" y="7810"/>
                    <a:pt x="2690" y="7810"/>
                    <a:pt x="2648" y="7272"/>
                  </a:cubicBezTo>
                  <a:cubicBezTo>
                    <a:pt x="2648" y="7272"/>
                    <a:pt x="2648" y="7272"/>
                    <a:pt x="2857" y="7164"/>
                  </a:cubicBezTo>
                  <a:cubicBezTo>
                    <a:pt x="2857" y="7164"/>
                    <a:pt x="2857" y="7164"/>
                    <a:pt x="2983" y="7056"/>
                  </a:cubicBezTo>
                  <a:cubicBezTo>
                    <a:pt x="2983" y="7056"/>
                    <a:pt x="2983" y="7056"/>
                    <a:pt x="2690" y="6895"/>
                  </a:cubicBezTo>
                  <a:cubicBezTo>
                    <a:pt x="2690" y="6895"/>
                    <a:pt x="2690" y="6895"/>
                    <a:pt x="2522" y="6733"/>
                  </a:cubicBezTo>
                  <a:cubicBezTo>
                    <a:pt x="2522" y="6733"/>
                    <a:pt x="2522" y="6733"/>
                    <a:pt x="2313" y="6518"/>
                  </a:cubicBezTo>
                  <a:cubicBezTo>
                    <a:pt x="2313" y="6518"/>
                    <a:pt x="2313" y="6518"/>
                    <a:pt x="2271" y="6410"/>
                  </a:cubicBezTo>
                  <a:cubicBezTo>
                    <a:pt x="2271" y="6410"/>
                    <a:pt x="2271" y="6410"/>
                    <a:pt x="2439" y="6248"/>
                  </a:cubicBezTo>
                  <a:cubicBezTo>
                    <a:pt x="2439" y="6248"/>
                    <a:pt x="2439" y="6248"/>
                    <a:pt x="2564" y="6248"/>
                  </a:cubicBezTo>
                  <a:cubicBezTo>
                    <a:pt x="2564" y="6248"/>
                    <a:pt x="2564" y="6248"/>
                    <a:pt x="2815" y="6194"/>
                  </a:cubicBezTo>
                  <a:cubicBezTo>
                    <a:pt x="2815" y="6194"/>
                    <a:pt x="2815" y="6194"/>
                    <a:pt x="3150" y="5925"/>
                  </a:cubicBezTo>
                  <a:cubicBezTo>
                    <a:pt x="3150" y="5925"/>
                    <a:pt x="3150" y="5925"/>
                    <a:pt x="3192" y="6033"/>
                  </a:cubicBezTo>
                  <a:cubicBezTo>
                    <a:pt x="3192" y="6033"/>
                    <a:pt x="3192" y="6033"/>
                    <a:pt x="3401" y="5925"/>
                  </a:cubicBezTo>
                  <a:cubicBezTo>
                    <a:pt x="3401" y="5925"/>
                    <a:pt x="3401" y="5925"/>
                    <a:pt x="3401" y="5871"/>
                  </a:cubicBezTo>
                  <a:cubicBezTo>
                    <a:pt x="3401" y="5871"/>
                    <a:pt x="3401" y="5871"/>
                    <a:pt x="3526" y="5817"/>
                  </a:cubicBezTo>
                  <a:cubicBezTo>
                    <a:pt x="3526" y="5817"/>
                    <a:pt x="3526" y="5817"/>
                    <a:pt x="3777" y="5764"/>
                  </a:cubicBezTo>
                  <a:cubicBezTo>
                    <a:pt x="3777" y="5764"/>
                    <a:pt x="3777" y="5764"/>
                    <a:pt x="4070" y="5764"/>
                  </a:cubicBezTo>
                  <a:cubicBezTo>
                    <a:pt x="4070" y="5764"/>
                    <a:pt x="4070" y="5764"/>
                    <a:pt x="4196" y="5871"/>
                  </a:cubicBezTo>
                  <a:cubicBezTo>
                    <a:pt x="4196" y="5871"/>
                    <a:pt x="4196" y="5871"/>
                    <a:pt x="4112" y="6141"/>
                  </a:cubicBezTo>
                  <a:cubicBezTo>
                    <a:pt x="4112" y="6141"/>
                    <a:pt x="4112" y="6141"/>
                    <a:pt x="4112" y="6248"/>
                  </a:cubicBezTo>
                  <a:cubicBezTo>
                    <a:pt x="4112" y="6248"/>
                    <a:pt x="4112" y="6248"/>
                    <a:pt x="4238" y="6356"/>
                  </a:cubicBezTo>
                  <a:cubicBezTo>
                    <a:pt x="4238" y="6356"/>
                    <a:pt x="4238" y="6356"/>
                    <a:pt x="4363" y="6518"/>
                  </a:cubicBezTo>
                  <a:cubicBezTo>
                    <a:pt x="4363" y="6518"/>
                    <a:pt x="4363" y="6518"/>
                    <a:pt x="4614" y="6518"/>
                  </a:cubicBezTo>
                  <a:cubicBezTo>
                    <a:pt x="4614" y="6518"/>
                    <a:pt x="4614" y="6518"/>
                    <a:pt x="4949" y="6625"/>
                  </a:cubicBezTo>
                  <a:cubicBezTo>
                    <a:pt x="4949" y="6625"/>
                    <a:pt x="4949" y="6625"/>
                    <a:pt x="5200" y="6464"/>
                  </a:cubicBezTo>
                  <a:cubicBezTo>
                    <a:pt x="5200" y="6464"/>
                    <a:pt x="5200" y="6464"/>
                    <a:pt x="5367" y="6248"/>
                  </a:cubicBezTo>
                  <a:cubicBezTo>
                    <a:pt x="5367" y="6248"/>
                    <a:pt x="5367" y="6248"/>
                    <a:pt x="5577" y="6087"/>
                  </a:cubicBezTo>
                  <a:cubicBezTo>
                    <a:pt x="5577" y="6087"/>
                    <a:pt x="5409" y="5979"/>
                    <a:pt x="5367" y="5979"/>
                  </a:cubicBezTo>
                  <a:cubicBezTo>
                    <a:pt x="5284" y="5979"/>
                    <a:pt x="5200" y="5871"/>
                    <a:pt x="5200" y="5871"/>
                  </a:cubicBezTo>
                  <a:cubicBezTo>
                    <a:pt x="5200" y="5871"/>
                    <a:pt x="5200" y="5871"/>
                    <a:pt x="5074" y="5764"/>
                  </a:cubicBezTo>
                  <a:cubicBezTo>
                    <a:pt x="5074" y="5764"/>
                    <a:pt x="5074" y="5764"/>
                    <a:pt x="5074" y="5548"/>
                  </a:cubicBezTo>
                  <a:cubicBezTo>
                    <a:pt x="5074" y="5548"/>
                    <a:pt x="5074" y="5548"/>
                    <a:pt x="5033" y="5279"/>
                  </a:cubicBezTo>
                  <a:cubicBezTo>
                    <a:pt x="5033" y="5279"/>
                    <a:pt x="5033" y="5279"/>
                    <a:pt x="4405" y="5063"/>
                  </a:cubicBezTo>
                  <a:cubicBezTo>
                    <a:pt x="4405" y="5063"/>
                    <a:pt x="4405" y="5063"/>
                    <a:pt x="4405" y="4255"/>
                  </a:cubicBezTo>
                  <a:cubicBezTo>
                    <a:pt x="4405" y="4255"/>
                    <a:pt x="4405" y="4255"/>
                    <a:pt x="4112" y="3878"/>
                  </a:cubicBezTo>
                  <a:cubicBezTo>
                    <a:pt x="4112" y="3878"/>
                    <a:pt x="4112" y="3878"/>
                    <a:pt x="3526" y="3070"/>
                  </a:cubicBezTo>
                  <a:cubicBezTo>
                    <a:pt x="3526" y="3070"/>
                    <a:pt x="3526" y="3070"/>
                    <a:pt x="3610" y="3070"/>
                  </a:cubicBezTo>
                  <a:cubicBezTo>
                    <a:pt x="3610" y="3070"/>
                    <a:pt x="3610" y="3070"/>
                    <a:pt x="3610" y="2909"/>
                  </a:cubicBezTo>
                  <a:cubicBezTo>
                    <a:pt x="3610" y="2909"/>
                    <a:pt x="3610" y="2909"/>
                    <a:pt x="3819" y="2909"/>
                  </a:cubicBezTo>
                  <a:cubicBezTo>
                    <a:pt x="3819" y="2909"/>
                    <a:pt x="3819" y="2909"/>
                    <a:pt x="3819" y="2693"/>
                  </a:cubicBezTo>
                  <a:cubicBezTo>
                    <a:pt x="3819" y="2693"/>
                    <a:pt x="3819" y="2693"/>
                    <a:pt x="3861" y="2424"/>
                  </a:cubicBezTo>
                  <a:cubicBezTo>
                    <a:pt x="3861" y="2424"/>
                    <a:pt x="3861" y="2424"/>
                    <a:pt x="3987" y="2424"/>
                  </a:cubicBezTo>
                  <a:cubicBezTo>
                    <a:pt x="3987" y="2424"/>
                    <a:pt x="3987" y="2424"/>
                    <a:pt x="4112" y="2532"/>
                  </a:cubicBezTo>
                  <a:cubicBezTo>
                    <a:pt x="4112" y="2532"/>
                    <a:pt x="4112" y="2532"/>
                    <a:pt x="4321" y="2532"/>
                  </a:cubicBezTo>
                  <a:cubicBezTo>
                    <a:pt x="4321" y="2532"/>
                    <a:pt x="4321" y="2532"/>
                    <a:pt x="4405" y="2532"/>
                  </a:cubicBezTo>
                  <a:cubicBezTo>
                    <a:pt x="4405" y="2532"/>
                    <a:pt x="4405" y="2532"/>
                    <a:pt x="4614" y="2532"/>
                  </a:cubicBezTo>
                  <a:cubicBezTo>
                    <a:pt x="4614" y="2532"/>
                    <a:pt x="4614" y="2532"/>
                    <a:pt x="4991" y="2370"/>
                  </a:cubicBezTo>
                  <a:cubicBezTo>
                    <a:pt x="4991" y="2370"/>
                    <a:pt x="4991" y="2370"/>
                    <a:pt x="5116" y="2208"/>
                  </a:cubicBezTo>
                  <a:cubicBezTo>
                    <a:pt x="5116" y="2208"/>
                    <a:pt x="5116" y="2208"/>
                    <a:pt x="5242" y="1939"/>
                  </a:cubicBezTo>
                  <a:cubicBezTo>
                    <a:pt x="5242" y="1939"/>
                    <a:pt x="5242" y="1939"/>
                    <a:pt x="5242" y="1508"/>
                  </a:cubicBezTo>
                  <a:cubicBezTo>
                    <a:pt x="5242" y="1508"/>
                    <a:pt x="5242" y="1508"/>
                    <a:pt x="5367" y="1508"/>
                  </a:cubicBezTo>
                  <a:cubicBezTo>
                    <a:pt x="5367" y="1508"/>
                    <a:pt x="5367" y="1508"/>
                    <a:pt x="5493" y="1347"/>
                  </a:cubicBezTo>
                  <a:cubicBezTo>
                    <a:pt x="5493" y="1347"/>
                    <a:pt x="5493" y="1347"/>
                    <a:pt x="5744" y="1077"/>
                  </a:cubicBezTo>
                  <a:cubicBezTo>
                    <a:pt x="5744" y="1077"/>
                    <a:pt x="5744" y="1077"/>
                    <a:pt x="6204" y="970"/>
                  </a:cubicBezTo>
                  <a:cubicBezTo>
                    <a:pt x="6204" y="970"/>
                    <a:pt x="6204" y="970"/>
                    <a:pt x="6371" y="700"/>
                  </a:cubicBezTo>
                  <a:cubicBezTo>
                    <a:pt x="6371" y="700"/>
                    <a:pt x="6371" y="700"/>
                    <a:pt x="6539" y="593"/>
                  </a:cubicBezTo>
                  <a:cubicBezTo>
                    <a:pt x="6539" y="593"/>
                    <a:pt x="6539" y="593"/>
                    <a:pt x="6664" y="431"/>
                  </a:cubicBezTo>
                  <a:cubicBezTo>
                    <a:pt x="6664" y="431"/>
                    <a:pt x="6664" y="431"/>
                    <a:pt x="7334" y="485"/>
                  </a:cubicBezTo>
                  <a:cubicBezTo>
                    <a:pt x="7334" y="485"/>
                    <a:pt x="7334" y="485"/>
                    <a:pt x="7417" y="215"/>
                  </a:cubicBezTo>
                  <a:cubicBezTo>
                    <a:pt x="7417" y="215"/>
                    <a:pt x="7417" y="215"/>
                    <a:pt x="7752" y="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 name="Shape 2330">
              <a:extLst>
                <a:ext uri="{FF2B5EF4-FFF2-40B4-BE49-F238E27FC236}">
                  <a16:creationId xmlns:a16="http://schemas.microsoft.com/office/drawing/2014/main" id="{432DB4C7-9563-2FF8-0C51-59BADF2D62AE}"/>
                </a:ext>
              </a:extLst>
            </p:cNvPr>
            <p:cNvSpPr/>
            <p:nvPr/>
          </p:nvSpPr>
          <p:spPr>
            <a:xfrm>
              <a:off x="2727152" y="5517142"/>
              <a:ext cx="1529909" cy="972267"/>
            </a:xfrm>
            <a:custGeom>
              <a:avLst/>
              <a:gdLst/>
              <a:ahLst/>
              <a:cxnLst>
                <a:cxn ang="0">
                  <a:pos x="wd2" y="hd2"/>
                </a:cxn>
                <a:cxn ang="5400000">
                  <a:pos x="wd2" y="hd2"/>
                </a:cxn>
                <a:cxn ang="10800000">
                  <a:pos x="wd2" y="hd2"/>
                </a:cxn>
                <a:cxn ang="16200000">
                  <a:pos x="wd2" y="hd2"/>
                </a:cxn>
              </a:cxnLst>
              <a:rect l="0" t="0" r="r" b="b"/>
              <a:pathLst>
                <a:path w="21600" h="21600" extrusionOk="0">
                  <a:moveTo>
                    <a:pt x="17176" y="12909"/>
                  </a:moveTo>
                  <a:cubicBezTo>
                    <a:pt x="17314" y="12909"/>
                    <a:pt x="17314" y="12909"/>
                    <a:pt x="17314" y="12909"/>
                  </a:cubicBezTo>
                  <a:cubicBezTo>
                    <a:pt x="17590" y="12909"/>
                    <a:pt x="17590" y="12909"/>
                    <a:pt x="17590" y="12909"/>
                  </a:cubicBezTo>
                  <a:cubicBezTo>
                    <a:pt x="18005" y="13338"/>
                    <a:pt x="18005" y="13338"/>
                    <a:pt x="18005" y="13338"/>
                  </a:cubicBezTo>
                  <a:cubicBezTo>
                    <a:pt x="18351" y="13875"/>
                    <a:pt x="18351" y="13875"/>
                    <a:pt x="18351" y="13875"/>
                  </a:cubicBezTo>
                  <a:cubicBezTo>
                    <a:pt x="18351" y="13875"/>
                    <a:pt x="18558" y="13982"/>
                    <a:pt x="18627" y="13982"/>
                  </a:cubicBezTo>
                  <a:cubicBezTo>
                    <a:pt x="18696" y="13982"/>
                    <a:pt x="18766" y="13982"/>
                    <a:pt x="18835" y="13982"/>
                  </a:cubicBezTo>
                  <a:cubicBezTo>
                    <a:pt x="18904" y="13982"/>
                    <a:pt x="19180" y="13982"/>
                    <a:pt x="19180" y="13982"/>
                  </a:cubicBezTo>
                  <a:cubicBezTo>
                    <a:pt x="19872" y="14411"/>
                    <a:pt x="19872" y="14411"/>
                    <a:pt x="19872" y="14411"/>
                  </a:cubicBezTo>
                  <a:cubicBezTo>
                    <a:pt x="20287" y="14948"/>
                    <a:pt x="20287" y="14948"/>
                    <a:pt x="20287" y="14948"/>
                  </a:cubicBezTo>
                  <a:cubicBezTo>
                    <a:pt x="20287" y="15377"/>
                    <a:pt x="20287" y="15377"/>
                    <a:pt x="20287" y="15377"/>
                  </a:cubicBezTo>
                  <a:cubicBezTo>
                    <a:pt x="20425" y="16342"/>
                    <a:pt x="20425" y="16342"/>
                    <a:pt x="20425" y="16342"/>
                  </a:cubicBezTo>
                  <a:cubicBezTo>
                    <a:pt x="20632" y="16342"/>
                    <a:pt x="20632" y="16342"/>
                    <a:pt x="20632" y="16342"/>
                  </a:cubicBezTo>
                  <a:cubicBezTo>
                    <a:pt x="20770" y="16342"/>
                    <a:pt x="20770" y="16342"/>
                    <a:pt x="20770" y="16342"/>
                  </a:cubicBezTo>
                  <a:cubicBezTo>
                    <a:pt x="20770" y="16986"/>
                    <a:pt x="20770" y="16986"/>
                    <a:pt x="20770" y="16986"/>
                  </a:cubicBezTo>
                  <a:cubicBezTo>
                    <a:pt x="20978" y="16986"/>
                    <a:pt x="20978" y="16986"/>
                    <a:pt x="20978" y="16986"/>
                  </a:cubicBezTo>
                  <a:cubicBezTo>
                    <a:pt x="21254" y="17415"/>
                    <a:pt x="21254" y="17415"/>
                    <a:pt x="21254" y="17415"/>
                  </a:cubicBezTo>
                  <a:cubicBezTo>
                    <a:pt x="21600" y="17415"/>
                    <a:pt x="21600" y="17415"/>
                    <a:pt x="21600" y="17415"/>
                  </a:cubicBezTo>
                  <a:cubicBezTo>
                    <a:pt x="21254" y="18166"/>
                    <a:pt x="21254" y="18166"/>
                    <a:pt x="21254" y="18166"/>
                  </a:cubicBezTo>
                  <a:cubicBezTo>
                    <a:pt x="20978" y="18381"/>
                    <a:pt x="20978" y="18381"/>
                    <a:pt x="20978" y="18381"/>
                  </a:cubicBezTo>
                  <a:cubicBezTo>
                    <a:pt x="20632" y="19347"/>
                    <a:pt x="20632" y="19347"/>
                    <a:pt x="20632" y="19347"/>
                  </a:cubicBezTo>
                  <a:cubicBezTo>
                    <a:pt x="20217" y="19561"/>
                    <a:pt x="20217" y="19561"/>
                    <a:pt x="20217" y="19561"/>
                  </a:cubicBezTo>
                  <a:cubicBezTo>
                    <a:pt x="19388" y="19561"/>
                    <a:pt x="19388" y="19561"/>
                    <a:pt x="19388" y="19561"/>
                  </a:cubicBezTo>
                  <a:cubicBezTo>
                    <a:pt x="19250" y="19883"/>
                    <a:pt x="19250" y="19883"/>
                    <a:pt x="19250" y="19883"/>
                  </a:cubicBezTo>
                  <a:cubicBezTo>
                    <a:pt x="18696" y="19883"/>
                    <a:pt x="18696" y="19883"/>
                    <a:pt x="18696" y="19883"/>
                  </a:cubicBezTo>
                  <a:cubicBezTo>
                    <a:pt x="18558" y="20634"/>
                    <a:pt x="18558" y="20634"/>
                    <a:pt x="18558" y="20634"/>
                  </a:cubicBezTo>
                  <a:cubicBezTo>
                    <a:pt x="18489" y="21171"/>
                    <a:pt x="18489" y="21171"/>
                    <a:pt x="18489" y="21171"/>
                  </a:cubicBezTo>
                  <a:cubicBezTo>
                    <a:pt x="18351" y="21385"/>
                    <a:pt x="18351" y="21385"/>
                    <a:pt x="18351" y="21385"/>
                  </a:cubicBezTo>
                  <a:cubicBezTo>
                    <a:pt x="18213" y="21600"/>
                    <a:pt x="18213" y="21600"/>
                    <a:pt x="18213" y="21600"/>
                  </a:cubicBezTo>
                  <a:cubicBezTo>
                    <a:pt x="18005" y="21600"/>
                    <a:pt x="18005" y="21600"/>
                    <a:pt x="18005" y="21600"/>
                  </a:cubicBezTo>
                  <a:cubicBezTo>
                    <a:pt x="17798" y="21064"/>
                    <a:pt x="17798" y="21064"/>
                    <a:pt x="17798" y="21064"/>
                  </a:cubicBezTo>
                  <a:cubicBezTo>
                    <a:pt x="17314" y="20742"/>
                    <a:pt x="17314" y="20742"/>
                    <a:pt x="17314" y="20742"/>
                  </a:cubicBezTo>
                  <a:cubicBezTo>
                    <a:pt x="17037" y="20312"/>
                    <a:pt x="17037" y="20312"/>
                    <a:pt x="17037" y="20312"/>
                  </a:cubicBezTo>
                  <a:cubicBezTo>
                    <a:pt x="17037" y="20098"/>
                    <a:pt x="17037" y="20098"/>
                    <a:pt x="17037" y="20098"/>
                  </a:cubicBezTo>
                  <a:cubicBezTo>
                    <a:pt x="17037" y="19776"/>
                    <a:pt x="17037" y="19776"/>
                    <a:pt x="17037" y="19776"/>
                  </a:cubicBezTo>
                  <a:cubicBezTo>
                    <a:pt x="17037" y="19347"/>
                    <a:pt x="17037" y="19347"/>
                    <a:pt x="17037" y="19347"/>
                  </a:cubicBezTo>
                  <a:cubicBezTo>
                    <a:pt x="17037" y="19132"/>
                    <a:pt x="17037" y="19132"/>
                    <a:pt x="17037" y="19132"/>
                  </a:cubicBezTo>
                  <a:cubicBezTo>
                    <a:pt x="17037" y="18274"/>
                    <a:pt x="17037" y="18274"/>
                    <a:pt x="17037" y="18274"/>
                  </a:cubicBezTo>
                  <a:cubicBezTo>
                    <a:pt x="17037" y="18059"/>
                    <a:pt x="17037" y="18059"/>
                    <a:pt x="17037" y="18059"/>
                  </a:cubicBezTo>
                  <a:cubicBezTo>
                    <a:pt x="17037" y="17523"/>
                    <a:pt x="17037" y="17523"/>
                    <a:pt x="17037" y="17523"/>
                  </a:cubicBezTo>
                  <a:cubicBezTo>
                    <a:pt x="16692" y="16772"/>
                    <a:pt x="16692" y="16772"/>
                    <a:pt x="16692" y="16772"/>
                  </a:cubicBezTo>
                  <a:cubicBezTo>
                    <a:pt x="16484" y="16450"/>
                    <a:pt x="16484" y="16450"/>
                    <a:pt x="16484" y="16450"/>
                  </a:cubicBezTo>
                  <a:cubicBezTo>
                    <a:pt x="16484" y="16128"/>
                    <a:pt x="16484" y="16128"/>
                    <a:pt x="16484" y="16128"/>
                  </a:cubicBezTo>
                  <a:cubicBezTo>
                    <a:pt x="16484" y="15913"/>
                    <a:pt x="16484" y="15913"/>
                    <a:pt x="16484" y="15913"/>
                  </a:cubicBezTo>
                  <a:cubicBezTo>
                    <a:pt x="16692" y="15484"/>
                    <a:pt x="16692" y="15484"/>
                    <a:pt x="16692" y="15484"/>
                  </a:cubicBezTo>
                  <a:cubicBezTo>
                    <a:pt x="17037" y="15377"/>
                    <a:pt x="17037" y="15377"/>
                    <a:pt x="17037" y="15377"/>
                  </a:cubicBezTo>
                  <a:cubicBezTo>
                    <a:pt x="17314" y="14948"/>
                    <a:pt x="17314" y="14948"/>
                    <a:pt x="17314" y="14948"/>
                  </a:cubicBezTo>
                  <a:lnTo>
                    <a:pt x="17314" y="14411"/>
                  </a:lnTo>
                  <a:cubicBezTo>
                    <a:pt x="17176" y="13445"/>
                    <a:pt x="17176" y="13445"/>
                    <a:pt x="17176" y="13445"/>
                  </a:cubicBezTo>
                  <a:cubicBezTo>
                    <a:pt x="17176" y="13231"/>
                    <a:pt x="17176" y="13231"/>
                    <a:pt x="17176" y="13231"/>
                  </a:cubicBezTo>
                  <a:cubicBezTo>
                    <a:pt x="17176" y="12909"/>
                    <a:pt x="17176" y="12909"/>
                    <a:pt x="17176" y="12909"/>
                  </a:cubicBezTo>
                  <a:close/>
                  <a:moveTo>
                    <a:pt x="12668" y="8435"/>
                  </a:moveTo>
                  <a:lnTo>
                    <a:pt x="13074" y="8435"/>
                  </a:lnTo>
                  <a:lnTo>
                    <a:pt x="13236" y="8691"/>
                  </a:lnTo>
                  <a:lnTo>
                    <a:pt x="13398" y="9075"/>
                  </a:lnTo>
                  <a:lnTo>
                    <a:pt x="13398" y="9458"/>
                  </a:lnTo>
                  <a:lnTo>
                    <a:pt x="13074" y="9714"/>
                  </a:lnTo>
                  <a:lnTo>
                    <a:pt x="12911" y="9458"/>
                  </a:lnTo>
                  <a:lnTo>
                    <a:pt x="12911" y="9075"/>
                  </a:lnTo>
                  <a:lnTo>
                    <a:pt x="12668" y="8819"/>
                  </a:lnTo>
                  <a:lnTo>
                    <a:pt x="12668" y="8691"/>
                  </a:lnTo>
                  <a:close/>
                  <a:moveTo>
                    <a:pt x="14211" y="7796"/>
                  </a:moveTo>
                  <a:lnTo>
                    <a:pt x="14454" y="7796"/>
                  </a:lnTo>
                  <a:lnTo>
                    <a:pt x="14860" y="8435"/>
                  </a:lnTo>
                  <a:lnTo>
                    <a:pt x="15185" y="8691"/>
                  </a:lnTo>
                  <a:lnTo>
                    <a:pt x="15185" y="8435"/>
                  </a:lnTo>
                  <a:lnTo>
                    <a:pt x="15835" y="8435"/>
                  </a:lnTo>
                  <a:lnTo>
                    <a:pt x="16159" y="8819"/>
                  </a:lnTo>
                  <a:lnTo>
                    <a:pt x="16728" y="9458"/>
                  </a:lnTo>
                  <a:lnTo>
                    <a:pt x="16728" y="10097"/>
                  </a:lnTo>
                  <a:lnTo>
                    <a:pt x="16484" y="10480"/>
                  </a:lnTo>
                  <a:lnTo>
                    <a:pt x="15997" y="10480"/>
                  </a:lnTo>
                  <a:lnTo>
                    <a:pt x="15997" y="10608"/>
                  </a:lnTo>
                  <a:lnTo>
                    <a:pt x="15104" y="10608"/>
                  </a:lnTo>
                  <a:lnTo>
                    <a:pt x="14941" y="10225"/>
                  </a:lnTo>
                  <a:lnTo>
                    <a:pt x="14860" y="9714"/>
                  </a:lnTo>
                  <a:lnTo>
                    <a:pt x="14941" y="9202"/>
                  </a:lnTo>
                  <a:lnTo>
                    <a:pt x="14535" y="9202"/>
                  </a:lnTo>
                  <a:lnTo>
                    <a:pt x="14211" y="9075"/>
                  </a:lnTo>
                  <a:lnTo>
                    <a:pt x="14211" y="8052"/>
                  </a:lnTo>
                  <a:close/>
                  <a:moveTo>
                    <a:pt x="11856" y="6774"/>
                  </a:moveTo>
                  <a:lnTo>
                    <a:pt x="12911" y="6774"/>
                  </a:lnTo>
                  <a:lnTo>
                    <a:pt x="12992" y="7285"/>
                  </a:lnTo>
                  <a:lnTo>
                    <a:pt x="13886" y="7285"/>
                  </a:lnTo>
                  <a:lnTo>
                    <a:pt x="13480" y="7669"/>
                  </a:lnTo>
                  <a:lnTo>
                    <a:pt x="13398" y="7797"/>
                  </a:lnTo>
                  <a:lnTo>
                    <a:pt x="13398" y="7541"/>
                  </a:lnTo>
                  <a:lnTo>
                    <a:pt x="12180" y="7541"/>
                  </a:lnTo>
                  <a:lnTo>
                    <a:pt x="11856" y="7413"/>
                  </a:lnTo>
                  <a:lnTo>
                    <a:pt x="11856" y="7030"/>
                  </a:lnTo>
                  <a:close/>
                  <a:moveTo>
                    <a:pt x="8608" y="3707"/>
                  </a:moveTo>
                  <a:lnTo>
                    <a:pt x="9095" y="3707"/>
                  </a:lnTo>
                  <a:lnTo>
                    <a:pt x="9257" y="3834"/>
                  </a:lnTo>
                  <a:lnTo>
                    <a:pt x="9338" y="4090"/>
                  </a:lnTo>
                  <a:lnTo>
                    <a:pt x="9582" y="4729"/>
                  </a:lnTo>
                  <a:lnTo>
                    <a:pt x="9826" y="4729"/>
                  </a:lnTo>
                  <a:lnTo>
                    <a:pt x="9988" y="5368"/>
                  </a:lnTo>
                  <a:lnTo>
                    <a:pt x="9988" y="6263"/>
                  </a:lnTo>
                  <a:lnTo>
                    <a:pt x="9744" y="6263"/>
                  </a:lnTo>
                  <a:lnTo>
                    <a:pt x="9501" y="5879"/>
                  </a:lnTo>
                  <a:lnTo>
                    <a:pt x="9338" y="5624"/>
                  </a:lnTo>
                  <a:lnTo>
                    <a:pt x="8932" y="5879"/>
                  </a:lnTo>
                  <a:lnTo>
                    <a:pt x="8608" y="6007"/>
                  </a:lnTo>
                  <a:lnTo>
                    <a:pt x="8364" y="5751"/>
                  </a:lnTo>
                  <a:lnTo>
                    <a:pt x="8202" y="5368"/>
                  </a:lnTo>
                  <a:lnTo>
                    <a:pt x="7795" y="4985"/>
                  </a:lnTo>
                  <a:lnTo>
                    <a:pt x="7795" y="4090"/>
                  </a:lnTo>
                  <a:lnTo>
                    <a:pt x="8283" y="4090"/>
                  </a:lnTo>
                  <a:lnTo>
                    <a:pt x="8283" y="3834"/>
                  </a:lnTo>
                  <a:close/>
                  <a:moveTo>
                    <a:pt x="568" y="1150"/>
                  </a:moveTo>
                  <a:lnTo>
                    <a:pt x="568" y="1789"/>
                  </a:lnTo>
                  <a:lnTo>
                    <a:pt x="406" y="2045"/>
                  </a:lnTo>
                  <a:lnTo>
                    <a:pt x="325" y="2301"/>
                  </a:lnTo>
                  <a:lnTo>
                    <a:pt x="325" y="2812"/>
                  </a:lnTo>
                  <a:lnTo>
                    <a:pt x="0" y="2556"/>
                  </a:lnTo>
                  <a:lnTo>
                    <a:pt x="0" y="2045"/>
                  </a:lnTo>
                  <a:lnTo>
                    <a:pt x="325" y="1534"/>
                  </a:lnTo>
                  <a:close/>
                  <a:moveTo>
                    <a:pt x="2680" y="0"/>
                  </a:moveTo>
                  <a:lnTo>
                    <a:pt x="3817" y="0"/>
                  </a:lnTo>
                  <a:lnTo>
                    <a:pt x="4060" y="639"/>
                  </a:lnTo>
                  <a:lnTo>
                    <a:pt x="4060" y="1150"/>
                  </a:lnTo>
                  <a:lnTo>
                    <a:pt x="3979" y="1534"/>
                  </a:lnTo>
                  <a:lnTo>
                    <a:pt x="3979" y="1662"/>
                  </a:lnTo>
                  <a:lnTo>
                    <a:pt x="3735" y="2045"/>
                  </a:lnTo>
                  <a:lnTo>
                    <a:pt x="3167" y="2045"/>
                  </a:lnTo>
                  <a:lnTo>
                    <a:pt x="2761" y="1662"/>
                  </a:lnTo>
                  <a:lnTo>
                    <a:pt x="2680" y="1662"/>
                  </a:lnTo>
                  <a:lnTo>
                    <a:pt x="2274" y="1150"/>
                  </a:lnTo>
                  <a:lnTo>
                    <a:pt x="2274" y="25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grpSp>
      <p:sp>
        <p:nvSpPr>
          <p:cNvPr id="3" name="Inhaltsplatzhalter 18">
            <a:extLst>
              <a:ext uri="{FF2B5EF4-FFF2-40B4-BE49-F238E27FC236}">
                <a16:creationId xmlns:a16="http://schemas.microsoft.com/office/drawing/2014/main" id="{F0577274-CEAC-94C8-A3B9-03F8377D7EF1}"/>
              </a:ext>
            </a:extLst>
          </p:cNvPr>
          <p:cNvSpPr>
            <a:spLocks noGrp="1"/>
          </p:cNvSpPr>
          <p:nvPr>
            <p:ph sz="quarter" idx="20"/>
          </p:nvPr>
        </p:nvSpPr>
        <p:spPr>
          <a:xfrm>
            <a:off x="469362" y="4783873"/>
            <a:ext cx="3833416" cy="1450802"/>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 name="Inhaltsplatzhalter 18">
            <a:extLst>
              <a:ext uri="{FF2B5EF4-FFF2-40B4-BE49-F238E27FC236}">
                <a16:creationId xmlns:a16="http://schemas.microsoft.com/office/drawing/2014/main" id="{DC96A572-05DE-A9A1-8E6B-B4D7E5CA651A}"/>
              </a:ext>
            </a:extLst>
          </p:cNvPr>
          <p:cNvSpPr>
            <a:spLocks noGrp="1"/>
          </p:cNvSpPr>
          <p:nvPr>
            <p:ph sz="quarter" idx="21"/>
          </p:nvPr>
        </p:nvSpPr>
        <p:spPr>
          <a:xfrm>
            <a:off x="469362" y="2855292"/>
            <a:ext cx="3833416" cy="1450802"/>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8" name="Graphic 57">
            <a:extLst>
              <a:ext uri="{FF2B5EF4-FFF2-40B4-BE49-F238E27FC236}">
                <a16:creationId xmlns:a16="http://schemas.microsoft.com/office/drawing/2014/main" id="{6A4CDEC0-9364-F446-3C06-6225556FB9C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Tree>
    <p:extLst>
      <p:ext uri="{BB962C8B-B14F-4D97-AF65-F5344CB8AC3E}">
        <p14:creationId xmlns:p14="http://schemas.microsoft.com/office/powerpoint/2010/main" val="45311797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plit Scree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58D37B-E49F-F0EF-5594-49F836781406}"/>
              </a:ext>
            </a:extLst>
          </p:cNvPr>
          <p:cNvSpPr/>
          <p:nvPr userDrawn="1"/>
        </p:nvSpPr>
        <p:spPr>
          <a:xfrm>
            <a:off x="6096000" y="0"/>
            <a:ext cx="6096000" cy="6858000"/>
          </a:xfrm>
          <a:prstGeom prst="rect">
            <a:avLst/>
          </a:prstGeom>
          <a:solidFill>
            <a:schemeClr val="bg1">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6">
            <a:extLst>
              <a:ext uri="{FF2B5EF4-FFF2-40B4-BE49-F238E27FC236}">
                <a16:creationId xmlns:a16="http://schemas.microsoft.com/office/drawing/2014/main" id="{7576C331-00DE-44D1-FDED-A83DF6219339}"/>
              </a:ext>
            </a:extLst>
          </p:cNvPr>
          <p:cNvSpPr>
            <a:spLocks noGrp="1"/>
          </p:cNvSpPr>
          <p:nvPr>
            <p:ph type="body" sz="quarter" idx="13" hasCustomPrompt="1"/>
          </p:nvPr>
        </p:nvSpPr>
        <p:spPr>
          <a:xfrm>
            <a:off x="674688" y="3932365"/>
            <a:ext cx="4745526" cy="215444"/>
          </a:xfrm>
        </p:spPr>
        <p:txBody>
          <a:bodyPr/>
          <a:lstStyle/>
          <a:p>
            <a:pPr lvl="0"/>
            <a:r>
              <a:rPr lang="en-US"/>
              <a:t>Add copy here</a:t>
            </a:r>
          </a:p>
        </p:txBody>
      </p:sp>
      <p:sp>
        <p:nvSpPr>
          <p:cNvPr id="8" name="Text Placeholder 6">
            <a:extLst>
              <a:ext uri="{FF2B5EF4-FFF2-40B4-BE49-F238E27FC236}">
                <a16:creationId xmlns:a16="http://schemas.microsoft.com/office/drawing/2014/main" id="{9B0C911C-910B-9DCD-ADE4-5A8DFB3955F7}"/>
              </a:ext>
            </a:extLst>
          </p:cNvPr>
          <p:cNvSpPr>
            <a:spLocks noGrp="1"/>
          </p:cNvSpPr>
          <p:nvPr>
            <p:ph type="body" sz="quarter" idx="14" hasCustomPrompt="1"/>
          </p:nvPr>
        </p:nvSpPr>
        <p:spPr>
          <a:xfrm>
            <a:off x="6771237" y="3932365"/>
            <a:ext cx="4745526" cy="215444"/>
          </a:xfrm>
        </p:spPr>
        <p:txBody>
          <a:bodyPr/>
          <a:lstStyle>
            <a:lvl1pPr algn="l">
              <a:defRPr/>
            </a:lvl1pPr>
          </a:lstStyle>
          <a:p>
            <a:pPr lvl="0"/>
            <a:r>
              <a:rPr lang="en-US"/>
              <a:t>Add copy here</a:t>
            </a:r>
          </a:p>
        </p:txBody>
      </p:sp>
      <p:sp>
        <p:nvSpPr>
          <p:cNvPr id="13" name="Title 12">
            <a:extLst>
              <a:ext uri="{FF2B5EF4-FFF2-40B4-BE49-F238E27FC236}">
                <a16:creationId xmlns:a16="http://schemas.microsoft.com/office/drawing/2014/main" id="{D418CD0F-CC78-E831-0AD0-566141828C1E}"/>
              </a:ext>
            </a:extLst>
          </p:cNvPr>
          <p:cNvSpPr>
            <a:spLocks noGrp="1"/>
          </p:cNvSpPr>
          <p:nvPr>
            <p:ph type="title" hasCustomPrompt="1"/>
          </p:nvPr>
        </p:nvSpPr>
        <p:spPr>
          <a:xfrm>
            <a:off x="674688" y="2752506"/>
            <a:ext cx="4745526" cy="1008738"/>
          </a:xfrm>
        </p:spPr>
        <p:txBody>
          <a:bodyPr/>
          <a:lstStyle>
            <a:lvl1pPr>
              <a:defRPr b="1" i="0">
                <a:latin typeface="Aleo SemiBold" pitchFamily="2" charset="77"/>
              </a:defRPr>
            </a:lvl1pPr>
          </a:lstStyle>
          <a:p>
            <a:r>
              <a:rPr lang="en-US"/>
              <a:t>Add a Title, a Quote, or a Statement Here.</a:t>
            </a:r>
          </a:p>
        </p:txBody>
      </p:sp>
      <p:sp>
        <p:nvSpPr>
          <p:cNvPr id="17" name="Text Placeholder 4">
            <a:extLst>
              <a:ext uri="{FF2B5EF4-FFF2-40B4-BE49-F238E27FC236}">
                <a16:creationId xmlns:a16="http://schemas.microsoft.com/office/drawing/2014/main" id="{5DE134F6-DEDA-210F-618C-8B87F33ED1DA}"/>
              </a:ext>
            </a:extLst>
          </p:cNvPr>
          <p:cNvSpPr>
            <a:spLocks noGrp="1"/>
          </p:cNvSpPr>
          <p:nvPr>
            <p:ph type="body" sz="quarter" idx="30" hasCustomPrompt="1"/>
          </p:nvPr>
        </p:nvSpPr>
        <p:spPr>
          <a:xfrm>
            <a:off x="6771407" y="2752506"/>
            <a:ext cx="4745356" cy="1060542"/>
          </a:xfrm>
          <a:prstGeom prst="rect">
            <a:avLst/>
          </a:prstGeom>
        </p:spPr>
        <p:txBody>
          <a:bodyPr>
            <a:noAutofit/>
          </a:bodyPr>
          <a:lstStyle>
            <a:lvl1pPr marL="0" indent="0">
              <a:buNone/>
              <a:defRPr sz="3600" b="1" i="0">
                <a:solidFill>
                  <a:schemeClr val="tx1"/>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Title, a Quote, or a Statement Here.</a:t>
            </a:r>
          </a:p>
        </p:txBody>
      </p:sp>
    </p:spTree>
    <p:extLst>
      <p:ext uri="{BB962C8B-B14F-4D97-AF65-F5344CB8AC3E}">
        <p14:creationId xmlns:p14="http://schemas.microsoft.com/office/powerpoint/2010/main" val="3268648805"/>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ap of U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99" name="Titel 9">
            <a:extLst>
              <a:ext uri="{FF2B5EF4-FFF2-40B4-BE49-F238E27FC236}">
                <a16:creationId xmlns:a16="http://schemas.microsoft.com/office/drawing/2014/main" id="{295DA8E0-4343-9FDD-2E84-482A1D3AF773}"/>
              </a:ext>
            </a:extLst>
          </p:cNvPr>
          <p:cNvSpPr>
            <a:spLocks noGrp="1"/>
          </p:cNvSpPr>
          <p:nvPr>
            <p:ph type="title" hasCustomPrompt="1"/>
          </p:nvPr>
        </p:nvSpPr>
        <p:spPr>
          <a:xfrm>
            <a:off x="472546" y="466804"/>
            <a:ext cx="3791640" cy="505844"/>
          </a:xfrm>
        </p:spPr>
        <p:txBody>
          <a:bodyPr vert="horz"/>
          <a:lstStyle>
            <a:lvl1pPr algn="l" rtl="0">
              <a:defRPr>
                <a:solidFill>
                  <a:schemeClr val="tx1"/>
                </a:solidFill>
                <a:latin typeface="Aleo" pitchFamily="2" charset="77"/>
              </a:defRPr>
            </a:lvl1pPr>
          </a:lstStyle>
          <a:p>
            <a:r>
              <a:rPr lang="en-US"/>
              <a:t>Map of UK</a:t>
            </a:r>
          </a:p>
        </p:txBody>
      </p:sp>
      <p:sp>
        <p:nvSpPr>
          <p:cNvPr id="447" name="Text Placeholder 10">
            <a:extLst>
              <a:ext uri="{FF2B5EF4-FFF2-40B4-BE49-F238E27FC236}">
                <a16:creationId xmlns:a16="http://schemas.microsoft.com/office/drawing/2014/main" id="{07EE2AF5-29C5-B465-E411-00CDA15D3BBF}"/>
              </a:ext>
            </a:extLst>
          </p:cNvPr>
          <p:cNvSpPr>
            <a:spLocks noGrp="1"/>
          </p:cNvSpPr>
          <p:nvPr>
            <p:ph type="body" sz="quarter" idx="17" hasCustomPrompt="1"/>
          </p:nvPr>
        </p:nvSpPr>
        <p:spPr>
          <a:xfrm>
            <a:off x="469362" y="2491705"/>
            <a:ext cx="3794824" cy="276999"/>
          </a:xfrm>
        </p:spPr>
        <p:txBody>
          <a:bodyPr/>
          <a:lstStyle>
            <a:lvl1pPr algn="l">
              <a:defRPr sz="1800" b="1"/>
            </a:lvl1pPr>
          </a:lstStyle>
          <a:p>
            <a:r>
              <a:rPr lang="en-US"/>
              <a:t>Subtitle Here</a:t>
            </a:r>
          </a:p>
        </p:txBody>
      </p:sp>
      <p:sp>
        <p:nvSpPr>
          <p:cNvPr id="449" name="Text Placeholder 10">
            <a:extLst>
              <a:ext uri="{FF2B5EF4-FFF2-40B4-BE49-F238E27FC236}">
                <a16:creationId xmlns:a16="http://schemas.microsoft.com/office/drawing/2014/main" id="{068F4535-A7FF-0DA7-2180-6FF07B287019}"/>
              </a:ext>
            </a:extLst>
          </p:cNvPr>
          <p:cNvSpPr>
            <a:spLocks noGrp="1"/>
          </p:cNvSpPr>
          <p:nvPr>
            <p:ph type="body" sz="quarter" idx="19" hasCustomPrompt="1"/>
          </p:nvPr>
        </p:nvSpPr>
        <p:spPr>
          <a:xfrm>
            <a:off x="469362" y="4454745"/>
            <a:ext cx="3794824" cy="276999"/>
          </a:xfrm>
        </p:spPr>
        <p:txBody>
          <a:bodyPr/>
          <a:lstStyle>
            <a:lvl1pPr algn="l">
              <a:defRPr sz="1800" b="1"/>
            </a:lvl1pPr>
          </a:lstStyle>
          <a:p>
            <a:r>
              <a:rPr lang="en-US"/>
              <a:t>Subtitle Here</a:t>
            </a:r>
          </a:p>
        </p:txBody>
      </p:sp>
      <p:sp>
        <p:nvSpPr>
          <p:cNvPr id="450" name="Inhaltsplatzhalter 18">
            <a:extLst>
              <a:ext uri="{FF2B5EF4-FFF2-40B4-BE49-F238E27FC236}">
                <a16:creationId xmlns:a16="http://schemas.microsoft.com/office/drawing/2014/main" id="{D837D0DF-CF2E-4004-8BBF-C8A9E52C3ED6}"/>
              </a:ext>
            </a:extLst>
          </p:cNvPr>
          <p:cNvSpPr>
            <a:spLocks noGrp="1"/>
          </p:cNvSpPr>
          <p:nvPr>
            <p:ph sz="quarter" idx="13" hasCustomPrompt="1"/>
          </p:nvPr>
        </p:nvSpPr>
        <p:spPr>
          <a:xfrm>
            <a:off x="442913" y="1019618"/>
            <a:ext cx="3833417" cy="246221"/>
          </a:xfrm>
        </p:spPr>
        <p:txBody>
          <a:bodyPr wrap="square">
            <a:spAutoFit/>
          </a:bodyPr>
          <a:lstStyle>
            <a:lvl1pP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grpSp>
        <p:nvGrpSpPr>
          <p:cNvPr id="3" name="Group 2535">
            <a:extLst>
              <a:ext uri="{FF2B5EF4-FFF2-40B4-BE49-F238E27FC236}">
                <a16:creationId xmlns:a16="http://schemas.microsoft.com/office/drawing/2014/main" id="{5452B9B5-8613-F22E-D9DA-C535E94C1810}"/>
              </a:ext>
            </a:extLst>
          </p:cNvPr>
          <p:cNvGrpSpPr/>
          <p:nvPr userDrawn="1"/>
        </p:nvGrpSpPr>
        <p:grpSpPr>
          <a:xfrm>
            <a:off x="6609821" y="210618"/>
            <a:ext cx="3791639" cy="6297616"/>
            <a:chOff x="0" y="0"/>
            <a:chExt cx="5265227" cy="8745130"/>
          </a:xfrm>
          <a:solidFill>
            <a:schemeClr val="accent5"/>
          </a:solidFill>
        </p:grpSpPr>
        <p:sp>
          <p:nvSpPr>
            <p:cNvPr id="56" name="Shape 2337">
              <a:extLst>
                <a:ext uri="{FF2B5EF4-FFF2-40B4-BE49-F238E27FC236}">
                  <a16:creationId xmlns:a16="http://schemas.microsoft.com/office/drawing/2014/main" id="{00A6B9E5-8777-4A54-A3BB-51AEB4F04839}"/>
                </a:ext>
              </a:extLst>
            </p:cNvPr>
            <p:cNvSpPr/>
            <p:nvPr/>
          </p:nvSpPr>
          <p:spPr>
            <a:xfrm>
              <a:off x="3105453" y="2167499"/>
              <a:ext cx="141204" cy="156555"/>
            </a:xfrm>
            <a:custGeom>
              <a:avLst/>
              <a:gdLst/>
              <a:ahLst/>
              <a:cxnLst>
                <a:cxn ang="0">
                  <a:pos x="wd2" y="hd2"/>
                </a:cxn>
                <a:cxn ang="5400000">
                  <a:pos x="wd2" y="hd2"/>
                </a:cxn>
                <a:cxn ang="10800000">
                  <a:pos x="wd2" y="hd2"/>
                </a:cxn>
                <a:cxn ang="16200000">
                  <a:pos x="wd2" y="hd2"/>
                </a:cxn>
              </a:cxnLst>
              <a:rect l="0" t="0" r="r" b="b"/>
              <a:pathLst>
                <a:path w="20361" h="20913" extrusionOk="0">
                  <a:moveTo>
                    <a:pt x="19239" y="18451"/>
                  </a:moveTo>
                  <a:lnTo>
                    <a:pt x="19239" y="18136"/>
                  </a:lnTo>
                  <a:cubicBezTo>
                    <a:pt x="21141" y="13331"/>
                    <a:pt x="18508" y="14679"/>
                    <a:pt x="18508" y="11266"/>
                  </a:cubicBezTo>
                  <a:cubicBezTo>
                    <a:pt x="18508" y="8167"/>
                    <a:pt x="19239" y="4754"/>
                    <a:pt x="20361" y="1656"/>
                  </a:cubicBezTo>
                  <a:cubicBezTo>
                    <a:pt x="19239" y="1341"/>
                    <a:pt x="18508" y="982"/>
                    <a:pt x="17387" y="1341"/>
                  </a:cubicBezTo>
                  <a:cubicBezTo>
                    <a:pt x="16265" y="1341"/>
                    <a:pt x="15534" y="3362"/>
                    <a:pt x="14071" y="3362"/>
                  </a:cubicBezTo>
                  <a:cubicBezTo>
                    <a:pt x="12560" y="3048"/>
                    <a:pt x="12169" y="1341"/>
                    <a:pt x="11097" y="623"/>
                  </a:cubicBezTo>
                  <a:cubicBezTo>
                    <a:pt x="9585" y="309"/>
                    <a:pt x="8074" y="-410"/>
                    <a:pt x="6952" y="309"/>
                  </a:cubicBezTo>
                  <a:cubicBezTo>
                    <a:pt x="5880" y="982"/>
                    <a:pt x="4758" y="2689"/>
                    <a:pt x="5099" y="4395"/>
                  </a:cubicBezTo>
                  <a:cubicBezTo>
                    <a:pt x="5490" y="6461"/>
                    <a:pt x="8074" y="7853"/>
                    <a:pt x="8464" y="9874"/>
                  </a:cubicBezTo>
                  <a:cubicBezTo>
                    <a:pt x="8464" y="11266"/>
                    <a:pt x="8074" y="12658"/>
                    <a:pt x="6952" y="13331"/>
                  </a:cubicBezTo>
                  <a:cubicBezTo>
                    <a:pt x="5099" y="14005"/>
                    <a:pt x="2857" y="11939"/>
                    <a:pt x="1394" y="12972"/>
                  </a:cubicBezTo>
                  <a:cubicBezTo>
                    <a:pt x="-118" y="14364"/>
                    <a:pt x="-459" y="17104"/>
                    <a:pt x="662" y="18451"/>
                  </a:cubicBezTo>
                  <a:cubicBezTo>
                    <a:pt x="1735" y="19843"/>
                    <a:pt x="4368" y="17104"/>
                    <a:pt x="6221" y="18136"/>
                  </a:cubicBezTo>
                  <a:cubicBezTo>
                    <a:pt x="6952" y="18451"/>
                    <a:pt x="4758" y="19843"/>
                    <a:pt x="5490" y="20516"/>
                  </a:cubicBezTo>
                  <a:cubicBezTo>
                    <a:pt x="5880" y="21190"/>
                    <a:pt x="6952" y="20876"/>
                    <a:pt x="7732" y="20516"/>
                  </a:cubicBezTo>
                  <a:cubicBezTo>
                    <a:pt x="8854" y="20157"/>
                    <a:pt x="9585" y="19169"/>
                    <a:pt x="10707" y="18451"/>
                  </a:cubicBezTo>
                  <a:cubicBezTo>
                    <a:pt x="12950" y="17418"/>
                    <a:pt x="14802" y="15397"/>
                    <a:pt x="17387" y="15711"/>
                  </a:cubicBezTo>
                  <a:cubicBezTo>
                    <a:pt x="18898" y="15711"/>
                    <a:pt x="18508" y="17418"/>
                    <a:pt x="19239" y="1845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 name="Shape 2338">
              <a:extLst>
                <a:ext uri="{FF2B5EF4-FFF2-40B4-BE49-F238E27FC236}">
                  <a16:creationId xmlns:a16="http://schemas.microsoft.com/office/drawing/2014/main" id="{4F644BAE-EB58-FB71-A1BE-F93D58F93759}"/>
                </a:ext>
              </a:extLst>
            </p:cNvPr>
            <p:cNvSpPr/>
            <p:nvPr/>
          </p:nvSpPr>
          <p:spPr>
            <a:xfrm>
              <a:off x="2733625" y="5677213"/>
              <a:ext cx="108690" cy="140874"/>
            </a:xfrm>
            <a:custGeom>
              <a:avLst/>
              <a:gdLst/>
              <a:ahLst/>
              <a:cxnLst>
                <a:cxn ang="0">
                  <a:pos x="wd2" y="hd2"/>
                </a:cxn>
                <a:cxn ang="5400000">
                  <a:pos x="wd2" y="hd2"/>
                </a:cxn>
                <a:cxn ang="10800000">
                  <a:pos x="wd2" y="hd2"/>
                </a:cxn>
                <a:cxn ang="16200000">
                  <a:pos x="wd2" y="hd2"/>
                </a:cxn>
              </a:cxnLst>
              <a:rect l="0" t="0" r="r" b="b"/>
              <a:pathLst>
                <a:path w="21122" h="21151" extrusionOk="0">
                  <a:moveTo>
                    <a:pt x="20090" y="21151"/>
                  </a:moveTo>
                  <a:cubicBezTo>
                    <a:pt x="20615" y="18072"/>
                    <a:pt x="20615" y="18072"/>
                    <a:pt x="20615" y="18072"/>
                  </a:cubicBezTo>
                  <a:cubicBezTo>
                    <a:pt x="19565" y="16508"/>
                    <a:pt x="17070" y="15347"/>
                    <a:pt x="17070" y="13430"/>
                  </a:cubicBezTo>
                  <a:cubicBezTo>
                    <a:pt x="17595" y="12269"/>
                    <a:pt x="21600" y="13076"/>
                    <a:pt x="21075" y="11915"/>
                  </a:cubicBezTo>
                  <a:cubicBezTo>
                    <a:pt x="20615" y="9998"/>
                    <a:pt x="16545" y="9998"/>
                    <a:pt x="15100" y="8433"/>
                  </a:cubicBezTo>
                  <a:cubicBezTo>
                    <a:pt x="14575" y="7676"/>
                    <a:pt x="17070" y="7272"/>
                    <a:pt x="17070" y="6515"/>
                  </a:cubicBezTo>
                  <a:cubicBezTo>
                    <a:pt x="17070" y="4951"/>
                    <a:pt x="16085" y="3437"/>
                    <a:pt x="15100" y="2276"/>
                  </a:cubicBezTo>
                  <a:cubicBezTo>
                    <a:pt x="14050" y="1469"/>
                    <a:pt x="12540" y="1115"/>
                    <a:pt x="11095" y="358"/>
                  </a:cubicBezTo>
                  <a:cubicBezTo>
                    <a:pt x="9585" y="358"/>
                    <a:pt x="7550" y="-449"/>
                    <a:pt x="6565" y="358"/>
                  </a:cubicBezTo>
                  <a:cubicBezTo>
                    <a:pt x="5055" y="1469"/>
                    <a:pt x="7025" y="3790"/>
                    <a:pt x="6040" y="4951"/>
                  </a:cubicBezTo>
                  <a:cubicBezTo>
                    <a:pt x="5055" y="6112"/>
                    <a:pt x="1510" y="5758"/>
                    <a:pt x="0" y="6112"/>
                  </a:cubicBezTo>
                  <a:cubicBezTo>
                    <a:pt x="1050" y="8837"/>
                    <a:pt x="2560" y="11915"/>
                    <a:pt x="4530" y="14237"/>
                  </a:cubicBezTo>
                  <a:cubicBezTo>
                    <a:pt x="8535" y="18476"/>
                    <a:pt x="14050" y="21151"/>
                    <a:pt x="20090" y="2115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8" name="Shape 2339">
              <a:extLst>
                <a:ext uri="{FF2B5EF4-FFF2-40B4-BE49-F238E27FC236}">
                  <a16:creationId xmlns:a16="http://schemas.microsoft.com/office/drawing/2014/main" id="{5C73F510-027E-F136-388B-1C392629B005}"/>
                </a:ext>
              </a:extLst>
            </p:cNvPr>
            <p:cNvSpPr/>
            <p:nvPr/>
          </p:nvSpPr>
          <p:spPr>
            <a:xfrm>
              <a:off x="2836191" y="5745814"/>
              <a:ext cx="123042" cy="82679"/>
            </a:xfrm>
            <a:custGeom>
              <a:avLst/>
              <a:gdLst/>
              <a:ahLst/>
              <a:cxnLst>
                <a:cxn ang="0">
                  <a:pos x="wd2" y="hd2"/>
                </a:cxn>
                <a:cxn ang="5400000">
                  <a:pos x="wd2" y="hd2"/>
                </a:cxn>
                <a:cxn ang="10800000">
                  <a:pos x="wd2" y="hd2"/>
                </a:cxn>
                <a:cxn ang="16200000">
                  <a:pos x="wd2" y="hd2"/>
                </a:cxn>
              </a:cxnLst>
              <a:rect l="0" t="0" r="r" b="b"/>
              <a:pathLst>
                <a:path w="21600" h="21160" extrusionOk="0">
                  <a:moveTo>
                    <a:pt x="0" y="18503"/>
                  </a:moveTo>
                  <a:cubicBezTo>
                    <a:pt x="471" y="13274"/>
                    <a:pt x="471" y="13274"/>
                    <a:pt x="471" y="13274"/>
                  </a:cubicBezTo>
                  <a:cubicBezTo>
                    <a:pt x="1766" y="11989"/>
                    <a:pt x="3119" y="11303"/>
                    <a:pt x="4473" y="9331"/>
                  </a:cubicBezTo>
                  <a:cubicBezTo>
                    <a:pt x="4944" y="8646"/>
                    <a:pt x="4473" y="6760"/>
                    <a:pt x="4944" y="5389"/>
                  </a:cubicBezTo>
                  <a:cubicBezTo>
                    <a:pt x="5415" y="4789"/>
                    <a:pt x="6768" y="6074"/>
                    <a:pt x="7180" y="5389"/>
                  </a:cubicBezTo>
                  <a:cubicBezTo>
                    <a:pt x="8122" y="4103"/>
                    <a:pt x="7651" y="2131"/>
                    <a:pt x="7651" y="846"/>
                  </a:cubicBezTo>
                  <a:cubicBezTo>
                    <a:pt x="9005" y="846"/>
                    <a:pt x="9888" y="-440"/>
                    <a:pt x="10771" y="160"/>
                  </a:cubicBezTo>
                  <a:cubicBezTo>
                    <a:pt x="11712" y="846"/>
                    <a:pt x="12124" y="2817"/>
                    <a:pt x="12595" y="4103"/>
                  </a:cubicBezTo>
                  <a:cubicBezTo>
                    <a:pt x="13007" y="6074"/>
                    <a:pt x="11712" y="9331"/>
                    <a:pt x="13007" y="10617"/>
                  </a:cubicBezTo>
                  <a:cubicBezTo>
                    <a:pt x="14832" y="11989"/>
                    <a:pt x="16597" y="8046"/>
                    <a:pt x="18422" y="8646"/>
                  </a:cubicBezTo>
                  <a:cubicBezTo>
                    <a:pt x="19305" y="9331"/>
                    <a:pt x="17539" y="11303"/>
                    <a:pt x="17539" y="11989"/>
                  </a:cubicBezTo>
                  <a:cubicBezTo>
                    <a:pt x="17951" y="13274"/>
                    <a:pt x="19305" y="11989"/>
                    <a:pt x="19775" y="13274"/>
                  </a:cubicBezTo>
                  <a:cubicBezTo>
                    <a:pt x="20246" y="13274"/>
                    <a:pt x="19305" y="14560"/>
                    <a:pt x="19775" y="15246"/>
                  </a:cubicBezTo>
                  <a:cubicBezTo>
                    <a:pt x="20246" y="16531"/>
                    <a:pt x="20658" y="17217"/>
                    <a:pt x="21600" y="18503"/>
                  </a:cubicBezTo>
                  <a:cubicBezTo>
                    <a:pt x="20246" y="19189"/>
                    <a:pt x="18893" y="20474"/>
                    <a:pt x="17539" y="20474"/>
                  </a:cubicBezTo>
                  <a:cubicBezTo>
                    <a:pt x="16185" y="21160"/>
                    <a:pt x="14832" y="21160"/>
                    <a:pt x="13478" y="21160"/>
                  </a:cubicBezTo>
                  <a:cubicBezTo>
                    <a:pt x="12124" y="21160"/>
                    <a:pt x="10771" y="21160"/>
                    <a:pt x="9417" y="20474"/>
                  </a:cubicBezTo>
                  <a:cubicBezTo>
                    <a:pt x="8122" y="20474"/>
                    <a:pt x="8122" y="19789"/>
                    <a:pt x="7180" y="19189"/>
                  </a:cubicBezTo>
                  <a:cubicBezTo>
                    <a:pt x="8122" y="17217"/>
                    <a:pt x="8122" y="15246"/>
                    <a:pt x="7651" y="13960"/>
                  </a:cubicBezTo>
                  <a:cubicBezTo>
                    <a:pt x="4944" y="17217"/>
                    <a:pt x="2237" y="18503"/>
                    <a:pt x="0" y="1850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9" name="Shape 2340">
              <a:extLst>
                <a:ext uri="{FF2B5EF4-FFF2-40B4-BE49-F238E27FC236}">
                  <a16:creationId xmlns:a16="http://schemas.microsoft.com/office/drawing/2014/main" id="{6000C2A0-BB86-F6C7-CB52-1C5AFEE3AC18}"/>
                </a:ext>
              </a:extLst>
            </p:cNvPr>
            <p:cNvSpPr/>
            <p:nvPr/>
          </p:nvSpPr>
          <p:spPr>
            <a:xfrm>
              <a:off x="2790111" y="5653414"/>
              <a:ext cx="91273" cy="143861"/>
            </a:xfrm>
            <a:custGeom>
              <a:avLst/>
              <a:gdLst/>
              <a:ahLst/>
              <a:cxnLst>
                <a:cxn ang="0">
                  <a:pos x="wd2" y="hd2"/>
                </a:cxn>
                <a:cxn ang="5400000">
                  <a:pos x="wd2" y="hd2"/>
                </a:cxn>
                <a:cxn ang="10800000">
                  <a:pos x="wd2" y="hd2"/>
                </a:cxn>
                <a:cxn ang="16200000">
                  <a:pos x="wd2" y="hd2"/>
                </a:cxn>
              </a:cxnLst>
              <a:rect l="0" t="0" r="r" b="b"/>
              <a:pathLst>
                <a:path w="21129" h="21600" extrusionOk="0">
                  <a:moveTo>
                    <a:pt x="0" y="3886"/>
                  </a:moveTo>
                  <a:cubicBezTo>
                    <a:pt x="1728" y="4643"/>
                    <a:pt x="3535" y="4996"/>
                    <a:pt x="4791" y="5804"/>
                  </a:cubicBezTo>
                  <a:cubicBezTo>
                    <a:pt x="5969" y="6964"/>
                    <a:pt x="7148" y="8479"/>
                    <a:pt x="7148" y="10043"/>
                  </a:cubicBezTo>
                  <a:cubicBezTo>
                    <a:pt x="7148" y="10800"/>
                    <a:pt x="4163" y="11204"/>
                    <a:pt x="4791" y="11961"/>
                  </a:cubicBezTo>
                  <a:cubicBezTo>
                    <a:pt x="6519" y="13525"/>
                    <a:pt x="11389" y="13525"/>
                    <a:pt x="11939" y="15443"/>
                  </a:cubicBezTo>
                  <a:cubicBezTo>
                    <a:pt x="12567" y="16604"/>
                    <a:pt x="7776" y="15796"/>
                    <a:pt x="7148" y="16957"/>
                  </a:cubicBezTo>
                  <a:cubicBezTo>
                    <a:pt x="7148" y="18875"/>
                    <a:pt x="10132" y="20036"/>
                    <a:pt x="11389" y="21600"/>
                  </a:cubicBezTo>
                  <a:cubicBezTo>
                    <a:pt x="13117" y="20843"/>
                    <a:pt x="14924" y="20439"/>
                    <a:pt x="16730" y="19279"/>
                  </a:cubicBezTo>
                  <a:cubicBezTo>
                    <a:pt x="17359" y="18875"/>
                    <a:pt x="16730" y="17764"/>
                    <a:pt x="17359" y="16957"/>
                  </a:cubicBezTo>
                  <a:cubicBezTo>
                    <a:pt x="17987" y="16604"/>
                    <a:pt x="19793" y="17361"/>
                    <a:pt x="20343" y="16957"/>
                  </a:cubicBezTo>
                  <a:cubicBezTo>
                    <a:pt x="21600" y="16200"/>
                    <a:pt x="20972" y="15039"/>
                    <a:pt x="20972" y="14282"/>
                  </a:cubicBezTo>
                  <a:cubicBezTo>
                    <a:pt x="20343" y="13879"/>
                    <a:pt x="19165" y="13525"/>
                    <a:pt x="18537" y="13121"/>
                  </a:cubicBezTo>
                  <a:cubicBezTo>
                    <a:pt x="17359" y="12718"/>
                    <a:pt x="17359" y="11961"/>
                    <a:pt x="16730" y="11204"/>
                  </a:cubicBezTo>
                  <a:cubicBezTo>
                    <a:pt x="16180" y="10396"/>
                    <a:pt x="14924" y="9286"/>
                    <a:pt x="14924" y="8479"/>
                  </a:cubicBezTo>
                  <a:cubicBezTo>
                    <a:pt x="13745" y="6561"/>
                    <a:pt x="13745" y="4239"/>
                    <a:pt x="13117" y="2321"/>
                  </a:cubicBezTo>
                  <a:cubicBezTo>
                    <a:pt x="4163" y="0"/>
                    <a:pt x="4163" y="0"/>
                    <a:pt x="4163" y="0"/>
                  </a:cubicBezTo>
                  <a:cubicBezTo>
                    <a:pt x="0" y="3886"/>
                    <a:pt x="0" y="3886"/>
                    <a:pt x="0" y="38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0" name="Shape 2341">
              <a:extLst>
                <a:ext uri="{FF2B5EF4-FFF2-40B4-BE49-F238E27FC236}">
                  <a16:creationId xmlns:a16="http://schemas.microsoft.com/office/drawing/2014/main" id="{FAE298A6-DCF3-18B9-8945-4ADC087943B9}"/>
                </a:ext>
              </a:extLst>
            </p:cNvPr>
            <p:cNvSpPr/>
            <p:nvPr/>
          </p:nvSpPr>
          <p:spPr>
            <a:xfrm>
              <a:off x="2690711" y="5488404"/>
              <a:ext cx="122924" cy="228596"/>
            </a:xfrm>
            <a:custGeom>
              <a:avLst/>
              <a:gdLst/>
              <a:ahLst/>
              <a:cxnLst>
                <a:cxn ang="0">
                  <a:pos x="wd2" y="hd2"/>
                </a:cxn>
                <a:cxn ang="5400000">
                  <a:pos x="wd2" y="hd2"/>
                </a:cxn>
                <a:cxn ang="10800000">
                  <a:pos x="wd2" y="hd2"/>
                </a:cxn>
                <a:cxn ang="16200000">
                  <a:pos x="wd2" y="hd2"/>
                </a:cxn>
              </a:cxnLst>
              <a:rect l="0" t="0" r="r" b="b"/>
              <a:pathLst>
                <a:path w="17213" h="21600" extrusionOk="0">
                  <a:moveTo>
                    <a:pt x="12949" y="0"/>
                  </a:moveTo>
                  <a:cubicBezTo>
                    <a:pt x="13279" y="508"/>
                    <a:pt x="13656" y="1207"/>
                    <a:pt x="13656" y="1938"/>
                  </a:cubicBezTo>
                  <a:cubicBezTo>
                    <a:pt x="13279" y="3176"/>
                    <a:pt x="12572" y="4638"/>
                    <a:pt x="11110" y="5591"/>
                  </a:cubicBezTo>
                  <a:cubicBezTo>
                    <a:pt x="10780" y="5845"/>
                    <a:pt x="9695" y="5336"/>
                    <a:pt x="8987" y="5591"/>
                  </a:cubicBezTo>
                  <a:cubicBezTo>
                    <a:pt x="7903" y="6321"/>
                    <a:pt x="6441" y="7052"/>
                    <a:pt x="6063" y="8259"/>
                  </a:cubicBezTo>
                  <a:cubicBezTo>
                    <a:pt x="6063" y="8735"/>
                    <a:pt x="7903" y="8989"/>
                    <a:pt x="7525" y="9466"/>
                  </a:cubicBezTo>
                  <a:cubicBezTo>
                    <a:pt x="7525" y="9942"/>
                    <a:pt x="6441" y="10196"/>
                    <a:pt x="6063" y="10673"/>
                  </a:cubicBezTo>
                  <a:cubicBezTo>
                    <a:pt x="5733" y="11181"/>
                    <a:pt x="5356" y="11912"/>
                    <a:pt x="5733" y="12388"/>
                  </a:cubicBezTo>
                  <a:cubicBezTo>
                    <a:pt x="6818" y="13373"/>
                    <a:pt x="8233" y="13849"/>
                    <a:pt x="9695" y="14326"/>
                  </a:cubicBezTo>
                  <a:cubicBezTo>
                    <a:pt x="10402" y="14580"/>
                    <a:pt x="11864" y="14802"/>
                    <a:pt x="11864" y="14326"/>
                  </a:cubicBezTo>
                  <a:cubicBezTo>
                    <a:pt x="11864" y="13373"/>
                    <a:pt x="8987" y="11912"/>
                    <a:pt x="10402" y="11181"/>
                  </a:cubicBezTo>
                  <a:cubicBezTo>
                    <a:pt x="11864" y="10673"/>
                    <a:pt x="12572" y="12865"/>
                    <a:pt x="14034" y="13373"/>
                  </a:cubicBezTo>
                  <a:cubicBezTo>
                    <a:pt x="14741" y="13595"/>
                    <a:pt x="16156" y="13373"/>
                    <a:pt x="16911" y="13849"/>
                  </a:cubicBezTo>
                  <a:cubicBezTo>
                    <a:pt x="17618" y="14326"/>
                    <a:pt x="16911" y="15056"/>
                    <a:pt x="16533" y="15533"/>
                  </a:cubicBezTo>
                  <a:cubicBezTo>
                    <a:pt x="14034" y="17979"/>
                    <a:pt x="14034" y="17979"/>
                    <a:pt x="14034" y="17979"/>
                  </a:cubicBezTo>
                  <a:cubicBezTo>
                    <a:pt x="12949" y="17979"/>
                    <a:pt x="11487" y="17471"/>
                    <a:pt x="10780" y="17979"/>
                  </a:cubicBezTo>
                  <a:cubicBezTo>
                    <a:pt x="9695" y="18678"/>
                    <a:pt x="11110" y="20139"/>
                    <a:pt x="10402" y="20869"/>
                  </a:cubicBezTo>
                  <a:cubicBezTo>
                    <a:pt x="9695" y="21600"/>
                    <a:pt x="7148" y="21378"/>
                    <a:pt x="6063" y="21600"/>
                  </a:cubicBezTo>
                  <a:cubicBezTo>
                    <a:pt x="4979" y="19186"/>
                    <a:pt x="4649" y="16740"/>
                    <a:pt x="2479" y="14802"/>
                  </a:cubicBezTo>
                  <a:cubicBezTo>
                    <a:pt x="-3982" y="10451"/>
                    <a:pt x="3941" y="7528"/>
                    <a:pt x="6441" y="3653"/>
                  </a:cubicBezTo>
                  <a:cubicBezTo>
                    <a:pt x="7525" y="1715"/>
                    <a:pt x="10780" y="1715"/>
                    <a:pt x="12572" y="508"/>
                  </a:cubicBezTo>
                  <a:cubicBezTo>
                    <a:pt x="12572" y="254"/>
                    <a:pt x="12949" y="254"/>
                    <a:pt x="12949"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1" name="Shape 2342">
              <a:extLst>
                <a:ext uri="{FF2B5EF4-FFF2-40B4-BE49-F238E27FC236}">
                  <a16:creationId xmlns:a16="http://schemas.microsoft.com/office/drawing/2014/main" id="{713C8CAF-B2C1-A3FF-F280-D8B78EA50A4A}"/>
                </a:ext>
              </a:extLst>
            </p:cNvPr>
            <p:cNvSpPr/>
            <p:nvPr/>
          </p:nvSpPr>
          <p:spPr>
            <a:xfrm>
              <a:off x="2846424" y="5632601"/>
              <a:ext cx="127673" cy="128994"/>
            </a:xfrm>
            <a:custGeom>
              <a:avLst/>
              <a:gdLst/>
              <a:ahLst/>
              <a:cxnLst>
                <a:cxn ang="0">
                  <a:pos x="wd2" y="hd2"/>
                </a:cxn>
                <a:cxn ang="5400000">
                  <a:pos x="wd2" y="hd2"/>
                </a:cxn>
                <a:cxn ang="10800000">
                  <a:pos x="wd2" y="hd2"/>
                </a:cxn>
                <a:cxn ang="16200000">
                  <a:pos x="wd2" y="hd2"/>
                </a:cxn>
              </a:cxnLst>
              <a:rect l="0" t="0" r="r" b="b"/>
              <a:pathLst>
                <a:path w="21380" h="21600" extrusionOk="0">
                  <a:moveTo>
                    <a:pt x="176" y="6050"/>
                  </a:moveTo>
                  <a:cubicBezTo>
                    <a:pt x="628" y="8199"/>
                    <a:pt x="628" y="10800"/>
                    <a:pt x="1476" y="12949"/>
                  </a:cubicBezTo>
                  <a:cubicBezTo>
                    <a:pt x="1476" y="13853"/>
                    <a:pt x="2381" y="15097"/>
                    <a:pt x="2777" y="16002"/>
                  </a:cubicBezTo>
                  <a:cubicBezTo>
                    <a:pt x="3229" y="16850"/>
                    <a:pt x="3229" y="17698"/>
                    <a:pt x="4077" y="18151"/>
                  </a:cubicBezTo>
                  <a:cubicBezTo>
                    <a:pt x="4530" y="18603"/>
                    <a:pt x="5378" y="18999"/>
                    <a:pt x="5830" y="19451"/>
                  </a:cubicBezTo>
                  <a:cubicBezTo>
                    <a:pt x="7131" y="19451"/>
                    <a:pt x="7979" y="18603"/>
                    <a:pt x="8827" y="18999"/>
                  </a:cubicBezTo>
                  <a:cubicBezTo>
                    <a:pt x="9732" y="19451"/>
                    <a:pt x="10128" y="20752"/>
                    <a:pt x="10580" y="21600"/>
                  </a:cubicBezTo>
                  <a:cubicBezTo>
                    <a:pt x="11428" y="21148"/>
                    <a:pt x="12276" y="20752"/>
                    <a:pt x="12729" y="20299"/>
                  </a:cubicBezTo>
                  <a:cubicBezTo>
                    <a:pt x="13181" y="18999"/>
                    <a:pt x="13181" y="17698"/>
                    <a:pt x="13181" y="16398"/>
                  </a:cubicBezTo>
                  <a:cubicBezTo>
                    <a:pt x="13181" y="15097"/>
                    <a:pt x="11881" y="12949"/>
                    <a:pt x="12729" y="12101"/>
                  </a:cubicBezTo>
                  <a:cubicBezTo>
                    <a:pt x="14029" y="11252"/>
                    <a:pt x="15330" y="13853"/>
                    <a:pt x="17026" y="13853"/>
                  </a:cubicBezTo>
                  <a:cubicBezTo>
                    <a:pt x="18327" y="14249"/>
                    <a:pt x="20079" y="12949"/>
                    <a:pt x="21380" y="12553"/>
                  </a:cubicBezTo>
                  <a:lnTo>
                    <a:pt x="17931" y="9499"/>
                  </a:lnTo>
                  <a:cubicBezTo>
                    <a:pt x="17931" y="9047"/>
                    <a:pt x="17478" y="7351"/>
                    <a:pt x="17478" y="7351"/>
                  </a:cubicBezTo>
                  <a:cubicBezTo>
                    <a:pt x="16178" y="6503"/>
                    <a:pt x="14425" y="5598"/>
                    <a:pt x="13181" y="4750"/>
                  </a:cubicBezTo>
                  <a:cubicBezTo>
                    <a:pt x="11428" y="3902"/>
                    <a:pt x="9732" y="2601"/>
                    <a:pt x="8431" y="1301"/>
                  </a:cubicBezTo>
                  <a:cubicBezTo>
                    <a:pt x="7131" y="1753"/>
                    <a:pt x="6283" y="2601"/>
                    <a:pt x="4982" y="2601"/>
                  </a:cubicBezTo>
                  <a:cubicBezTo>
                    <a:pt x="4077" y="2149"/>
                    <a:pt x="4077" y="0"/>
                    <a:pt x="3229" y="0"/>
                  </a:cubicBezTo>
                  <a:cubicBezTo>
                    <a:pt x="1929" y="452"/>
                    <a:pt x="1081" y="1753"/>
                    <a:pt x="176" y="2601"/>
                  </a:cubicBezTo>
                  <a:cubicBezTo>
                    <a:pt x="-220" y="3902"/>
                    <a:pt x="176" y="5202"/>
                    <a:pt x="176" y="605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2" name="Shape 2343">
              <a:extLst>
                <a:ext uri="{FF2B5EF4-FFF2-40B4-BE49-F238E27FC236}">
                  <a16:creationId xmlns:a16="http://schemas.microsoft.com/office/drawing/2014/main" id="{41EDCE93-122A-7502-1884-A74EA765CAE2}"/>
                </a:ext>
              </a:extLst>
            </p:cNvPr>
            <p:cNvSpPr/>
            <p:nvPr/>
          </p:nvSpPr>
          <p:spPr>
            <a:xfrm>
              <a:off x="2895650" y="5562731"/>
              <a:ext cx="162659" cy="143863"/>
            </a:xfrm>
            <a:custGeom>
              <a:avLst/>
              <a:gdLst/>
              <a:ahLst/>
              <a:cxnLst>
                <a:cxn ang="0">
                  <a:pos x="wd2" y="hd2"/>
                </a:cxn>
                <a:cxn ang="5400000">
                  <a:pos x="wd2" y="hd2"/>
                </a:cxn>
                <a:cxn ang="10800000">
                  <a:pos x="wd2" y="hd2"/>
                </a:cxn>
                <a:cxn ang="16200000">
                  <a:pos x="wd2" y="hd2"/>
                </a:cxn>
              </a:cxnLst>
              <a:rect l="0" t="0" r="r" b="b"/>
              <a:pathLst>
                <a:path w="21337" h="21600" extrusionOk="0">
                  <a:moveTo>
                    <a:pt x="10115" y="21600"/>
                  </a:moveTo>
                  <a:cubicBezTo>
                    <a:pt x="11131" y="20439"/>
                    <a:pt x="11794" y="19279"/>
                    <a:pt x="12810" y="18118"/>
                  </a:cubicBezTo>
                  <a:cubicBezTo>
                    <a:pt x="13163" y="17714"/>
                    <a:pt x="14135" y="16957"/>
                    <a:pt x="14842" y="17361"/>
                  </a:cubicBezTo>
                  <a:cubicBezTo>
                    <a:pt x="15504" y="17714"/>
                    <a:pt x="15504" y="18875"/>
                    <a:pt x="15858" y="19632"/>
                  </a:cubicBezTo>
                  <a:cubicBezTo>
                    <a:pt x="17183" y="19632"/>
                    <a:pt x="18552" y="20439"/>
                    <a:pt x="19568" y="19279"/>
                  </a:cubicBezTo>
                  <a:cubicBezTo>
                    <a:pt x="20893" y="17714"/>
                    <a:pt x="21600" y="15039"/>
                    <a:pt x="21247" y="12718"/>
                  </a:cubicBezTo>
                  <a:cubicBezTo>
                    <a:pt x="21247" y="11557"/>
                    <a:pt x="19568" y="11557"/>
                    <a:pt x="18552" y="10800"/>
                  </a:cubicBezTo>
                  <a:cubicBezTo>
                    <a:pt x="17845" y="10800"/>
                    <a:pt x="16829" y="9639"/>
                    <a:pt x="15858" y="10043"/>
                  </a:cubicBezTo>
                  <a:cubicBezTo>
                    <a:pt x="14842" y="10043"/>
                    <a:pt x="13826" y="11961"/>
                    <a:pt x="12810" y="11557"/>
                  </a:cubicBezTo>
                  <a:cubicBezTo>
                    <a:pt x="11794" y="11557"/>
                    <a:pt x="11440" y="10043"/>
                    <a:pt x="11131" y="8882"/>
                  </a:cubicBezTo>
                  <a:cubicBezTo>
                    <a:pt x="10469" y="7318"/>
                    <a:pt x="11131" y="5753"/>
                    <a:pt x="10469" y="4593"/>
                  </a:cubicBezTo>
                  <a:cubicBezTo>
                    <a:pt x="9762" y="3482"/>
                    <a:pt x="8083" y="3079"/>
                    <a:pt x="7067" y="2675"/>
                  </a:cubicBezTo>
                  <a:cubicBezTo>
                    <a:pt x="6405" y="1514"/>
                    <a:pt x="6052" y="757"/>
                    <a:pt x="5698" y="0"/>
                  </a:cubicBezTo>
                  <a:lnTo>
                    <a:pt x="1988" y="1514"/>
                  </a:lnTo>
                  <a:lnTo>
                    <a:pt x="1016" y="3836"/>
                  </a:lnTo>
                  <a:cubicBezTo>
                    <a:pt x="1016" y="4593"/>
                    <a:pt x="1679" y="5753"/>
                    <a:pt x="1325" y="6561"/>
                  </a:cubicBezTo>
                  <a:cubicBezTo>
                    <a:pt x="1325" y="8479"/>
                    <a:pt x="309" y="10043"/>
                    <a:pt x="0" y="11557"/>
                  </a:cubicBezTo>
                  <a:cubicBezTo>
                    <a:pt x="1016" y="12718"/>
                    <a:pt x="2341" y="13879"/>
                    <a:pt x="3710" y="14636"/>
                  </a:cubicBezTo>
                  <a:cubicBezTo>
                    <a:pt x="4682" y="15393"/>
                    <a:pt x="6052" y="16200"/>
                    <a:pt x="7067" y="16957"/>
                  </a:cubicBezTo>
                  <a:cubicBezTo>
                    <a:pt x="7067" y="16957"/>
                    <a:pt x="7421" y="18471"/>
                    <a:pt x="7421" y="18875"/>
                  </a:cubicBezTo>
                  <a:lnTo>
                    <a:pt x="10115" y="21600"/>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3" name="Shape 2344">
              <a:extLst>
                <a:ext uri="{FF2B5EF4-FFF2-40B4-BE49-F238E27FC236}">
                  <a16:creationId xmlns:a16="http://schemas.microsoft.com/office/drawing/2014/main" id="{C8354E65-D179-0C03-4273-400DB228ECD1}"/>
                </a:ext>
              </a:extLst>
            </p:cNvPr>
            <p:cNvSpPr/>
            <p:nvPr/>
          </p:nvSpPr>
          <p:spPr>
            <a:xfrm>
              <a:off x="2907119" y="5679116"/>
              <a:ext cx="145761" cy="138971"/>
            </a:xfrm>
            <a:custGeom>
              <a:avLst/>
              <a:gdLst/>
              <a:ahLst/>
              <a:cxnLst>
                <a:cxn ang="0">
                  <a:pos x="wd2" y="hd2"/>
                </a:cxn>
                <a:cxn ang="5400000">
                  <a:pos x="wd2" y="hd2"/>
                </a:cxn>
                <a:cxn ang="10800000">
                  <a:pos x="wd2" y="hd2"/>
                </a:cxn>
                <a:cxn ang="16200000">
                  <a:pos x="wd2" y="hd2"/>
                </a:cxn>
              </a:cxnLst>
              <a:rect l="0" t="0" r="r" b="b"/>
              <a:pathLst>
                <a:path w="21018" h="21306" extrusionOk="0">
                  <a:moveTo>
                    <a:pt x="5708" y="5620"/>
                  </a:moveTo>
                  <a:cubicBezTo>
                    <a:pt x="4245" y="5620"/>
                    <a:pt x="3124" y="3255"/>
                    <a:pt x="2002" y="4026"/>
                  </a:cubicBezTo>
                  <a:cubicBezTo>
                    <a:pt x="1271" y="4797"/>
                    <a:pt x="2392" y="6752"/>
                    <a:pt x="2392" y="7935"/>
                  </a:cubicBezTo>
                  <a:cubicBezTo>
                    <a:pt x="2392" y="9117"/>
                    <a:pt x="2392" y="10300"/>
                    <a:pt x="2002" y="11483"/>
                  </a:cubicBezTo>
                  <a:cubicBezTo>
                    <a:pt x="1612" y="11895"/>
                    <a:pt x="881" y="12255"/>
                    <a:pt x="149" y="12666"/>
                  </a:cubicBezTo>
                  <a:cubicBezTo>
                    <a:pt x="491" y="13849"/>
                    <a:pt x="-582" y="15803"/>
                    <a:pt x="491" y="16575"/>
                  </a:cubicBezTo>
                  <a:cubicBezTo>
                    <a:pt x="2002" y="17397"/>
                    <a:pt x="3465" y="15032"/>
                    <a:pt x="4976" y="15392"/>
                  </a:cubicBezTo>
                  <a:cubicBezTo>
                    <a:pt x="5708" y="15803"/>
                    <a:pt x="4245" y="16986"/>
                    <a:pt x="4245" y="17397"/>
                  </a:cubicBezTo>
                  <a:cubicBezTo>
                    <a:pt x="4586" y="18169"/>
                    <a:pt x="5708" y="17397"/>
                    <a:pt x="6098" y="18169"/>
                  </a:cubicBezTo>
                  <a:cubicBezTo>
                    <a:pt x="6488" y="18169"/>
                    <a:pt x="5708" y="18940"/>
                    <a:pt x="6098" y="19352"/>
                  </a:cubicBezTo>
                  <a:cubicBezTo>
                    <a:pt x="6488" y="20123"/>
                    <a:pt x="6829" y="20535"/>
                    <a:pt x="7609" y="21306"/>
                  </a:cubicBezTo>
                  <a:cubicBezTo>
                    <a:pt x="7951" y="20895"/>
                    <a:pt x="8341" y="20535"/>
                    <a:pt x="8731" y="20535"/>
                  </a:cubicBezTo>
                  <a:cubicBezTo>
                    <a:pt x="9462" y="20535"/>
                    <a:pt x="10194" y="20895"/>
                    <a:pt x="10584" y="20895"/>
                  </a:cubicBezTo>
                  <a:cubicBezTo>
                    <a:pt x="11705" y="20123"/>
                    <a:pt x="12437" y="19352"/>
                    <a:pt x="13558" y="18580"/>
                  </a:cubicBezTo>
                  <a:cubicBezTo>
                    <a:pt x="14289" y="17397"/>
                    <a:pt x="14679" y="15803"/>
                    <a:pt x="15801" y="15392"/>
                  </a:cubicBezTo>
                  <a:cubicBezTo>
                    <a:pt x="16874" y="14620"/>
                    <a:pt x="17995" y="15803"/>
                    <a:pt x="19116" y="15032"/>
                  </a:cubicBezTo>
                  <a:cubicBezTo>
                    <a:pt x="19897" y="14620"/>
                    <a:pt x="20238" y="13437"/>
                    <a:pt x="21018" y="12666"/>
                  </a:cubicBezTo>
                  <a:cubicBezTo>
                    <a:pt x="19897" y="12255"/>
                    <a:pt x="18775" y="12255"/>
                    <a:pt x="17995" y="11123"/>
                  </a:cubicBezTo>
                  <a:cubicBezTo>
                    <a:pt x="17654" y="10300"/>
                    <a:pt x="18775" y="9117"/>
                    <a:pt x="18775" y="8346"/>
                  </a:cubicBezTo>
                  <a:cubicBezTo>
                    <a:pt x="15801" y="2432"/>
                    <a:pt x="15801" y="2432"/>
                    <a:pt x="15801" y="2432"/>
                  </a:cubicBezTo>
                  <a:cubicBezTo>
                    <a:pt x="15411" y="1660"/>
                    <a:pt x="15411" y="477"/>
                    <a:pt x="14679" y="117"/>
                  </a:cubicBezTo>
                  <a:cubicBezTo>
                    <a:pt x="13899" y="-294"/>
                    <a:pt x="12827" y="477"/>
                    <a:pt x="12437" y="889"/>
                  </a:cubicBezTo>
                  <a:cubicBezTo>
                    <a:pt x="11315" y="2072"/>
                    <a:pt x="10584" y="3255"/>
                    <a:pt x="9462" y="4437"/>
                  </a:cubicBezTo>
                  <a:cubicBezTo>
                    <a:pt x="9462" y="4437"/>
                    <a:pt x="9072" y="4797"/>
                    <a:pt x="8731" y="4797"/>
                  </a:cubicBezTo>
                  <a:cubicBezTo>
                    <a:pt x="8341" y="5209"/>
                    <a:pt x="7609" y="5620"/>
                    <a:pt x="6829" y="5620"/>
                  </a:cubicBezTo>
                  <a:cubicBezTo>
                    <a:pt x="6098" y="5620"/>
                    <a:pt x="5708" y="5620"/>
                    <a:pt x="5708" y="56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1" name="Shape 2345">
              <a:extLst>
                <a:ext uri="{FF2B5EF4-FFF2-40B4-BE49-F238E27FC236}">
                  <a16:creationId xmlns:a16="http://schemas.microsoft.com/office/drawing/2014/main" id="{910EC6CC-1026-7B2D-060F-C54C956E39F3}"/>
                </a:ext>
              </a:extLst>
            </p:cNvPr>
            <p:cNvSpPr/>
            <p:nvPr/>
          </p:nvSpPr>
          <p:spPr>
            <a:xfrm>
              <a:off x="3017542" y="5625167"/>
              <a:ext cx="137139" cy="108184"/>
            </a:xfrm>
            <a:custGeom>
              <a:avLst/>
              <a:gdLst/>
              <a:ahLst/>
              <a:cxnLst>
                <a:cxn ang="0">
                  <a:pos x="wd2" y="hd2"/>
                </a:cxn>
                <a:cxn ang="5400000">
                  <a:pos x="wd2" y="hd2"/>
                </a:cxn>
                <a:cxn ang="10800000">
                  <a:pos x="wd2" y="hd2"/>
                </a:cxn>
                <a:cxn ang="16200000">
                  <a:pos x="wd2" y="hd2"/>
                </a:cxn>
              </a:cxnLst>
              <a:rect l="0" t="0" r="r" b="b"/>
              <a:pathLst>
                <a:path w="21251" h="21600" extrusionOk="0">
                  <a:moveTo>
                    <a:pt x="3198" y="21600"/>
                  </a:moveTo>
                  <a:cubicBezTo>
                    <a:pt x="0" y="13862"/>
                    <a:pt x="0" y="13862"/>
                    <a:pt x="0" y="13862"/>
                  </a:cubicBezTo>
                  <a:cubicBezTo>
                    <a:pt x="1573" y="13862"/>
                    <a:pt x="3198" y="14938"/>
                    <a:pt x="4404" y="13391"/>
                  </a:cubicBezTo>
                  <a:cubicBezTo>
                    <a:pt x="5977" y="11305"/>
                    <a:pt x="6816" y="7738"/>
                    <a:pt x="6396" y="4643"/>
                  </a:cubicBezTo>
                  <a:cubicBezTo>
                    <a:pt x="6396" y="3095"/>
                    <a:pt x="4404" y="3095"/>
                    <a:pt x="3198" y="2086"/>
                  </a:cubicBezTo>
                  <a:cubicBezTo>
                    <a:pt x="3984" y="1548"/>
                    <a:pt x="3984" y="538"/>
                    <a:pt x="4771" y="0"/>
                  </a:cubicBezTo>
                  <a:cubicBezTo>
                    <a:pt x="5977" y="0"/>
                    <a:pt x="7183" y="538"/>
                    <a:pt x="7969" y="1077"/>
                  </a:cubicBezTo>
                  <a:cubicBezTo>
                    <a:pt x="9175" y="1548"/>
                    <a:pt x="9594" y="3095"/>
                    <a:pt x="10800" y="3095"/>
                  </a:cubicBezTo>
                  <a:cubicBezTo>
                    <a:pt x="11219" y="3095"/>
                    <a:pt x="11586" y="2086"/>
                    <a:pt x="12373" y="1548"/>
                  </a:cubicBezTo>
                  <a:cubicBezTo>
                    <a:pt x="13212" y="2086"/>
                    <a:pt x="13998" y="3095"/>
                    <a:pt x="15204" y="3634"/>
                  </a:cubicBezTo>
                  <a:cubicBezTo>
                    <a:pt x="15204" y="4105"/>
                    <a:pt x="15571" y="4643"/>
                    <a:pt x="15990" y="4643"/>
                  </a:cubicBezTo>
                  <a:cubicBezTo>
                    <a:pt x="17196" y="5181"/>
                    <a:pt x="18402" y="4643"/>
                    <a:pt x="19608" y="4643"/>
                  </a:cubicBezTo>
                  <a:cubicBezTo>
                    <a:pt x="20027" y="6191"/>
                    <a:pt x="21600" y="7738"/>
                    <a:pt x="21181" y="9757"/>
                  </a:cubicBezTo>
                  <a:cubicBezTo>
                    <a:pt x="20814" y="11305"/>
                    <a:pt x="19188" y="11305"/>
                    <a:pt x="17983" y="12314"/>
                  </a:cubicBezTo>
                  <a:cubicBezTo>
                    <a:pt x="17196" y="11843"/>
                    <a:pt x="16410" y="11305"/>
                    <a:pt x="15571" y="11305"/>
                  </a:cubicBezTo>
                  <a:cubicBezTo>
                    <a:pt x="14784" y="10834"/>
                    <a:pt x="14417" y="10834"/>
                    <a:pt x="13579" y="11305"/>
                  </a:cubicBezTo>
                  <a:cubicBezTo>
                    <a:pt x="12006" y="11843"/>
                    <a:pt x="10014" y="12314"/>
                    <a:pt x="8808" y="13862"/>
                  </a:cubicBezTo>
                  <a:cubicBezTo>
                    <a:pt x="7602" y="14400"/>
                    <a:pt x="7602" y="16486"/>
                    <a:pt x="6816" y="18034"/>
                  </a:cubicBezTo>
                  <a:cubicBezTo>
                    <a:pt x="5610" y="19514"/>
                    <a:pt x="4404" y="20591"/>
                    <a:pt x="3198"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2" name="Shape 2346">
              <a:extLst>
                <a:ext uri="{FF2B5EF4-FFF2-40B4-BE49-F238E27FC236}">
                  <a16:creationId xmlns:a16="http://schemas.microsoft.com/office/drawing/2014/main" id="{37A097FF-5A01-DAE6-968F-23714AAE7093}"/>
                </a:ext>
              </a:extLst>
            </p:cNvPr>
            <p:cNvSpPr/>
            <p:nvPr/>
          </p:nvSpPr>
          <p:spPr>
            <a:xfrm>
              <a:off x="3031341" y="5679278"/>
              <a:ext cx="113703" cy="108415"/>
            </a:xfrm>
            <a:custGeom>
              <a:avLst/>
              <a:gdLst/>
              <a:ahLst/>
              <a:cxnLst>
                <a:cxn ang="0">
                  <a:pos x="wd2" y="hd2"/>
                </a:cxn>
                <a:cxn ang="5400000">
                  <a:pos x="wd2" y="hd2"/>
                </a:cxn>
                <a:cxn ang="10800000">
                  <a:pos x="wd2" y="hd2"/>
                </a:cxn>
                <a:cxn ang="16200000">
                  <a:pos x="wd2" y="hd2"/>
                </a:cxn>
              </a:cxnLst>
              <a:rect l="0" t="0" r="r" b="b"/>
              <a:pathLst>
                <a:path w="21244" h="21068" extrusionOk="0">
                  <a:moveTo>
                    <a:pt x="1088" y="10422"/>
                  </a:moveTo>
                  <a:cubicBezTo>
                    <a:pt x="2532" y="9434"/>
                    <a:pt x="3977" y="8380"/>
                    <a:pt x="5421" y="6931"/>
                  </a:cubicBezTo>
                  <a:cubicBezTo>
                    <a:pt x="6363" y="5417"/>
                    <a:pt x="6363" y="3375"/>
                    <a:pt x="7807" y="2848"/>
                  </a:cubicBezTo>
                  <a:cubicBezTo>
                    <a:pt x="9251" y="1334"/>
                    <a:pt x="11637" y="873"/>
                    <a:pt x="13521" y="346"/>
                  </a:cubicBezTo>
                  <a:cubicBezTo>
                    <a:pt x="14525" y="-115"/>
                    <a:pt x="14965" y="-115"/>
                    <a:pt x="15907" y="346"/>
                  </a:cubicBezTo>
                  <a:cubicBezTo>
                    <a:pt x="16911" y="346"/>
                    <a:pt x="17853" y="873"/>
                    <a:pt x="18795" y="1334"/>
                  </a:cubicBezTo>
                  <a:cubicBezTo>
                    <a:pt x="19297" y="2387"/>
                    <a:pt x="21244" y="2848"/>
                    <a:pt x="21244" y="3902"/>
                  </a:cubicBezTo>
                  <a:cubicBezTo>
                    <a:pt x="21244" y="4890"/>
                    <a:pt x="19297" y="4363"/>
                    <a:pt x="18795" y="4890"/>
                  </a:cubicBezTo>
                  <a:cubicBezTo>
                    <a:pt x="17853" y="5878"/>
                    <a:pt x="16409" y="6405"/>
                    <a:pt x="16409" y="7392"/>
                  </a:cubicBezTo>
                  <a:cubicBezTo>
                    <a:pt x="15907" y="8907"/>
                    <a:pt x="18356" y="9895"/>
                    <a:pt x="17853" y="10948"/>
                  </a:cubicBezTo>
                  <a:cubicBezTo>
                    <a:pt x="17351" y="12463"/>
                    <a:pt x="14023" y="11409"/>
                    <a:pt x="13521" y="12924"/>
                  </a:cubicBezTo>
                  <a:cubicBezTo>
                    <a:pt x="13081" y="14965"/>
                    <a:pt x="16409" y="15426"/>
                    <a:pt x="16911" y="17468"/>
                  </a:cubicBezTo>
                  <a:cubicBezTo>
                    <a:pt x="16911" y="18983"/>
                    <a:pt x="16409" y="20958"/>
                    <a:pt x="14965" y="20958"/>
                  </a:cubicBezTo>
                  <a:cubicBezTo>
                    <a:pt x="13521" y="21485"/>
                    <a:pt x="12579" y="19970"/>
                    <a:pt x="11135" y="19444"/>
                  </a:cubicBezTo>
                  <a:cubicBezTo>
                    <a:pt x="10695" y="19444"/>
                    <a:pt x="9691" y="20497"/>
                    <a:pt x="8749" y="19970"/>
                  </a:cubicBezTo>
                  <a:cubicBezTo>
                    <a:pt x="6802" y="18983"/>
                    <a:pt x="5421" y="17468"/>
                    <a:pt x="3977" y="15953"/>
                  </a:cubicBezTo>
                  <a:cubicBezTo>
                    <a:pt x="2532" y="15426"/>
                    <a:pt x="1088" y="15426"/>
                    <a:pt x="84" y="13978"/>
                  </a:cubicBezTo>
                  <a:cubicBezTo>
                    <a:pt x="-356" y="12924"/>
                    <a:pt x="1088" y="11409"/>
                    <a:pt x="1088" y="1042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3" name="Shape 2347">
              <a:extLst>
                <a:ext uri="{FF2B5EF4-FFF2-40B4-BE49-F238E27FC236}">
                  <a16:creationId xmlns:a16="http://schemas.microsoft.com/office/drawing/2014/main" id="{6D8CA3B0-1D6F-409D-88DC-C4B1871D2EDA}"/>
                </a:ext>
              </a:extLst>
            </p:cNvPr>
            <p:cNvSpPr/>
            <p:nvPr/>
          </p:nvSpPr>
          <p:spPr>
            <a:xfrm>
              <a:off x="3104409" y="5628140"/>
              <a:ext cx="90932" cy="161702"/>
            </a:xfrm>
            <a:custGeom>
              <a:avLst/>
              <a:gdLst/>
              <a:ahLst/>
              <a:cxnLst>
                <a:cxn ang="0">
                  <a:pos x="wd2" y="hd2"/>
                </a:cxn>
                <a:cxn ang="5400000">
                  <a:pos x="wd2" y="hd2"/>
                </a:cxn>
                <a:cxn ang="10800000">
                  <a:pos x="wd2" y="hd2"/>
                </a:cxn>
                <a:cxn ang="16200000">
                  <a:pos x="wd2" y="hd2"/>
                </a:cxn>
              </a:cxnLst>
              <a:rect l="0" t="0" r="r" b="b"/>
              <a:pathLst>
                <a:path w="20719" h="21600" extrusionOk="0">
                  <a:moveTo>
                    <a:pt x="6482" y="7859"/>
                  </a:moveTo>
                  <a:cubicBezTo>
                    <a:pt x="8244" y="7185"/>
                    <a:pt x="10618" y="7185"/>
                    <a:pt x="11155" y="6152"/>
                  </a:cubicBezTo>
                  <a:cubicBezTo>
                    <a:pt x="11767" y="4805"/>
                    <a:pt x="9469" y="3772"/>
                    <a:pt x="8857" y="2739"/>
                  </a:cubicBezTo>
                  <a:cubicBezTo>
                    <a:pt x="8244" y="2066"/>
                    <a:pt x="6482" y="1347"/>
                    <a:pt x="7095" y="674"/>
                  </a:cubicBezTo>
                  <a:cubicBezTo>
                    <a:pt x="7095" y="0"/>
                    <a:pt x="9469" y="0"/>
                    <a:pt x="10618" y="0"/>
                  </a:cubicBezTo>
                  <a:cubicBezTo>
                    <a:pt x="17052" y="1347"/>
                    <a:pt x="17052" y="1347"/>
                    <a:pt x="17052" y="1347"/>
                  </a:cubicBezTo>
                  <a:cubicBezTo>
                    <a:pt x="18201" y="2066"/>
                    <a:pt x="19350" y="2380"/>
                    <a:pt x="19350" y="3099"/>
                  </a:cubicBezTo>
                  <a:cubicBezTo>
                    <a:pt x="19350" y="3772"/>
                    <a:pt x="18201" y="3772"/>
                    <a:pt x="18201" y="4446"/>
                  </a:cubicBezTo>
                  <a:cubicBezTo>
                    <a:pt x="18201" y="4805"/>
                    <a:pt x="17665" y="4805"/>
                    <a:pt x="17665" y="5119"/>
                  </a:cubicBezTo>
                  <a:cubicBezTo>
                    <a:pt x="17665" y="5838"/>
                    <a:pt x="18201" y="6511"/>
                    <a:pt x="18201" y="7185"/>
                  </a:cubicBezTo>
                  <a:cubicBezTo>
                    <a:pt x="18814" y="7544"/>
                    <a:pt x="20576" y="7544"/>
                    <a:pt x="20576" y="7859"/>
                  </a:cubicBezTo>
                  <a:cubicBezTo>
                    <a:pt x="21112" y="8577"/>
                    <a:pt x="19963" y="9610"/>
                    <a:pt x="19963" y="10284"/>
                  </a:cubicBezTo>
                  <a:cubicBezTo>
                    <a:pt x="18814" y="10957"/>
                    <a:pt x="18201" y="11676"/>
                    <a:pt x="17052" y="12349"/>
                  </a:cubicBezTo>
                  <a:cubicBezTo>
                    <a:pt x="16440" y="12664"/>
                    <a:pt x="15291" y="12349"/>
                    <a:pt x="15291" y="12664"/>
                  </a:cubicBezTo>
                  <a:cubicBezTo>
                    <a:pt x="14142" y="13696"/>
                    <a:pt x="14142" y="15089"/>
                    <a:pt x="12380" y="16121"/>
                  </a:cubicBezTo>
                  <a:cubicBezTo>
                    <a:pt x="11767" y="16481"/>
                    <a:pt x="9469" y="15762"/>
                    <a:pt x="9469" y="16481"/>
                  </a:cubicBezTo>
                  <a:cubicBezTo>
                    <a:pt x="8857" y="17828"/>
                    <a:pt x="10006" y="19534"/>
                    <a:pt x="10006" y="20926"/>
                  </a:cubicBezTo>
                  <a:cubicBezTo>
                    <a:pt x="7095" y="21600"/>
                    <a:pt x="7095" y="21600"/>
                    <a:pt x="7095" y="21600"/>
                  </a:cubicBezTo>
                  <a:cubicBezTo>
                    <a:pt x="1810" y="21241"/>
                    <a:pt x="1810" y="21241"/>
                    <a:pt x="1810" y="21241"/>
                  </a:cubicBezTo>
                  <a:cubicBezTo>
                    <a:pt x="3572" y="21241"/>
                    <a:pt x="4184" y="19894"/>
                    <a:pt x="4184" y="18861"/>
                  </a:cubicBezTo>
                  <a:cubicBezTo>
                    <a:pt x="3572" y="17469"/>
                    <a:pt x="-488" y="17154"/>
                    <a:pt x="48" y="15762"/>
                  </a:cubicBezTo>
                  <a:cubicBezTo>
                    <a:pt x="661" y="14729"/>
                    <a:pt x="4721" y="15448"/>
                    <a:pt x="5333" y="14415"/>
                  </a:cubicBezTo>
                  <a:cubicBezTo>
                    <a:pt x="5946" y="13696"/>
                    <a:pt x="2959" y="13023"/>
                    <a:pt x="3572" y="11990"/>
                  </a:cubicBezTo>
                  <a:cubicBezTo>
                    <a:pt x="3572" y="11316"/>
                    <a:pt x="5333" y="10957"/>
                    <a:pt x="6482" y="10284"/>
                  </a:cubicBezTo>
                  <a:cubicBezTo>
                    <a:pt x="7095" y="9924"/>
                    <a:pt x="9469" y="10284"/>
                    <a:pt x="9469" y="9610"/>
                  </a:cubicBezTo>
                  <a:cubicBezTo>
                    <a:pt x="9469" y="8891"/>
                    <a:pt x="7095" y="8577"/>
                    <a:pt x="6482" y="785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4" name="Shape 2348">
              <a:extLst>
                <a:ext uri="{FF2B5EF4-FFF2-40B4-BE49-F238E27FC236}">
                  <a16:creationId xmlns:a16="http://schemas.microsoft.com/office/drawing/2014/main" id="{D0430982-2260-BC95-C637-595D2BAEBD4D}"/>
                </a:ext>
              </a:extLst>
            </p:cNvPr>
            <p:cNvSpPr/>
            <p:nvPr/>
          </p:nvSpPr>
          <p:spPr>
            <a:xfrm>
              <a:off x="3182540" y="5635574"/>
              <a:ext cx="111148" cy="93315"/>
            </a:xfrm>
            <a:custGeom>
              <a:avLst/>
              <a:gdLst/>
              <a:ahLst/>
              <a:cxnLst>
                <a:cxn ang="0">
                  <a:pos x="wd2" y="hd2"/>
                </a:cxn>
                <a:cxn ang="5400000">
                  <a:pos x="wd2" y="hd2"/>
                </a:cxn>
                <a:cxn ang="10800000">
                  <a:pos x="wd2" y="hd2"/>
                </a:cxn>
                <a:cxn ang="16200000">
                  <a:pos x="wd2" y="hd2"/>
                </a:cxn>
              </a:cxnLst>
              <a:rect l="0" t="0" r="r" b="b"/>
              <a:pathLst>
                <a:path w="21600" h="21600" extrusionOk="0">
                  <a:moveTo>
                    <a:pt x="0" y="7148"/>
                  </a:moveTo>
                  <a:cubicBezTo>
                    <a:pt x="0" y="8404"/>
                    <a:pt x="461" y="9583"/>
                    <a:pt x="461" y="10761"/>
                  </a:cubicBezTo>
                  <a:cubicBezTo>
                    <a:pt x="988" y="11389"/>
                    <a:pt x="2502" y="11389"/>
                    <a:pt x="2502" y="11939"/>
                  </a:cubicBezTo>
                  <a:cubicBezTo>
                    <a:pt x="2963" y="13196"/>
                    <a:pt x="1976" y="15002"/>
                    <a:pt x="1976" y="16180"/>
                  </a:cubicBezTo>
                  <a:cubicBezTo>
                    <a:pt x="3490" y="17359"/>
                    <a:pt x="4478" y="19165"/>
                    <a:pt x="5993" y="19793"/>
                  </a:cubicBezTo>
                  <a:cubicBezTo>
                    <a:pt x="6980" y="20343"/>
                    <a:pt x="7507" y="19793"/>
                    <a:pt x="8034" y="19793"/>
                  </a:cubicBezTo>
                  <a:cubicBezTo>
                    <a:pt x="9022" y="20343"/>
                    <a:pt x="10010" y="20972"/>
                    <a:pt x="10537" y="21600"/>
                  </a:cubicBezTo>
                  <a:cubicBezTo>
                    <a:pt x="12051" y="21600"/>
                    <a:pt x="14027" y="21600"/>
                    <a:pt x="15541" y="21600"/>
                  </a:cubicBezTo>
                  <a:cubicBezTo>
                    <a:pt x="16595" y="19793"/>
                    <a:pt x="18571" y="17987"/>
                    <a:pt x="19098" y="16180"/>
                  </a:cubicBezTo>
                  <a:cubicBezTo>
                    <a:pt x="20085" y="13745"/>
                    <a:pt x="19559" y="11389"/>
                    <a:pt x="20085" y="8954"/>
                  </a:cubicBezTo>
                  <a:cubicBezTo>
                    <a:pt x="20085" y="7776"/>
                    <a:pt x="21073" y="6598"/>
                    <a:pt x="21600" y="4791"/>
                  </a:cubicBezTo>
                  <a:cubicBezTo>
                    <a:pt x="20612" y="4163"/>
                    <a:pt x="20085" y="2356"/>
                    <a:pt x="19098" y="1807"/>
                  </a:cubicBezTo>
                  <a:cubicBezTo>
                    <a:pt x="17056" y="550"/>
                    <a:pt x="14554" y="0"/>
                    <a:pt x="12512" y="0"/>
                  </a:cubicBezTo>
                  <a:cubicBezTo>
                    <a:pt x="11524" y="550"/>
                    <a:pt x="12051" y="2356"/>
                    <a:pt x="10998" y="2356"/>
                  </a:cubicBezTo>
                  <a:cubicBezTo>
                    <a:pt x="10010" y="2985"/>
                    <a:pt x="8495" y="2356"/>
                    <a:pt x="7507" y="2985"/>
                  </a:cubicBezTo>
                  <a:cubicBezTo>
                    <a:pt x="6520" y="4163"/>
                    <a:pt x="6520" y="6598"/>
                    <a:pt x="5466" y="7148"/>
                  </a:cubicBezTo>
                  <a:cubicBezTo>
                    <a:pt x="4017" y="7776"/>
                    <a:pt x="1976" y="7148"/>
                    <a:pt x="0" y="71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5" name="Shape 2349">
              <a:extLst>
                <a:ext uri="{FF2B5EF4-FFF2-40B4-BE49-F238E27FC236}">
                  <a16:creationId xmlns:a16="http://schemas.microsoft.com/office/drawing/2014/main" id="{5FD60E90-CFEE-C1E0-C4C2-CD7690E8878A}"/>
                </a:ext>
              </a:extLst>
            </p:cNvPr>
            <p:cNvSpPr/>
            <p:nvPr/>
          </p:nvSpPr>
          <p:spPr>
            <a:xfrm>
              <a:off x="3144308" y="5705443"/>
              <a:ext cx="134516" cy="111155"/>
            </a:xfrm>
            <a:custGeom>
              <a:avLst/>
              <a:gdLst/>
              <a:ahLst/>
              <a:cxnLst>
                <a:cxn ang="0">
                  <a:pos x="wd2" y="hd2"/>
                </a:cxn>
                <a:cxn ang="5400000">
                  <a:pos x="wd2" y="hd2"/>
                </a:cxn>
                <a:cxn ang="10800000">
                  <a:pos x="wd2" y="hd2"/>
                </a:cxn>
                <a:cxn ang="16200000">
                  <a:pos x="wd2" y="hd2"/>
                </a:cxn>
              </a:cxnLst>
              <a:rect l="0" t="0" r="r" b="b"/>
              <a:pathLst>
                <a:path w="21299" h="21600" extrusionOk="0">
                  <a:moveTo>
                    <a:pt x="7432" y="0"/>
                  </a:moveTo>
                  <a:cubicBezTo>
                    <a:pt x="8659" y="988"/>
                    <a:pt x="9459" y="2502"/>
                    <a:pt x="10686" y="3029"/>
                  </a:cubicBezTo>
                  <a:cubicBezTo>
                    <a:pt x="11486" y="3490"/>
                    <a:pt x="11912" y="3029"/>
                    <a:pt x="12339" y="3029"/>
                  </a:cubicBezTo>
                  <a:cubicBezTo>
                    <a:pt x="13139" y="3490"/>
                    <a:pt x="13939" y="4017"/>
                    <a:pt x="14366" y="4544"/>
                  </a:cubicBezTo>
                  <a:cubicBezTo>
                    <a:pt x="15592" y="4544"/>
                    <a:pt x="17192" y="4544"/>
                    <a:pt x="18419" y="4544"/>
                  </a:cubicBezTo>
                  <a:cubicBezTo>
                    <a:pt x="19272" y="5532"/>
                    <a:pt x="20872" y="6059"/>
                    <a:pt x="21299" y="7573"/>
                  </a:cubicBezTo>
                  <a:cubicBezTo>
                    <a:pt x="21299" y="9549"/>
                    <a:pt x="20072" y="11063"/>
                    <a:pt x="19272" y="12578"/>
                  </a:cubicBezTo>
                  <a:cubicBezTo>
                    <a:pt x="19272" y="13105"/>
                    <a:pt x="18419" y="13566"/>
                    <a:pt x="18046" y="14093"/>
                  </a:cubicBezTo>
                  <a:cubicBezTo>
                    <a:pt x="16819" y="15080"/>
                    <a:pt x="16392" y="16595"/>
                    <a:pt x="15166" y="16595"/>
                  </a:cubicBezTo>
                  <a:cubicBezTo>
                    <a:pt x="14366" y="17122"/>
                    <a:pt x="13566" y="15607"/>
                    <a:pt x="12712" y="15607"/>
                  </a:cubicBezTo>
                  <a:cubicBezTo>
                    <a:pt x="11486" y="15080"/>
                    <a:pt x="10259" y="15607"/>
                    <a:pt x="9086" y="15607"/>
                  </a:cubicBezTo>
                  <a:cubicBezTo>
                    <a:pt x="9086" y="15607"/>
                    <a:pt x="7859" y="21139"/>
                    <a:pt x="7859" y="21600"/>
                  </a:cubicBezTo>
                  <a:cubicBezTo>
                    <a:pt x="7432" y="21600"/>
                    <a:pt x="4979" y="20085"/>
                    <a:pt x="4979" y="20085"/>
                  </a:cubicBezTo>
                  <a:cubicBezTo>
                    <a:pt x="4606" y="20085"/>
                    <a:pt x="4979" y="17583"/>
                    <a:pt x="4979" y="17583"/>
                  </a:cubicBezTo>
                  <a:cubicBezTo>
                    <a:pt x="3379" y="17122"/>
                    <a:pt x="2152" y="16595"/>
                    <a:pt x="499" y="15607"/>
                  </a:cubicBezTo>
                  <a:cubicBezTo>
                    <a:pt x="499" y="13566"/>
                    <a:pt x="-301" y="11063"/>
                    <a:pt x="126" y="9088"/>
                  </a:cubicBezTo>
                  <a:cubicBezTo>
                    <a:pt x="126" y="8034"/>
                    <a:pt x="1726" y="9088"/>
                    <a:pt x="2152" y="8561"/>
                  </a:cubicBezTo>
                  <a:cubicBezTo>
                    <a:pt x="3379" y="7046"/>
                    <a:pt x="3379" y="5005"/>
                    <a:pt x="4179" y="3490"/>
                  </a:cubicBezTo>
                  <a:cubicBezTo>
                    <a:pt x="4179" y="3029"/>
                    <a:pt x="4979" y="3490"/>
                    <a:pt x="5406" y="3029"/>
                  </a:cubicBezTo>
                  <a:cubicBezTo>
                    <a:pt x="6206" y="2041"/>
                    <a:pt x="6632" y="988"/>
                    <a:pt x="7432"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6" name="Shape 2350">
              <a:extLst>
                <a:ext uri="{FF2B5EF4-FFF2-40B4-BE49-F238E27FC236}">
                  <a16:creationId xmlns:a16="http://schemas.microsoft.com/office/drawing/2014/main" id="{08EB92E2-BFEE-DE3B-6B9A-E78E8B81465D}"/>
                </a:ext>
              </a:extLst>
            </p:cNvPr>
            <p:cNvSpPr/>
            <p:nvPr/>
          </p:nvSpPr>
          <p:spPr>
            <a:xfrm>
              <a:off x="2683086" y="5761932"/>
              <a:ext cx="597226" cy="381272"/>
            </a:xfrm>
            <a:custGeom>
              <a:avLst/>
              <a:gdLst/>
              <a:ahLst/>
              <a:cxnLst>
                <a:cxn ang="0">
                  <a:pos x="wd2" y="hd2"/>
                </a:cxn>
                <a:cxn ang="5400000">
                  <a:pos x="wd2" y="hd2"/>
                </a:cxn>
                <a:cxn ang="10800000">
                  <a:pos x="wd2" y="hd2"/>
                </a:cxn>
                <a:cxn ang="16200000">
                  <a:pos x="wd2" y="hd2"/>
                </a:cxn>
              </a:cxnLst>
              <a:rect l="0" t="0" r="r" b="b"/>
              <a:pathLst>
                <a:path w="21600" h="21491" extrusionOk="0">
                  <a:moveTo>
                    <a:pt x="7070" y="3341"/>
                  </a:moveTo>
                  <a:cubicBezTo>
                    <a:pt x="7265" y="3473"/>
                    <a:pt x="7265" y="3625"/>
                    <a:pt x="7533" y="3625"/>
                  </a:cubicBezTo>
                  <a:cubicBezTo>
                    <a:pt x="7814" y="3777"/>
                    <a:pt x="8094" y="3777"/>
                    <a:pt x="8374" y="3777"/>
                  </a:cubicBezTo>
                  <a:cubicBezTo>
                    <a:pt x="8655" y="3777"/>
                    <a:pt x="8935" y="3777"/>
                    <a:pt x="9215" y="3625"/>
                  </a:cubicBezTo>
                  <a:cubicBezTo>
                    <a:pt x="9496" y="3625"/>
                    <a:pt x="9776" y="3341"/>
                    <a:pt x="10056" y="3189"/>
                  </a:cubicBezTo>
                  <a:cubicBezTo>
                    <a:pt x="10142" y="3037"/>
                    <a:pt x="10239" y="2904"/>
                    <a:pt x="10337" y="2904"/>
                  </a:cubicBezTo>
                  <a:cubicBezTo>
                    <a:pt x="10520" y="2904"/>
                    <a:pt x="10702" y="3037"/>
                    <a:pt x="10800" y="3037"/>
                  </a:cubicBezTo>
                  <a:cubicBezTo>
                    <a:pt x="11080" y="2752"/>
                    <a:pt x="11263" y="2467"/>
                    <a:pt x="11544" y="2183"/>
                  </a:cubicBezTo>
                  <a:cubicBezTo>
                    <a:pt x="11726" y="1746"/>
                    <a:pt x="11824" y="1158"/>
                    <a:pt x="12104" y="1006"/>
                  </a:cubicBezTo>
                  <a:cubicBezTo>
                    <a:pt x="12372" y="721"/>
                    <a:pt x="12653" y="1158"/>
                    <a:pt x="12933" y="873"/>
                  </a:cubicBezTo>
                  <a:cubicBezTo>
                    <a:pt x="13128" y="721"/>
                    <a:pt x="13214" y="285"/>
                    <a:pt x="13409" y="0"/>
                  </a:cubicBezTo>
                  <a:cubicBezTo>
                    <a:pt x="13689" y="437"/>
                    <a:pt x="13957" y="873"/>
                    <a:pt x="14335" y="1158"/>
                  </a:cubicBezTo>
                  <a:cubicBezTo>
                    <a:pt x="14518" y="1310"/>
                    <a:pt x="14713" y="1006"/>
                    <a:pt x="14798" y="1006"/>
                  </a:cubicBezTo>
                  <a:cubicBezTo>
                    <a:pt x="15079" y="1158"/>
                    <a:pt x="15261" y="1594"/>
                    <a:pt x="15542" y="1443"/>
                  </a:cubicBezTo>
                  <a:cubicBezTo>
                    <a:pt x="16383" y="1594"/>
                    <a:pt x="16383" y="1594"/>
                    <a:pt x="16383" y="1594"/>
                  </a:cubicBezTo>
                  <a:cubicBezTo>
                    <a:pt x="16846" y="1310"/>
                    <a:pt x="16846" y="1310"/>
                    <a:pt x="16846" y="1310"/>
                  </a:cubicBezTo>
                  <a:cubicBezTo>
                    <a:pt x="17224" y="1594"/>
                    <a:pt x="17504" y="1746"/>
                    <a:pt x="17870" y="1879"/>
                  </a:cubicBezTo>
                  <a:cubicBezTo>
                    <a:pt x="17870" y="1879"/>
                    <a:pt x="17785" y="2600"/>
                    <a:pt x="17870" y="2600"/>
                  </a:cubicBezTo>
                  <a:cubicBezTo>
                    <a:pt x="17870" y="2600"/>
                    <a:pt x="18431" y="3037"/>
                    <a:pt x="18528" y="3037"/>
                  </a:cubicBezTo>
                  <a:cubicBezTo>
                    <a:pt x="18528" y="2904"/>
                    <a:pt x="18809" y="1310"/>
                    <a:pt x="18809" y="1310"/>
                  </a:cubicBezTo>
                  <a:cubicBezTo>
                    <a:pt x="19077" y="1310"/>
                    <a:pt x="19357" y="1158"/>
                    <a:pt x="19637" y="1310"/>
                  </a:cubicBezTo>
                  <a:cubicBezTo>
                    <a:pt x="19833" y="1310"/>
                    <a:pt x="20015" y="1746"/>
                    <a:pt x="20198" y="1594"/>
                  </a:cubicBezTo>
                  <a:cubicBezTo>
                    <a:pt x="20479" y="1594"/>
                    <a:pt x="20576" y="1158"/>
                    <a:pt x="20856" y="873"/>
                  </a:cubicBezTo>
                  <a:cubicBezTo>
                    <a:pt x="20942" y="1158"/>
                    <a:pt x="21137" y="1443"/>
                    <a:pt x="21137" y="1879"/>
                  </a:cubicBezTo>
                  <a:cubicBezTo>
                    <a:pt x="21222" y="2316"/>
                    <a:pt x="21137" y="2904"/>
                    <a:pt x="21137" y="3341"/>
                  </a:cubicBezTo>
                  <a:cubicBezTo>
                    <a:pt x="21137" y="4214"/>
                    <a:pt x="21039" y="4935"/>
                    <a:pt x="21137" y="5656"/>
                  </a:cubicBezTo>
                  <a:cubicBezTo>
                    <a:pt x="21222" y="6378"/>
                    <a:pt x="21502" y="6814"/>
                    <a:pt x="21600" y="7383"/>
                  </a:cubicBezTo>
                  <a:cubicBezTo>
                    <a:pt x="21600" y="7687"/>
                    <a:pt x="21502" y="7820"/>
                    <a:pt x="21502" y="7972"/>
                  </a:cubicBezTo>
                  <a:cubicBezTo>
                    <a:pt x="21502" y="8257"/>
                    <a:pt x="21502" y="8560"/>
                    <a:pt x="21502" y="8845"/>
                  </a:cubicBezTo>
                  <a:cubicBezTo>
                    <a:pt x="21320" y="9130"/>
                    <a:pt x="21222" y="9566"/>
                    <a:pt x="20942" y="9870"/>
                  </a:cubicBezTo>
                  <a:cubicBezTo>
                    <a:pt x="20856" y="9870"/>
                    <a:pt x="20661" y="9718"/>
                    <a:pt x="20576" y="9870"/>
                  </a:cubicBezTo>
                  <a:cubicBezTo>
                    <a:pt x="20198" y="10155"/>
                    <a:pt x="20198" y="11028"/>
                    <a:pt x="19918" y="11161"/>
                  </a:cubicBezTo>
                  <a:cubicBezTo>
                    <a:pt x="19357" y="11312"/>
                    <a:pt x="18991" y="10155"/>
                    <a:pt x="18528" y="10288"/>
                  </a:cubicBezTo>
                  <a:cubicBezTo>
                    <a:pt x="18150" y="10439"/>
                    <a:pt x="18333" y="11445"/>
                    <a:pt x="18065" y="11882"/>
                  </a:cubicBezTo>
                  <a:cubicBezTo>
                    <a:pt x="17590" y="12907"/>
                    <a:pt x="17126" y="14065"/>
                    <a:pt x="16480" y="14653"/>
                  </a:cubicBezTo>
                  <a:cubicBezTo>
                    <a:pt x="16005" y="15090"/>
                    <a:pt x="15261" y="14349"/>
                    <a:pt x="14798" y="14786"/>
                  </a:cubicBezTo>
                  <a:cubicBezTo>
                    <a:pt x="14433" y="15090"/>
                    <a:pt x="14335" y="15811"/>
                    <a:pt x="14152" y="16380"/>
                  </a:cubicBezTo>
                  <a:cubicBezTo>
                    <a:pt x="13957" y="16665"/>
                    <a:pt x="13689" y="16969"/>
                    <a:pt x="13494" y="17253"/>
                  </a:cubicBezTo>
                  <a:cubicBezTo>
                    <a:pt x="13409" y="17823"/>
                    <a:pt x="13409" y="18411"/>
                    <a:pt x="13409" y="19000"/>
                  </a:cubicBezTo>
                  <a:cubicBezTo>
                    <a:pt x="13409" y="19000"/>
                    <a:pt x="12372" y="19721"/>
                    <a:pt x="12287" y="19721"/>
                  </a:cubicBezTo>
                  <a:cubicBezTo>
                    <a:pt x="12104" y="19873"/>
                    <a:pt x="12104" y="20594"/>
                    <a:pt x="12104" y="20594"/>
                  </a:cubicBezTo>
                  <a:cubicBezTo>
                    <a:pt x="11629" y="20442"/>
                    <a:pt x="11166" y="20006"/>
                    <a:pt x="10702" y="20290"/>
                  </a:cubicBezTo>
                  <a:cubicBezTo>
                    <a:pt x="10422" y="20442"/>
                    <a:pt x="10617" y="21467"/>
                    <a:pt x="10337" y="21467"/>
                  </a:cubicBezTo>
                  <a:cubicBezTo>
                    <a:pt x="9959" y="21600"/>
                    <a:pt x="9581" y="21163"/>
                    <a:pt x="9301" y="20727"/>
                  </a:cubicBezTo>
                  <a:cubicBezTo>
                    <a:pt x="9215" y="20442"/>
                    <a:pt x="9398" y="19873"/>
                    <a:pt x="9215" y="19569"/>
                  </a:cubicBezTo>
                  <a:cubicBezTo>
                    <a:pt x="8935" y="19133"/>
                    <a:pt x="8557" y="19133"/>
                    <a:pt x="8277" y="19284"/>
                  </a:cubicBezTo>
                  <a:cubicBezTo>
                    <a:pt x="7911" y="19436"/>
                    <a:pt x="7631" y="20006"/>
                    <a:pt x="7265" y="20290"/>
                  </a:cubicBezTo>
                  <a:cubicBezTo>
                    <a:pt x="7265" y="20157"/>
                    <a:pt x="7070" y="20006"/>
                    <a:pt x="6985" y="20006"/>
                  </a:cubicBezTo>
                  <a:cubicBezTo>
                    <a:pt x="6887" y="19873"/>
                    <a:pt x="6790" y="19721"/>
                    <a:pt x="6704" y="19569"/>
                  </a:cubicBezTo>
                  <a:cubicBezTo>
                    <a:pt x="6424" y="19133"/>
                    <a:pt x="6509" y="19284"/>
                    <a:pt x="6144" y="19569"/>
                  </a:cubicBezTo>
                  <a:cubicBezTo>
                    <a:pt x="5205" y="20442"/>
                    <a:pt x="5680" y="18696"/>
                    <a:pt x="5302" y="18259"/>
                  </a:cubicBezTo>
                  <a:cubicBezTo>
                    <a:pt x="4925" y="17690"/>
                    <a:pt x="4925" y="17690"/>
                    <a:pt x="4925" y="16817"/>
                  </a:cubicBezTo>
                  <a:cubicBezTo>
                    <a:pt x="5022" y="15659"/>
                    <a:pt x="4376" y="15090"/>
                    <a:pt x="4181" y="14217"/>
                  </a:cubicBezTo>
                  <a:cubicBezTo>
                    <a:pt x="4096" y="14065"/>
                    <a:pt x="3718" y="13476"/>
                    <a:pt x="3535" y="13343"/>
                  </a:cubicBezTo>
                  <a:cubicBezTo>
                    <a:pt x="3255" y="13040"/>
                    <a:pt x="3072" y="12470"/>
                    <a:pt x="2877" y="12034"/>
                  </a:cubicBezTo>
                  <a:cubicBezTo>
                    <a:pt x="2791" y="11882"/>
                    <a:pt x="2414" y="11597"/>
                    <a:pt x="2511" y="11445"/>
                  </a:cubicBezTo>
                  <a:cubicBezTo>
                    <a:pt x="3437" y="11028"/>
                    <a:pt x="4096" y="10876"/>
                    <a:pt x="3437" y="9130"/>
                  </a:cubicBezTo>
                  <a:cubicBezTo>
                    <a:pt x="2974" y="8124"/>
                    <a:pt x="2133" y="7251"/>
                    <a:pt x="1390" y="6662"/>
                  </a:cubicBezTo>
                  <a:cubicBezTo>
                    <a:pt x="561" y="6093"/>
                    <a:pt x="561" y="6093"/>
                    <a:pt x="561" y="6093"/>
                  </a:cubicBezTo>
                  <a:cubicBezTo>
                    <a:pt x="366" y="5504"/>
                    <a:pt x="183" y="5068"/>
                    <a:pt x="0" y="4498"/>
                  </a:cubicBezTo>
                  <a:cubicBezTo>
                    <a:pt x="183" y="4347"/>
                    <a:pt x="744" y="3473"/>
                    <a:pt x="1024" y="3473"/>
                  </a:cubicBezTo>
                  <a:cubicBezTo>
                    <a:pt x="1304" y="3341"/>
                    <a:pt x="1390" y="3777"/>
                    <a:pt x="1670" y="3910"/>
                  </a:cubicBezTo>
                  <a:cubicBezTo>
                    <a:pt x="2133" y="4062"/>
                    <a:pt x="2877" y="4062"/>
                    <a:pt x="3352" y="3910"/>
                  </a:cubicBezTo>
                  <a:cubicBezTo>
                    <a:pt x="4181" y="5504"/>
                    <a:pt x="5205" y="6378"/>
                    <a:pt x="6229" y="5220"/>
                  </a:cubicBezTo>
                  <a:cubicBezTo>
                    <a:pt x="6424" y="4935"/>
                    <a:pt x="6887" y="4062"/>
                    <a:pt x="7070" y="334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7" name="Shape 2351">
              <a:extLst>
                <a:ext uri="{FF2B5EF4-FFF2-40B4-BE49-F238E27FC236}">
                  <a16:creationId xmlns:a16="http://schemas.microsoft.com/office/drawing/2014/main" id="{601C7309-9834-88A5-2894-A899BE880E1E}"/>
                </a:ext>
              </a:extLst>
            </p:cNvPr>
            <p:cNvSpPr/>
            <p:nvPr/>
          </p:nvSpPr>
          <p:spPr>
            <a:xfrm>
              <a:off x="2532952" y="5793150"/>
              <a:ext cx="251909" cy="241975"/>
            </a:xfrm>
            <a:custGeom>
              <a:avLst/>
              <a:gdLst/>
              <a:ahLst/>
              <a:cxnLst>
                <a:cxn ang="0">
                  <a:pos x="wd2" y="hd2"/>
                </a:cxn>
                <a:cxn ang="5400000">
                  <a:pos x="wd2" y="hd2"/>
                </a:cxn>
                <a:cxn ang="10800000">
                  <a:pos x="wd2" y="hd2"/>
                </a:cxn>
                <a:cxn ang="16200000">
                  <a:pos x="wd2" y="hd2"/>
                </a:cxn>
              </a:cxnLst>
              <a:rect l="0" t="0" r="r" b="b"/>
              <a:pathLst>
                <a:path w="20707" h="21600" extrusionOk="0">
                  <a:moveTo>
                    <a:pt x="13549" y="6889"/>
                  </a:moveTo>
                  <a:cubicBezTo>
                    <a:pt x="13965" y="7792"/>
                    <a:pt x="14381" y="8935"/>
                    <a:pt x="14381" y="10319"/>
                  </a:cubicBezTo>
                  <a:cubicBezTo>
                    <a:pt x="11827" y="11011"/>
                    <a:pt x="5719" y="0"/>
                    <a:pt x="3165" y="0"/>
                  </a:cubicBezTo>
                  <a:cubicBezTo>
                    <a:pt x="2332" y="0"/>
                    <a:pt x="1694" y="0"/>
                    <a:pt x="833" y="211"/>
                  </a:cubicBezTo>
                  <a:cubicBezTo>
                    <a:pt x="611" y="1354"/>
                    <a:pt x="194" y="1594"/>
                    <a:pt x="0" y="2978"/>
                  </a:cubicBezTo>
                  <a:cubicBezTo>
                    <a:pt x="0" y="3430"/>
                    <a:pt x="416" y="4362"/>
                    <a:pt x="833" y="4813"/>
                  </a:cubicBezTo>
                  <a:cubicBezTo>
                    <a:pt x="1055" y="4813"/>
                    <a:pt x="1471" y="4362"/>
                    <a:pt x="1694" y="4362"/>
                  </a:cubicBezTo>
                  <a:cubicBezTo>
                    <a:pt x="2110" y="4813"/>
                    <a:pt x="2526" y="5265"/>
                    <a:pt x="2526" y="5957"/>
                  </a:cubicBezTo>
                  <a:cubicBezTo>
                    <a:pt x="2526" y="6438"/>
                    <a:pt x="1694" y="6648"/>
                    <a:pt x="1694" y="7100"/>
                  </a:cubicBezTo>
                  <a:cubicBezTo>
                    <a:pt x="1694" y="7581"/>
                    <a:pt x="2110" y="8032"/>
                    <a:pt x="2332" y="8484"/>
                  </a:cubicBezTo>
                  <a:cubicBezTo>
                    <a:pt x="2749" y="8724"/>
                    <a:pt x="3387" y="8484"/>
                    <a:pt x="3387" y="8935"/>
                  </a:cubicBezTo>
                  <a:cubicBezTo>
                    <a:pt x="3804" y="9627"/>
                    <a:pt x="3387" y="10559"/>
                    <a:pt x="3609" y="11251"/>
                  </a:cubicBezTo>
                  <a:cubicBezTo>
                    <a:pt x="3804" y="11943"/>
                    <a:pt x="4442" y="12394"/>
                    <a:pt x="4664" y="13086"/>
                  </a:cubicBezTo>
                  <a:cubicBezTo>
                    <a:pt x="5303" y="13778"/>
                    <a:pt x="5303" y="15162"/>
                    <a:pt x="6136" y="15613"/>
                  </a:cubicBezTo>
                  <a:cubicBezTo>
                    <a:pt x="6774" y="15854"/>
                    <a:pt x="7635" y="15162"/>
                    <a:pt x="8218" y="15162"/>
                  </a:cubicBezTo>
                  <a:cubicBezTo>
                    <a:pt x="8440" y="15162"/>
                    <a:pt x="9079" y="15162"/>
                    <a:pt x="9079" y="15373"/>
                  </a:cubicBezTo>
                  <a:cubicBezTo>
                    <a:pt x="9495" y="16546"/>
                    <a:pt x="8857" y="17689"/>
                    <a:pt x="9301" y="18592"/>
                  </a:cubicBezTo>
                  <a:cubicBezTo>
                    <a:pt x="9495" y="19073"/>
                    <a:pt x="10356" y="18592"/>
                    <a:pt x="10578" y="18832"/>
                  </a:cubicBezTo>
                  <a:cubicBezTo>
                    <a:pt x="10994" y="19765"/>
                    <a:pt x="10994" y="20667"/>
                    <a:pt x="11216" y="21600"/>
                  </a:cubicBezTo>
                  <a:cubicBezTo>
                    <a:pt x="11827" y="21359"/>
                    <a:pt x="12466" y="20908"/>
                    <a:pt x="13104" y="20667"/>
                  </a:cubicBezTo>
                  <a:cubicBezTo>
                    <a:pt x="13743" y="20457"/>
                    <a:pt x="14798" y="20457"/>
                    <a:pt x="15242" y="19975"/>
                  </a:cubicBezTo>
                  <a:cubicBezTo>
                    <a:pt x="15853" y="19284"/>
                    <a:pt x="16075" y="18381"/>
                    <a:pt x="16714" y="17689"/>
                  </a:cubicBezTo>
                  <a:cubicBezTo>
                    <a:pt x="17352" y="17208"/>
                    <a:pt x="17991" y="16757"/>
                    <a:pt x="18824" y="16305"/>
                  </a:cubicBezTo>
                  <a:cubicBezTo>
                    <a:pt x="18629" y="16065"/>
                    <a:pt x="17769" y="15613"/>
                    <a:pt x="17991" y="15373"/>
                  </a:cubicBezTo>
                  <a:cubicBezTo>
                    <a:pt x="20101" y="14711"/>
                    <a:pt x="21600" y="14470"/>
                    <a:pt x="20101" y="11703"/>
                  </a:cubicBezTo>
                  <a:cubicBezTo>
                    <a:pt x="19046" y="10108"/>
                    <a:pt x="17130" y="8724"/>
                    <a:pt x="15437" y="7792"/>
                  </a:cubicBezTo>
                  <a:cubicBezTo>
                    <a:pt x="13549" y="6889"/>
                    <a:pt x="13549" y="6889"/>
                    <a:pt x="13549" y="688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8" name="Shape 2352">
              <a:extLst>
                <a:ext uri="{FF2B5EF4-FFF2-40B4-BE49-F238E27FC236}">
                  <a16:creationId xmlns:a16="http://schemas.microsoft.com/office/drawing/2014/main" id="{CF4233F5-3ECA-287B-87A5-49A492F59279}"/>
                </a:ext>
              </a:extLst>
            </p:cNvPr>
            <p:cNvSpPr/>
            <p:nvPr/>
          </p:nvSpPr>
          <p:spPr>
            <a:xfrm>
              <a:off x="2543356" y="5974512"/>
              <a:ext cx="346192" cy="239839"/>
            </a:xfrm>
            <a:custGeom>
              <a:avLst/>
              <a:gdLst/>
              <a:ahLst/>
              <a:cxnLst>
                <a:cxn ang="0">
                  <a:pos x="wd2" y="hd2"/>
                </a:cxn>
                <a:cxn ang="5400000">
                  <a:pos x="wd2" y="hd2"/>
                </a:cxn>
                <a:cxn ang="10800000">
                  <a:pos x="wd2" y="hd2"/>
                </a:cxn>
                <a:cxn ang="16200000">
                  <a:pos x="wd2" y="hd2"/>
                </a:cxn>
              </a:cxnLst>
              <a:rect l="0" t="0" r="r" b="b"/>
              <a:pathLst>
                <a:path w="21336" h="21409" extrusionOk="0">
                  <a:moveTo>
                    <a:pt x="20976" y="13086"/>
                  </a:moveTo>
                  <a:cubicBezTo>
                    <a:pt x="20976" y="12876"/>
                    <a:pt x="20643" y="12635"/>
                    <a:pt x="20497" y="12635"/>
                  </a:cubicBezTo>
                  <a:cubicBezTo>
                    <a:pt x="20331" y="12425"/>
                    <a:pt x="20164" y="12184"/>
                    <a:pt x="20018" y="11943"/>
                  </a:cubicBezTo>
                  <a:cubicBezTo>
                    <a:pt x="19540" y="11251"/>
                    <a:pt x="19686" y="11492"/>
                    <a:pt x="19061" y="11943"/>
                  </a:cubicBezTo>
                  <a:cubicBezTo>
                    <a:pt x="17459" y="13327"/>
                    <a:pt x="18271" y="10559"/>
                    <a:pt x="17625" y="9867"/>
                  </a:cubicBezTo>
                  <a:cubicBezTo>
                    <a:pt x="16980" y="8965"/>
                    <a:pt x="16980" y="8965"/>
                    <a:pt x="16980" y="7581"/>
                  </a:cubicBezTo>
                  <a:cubicBezTo>
                    <a:pt x="17147" y="5746"/>
                    <a:pt x="16044" y="4843"/>
                    <a:pt x="15711" y="3460"/>
                  </a:cubicBezTo>
                  <a:cubicBezTo>
                    <a:pt x="15565" y="3219"/>
                    <a:pt x="14920" y="2286"/>
                    <a:pt x="14608" y="2076"/>
                  </a:cubicBezTo>
                  <a:cubicBezTo>
                    <a:pt x="14129" y="1594"/>
                    <a:pt x="13817" y="692"/>
                    <a:pt x="13484" y="0"/>
                  </a:cubicBezTo>
                  <a:cubicBezTo>
                    <a:pt x="12860" y="451"/>
                    <a:pt x="12382" y="903"/>
                    <a:pt x="11903" y="1384"/>
                  </a:cubicBezTo>
                  <a:cubicBezTo>
                    <a:pt x="11424" y="2076"/>
                    <a:pt x="11258" y="2978"/>
                    <a:pt x="10800" y="3670"/>
                  </a:cubicBezTo>
                  <a:cubicBezTo>
                    <a:pt x="10467" y="4152"/>
                    <a:pt x="9676" y="4152"/>
                    <a:pt x="9198" y="4362"/>
                  </a:cubicBezTo>
                  <a:cubicBezTo>
                    <a:pt x="8719" y="4603"/>
                    <a:pt x="8240" y="5054"/>
                    <a:pt x="7783" y="5295"/>
                  </a:cubicBezTo>
                  <a:cubicBezTo>
                    <a:pt x="7783" y="6197"/>
                    <a:pt x="7450" y="6889"/>
                    <a:pt x="7450" y="7822"/>
                  </a:cubicBezTo>
                  <a:cubicBezTo>
                    <a:pt x="7450" y="8273"/>
                    <a:pt x="7928" y="8514"/>
                    <a:pt x="7928" y="8724"/>
                  </a:cubicBezTo>
                  <a:cubicBezTo>
                    <a:pt x="7928" y="9657"/>
                    <a:pt x="7138" y="10559"/>
                    <a:pt x="7450" y="11492"/>
                  </a:cubicBezTo>
                  <a:cubicBezTo>
                    <a:pt x="7783" y="12425"/>
                    <a:pt x="9052" y="11733"/>
                    <a:pt x="9531" y="12635"/>
                  </a:cubicBezTo>
                  <a:cubicBezTo>
                    <a:pt x="9843" y="13086"/>
                    <a:pt x="9676" y="14260"/>
                    <a:pt x="9198" y="14470"/>
                  </a:cubicBezTo>
                  <a:cubicBezTo>
                    <a:pt x="8095" y="15162"/>
                    <a:pt x="6825" y="14952"/>
                    <a:pt x="5702" y="14952"/>
                  </a:cubicBezTo>
                  <a:cubicBezTo>
                    <a:pt x="4453" y="15162"/>
                    <a:pt x="3017" y="14470"/>
                    <a:pt x="2081" y="15403"/>
                  </a:cubicBezTo>
                  <a:cubicBezTo>
                    <a:pt x="957" y="16305"/>
                    <a:pt x="645" y="18381"/>
                    <a:pt x="0" y="20006"/>
                  </a:cubicBezTo>
                  <a:cubicBezTo>
                    <a:pt x="645" y="20216"/>
                    <a:pt x="1269" y="20457"/>
                    <a:pt x="1914" y="20667"/>
                  </a:cubicBezTo>
                  <a:cubicBezTo>
                    <a:pt x="2705" y="20908"/>
                    <a:pt x="3496" y="21600"/>
                    <a:pt x="4287" y="21359"/>
                  </a:cubicBezTo>
                  <a:cubicBezTo>
                    <a:pt x="5098" y="20908"/>
                    <a:pt x="5410" y="19314"/>
                    <a:pt x="6347" y="19073"/>
                  </a:cubicBezTo>
                  <a:cubicBezTo>
                    <a:pt x="6825" y="18832"/>
                    <a:pt x="7304" y="20006"/>
                    <a:pt x="7616" y="20457"/>
                  </a:cubicBezTo>
                  <a:cubicBezTo>
                    <a:pt x="7928" y="20216"/>
                    <a:pt x="8573" y="19765"/>
                    <a:pt x="8719" y="19524"/>
                  </a:cubicBezTo>
                  <a:cubicBezTo>
                    <a:pt x="9843" y="18381"/>
                    <a:pt x="9198" y="16787"/>
                    <a:pt x="10800" y="17238"/>
                  </a:cubicBezTo>
                  <a:cubicBezTo>
                    <a:pt x="12069" y="17448"/>
                    <a:pt x="11591" y="15613"/>
                    <a:pt x="12215" y="15162"/>
                  </a:cubicBezTo>
                  <a:cubicBezTo>
                    <a:pt x="12548" y="14952"/>
                    <a:pt x="13027" y="14711"/>
                    <a:pt x="13172" y="14260"/>
                  </a:cubicBezTo>
                  <a:cubicBezTo>
                    <a:pt x="14129" y="14019"/>
                    <a:pt x="14775" y="16787"/>
                    <a:pt x="15877" y="15613"/>
                  </a:cubicBezTo>
                  <a:cubicBezTo>
                    <a:pt x="16980" y="14470"/>
                    <a:pt x="17792" y="16305"/>
                    <a:pt x="18416" y="17689"/>
                  </a:cubicBezTo>
                  <a:cubicBezTo>
                    <a:pt x="18728" y="18832"/>
                    <a:pt x="18895" y="19765"/>
                    <a:pt x="19540" y="18622"/>
                  </a:cubicBezTo>
                  <a:cubicBezTo>
                    <a:pt x="20331" y="17238"/>
                    <a:pt x="21600" y="17448"/>
                    <a:pt x="21288" y="15403"/>
                  </a:cubicBezTo>
                  <a:cubicBezTo>
                    <a:pt x="21288" y="14952"/>
                    <a:pt x="21121" y="13086"/>
                    <a:pt x="20976" y="130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9" name="Shape 2353">
              <a:extLst>
                <a:ext uri="{FF2B5EF4-FFF2-40B4-BE49-F238E27FC236}">
                  <a16:creationId xmlns:a16="http://schemas.microsoft.com/office/drawing/2014/main" id="{98D8B96C-8B90-0A1D-C285-8F7A6A8BA26C}"/>
                </a:ext>
              </a:extLst>
            </p:cNvPr>
            <p:cNvSpPr/>
            <p:nvPr/>
          </p:nvSpPr>
          <p:spPr>
            <a:xfrm>
              <a:off x="2639544" y="5715849"/>
              <a:ext cx="135367" cy="126022"/>
            </a:xfrm>
            <a:custGeom>
              <a:avLst/>
              <a:gdLst/>
              <a:ahLst/>
              <a:cxnLst>
                <a:cxn ang="0">
                  <a:pos x="wd2" y="hd2"/>
                </a:cxn>
                <a:cxn ang="5400000">
                  <a:pos x="wd2" y="hd2"/>
                </a:cxn>
                <a:cxn ang="10800000">
                  <a:pos x="wd2" y="hd2"/>
                </a:cxn>
                <a:cxn ang="16200000">
                  <a:pos x="wd2" y="hd2"/>
                </a:cxn>
              </a:cxnLst>
              <a:rect l="0" t="0" r="r" b="b"/>
              <a:pathLst>
                <a:path w="18422" h="21600" extrusionOk="0">
                  <a:moveTo>
                    <a:pt x="5864" y="21600"/>
                  </a:moveTo>
                  <a:cubicBezTo>
                    <a:pt x="6549" y="21138"/>
                    <a:pt x="8649" y="18481"/>
                    <a:pt x="9700" y="18481"/>
                  </a:cubicBezTo>
                  <a:cubicBezTo>
                    <a:pt x="10750" y="18077"/>
                    <a:pt x="11070" y="19405"/>
                    <a:pt x="12120" y="19810"/>
                  </a:cubicBezTo>
                  <a:cubicBezTo>
                    <a:pt x="13855" y="20272"/>
                    <a:pt x="16641" y="20272"/>
                    <a:pt x="18422" y="19810"/>
                  </a:cubicBezTo>
                  <a:cubicBezTo>
                    <a:pt x="14221" y="13630"/>
                    <a:pt x="11070" y="3927"/>
                    <a:pt x="10385" y="0"/>
                  </a:cubicBezTo>
                  <a:cubicBezTo>
                    <a:pt x="8969" y="0"/>
                    <a:pt x="4448" y="4851"/>
                    <a:pt x="2028" y="5718"/>
                  </a:cubicBezTo>
                  <a:cubicBezTo>
                    <a:pt x="-3178" y="7912"/>
                    <a:pt x="3078" y="14958"/>
                    <a:pt x="4814" y="18943"/>
                  </a:cubicBezTo>
                  <a:cubicBezTo>
                    <a:pt x="5133" y="19810"/>
                    <a:pt x="5499" y="20734"/>
                    <a:pt x="5864"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0" name="Shape 2354">
              <a:extLst>
                <a:ext uri="{FF2B5EF4-FFF2-40B4-BE49-F238E27FC236}">
                  <a16:creationId xmlns:a16="http://schemas.microsoft.com/office/drawing/2014/main" id="{BEC0E0E1-3416-0189-9A53-877E4873866F}"/>
                </a:ext>
              </a:extLst>
            </p:cNvPr>
            <p:cNvSpPr/>
            <p:nvPr/>
          </p:nvSpPr>
          <p:spPr>
            <a:xfrm>
              <a:off x="2424234" y="5794637"/>
              <a:ext cx="275366" cy="424824"/>
            </a:xfrm>
            <a:custGeom>
              <a:avLst/>
              <a:gdLst/>
              <a:ahLst/>
              <a:cxnLst>
                <a:cxn ang="0">
                  <a:pos x="wd2" y="hd2"/>
                </a:cxn>
                <a:cxn ang="5400000">
                  <a:pos x="wd2" y="hd2"/>
                </a:cxn>
                <a:cxn ang="10800000">
                  <a:pos x="wd2" y="hd2"/>
                </a:cxn>
                <a:cxn ang="16200000">
                  <a:pos x="wd2" y="hd2"/>
                </a:cxn>
              </a:cxnLst>
              <a:rect l="0" t="0" r="r" b="b"/>
              <a:pathLst>
                <a:path w="21085" h="21600" extrusionOk="0">
                  <a:moveTo>
                    <a:pt x="9097" y="20555"/>
                  </a:moveTo>
                  <a:cubicBezTo>
                    <a:pt x="9097" y="20555"/>
                    <a:pt x="9097" y="20418"/>
                    <a:pt x="8891" y="20418"/>
                  </a:cubicBezTo>
                  <a:cubicBezTo>
                    <a:pt x="8324" y="20812"/>
                    <a:pt x="7526" y="21206"/>
                    <a:pt x="6754" y="21326"/>
                  </a:cubicBezTo>
                  <a:cubicBezTo>
                    <a:pt x="5956" y="21600"/>
                    <a:pt x="5183" y="21600"/>
                    <a:pt x="4385" y="21600"/>
                  </a:cubicBezTo>
                  <a:cubicBezTo>
                    <a:pt x="4591" y="21206"/>
                    <a:pt x="4591" y="20675"/>
                    <a:pt x="4771" y="20161"/>
                  </a:cubicBezTo>
                  <a:cubicBezTo>
                    <a:pt x="4977" y="19887"/>
                    <a:pt x="5570" y="19630"/>
                    <a:pt x="5570" y="19236"/>
                  </a:cubicBezTo>
                  <a:cubicBezTo>
                    <a:pt x="5570" y="18842"/>
                    <a:pt x="4385" y="18722"/>
                    <a:pt x="4591" y="18448"/>
                  </a:cubicBezTo>
                  <a:cubicBezTo>
                    <a:pt x="4771" y="17934"/>
                    <a:pt x="5956" y="17797"/>
                    <a:pt x="6342" y="17283"/>
                  </a:cubicBezTo>
                  <a:cubicBezTo>
                    <a:pt x="6548" y="17009"/>
                    <a:pt x="5956" y="16615"/>
                    <a:pt x="5750" y="16239"/>
                  </a:cubicBezTo>
                  <a:cubicBezTo>
                    <a:pt x="5750" y="15845"/>
                    <a:pt x="5956" y="15570"/>
                    <a:pt x="5750" y="15177"/>
                  </a:cubicBezTo>
                  <a:cubicBezTo>
                    <a:pt x="5570" y="14663"/>
                    <a:pt x="4771" y="14269"/>
                    <a:pt x="4771" y="13738"/>
                  </a:cubicBezTo>
                  <a:cubicBezTo>
                    <a:pt x="4771" y="13481"/>
                    <a:pt x="5570" y="13618"/>
                    <a:pt x="5750" y="13344"/>
                  </a:cubicBezTo>
                  <a:cubicBezTo>
                    <a:pt x="5750" y="13087"/>
                    <a:pt x="5183" y="12830"/>
                    <a:pt x="4977" y="12573"/>
                  </a:cubicBezTo>
                  <a:cubicBezTo>
                    <a:pt x="4977" y="12299"/>
                    <a:pt x="5183" y="11922"/>
                    <a:pt x="4977" y="11785"/>
                  </a:cubicBezTo>
                  <a:cubicBezTo>
                    <a:pt x="4385" y="11648"/>
                    <a:pt x="3587" y="11648"/>
                    <a:pt x="2995" y="11648"/>
                  </a:cubicBezTo>
                  <a:cubicBezTo>
                    <a:pt x="2017" y="11648"/>
                    <a:pt x="652" y="12179"/>
                    <a:pt x="60" y="11648"/>
                  </a:cubicBezTo>
                  <a:cubicBezTo>
                    <a:pt x="-326" y="11254"/>
                    <a:pt x="1244" y="10860"/>
                    <a:pt x="1837" y="10466"/>
                  </a:cubicBezTo>
                  <a:cubicBezTo>
                    <a:pt x="2995" y="9558"/>
                    <a:pt x="4591" y="9027"/>
                    <a:pt x="5183" y="7982"/>
                  </a:cubicBezTo>
                  <a:cubicBezTo>
                    <a:pt x="5750" y="7331"/>
                    <a:pt x="5750" y="6423"/>
                    <a:pt x="5364" y="5755"/>
                  </a:cubicBezTo>
                  <a:cubicBezTo>
                    <a:pt x="4977" y="5105"/>
                    <a:pt x="3201" y="5361"/>
                    <a:pt x="2995" y="4711"/>
                  </a:cubicBezTo>
                  <a:cubicBezTo>
                    <a:pt x="2403" y="3546"/>
                    <a:pt x="3201" y="3015"/>
                    <a:pt x="3407" y="1833"/>
                  </a:cubicBezTo>
                  <a:cubicBezTo>
                    <a:pt x="5364" y="1182"/>
                    <a:pt x="7320" y="394"/>
                    <a:pt x="9097" y="0"/>
                  </a:cubicBezTo>
                  <a:cubicBezTo>
                    <a:pt x="8891" y="651"/>
                    <a:pt x="8505" y="788"/>
                    <a:pt x="8324" y="1576"/>
                  </a:cubicBezTo>
                  <a:cubicBezTo>
                    <a:pt x="8324" y="1833"/>
                    <a:pt x="8710" y="2364"/>
                    <a:pt x="9097" y="2621"/>
                  </a:cubicBezTo>
                  <a:cubicBezTo>
                    <a:pt x="9303" y="2621"/>
                    <a:pt x="9689" y="2364"/>
                    <a:pt x="9895" y="2364"/>
                  </a:cubicBezTo>
                  <a:cubicBezTo>
                    <a:pt x="10281" y="2621"/>
                    <a:pt x="10667" y="2878"/>
                    <a:pt x="10667" y="3272"/>
                  </a:cubicBezTo>
                  <a:cubicBezTo>
                    <a:pt x="10667" y="3546"/>
                    <a:pt x="9895" y="3666"/>
                    <a:pt x="9895" y="3923"/>
                  </a:cubicBezTo>
                  <a:cubicBezTo>
                    <a:pt x="9895" y="4197"/>
                    <a:pt x="10281" y="4454"/>
                    <a:pt x="10487" y="4711"/>
                  </a:cubicBezTo>
                  <a:cubicBezTo>
                    <a:pt x="10873" y="4848"/>
                    <a:pt x="11465" y="4711"/>
                    <a:pt x="11465" y="4967"/>
                  </a:cubicBezTo>
                  <a:cubicBezTo>
                    <a:pt x="11851" y="5361"/>
                    <a:pt x="11465" y="5892"/>
                    <a:pt x="11671" y="6286"/>
                  </a:cubicBezTo>
                  <a:cubicBezTo>
                    <a:pt x="11851" y="6680"/>
                    <a:pt x="12443" y="6937"/>
                    <a:pt x="12649" y="7331"/>
                  </a:cubicBezTo>
                  <a:cubicBezTo>
                    <a:pt x="13242" y="7725"/>
                    <a:pt x="13242" y="8513"/>
                    <a:pt x="14014" y="8770"/>
                  </a:cubicBezTo>
                  <a:cubicBezTo>
                    <a:pt x="14606" y="8907"/>
                    <a:pt x="15404" y="8513"/>
                    <a:pt x="15945" y="8513"/>
                  </a:cubicBezTo>
                  <a:cubicBezTo>
                    <a:pt x="16151" y="8513"/>
                    <a:pt x="16743" y="8513"/>
                    <a:pt x="16743" y="8633"/>
                  </a:cubicBezTo>
                  <a:cubicBezTo>
                    <a:pt x="17129" y="9301"/>
                    <a:pt x="16537" y="9952"/>
                    <a:pt x="16949" y="10466"/>
                  </a:cubicBezTo>
                  <a:cubicBezTo>
                    <a:pt x="17129" y="10740"/>
                    <a:pt x="17927" y="10466"/>
                    <a:pt x="18133" y="10603"/>
                  </a:cubicBezTo>
                  <a:cubicBezTo>
                    <a:pt x="18519" y="11134"/>
                    <a:pt x="18519" y="11648"/>
                    <a:pt x="18725" y="12179"/>
                  </a:cubicBezTo>
                  <a:cubicBezTo>
                    <a:pt x="18725" y="12693"/>
                    <a:pt x="18313" y="13087"/>
                    <a:pt x="18313" y="13618"/>
                  </a:cubicBezTo>
                  <a:cubicBezTo>
                    <a:pt x="18313" y="13875"/>
                    <a:pt x="18905" y="14012"/>
                    <a:pt x="18905" y="14132"/>
                  </a:cubicBezTo>
                  <a:cubicBezTo>
                    <a:pt x="18905" y="14663"/>
                    <a:pt x="17927" y="15177"/>
                    <a:pt x="18313" y="15708"/>
                  </a:cubicBezTo>
                  <a:cubicBezTo>
                    <a:pt x="18725" y="16239"/>
                    <a:pt x="20296" y="15845"/>
                    <a:pt x="20888" y="16358"/>
                  </a:cubicBezTo>
                  <a:cubicBezTo>
                    <a:pt x="21274" y="16615"/>
                    <a:pt x="21068" y="17283"/>
                    <a:pt x="20476" y="17403"/>
                  </a:cubicBezTo>
                  <a:cubicBezTo>
                    <a:pt x="19111" y="17797"/>
                    <a:pt x="17541" y="17677"/>
                    <a:pt x="16151" y="17677"/>
                  </a:cubicBezTo>
                  <a:cubicBezTo>
                    <a:pt x="14606" y="17797"/>
                    <a:pt x="12830" y="17403"/>
                    <a:pt x="11671" y="17934"/>
                  </a:cubicBezTo>
                  <a:cubicBezTo>
                    <a:pt x="10281" y="18448"/>
                    <a:pt x="9895" y="19630"/>
                    <a:pt x="9097" y="205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1" name="Shape 2355">
              <a:extLst>
                <a:ext uri="{FF2B5EF4-FFF2-40B4-BE49-F238E27FC236}">
                  <a16:creationId xmlns:a16="http://schemas.microsoft.com/office/drawing/2014/main" id="{4F7198B5-0EBF-6A3E-0900-42DCD5D31C33}"/>
                </a:ext>
              </a:extLst>
            </p:cNvPr>
            <p:cNvSpPr/>
            <p:nvPr/>
          </p:nvSpPr>
          <p:spPr>
            <a:xfrm>
              <a:off x="2198494" y="5810989"/>
              <a:ext cx="302889" cy="335189"/>
            </a:xfrm>
            <a:custGeom>
              <a:avLst/>
              <a:gdLst/>
              <a:ahLst/>
              <a:cxnLst>
                <a:cxn ang="0">
                  <a:pos x="wd2" y="hd2"/>
                </a:cxn>
                <a:cxn ang="5400000">
                  <a:pos x="wd2" y="hd2"/>
                </a:cxn>
                <a:cxn ang="10800000">
                  <a:pos x="wd2" y="hd2"/>
                </a:cxn>
                <a:cxn ang="16200000">
                  <a:pos x="wd2" y="hd2"/>
                </a:cxn>
              </a:cxnLst>
              <a:rect l="0" t="0" r="r" b="b"/>
              <a:pathLst>
                <a:path w="21493" h="21477" extrusionOk="0">
                  <a:moveTo>
                    <a:pt x="19227" y="1316"/>
                  </a:moveTo>
                  <a:cubicBezTo>
                    <a:pt x="19035" y="2805"/>
                    <a:pt x="18292" y="3474"/>
                    <a:pt x="18843" y="4941"/>
                  </a:cubicBezTo>
                  <a:cubicBezTo>
                    <a:pt x="19035" y="5761"/>
                    <a:pt x="20689" y="5438"/>
                    <a:pt x="21049" y="6258"/>
                  </a:cubicBezTo>
                  <a:cubicBezTo>
                    <a:pt x="21408" y="7099"/>
                    <a:pt x="21408" y="8243"/>
                    <a:pt x="20881" y="9063"/>
                  </a:cubicBezTo>
                  <a:cubicBezTo>
                    <a:pt x="20329" y="10379"/>
                    <a:pt x="18843" y="11048"/>
                    <a:pt x="17764" y="12192"/>
                  </a:cubicBezTo>
                  <a:cubicBezTo>
                    <a:pt x="17213" y="12688"/>
                    <a:pt x="15750" y="13184"/>
                    <a:pt x="16110" y="13681"/>
                  </a:cubicBezTo>
                  <a:cubicBezTo>
                    <a:pt x="16661" y="14350"/>
                    <a:pt x="17932" y="13681"/>
                    <a:pt x="18843" y="13681"/>
                  </a:cubicBezTo>
                  <a:cubicBezTo>
                    <a:pt x="19394" y="13681"/>
                    <a:pt x="20138" y="13681"/>
                    <a:pt x="20689" y="13853"/>
                  </a:cubicBezTo>
                  <a:cubicBezTo>
                    <a:pt x="20881" y="14026"/>
                    <a:pt x="20689" y="14501"/>
                    <a:pt x="20689" y="14846"/>
                  </a:cubicBezTo>
                  <a:cubicBezTo>
                    <a:pt x="20881" y="15170"/>
                    <a:pt x="21408" y="15493"/>
                    <a:pt x="21408" y="15817"/>
                  </a:cubicBezTo>
                  <a:cubicBezTo>
                    <a:pt x="21240" y="16162"/>
                    <a:pt x="20497" y="15990"/>
                    <a:pt x="20497" y="16313"/>
                  </a:cubicBezTo>
                  <a:cubicBezTo>
                    <a:pt x="20497" y="16982"/>
                    <a:pt x="21240" y="17479"/>
                    <a:pt x="21408" y="18126"/>
                  </a:cubicBezTo>
                  <a:cubicBezTo>
                    <a:pt x="21600" y="18622"/>
                    <a:pt x="21408" y="18967"/>
                    <a:pt x="21408" y="19464"/>
                  </a:cubicBezTo>
                  <a:cubicBezTo>
                    <a:pt x="21408" y="19615"/>
                    <a:pt x="21240" y="19615"/>
                    <a:pt x="21049" y="19787"/>
                  </a:cubicBezTo>
                  <a:cubicBezTo>
                    <a:pt x="20689" y="19938"/>
                    <a:pt x="20329" y="20111"/>
                    <a:pt x="19946" y="20111"/>
                  </a:cubicBezTo>
                  <a:cubicBezTo>
                    <a:pt x="19394" y="20111"/>
                    <a:pt x="18843" y="19938"/>
                    <a:pt x="18292" y="19938"/>
                  </a:cubicBezTo>
                  <a:cubicBezTo>
                    <a:pt x="18124" y="19938"/>
                    <a:pt x="18124" y="20435"/>
                    <a:pt x="17764" y="20435"/>
                  </a:cubicBezTo>
                  <a:cubicBezTo>
                    <a:pt x="17381" y="20435"/>
                    <a:pt x="16661" y="20435"/>
                    <a:pt x="16470" y="20111"/>
                  </a:cubicBezTo>
                  <a:cubicBezTo>
                    <a:pt x="15918" y="19787"/>
                    <a:pt x="15918" y="19118"/>
                    <a:pt x="15918" y="18622"/>
                  </a:cubicBezTo>
                  <a:cubicBezTo>
                    <a:pt x="15918" y="18471"/>
                    <a:pt x="16470" y="18126"/>
                    <a:pt x="16278" y="17975"/>
                  </a:cubicBezTo>
                  <a:cubicBezTo>
                    <a:pt x="15918" y="17630"/>
                    <a:pt x="15559" y="17975"/>
                    <a:pt x="15199" y="18126"/>
                  </a:cubicBezTo>
                  <a:cubicBezTo>
                    <a:pt x="14816" y="18126"/>
                    <a:pt x="14456" y="18471"/>
                    <a:pt x="14096" y="18622"/>
                  </a:cubicBezTo>
                  <a:cubicBezTo>
                    <a:pt x="13737" y="18795"/>
                    <a:pt x="13545" y="19118"/>
                    <a:pt x="12994" y="19291"/>
                  </a:cubicBezTo>
                  <a:cubicBezTo>
                    <a:pt x="12442" y="19464"/>
                    <a:pt x="11723" y="19291"/>
                    <a:pt x="11172" y="19615"/>
                  </a:cubicBezTo>
                  <a:cubicBezTo>
                    <a:pt x="10428" y="19938"/>
                    <a:pt x="10069" y="20607"/>
                    <a:pt x="9326" y="21104"/>
                  </a:cubicBezTo>
                  <a:cubicBezTo>
                    <a:pt x="8966" y="21276"/>
                    <a:pt x="8415" y="21600"/>
                    <a:pt x="7863" y="21427"/>
                  </a:cubicBezTo>
                  <a:cubicBezTo>
                    <a:pt x="7312" y="21276"/>
                    <a:pt x="6952" y="20435"/>
                    <a:pt x="6593" y="20111"/>
                  </a:cubicBezTo>
                  <a:cubicBezTo>
                    <a:pt x="6041" y="19615"/>
                    <a:pt x="5490" y="19118"/>
                    <a:pt x="5130" y="18622"/>
                  </a:cubicBezTo>
                  <a:cubicBezTo>
                    <a:pt x="4747" y="18299"/>
                    <a:pt x="5130" y="17802"/>
                    <a:pt x="4747" y="17479"/>
                  </a:cubicBezTo>
                  <a:cubicBezTo>
                    <a:pt x="4387" y="17306"/>
                    <a:pt x="4028" y="17630"/>
                    <a:pt x="3644" y="17630"/>
                  </a:cubicBezTo>
                  <a:cubicBezTo>
                    <a:pt x="2925" y="17802"/>
                    <a:pt x="2182" y="18299"/>
                    <a:pt x="1630" y="17975"/>
                  </a:cubicBezTo>
                  <a:cubicBezTo>
                    <a:pt x="1103" y="17479"/>
                    <a:pt x="1271" y="16313"/>
                    <a:pt x="1271" y="15666"/>
                  </a:cubicBezTo>
                  <a:cubicBezTo>
                    <a:pt x="1271" y="15170"/>
                    <a:pt x="2014" y="14997"/>
                    <a:pt x="2014" y="14673"/>
                  </a:cubicBezTo>
                  <a:cubicBezTo>
                    <a:pt x="2014" y="14350"/>
                    <a:pt x="1822" y="14177"/>
                    <a:pt x="1462" y="13853"/>
                  </a:cubicBezTo>
                  <a:cubicBezTo>
                    <a:pt x="1271" y="13681"/>
                    <a:pt x="911" y="13681"/>
                    <a:pt x="911" y="13357"/>
                  </a:cubicBezTo>
                  <a:cubicBezTo>
                    <a:pt x="719" y="13184"/>
                    <a:pt x="911" y="13033"/>
                    <a:pt x="719" y="12861"/>
                  </a:cubicBezTo>
                  <a:cubicBezTo>
                    <a:pt x="551" y="12688"/>
                    <a:pt x="0" y="12861"/>
                    <a:pt x="0" y="12537"/>
                  </a:cubicBezTo>
                  <a:cubicBezTo>
                    <a:pt x="0" y="11868"/>
                    <a:pt x="360" y="11199"/>
                    <a:pt x="911" y="10552"/>
                  </a:cubicBezTo>
                  <a:cubicBezTo>
                    <a:pt x="1271" y="10056"/>
                    <a:pt x="2014" y="9883"/>
                    <a:pt x="2373" y="9559"/>
                  </a:cubicBezTo>
                  <a:cubicBezTo>
                    <a:pt x="2733" y="9063"/>
                    <a:pt x="2565" y="8567"/>
                    <a:pt x="2733" y="8092"/>
                  </a:cubicBezTo>
                  <a:cubicBezTo>
                    <a:pt x="2733" y="7747"/>
                    <a:pt x="3093" y="7596"/>
                    <a:pt x="3284" y="7250"/>
                  </a:cubicBezTo>
                  <a:cubicBezTo>
                    <a:pt x="3476" y="6927"/>
                    <a:pt x="3836" y="6603"/>
                    <a:pt x="3644" y="6430"/>
                  </a:cubicBezTo>
                  <a:cubicBezTo>
                    <a:pt x="3644" y="6107"/>
                    <a:pt x="3093" y="6258"/>
                    <a:pt x="2733" y="6107"/>
                  </a:cubicBezTo>
                  <a:cubicBezTo>
                    <a:pt x="2182" y="5761"/>
                    <a:pt x="1630" y="5265"/>
                    <a:pt x="1271" y="4790"/>
                  </a:cubicBezTo>
                  <a:cubicBezTo>
                    <a:pt x="719" y="4294"/>
                    <a:pt x="1103" y="4618"/>
                    <a:pt x="719" y="4121"/>
                  </a:cubicBezTo>
                  <a:cubicBezTo>
                    <a:pt x="1103" y="3949"/>
                    <a:pt x="1462" y="3798"/>
                    <a:pt x="1822" y="3625"/>
                  </a:cubicBezTo>
                  <a:cubicBezTo>
                    <a:pt x="3093" y="3474"/>
                    <a:pt x="5298" y="3625"/>
                    <a:pt x="5682" y="2158"/>
                  </a:cubicBezTo>
                  <a:cubicBezTo>
                    <a:pt x="6041" y="993"/>
                    <a:pt x="5298" y="820"/>
                    <a:pt x="5298" y="0"/>
                  </a:cubicBezTo>
                  <a:cubicBezTo>
                    <a:pt x="7312" y="0"/>
                    <a:pt x="7695" y="1316"/>
                    <a:pt x="9685" y="1165"/>
                  </a:cubicBezTo>
                  <a:cubicBezTo>
                    <a:pt x="11339" y="820"/>
                    <a:pt x="11531" y="2805"/>
                    <a:pt x="13905" y="2633"/>
                  </a:cubicBezTo>
                  <a:cubicBezTo>
                    <a:pt x="15918" y="2633"/>
                    <a:pt x="17572" y="1985"/>
                    <a:pt x="19227" y="131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2" name="Shape 2356">
              <a:extLst>
                <a:ext uri="{FF2B5EF4-FFF2-40B4-BE49-F238E27FC236}">
                  <a16:creationId xmlns:a16="http://schemas.microsoft.com/office/drawing/2014/main" id="{C516B034-F126-5A8D-B962-393EC61B43A8}"/>
                </a:ext>
              </a:extLst>
            </p:cNvPr>
            <p:cNvSpPr/>
            <p:nvPr/>
          </p:nvSpPr>
          <p:spPr>
            <a:xfrm>
              <a:off x="1811420" y="5874912"/>
              <a:ext cx="696761" cy="632943"/>
            </a:xfrm>
            <a:custGeom>
              <a:avLst/>
              <a:gdLst/>
              <a:ahLst/>
              <a:cxnLst>
                <a:cxn ang="0">
                  <a:pos x="wd2" y="hd2"/>
                </a:cxn>
                <a:cxn ang="5400000">
                  <a:pos x="wd2" y="hd2"/>
                </a:cxn>
                <a:cxn ang="10800000">
                  <a:pos x="wd2" y="hd2"/>
                </a:cxn>
                <a:cxn ang="16200000">
                  <a:pos x="wd2" y="hd2"/>
                </a:cxn>
              </a:cxnLst>
              <a:rect l="0" t="0" r="r" b="b"/>
              <a:pathLst>
                <a:path w="20505" h="21600" extrusionOk="0">
                  <a:moveTo>
                    <a:pt x="11697" y="0"/>
                  </a:moveTo>
                  <a:cubicBezTo>
                    <a:pt x="11250" y="92"/>
                    <a:pt x="10863" y="356"/>
                    <a:pt x="10566" y="356"/>
                  </a:cubicBezTo>
                  <a:cubicBezTo>
                    <a:pt x="10258" y="529"/>
                    <a:pt x="9504" y="609"/>
                    <a:pt x="9196" y="874"/>
                  </a:cubicBezTo>
                  <a:cubicBezTo>
                    <a:pt x="8899" y="1058"/>
                    <a:pt x="8671" y="1402"/>
                    <a:pt x="8442" y="1759"/>
                  </a:cubicBezTo>
                  <a:cubicBezTo>
                    <a:pt x="8294" y="1931"/>
                    <a:pt x="8442" y="2288"/>
                    <a:pt x="8214" y="2460"/>
                  </a:cubicBezTo>
                  <a:cubicBezTo>
                    <a:pt x="7986" y="2816"/>
                    <a:pt x="7609" y="2816"/>
                    <a:pt x="7301" y="2989"/>
                  </a:cubicBezTo>
                  <a:cubicBezTo>
                    <a:pt x="7004" y="3253"/>
                    <a:pt x="6845" y="3954"/>
                    <a:pt x="6547" y="4299"/>
                  </a:cubicBezTo>
                  <a:cubicBezTo>
                    <a:pt x="5635" y="4656"/>
                    <a:pt x="6845" y="5978"/>
                    <a:pt x="6319" y="6679"/>
                  </a:cubicBezTo>
                  <a:cubicBezTo>
                    <a:pt x="6091" y="7024"/>
                    <a:pt x="5793" y="7817"/>
                    <a:pt x="5486" y="7989"/>
                  </a:cubicBezTo>
                  <a:cubicBezTo>
                    <a:pt x="5337" y="8081"/>
                    <a:pt x="4801" y="7989"/>
                    <a:pt x="4801" y="8254"/>
                  </a:cubicBezTo>
                  <a:cubicBezTo>
                    <a:pt x="4801" y="8875"/>
                    <a:pt x="3283" y="10357"/>
                    <a:pt x="3134" y="9656"/>
                  </a:cubicBezTo>
                  <a:cubicBezTo>
                    <a:pt x="2152" y="10013"/>
                    <a:pt x="-1033" y="14668"/>
                    <a:pt x="336" y="14668"/>
                  </a:cubicBezTo>
                  <a:cubicBezTo>
                    <a:pt x="406" y="14312"/>
                    <a:pt x="783" y="14139"/>
                    <a:pt x="1011" y="14220"/>
                  </a:cubicBezTo>
                  <a:cubicBezTo>
                    <a:pt x="1775" y="14312"/>
                    <a:pt x="3362" y="12473"/>
                    <a:pt x="3362" y="14749"/>
                  </a:cubicBezTo>
                  <a:cubicBezTo>
                    <a:pt x="3442" y="14749"/>
                    <a:pt x="3442" y="14749"/>
                    <a:pt x="3442" y="14749"/>
                  </a:cubicBezTo>
                  <a:cubicBezTo>
                    <a:pt x="3511" y="14576"/>
                    <a:pt x="3670" y="14484"/>
                    <a:pt x="3819" y="14404"/>
                  </a:cubicBezTo>
                  <a:cubicBezTo>
                    <a:pt x="3888" y="14404"/>
                    <a:pt x="4196" y="14312"/>
                    <a:pt x="4196" y="14220"/>
                  </a:cubicBezTo>
                  <a:cubicBezTo>
                    <a:pt x="4275" y="14220"/>
                    <a:pt x="4116" y="13703"/>
                    <a:pt x="4116" y="13519"/>
                  </a:cubicBezTo>
                  <a:cubicBezTo>
                    <a:pt x="4116" y="11679"/>
                    <a:pt x="6924" y="10714"/>
                    <a:pt x="8294" y="10714"/>
                  </a:cubicBezTo>
                  <a:cubicBezTo>
                    <a:pt x="9127" y="10714"/>
                    <a:pt x="10258" y="12208"/>
                    <a:pt x="9732" y="13082"/>
                  </a:cubicBezTo>
                  <a:cubicBezTo>
                    <a:pt x="9127" y="14139"/>
                    <a:pt x="9802" y="14933"/>
                    <a:pt x="10486" y="15898"/>
                  </a:cubicBezTo>
                  <a:cubicBezTo>
                    <a:pt x="10486" y="16163"/>
                    <a:pt x="10486" y="16772"/>
                    <a:pt x="10863" y="16680"/>
                  </a:cubicBezTo>
                  <a:cubicBezTo>
                    <a:pt x="11092" y="16599"/>
                    <a:pt x="11320" y="16335"/>
                    <a:pt x="11469" y="16335"/>
                  </a:cubicBezTo>
                  <a:cubicBezTo>
                    <a:pt x="11469" y="16772"/>
                    <a:pt x="10715" y="17381"/>
                    <a:pt x="10407" y="17646"/>
                  </a:cubicBezTo>
                  <a:cubicBezTo>
                    <a:pt x="9802" y="18266"/>
                    <a:pt x="9732" y="19577"/>
                    <a:pt x="10109" y="20370"/>
                  </a:cubicBezTo>
                  <a:cubicBezTo>
                    <a:pt x="10338" y="20807"/>
                    <a:pt x="10407" y="21163"/>
                    <a:pt x="10566" y="21600"/>
                  </a:cubicBezTo>
                  <a:cubicBezTo>
                    <a:pt x="13066" y="20726"/>
                    <a:pt x="13066" y="20726"/>
                    <a:pt x="13066" y="20726"/>
                  </a:cubicBezTo>
                  <a:cubicBezTo>
                    <a:pt x="13215" y="20542"/>
                    <a:pt x="13443" y="20370"/>
                    <a:pt x="13671" y="20106"/>
                  </a:cubicBezTo>
                  <a:cubicBezTo>
                    <a:pt x="13899" y="19761"/>
                    <a:pt x="14128" y="19404"/>
                    <a:pt x="14277" y="18968"/>
                  </a:cubicBezTo>
                  <a:cubicBezTo>
                    <a:pt x="14425" y="18439"/>
                    <a:pt x="14356" y="17646"/>
                    <a:pt x="14802" y="17381"/>
                  </a:cubicBezTo>
                  <a:cubicBezTo>
                    <a:pt x="15259" y="17036"/>
                    <a:pt x="15864" y="17473"/>
                    <a:pt x="16400" y="17381"/>
                  </a:cubicBezTo>
                  <a:cubicBezTo>
                    <a:pt x="16628" y="17301"/>
                    <a:pt x="16697" y="17036"/>
                    <a:pt x="16856" y="16944"/>
                  </a:cubicBezTo>
                  <a:cubicBezTo>
                    <a:pt x="17154" y="16772"/>
                    <a:pt x="17610" y="16864"/>
                    <a:pt x="17918" y="16599"/>
                  </a:cubicBezTo>
                  <a:cubicBezTo>
                    <a:pt x="18136" y="16335"/>
                    <a:pt x="18295" y="15898"/>
                    <a:pt x="18295" y="15461"/>
                  </a:cubicBezTo>
                  <a:cubicBezTo>
                    <a:pt x="18295" y="14933"/>
                    <a:pt x="17987" y="14404"/>
                    <a:pt x="17987" y="13875"/>
                  </a:cubicBezTo>
                  <a:cubicBezTo>
                    <a:pt x="17987" y="13519"/>
                    <a:pt x="17918" y="13174"/>
                    <a:pt x="18136" y="12909"/>
                  </a:cubicBezTo>
                  <a:cubicBezTo>
                    <a:pt x="18364" y="12645"/>
                    <a:pt x="18821" y="12817"/>
                    <a:pt x="19128" y="12645"/>
                  </a:cubicBezTo>
                  <a:cubicBezTo>
                    <a:pt x="19426" y="12473"/>
                    <a:pt x="19585" y="12036"/>
                    <a:pt x="19734" y="11771"/>
                  </a:cubicBezTo>
                  <a:cubicBezTo>
                    <a:pt x="19813" y="11507"/>
                    <a:pt x="19813" y="11151"/>
                    <a:pt x="19882" y="10806"/>
                  </a:cubicBezTo>
                  <a:cubicBezTo>
                    <a:pt x="19962" y="10622"/>
                    <a:pt x="20190" y="10449"/>
                    <a:pt x="20190" y="10185"/>
                  </a:cubicBezTo>
                  <a:cubicBezTo>
                    <a:pt x="20190" y="9921"/>
                    <a:pt x="19734" y="9840"/>
                    <a:pt x="19813" y="9656"/>
                  </a:cubicBezTo>
                  <a:cubicBezTo>
                    <a:pt x="19882" y="9311"/>
                    <a:pt x="20339" y="9219"/>
                    <a:pt x="20488" y="8875"/>
                  </a:cubicBezTo>
                  <a:cubicBezTo>
                    <a:pt x="20567" y="8691"/>
                    <a:pt x="20339" y="8426"/>
                    <a:pt x="20259" y="8173"/>
                  </a:cubicBezTo>
                  <a:cubicBezTo>
                    <a:pt x="20259" y="8254"/>
                    <a:pt x="20190" y="8254"/>
                    <a:pt x="20111" y="8346"/>
                  </a:cubicBezTo>
                  <a:cubicBezTo>
                    <a:pt x="19962" y="8426"/>
                    <a:pt x="19813" y="8518"/>
                    <a:pt x="19654" y="8518"/>
                  </a:cubicBezTo>
                  <a:cubicBezTo>
                    <a:pt x="19426" y="8518"/>
                    <a:pt x="19198" y="8426"/>
                    <a:pt x="18970" y="8426"/>
                  </a:cubicBezTo>
                  <a:cubicBezTo>
                    <a:pt x="18900" y="8426"/>
                    <a:pt x="18900" y="8691"/>
                    <a:pt x="18751" y="8691"/>
                  </a:cubicBezTo>
                  <a:cubicBezTo>
                    <a:pt x="18593" y="8691"/>
                    <a:pt x="18295" y="8691"/>
                    <a:pt x="18216" y="8518"/>
                  </a:cubicBezTo>
                  <a:cubicBezTo>
                    <a:pt x="17987" y="8346"/>
                    <a:pt x="17987" y="7989"/>
                    <a:pt x="17987" y="7725"/>
                  </a:cubicBezTo>
                  <a:cubicBezTo>
                    <a:pt x="17987" y="7644"/>
                    <a:pt x="18216" y="7461"/>
                    <a:pt x="18136" y="7380"/>
                  </a:cubicBezTo>
                  <a:cubicBezTo>
                    <a:pt x="17987" y="7196"/>
                    <a:pt x="17838" y="7380"/>
                    <a:pt x="17690" y="7461"/>
                  </a:cubicBezTo>
                  <a:cubicBezTo>
                    <a:pt x="17531" y="7461"/>
                    <a:pt x="17382" y="7644"/>
                    <a:pt x="17233" y="7725"/>
                  </a:cubicBezTo>
                  <a:cubicBezTo>
                    <a:pt x="17084" y="7817"/>
                    <a:pt x="17005" y="7989"/>
                    <a:pt x="16777" y="8081"/>
                  </a:cubicBezTo>
                  <a:cubicBezTo>
                    <a:pt x="16549" y="8173"/>
                    <a:pt x="16251" y="8081"/>
                    <a:pt x="16023" y="8254"/>
                  </a:cubicBezTo>
                  <a:cubicBezTo>
                    <a:pt x="15715" y="8426"/>
                    <a:pt x="15566" y="8783"/>
                    <a:pt x="15259" y="9047"/>
                  </a:cubicBezTo>
                  <a:cubicBezTo>
                    <a:pt x="15110" y="9139"/>
                    <a:pt x="14882" y="9311"/>
                    <a:pt x="14654" y="9219"/>
                  </a:cubicBezTo>
                  <a:cubicBezTo>
                    <a:pt x="14425" y="9139"/>
                    <a:pt x="14277" y="8691"/>
                    <a:pt x="14128" y="8518"/>
                  </a:cubicBezTo>
                  <a:cubicBezTo>
                    <a:pt x="13899" y="8254"/>
                    <a:pt x="13671" y="7989"/>
                    <a:pt x="13522" y="7725"/>
                  </a:cubicBezTo>
                  <a:cubicBezTo>
                    <a:pt x="13364" y="7553"/>
                    <a:pt x="13522" y="7288"/>
                    <a:pt x="13364" y="7116"/>
                  </a:cubicBezTo>
                  <a:cubicBezTo>
                    <a:pt x="13215" y="7024"/>
                    <a:pt x="13066" y="7196"/>
                    <a:pt x="12907" y="7196"/>
                  </a:cubicBezTo>
                  <a:cubicBezTo>
                    <a:pt x="12610" y="7288"/>
                    <a:pt x="12302" y="7553"/>
                    <a:pt x="12074" y="7380"/>
                  </a:cubicBezTo>
                  <a:cubicBezTo>
                    <a:pt x="11856" y="7116"/>
                    <a:pt x="11925" y="6495"/>
                    <a:pt x="11925" y="6150"/>
                  </a:cubicBezTo>
                  <a:cubicBezTo>
                    <a:pt x="11925" y="5886"/>
                    <a:pt x="12233" y="5794"/>
                    <a:pt x="12233" y="5621"/>
                  </a:cubicBezTo>
                  <a:cubicBezTo>
                    <a:pt x="12233" y="5449"/>
                    <a:pt x="12153" y="5357"/>
                    <a:pt x="12004" y="5184"/>
                  </a:cubicBezTo>
                  <a:cubicBezTo>
                    <a:pt x="11925" y="5092"/>
                    <a:pt x="11776" y="5092"/>
                    <a:pt x="11776" y="4920"/>
                  </a:cubicBezTo>
                  <a:cubicBezTo>
                    <a:pt x="11697" y="4828"/>
                    <a:pt x="11776" y="4748"/>
                    <a:pt x="11697" y="4656"/>
                  </a:cubicBezTo>
                  <a:cubicBezTo>
                    <a:pt x="11627" y="4564"/>
                    <a:pt x="11399" y="4656"/>
                    <a:pt x="11399" y="4483"/>
                  </a:cubicBezTo>
                  <a:cubicBezTo>
                    <a:pt x="11399" y="4127"/>
                    <a:pt x="11548" y="3771"/>
                    <a:pt x="11776" y="3426"/>
                  </a:cubicBezTo>
                  <a:cubicBezTo>
                    <a:pt x="11925" y="3161"/>
                    <a:pt x="12233" y="3069"/>
                    <a:pt x="12381" y="2897"/>
                  </a:cubicBezTo>
                  <a:cubicBezTo>
                    <a:pt x="12530" y="2632"/>
                    <a:pt x="12461" y="2368"/>
                    <a:pt x="12530" y="2115"/>
                  </a:cubicBezTo>
                  <a:cubicBezTo>
                    <a:pt x="12530" y="1931"/>
                    <a:pt x="12679" y="1851"/>
                    <a:pt x="12758" y="1667"/>
                  </a:cubicBezTo>
                  <a:cubicBezTo>
                    <a:pt x="12838" y="1494"/>
                    <a:pt x="12987" y="1322"/>
                    <a:pt x="12907" y="1230"/>
                  </a:cubicBezTo>
                  <a:cubicBezTo>
                    <a:pt x="12907" y="1058"/>
                    <a:pt x="12679" y="1138"/>
                    <a:pt x="12530" y="1058"/>
                  </a:cubicBezTo>
                  <a:cubicBezTo>
                    <a:pt x="12302" y="874"/>
                    <a:pt x="12074" y="609"/>
                    <a:pt x="11925" y="356"/>
                  </a:cubicBezTo>
                  <a:cubicBezTo>
                    <a:pt x="11697" y="92"/>
                    <a:pt x="11856" y="264"/>
                    <a:pt x="1169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3" name="Shape 2357">
              <a:extLst>
                <a:ext uri="{FF2B5EF4-FFF2-40B4-BE49-F238E27FC236}">
                  <a16:creationId xmlns:a16="http://schemas.microsoft.com/office/drawing/2014/main" id="{E524F73B-D8B2-5512-B307-218BB9593299}"/>
                </a:ext>
              </a:extLst>
            </p:cNvPr>
            <p:cNvSpPr/>
            <p:nvPr/>
          </p:nvSpPr>
          <p:spPr>
            <a:xfrm>
              <a:off x="1847685" y="5733378"/>
              <a:ext cx="339751" cy="267555"/>
            </a:xfrm>
            <a:custGeom>
              <a:avLst/>
              <a:gdLst/>
              <a:ahLst/>
              <a:cxnLst>
                <a:cxn ang="0">
                  <a:pos x="wd2" y="hd2"/>
                </a:cxn>
                <a:cxn ang="5400000">
                  <a:pos x="wd2" y="hd2"/>
                </a:cxn>
                <a:cxn ang="10800000">
                  <a:pos x="wd2" y="hd2"/>
                </a:cxn>
                <a:cxn ang="16200000">
                  <a:pos x="wd2" y="hd2"/>
                </a:cxn>
              </a:cxnLst>
              <a:rect l="0" t="0" r="r" b="b"/>
              <a:pathLst>
                <a:path w="21118" h="21154" extrusionOk="0">
                  <a:moveTo>
                    <a:pt x="11523" y="21154"/>
                  </a:moveTo>
                  <a:cubicBezTo>
                    <a:pt x="12151" y="20353"/>
                    <a:pt x="12487" y="18724"/>
                    <a:pt x="13115" y="18110"/>
                  </a:cubicBezTo>
                  <a:cubicBezTo>
                    <a:pt x="13765" y="17710"/>
                    <a:pt x="14561" y="17710"/>
                    <a:pt x="15042" y="16882"/>
                  </a:cubicBezTo>
                  <a:cubicBezTo>
                    <a:pt x="15524" y="16482"/>
                    <a:pt x="15210" y="15654"/>
                    <a:pt x="15524" y="15253"/>
                  </a:cubicBezTo>
                  <a:cubicBezTo>
                    <a:pt x="16006" y="14426"/>
                    <a:pt x="16488" y="13625"/>
                    <a:pt x="17117" y="13198"/>
                  </a:cubicBezTo>
                  <a:cubicBezTo>
                    <a:pt x="17766" y="12583"/>
                    <a:pt x="19358" y="12397"/>
                    <a:pt x="20008" y="11996"/>
                  </a:cubicBezTo>
                  <a:cubicBezTo>
                    <a:pt x="20008" y="11782"/>
                    <a:pt x="21600" y="7297"/>
                    <a:pt x="20971" y="7697"/>
                  </a:cubicBezTo>
                  <a:cubicBezTo>
                    <a:pt x="20154" y="8311"/>
                    <a:pt x="19526" y="7510"/>
                    <a:pt x="18562" y="7911"/>
                  </a:cubicBezTo>
                  <a:cubicBezTo>
                    <a:pt x="15839" y="9540"/>
                    <a:pt x="13765" y="3612"/>
                    <a:pt x="13115" y="1183"/>
                  </a:cubicBezTo>
                  <a:cubicBezTo>
                    <a:pt x="12319" y="1183"/>
                    <a:pt x="11523" y="969"/>
                    <a:pt x="10873" y="569"/>
                  </a:cubicBezTo>
                  <a:cubicBezTo>
                    <a:pt x="9281" y="-446"/>
                    <a:pt x="9281" y="168"/>
                    <a:pt x="7689" y="355"/>
                  </a:cubicBezTo>
                  <a:cubicBezTo>
                    <a:pt x="6725" y="355"/>
                    <a:pt x="6243" y="569"/>
                    <a:pt x="5447" y="1183"/>
                  </a:cubicBezTo>
                  <a:cubicBezTo>
                    <a:pt x="5280" y="1396"/>
                    <a:pt x="4965" y="1396"/>
                    <a:pt x="4630" y="1396"/>
                  </a:cubicBezTo>
                  <a:cubicBezTo>
                    <a:pt x="4483" y="1583"/>
                    <a:pt x="3834" y="1396"/>
                    <a:pt x="3834" y="1583"/>
                  </a:cubicBezTo>
                  <a:cubicBezTo>
                    <a:pt x="4798" y="2411"/>
                    <a:pt x="3352" y="8525"/>
                    <a:pt x="2724" y="8525"/>
                  </a:cubicBezTo>
                  <a:cubicBezTo>
                    <a:pt x="1760" y="8525"/>
                    <a:pt x="2242" y="6469"/>
                    <a:pt x="796" y="7510"/>
                  </a:cubicBezTo>
                  <a:cubicBezTo>
                    <a:pt x="0" y="7911"/>
                    <a:pt x="0" y="8739"/>
                    <a:pt x="0" y="9940"/>
                  </a:cubicBezTo>
                  <a:cubicBezTo>
                    <a:pt x="482" y="9940"/>
                    <a:pt x="1592" y="9540"/>
                    <a:pt x="1927" y="10367"/>
                  </a:cubicBezTo>
                  <a:cubicBezTo>
                    <a:pt x="2870" y="13011"/>
                    <a:pt x="1760" y="11996"/>
                    <a:pt x="4316" y="13011"/>
                  </a:cubicBezTo>
                  <a:cubicBezTo>
                    <a:pt x="5280" y="13411"/>
                    <a:pt x="5447" y="14426"/>
                    <a:pt x="5594" y="15467"/>
                  </a:cubicBezTo>
                  <a:cubicBezTo>
                    <a:pt x="5761" y="16081"/>
                    <a:pt x="7689" y="18297"/>
                    <a:pt x="8150" y="18911"/>
                  </a:cubicBezTo>
                  <a:cubicBezTo>
                    <a:pt x="9281" y="20139"/>
                    <a:pt x="10245" y="20754"/>
                    <a:pt x="11523" y="2115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4" name="Shape 2358">
              <a:extLst>
                <a:ext uri="{FF2B5EF4-FFF2-40B4-BE49-F238E27FC236}">
                  <a16:creationId xmlns:a16="http://schemas.microsoft.com/office/drawing/2014/main" id="{64AEE740-D7DE-4536-FD05-FD826C932813}"/>
                </a:ext>
              </a:extLst>
            </p:cNvPr>
            <p:cNvSpPr/>
            <p:nvPr/>
          </p:nvSpPr>
          <p:spPr>
            <a:xfrm>
              <a:off x="2622224" y="6099384"/>
              <a:ext cx="510927" cy="601725"/>
            </a:xfrm>
            <a:custGeom>
              <a:avLst/>
              <a:gdLst/>
              <a:ahLst/>
              <a:cxnLst>
                <a:cxn ang="0">
                  <a:pos x="wd2" y="hd2"/>
                </a:cxn>
                <a:cxn ang="5400000">
                  <a:pos x="wd2" y="hd2"/>
                </a:cxn>
                <a:cxn ang="10800000">
                  <a:pos x="wd2" y="hd2"/>
                </a:cxn>
                <a:cxn ang="16200000">
                  <a:pos x="wd2" y="hd2"/>
                </a:cxn>
              </a:cxnLst>
              <a:rect l="0" t="0" r="r" b="b"/>
              <a:pathLst>
                <a:path w="21348" h="21600" extrusionOk="0">
                  <a:moveTo>
                    <a:pt x="18025" y="0"/>
                  </a:moveTo>
                  <a:cubicBezTo>
                    <a:pt x="18025" y="363"/>
                    <a:pt x="18236" y="737"/>
                    <a:pt x="18025" y="1015"/>
                  </a:cubicBezTo>
                  <a:cubicBezTo>
                    <a:pt x="17701" y="1475"/>
                    <a:pt x="17053" y="1571"/>
                    <a:pt x="16729" y="1934"/>
                  </a:cubicBezTo>
                  <a:cubicBezTo>
                    <a:pt x="16406" y="2212"/>
                    <a:pt x="16194" y="2575"/>
                    <a:pt x="16194" y="2949"/>
                  </a:cubicBezTo>
                  <a:cubicBezTo>
                    <a:pt x="16194" y="3227"/>
                    <a:pt x="16293" y="3602"/>
                    <a:pt x="16617" y="3687"/>
                  </a:cubicBezTo>
                  <a:cubicBezTo>
                    <a:pt x="17152" y="3783"/>
                    <a:pt x="17800" y="2949"/>
                    <a:pt x="18123" y="3227"/>
                  </a:cubicBezTo>
                  <a:cubicBezTo>
                    <a:pt x="18560" y="3602"/>
                    <a:pt x="18123" y="4243"/>
                    <a:pt x="17912" y="4702"/>
                  </a:cubicBezTo>
                  <a:cubicBezTo>
                    <a:pt x="17800" y="4980"/>
                    <a:pt x="17476" y="5077"/>
                    <a:pt x="17265" y="5258"/>
                  </a:cubicBezTo>
                  <a:cubicBezTo>
                    <a:pt x="16941" y="5355"/>
                    <a:pt x="16293" y="5161"/>
                    <a:pt x="16194" y="5439"/>
                  </a:cubicBezTo>
                  <a:cubicBezTo>
                    <a:pt x="15871" y="5717"/>
                    <a:pt x="16406" y="6177"/>
                    <a:pt x="16406" y="6551"/>
                  </a:cubicBezTo>
                  <a:cubicBezTo>
                    <a:pt x="16293" y="6648"/>
                    <a:pt x="16082" y="6733"/>
                    <a:pt x="15969" y="6648"/>
                  </a:cubicBezTo>
                  <a:cubicBezTo>
                    <a:pt x="15758" y="6455"/>
                    <a:pt x="15969" y="5995"/>
                    <a:pt x="15659" y="5995"/>
                  </a:cubicBezTo>
                  <a:cubicBezTo>
                    <a:pt x="15434" y="5899"/>
                    <a:pt x="15223" y="6455"/>
                    <a:pt x="15012" y="6455"/>
                  </a:cubicBezTo>
                  <a:cubicBezTo>
                    <a:pt x="14477" y="6455"/>
                    <a:pt x="14040" y="5995"/>
                    <a:pt x="13604" y="6092"/>
                  </a:cubicBezTo>
                  <a:cubicBezTo>
                    <a:pt x="13392" y="6177"/>
                    <a:pt x="13829" y="6648"/>
                    <a:pt x="13604" y="6829"/>
                  </a:cubicBezTo>
                  <a:cubicBezTo>
                    <a:pt x="13181" y="7192"/>
                    <a:pt x="12421" y="7107"/>
                    <a:pt x="11998" y="7470"/>
                  </a:cubicBezTo>
                  <a:cubicBezTo>
                    <a:pt x="11787" y="7663"/>
                    <a:pt x="11886" y="7941"/>
                    <a:pt x="11998" y="8123"/>
                  </a:cubicBezTo>
                  <a:cubicBezTo>
                    <a:pt x="12322" y="8485"/>
                    <a:pt x="12956" y="8485"/>
                    <a:pt x="13280" y="8763"/>
                  </a:cubicBezTo>
                  <a:cubicBezTo>
                    <a:pt x="13392" y="8957"/>
                    <a:pt x="12956" y="9138"/>
                    <a:pt x="13068" y="9319"/>
                  </a:cubicBezTo>
                  <a:cubicBezTo>
                    <a:pt x="13392" y="9694"/>
                    <a:pt x="14040" y="9875"/>
                    <a:pt x="14477" y="10238"/>
                  </a:cubicBezTo>
                  <a:cubicBezTo>
                    <a:pt x="14899" y="10613"/>
                    <a:pt x="15223" y="11072"/>
                    <a:pt x="15659" y="11350"/>
                  </a:cubicBezTo>
                  <a:cubicBezTo>
                    <a:pt x="16082" y="11628"/>
                    <a:pt x="16518" y="12003"/>
                    <a:pt x="17053" y="12003"/>
                  </a:cubicBezTo>
                  <a:cubicBezTo>
                    <a:pt x="17377" y="12003"/>
                    <a:pt x="17377" y="11543"/>
                    <a:pt x="17476" y="11350"/>
                  </a:cubicBezTo>
                  <a:cubicBezTo>
                    <a:pt x="17588" y="10987"/>
                    <a:pt x="17476" y="10516"/>
                    <a:pt x="17588" y="10153"/>
                  </a:cubicBezTo>
                  <a:cubicBezTo>
                    <a:pt x="17701" y="9597"/>
                    <a:pt x="18025" y="9138"/>
                    <a:pt x="18123" y="8582"/>
                  </a:cubicBezTo>
                  <a:cubicBezTo>
                    <a:pt x="18123" y="8401"/>
                    <a:pt x="17800" y="8026"/>
                    <a:pt x="18025" y="8026"/>
                  </a:cubicBezTo>
                  <a:cubicBezTo>
                    <a:pt x="18560" y="7941"/>
                    <a:pt x="19095" y="8123"/>
                    <a:pt x="19630" y="8219"/>
                  </a:cubicBezTo>
                  <a:cubicBezTo>
                    <a:pt x="19630" y="8679"/>
                    <a:pt x="19208" y="9138"/>
                    <a:pt x="19419" y="9501"/>
                  </a:cubicBezTo>
                  <a:cubicBezTo>
                    <a:pt x="19841" y="9779"/>
                    <a:pt x="20602" y="9416"/>
                    <a:pt x="21024" y="9597"/>
                  </a:cubicBezTo>
                  <a:cubicBezTo>
                    <a:pt x="21348" y="9779"/>
                    <a:pt x="21348" y="10153"/>
                    <a:pt x="21348" y="10431"/>
                  </a:cubicBezTo>
                  <a:cubicBezTo>
                    <a:pt x="21348" y="10794"/>
                    <a:pt x="21249" y="11169"/>
                    <a:pt x="21137" y="11543"/>
                  </a:cubicBezTo>
                  <a:cubicBezTo>
                    <a:pt x="20700" y="11628"/>
                    <a:pt x="20067" y="11628"/>
                    <a:pt x="19743" y="11906"/>
                  </a:cubicBezTo>
                  <a:cubicBezTo>
                    <a:pt x="19532" y="12087"/>
                    <a:pt x="19743" y="12365"/>
                    <a:pt x="19841" y="12547"/>
                  </a:cubicBezTo>
                  <a:cubicBezTo>
                    <a:pt x="20067" y="12825"/>
                    <a:pt x="20489" y="12825"/>
                    <a:pt x="20700" y="13103"/>
                  </a:cubicBezTo>
                  <a:cubicBezTo>
                    <a:pt x="20926" y="13381"/>
                    <a:pt x="21137" y="13755"/>
                    <a:pt x="21024" y="14118"/>
                  </a:cubicBezTo>
                  <a:cubicBezTo>
                    <a:pt x="20813" y="14674"/>
                    <a:pt x="20067" y="15049"/>
                    <a:pt x="19954" y="15605"/>
                  </a:cubicBezTo>
                  <a:cubicBezTo>
                    <a:pt x="19841" y="16064"/>
                    <a:pt x="20278" y="16523"/>
                    <a:pt x="20391" y="16983"/>
                  </a:cubicBezTo>
                  <a:cubicBezTo>
                    <a:pt x="19954" y="17164"/>
                    <a:pt x="19208" y="16983"/>
                    <a:pt x="19095" y="17357"/>
                  </a:cubicBezTo>
                  <a:cubicBezTo>
                    <a:pt x="18771" y="17817"/>
                    <a:pt x="19208" y="18373"/>
                    <a:pt x="19306" y="18929"/>
                  </a:cubicBezTo>
                  <a:cubicBezTo>
                    <a:pt x="19306" y="18929"/>
                    <a:pt x="18025" y="19195"/>
                    <a:pt x="17912" y="19195"/>
                  </a:cubicBezTo>
                  <a:cubicBezTo>
                    <a:pt x="17800" y="19195"/>
                    <a:pt x="17701" y="19569"/>
                    <a:pt x="17701" y="19569"/>
                  </a:cubicBezTo>
                  <a:cubicBezTo>
                    <a:pt x="17701" y="19569"/>
                    <a:pt x="16729" y="19666"/>
                    <a:pt x="16518" y="19666"/>
                  </a:cubicBezTo>
                  <a:cubicBezTo>
                    <a:pt x="16406" y="19666"/>
                    <a:pt x="15969" y="20681"/>
                    <a:pt x="15969" y="20681"/>
                  </a:cubicBezTo>
                  <a:cubicBezTo>
                    <a:pt x="15659" y="20681"/>
                    <a:pt x="15335" y="20403"/>
                    <a:pt x="15012" y="20488"/>
                  </a:cubicBezTo>
                  <a:cubicBezTo>
                    <a:pt x="14688" y="20585"/>
                    <a:pt x="14800" y="21141"/>
                    <a:pt x="14477" y="21322"/>
                  </a:cubicBezTo>
                  <a:cubicBezTo>
                    <a:pt x="14040" y="21503"/>
                    <a:pt x="13505" y="21503"/>
                    <a:pt x="13068" y="21503"/>
                  </a:cubicBezTo>
                  <a:cubicBezTo>
                    <a:pt x="12857" y="21225"/>
                    <a:pt x="12857" y="20585"/>
                    <a:pt x="12421" y="20681"/>
                  </a:cubicBezTo>
                  <a:cubicBezTo>
                    <a:pt x="11886" y="20681"/>
                    <a:pt x="11787" y="21322"/>
                    <a:pt x="11351" y="21600"/>
                  </a:cubicBezTo>
                  <a:cubicBezTo>
                    <a:pt x="11351" y="21600"/>
                    <a:pt x="10055" y="20681"/>
                    <a:pt x="10055" y="20585"/>
                  </a:cubicBezTo>
                  <a:cubicBezTo>
                    <a:pt x="9957" y="20488"/>
                    <a:pt x="10379" y="19932"/>
                    <a:pt x="10379" y="19932"/>
                  </a:cubicBezTo>
                  <a:lnTo>
                    <a:pt x="9309" y="19847"/>
                  </a:lnTo>
                  <a:cubicBezTo>
                    <a:pt x="9196" y="19847"/>
                    <a:pt x="9309" y="19195"/>
                    <a:pt x="9309" y="19195"/>
                  </a:cubicBezTo>
                  <a:cubicBezTo>
                    <a:pt x="8774" y="19110"/>
                    <a:pt x="8225" y="18832"/>
                    <a:pt x="7690" y="19013"/>
                  </a:cubicBezTo>
                  <a:cubicBezTo>
                    <a:pt x="7056" y="19195"/>
                    <a:pt x="6732" y="19847"/>
                    <a:pt x="6183" y="20307"/>
                  </a:cubicBezTo>
                  <a:cubicBezTo>
                    <a:pt x="5549" y="20307"/>
                    <a:pt x="5113" y="20585"/>
                    <a:pt x="4578" y="20681"/>
                  </a:cubicBezTo>
                  <a:cubicBezTo>
                    <a:pt x="4254" y="20681"/>
                    <a:pt x="4043" y="20585"/>
                    <a:pt x="3719" y="20585"/>
                  </a:cubicBezTo>
                  <a:cubicBezTo>
                    <a:pt x="3282" y="19847"/>
                    <a:pt x="2099" y="19388"/>
                    <a:pt x="1452" y="18735"/>
                  </a:cubicBezTo>
                  <a:cubicBezTo>
                    <a:pt x="1128" y="18554"/>
                    <a:pt x="804" y="18373"/>
                    <a:pt x="480" y="18179"/>
                  </a:cubicBezTo>
                  <a:cubicBezTo>
                    <a:pt x="185" y="17817"/>
                    <a:pt x="-252" y="17635"/>
                    <a:pt x="185" y="17261"/>
                  </a:cubicBezTo>
                  <a:cubicBezTo>
                    <a:pt x="396" y="16983"/>
                    <a:pt x="593" y="16608"/>
                    <a:pt x="917" y="16608"/>
                  </a:cubicBezTo>
                  <a:cubicBezTo>
                    <a:pt x="1564" y="16608"/>
                    <a:pt x="1452" y="16427"/>
                    <a:pt x="1776" y="16149"/>
                  </a:cubicBezTo>
                  <a:cubicBezTo>
                    <a:pt x="2001" y="16064"/>
                    <a:pt x="2311" y="16149"/>
                    <a:pt x="2536" y="16064"/>
                  </a:cubicBezTo>
                  <a:cubicBezTo>
                    <a:pt x="2958" y="15871"/>
                    <a:pt x="3282" y="15967"/>
                    <a:pt x="3719" y="15871"/>
                  </a:cubicBezTo>
                  <a:cubicBezTo>
                    <a:pt x="4254" y="15871"/>
                    <a:pt x="4578" y="15411"/>
                    <a:pt x="4676" y="15049"/>
                  </a:cubicBezTo>
                  <a:cubicBezTo>
                    <a:pt x="5225" y="14771"/>
                    <a:pt x="5113" y="14493"/>
                    <a:pt x="5113" y="14033"/>
                  </a:cubicBezTo>
                  <a:cubicBezTo>
                    <a:pt x="5113" y="13562"/>
                    <a:pt x="4789" y="12921"/>
                    <a:pt x="4254" y="13477"/>
                  </a:cubicBezTo>
                  <a:cubicBezTo>
                    <a:pt x="4043" y="13755"/>
                    <a:pt x="3719" y="14215"/>
                    <a:pt x="3282" y="14493"/>
                  </a:cubicBezTo>
                  <a:cubicBezTo>
                    <a:pt x="3184" y="14589"/>
                    <a:pt x="2212" y="15605"/>
                    <a:pt x="2423" y="14674"/>
                  </a:cubicBezTo>
                  <a:cubicBezTo>
                    <a:pt x="2536" y="14311"/>
                    <a:pt x="2860" y="13755"/>
                    <a:pt x="2311" y="13477"/>
                  </a:cubicBezTo>
                  <a:cubicBezTo>
                    <a:pt x="2311" y="13018"/>
                    <a:pt x="2958" y="13018"/>
                    <a:pt x="2958" y="12643"/>
                  </a:cubicBezTo>
                  <a:cubicBezTo>
                    <a:pt x="3071" y="12281"/>
                    <a:pt x="3395" y="12003"/>
                    <a:pt x="3719" y="11809"/>
                  </a:cubicBezTo>
                  <a:cubicBezTo>
                    <a:pt x="3930" y="11628"/>
                    <a:pt x="3606" y="11543"/>
                    <a:pt x="3606" y="11350"/>
                  </a:cubicBezTo>
                  <a:cubicBezTo>
                    <a:pt x="3494" y="11169"/>
                    <a:pt x="3930" y="10613"/>
                    <a:pt x="4043" y="10516"/>
                  </a:cubicBezTo>
                  <a:cubicBezTo>
                    <a:pt x="4254" y="10335"/>
                    <a:pt x="4043" y="9960"/>
                    <a:pt x="4254" y="9875"/>
                  </a:cubicBezTo>
                  <a:cubicBezTo>
                    <a:pt x="4352" y="9779"/>
                    <a:pt x="4676" y="9694"/>
                    <a:pt x="4578" y="9416"/>
                  </a:cubicBezTo>
                  <a:cubicBezTo>
                    <a:pt x="4465" y="8957"/>
                    <a:pt x="5437" y="8763"/>
                    <a:pt x="5859" y="8763"/>
                  </a:cubicBezTo>
                  <a:cubicBezTo>
                    <a:pt x="5859" y="8582"/>
                    <a:pt x="5549" y="8219"/>
                    <a:pt x="5225" y="8123"/>
                  </a:cubicBezTo>
                  <a:cubicBezTo>
                    <a:pt x="4578" y="7941"/>
                    <a:pt x="4789" y="7941"/>
                    <a:pt x="4676" y="7470"/>
                  </a:cubicBezTo>
                  <a:cubicBezTo>
                    <a:pt x="4352" y="7470"/>
                    <a:pt x="3817" y="7385"/>
                    <a:pt x="3494" y="7107"/>
                  </a:cubicBezTo>
                  <a:cubicBezTo>
                    <a:pt x="3071" y="6829"/>
                    <a:pt x="3184" y="6273"/>
                    <a:pt x="2635" y="6733"/>
                  </a:cubicBezTo>
                  <a:cubicBezTo>
                    <a:pt x="2423" y="7011"/>
                    <a:pt x="2212" y="6733"/>
                    <a:pt x="2099" y="6455"/>
                  </a:cubicBezTo>
                  <a:cubicBezTo>
                    <a:pt x="1776" y="6092"/>
                    <a:pt x="1564" y="6370"/>
                    <a:pt x="1677" y="5717"/>
                  </a:cubicBezTo>
                  <a:cubicBezTo>
                    <a:pt x="1888" y="5077"/>
                    <a:pt x="1128" y="4980"/>
                    <a:pt x="2212" y="4521"/>
                  </a:cubicBezTo>
                  <a:cubicBezTo>
                    <a:pt x="2536" y="4061"/>
                    <a:pt x="2311" y="4243"/>
                    <a:pt x="1888" y="3868"/>
                  </a:cubicBezTo>
                  <a:cubicBezTo>
                    <a:pt x="1888" y="3868"/>
                    <a:pt x="1888" y="3868"/>
                    <a:pt x="1888" y="3783"/>
                  </a:cubicBezTo>
                  <a:cubicBezTo>
                    <a:pt x="2099" y="3687"/>
                    <a:pt x="2536" y="3505"/>
                    <a:pt x="2635" y="3409"/>
                  </a:cubicBezTo>
                  <a:cubicBezTo>
                    <a:pt x="3395" y="2949"/>
                    <a:pt x="2958" y="2309"/>
                    <a:pt x="4043" y="2490"/>
                  </a:cubicBezTo>
                  <a:cubicBezTo>
                    <a:pt x="4902" y="2575"/>
                    <a:pt x="4578" y="1837"/>
                    <a:pt x="5000" y="1656"/>
                  </a:cubicBezTo>
                  <a:cubicBezTo>
                    <a:pt x="5225" y="1571"/>
                    <a:pt x="5549" y="1475"/>
                    <a:pt x="5648" y="1293"/>
                  </a:cubicBezTo>
                  <a:cubicBezTo>
                    <a:pt x="6296" y="1197"/>
                    <a:pt x="6732" y="2309"/>
                    <a:pt x="7478" y="1837"/>
                  </a:cubicBezTo>
                  <a:cubicBezTo>
                    <a:pt x="8225" y="1378"/>
                    <a:pt x="8774" y="2115"/>
                    <a:pt x="9196" y="2671"/>
                  </a:cubicBezTo>
                  <a:cubicBezTo>
                    <a:pt x="9407" y="3131"/>
                    <a:pt x="9520" y="3505"/>
                    <a:pt x="9957" y="3046"/>
                  </a:cubicBezTo>
                  <a:cubicBezTo>
                    <a:pt x="10492" y="2490"/>
                    <a:pt x="11351" y="2575"/>
                    <a:pt x="11139" y="1753"/>
                  </a:cubicBezTo>
                  <a:cubicBezTo>
                    <a:pt x="11139" y="1571"/>
                    <a:pt x="11027" y="822"/>
                    <a:pt x="10928" y="822"/>
                  </a:cubicBezTo>
                  <a:cubicBezTo>
                    <a:pt x="11351" y="641"/>
                    <a:pt x="11674" y="278"/>
                    <a:pt x="12097" y="181"/>
                  </a:cubicBezTo>
                  <a:cubicBezTo>
                    <a:pt x="12421" y="85"/>
                    <a:pt x="12857" y="85"/>
                    <a:pt x="13181" y="363"/>
                  </a:cubicBezTo>
                  <a:cubicBezTo>
                    <a:pt x="13392" y="556"/>
                    <a:pt x="13181" y="919"/>
                    <a:pt x="13280" y="1100"/>
                  </a:cubicBezTo>
                  <a:cubicBezTo>
                    <a:pt x="13604" y="1378"/>
                    <a:pt x="14040" y="1656"/>
                    <a:pt x="14477" y="1571"/>
                  </a:cubicBezTo>
                  <a:cubicBezTo>
                    <a:pt x="14800" y="1571"/>
                    <a:pt x="14575" y="919"/>
                    <a:pt x="14899" y="822"/>
                  </a:cubicBezTo>
                  <a:cubicBezTo>
                    <a:pt x="15434" y="641"/>
                    <a:pt x="15969" y="919"/>
                    <a:pt x="16518" y="1015"/>
                  </a:cubicBezTo>
                  <a:cubicBezTo>
                    <a:pt x="16518" y="1015"/>
                    <a:pt x="16518" y="556"/>
                    <a:pt x="16729" y="459"/>
                  </a:cubicBezTo>
                  <a:cubicBezTo>
                    <a:pt x="16828" y="459"/>
                    <a:pt x="18025" y="0"/>
                    <a:pt x="1802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5" name="Shape 2359">
              <a:extLst>
                <a:ext uri="{FF2B5EF4-FFF2-40B4-BE49-F238E27FC236}">
                  <a16:creationId xmlns:a16="http://schemas.microsoft.com/office/drawing/2014/main" id="{B16B56F9-84A7-4E08-02AD-DB0EF959FF15}"/>
                </a:ext>
              </a:extLst>
            </p:cNvPr>
            <p:cNvSpPr/>
            <p:nvPr/>
          </p:nvSpPr>
          <p:spPr>
            <a:xfrm>
              <a:off x="2905175" y="6246286"/>
              <a:ext cx="186354" cy="188726"/>
            </a:xfrm>
            <a:custGeom>
              <a:avLst/>
              <a:gdLst/>
              <a:ahLst/>
              <a:cxnLst>
                <a:cxn ang="0">
                  <a:pos x="wd2" y="hd2"/>
                </a:cxn>
                <a:cxn ang="5400000">
                  <a:pos x="wd2" y="hd2"/>
                </a:cxn>
                <a:cxn ang="10800000">
                  <a:pos x="wd2" y="hd2"/>
                </a:cxn>
                <a:cxn ang="16200000">
                  <a:pos x="wd2" y="hd2"/>
                </a:cxn>
              </a:cxnLst>
              <a:rect l="0" t="0" r="r" b="b"/>
              <a:pathLst>
                <a:path w="21360" h="21295" extrusionOk="0">
                  <a:moveTo>
                    <a:pt x="14845" y="0"/>
                  </a:moveTo>
                  <a:cubicBezTo>
                    <a:pt x="15737" y="573"/>
                    <a:pt x="16629" y="1183"/>
                    <a:pt x="17211" y="2023"/>
                  </a:cubicBezTo>
                  <a:cubicBezTo>
                    <a:pt x="17831" y="2634"/>
                    <a:pt x="17211" y="3511"/>
                    <a:pt x="17521" y="4084"/>
                  </a:cubicBezTo>
                  <a:cubicBezTo>
                    <a:pt x="18103" y="5229"/>
                    <a:pt x="19576" y="5839"/>
                    <a:pt x="20197" y="6984"/>
                  </a:cubicBezTo>
                  <a:cubicBezTo>
                    <a:pt x="20778" y="7595"/>
                    <a:pt x="21089" y="8472"/>
                    <a:pt x="21360" y="9350"/>
                  </a:cubicBezTo>
                  <a:cubicBezTo>
                    <a:pt x="19886" y="9045"/>
                    <a:pt x="18413" y="8472"/>
                    <a:pt x="16939" y="8740"/>
                  </a:cubicBezTo>
                  <a:cubicBezTo>
                    <a:pt x="16319" y="8740"/>
                    <a:pt x="17211" y="9923"/>
                    <a:pt x="17211" y="10495"/>
                  </a:cubicBezTo>
                  <a:cubicBezTo>
                    <a:pt x="16939" y="12250"/>
                    <a:pt x="16047" y="13701"/>
                    <a:pt x="15737" y="15456"/>
                  </a:cubicBezTo>
                  <a:cubicBezTo>
                    <a:pt x="15427" y="16601"/>
                    <a:pt x="15737" y="18089"/>
                    <a:pt x="15427" y="19234"/>
                  </a:cubicBezTo>
                  <a:cubicBezTo>
                    <a:pt x="15155" y="19845"/>
                    <a:pt x="15155" y="21295"/>
                    <a:pt x="14263" y="21295"/>
                  </a:cubicBezTo>
                  <a:cubicBezTo>
                    <a:pt x="12790" y="21295"/>
                    <a:pt x="11588" y="20112"/>
                    <a:pt x="10424" y="19234"/>
                  </a:cubicBezTo>
                  <a:cubicBezTo>
                    <a:pt x="9222" y="18356"/>
                    <a:pt x="8330" y="16906"/>
                    <a:pt x="7167" y="15723"/>
                  </a:cubicBezTo>
                  <a:cubicBezTo>
                    <a:pt x="5965" y="14578"/>
                    <a:pt x="4181" y="14006"/>
                    <a:pt x="3289" y="12823"/>
                  </a:cubicBezTo>
                  <a:cubicBezTo>
                    <a:pt x="2979" y="12250"/>
                    <a:pt x="4181" y="11678"/>
                    <a:pt x="3871" y="11067"/>
                  </a:cubicBezTo>
                  <a:cubicBezTo>
                    <a:pt x="2979" y="10190"/>
                    <a:pt x="1234" y="10190"/>
                    <a:pt x="342" y="9045"/>
                  </a:cubicBezTo>
                  <a:cubicBezTo>
                    <a:pt x="31" y="8472"/>
                    <a:pt x="-240" y="7595"/>
                    <a:pt x="342" y="6984"/>
                  </a:cubicBezTo>
                  <a:cubicBezTo>
                    <a:pt x="1505" y="5839"/>
                    <a:pt x="3599" y="6106"/>
                    <a:pt x="4763" y="4961"/>
                  </a:cubicBezTo>
                  <a:cubicBezTo>
                    <a:pt x="5383" y="4389"/>
                    <a:pt x="4181" y="2901"/>
                    <a:pt x="4763" y="2634"/>
                  </a:cubicBezTo>
                  <a:cubicBezTo>
                    <a:pt x="5965" y="2328"/>
                    <a:pt x="7167" y="3778"/>
                    <a:pt x="8640" y="3778"/>
                  </a:cubicBezTo>
                  <a:cubicBezTo>
                    <a:pt x="9222" y="3778"/>
                    <a:pt x="9804" y="2023"/>
                    <a:pt x="10424" y="2328"/>
                  </a:cubicBezTo>
                  <a:cubicBezTo>
                    <a:pt x="11277" y="2328"/>
                    <a:pt x="10696" y="3778"/>
                    <a:pt x="11277" y="4389"/>
                  </a:cubicBezTo>
                  <a:cubicBezTo>
                    <a:pt x="11588" y="4656"/>
                    <a:pt x="12169" y="4389"/>
                    <a:pt x="12480" y="4084"/>
                  </a:cubicBezTo>
                  <a:cubicBezTo>
                    <a:pt x="12480" y="2901"/>
                    <a:pt x="11006" y="1450"/>
                    <a:pt x="11898" y="573"/>
                  </a:cubicBezTo>
                  <a:cubicBezTo>
                    <a:pt x="12169" y="-305"/>
                    <a:pt x="13953" y="306"/>
                    <a:pt x="1484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6" name="Shape 2360">
              <a:extLst>
                <a:ext uri="{FF2B5EF4-FFF2-40B4-BE49-F238E27FC236}">
                  <a16:creationId xmlns:a16="http://schemas.microsoft.com/office/drawing/2014/main" id="{2D350134-99C9-5F9B-7C34-4D58AB2160E8}"/>
                </a:ext>
              </a:extLst>
            </p:cNvPr>
            <p:cNvSpPr/>
            <p:nvPr/>
          </p:nvSpPr>
          <p:spPr>
            <a:xfrm>
              <a:off x="3091798" y="6420482"/>
              <a:ext cx="97836" cy="173173"/>
            </a:xfrm>
            <a:custGeom>
              <a:avLst/>
              <a:gdLst/>
              <a:ahLst/>
              <a:cxnLst>
                <a:cxn ang="0">
                  <a:pos x="wd2" y="hd2"/>
                </a:cxn>
                <a:cxn ang="5400000">
                  <a:pos x="wd2" y="hd2"/>
                </a:cxn>
                <a:cxn ang="10800000">
                  <a:pos x="wd2" y="hd2"/>
                </a:cxn>
                <a:cxn ang="16200000">
                  <a:pos x="wd2" y="hd2"/>
                </a:cxn>
              </a:cxnLst>
              <a:rect l="0" t="0" r="r" b="b"/>
              <a:pathLst>
                <a:path w="20977" h="21365" extrusionOk="0">
                  <a:moveTo>
                    <a:pt x="7668" y="0"/>
                  </a:moveTo>
                  <a:cubicBezTo>
                    <a:pt x="13195" y="1582"/>
                    <a:pt x="13195" y="1582"/>
                    <a:pt x="13195" y="1582"/>
                  </a:cubicBezTo>
                  <a:cubicBezTo>
                    <a:pt x="13777" y="2539"/>
                    <a:pt x="13195" y="3454"/>
                    <a:pt x="13777" y="4412"/>
                  </a:cubicBezTo>
                  <a:cubicBezTo>
                    <a:pt x="14359" y="5077"/>
                    <a:pt x="14868" y="5702"/>
                    <a:pt x="16032" y="6326"/>
                  </a:cubicBezTo>
                  <a:cubicBezTo>
                    <a:pt x="17122" y="6950"/>
                    <a:pt x="19377" y="6950"/>
                    <a:pt x="20977" y="7616"/>
                  </a:cubicBezTo>
                  <a:cubicBezTo>
                    <a:pt x="18795" y="9198"/>
                    <a:pt x="14359" y="10488"/>
                    <a:pt x="14359" y="12361"/>
                  </a:cubicBezTo>
                  <a:cubicBezTo>
                    <a:pt x="13777" y="15232"/>
                    <a:pt x="16541" y="18104"/>
                    <a:pt x="18213" y="20976"/>
                  </a:cubicBezTo>
                  <a:cubicBezTo>
                    <a:pt x="17122" y="20976"/>
                    <a:pt x="16541" y="21600"/>
                    <a:pt x="15450" y="21267"/>
                  </a:cubicBezTo>
                  <a:cubicBezTo>
                    <a:pt x="11595" y="20643"/>
                    <a:pt x="7668" y="19686"/>
                    <a:pt x="3813" y="18728"/>
                  </a:cubicBezTo>
                  <a:cubicBezTo>
                    <a:pt x="3232" y="17147"/>
                    <a:pt x="977" y="15565"/>
                    <a:pt x="1559" y="13984"/>
                  </a:cubicBezTo>
                  <a:cubicBezTo>
                    <a:pt x="2141" y="12069"/>
                    <a:pt x="5995" y="10779"/>
                    <a:pt x="7086" y="8865"/>
                  </a:cubicBezTo>
                  <a:cubicBezTo>
                    <a:pt x="7668" y="7616"/>
                    <a:pt x="6577" y="6326"/>
                    <a:pt x="5413" y="5369"/>
                  </a:cubicBezTo>
                  <a:cubicBezTo>
                    <a:pt x="4322" y="4412"/>
                    <a:pt x="2141" y="4412"/>
                    <a:pt x="977" y="3454"/>
                  </a:cubicBezTo>
                  <a:cubicBezTo>
                    <a:pt x="468" y="2830"/>
                    <a:pt x="-623" y="1873"/>
                    <a:pt x="468" y="1249"/>
                  </a:cubicBezTo>
                  <a:cubicBezTo>
                    <a:pt x="2141" y="291"/>
                    <a:pt x="5413" y="291"/>
                    <a:pt x="7668"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7" name="Shape 2361">
              <a:extLst>
                <a:ext uri="{FF2B5EF4-FFF2-40B4-BE49-F238E27FC236}">
                  <a16:creationId xmlns:a16="http://schemas.microsoft.com/office/drawing/2014/main" id="{5D263D13-B522-6040-D329-CD0C24292DD1}"/>
                </a:ext>
              </a:extLst>
            </p:cNvPr>
            <p:cNvSpPr/>
            <p:nvPr/>
          </p:nvSpPr>
          <p:spPr>
            <a:xfrm>
              <a:off x="3152810" y="6402645"/>
              <a:ext cx="84396" cy="82909"/>
            </a:xfrm>
            <a:custGeom>
              <a:avLst/>
              <a:gdLst/>
              <a:ahLst/>
              <a:cxnLst>
                <a:cxn ang="0">
                  <a:pos x="wd2" y="hd2"/>
                </a:cxn>
                <a:cxn ang="5400000">
                  <a:pos x="wd2" y="hd2"/>
                </a:cxn>
                <a:cxn ang="10800000">
                  <a:pos x="wd2" y="hd2"/>
                </a:cxn>
                <a:cxn ang="16200000">
                  <a:pos x="wd2" y="hd2"/>
                </a:cxn>
              </a:cxnLst>
              <a:rect l="0" t="0" r="r" b="b"/>
              <a:pathLst>
                <a:path w="21600" h="21600" extrusionOk="0">
                  <a:moveTo>
                    <a:pt x="0" y="8144"/>
                  </a:moveTo>
                  <a:cubicBezTo>
                    <a:pt x="686" y="10180"/>
                    <a:pt x="0" y="12128"/>
                    <a:pt x="686" y="14164"/>
                  </a:cubicBezTo>
                  <a:cubicBezTo>
                    <a:pt x="1371" y="15580"/>
                    <a:pt x="1971" y="16908"/>
                    <a:pt x="3343" y="18236"/>
                  </a:cubicBezTo>
                  <a:cubicBezTo>
                    <a:pt x="4629" y="19564"/>
                    <a:pt x="7286" y="19564"/>
                    <a:pt x="9171" y="20980"/>
                  </a:cubicBezTo>
                  <a:cubicBezTo>
                    <a:pt x="16371" y="21600"/>
                    <a:pt x="16371" y="21600"/>
                    <a:pt x="16371" y="21600"/>
                  </a:cubicBezTo>
                  <a:cubicBezTo>
                    <a:pt x="20314" y="19564"/>
                    <a:pt x="20314" y="19564"/>
                    <a:pt x="20314" y="19564"/>
                  </a:cubicBezTo>
                  <a:cubicBezTo>
                    <a:pt x="19029" y="16908"/>
                    <a:pt x="16371" y="14872"/>
                    <a:pt x="16371" y="12128"/>
                  </a:cubicBezTo>
                  <a:cubicBezTo>
                    <a:pt x="17057" y="9472"/>
                    <a:pt x="19714" y="8144"/>
                    <a:pt x="21600" y="6728"/>
                  </a:cubicBezTo>
                  <a:cubicBezTo>
                    <a:pt x="17057" y="4780"/>
                    <a:pt x="13800" y="0"/>
                    <a:pt x="9171" y="0"/>
                  </a:cubicBezTo>
                  <a:cubicBezTo>
                    <a:pt x="5314" y="708"/>
                    <a:pt x="3343" y="5400"/>
                    <a:pt x="0" y="814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8" name="Shape 2362">
              <a:extLst>
                <a:ext uri="{FF2B5EF4-FFF2-40B4-BE49-F238E27FC236}">
                  <a16:creationId xmlns:a16="http://schemas.microsoft.com/office/drawing/2014/main" id="{49A97A32-A241-E29B-071B-7839698BB414}"/>
                </a:ext>
              </a:extLst>
            </p:cNvPr>
            <p:cNvSpPr/>
            <p:nvPr/>
          </p:nvSpPr>
          <p:spPr>
            <a:xfrm>
              <a:off x="3158120" y="6482920"/>
              <a:ext cx="98406" cy="108183"/>
            </a:xfrm>
            <a:custGeom>
              <a:avLst/>
              <a:gdLst/>
              <a:ahLst/>
              <a:cxnLst>
                <a:cxn ang="0">
                  <a:pos x="wd2" y="hd2"/>
                </a:cxn>
                <a:cxn ang="5400000">
                  <a:pos x="wd2" y="hd2"/>
                </a:cxn>
                <a:cxn ang="10800000">
                  <a:pos x="wd2" y="hd2"/>
                </a:cxn>
                <a:cxn ang="16200000">
                  <a:pos x="wd2" y="hd2"/>
                </a:cxn>
              </a:cxnLst>
              <a:rect l="0" t="0" r="r" b="b"/>
              <a:pathLst>
                <a:path w="21099" h="21600" extrusionOk="0">
                  <a:moveTo>
                    <a:pt x="6675" y="0"/>
                  </a:moveTo>
                  <a:cubicBezTo>
                    <a:pt x="12763" y="471"/>
                    <a:pt x="12763" y="471"/>
                    <a:pt x="12763" y="471"/>
                  </a:cubicBezTo>
                  <a:cubicBezTo>
                    <a:pt x="13343" y="3095"/>
                    <a:pt x="14431" y="5114"/>
                    <a:pt x="13923" y="7671"/>
                  </a:cubicBezTo>
                  <a:cubicBezTo>
                    <a:pt x="13923" y="10295"/>
                    <a:pt x="11676" y="12314"/>
                    <a:pt x="12256" y="14400"/>
                  </a:cubicBezTo>
                  <a:cubicBezTo>
                    <a:pt x="12256" y="15409"/>
                    <a:pt x="13923" y="15880"/>
                    <a:pt x="15010" y="15409"/>
                  </a:cubicBezTo>
                  <a:cubicBezTo>
                    <a:pt x="16678" y="14871"/>
                    <a:pt x="16678" y="12314"/>
                    <a:pt x="17765" y="11776"/>
                  </a:cubicBezTo>
                  <a:cubicBezTo>
                    <a:pt x="19432" y="11776"/>
                    <a:pt x="20012" y="13862"/>
                    <a:pt x="21099" y="14871"/>
                  </a:cubicBezTo>
                  <a:cubicBezTo>
                    <a:pt x="20012" y="20052"/>
                    <a:pt x="20012" y="20052"/>
                    <a:pt x="20012" y="20052"/>
                  </a:cubicBezTo>
                  <a:cubicBezTo>
                    <a:pt x="18852" y="20052"/>
                    <a:pt x="17765" y="18976"/>
                    <a:pt x="16098" y="18976"/>
                  </a:cubicBezTo>
                  <a:cubicBezTo>
                    <a:pt x="15010" y="18976"/>
                    <a:pt x="14431" y="20523"/>
                    <a:pt x="13343" y="20523"/>
                  </a:cubicBezTo>
                  <a:cubicBezTo>
                    <a:pt x="12256" y="20523"/>
                    <a:pt x="11096" y="18505"/>
                    <a:pt x="10009" y="18976"/>
                  </a:cubicBezTo>
                  <a:cubicBezTo>
                    <a:pt x="8922" y="18976"/>
                    <a:pt x="8342" y="21062"/>
                    <a:pt x="7255" y="21600"/>
                  </a:cubicBezTo>
                  <a:cubicBezTo>
                    <a:pt x="6167" y="21600"/>
                    <a:pt x="5080" y="21600"/>
                    <a:pt x="3920" y="21600"/>
                  </a:cubicBezTo>
                  <a:cubicBezTo>
                    <a:pt x="2253" y="16957"/>
                    <a:pt x="-501" y="12314"/>
                    <a:pt x="79" y="7671"/>
                  </a:cubicBezTo>
                  <a:cubicBezTo>
                    <a:pt x="79" y="4643"/>
                    <a:pt x="4500" y="2557"/>
                    <a:pt x="667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9" name="Shape 2363">
              <a:extLst>
                <a:ext uri="{FF2B5EF4-FFF2-40B4-BE49-F238E27FC236}">
                  <a16:creationId xmlns:a16="http://schemas.microsoft.com/office/drawing/2014/main" id="{B12A914E-D8C9-8370-4D5D-3719F893E4DF}"/>
                </a:ext>
              </a:extLst>
            </p:cNvPr>
            <p:cNvSpPr/>
            <p:nvPr/>
          </p:nvSpPr>
          <p:spPr>
            <a:xfrm>
              <a:off x="3214529" y="6466566"/>
              <a:ext cx="88078" cy="93369"/>
            </a:xfrm>
            <a:custGeom>
              <a:avLst/>
              <a:gdLst/>
              <a:ahLst/>
              <a:cxnLst>
                <a:cxn ang="0">
                  <a:pos x="wd2" y="hd2"/>
                </a:cxn>
                <a:cxn ang="5400000">
                  <a:pos x="wd2" y="hd2"/>
                </a:cxn>
                <a:cxn ang="10800000">
                  <a:pos x="wd2" y="hd2"/>
                </a:cxn>
                <a:cxn ang="16200000">
                  <a:pos x="wd2" y="hd2"/>
                </a:cxn>
              </a:cxnLst>
              <a:rect l="0" t="0" r="r" b="b"/>
              <a:pathLst>
                <a:path w="21060" h="21273" extrusionOk="0">
                  <a:moveTo>
                    <a:pt x="4395" y="2298"/>
                  </a:moveTo>
                  <a:cubicBezTo>
                    <a:pt x="673" y="4060"/>
                    <a:pt x="673" y="4060"/>
                    <a:pt x="673" y="4060"/>
                  </a:cubicBezTo>
                  <a:cubicBezTo>
                    <a:pt x="1321" y="7047"/>
                    <a:pt x="2534" y="9345"/>
                    <a:pt x="1968" y="12255"/>
                  </a:cubicBezTo>
                  <a:cubicBezTo>
                    <a:pt x="1968" y="15243"/>
                    <a:pt x="-540" y="17540"/>
                    <a:pt x="107" y="19915"/>
                  </a:cubicBezTo>
                  <a:cubicBezTo>
                    <a:pt x="107" y="21064"/>
                    <a:pt x="1968" y="21600"/>
                    <a:pt x="3181" y="21064"/>
                  </a:cubicBezTo>
                  <a:cubicBezTo>
                    <a:pt x="5042" y="20451"/>
                    <a:pt x="5042" y="17540"/>
                    <a:pt x="6256" y="16928"/>
                  </a:cubicBezTo>
                  <a:cubicBezTo>
                    <a:pt x="8116" y="16928"/>
                    <a:pt x="8763" y="19302"/>
                    <a:pt x="9977" y="20451"/>
                  </a:cubicBezTo>
                  <a:cubicBezTo>
                    <a:pt x="11838" y="19302"/>
                    <a:pt x="14345" y="18153"/>
                    <a:pt x="16125" y="16928"/>
                  </a:cubicBezTo>
                  <a:cubicBezTo>
                    <a:pt x="16772" y="16391"/>
                    <a:pt x="17986" y="15243"/>
                    <a:pt x="17420" y="14017"/>
                  </a:cubicBezTo>
                  <a:cubicBezTo>
                    <a:pt x="17420" y="12868"/>
                    <a:pt x="14912" y="12255"/>
                    <a:pt x="14912" y="11106"/>
                  </a:cubicBezTo>
                  <a:cubicBezTo>
                    <a:pt x="16125" y="8196"/>
                    <a:pt x="18633" y="5821"/>
                    <a:pt x="21060" y="2911"/>
                  </a:cubicBezTo>
                  <a:cubicBezTo>
                    <a:pt x="17420" y="2298"/>
                    <a:pt x="13698" y="536"/>
                    <a:pt x="10624" y="0"/>
                  </a:cubicBezTo>
                  <a:cubicBezTo>
                    <a:pt x="8116" y="0"/>
                    <a:pt x="6256" y="1762"/>
                    <a:pt x="4395" y="229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0" name="Shape 2364">
              <a:extLst>
                <a:ext uri="{FF2B5EF4-FFF2-40B4-BE49-F238E27FC236}">
                  <a16:creationId xmlns:a16="http://schemas.microsoft.com/office/drawing/2014/main" id="{A4C4D4DE-8228-3354-464A-60244CA5CB32}"/>
                </a:ext>
              </a:extLst>
            </p:cNvPr>
            <p:cNvSpPr/>
            <p:nvPr/>
          </p:nvSpPr>
          <p:spPr>
            <a:xfrm>
              <a:off x="3218215" y="6384097"/>
              <a:ext cx="103716" cy="95513"/>
            </a:xfrm>
            <a:custGeom>
              <a:avLst/>
              <a:gdLst/>
              <a:ahLst/>
              <a:cxnLst>
                <a:cxn ang="0">
                  <a:pos x="wd2" y="hd2"/>
                </a:cxn>
                <a:cxn ang="5400000">
                  <a:pos x="wd2" y="hd2"/>
                </a:cxn>
                <a:cxn ang="10800000">
                  <a:pos x="wd2" y="hd2"/>
                </a:cxn>
                <a:cxn ang="16200000">
                  <a:pos x="wd2" y="hd2"/>
                </a:cxn>
              </a:cxnLst>
              <a:rect l="0" t="0" r="r" b="b"/>
              <a:pathLst>
                <a:path w="21600" h="21100" extrusionOk="0">
                  <a:moveTo>
                    <a:pt x="4306" y="9704"/>
                  </a:moveTo>
                  <a:cubicBezTo>
                    <a:pt x="2753" y="10896"/>
                    <a:pt x="565" y="12013"/>
                    <a:pt x="0" y="14248"/>
                  </a:cubicBezTo>
                  <a:cubicBezTo>
                    <a:pt x="0" y="16557"/>
                    <a:pt x="2188" y="18270"/>
                    <a:pt x="3247" y="20504"/>
                  </a:cubicBezTo>
                  <a:cubicBezTo>
                    <a:pt x="4871" y="19983"/>
                    <a:pt x="6494" y="18270"/>
                    <a:pt x="8682" y="18270"/>
                  </a:cubicBezTo>
                  <a:cubicBezTo>
                    <a:pt x="11365" y="18791"/>
                    <a:pt x="14612" y="20504"/>
                    <a:pt x="17788" y="21100"/>
                  </a:cubicBezTo>
                  <a:cubicBezTo>
                    <a:pt x="18353" y="19983"/>
                    <a:pt x="19976" y="18791"/>
                    <a:pt x="20541" y="17674"/>
                  </a:cubicBezTo>
                  <a:cubicBezTo>
                    <a:pt x="21035" y="15961"/>
                    <a:pt x="21035" y="14248"/>
                    <a:pt x="21600" y="12609"/>
                  </a:cubicBezTo>
                  <a:cubicBezTo>
                    <a:pt x="21035" y="11417"/>
                    <a:pt x="20541" y="9704"/>
                    <a:pt x="19976" y="8587"/>
                  </a:cubicBezTo>
                  <a:cubicBezTo>
                    <a:pt x="19412" y="7470"/>
                    <a:pt x="18918" y="6874"/>
                    <a:pt x="18353" y="6352"/>
                  </a:cubicBezTo>
                  <a:cubicBezTo>
                    <a:pt x="17294" y="4043"/>
                    <a:pt x="18353" y="1734"/>
                    <a:pt x="16729" y="617"/>
                  </a:cubicBezTo>
                  <a:cubicBezTo>
                    <a:pt x="15671" y="-500"/>
                    <a:pt x="13482" y="21"/>
                    <a:pt x="12424" y="1213"/>
                  </a:cubicBezTo>
                  <a:cubicBezTo>
                    <a:pt x="11365" y="1734"/>
                    <a:pt x="12424" y="3448"/>
                    <a:pt x="11365" y="4043"/>
                  </a:cubicBezTo>
                  <a:cubicBezTo>
                    <a:pt x="10306" y="5161"/>
                    <a:pt x="8682" y="4043"/>
                    <a:pt x="7553" y="5161"/>
                  </a:cubicBezTo>
                  <a:cubicBezTo>
                    <a:pt x="6494" y="6352"/>
                    <a:pt x="5435" y="8066"/>
                    <a:pt x="4306" y="970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1" name="Shape 2365">
              <a:extLst>
                <a:ext uri="{FF2B5EF4-FFF2-40B4-BE49-F238E27FC236}">
                  <a16:creationId xmlns:a16="http://schemas.microsoft.com/office/drawing/2014/main" id="{973477A3-6CC6-8CD0-0A4C-02A4082FE9DC}"/>
                </a:ext>
              </a:extLst>
            </p:cNvPr>
            <p:cNvSpPr/>
            <p:nvPr/>
          </p:nvSpPr>
          <p:spPr>
            <a:xfrm>
              <a:off x="2921692" y="6572114"/>
              <a:ext cx="468619" cy="418627"/>
            </a:xfrm>
            <a:custGeom>
              <a:avLst/>
              <a:gdLst/>
              <a:ahLst/>
              <a:cxnLst>
                <a:cxn ang="0">
                  <a:pos x="wd2" y="hd2"/>
                </a:cxn>
                <a:cxn ang="5400000">
                  <a:pos x="wd2" y="hd2"/>
                </a:cxn>
                <a:cxn ang="10800000">
                  <a:pos x="wd2" y="hd2"/>
                </a:cxn>
                <a:cxn ang="16200000">
                  <a:pos x="wd2" y="hd2"/>
                </a:cxn>
              </a:cxnLst>
              <a:rect l="0" t="0" r="r" b="b"/>
              <a:pathLst>
                <a:path w="21496" h="21511" extrusionOk="0">
                  <a:moveTo>
                    <a:pt x="11700" y="937"/>
                  </a:moveTo>
                  <a:cubicBezTo>
                    <a:pt x="11948" y="937"/>
                    <a:pt x="12179" y="937"/>
                    <a:pt x="12411" y="937"/>
                  </a:cubicBezTo>
                  <a:cubicBezTo>
                    <a:pt x="12643" y="798"/>
                    <a:pt x="12766" y="260"/>
                    <a:pt x="12998" y="260"/>
                  </a:cubicBezTo>
                  <a:cubicBezTo>
                    <a:pt x="13230" y="139"/>
                    <a:pt x="13477" y="659"/>
                    <a:pt x="13709" y="659"/>
                  </a:cubicBezTo>
                  <a:cubicBezTo>
                    <a:pt x="13941" y="659"/>
                    <a:pt x="14064" y="260"/>
                    <a:pt x="14296" y="260"/>
                  </a:cubicBezTo>
                  <a:cubicBezTo>
                    <a:pt x="14651" y="260"/>
                    <a:pt x="14883" y="538"/>
                    <a:pt x="15130" y="538"/>
                  </a:cubicBezTo>
                  <a:cubicBezTo>
                    <a:pt x="15362" y="798"/>
                    <a:pt x="15594" y="1058"/>
                    <a:pt x="15717" y="1336"/>
                  </a:cubicBezTo>
                  <a:lnTo>
                    <a:pt x="15007" y="1856"/>
                  </a:lnTo>
                  <a:cubicBezTo>
                    <a:pt x="15007" y="1995"/>
                    <a:pt x="15717" y="2793"/>
                    <a:pt x="15717" y="2793"/>
                  </a:cubicBezTo>
                  <a:cubicBezTo>
                    <a:pt x="16073" y="2654"/>
                    <a:pt x="16428" y="2793"/>
                    <a:pt x="16784" y="2516"/>
                  </a:cubicBezTo>
                  <a:cubicBezTo>
                    <a:pt x="17139" y="2394"/>
                    <a:pt x="17371" y="1856"/>
                    <a:pt x="17834" y="1718"/>
                  </a:cubicBezTo>
                  <a:cubicBezTo>
                    <a:pt x="18081" y="1596"/>
                    <a:pt x="18421" y="1718"/>
                    <a:pt x="18777" y="1596"/>
                  </a:cubicBezTo>
                  <a:cubicBezTo>
                    <a:pt x="18900" y="1718"/>
                    <a:pt x="19256" y="1856"/>
                    <a:pt x="19256" y="1995"/>
                  </a:cubicBezTo>
                  <a:cubicBezTo>
                    <a:pt x="19256" y="2516"/>
                    <a:pt x="18900" y="2915"/>
                    <a:pt x="18777" y="3453"/>
                  </a:cubicBezTo>
                  <a:cubicBezTo>
                    <a:pt x="18545" y="3574"/>
                    <a:pt x="18313" y="3713"/>
                    <a:pt x="18313" y="3973"/>
                  </a:cubicBezTo>
                  <a:cubicBezTo>
                    <a:pt x="18421" y="4511"/>
                    <a:pt x="19024" y="4910"/>
                    <a:pt x="18900" y="5569"/>
                  </a:cubicBezTo>
                  <a:cubicBezTo>
                    <a:pt x="18777" y="6228"/>
                    <a:pt x="18313" y="6888"/>
                    <a:pt x="17958" y="7426"/>
                  </a:cubicBezTo>
                  <a:cubicBezTo>
                    <a:pt x="17726" y="7686"/>
                    <a:pt x="17247" y="7287"/>
                    <a:pt x="17139" y="7564"/>
                  </a:cubicBezTo>
                  <a:cubicBezTo>
                    <a:pt x="17139" y="8484"/>
                    <a:pt x="17602" y="9143"/>
                    <a:pt x="17726" y="10080"/>
                  </a:cubicBezTo>
                  <a:cubicBezTo>
                    <a:pt x="17726" y="10462"/>
                    <a:pt x="17371" y="10739"/>
                    <a:pt x="17247" y="11138"/>
                  </a:cubicBezTo>
                  <a:cubicBezTo>
                    <a:pt x="17139" y="11537"/>
                    <a:pt x="17015" y="11936"/>
                    <a:pt x="17139" y="12197"/>
                  </a:cubicBezTo>
                  <a:cubicBezTo>
                    <a:pt x="17247" y="12596"/>
                    <a:pt x="17479" y="12856"/>
                    <a:pt x="17726" y="13116"/>
                  </a:cubicBezTo>
                  <a:cubicBezTo>
                    <a:pt x="17958" y="13394"/>
                    <a:pt x="18081" y="13775"/>
                    <a:pt x="18313" y="13654"/>
                  </a:cubicBezTo>
                  <a:cubicBezTo>
                    <a:pt x="18545" y="13654"/>
                    <a:pt x="18313" y="12995"/>
                    <a:pt x="18545" y="12995"/>
                  </a:cubicBezTo>
                  <a:cubicBezTo>
                    <a:pt x="18777" y="12856"/>
                    <a:pt x="18900" y="13394"/>
                    <a:pt x="19256" y="13515"/>
                  </a:cubicBezTo>
                  <a:cubicBezTo>
                    <a:pt x="19379" y="13515"/>
                    <a:pt x="19611" y="13116"/>
                    <a:pt x="19843" y="13116"/>
                  </a:cubicBezTo>
                  <a:cubicBezTo>
                    <a:pt x="20198" y="13255"/>
                    <a:pt x="20445" y="13654"/>
                    <a:pt x="20677" y="13914"/>
                  </a:cubicBezTo>
                  <a:cubicBezTo>
                    <a:pt x="20785" y="14053"/>
                    <a:pt x="20677" y="14174"/>
                    <a:pt x="20677" y="14174"/>
                  </a:cubicBezTo>
                  <a:cubicBezTo>
                    <a:pt x="20909" y="14452"/>
                    <a:pt x="21264" y="14452"/>
                    <a:pt x="21496" y="14712"/>
                  </a:cubicBezTo>
                  <a:cubicBezTo>
                    <a:pt x="20909" y="15372"/>
                    <a:pt x="19966" y="15771"/>
                    <a:pt x="19611" y="16707"/>
                  </a:cubicBezTo>
                  <a:cubicBezTo>
                    <a:pt x="19379" y="17228"/>
                    <a:pt x="19966" y="17766"/>
                    <a:pt x="20198" y="18286"/>
                  </a:cubicBezTo>
                  <a:cubicBezTo>
                    <a:pt x="20198" y="18286"/>
                    <a:pt x="19735" y="19345"/>
                    <a:pt x="19735" y="19483"/>
                  </a:cubicBezTo>
                  <a:cubicBezTo>
                    <a:pt x="19735" y="19605"/>
                    <a:pt x="17834" y="18026"/>
                    <a:pt x="17834" y="18026"/>
                  </a:cubicBezTo>
                  <a:cubicBezTo>
                    <a:pt x="17479" y="18165"/>
                    <a:pt x="17015" y="18165"/>
                    <a:pt x="16660" y="18286"/>
                  </a:cubicBezTo>
                  <a:cubicBezTo>
                    <a:pt x="15949" y="18685"/>
                    <a:pt x="15362" y="19223"/>
                    <a:pt x="14651" y="19483"/>
                  </a:cubicBezTo>
                  <a:cubicBezTo>
                    <a:pt x="14064" y="19744"/>
                    <a:pt x="13230" y="20281"/>
                    <a:pt x="12643" y="19744"/>
                  </a:cubicBezTo>
                  <a:cubicBezTo>
                    <a:pt x="12287" y="19345"/>
                    <a:pt x="13122" y="18547"/>
                    <a:pt x="12890" y="18026"/>
                  </a:cubicBezTo>
                  <a:cubicBezTo>
                    <a:pt x="12766" y="17627"/>
                    <a:pt x="12056" y="17766"/>
                    <a:pt x="11824" y="17887"/>
                  </a:cubicBezTo>
                  <a:cubicBezTo>
                    <a:pt x="11469" y="18026"/>
                    <a:pt x="11113" y="18547"/>
                    <a:pt x="11113" y="18946"/>
                  </a:cubicBezTo>
                  <a:cubicBezTo>
                    <a:pt x="11237" y="19345"/>
                    <a:pt x="12056" y="19744"/>
                    <a:pt x="11824" y="20143"/>
                  </a:cubicBezTo>
                  <a:cubicBezTo>
                    <a:pt x="11700" y="20680"/>
                    <a:pt x="10990" y="20143"/>
                    <a:pt x="10526" y="20281"/>
                  </a:cubicBezTo>
                  <a:cubicBezTo>
                    <a:pt x="10526" y="20281"/>
                    <a:pt x="9692" y="21340"/>
                    <a:pt x="9692" y="21479"/>
                  </a:cubicBezTo>
                  <a:cubicBezTo>
                    <a:pt x="9584" y="21600"/>
                    <a:pt x="8286" y="21340"/>
                    <a:pt x="8286" y="21340"/>
                  </a:cubicBezTo>
                  <a:cubicBezTo>
                    <a:pt x="8038" y="20542"/>
                    <a:pt x="7807" y="19882"/>
                    <a:pt x="7699" y="19223"/>
                  </a:cubicBezTo>
                  <a:cubicBezTo>
                    <a:pt x="7575" y="17228"/>
                    <a:pt x="7930" y="15233"/>
                    <a:pt x="7343" y="13515"/>
                  </a:cubicBezTo>
                  <a:cubicBezTo>
                    <a:pt x="7096" y="12856"/>
                    <a:pt x="5798" y="13914"/>
                    <a:pt x="5566" y="13394"/>
                  </a:cubicBezTo>
                  <a:cubicBezTo>
                    <a:pt x="5087" y="12335"/>
                    <a:pt x="5798" y="11260"/>
                    <a:pt x="6045" y="10201"/>
                  </a:cubicBezTo>
                  <a:cubicBezTo>
                    <a:pt x="6045" y="10201"/>
                    <a:pt x="4500" y="9681"/>
                    <a:pt x="4624" y="9403"/>
                  </a:cubicBezTo>
                  <a:cubicBezTo>
                    <a:pt x="4624" y="9282"/>
                    <a:pt x="5087" y="7946"/>
                    <a:pt x="5087" y="7946"/>
                  </a:cubicBezTo>
                  <a:cubicBezTo>
                    <a:pt x="4732" y="7686"/>
                    <a:pt x="4269" y="7165"/>
                    <a:pt x="3913" y="7426"/>
                  </a:cubicBezTo>
                  <a:cubicBezTo>
                    <a:pt x="3558" y="7564"/>
                    <a:pt x="4145" y="8484"/>
                    <a:pt x="3790" y="8623"/>
                  </a:cubicBezTo>
                  <a:cubicBezTo>
                    <a:pt x="2847" y="9282"/>
                    <a:pt x="1673" y="9802"/>
                    <a:pt x="607" y="9403"/>
                  </a:cubicBezTo>
                  <a:cubicBezTo>
                    <a:pt x="20" y="9143"/>
                    <a:pt x="1441" y="8345"/>
                    <a:pt x="1317" y="7686"/>
                  </a:cubicBezTo>
                  <a:cubicBezTo>
                    <a:pt x="1194" y="7165"/>
                    <a:pt x="251" y="7165"/>
                    <a:pt x="20" y="6766"/>
                  </a:cubicBezTo>
                  <a:cubicBezTo>
                    <a:pt x="-104" y="6489"/>
                    <a:pt x="375" y="6627"/>
                    <a:pt x="607" y="6489"/>
                  </a:cubicBezTo>
                  <a:cubicBezTo>
                    <a:pt x="1086" y="6489"/>
                    <a:pt x="1673" y="6489"/>
                    <a:pt x="2152" y="6228"/>
                  </a:cubicBezTo>
                  <a:cubicBezTo>
                    <a:pt x="2507" y="5968"/>
                    <a:pt x="2384" y="5170"/>
                    <a:pt x="2739" y="5031"/>
                  </a:cubicBezTo>
                  <a:cubicBezTo>
                    <a:pt x="3094" y="4910"/>
                    <a:pt x="3450" y="5309"/>
                    <a:pt x="3790" y="5309"/>
                  </a:cubicBezTo>
                  <a:cubicBezTo>
                    <a:pt x="3790" y="5309"/>
                    <a:pt x="4269" y="3852"/>
                    <a:pt x="4392" y="3852"/>
                  </a:cubicBezTo>
                  <a:cubicBezTo>
                    <a:pt x="4624" y="3852"/>
                    <a:pt x="5690" y="3713"/>
                    <a:pt x="5690" y="3713"/>
                  </a:cubicBezTo>
                  <a:cubicBezTo>
                    <a:pt x="5690" y="3713"/>
                    <a:pt x="5798" y="3175"/>
                    <a:pt x="5922" y="3175"/>
                  </a:cubicBezTo>
                  <a:cubicBezTo>
                    <a:pt x="6045" y="3175"/>
                    <a:pt x="7451" y="2793"/>
                    <a:pt x="7451" y="2793"/>
                  </a:cubicBezTo>
                  <a:cubicBezTo>
                    <a:pt x="7343" y="1995"/>
                    <a:pt x="6864" y="1197"/>
                    <a:pt x="7220" y="538"/>
                  </a:cubicBezTo>
                  <a:cubicBezTo>
                    <a:pt x="7343" y="0"/>
                    <a:pt x="8162" y="260"/>
                    <a:pt x="8641" y="0"/>
                  </a:cubicBezTo>
                  <a:cubicBezTo>
                    <a:pt x="9460" y="399"/>
                    <a:pt x="10294" y="798"/>
                    <a:pt x="11113" y="1058"/>
                  </a:cubicBezTo>
                  <a:cubicBezTo>
                    <a:pt x="11345" y="1197"/>
                    <a:pt x="11469" y="937"/>
                    <a:pt x="11700" y="93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2" name="Shape 2366">
              <a:extLst>
                <a:ext uri="{FF2B5EF4-FFF2-40B4-BE49-F238E27FC236}">
                  <a16:creationId xmlns:a16="http://schemas.microsoft.com/office/drawing/2014/main" id="{B7A3ADB9-7D8D-CE0A-839C-A5145680285C}"/>
                </a:ext>
              </a:extLst>
            </p:cNvPr>
            <p:cNvSpPr/>
            <p:nvPr/>
          </p:nvSpPr>
          <p:spPr>
            <a:xfrm>
              <a:off x="3247944" y="6427916"/>
              <a:ext cx="147656" cy="198863"/>
            </a:xfrm>
            <a:custGeom>
              <a:avLst/>
              <a:gdLst/>
              <a:ahLst/>
              <a:cxnLst>
                <a:cxn ang="0">
                  <a:pos x="wd2" y="hd2"/>
                </a:cxn>
                <a:cxn ang="5400000">
                  <a:pos x="wd2" y="hd2"/>
                </a:cxn>
                <a:cxn ang="10800000">
                  <a:pos x="wd2" y="hd2"/>
                </a:cxn>
                <a:cxn ang="16200000">
                  <a:pos x="wd2" y="hd2"/>
                </a:cxn>
              </a:cxnLst>
              <a:rect l="0" t="0" r="r" b="b"/>
              <a:pathLst>
                <a:path w="21291" h="21600" extrusionOk="0">
                  <a:moveTo>
                    <a:pt x="10434" y="1430"/>
                  </a:moveTo>
                  <a:cubicBezTo>
                    <a:pt x="11556" y="843"/>
                    <a:pt x="13019" y="0"/>
                    <a:pt x="14530" y="0"/>
                  </a:cubicBezTo>
                  <a:cubicBezTo>
                    <a:pt x="15651" y="0"/>
                    <a:pt x="16383" y="1430"/>
                    <a:pt x="17504" y="1980"/>
                  </a:cubicBezTo>
                  <a:cubicBezTo>
                    <a:pt x="18236" y="3080"/>
                    <a:pt x="19357" y="3924"/>
                    <a:pt x="20137" y="5061"/>
                  </a:cubicBezTo>
                  <a:cubicBezTo>
                    <a:pt x="20479" y="5904"/>
                    <a:pt x="21600" y="6748"/>
                    <a:pt x="21210" y="7591"/>
                  </a:cubicBezTo>
                  <a:cubicBezTo>
                    <a:pt x="21210" y="8141"/>
                    <a:pt x="20137" y="8141"/>
                    <a:pt x="19747" y="8691"/>
                  </a:cubicBezTo>
                  <a:cubicBezTo>
                    <a:pt x="18626" y="8985"/>
                    <a:pt x="17163" y="9278"/>
                    <a:pt x="17163" y="10085"/>
                  </a:cubicBezTo>
                  <a:cubicBezTo>
                    <a:pt x="17163" y="10928"/>
                    <a:pt x="19357" y="10378"/>
                    <a:pt x="19747" y="10928"/>
                  </a:cubicBezTo>
                  <a:cubicBezTo>
                    <a:pt x="20137" y="12065"/>
                    <a:pt x="20479" y="13459"/>
                    <a:pt x="19357" y="14559"/>
                  </a:cubicBezTo>
                  <a:cubicBezTo>
                    <a:pt x="18626" y="15146"/>
                    <a:pt x="17163" y="14009"/>
                    <a:pt x="16042" y="14559"/>
                  </a:cubicBezTo>
                  <a:cubicBezTo>
                    <a:pt x="14920" y="15146"/>
                    <a:pt x="15651" y="16539"/>
                    <a:pt x="14530" y="17676"/>
                  </a:cubicBezTo>
                  <a:cubicBezTo>
                    <a:pt x="14140" y="18226"/>
                    <a:pt x="12677" y="18520"/>
                    <a:pt x="11897" y="19070"/>
                  </a:cubicBezTo>
                  <a:cubicBezTo>
                    <a:pt x="10776" y="19326"/>
                    <a:pt x="9703" y="19070"/>
                    <a:pt x="8923" y="19326"/>
                  </a:cubicBezTo>
                  <a:cubicBezTo>
                    <a:pt x="7460" y="19620"/>
                    <a:pt x="6729" y="20757"/>
                    <a:pt x="5607" y="21013"/>
                  </a:cubicBezTo>
                  <a:cubicBezTo>
                    <a:pt x="4486" y="21600"/>
                    <a:pt x="3364" y="21307"/>
                    <a:pt x="2243" y="21600"/>
                  </a:cubicBezTo>
                  <a:cubicBezTo>
                    <a:pt x="2243" y="21600"/>
                    <a:pt x="0" y="19913"/>
                    <a:pt x="0" y="19620"/>
                  </a:cubicBezTo>
                  <a:lnTo>
                    <a:pt x="2243" y="18520"/>
                  </a:lnTo>
                  <a:cubicBezTo>
                    <a:pt x="1853" y="17933"/>
                    <a:pt x="1121" y="17383"/>
                    <a:pt x="390" y="16833"/>
                  </a:cubicBezTo>
                  <a:cubicBezTo>
                    <a:pt x="1121" y="14009"/>
                    <a:pt x="1121" y="14009"/>
                    <a:pt x="1121" y="14009"/>
                  </a:cubicBezTo>
                  <a:cubicBezTo>
                    <a:pt x="2243" y="13459"/>
                    <a:pt x="3754" y="12909"/>
                    <a:pt x="4827" y="12322"/>
                  </a:cubicBezTo>
                  <a:cubicBezTo>
                    <a:pt x="5217" y="12065"/>
                    <a:pt x="5949" y="11515"/>
                    <a:pt x="5607" y="10928"/>
                  </a:cubicBezTo>
                  <a:cubicBezTo>
                    <a:pt x="5607" y="10378"/>
                    <a:pt x="4096" y="10085"/>
                    <a:pt x="4096" y="9535"/>
                  </a:cubicBezTo>
                  <a:cubicBezTo>
                    <a:pt x="4827" y="8141"/>
                    <a:pt x="6339" y="7004"/>
                    <a:pt x="7801" y="5611"/>
                  </a:cubicBezTo>
                  <a:cubicBezTo>
                    <a:pt x="8191" y="5061"/>
                    <a:pt x="9313" y="4474"/>
                    <a:pt x="9703" y="3924"/>
                  </a:cubicBezTo>
                  <a:cubicBezTo>
                    <a:pt x="10044" y="3080"/>
                    <a:pt x="10044" y="2237"/>
                    <a:pt x="10434" y="143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3" name="Shape 2367">
              <a:extLst>
                <a:ext uri="{FF2B5EF4-FFF2-40B4-BE49-F238E27FC236}">
                  <a16:creationId xmlns:a16="http://schemas.microsoft.com/office/drawing/2014/main" id="{3B4777D8-7937-E340-0B44-7C7410B1E55A}"/>
                </a:ext>
              </a:extLst>
            </p:cNvPr>
            <p:cNvSpPr/>
            <p:nvPr/>
          </p:nvSpPr>
          <p:spPr>
            <a:xfrm>
              <a:off x="3331186" y="6508190"/>
              <a:ext cx="139392" cy="143863"/>
            </a:xfrm>
            <a:custGeom>
              <a:avLst/>
              <a:gdLst/>
              <a:ahLst/>
              <a:cxnLst>
                <a:cxn ang="0">
                  <a:pos x="wd2" y="hd2"/>
                </a:cxn>
                <a:cxn ang="5400000">
                  <a:pos x="wd2" y="hd2"/>
                </a:cxn>
                <a:cxn ang="10800000">
                  <a:pos x="wd2" y="hd2"/>
                </a:cxn>
                <a:cxn ang="16200000">
                  <a:pos x="wd2" y="hd2"/>
                </a:cxn>
              </a:cxnLst>
              <a:rect l="0" t="0" r="r" b="b"/>
              <a:pathLst>
                <a:path w="21600" h="21600" extrusionOk="0">
                  <a:moveTo>
                    <a:pt x="8420" y="0"/>
                  </a:moveTo>
                  <a:cubicBezTo>
                    <a:pt x="9623" y="1161"/>
                    <a:pt x="11611" y="1918"/>
                    <a:pt x="12395" y="3482"/>
                  </a:cubicBezTo>
                  <a:cubicBezTo>
                    <a:pt x="13180" y="4239"/>
                    <a:pt x="12395" y="5804"/>
                    <a:pt x="12814" y="6964"/>
                  </a:cubicBezTo>
                  <a:cubicBezTo>
                    <a:pt x="13598" y="8075"/>
                    <a:pt x="14016" y="10396"/>
                    <a:pt x="15219" y="10043"/>
                  </a:cubicBezTo>
                  <a:cubicBezTo>
                    <a:pt x="17207" y="10043"/>
                    <a:pt x="17625" y="6964"/>
                    <a:pt x="19194" y="6157"/>
                  </a:cubicBezTo>
                  <a:cubicBezTo>
                    <a:pt x="19979" y="5804"/>
                    <a:pt x="20815" y="6964"/>
                    <a:pt x="21600" y="7318"/>
                  </a:cubicBezTo>
                  <a:cubicBezTo>
                    <a:pt x="21600" y="16200"/>
                    <a:pt x="21600" y="16200"/>
                    <a:pt x="21600" y="16200"/>
                  </a:cubicBezTo>
                  <a:cubicBezTo>
                    <a:pt x="20815" y="17361"/>
                    <a:pt x="20397" y="18521"/>
                    <a:pt x="19613" y="19279"/>
                  </a:cubicBezTo>
                  <a:cubicBezTo>
                    <a:pt x="18410" y="20036"/>
                    <a:pt x="17207" y="19279"/>
                    <a:pt x="16004" y="19682"/>
                  </a:cubicBezTo>
                  <a:cubicBezTo>
                    <a:pt x="15585" y="20036"/>
                    <a:pt x="15219" y="21196"/>
                    <a:pt x="14801" y="21196"/>
                  </a:cubicBezTo>
                  <a:cubicBezTo>
                    <a:pt x="13598" y="20843"/>
                    <a:pt x="13180" y="18875"/>
                    <a:pt x="12029" y="18875"/>
                  </a:cubicBezTo>
                  <a:cubicBezTo>
                    <a:pt x="10826" y="18521"/>
                    <a:pt x="9989" y="19682"/>
                    <a:pt x="9205" y="20036"/>
                  </a:cubicBezTo>
                  <a:cubicBezTo>
                    <a:pt x="8420" y="20439"/>
                    <a:pt x="8420" y="21600"/>
                    <a:pt x="7636" y="21600"/>
                  </a:cubicBezTo>
                  <a:cubicBezTo>
                    <a:pt x="6433" y="21600"/>
                    <a:pt x="6015" y="20036"/>
                    <a:pt x="4812" y="19682"/>
                  </a:cubicBezTo>
                  <a:cubicBezTo>
                    <a:pt x="3243" y="19279"/>
                    <a:pt x="1621" y="19682"/>
                    <a:pt x="0" y="19682"/>
                  </a:cubicBezTo>
                  <a:cubicBezTo>
                    <a:pt x="418" y="18118"/>
                    <a:pt x="1621" y="16957"/>
                    <a:pt x="1621" y="15443"/>
                  </a:cubicBezTo>
                  <a:cubicBezTo>
                    <a:pt x="1621" y="15039"/>
                    <a:pt x="418" y="14636"/>
                    <a:pt x="0" y="14282"/>
                  </a:cubicBezTo>
                  <a:cubicBezTo>
                    <a:pt x="837" y="13525"/>
                    <a:pt x="2406" y="13121"/>
                    <a:pt x="2824" y="12364"/>
                  </a:cubicBezTo>
                  <a:cubicBezTo>
                    <a:pt x="4027" y="10800"/>
                    <a:pt x="3243" y="8882"/>
                    <a:pt x="4446" y="8075"/>
                  </a:cubicBezTo>
                  <a:cubicBezTo>
                    <a:pt x="5648" y="7318"/>
                    <a:pt x="7217" y="8882"/>
                    <a:pt x="8002" y="8075"/>
                  </a:cubicBezTo>
                  <a:cubicBezTo>
                    <a:pt x="9205" y="6561"/>
                    <a:pt x="8839" y="4643"/>
                    <a:pt x="8420" y="3079"/>
                  </a:cubicBezTo>
                  <a:cubicBezTo>
                    <a:pt x="8002" y="2321"/>
                    <a:pt x="5648" y="3079"/>
                    <a:pt x="5648" y="1918"/>
                  </a:cubicBezTo>
                  <a:cubicBezTo>
                    <a:pt x="5648" y="807"/>
                    <a:pt x="7217" y="404"/>
                    <a:pt x="8420"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4" name="Shape 2368">
              <a:extLst>
                <a:ext uri="{FF2B5EF4-FFF2-40B4-BE49-F238E27FC236}">
                  <a16:creationId xmlns:a16="http://schemas.microsoft.com/office/drawing/2014/main" id="{523482A9-D1A0-0236-2F7C-AF847A980837}"/>
                </a:ext>
              </a:extLst>
            </p:cNvPr>
            <p:cNvSpPr/>
            <p:nvPr/>
          </p:nvSpPr>
          <p:spPr>
            <a:xfrm>
              <a:off x="3469429" y="6551301"/>
              <a:ext cx="92235" cy="82909"/>
            </a:xfrm>
            <a:custGeom>
              <a:avLst/>
              <a:gdLst/>
              <a:ahLst/>
              <a:cxnLst>
                <a:cxn ang="0">
                  <a:pos x="wd2" y="hd2"/>
                </a:cxn>
                <a:cxn ang="5400000">
                  <a:pos x="wd2" y="hd2"/>
                </a:cxn>
                <a:cxn ang="10800000">
                  <a:pos x="wd2" y="hd2"/>
                </a:cxn>
                <a:cxn ang="16200000">
                  <a:pos x="wd2" y="hd2"/>
                </a:cxn>
              </a:cxnLst>
              <a:rect l="0" t="0" r="r" b="b"/>
              <a:pathLst>
                <a:path w="21351" h="21600" extrusionOk="0">
                  <a:moveTo>
                    <a:pt x="0" y="16908"/>
                  </a:moveTo>
                  <a:cubicBezTo>
                    <a:pt x="0" y="1328"/>
                    <a:pt x="0" y="1328"/>
                    <a:pt x="0" y="1328"/>
                  </a:cubicBezTo>
                  <a:cubicBezTo>
                    <a:pt x="1807" y="1328"/>
                    <a:pt x="3613" y="708"/>
                    <a:pt x="5420" y="0"/>
                  </a:cubicBezTo>
                  <a:cubicBezTo>
                    <a:pt x="5420" y="0"/>
                    <a:pt x="9583" y="1328"/>
                    <a:pt x="10211" y="2036"/>
                  </a:cubicBezTo>
                  <a:cubicBezTo>
                    <a:pt x="10761" y="2036"/>
                    <a:pt x="16180" y="708"/>
                    <a:pt x="16180" y="708"/>
                  </a:cubicBezTo>
                  <a:cubicBezTo>
                    <a:pt x="17987" y="2036"/>
                    <a:pt x="20422" y="2656"/>
                    <a:pt x="20972" y="4692"/>
                  </a:cubicBezTo>
                  <a:cubicBezTo>
                    <a:pt x="21600" y="8764"/>
                    <a:pt x="21600" y="12836"/>
                    <a:pt x="19793" y="16200"/>
                  </a:cubicBezTo>
                  <a:cubicBezTo>
                    <a:pt x="17359" y="18944"/>
                    <a:pt x="13824" y="19652"/>
                    <a:pt x="10761" y="20272"/>
                  </a:cubicBezTo>
                  <a:cubicBezTo>
                    <a:pt x="9583" y="20980"/>
                    <a:pt x="8954" y="18944"/>
                    <a:pt x="8404" y="19652"/>
                  </a:cubicBezTo>
                  <a:cubicBezTo>
                    <a:pt x="7226" y="19652"/>
                    <a:pt x="7226" y="21600"/>
                    <a:pt x="6598" y="21600"/>
                  </a:cubicBezTo>
                  <a:cubicBezTo>
                    <a:pt x="4163" y="20272"/>
                    <a:pt x="2435" y="18236"/>
                    <a:pt x="0" y="1690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5" name="Shape 2369">
              <a:extLst>
                <a:ext uri="{FF2B5EF4-FFF2-40B4-BE49-F238E27FC236}">
                  <a16:creationId xmlns:a16="http://schemas.microsoft.com/office/drawing/2014/main" id="{CE354BDE-D24A-CAE2-5FC2-878C1155D3FA}"/>
                </a:ext>
              </a:extLst>
            </p:cNvPr>
            <p:cNvSpPr/>
            <p:nvPr/>
          </p:nvSpPr>
          <p:spPr>
            <a:xfrm>
              <a:off x="3294108" y="6359535"/>
              <a:ext cx="395551" cy="626154"/>
            </a:xfrm>
            <a:custGeom>
              <a:avLst/>
              <a:gdLst/>
              <a:ahLst/>
              <a:cxnLst>
                <a:cxn ang="0">
                  <a:pos x="wd2" y="hd2"/>
                </a:cxn>
                <a:cxn ang="5400000">
                  <a:pos x="wd2" y="hd2"/>
                </a:cxn>
                <a:cxn ang="10800000">
                  <a:pos x="wd2" y="hd2"/>
                </a:cxn>
                <a:cxn ang="16200000">
                  <a:pos x="wd2" y="hd2"/>
                </a:cxn>
              </a:cxnLst>
              <a:rect l="0" t="0" r="r" b="b"/>
              <a:pathLst>
                <a:path w="21306" h="21520" extrusionOk="0">
                  <a:moveTo>
                    <a:pt x="4902" y="5133"/>
                  </a:moveTo>
                  <a:cubicBezTo>
                    <a:pt x="5047" y="4960"/>
                    <a:pt x="5446" y="4960"/>
                    <a:pt x="5446" y="4786"/>
                  </a:cubicBezTo>
                  <a:cubicBezTo>
                    <a:pt x="5592" y="4519"/>
                    <a:pt x="5174" y="4253"/>
                    <a:pt x="5047" y="3986"/>
                  </a:cubicBezTo>
                  <a:cubicBezTo>
                    <a:pt x="4757" y="3627"/>
                    <a:pt x="4340" y="3361"/>
                    <a:pt x="4068" y="3013"/>
                  </a:cubicBezTo>
                  <a:cubicBezTo>
                    <a:pt x="4485" y="2920"/>
                    <a:pt x="4757" y="2839"/>
                    <a:pt x="5174" y="2839"/>
                  </a:cubicBezTo>
                  <a:cubicBezTo>
                    <a:pt x="5737" y="2746"/>
                    <a:pt x="6281" y="3013"/>
                    <a:pt x="6843" y="2920"/>
                  </a:cubicBezTo>
                  <a:cubicBezTo>
                    <a:pt x="7260" y="2839"/>
                    <a:pt x="7677" y="2654"/>
                    <a:pt x="7949" y="2387"/>
                  </a:cubicBezTo>
                  <a:cubicBezTo>
                    <a:pt x="8221" y="2039"/>
                    <a:pt x="8094" y="1680"/>
                    <a:pt x="8094" y="1333"/>
                  </a:cubicBezTo>
                  <a:cubicBezTo>
                    <a:pt x="8094" y="1147"/>
                    <a:pt x="7949" y="973"/>
                    <a:pt x="8094" y="800"/>
                  </a:cubicBezTo>
                  <a:cubicBezTo>
                    <a:pt x="8366" y="440"/>
                    <a:pt x="8910" y="267"/>
                    <a:pt x="9328" y="0"/>
                  </a:cubicBezTo>
                  <a:cubicBezTo>
                    <a:pt x="9745" y="267"/>
                    <a:pt x="10307" y="440"/>
                    <a:pt x="10579" y="800"/>
                  </a:cubicBezTo>
                  <a:cubicBezTo>
                    <a:pt x="10724" y="881"/>
                    <a:pt x="10724" y="1066"/>
                    <a:pt x="10579" y="1240"/>
                  </a:cubicBezTo>
                  <a:cubicBezTo>
                    <a:pt x="10579" y="1333"/>
                    <a:pt x="10162" y="1333"/>
                    <a:pt x="10035" y="1414"/>
                  </a:cubicBezTo>
                  <a:cubicBezTo>
                    <a:pt x="10035" y="1599"/>
                    <a:pt x="10162" y="1773"/>
                    <a:pt x="10307" y="1947"/>
                  </a:cubicBezTo>
                  <a:cubicBezTo>
                    <a:pt x="10307" y="2132"/>
                    <a:pt x="10162" y="2387"/>
                    <a:pt x="10434" y="2573"/>
                  </a:cubicBezTo>
                  <a:cubicBezTo>
                    <a:pt x="11141" y="3094"/>
                    <a:pt x="11957" y="3453"/>
                    <a:pt x="12937" y="3894"/>
                  </a:cubicBezTo>
                  <a:cubicBezTo>
                    <a:pt x="14315" y="4519"/>
                    <a:pt x="15984" y="4786"/>
                    <a:pt x="17235" y="5493"/>
                  </a:cubicBezTo>
                  <a:cubicBezTo>
                    <a:pt x="18613" y="6373"/>
                    <a:pt x="19447" y="7521"/>
                    <a:pt x="20554" y="8494"/>
                  </a:cubicBezTo>
                  <a:cubicBezTo>
                    <a:pt x="20826" y="8853"/>
                    <a:pt x="21515" y="9294"/>
                    <a:pt x="21243" y="9653"/>
                  </a:cubicBezTo>
                  <a:cubicBezTo>
                    <a:pt x="20826" y="10093"/>
                    <a:pt x="19447" y="9827"/>
                    <a:pt x="19175" y="10267"/>
                  </a:cubicBezTo>
                  <a:cubicBezTo>
                    <a:pt x="18885" y="10626"/>
                    <a:pt x="20282" y="10533"/>
                    <a:pt x="20409" y="10800"/>
                  </a:cubicBezTo>
                  <a:cubicBezTo>
                    <a:pt x="20699" y="10974"/>
                    <a:pt x="20010" y="11159"/>
                    <a:pt x="20010" y="11414"/>
                  </a:cubicBezTo>
                  <a:cubicBezTo>
                    <a:pt x="20010" y="11773"/>
                    <a:pt x="20699" y="12040"/>
                    <a:pt x="20409" y="12306"/>
                  </a:cubicBezTo>
                  <a:cubicBezTo>
                    <a:pt x="20137" y="12747"/>
                    <a:pt x="19030" y="12747"/>
                    <a:pt x="18758" y="13187"/>
                  </a:cubicBezTo>
                  <a:cubicBezTo>
                    <a:pt x="18613" y="13546"/>
                    <a:pt x="19720" y="13894"/>
                    <a:pt x="19593" y="14253"/>
                  </a:cubicBezTo>
                  <a:cubicBezTo>
                    <a:pt x="19447" y="14520"/>
                    <a:pt x="18613" y="14334"/>
                    <a:pt x="18341" y="14520"/>
                  </a:cubicBezTo>
                  <a:cubicBezTo>
                    <a:pt x="17924" y="14786"/>
                    <a:pt x="17779" y="15053"/>
                    <a:pt x="17507" y="15319"/>
                  </a:cubicBezTo>
                  <a:cubicBezTo>
                    <a:pt x="17362" y="15319"/>
                    <a:pt x="17362" y="15319"/>
                    <a:pt x="17362" y="15319"/>
                  </a:cubicBezTo>
                  <a:cubicBezTo>
                    <a:pt x="17362" y="15319"/>
                    <a:pt x="16673" y="16107"/>
                    <a:pt x="16673" y="16200"/>
                  </a:cubicBezTo>
                  <a:cubicBezTo>
                    <a:pt x="16673" y="16293"/>
                    <a:pt x="15984" y="16733"/>
                    <a:pt x="15984" y="16733"/>
                  </a:cubicBezTo>
                  <a:cubicBezTo>
                    <a:pt x="15838" y="17000"/>
                    <a:pt x="15984" y="17347"/>
                    <a:pt x="15711" y="17440"/>
                  </a:cubicBezTo>
                  <a:cubicBezTo>
                    <a:pt x="14877" y="17614"/>
                    <a:pt x="13771" y="16814"/>
                    <a:pt x="13209" y="17266"/>
                  </a:cubicBezTo>
                  <a:cubicBezTo>
                    <a:pt x="12102" y="18239"/>
                    <a:pt x="12665" y="19653"/>
                    <a:pt x="11830" y="20708"/>
                  </a:cubicBezTo>
                  <a:cubicBezTo>
                    <a:pt x="11540" y="21160"/>
                    <a:pt x="10724" y="21507"/>
                    <a:pt x="10035" y="21507"/>
                  </a:cubicBezTo>
                  <a:cubicBezTo>
                    <a:pt x="9328" y="21600"/>
                    <a:pt x="8784" y="21160"/>
                    <a:pt x="8221" y="20974"/>
                  </a:cubicBezTo>
                  <a:cubicBezTo>
                    <a:pt x="8221" y="20893"/>
                    <a:pt x="8221" y="20893"/>
                    <a:pt x="8221" y="20893"/>
                  </a:cubicBezTo>
                  <a:cubicBezTo>
                    <a:pt x="8638" y="20360"/>
                    <a:pt x="9745" y="19920"/>
                    <a:pt x="9473" y="19387"/>
                  </a:cubicBezTo>
                  <a:cubicBezTo>
                    <a:pt x="9328" y="18946"/>
                    <a:pt x="7949" y="19479"/>
                    <a:pt x="7387" y="19213"/>
                  </a:cubicBezTo>
                  <a:cubicBezTo>
                    <a:pt x="6843" y="18946"/>
                    <a:pt x="6843" y="18321"/>
                    <a:pt x="6426" y="17973"/>
                  </a:cubicBezTo>
                  <a:cubicBezTo>
                    <a:pt x="6009" y="17614"/>
                    <a:pt x="5592" y="17440"/>
                    <a:pt x="5174" y="17173"/>
                  </a:cubicBezTo>
                  <a:cubicBezTo>
                    <a:pt x="4902" y="17000"/>
                    <a:pt x="4485" y="17000"/>
                    <a:pt x="4213" y="16814"/>
                  </a:cubicBezTo>
                  <a:cubicBezTo>
                    <a:pt x="4213" y="16814"/>
                    <a:pt x="4340" y="16733"/>
                    <a:pt x="4213" y="16640"/>
                  </a:cubicBezTo>
                  <a:cubicBezTo>
                    <a:pt x="3941" y="16467"/>
                    <a:pt x="3651" y="16200"/>
                    <a:pt x="3234" y="16107"/>
                  </a:cubicBezTo>
                  <a:cubicBezTo>
                    <a:pt x="2962" y="16107"/>
                    <a:pt x="2690" y="16374"/>
                    <a:pt x="2545" y="16374"/>
                  </a:cubicBezTo>
                  <a:cubicBezTo>
                    <a:pt x="2128" y="16293"/>
                    <a:pt x="1983" y="15933"/>
                    <a:pt x="1710" y="16026"/>
                  </a:cubicBezTo>
                  <a:cubicBezTo>
                    <a:pt x="1438" y="16026"/>
                    <a:pt x="1710" y="16467"/>
                    <a:pt x="1438" y="16467"/>
                  </a:cubicBezTo>
                  <a:cubicBezTo>
                    <a:pt x="1166" y="16548"/>
                    <a:pt x="1021" y="16293"/>
                    <a:pt x="749" y="16107"/>
                  </a:cubicBezTo>
                  <a:cubicBezTo>
                    <a:pt x="459" y="15933"/>
                    <a:pt x="187" y="15760"/>
                    <a:pt x="60" y="15493"/>
                  </a:cubicBezTo>
                  <a:cubicBezTo>
                    <a:pt x="-85" y="15319"/>
                    <a:pt x="60" y="15053"/>
                    <a:pt x="187" y="14786"/>
                  </a:cubicBezTo>
                  <a:cubicBezTo>
                    <a:pt x="332" y="14520"/>
                    <a:pt x="749" y="14334"/>
                    <a:pt x="749" y="14079"/>
                  </a:cubicBezTo>
                  <a:cubicBezTo>
                    <a:pt x="604" y="13454"/>
                    <a:pt x="60" y="13013"/>
                    <a:pt x="60" y="12399"/>
                  </a:cubicBezTo>
                  <a:cubicBezTo>
                    <a:pt x="187" y="12214"/>
                    <a:pt x="749" y="12480"/>
                    <a:pt x="1021" y="12306"/>
                  </a:cubicBezTo>
                  <a:cubicBezTo>
                    <a:pt x="1438" y="11947"/>
                    <a:pt x="1983" y="11507"/>
                    <a:pt x="2128" y="11067"/>
                  </a:cubicBezTo>
                  <a:cubicBezTo>
                    <a:pt x="2273" y="10626"/>
                    <a:pt x="1565" y="10360"/>
                    <a:pt x="1438" y="10000"/>
                  </a:cubicBezTo>
                  <a:cubicBezTo>
                    <a:pt x="1438" y="9827"/>
                    <a:pt x="1710" y="9734"/>
                    <a:pt x="1983" y="9653"/>
                  </a:cubicBezTo>
                  <a:cubicBezTo>
                    <a:pt x="2545" y="9653"/>
                    <a:pt x="3107" y="9560"/>
                    <a:pt x="3651" y="9653"/>
                  </a:cubicBezTo>
                  <a:cubicBezTo>
                    <a:pt x="4068" y="9734"/>
                    <a:pt x="4213" y="10093"/>
                    <a:pt x="4630" y="10093"/>
                  </a:cubicBezTo>
                  <a:cubicBezTo>
                    <a:pt x="4902" y="10093"/>
                    <a:pt x="4902" y="9827"/>
                    <a:pt x="5174" y="9734"/>
                  </a:cubicBezTo>
                  <a:cubicBezTo>
                    <a:pt x="5446" y="9653"/>
                    <a:pt x="5737" y="9386"/>
                    <a:pt x="6154" y="9467"/>
                  </a:cubicBezTo>
                  <a:cubicBezTo>
                    <a:pt x="6553" y="9467"/>
                    <a:pt x="6698" y="9919"/>
                    <a:pt x="7115" y="10000"/>
                  </a:cubicBezTo>
                  <a:cubicBezTo>
                    <a:pt x="7260" y="10000"/>
                    <a:pt x="7387" y="9734"/>
                    <a:pt x="7532" y="9653"/>
                  </a:cubicBezTo>
                  <a:cubicBezTo>
                    <a:pt x="7949" y="9560"/>
                    <a:pt x="8366" y="9734"/>
                    <a:pt x="8784" y="9560"/>
                  </a:cubicBezTo>
                  <a:cubicBezTo>
                    <a:pt x="9056" y="9386"/>
                    <a:pt x="9201" y="9120"/>
                    <a:pt x="9473" y="8853"/>
                  </a:cubicBezTo>
                  <a:cubicBezTo>
                    <a:pt x="10035" y="9027"/>
                    <a:pt x="10434" y="9294"/>
                    <a:pt x="10996" y="9467"/>
                  </a:cubicBezTo>
                  <a:cubicBezTo>
                    <a:pt x="11141" y="9467"/>
                    <a:pt x="11141" y="9212"/>
                    <a:pt x="11413" y="9212"/>
                  </a:cubicBezTo>
                  <a:cubicBezTo>
                    <a:pt x="11540" y="9120"/>
                    <a:pt x="11685" y="9386"/>
                    <a:pt x="11957" y="9294"/>
                  </a:cubicBezTo>
                  <a:cubicBezTo>
                    <a:pt x="12665" y="9212"/>
                    <a:pt x="13481" y="9120"/>
                    <a:pt x="14043" y="8761"/>
                  </a:cubicBezTo>
                  <a:cubicBezTo>
                    <a:pt x="14460" y="8320"/>
                    <a:pt x="14460" y="7787"/>
                    <a:pt x="14315" y="7254"/>
                  </a:cubicBezTo>
                  <a:cubicBezTo>
                    <a:pt x="14188" y="6988"/>
                    <a:pt x="13626" y="6906"/>
                    <a:pt x="13209" y="6733"/>
                  </a:cubicBezTo>
                  <a:cubicBezTo>
                    <a:pt x="13209" y="6733"/>
                    <a:pt x="11957" y="6906"/>
                    <a:pt x="11830" y="6906"/>
                  </a:cubicBezTo>
                  <a:cubicBezTo>
                    <a:pt x="11685" y="6814"/>
                    <a:pt x="10724" y="6640"/>
                    <a:pt x="10724" y="6640"/>
                  </a:cubicBezTo>
                  <a:cubicBezTo>
                    <a:pt x="10307" y="6733"/>
                    <a:pt x="9890" y="6814"/>
                    <a:pt x="9473" y="6814"/>
                  </a:cubicBezTo>
                  <a:cubicBezTo>
                    <a:pt x="9201" y="6733"/>
                    <a:pt x="8910" y="6466"/>
                    <a:pt x="8638" y="6547"/>
                  </a:cubicBezTo>
                  <a:cubicBezTo>
                    <a:pt x="8094" y="6733"/>
                    <a:pt x="7949" y="7439"/>
                    <a:pt x="7260" y="7439"/>
                  </a:cubicBezTo>
                  <a:cubicBezTo>
                    <a:pt x="6843" y="7521"/>
                    <a:pt x="6698" y="6988"/>
                    <a:pt x="6426" y="6733"/>
                  </a:cubicBezTo>
                  <a:cubicBezTo>
                    <a:pt x="6281" y="6466"/>
                    <a:pt x="6553" y="6107"/>
                    <a:pt x="6281" y="5933"/>
                  </a:cubicBezTo>
                  <a:cubicBezTo>
                    <a:pt x="6009" y="5574"/>
                    <a:pt x="5320" y="5400"/>
                    <a:pt x="4902" y="5133"/>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6" name="Shape 2370">
              <a:extLst>
                <a:ext uri="{FF2B5EF4-FFF2-40B4-BE49-F238E27FC236}">
                  <a16:creationId xmlns:a16="http://schemas.microsoft.com/office/drawing/2014/main" id="{E66AF849-A58E-7A75-525A-CFAEEA64D957}"/>
                </a:ext>
              </a:extLst>
            </p:cNvPr>
            <p:cNvSpPr/>
            <p:nvPr/>
          </p:nvSpPr>
          <p:spPr>
            <a:xfrm>
              <a:off x="2666734" y="6627521"/>
              <a:ext cx="422707" cy="488342"/>
            </a:xfrm>
            <a:custGeom>
              <a:avLst/>
              <a:gdLst/>
              <a:ahLst/>
              <a:cxnLst>
                <a:cxn ang="0">
                  <a:pos x="wd2" y="hd2"/>
                </a:cxn>
                <a:cxn ang="5400000">
                  <a:pos x="wd2" y="hd2"/>
                </a:cxn>
                <a:cxn ang="10800000">
                  <a:pos x="wd2" y="hd2"/>
                </a:cxn>
                <a:cxn ang="16200000">
                  <a:pos x="wd2" y="hd2"/>
                </a:cxn>
              </a:cxnLst>
              <a:rect l="0" t="0" r="r" b="b"/>
              <a:pathLst>
                <a:path w="21344" h="21452" extrusionOk="0">
                  <a:moveTo>
                    <a:pt x="5196" y="1658"/>
                  </a:moveTo>
                  <a:cubicBezTo>
                    <a:pt x="5860" y="1096"/>
                    <a:pt x="6252" y="296"/>
                    <a:pt x="7018" y="74"/>
                  </a:cubicBezTo>
                  <a:cubicBezTo>
                    <a:pt x="7666" y="-148"/>
                    <a:pt x="8330" y="193"/>
                    <a:pt x="8977" y="296"/>
                  </a:cubicBezTo>
                  <a:cubicBezTo>
                    <a:pt x="8977" y="296"/>
                    <a:pt x="8841" y="1096"/>
                    <a:pt x="8977" y="1096"/>
                  </a:cubicBezTo>
                  <a:lnTo>
                    <a:pt x="10272" y="1199"/>
                  </a:lnTo>
                  <a:cubicBezTo>
                    <a:pt x="10272" y="1199"/>
                    <a:pt x="9761" y="1880"/>
                    <a:pt x="9880" y="1999"/>
                  </a:cubicBezTo>
                  <a:cubicBezTo>
                    <a:pt x="9880" y="2117"/>
                    <a:pt x="11447" y="3242"/>
                    <a:pt x="11447" y="3242"/>
                  </a:cubicBezTo>
                  <a:cubicBezTo>
                    <a:pt x="11975" y="2902"/>
                    <a:pt x="12095" y="2117"/>
                    <a:pt x="12742" y="2117"/>
                  </a:cubicBezTo>
                  <a:cubicBezTo>
                    <a:pt x="13270" y="1999"/>
                    <a:pt x="13270" y="2783"/>
                    <a:pt x="13526" y="3124"/>
                  </a:cubicBezTo>
                  <a:cubicBezTo>
                    <a:pt x="13270" y="3242"/>
                    <a:pt x="12742" y="3124"/>
                    <a:pt x="12878" y="3361"/>
                  </a:cubicBezTo>
                  <a:cubicBezTo>
                    <a:pt x="13134" y="3701"/>
                    <a:pt x="14173" y="3701"/>
                    <a:pt x="14309" y="4145"/>
                  </a:cubicBezTo>
                  <a:cubicBezTo>
                    <a:pt x="14445" y="4708"/>
                    <a:pt x="12878" y="5389"/>
                    <a:pt x="13526" y="5611"/>
                  </a:cubicBezTo>
                  <a:cubicBezTo>
                    <a:pt x="14701" y="5952"/>
                    <a:pt x="15996" y="5507"/>
                    <a:pt x="17035" y="4945"/>
                  </a:cubicBezTo>
                  <a:cubicBezTo>
                    <a:pt x="17426" y="4826"/>
                    <a:pt x="16779" y="4042"/>
                    <a:pt x="17171" y="3923"/>
                  </a:cubicBezTo>
                  <a:cubicBezTo>
                    <a:pt x="17563" y="3701"/>
                    <a:pt x="18074" y="4145"/>
                    <a:pt x="18466" y="4367"/>
                  </a:cubicBezTo>
                  <a:cubicBezTo>
                    <a:pt x="18466" y="4367"/>
                    <a:pt x="17955" y="5507"/>
                    <a:pt x="17955" y="5611"/>
                  </a:cubicBezTo>
                  <a:cubicBezTo>
                    <a:pt x="17818" y="5848"/>
                    <a:pt x="19522" y="6292"/>
                    <a:pt x="19522" y="6292"/>
                  </a:cubicBezTo>
                  <a:cubicBezTo>
                    <a:pt x="19249" y="7195"/>
                    <a:pt x="18466" y="8113"/>
                    <a:pt x="18994" y="9016"/>
                  </a:cubicBezTo>
                  <a:cubicBezTo>
                    <a:pt x="19249" y="9460"/>
                    <a:pt x="20680" y="8557"/>
                    <a:pt x="20953" y="9120"/>
                  </a:cubicBezTo>
                  <a:cubicBezTo>
                    <a:pt x="21600" y="10585"/>
                    <a:pt x="21208" y="12288"/>
                    <a:pt x="21344" y="13990"/>
                  </a:cubicBezTo>
                  <a:cubicBezTo>
                    <a:pt x="20561" y="14316"/>
                    <a:pt x="20033" y="14894"/>
                    <a:pt x="19249" y="14894"/>
                  </a:cubicBezTo>
                  <a:cubicBezTo>
                    <a:pt x="18602" y="14894"/>
                    <a:pt x="18074" y="13650"/>
                    <a:pt x="17563" y="13990"/>
                  </a:cubicBezTo>
                  <a:cubicBezTo>
                    <a:pt x="16915" y="14435"/>
                    <a:pt x="17307" y="15456"/>
                    <a:pt x="17426" y="16137"/>
                  </a:cubicBezTo>
                  <a:cubicBezTo>
                    <a:pt x="17563" y="17040"/>
                    <a:pt x="18857" y="17825"/>
                    <a:pt x="18602" y="18624"/>
                  </a:cubicBezTo>
                  <a:cubicBezTo>
                    <a:pt x="18210" y="19527"/>
                    <a:pt x="16779" y="19646"/>
                    <a:pt x="15876" y="20090"/>
                  </a:cubicBezTo>
                  <a:cubicBezTo>
                    <a:pt x="14956" y="20549"/>
                    <a:pt x="14173" y="20993"/>
                    <a:pt x="13270" y="21452"/>
                  </a:cubicBezTo>
                  <a:cubicBezTo>
                    <a:pt x="13015" y="21230"/>
                    <a:pt x="12350" y="21230"/>
                    <a:pt x="11975" y="21111"/>
                  </a:cubicBezTo>
                  <a:cubicBezTo>
                    <a:pt x="11447" y="20993"/>
                    <a:pt x="11703" y="20771"/>
                    <a:pt x="11056" y="21111"/>
                  </a:cubicBezTo>
                  <a:cubicBezTo>
                    <a:pt x="10664" y="21230"/>
                    <a:pt x="10664" y="20889"/>
                    <a:pt x="10408" y="20771"/>
                  </a:cubicBezTo>
                  <a:cubicBezTo>
                    <a:pt x="10408" y="20430"/>
                    <a:pt x="10016" y="19986"/>
                    <a:pt x="9880" y="19646"/>
                  </a:cubicBezTo>
                  <a:cubicBezTo>
                    <a:pt x="9625" y="19305"/>
                    <a:pt x="9233" y="19068"/>
                    <a:pt x="8841" y="18846"/>
                  </a:cubicBezTo>
                  <a:cubicBezTo>
                    <a:pt x="8585" y="18728"/>
                    <a:pt x="8194" y="18506"/>
                    <a:pt x="7938" y="18284"/>
                  </a:cubicBezTo>
                  <a:cubicBezTo>
                    <a:pt x="7802" y="18062"/>
                    <a:pt x="7155" y="17603"/>
                    <a:pt x="7155" y="17484"/>
                  </a:cubicBezTo>
                  <a:cubicBezTo>
                    <a:pt x="6899" y="17484"/>
                    <a:pt x="6252" y="18165"/>
                    <a:pt x="5979" y="18284"/>
                  </a:cubicBezTo>
                  <a:cubicBezTo>
                    <a:pt x="5724" y="18387"/>
                    <a:pt x="4940" y="18965"/>
                    <a:pt x="4804" y="18728"/>
                  </a:cubicBezTo>
                  <a:cubicBezTo>
                    <a:pt x="4685" y="18506"/>
                    <a:pt x="4685" y="18284"/>
                    <a:pt x="4685" y="17943"/>
                  </a:cubicBezTo>
                  <a:cubicBezTo>
                    <a:pt x="4685" y="17825"/>
                    <a:pt x="3901" y="17943"/>
                    <a:pt x="3765" y="17943"/>
                  </a:cubicBezTo>
                  <a:cubicBezTo>
                    <a:pt x="3645" y="17943"/>
                    <a:pt x="3509" y="16818"/>
                    <a:pt x="3373" y="16700"/>
                  </a:cubicBezTo>
                  <a:cubicBezTo>
                    <a:pt x="2981" y="16256"/>
                    <a:pt x="2470" y="16019"/>
                    <a:pt x="2078" y="15678"/>
                  </a:cubicBezTo>
                  <a:cubicBezTo>
                    <a:pt x="2078" y="15575"/>
                    <a:pt x="1942" y="15456"/>
                    <a:pt x="1942" y="15338"/>
                  </a:cubicBezTo>
                  <a:cubicBezTo>
                    <a:pt x="1942" y="14997"/>
                    <a:pt x="1431" y="14657"/>
                    <a:pt x="1431" y="14316"/>
                  </a:cubicBezTo>
                  <a:cubicBezTo>
                    <a:pt x="1295" y="13990"/>
                    <a:pt x="1567" y="13650"/>
                    <a:pt x="1567" y="13309"/>
                  </a:cubicBezTo>
                  <a:cubicBezTo>
                    <a:pt x="1567" y="13087"/>
                    <a:pt x="647" y="11844"/>
                    <a:pt x="392" y="11725"/>
                  </a:cubicBezTo>
                  <a:cubicBezTo>
                    <a:pt x="392" y="11503"/>
                    <a:pt x="1295" y="11163"/>
                    <a:pt x="1039" y="10822"/>
                  </a:cubicBezTo>
                  <a:cubicBezTo>
                    <a:pt x="903" y="10482"/>
                    <a:pt x="136" y="10482"/>
                    <a:pt x="0" y="10260"/>
                  </a:cubicBezTo>
                  <a:cubicBezTo>
                    <a:pt x="0" y="10023"/>
                    <a:pt x="2334" y="9682"/>
                    <a:pt x="2078" y="8898"/>
                  </a:cubicBezTo>
                  <a:cubicBezTo>
                    <a:pt x="1942" y="8898"/>
                    <a:pt x="903" y="9238"/>
                    <a:pt x="903" y="9016"/>
                  </a:cubicBezTo>
                  <a:cubicBezTo>
                    <a:pt x="647" y="8898"/>
                    <a:pt x="1175" y="8439"/>
                    <a:pt x="1295" y="8335"/>
                  </a:cubicBezTo>
                  <a:cubicBezTo>
                    <a:pt x="1567" y="8113"/>
                    <a:pt x="1567" y="7772"/>
                    <a:pt x="1431" y="7536"/>
                  </a:cubicBezTo>
                  <a:cubicBezTo>
                    <a:pt x="1295" y="7314"/>
                    <a:pt x="1686" y="7195"/>
                    <a:pt x="1823" y="6973"/>
                  </a:cubicBezTo>
                  <a:cubicBezTo>
                    <a:pt x="1942" y="6855"/>
                    <a:pt x="1942" y="6633"/>
                    <a:pt x="2078" y="6514"/>
                  </a:cubicBezTo>
                  <a:cubicBezTo>
                    <a:pt x="2470" y="6070"/>
                    <a:pt x="3254" y="5167"/>
                    <a:pt x="3901" y="5167"/>
                  </a:cubicBezTo>
                  <a:cubicBezTo>
                    <a:pt x="4429" y="5167"/>
                    <a:pt x="5196" y="5389"/>
                    <a:pt x="5196" y="4708"/>
                  </a:cubicBezTo>
                  <a:cubicBezTo>
                    <a:pt x="4940" y="4708"/>
                    <a:pt x="3373" y="5048"/>
                    <a:pt x="3765" y="4264"/>
                  </a:cubicBezTo>
                  <a:cubicBezTo>
                    <a:pt x="4037" y="4042"/>
                    <a:pt x="4037" y="3361"/>
                    <a:pt x="3901" y="3020"/>
                  </a:cubicBezTo>
                  <a:cubicBezTo>
                    <a:pt x="3765" y="2783"/>
                    <a:pt x="4429" y="2680"/>
                    <a:pt x="4548" y="2561"/>
                  </a:cubicBezTo>
                  <a:cubicBezTo>
                    <a:pt x="4940" y="2458"/>
                    <a:pt x="5332" y="1999"/>
                    <a:pt x="5196" y="16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7" name="Shape 2371">
              <a:extLst>
                <a:ext uri="{FF2B5EF4-FFF2-40B4-BE49-F238E27FC236}">
                  <a16:creationId xmlns:a16="http://schemas.microsoft.com/office/drawing/2014/main" id="{DF244510-EED5-5A13-F5C1-5A89D812DC9F}"/>
                </a:ext>
              </a:extLst>
            </p:cNvPr>
            <p:cNvSpPr/>
            <p:nvPr/>
          </p:nvSpPr>
          <p:spPr>
            <a:xfrm>
              <a:off x="2254979" y="6187940"/>
              <a:ext cx="514808" cy="996304"/>
            </a:xfrm>
            <a:custGeom>
              <a:avLst/>
              <a:gdLst/>
              <a:ahLst/>
              <a:cxnLst>
                <a:cxn ang="0">
                  <a:pos x="wd2" y="hd2"/>
                </a:cxn>
                <a:cxn ang="5400000">
                  <a:pos x="wd2" y="hd2"/>
                </a:cxn>
                <a:cxn ang="10800000">
                  <a:pos x="wd2" y="hd2"/>
                </a:cxn>
                <a:cxn ang="16200000">
                  <a:pos x="wd2" y="hd2"/>
                </a:cxn>
              </a:cxnLst>
              <a:rect l="0" t="0" r="r" b="b"/>
              <a:pathLst>
                <a:path w="21510" h="21549" extrusionOk="0">
                  <a:moveTo>
                    <a:pt x="17193" y="343"/>
                  </a:moveTo>
                  <a:cubicBezTo>
                    <a:pt x="16981" y="233"/>
                    <a:pt x="16658" y="-51"/>
                    <a:pt x="16334" y="7"/>
                  </a:cubicBezTo>
                  <a:cubicBezTo>
                    <a:pt x="15700" y="66"/>
                    <a:pt x="15489" y="452"/>
                    <a:pt x="14940" y="561"/>
                  </a:cubicBezTo>
                  <a:cubicBezTo>
                    <a:pt x="14405" y="619"/>
                    <a:pt x="13870" y="452"/>
                    <a:pt x="13335" y="394"/>
                  </a:cubicBezTo>
                  <a:cubicBezTo>
                    <a:pt x="12898" y="343"/>
                    <a:pt x="12363" y="284"/>
                    <a:pt x="11926" y="175"/>
                  </a:cubicBezTo>
                  <a:cubicBezTo>
                    <a:pt x="11617" y="343"/>
                    <a:pt x="11180" y="510"/>
                    <a:pt x="10758" y="561"/>
                  </a:cubicBezTo>
                  <a:cubicBezTo>
                    <a:pt x="10321" y="678"/>
                    <a:pt x="9899" y="678"/>
                    <a:pt x="9462" y="678"/>
                  </a:cubicBezTo>
                  <a:cubicBezTo>
                    <a:pt x="9251" y="845"/>
                    <a:pt x="9026" y="1122"/>
                    <a:pt x="8603" y="1232"/>
                  </a:cubicBezTo>
                  <a:cubicBezTo>
                    <a:pt x="8167" y="1341"/>
                    <a:pt x="7519" y="1232"/>
                    <a:pt x="7195" y="1399"/>
                  </a:cubicBezTo>
                  <a:cubicBezTo>
                    <a:pt x="6886" y="1567"/>
                    <a:pt x="6984" y="1785"/>
                    <a:pt x="6984" y="2011"/>
                  </a:cubicBezTo>
                  <a:cubicBezTo>
                    <a:pt x="6984" y="2347"/>
                    <a:pt x="7421" y="2682"/>
                    <a:pt x="7421" y="3017"/>
                  </a:cubicBezTo>
                  <a:cubicBezTo>
                    <a:pt x="7421" y="3294"/>
                    <a:pt x="7195" y="3571"/>
                    <a:pt x="6886" y="3738"/>
                  </a:cubicBezTo>
                  <a:cubicBezTo>
                    <a:pt x="6449" y="3906"/>
                    <a:pt x="5801" y="3848"/>
                    <a:pt x="5379" y="3957"/>
                  </a:cubicBezTo>
                  <a:cubicBezTo>
                    <a:pt x="5154" y="4015"/>
                    <a:pt x="5055" y="4183"/>
                    <a:pt x="4731" y="4234"/>
                  </a:cubicBezTo>
                  <a:cubicBezTo>
                    <a:pt x="3971" y="4292"/>
                    <a:pt x="3112" y="4015"/>
                    <a:pt x="2464" y="4234"/>
                  </a:cubicBezTo>
                  <a:cubicBezTo>
                    <a:pt x="1831" y="4402"/>
                    <a:pt x="1929" y="4904"/>
                    <a:pt x="1718" y="5240"/>
                  </a:cubicBezTo>
                  <a:cubicBezTo>
                    <a:pt x="1507" y="5517"/>
                    <a:pt x="1183" y="5743"/>
                    <a:pt x="859" y="5961"/>
                  </a:cubicBezTo>
                  <a:cubicBezTo>
                    <a:pt x="535" y="6129"/>
                    <a:pt x="211" y="6238"/>
                    <a:pt x="0" y="6355"/>
                  </a:cubicBezTo>
                  <a:cubicBezTo>
                    <a:pt x="648" y="6406"/>
                    <a:pt x="1394" y="6296"/>
                    <a:pt x="1831" y="6522"/>
                  </a:cubicBezTo>
                  <a:cubicBezTo>
                    <a:pt x="2154" y="6690"/>
                    <a:pt x="1718" y="6967"/>
                    <a:pt x="1718" y="7185"/>
                  </a:cubicBezTo>
                  <a:cubicBezTo>
                    <a:pt x="1831" y="7411"/>
                    <a:pt x="1718" y="7856"/>
                    <a:pt x="2253" y="7914"/>
                  </a:cubicBezTo>
                  <a:cubicBezTo>
                    <a:pt x="2901" y="7965"/>
                    <a:pt x="3436" y="7579"/>
                    <a:pt x="3971" y="7353"/>
                  </a:cubicBezTo>
                  <a:lnTo>
                    <a:pt x="4083" y="7798"/>
                  </a:lnTo>
                  <a:cubicBezTo>
                    <a:pt x="3971" y="7856"/>
                    <a:pt x="3647" y="8133"/>
                    <a:pt x="3647" y="8133"/>
                  </a:cubicBezTo>
                  <a:cubicBezTo>
                    <a:pt x="3647" y="8133"/>
                    <a:pt x="3548" y="8526"/>
                    <a:pt x="3548" y="8577"/>
                  </a:cubicBezTo>
                  <a:lnTo>
                    <a:pt x="4295" y="9022"/>
                  </a:lnTo>
                  <a:cubicBezTo>
                    <a:pt x="4619" y="9306"/>
                    <a:pt x="4830" y="9634"/>
                    <a:pt x="5055" y="9918"/>
                  </a:cubicBezTo>
                  <a:cubicBezTo>
                    <a:pt x="5055" y="9918"/>
                    <a:pt x="5801" y="10304"/>
                    <a:pt x="5703" y="10304"/>
                  </a:cubicBezTo>
                  <a:cubicBezTo>
                    <a:pt x="5590" y="10363"/>
                    <a:pt x="4407" y="10749"/>
                    <a:pt x="4407" y="10749"/>
                  </a:cubicBezTo>
                  <a:cubicBezTo>
                    <a:pt x="4196" y="10858"/>
                    <a:pt x="3760" y="10917"/>
                    <a:pt x="3760" y="11026"/>
                  </a:cubicBezTo>
                  <a:cubicBezTo>
                    <a:pt x="3872" y="11310"/>
                    <a:pt x="4731" y="11419"/>
                    <a:pt x="4731" y="11696"/>
                  </a:cubicBezTo>
                  <a:cubicBezTo>
                    <a:pt x="4731" y="11864"/>
                    <a:pt x="3971" y="11806"/>
                    <a:pt x="3872" y="11973"/>
                  </a:cubicBezTo>
                  <a:cubicBezTo>
                    <a:pt x="3647" y="12250"/>
                    <a:pt x="3872" y="12534"/>
                    <a:pt x="3872" y="12811"/>
                  </a:cubicBezTo>
                  <a:cubicBezTo>
                    <a:pt x="3971" y="13198"/>
                    <a:pt x="4196" y="13642"/>
                    <a:pt x="4196" y="14036"/>
                  </a:cubicBezTo>
                  <a:cubicBezTo>
                    <a:pt x="4083" y="14254"/>
                    <a:pt x="3760" y="14371"/>
                    <a:pt x="3548" y="14538"/>
                  </a:cubicBezTo>
                  <a:cubicBezTo>
                    <a:pt x="3872" y="14589"/>
                    <a:pt x="4196" y="14589"/>
                    <a:pt x="4407" y="14699"/>
                  </a:cubicBezTo>
                  <a:cubicBezTo>
                    <a:pt x="4520" y="14866"/>
                    <a:pt x="4196" y="15092"/>
                    <a:pt x="4295" y="15260"/>
                  </a:cubicBezTo>
                  <a:cubicBezTo>
                    <a:pt x="4520" y="15428"/>
                    <a:pt x="5154" y="15318"/>
                    <a:pt x="5379" y="15486"/>
                  </a:cubicBezTo>
                  <a:cubicBezTo>
                    <a:pt x="5703" y="15704"/>
                    <a:pt x="5914" y="16040"/>
                    <a:pt x="5914" y="16317"/>
                  </a:cubicBezTo>
                  <a:cubicBezTo>
                    <a:pt x="5703" y="16870"/>
                    <a:pt x="5055" y="17373"/>
                    <a:pt x="4731" y="17934"/>
                  </a:cubicBezTo>
                  <a:cubicBezTo>
                    <a:pt x="4520" y="18321"/>
                    <a:pt x="4731" y="18765"/>
                    <a:pt x="4520" y="19100"/>
                  </a:cubicBezTo>
                  <a:cubicBezTo>
                    <a:pt x="4295" y="19377"/>
                    <a:pt x="3647" y="19436"/>
                    <a:pt x="3436" y="19713"/>
                  </a:cubicBezTo>
                  <a:cubicBezTo>
                    <a:pt x="3013" y="20048"/>
                    <a:pt x="2788" y="20434"/>
                    <a:pt x="2464" y="20828"/>
                  </a:cubicBezTo>
                  <a:cubicBezTo>
                    <a:pt x="2689" y="20937"/>
                    <a:pt x="2788" y="21104"/>
                    <a:pt x="3013" y="21214"/>
                  </a:cubicBezTo>
                  <a:cubicBezTo>
                    <a:pt x="3225" y="21323"/>
                    <a:pt x="3323" y="21549"/>
                    <a:pt x="3647" y="21549"/>
                  </a:cubicBezTo>
                  <a:cubicBezTo>
                    <a:pt x="3971" y="21549"/>
                    <a:pt x="3872" y="21214"/>
                    <a:pt x="4196" y="21163"/>
                  </a:cubicBezTo>
                  <a:cubicBezTo>
                    <a:pt x="4619" y="20995"/>
                    <a:pt x="5154" y="20937"/>
                    <a:pt x="5703" y="20937"/>
                  </a:cubicBezTo>
                  <a:cubicBezTo>
                    <a:pt x="6238" y="20937"/>
                    <a:pt x="6773" y="21046"/>
                    <a:pt x="7195" y="21163"/>
                  </a:cubicBezTo>
                  <a:cubicBezTo>
                    <a:pt x="7308" y="21214"/>
                    <a:pt x="7195" y="21323"/>
                    <a:pt x="7195" y="21440"/>
                  </a:cubicBezTo>
                  <a:cubicBezTo>
                    <a:pt x="7632" y="21272"/>
                    <a:pt x="8068" y="21163"/>
                    <a:pt x="8378" y="20995"/>
                  </a:cubicBezTo>
                  <a:cubicBezTo>
                    <a:pt x="8927" y="20711"/>
                    <a:pt x="9462" y="20325"/>
                    <a:pt x="10110" y="20157"/>
                  </a:cubicBezTo>
                  <a:cubicBezTo>
                    <a:pt x="10321" y="20099"/>
                    <a:pt x="10434" y="20266"/>
                    <a:pt x="10532" y="20383"/>
                  </a:cubicBezTo>
                  <a:cubicBezTo>
                    <a:pt x="10758" y="20266"/>
                    <a:pt x="10969" y="20048"/>
                    <a:pt x="11293" y="20048"/>
                  </a:cubicBezTo>
                  <a:cubicBezTo>
                    <a:pt x="11504" y="20048"/>
                    <a:pt x="11391" y="20266"/>
                    <a:pt x="11504" y="20383"/>
                  </a:cubicBezTo>
                  <a:cubicBezTo>
                    <a:pt x="11715" y="20434"/>
                    <a:pt x="12039" y="20383"/>
                    <a:pt x="12250" y="20434"/>
                  </a:cubicBezTo>
                  <a:cubicBezTo>
                    <a:pt x="12363" y="20543"/>
                    <a:pt x="12250" y="20711"/>
                    <a:pt x="12363" y="20828"/>
                  </a:cubicBezTo>
                  <a:cubicBezTo>
                    <a:pt x="12574" y="20879"/>
                    <a:pt x="12799" y="20879"/>
                    <a:pt x="13011" y="20879"/>
                  </a:cubicBezTo>
                  <a:cubicBezTo>
                    <a:pt x="13658" y="20711"/>
                    <a:pt x="13658" y="20711"/>
                    <a:pt x="13658" y="20711"/>
                  </a:cubicBezTo>
                  <a:cubicBezTo>
                    <a:pt x="13771" y="20543"/>
                    <a:pt x="13771" y="20266"/>
                    <a:pt x="14081" y="20215"/>
                  </a:cubicBezTo>
                  <a:cubicBezTo>
                    <a:pt x="14517" y="20157"/>
                    <a:pt x="14940" y="20434"/>
                    <a:pt x="15376" y="20434"/>
                  </a:cubicBezTo>
                  <a:cubicBezTo>
                    <a:pt x="15897" y="20492"/>
                    <a:pt x="16432" y="20383"/>
                    <a:pt x="16981" y="20325"/>
                  </a:cubicBezTo>
                  <a:cubicBezTo>
                    <a:pt x="17404" y="20157"/>
                    <a:pt x="17939" y="20048"/>
                    <a:pt x="18263" y="19822"/>
                  </a:cubicBezTo>
                  <a:cubicBezTo>
                    <a:pt x="18587" y="19654"/>
                    <a:pt x="18488" y="19377"/>
                    <a:pt x="18798" y="19210"/>
                  </a:cubicBezTo>
                  <a:cubicBezTo>
                    <a:pt x="18911" y="19100"/>
                    <a:pt x="19558" y="19100"/>
                    <a:pt x="19558" y="18933"/>
                  </a:cubicBezTo>
                  <a:cubicBezTo>
                    <a:pt x="19446" y="18656"/>
                    <a:pt x="18798" y="18488"/>
                    <a:pt x="18587" y="18262"/>
                  </a:cubicBezTo>
                  <a:cubicBezTo>
                    <a:pt x="18375" y="18044"/>
                    <a:pt x="18263" y="17818"/>
                    <a:pt x="18263" y="17599"/>
                  </a:cubicBezTo>
                  <a:cubicBezTo>
                    <a:pt x="18375" y="17432"/>
                    <a:pt x="18699" y="17322"/>
                    <a:pt x="18911" y="17206"/>
                  </a:cubicBezTo>
                  <a:cubicBezTo>
                    <a:pt x="18911" y="17155"/>
                    <a:pt x="18798" y="17096"/>
                    <a:pt x="18798" y="17038"/>
                  </a:cubicBezTo>
                  <a:cubicBezTo>
                    <a:pt x="18798" y="16870"/>
                    <a:pt x="18375" y="16703"/>
                    <a:pt x="18375" y="16535"/>
                  </a:cubicBezTo>
                  <a:cubicBezTo>
                    <a:pt x="18263" y="16375"/>
                    <a:pt x="18488" y="16207"/>
                    <a:pt x="18488" y="16040"/>
                  </a:cubicBezTo>
                  <a:cubicBezTo>
                    <a:pt x="18488" y="15930"/>
                    <a:pt x="17728" y="15318"/>
                    <a:pt x="17517" y="15260"/>
                  </a:cubicBezTo>
                  <a:cubicBezTo>
                    <a:pt x="17517" y="15151"/>
                    <a:pt x="18263" y="14983"/>
                    <a:pt x="18052" y="14815"/>
                  </a:cubicBezTo>
                  <a:cubicBezTo>
                    <a:pt x="17939" y="14648"/>
                    <a:pt x="17305" y="14648"/>
                    <a:pt x="17193" y="14538"/>
                  </a:cubicBezTo>
                  <a:cubicBezTo>
                    <a:pt x="17193" y="14422"/>
                    <a:pt x="19122" y="14254"/>
                    <a:pt x="18911" y="13868"/>
                  </a:cubicBezTo>
                  <a:cubicBezTo>
                    <a:pt x="18798" y="13868"/>
                    <a:pt x="17939" y="14036"/>
                    <a:pt x="17939" y="13926"/>
                  </a:cubicBezTo>
                  <a:cubicBezTo>
                    <a:pt x="17728" y="13868"/>
                    <a:pt x="18164" y="13642"/>
                    <a:pt x="18263" y="13591"/>
                  </a:cubicBezTo>
                  <a:cubicBezTo>
                    <a:pt x="18488" y="13482"/>
                    <a:pt x="18488" y="13314"/>
                    <a:pt x="18375" y="13198"/>
                  </a:cubicBezTo>
                  <a:cubicBezTo>
                    <a:pt x="18263" y="13088"/>
                    <a:pt x="18587" y="13030"/>
                    <a:pt x="18699" y="12921"/>
                  </a:cubicBezTo>
                  <a:cubicBezTo>
                    <a:pt x="18798" y="12862"/>
                    <a:pt x="18798" y="12753"/>
                    <a:pt x="18911" y="12695"/>
                  </a:cubicBezTo>
                  <a:cubicBezTo>
                    <a:pt x="19234" y="12476"/>
                    <a:pt x="19882" y="12032"/>
                    <a:pt x="20417" y="12032"/>
                  </a:cubicBezTo>
                  <a:cubicBezTo>
                    <a:pt x="20854" y="12032"/>
                    <a:pt x="21487" y="12141"/>
                    <a:pt x="21487" y="11806"/>
                  </a:cubicBezTo>
                  <a:cubicBezTo>
                    <a:pt x="21276" y="11806"/>
                    <a:pt x="19981" y="11973"/>
                    <a:pt x="20305" y="11587"/>
                  </a:cubicBezTo>
                  <a:cubicBezTo>
                    <a:pt x="20530" y="11478"/>
                    <a:pt x="20530" y="11143"/>
                    <a:pt x="20417" y="10975"/>
                  </a:cubicBezTo>
                  <a:cubicBezTo>
                    <a:pt x="20305" y="10858"/>
                    <a:pt x="20854" y="10807"/>
                    <a:pt x="20952" y="10749"/>
                  </a:cubicBezTo>
                  <a:cubicBezTo>
                    <a:pt x="21276" y="10698"/>
                    <a:pt x="21600" y="10472"/>
                    <a:pt x="21487" y="10304"/>
                  </a:cubicBezTo>
                  <a:cubicBezTo>
                    <a:pt x="20854" y="10304"/>
                    <a:pt x="20417" y="10472"/>
                    <a:pt x="19882" y="10530"/>
                  </a:cubicBezTo>
                  <a:cubicBezTo>
                    <a:pt x="19558" y="10530"/>
                    <a:pt x="19347" y="10472"/>
                    <a:pt x="19023" y="10472"/>
                  </a:cubicBezTo>
                  <a:cubicBezTo>
                    <a:pt x="18587" y="10028"/>
                    <a:pt x="17404" y="9751"/>
                    <a:pt x="16756" y="9357"/>
                  </a:cubicBezTo>
                  <a:cubicBezTo>
                    <a:pt x="16432" y="9248"/>
                    <a:pt x="16108" y="9138"/>
                    <a:pt x="15785" y="9022"/>
                  </a:cubicBezTo>
                  <a:cubicBezTo>
                    <a:pt x="15489" y="8803"/>
                    <a:pt x="15052" y="8694"/>
                    <a:pt x="15489" y="8468"/>
                  </a:cubicBezTo>
                  <a:cubicBezTo>
                    <a:pt x="15700" y="8300"/>
                    <a:pt x="15897" y="8075"/>
                    <a:pt x="16221" y="8075"/>
                  </a:cubicBezTo>
                  <a:cubicBezTo>
                    <a:pt x="16869" y="8075"/>
                    <a:pt x="16756" y="7965"/>
                    <a:pt x="17080" y="7798"/>
                  </a:cubicBezTo>
                  <a:cubicBezTo>
                    <a:pt x="17305" y="7747"/>
                    <a:pt x="17615" y="7798"/>
                    <a:pt x="17840" y="7747"/>
                  </a:cubicBezTo>
                  <a:cubicBezTo>
                    <a:pt x="18263" y="7630"/>
                    <a:pt x="18587" y="7688"/>
                    <a:pt x="19023" y="7630"/>
                  </a:cubicBezTo>
                  <a:cubicBezTo>
                    <a:pt x="19558" y="7630"/>
                    <a:pt x="19882" y="7353"/>
                    <a:pt x="19981" y="7134"/>
                  </a:cubicBezTo>
                  <a:cubicBezTo>
                    <a:pt x="20530" y="6967"/>
                    <a:pt x="20417" y="6799"/>
                    <a:pt x="20417" y="6522"/>
                  </a:cubicBezTo>
                  <a:cubicBezTo>
                    <a:pt x="20417" y="6238"/>
                    <a:pt x="20093" y="5852"/>
                    <a:pt x="19558" y="6187"/>
                  </a:cubicBezTo>
                  <a:cubicBezTo>
                    <a:pt x="19347" y="6355"/>
                    <a:pt x="19023" y="6632"/>
                    <a:pt x="18587" y="6799"/>
                  </a:cubicBezTo>
                  <a:cubicBezTo>
                    <a:pt x="18488" y="6858"/>
                    <a:pt x="17517" y="7470"/>
                    <a:pt x="17728" y="6909"/>
                  </a:cubicBezTo>
                  <a:cubicBezTo>
                    <a:pt x="17840" y="6690"/>
                    <a:pt x="18164" y="6355"/>
                    <a:pt x="17615" y="6187"/>
                  </a:cubicBezTo>
                  <a:cubicBezTo>
                    <a:pt x="17615" y="5910"/>
                    <a:pt x="18263" y="5910"/>
                    <a:pt x="18263" y="5684"/>
                  </a:cubicBezTo>
                  <a:cubicBezTo>
                    <a:pt x="18375" y="5466"/>
                    <a:pt x="18699" y="5298"/>
                    <a:pt x="19023" y="5181"/>
                  </a:cubicBezTo>
                  <a:cubicBezTo>
                    <a:pt x="19234" y="5072"/>
                    <a:pt x="18911" y="5021"/>
                    <a:pt x="18911" y="4904"/>
                  </a:cubicBezTo>
                  <a:cubicBezTo>
                    <a:pt x="18798" y="4795"/>
                    <a:pt x="19234" y="4460"/>
                    <a:pt x="19347" y="4402"/>
                  </a:cubicBezTo>
                  <a:cubicBezTo>
                    <a:pt x="19558" y="4292"/>
                    <a:pt x="19347" y="4066"/>
                    <a:pt x="19558" y="4015"/>
                  </a:cubicBezTo>
                  <a:cubicBezTo>
                    <a:pt x="19657" y="3957"/>
                    <a:pt x="19981" y="3906"/>
                    <a:pt x="19882" y="3738"/>
                  </a:cubicBezTo>
                  <a:cubicBezTo>
                    <a:pt x="19769" y="3462"/>
                    <a:pt x="20741" y="3345"/>
                    <a:pt x="21163" y="3345"/>
                  </a:cubicBezTo>
                  <a:cubicBezTo>
                    <a:pt x="21163" y="3236"/>
                    <a:pt x="20854" y="3017"/>
                    <a:pt x="20530" y="2959"/>
                  </a:cubicBezTo>
                  <a:cubicBezTo>
                    <a:pt x="19882" y="2849"/>
                    <a:pt x="20093" y="2849"/>
                    <a:pt x="19981" y="2565"/>
                  </a:cubicBezTo>
                  <a:cubicBezTo>
                    <a:pt x="19657" y="2565"/>
                    <a:pt x="19122" y="2514"/>
                    <a:pt x="18798" y="2347"/>
                  </a:cubicBezTo>
                  <a:cubicBezTo>
                    <a:pt x="18375" y="2179"/>
                    <a:pt x="18488" y="1844"/>
                    <a:pt x="17939" y="2121"/>
                  </a:cubicBezTo>
                  <a:cubicBezTo>
                    <a:pt x="17728" y="2288"/>
                    <a:pt x="17517" y="2121"/>
                    <a:pt x="17404" y="1953"/>
                  </a:cubicBezTo>
                  <a:cubicBezTo>
                    <a:pt x="17080" y="1734"/>
                    <a:pt x="16869" y="1902"/>
                    <a:pt x="16981" y="1509"/>
                  </a:cubicBezTo>
                  <a:cubicBezTo>
                    <a:pt x="17193" y="1122"/>
                    <a:pt x="16432" y="1064"/>
                    <a:pt x="17517" y="787"/>
                  </a:cubicBezTo>
                  <a:cubicBezTo>
                    <a:pt x="17840" y="510"/>
                    <a:pt x="17615" y="619"/>
                    <a:pt x="17193" y="394"/>
                  </a:cubicBezTo>
                  <a:cubicBezTo>
                    <a:pt x="17193" y="394"/>
                    <a:pt x="17193" y="394"/>
                    <a:pt x="17193" y="34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8" name="Shape 2372">
              <a:extLst>
                <a:ext uri="{FF2B5EF4-FFF2-40B4-BE49-F238E27FC236}">
                  <a16:creationId xmlns:a16="http://schemas.microsoft.com/office/drawing/2014/main" id="{2C2E8444-4E66-EE58-9714-4AE0F8FB0BF0}"/>
                </a:ext>
              </a:extLst>
            </p:cNvPr>
            <p:cNvSpPr/>
            <p:nvPr/>
          </p:nvSpPr>
          <p:spPr>
            <a:xfrm>
              <a:off x="3145312" y="6026542"/>
              <a:ext cx="85945" cy="120885"/>
            </a:xfrm>
            <a:custGeom>
              <a:avLst/>
              <a:gdLst/>
              <a:ahLst/>
              <a:cxnLst>
                <a:cxn ang="0">
                  <a:pos x="wd2" y="hd2"/>
                </a:cxn>
                <a:cxn ang="5400000">
                  <a:pos x="wd2" y="hd2"/>
                </a:cxn>
                <a:cxn ang="10800000">
                  <a:pos x="wd2" y="hd2"/>
                </a:cxn>
                <a:cxn ang="16200000">
                  <a:pos x="wd2" y="hd2"/>
                </a:cxn>
              </a:cxnLst>
              <a:rect l="0" t="0" r="r" b="b"/>
              <a:pathLst>
                <a:path w="20549" h="21220" extrusionOk="0">
                  <a:moveTo>
                    <a:pt x="13779" y="4072"/>
                  </a:moveTo>
                  <a:cubicBezTo>
                    <a:pt x="12489" y="2243"/>
                    <a:pt x="10636" y="472"/>
                    <a:pt x="8218" y="0"/>
                  </a:cubicBezTo>
                  <a:cubicBezTo>
                    <a:pt x="5155" y="0"/>
                    <a:pt x="1448" y="885"/>
                    <a:pt x="239" y="3128"/>
                  </a:cubicBezTo>
                  <a:cubicBezTo>
                    <a:pt x="-1051" y="4957"/>
                    <a:pt x="3301" y="7200"/>
                    <a:pt x="3301" y="8970"/>
                  </a:cubicBezTo>
                  <a:cubicBezTo>
                    <a:pt x="3865" y="11272"/>
                    <a:pt x="2656" y="13043"/>
                    <a:pt x="3301" y="14872"/>
                  </a:cubicBezTo>
                  <a:cubicBezTo>
                    <a:pt x="3865" y="17115"/>
                    <a:pt x="3865" y="20302"/>
                    <a:pt x="6364" y="21187"/>
                  </a:cubicBezTo>
                  <a:cubicBezTo>
                    <a:pt x="8218" y="21600"/>
                    <a:pt x="8862" y="18000"/>
                    <a:pt x="10636" y="17587"/>
                  </a:cubicBezTo>
                  <a:cubicBezTo>
                    <a:pt x="12489" y="17587"/>
                    <a:pt x="12489" y="20302"/>
                    <a:pt x="13779" y="20302"/>
                  </a:cubicBezTo>
                  <a:cubicBezTo>
                    <a:pt x="16197" y="20715"/>
                    <a:pt x="20549" y="20715"/>
                    <a:pt x="20549" y="18944"/>
                  </a:cubicBezTo>
                  <a:cubicBezTo>
                    <a:pt x="20549" y="15344"/>
                    <a:pt x="16197" y="12630"/>
                    <a:pt x="14343" y="8970"/>
                  </a:cubicBezTo>
                  <a:cubicBezTo>
                    <a:pt x="13779" y="7200"/>
                    <a:pt x="14988" y="5370"/>
                    <a:pt x="13779" y="407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9" name="Shape 2373">
              <a:extLst>
                <a:ext uri="{FF2B5EF4-FFF2-40B4-BE49-F238E27FC236}">
                  <a16:creationId xmlns:a16="http://schemas.microsoft.com/office/drawing/2014/main" id="{6B856D97-C3AD-E6FF-2127-8F5E7C224EFC}"/>
                </a:ext>
              </a:extLst>
            </p:cNvPr>
            <p:cNvSpPr/>
            <p:nvPr/>
          </p:nvSpPr>
          <p:spPr>
            <a:xfrm>
              <a:off x="3008623" y="5909750"/>
              <a:ext cx="457498" cy="535669"/>
            </a:xfrm>
            <a:custGeom>
              <a:avLst/>
              <a:gdLst/>
              <a:ahLst/>
              <a:cxnLst>
                <a:cxn ang="0">
                  <a:pos x="wd2" y="hd2"/>
                </a:cxn>
                <a:cxn ang="5400000">
                  <a:pos x="wd2" y="hd2"/>
                </a:cxn>
                <a:cxn ang="10800000">
                  <a:pos x="wd2" y="hd2"/>
                </a:cxn>
                <a:cxn ang="16200000">
                  <a:pos x="wd2" y="hd2"/>
                </a:cxn>
              </a:cxnLst>
              <a:rect l="0" t="0" r="r" b="b"/>
              <a:pathLst>
                <a:path w="21600" h="21514" extrusionOk="0">
                  <a:moveTo>
                    <a:pt x="9107" y="5608"/>
                  </a:moveTo>
                  <a:cubicBezTo>
                    <a:pt x="8853" y="5189"/>
                    <a:pt x="8487" y="4783"/>
                    <a:pt x="8011" y="4675"/>
                  </a:cubicBezTo>
                  <a:cubicBezTo>
                    <a:pt x="7407" y="4675"/>
                    <a:pt x="6675" y="4878"/>
                    <a:pt x="6437" y="5392"/>
                  </a:cubicBezTo>
                  <a:cubicBezTo>
                    <a:pt x="6183" y="5811"/>
                    <a:pt x="7041" y="6325"/>
                    <a:pt x="7041" y="6731"/>
                  </a:cubicBezTo>
                  <a:cubicBezTo>
                    <a:pt x="7152" y="7258"/>
                    <a:pt x="6914" y="7664"/>
                    <a:pt x="7041" y="8083"/>
                  </a:cubicBezTo>
                  <a:cubicBezTo>
                    <a:pt x="7152" y="8597"/>
                    <a:pt x="7152" y="9328"/>
                    <a:pt x="7645" y="9531"/>
                  </a:cubicBezTo>
                  <a:cubicBezTo>
                    <a:pt x="8011" y="9625"/>
                    <a:pt x="8138" y="8800"/>
                    <a:pt x="8487" y="8705"/>
                  </a:cubicBezTo>
                  <a:cubicBezTo>
                    <a:pt x="8853" y="8705"/>
                    <a:pt x="8853" y="9328"/>
                    <a:pt x="9107" y="9328"/>
                  </a:cubicBezTo>
                  <a:cubicBezTo>
                    <a:pt x="9584" y="9422"/>
                    <a:pt x="10442" y="9422"/>
                    <a:pt x="10442" y="9017"/>
                  </a:cubicBezTo>
                  <a:cubicBezTo>
                    <a:pt x="10442" y="8192"/>
                    <a:pt x="9584" y="7569"/>
                    <a:pt x="9219" y="6731"/>
                  </a:cubicBezTo>
                  <a:cubicBezTo>
                    <a:pt x="9107" y="6325"/>
                    <a:pt x="9346" y="5906"/>
                    <a:pt x="9107" y="5608"/>
                  </a:cubicBezTo>
                  <a:close/>
                  <a:moveTo>
                    <a:pt x="2066" y="7569"/>
                  </a:moveTo>
                  <a:cubicBezTo>
                    <a:pt x="2066" y="7150"/>
                    <a:pt x="2066" y="6731"/>
                    <a:pt x="2177" y="6325"/>
                  </a:cubicBezTo>
                  <a:cubicBezTo>
                    <a:pt x="2432" y="6122"/>
                    <a:pt x="2781" y="5906"/>
                    <a:pt x="3036" y="5703"/>
                  </a:cubicBezTo>
                  <a:cubicBezTo>
                    <a:pt x="3274" y="5297"/>
                    <a:pt x="3401" y="4783"/>
                    <a:pt x="3878" y="4567"/>
                  </a:cubicBezTo>
                  <a:cubicBezTo>
                    <a:pt x="4482" y="4256"/>
                    <a:pt x="5452" y="4783"/>
                    <a:pt x="6072" y="4472"/>
                  </a:cubicBezTo>
                  <a:cubicBezTo>
                    <a:pt x="6914" y="4053"/>
                    <a:pt x="7518" y="3228"/>
                    <a:pt x="8138" y="2497"/>
                  </a:cubicBezTo>
                  <a:cubicBezTo>
                    <a:pt x="8487" y="2186"/>
                    <a:pt x="8249" y="1469"/>
                    <a:pt x="8742" y="1361"/>
                  </a:cubicBezTo>
                  <a:cubicBezTo>
                    <a:pt x="9346" y="1267"/>
                    <a:pt x="9823" y="2092"/>
                    <a:pt x="10554" y="1983"/>
                  </a:cubicBezTo>
                  <a:cubicBezTo>
                    <a:pt x="10919" y="1889"/>
                    <a:pt x="10919" y="1267"/>
                    <a:pt x="11412" y="1064"/>
                  </a:cubicBezTo>
                  <a:cubicBezTo>
                    <a:pt x="11523" y="955"/>
                    <a:pt x="11777" y="1064"/>
                    <a:pt x="11889" y="1064"/>
                  </a:cubicBezTo>
                  <a:cubicBezTo>
                    <a:pt x="12254" y="847"/>
                    <a:pt x="12381" y="536"/>
                    <a:pt x="12620" y="333"/>
                  </a:cubicBezTo>
                  <a:cubicBezTo>
                    <a:pt x="12858" y="225"/>
                    <a:pt x="13113" y="-86"/>
                    <a:pt x="13351" y="22"/>
                  </a:cubicBezTo>
                  <a:cubicBezTo>
                    <a:pt x="13828" y="130"/>
                    <a:pt x="14082" y="536"/>
                    <a:pt x="14448" y="753"/>
                  </a:cubicBezTo>
                  <a:cubicBezTo>
                    <a:pt x="15290" y="1267"/>
                    <a:pt x="16148" y="1578"/>
                    <a:pt x="16879" y="2186"/>
                  </a:cubicBezTo>
                  <a:cubicBezTo>
                    <a:pt x="17118" y="2403"/>
                    <a:pt x="16879" y="2714"/>
                    <a:pt x="16991" y="3011"/>
                  </a:cubicBezTo>
                  <a:cubicBezTo>
                    <a:pt x="17229" y="3431"/>
                    <a:pt x="17595" y="3850"/>
                    <a:pt x="17722" y="4364"/>
                  </a:cubicBezTo>
                  <a:cubicBezTo>
                    <a:pt x="17722" y="4878"/>
                    <a:pt x="17483" y="5392"/>
                    <a:pt x="17595" y="5811"/>
                  </a:cubicBezTo>
                  <a:cubicBezTo>
                    <a:pt x="17722" y="6122"/>
                    <a:pt x="18087" y="6325"/>
                    <a:pt x="18199" y="6528"/>
                  </a:cubicBezTo>
                  <a:cubicBezTo>
                    <a:pt x="18326" y="6947"/>
                    <a:pt x="18564" y="7353"/>
                    <a:pt x="18326" y="7664"/>
                  </a:cubicBezTo>
                  <a:cubicBezTo>
                    <a:pt x="17960" y="8192"/>
                    <a:pt x="16991" y="8286"/>
                    <a:pt x="16625" y="8800"/>
                  </a:cubicBezTo>
                  <a:cubicBezTo>
                    <a:pt x="16260" y="9328"/>
                    <a:pt x="16021" y="9936"/>
                    <a:pt x="16021" y="10558"/>
                  </a:cubicBezTo>
                  <a:cubicBezTo>
                    <a:pt x="16021" y="11072"/>
                    <a:pt x="16021" y="11695"/>
                    <a:pt x="16514" y="12114"/>
                  </a:cubicBezTo>
                  <a:cubicBezTo>
                    <a:pt x="17118" y="12520"/>
                    <a:pt x="18087" y="12425"/>
                    <a:pt x="18930" y="12628"/>
                  </a:cubicBezTo>
                  <a:cubicBezTo>
                    <a:pt x="19423" y="12831"/>
                    <a:pt x="19899" y="12939"/>
                    <a:pt x="20154" y="13250"/>
                  </a:cubicBezTo>
                  <a:cubicBezTo>
                    <a:pt x="20392" y="13561"/>
                    <a:pt x="20630" y="13967"/>
                    <a:pt x="20519" y="14278"/>
                  </a:cubicBezTo>
                  <a:cubicBezTo>
                    <a:pt x="20265" y="14697"/>
                    <a:pt x="19534" y="14697"/>
                    <a:pt x="19168" y="15103"/>
                  </a:cubicBezTo>
                  <a:cubicBezTo>
                    <a:pt x="18930" y="15414"/>
                    <a:pt x="18819" y="15833"/>
                    <a:pt x="18930" y="16239"/>
                  </a:cubicBezTo>
                  <a:cubicBezTo>
                    <a:pt x="18930" y="16550"/>
                    <a:pt x="19423" y="16658"/>
                    <a:pt x="19788" y="16861"/>
                  </a:cubicBezTo>
                  <a:cubicBezTo>
                    <a:pt x="20265" y="17064"/>
                    <a:pt x="20885" y="17172"/>
                    <a:pt x="21489" y="17375"/>
                  </a:cubicBezTo>
                  <a:cubicBezTo>
                    <a:pt x="21600" y="17997"/>
                    <a:pt x="21600" y="17997"/>
                    <a:pt x="21600" y="17997"/>
                  </a:cubicBezTo>
                  <a:cubicBezTo>
                    <a:pt x="21234" y="18308"/>
                    <a:pt x="20758" y="18511"/>
                    <a:pt x="20519" y="18931"/>
                  </a:cubicBezTo>
                  <a:cubicBezTo>
                    <a:pt x="20392" y="19134"/>
                    <a:pt x="20519" y="19336"/>
                    <a:pt x="20519" y="19553"/>
                  </a:cubicBezTo>
                  <a:cubicBezTo>
                    <a:pt x="20519" y="19959"/>
                    <a:pt x="20630" y="20378"/>
                    <a:pt x="20392" y="20784"/>
                  </a:cubicBezTo>
                  <a:cubicBezTo>
                    <a:pt x="20154" y="21095"/>
                    <a:pt x="19788" y="21311"/>
                    <a:pt x="19423" y="21406"/>
                  </a:cubicBezTo>
                  <a:cubicBezTo>
                    <a:pt x="18930" y="21514"/>
                    <a:pt x="18453" y="21203"/>
                    <a:pt x="17960" y="21311"/>
                  </a:cubicBezTo>
                  <a:cubicBezTo>
                    <a:pt x="17595" y="21311"/>
                    <a:pt x="17356" y="21406"/>
                    <a:pt x="16991" y="21514"/>
                  </a:cubicBezTo>
                  <a:cubicBezTo>
                    <a:pt x="16625" y="21311"/>
                    <a:pt x="16387" y="20784"/>
                    <a:pt x="16021" y="20784"/>
                  </a:cubicBezTo>
                  <a:cubicBezTo>
                    <a:pt x="15528" y="20784"/>
                    <a:pt x="15052" y="21095"/>
                    <a:pt x="14686" y="21311"/>
                  </a:cubicBezTo>
                  <a:cubicBezTo>
                    <a:pt x="14559" y="21095"/>
                    <a:pt x="14448" y="20784"/>
                    <a:pt x="14321" y="20581"/>
                  </a:cubicBezTo>
                  <a:cubicBezTo>
                    <a:pt x="14193" y="20378"/>
                    <a:pt x="14082" y="20270"/>
                    <a:pt x="13955" y="20175"/>
                  </a:cubicBezTo>
                  <a:cubicBezTo>
                    <a:pt x="13717" y="19756"/>
                    <a:pt x="13955" y="19336"/>
                    <a:pt x="13589" y="19134"/>
                  </a:cubicBezTo>
                  <a:cubicBezTo>
                    <a:pt x="13351" y="18931"/>
                    <a:pt x="12858" y="19025"/>
                    <a:pt x="12620" y="19242"/>
                  </a:cubicBezTo>
                  <a:cubicBezTo>
                    <a:pt x="12381" y="19336"/>
                    <a:pt x="12620" y="19648"/>
                    <a:pt x="12381" y="19756"/>
                  </a:cubicBezTo>
                  <a:cubicBezTo>
                    <a:pt x="12143" y="19959"/>
                    <a:pt x="11777" y="19756"/>
                    <a:pt x="11523" y="19959"/>
                  </a:cubicBezTo>
                  <a:cubicBezTo>
                    <a:pt x="11285" y="20175"/>
                    <a:pt x="11046" y="20486"/>
                    <a:pt x="10792" y="20784"/>
                  </a:cubicBezTo>
                  <a:cubicBezTo>
                    <a:pt x="9950" y="20486"/>
                    <a:pt x="9346" y="19756"/>
                    <a:pt x="8487" y="19756"/>
                  </a:cubicBezTo>
                  <a:cubicBezTo>
                    <a:pt x="7772" y="19864"/>
                    <a:pt x="7407" y="20581"/>
                    <a:pt x="6787" y="21000"/>
                  </a:cubicBezTo>
                  <a:cubicBezTo>
                    <a:pt x="5579" y="20486"/>
                    <a:pt x="5579" y="20486"/>
                    <a:pt x="5579" y="20486"/>
                  </a:cubicBezTo>
                  <a:cubicBezTo>
                    <a:pt x="5706" y="20067"/>
                    <a:pt x="5817" y="19648"/>
                    <a:pt x="5817" y="19242"/>
                  </a:cubicBezTo>
                  <a:cubicBezTo>
                    <a:pt x="5817" y="18931"/>
                    <a:pt x="5817" y="18511"/>
                    <a:pt x="5452" y="18308"/>
                  </a:cubicBezTo>
                  <a:cubicBezTo>
                    <a:pt x="4975" y="18106"/>
                    <a:pt x="4117" y="18511"/>
                    <a:pt x="3640" y="18200"/>
                  </a:cubicBezTo>
                  <a:cubicBezTo>
                    <a:pt x="3401" y="17795"/>
                    <a:pt x="3878" y="17281"/>
                    <a:pt x="3878" y="16767"/>
                  </a:cubicBezTo>
                  <a:cubicBezTo>
                    <a:pt x="3767" y="16456"/>
                    <a:pt x="3640" y="16144"/>
                    <a:pt x="3401" y="15928"/>
                  </a:cubicBezTo>
                  <a:cubicBezTo>
                    <a:pt x="3147" y="15522"/>
                    <a:pt x="2543" y="15306"/>
                    <a:pt x="2305" y="14900"/>
                  </a:cubicBezTo>
                  <a:cubicBezTo>
                    <a:pt x="2177" y="14697"/>
                    <a:pt x="2432" y="14386"/>
                    <a:pt x="2177" y="14170"/>
                  </a:cubicBezTo>
                  <a:cubicBezTo>
                    <a:pt x="1939" y="13872"/>
                    <a:pt x="1574" y="13656"/>
                    <a:pt x="1208" y="13453"/>
                  </a:cubicBezTo>
                  <a:cubicBezTo>
                    <a:pt x="1446" y="13250"/>
                    <a:pt x="1812" y="13142"/>
                    <a:pt x="1939" y="12831"/>
                  </a:cubicBezTo>
                  <a:cubicBezTo>
                    <a:pt x="2177" y="12317"/>
                    <a:pt x="2670" y="11600"/>
                    <a:pt x="2177" y="11181"/>
                  </a:cubicBezTo>
                  <a:cubicBezTo>
                    <a:pt x="1812" y="10870"/>
                    <a:pt x="1081" y="11803"/>
                    <a:pt x="477" y="11695"/>
                  </a:cubicBezTo>
                  <a:cubicBezTo>
                    <a:pt x="111" y="11600"/>
                    <a:pt x="0" y="11181"/>
                    <a:pt x="0" y="10870"/>
                  </a:cubicBezTo>
                  <a:cubicBezTo>
                    <a:pt x="0" y="10450"/>
                    <a:pt x="238" y="10044"/>
                    <a:pt x="604" y="9733"/>
                  </a:cubicBezTo>
                  <a:cubicBezTo>
                    <a:pt x="970" y="9328"/>
                    <a:pt x="1701" y="9219"/>
                    <a:pt x="2066" y="8705"/>
                  </a:cubicBezTo>
                  <a:cubicBezTo>
                    <a:pt x="2305" y="8394"/>
                    <a:pt x="2066" y="7975"/>
                    <a:pt x="2066" y="7569"/>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0" name="Shape 2374">
              <a:extLst>
                <a:ext uri="{FF2B5EF4-FFF2-40B4-BE49-F238E27FC236}">
                  <a16:creationId xmlns:a16="http://schemas.microsoft.com/office/drawing/2014/main" id="{E738C35F-AE27-3685-9881-DEFD15FEF977}"/>
                </a:ext>
              </a:extLst>
            </p:cNvPr>
            <p:cNvSpPr/>
            <p:nvPr/>
          </p:nvSpPr>
          <p:spPr>
            <a:xfrm>
              <a:off x="3380240" y="5668763"/>
              <a:ext cx="249392" cy="167953"/>
            </a:xfrm>
            <a:custGeom>
              <a:avLst/>
              <a:gdLst/>
              <a:ahLst/>
              <a:cxnLst>
                <a:cxn ang="0">
                  <a:pos x="wd2" y="hd2"/>
                </a:cxn>
                <a:cxn ang="5400000">
                  <a:pos x="wd2" y="hd2"/>
                </a:cxn>
                <a:cxn ang="10800000">
                  <a:pos x="wd2" y="hd2"/>
                </a:cxn>
                <a:cxn ang="16200000">
                  <a:pos x="wd2" y="hd2"/>
                </a:cxn>
              </a:cxnLst>
              <a:rect l="0" t="0" r="r" b="b"/>
              <a:pathLst>
                <a:path w="21600" h="21079" extrusionOk="0">
                  <a:moveTo>
                    <a:pt x="0" y="1694"/>
                  </a:moveTo>
                  <a:cubicBezTo>
                    <a:pt x="438" y="2664"/>
                    <a:pt x="1109" y="3001"/>
                    <a:pt x="1547" y="3972"/>
                  </a:cubicBezTo>
                  <a:cubicBezTo>
                    <a:pt x="1985" y="5237"/>
                    <a:pt x="1781" y="6841"/>
                    <a:pt x="2452" y="7811"/>
                  </a:cubicBezTo>
                  <a:cubicBezTo>
                    <a:pt x="2890" y="8781"/>
                    <a:pt x="3765" y="8148"/>
                    <a:pt x="4232" y="8781"/>
                  </a:cubicBezTo>
                  <a:cubicBezTo>
                    <a:pt x="4437" y="9119"/>
                    <a:pt x="4232" y="10089"/>
                    <a:pt x="4437" y="10426"/>
                  </a:cubicBezTo>
                  <a:cubicBezTo>
                    <a:pt x="5108" y="11059"/>
                    <a:pt x="6013" y="10722"/>
                    <a:pt x="6246" y="11692"/>
                  </a:cubicBezTo>
                  <a:cubicBezTo>
                    <a:pt x="6451" y="12662"/>
                    <a:pt x="5342" y="13928"/>
                    <a:pt x="5779" y="14603"/>
                  </a:cubicBezTo>
                  <a:cubicBezTo>
                    <a:pt x="6684" y="15869"/>
                    <a:pt x="8698" y="14898"/>
                    <a:pt x="9341" y="16544"/>
                  </a:cubicBezTo>
                  <a:cubicBezTo>
                    <a:pt x="9574" y="17809"/>
                    <a:pt x="7122" y="18780"/>
                    <a:pt x="7560" y="19750"/>
                  </a:cubicBezTo>
                  <a:cubicBezTo>
                    <a:pt x="8231" y="21353"/>
                    <a:pt x="10012" y="21058"/>
                    <a:pt x="11121" y="21058"/>
                  </a:cubicBezTo>
                  <a:cubicBezTo>
                    <a:pt x="12464" y="21058"/>
                    <a:pt x="13806" y="20720"/>
                    <a:pt x="15149" y="20087"/>
                  </a:cubicBezTo>
                  <a:cubicBezTo>
                    <a:pt x="15587" y="19750"/>
                    <a:pt x="15587" y="18780"/>
                    <a:pt x="15821" y="18442"/>
                  </a:cubicBezTo>
                  <a:cubicBezTo>
                    <a:pt x="16258" y="17809"/>
                    <a:pt x="16930" y="17472"/>
                    <a:pt x="17601" y="17472"/>
                  </a:cubicBezTo>
                  <a:cubicBezTo>
                    <a:pt x="17835" y="17472"/>
                    <a:pt x="18039" y="17472"/>
                    <a:pt x="18272" y="17809"/>
                  </a:cubicBezTo>
                  <a:cubicBezTo>
                    <a:pt x="18506" y="18147"/>
                    <a:pt x="18272" y="19412"/>
                    <a:pt x="18710" y="19750"/>
                  </a:cubicBezTo>
                  <a:cubicBezTo>
                    <a:pt x="18944" y="20087"/>
                    <a:pt x="19615" y="19750"/>
                    <a:pt x="20053" y="19750"/>
                  </a:cubicBezTo>
                  <a:cubicBezTo>
                    <a:pt x="20491" y="19412"/>
                    <a:pt x="21162" y="19117"/>
                    <a:pt x="21600" y="18442"/>
                  </a:cubicBezTo>
                  <a:cubicBezTo>
                    <a:pt x="21396" y="17472"/>
                    <a:pt x="21396" y="16544"/>
                    <a:pt x="20958" y="15573"/>
                  </a:cubicBezTo>
                  <a:cubicBezTo>
                    <a:pt x="20491" y="14898"/>
                    <a:pt x="19819" y="14603"/>
                    <a:pt x="19615" y="13633"/>
                  </a:cubicBezTo>
                  <a:cubicBezTo>
                    <a:pt x="19148" y="13000"/>
                    <a:pt x="18944" y="11692"/>
                    <a:pt x="18710" y="10722"/>
                  </a:cubicBezTo>
                  <a:cubicBezTo>
                    <a:pt x="18506" y="10089"/>
                    <a:pt x="18944" y="8781"/>
                    <a:pt x="18710" y="8148"/>
                  </a:cubicBezTo>
                  <a:cubicBezTo>
                    <a:pt x="18272" y="7516"/>
                    <a:pt x="17368" y="8148"/>
                    <a:pt x="16930" y="7516"/>
                  </a:cubicBezTo>
                  <a:cubicBezTo>
                    <a:pt x="16258" y="6208"/>
                    <a:pt x="16054" y="3972"/>
                    <a:pt x="15587" y="2326"/>
                  </a:cubicBezTo>
                  <a:cubicBezTo>
                    <a:pt x="14916" y="2031"/>
                    <a:pt x="14478" y="1398"/>
                    <a:pt x="13806" y="1398"/>
                  </a:cubicBezTo>
                  <a:cubicBezTo>
                    <a:pt x="13369" y="1398"/>
                    <a:pt x="13369" y="2326"/>
                    <a:pt x="13135" y="2664"/>
                  </a:cubicBezTo>
                  <a:cubicBezTo>
                    <a:pt x="12697" y="3972"/>
                    <a:pt x="12931" y="5575"/>
                    <a:pt x="12026" y="6208"/>
                  </a:cubicBezTo>
                  <a:cubicBezTo>
                    <a:pt x="11792" y="6841"/>
                    <a:pt x="11588" y="5575"/>
                    <a:pt x="11355" y="4942"/>
                  </a:cubicBezTo>
                  <a:cubicBezTo>
                    <a:pt x="11121" y="4267"/>
                    <a:pt x="11355" y="3634"/>
                    <a:pt x="11121" y="3001"/>
                  </a:cubicBezTo>
                  <a:cubicBezTo>
                    <a:pt x="10917" y="2326"/>
                    <a:pt x="10683" y="1398"/>
                    <a:pt x="10245" y="1061"/>
                  </a:cubicBezTo>
                  <a:cubicBezTo>
                    <a:pt x="8231" y="428"/>
                    <a:pt x="6246" y="-247"/>
                    <a:pt x="4232" y="91"/>
                  </a:cubicBezTo>
                  <a:cubicBezTo>
                    <a:pt x="3561" y="91"/>
                    <a:pt x="3328" y="1398"/>
                    <a:pt x="2656" y="1694"/>
                  </a:cubicBezTo>
                  <a:cubicBezTo>
                    <a:pt x="1781" y="2031"/>
                    <a:pt x="876" y="1694"/>
                    <a:pt x="0" y="169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1" name="Shape 2375">
              <a:extLst>
                <a:ext uri="{FF2B5EF4-FFF2-40B4-BE49-F238E27FC236}">
                  <a16:creationId xmlns:a16="http://schemas.microsoft.com/office/drawing/2014/main" id="{125B9B6A-4547-B468-8363-E872401A0BD6}"/>
                </a:ext>
              </a:extLst>
            </p:cNvPr>
            <p:cNvSpPr/>
            <p:nvPr/>
          </p:nvSpPr>
          <p:spPr>
            <a:xfrm>
              <a:off x="3259837" y="5629628"/>
              <a:ext cx="452137" cy="713217"/>
            </a:xfrm>
            <a:custGeom>
              <a:avLst/>
              <a:gdLst/>
              <a:ahLst/>
              <a:cxnLst>
                <a:cxn ang="0">
                  <a:pos x="wd2" y="hd2"/>
                </a:cxn>
                <a:cxn ang="5400000">
                  <a:pos x="wd2" y="hd2"/>
                </a:cxn>
                <a:cxn ang="10800000">
                  <a:pos x="wd2" y="hd2"/>
                </a:cxn>
                <a:cxn ang="16200000">
                  <a:pos x="wd2" y="hd2"/>
                </a:cxn>
              </a:cxnLst>
              <a:rect l="0" t="0" r="r" b="b"/>
              <a:pathLst>
                <a:path w="21557" h="21600" extrusionOk="0">
                  <a:moveTo>
                    <a:pt x="14850" y="14584"/>
                  </a:moveTo>
                  <a:cubicBezTo>
                    <a:pt x="14609" y="14502"/>
                    <a:pt x="14239" y="14819"/>
                    <a:pt x="13870" y="14737"/>
                  </a:cubicBezTo>
                  <a:cubicBezTo>
                    <a:pt x="13741" y="14666"/>
                    <a:pt x="13870" y="14267"/>
                    <a:pt x="13612" y="14267"/>
                  </a:cubicBezTo>
                  <a:cubicBezTo>
                    <a:pt x="13371" y="14196"/>
                    <a:pt x="13130" y="14431"/>
                    <a:pt x="13002" y="14502"/>
                  </a:cubicBezTo>
                  <a:cubicBezTo>
                    <a:pt x="12632" y="14737"/>
                    <a:pt x="12520" y="15054"/>
                    <a:pt x="12263" y="15289"/>
                  </a:cubicBezTo>
                  <a:cubicBezTo>
                    <a:pt x="12021" y="15442"/>
                    <a:pt x="11652" y="15442"/>
                    <a:pt x="11539" y="15677"/>
                  </a:cubicBezTo>
                  <a:cubicBezTo>
                    <a:pt x="11539" y="15911"/>
                    <a:pt x="11780" y="16065"/>
                    <a:pt x="12021" y="16300"/>
                  </a:cubicBezTo>
                  <a:cubicBezTo>
                    <a:pt x="12263" y="16453"/>
                    <a:pt x="12632" y="16534"/>
                    <a:pt x="12889" y="16606"/>
                  </a:cubicBezTo>
                  <a:cubicBezTo>
                    <a:pt x="13259" y="16769"/>
                    <a:pt x="13741" y="17004"/>
                    <a:pt x="14239" y="17004"/>
                  </a:cubicBezTo>
                  <a:cubicBezTo>
                    <a:pt x="14609" y="17076"/>
                    <a:pt x="15091" y="16923"/>
                    <a:pt x="15332" y="16688"/>
                  </a:cubicBezTo>
                  <a:cubicBezTo>
                    <a:pt x="15589" y="16453"/>
                    <a:pt x="15589" y="16146"/>
                    <a:pt x="15589" y="15830"/>
                  </a:cubicBezTo>
                  <a:cubicBezTo>
                    <a:pt x="15589" y="15595"/>
                    <a:pt x="15461" y="15360"/>
                    <a:pt x="15332" y="15125"/>
                  </a:cubicBezTo>
                  <a:cubicBezTo>
                    <a:pt x="15332" y="14890"/>
                    <a:pt x="15220" y="14666"/>
                    <a:pt x="14850" y="14584"/>
                  </a:cubicBezTo>
                  <a:close/>
                  <a:moveTo>
                    <a:pt x="10912" y="20977"/>
                  </a:moveTo>
                  <a:cubicBezTo>
                    <a:pt x="9820" y="21600"/>
                    <a:pt x="9820" y="21600"/>
                    <a:pt x="9820" y="21600"/>
                  </a:cubicBezTo>
                  <a:cubicBezTo>
                    <a:pt x="9209" y="21447"/>
                    <a:pt x="8582" y="21365"/>
                    <a:pt x="8100" y="21212"/>
                  </a:cubicBezTo>
                  <a:cubicBezTo>
                    <a:pt x="7730" y="21059"/>
                    <a:pt x="7232" y="20977"/>
                    <a:pt x="7232" y="20742"/>
                  </a:cubicBezTo>
                  <a:cubicBezTo>
                    <a:pt x="7120" y="20436"/>
                    <a:pt x="7232" y="20119"/>
                    <a:pt x="7473" y="19884"/>
                  </a:cubicBezTo>
                  <a:cubicBezTo>
                    <a:pt x="7843" y="19578"/>
                    <a:pt x="8582" y="19578"/>
                    <a:pt x="8839" y="19261"/>
                  </a:cubicBezTo>
                  <a:cubicBezTo>
                    <a:pt x="8952" y="19026"/>
                    <a:pt x="8711" y="18720"/>
                    <a:pt x="8470" y="18485"/>
                  </a:cubicBezTo>
                  <a:cubicBezTo>
                    <a:pt x="8212" y="18250"/>
                    <a:pt x="7730" y="18169"/>
                    <a:pt x="7232" y="18015"/>
                  </a:cubicBezTo>
                  <a:cubicBezTo>
                    <a:pt x="6380" y="17862"/>
                    <a:pt x="5400" y="17934"/>
                    <a:pt x="4789" y="17627"/>
                  </a:cubicBezTo>
                  <a:cubicBezTo>
                    <a:pt x="4291" y="17311"/>
                    <a:pt x="4291" y="16841"/>
                    <a:pt x="4291" y="16453"/>
                  </a:cubicBezTo>
                  <a:cubicBezTo>
                    <a:pt x="4291" y="15983"/>
                    <a:pt x="4532" y="15523"/>
                    <a:pt x="4902" y="15125"/>
                  </a:cubicBezTo>
                  <a:cubicBezTo>
                    <a:pt x="5271" y="14737"/>
                    <a:pt x="6252" y="14666"/>
                    <a:pt x="6621" y="14267"/>
                  </a:cubicBezTo>
                  <a:cubicBezTo>
                    <a:pt x="6862" y="14032"/>
                    <a:pt x="6621" y="13726"/>
                    <a:pt x="6493" y="13409"/>
                  </a:cubicBezTo>
                  <a:cubicBezTo>
                    <a:pt x="6380" y="13256"/>
                    <a:pt x="6011" y="13103"/>
                    <a:pt x="5882" y="12868"/>
                  </a:cubicBezTo>
                  <a:cubicBezTo>
                    <a:pt x="5770" y="12551"/>
                    <a:pt x="6011" y="12163"/>
                    <a:pt x="6011" y="11775"/>
                  </a:cubicBezTo>
                  <a:cubicBezTo>
                    <a:pt x="5882" y="11387"/>
                    <a:pt x="5512" y="11071"/>
                    <a:pt x="5271" y="10754"/>
                  </a:cubicBezTo>
                  <a:cubicBezTo>
                    <a:pt x="5159" y="10529"/>
                    <a:pt x="5400" y="10294"/>
                    <a:pt x="5159" y="10131"/>
                  </a:cubicBezTo>
                  <a:cubicBezTo>
                    <a:pt x="4420" y="9671"/>
                    <a:pt x="3552" y="9437"/>
                    <a:pt x="2700" y="9049"/>
                  </a:cubicBezTo>
                  <a:cubicBezTo>
                    <a:pt x="2330" y="8885"/>
                    <a:pt x="2073" y="8579"/>
                    <a:pt x="1591" y="8497"/>
                  </a:cubicBezTo>
                  <a:cubicBezTo>
                    <a:pt x="1350" y="8415"/>
                    <a:pt x="1093" y="8650"/>
                    <a:pt x="852" y="8732"/>
                  </a:cubicBezTo>
                  <a:cubicBezTo>
                    <a:pt x="852" y="8579"/>
                    <a:pt x="852" y="8415"/>
                    <a:pt x="852" y="8262"/>
                  </a:cubicBezTo>
                  <a:cubicBezTo>
                    <a:pt x="852" y="8180"/>
                    <a:pt x="980" y="8109"/>
                    <a:pt x="980" y="7946"/>
                  </a:cubicBezTo>
                  <a:cubicBezTo>
                    <a:pt x="852" y="7639"/>
                    <a:pt x="482" y="7404"/>
                    <a:pt x="370" y="7016"/>
                  </a:cubicBezTo>
                  <a:cubicBezTo>
                    <a:pt x="241" y="6628"/>
                    <a:pt x="370" y="6240"/>
                    <a:pt x="370" y="5770"/>
                  </a:cubicBezTo>
                  <a:cubicBezTo>
                    <a:pt x="370" y="5535"/>
                    <a:pt x="482" y="5219"/>
                    <a:pt x="370" y="4984"/>
                  </a:cubicBezTo>
                  <a:cubicBezTo>
                    <a:pt x="370" y="4749"/>
                    <a:pt x="113" y="4596"/>
                    <a:pt x="0" y="4443"/>
                  </a:cubicBezTo>
                  <a:cubicBezTo>
                    <a:pt x="113" y="4361"/>
                    <a:pt x="370" y="4289"/>
                    <a:pt x="370" y="4208"/>
                  </a:cubicBezTo>
                  <a:cubicBezTo>
                    <a:pt x="611" y="3973"/>
                    <a:pt x="980" y="3738"/>
                    <a:pt x="980" y="3431"/>
                  </a:cubicBezTo>
                  <a:cubicBezTo>
                    <a:pt x="852" y="3197"/>
                    <a:pt x="370" y="3115"/>
                    <a:pt x="113" y="2962"/>
                  </a:cubicBezTo>
                  <a:cubicBezTo>
                    <a:pt x="370" y="2727"/>
                    <a:pt x="852" y="2492"/>
                    <a:pt x="980" y="2257"/>
                  </a:cubicBezTo>
                  <a:cubicBezTo>
                    <a:pt x="1221" y="1940"/>
                    <a:pt x="1093" y="1634"/>
                    <a:pt x="1221" y="1317"/>
                  </a:cubicBezTo>
                  <a:cubicBezTo>
                    <a:pt x="1221" y="1164"/>
                    <a:pt x="1463" y="1011"/>
                    <a:pt x="1591" y="776"/>
                  </a:cubicBezTo>
                  <a:cubicBezTo>
                    <a:pt x="1961" y="776"/>
                    <a:pt x="2330" y="929"/>
                    <a:pt x="2571" y="776"/>
                  </a:cubicBezTo>
                  <a:cubicBezTo>
                    <a:pt x="2813" y="694"/>
                    <a:pt x="2571" y="460"/>
                    <a:pt x="2571" y="388"/>
                  </a:cubicBezTo>
                  <a:cubicBezTo>
                    <a:pt x="2700" y="225"/>
                    <a:pt x="2813" y="71"/>
                    <a:pt x="2941" y="0"/>
                  </a:cubicBezTo>
                  <a:cubicBezTo>
                    <a:pt x="3182" y="0"/>
                    <a:pt x="3311" y="71"/>
                    <a:pt x="3552" y="153"/>
                  </a:cubicBezTo>
                  <a:lnTo>
                    <a:pt x="3921" y="0"/>
                  </a:lnTo>
                  <a:cubicBezTo>
                    <a:pt x="3921" y="71"/>
                    <a:pt x="4661" y="460"/>
                    <a:pt x="4661" y="460"/>
                  </a:cubicBezTo>
                  <a:cubicBezTo>
                    <a:pt x="4902" y="460"/>
                    <a:pt x="5030" y="460"/>
                    <a:pt x="5271" y="460"/>
                  </a:cubicBezTo>
                  <a:cubicBezTo>
                    <a:pt x="5400" y="623"/>
                    <a:pt x="5641" y="776"/>
                    <a:pt x="5770" y="929"/>
                  </a:cubicBezTo>
                  <a:cubicBezTo>
                    <a:pt x="5882" y="1164"/>
                    <a:pt x="5770" y="1317"/>
                    <a:pt x="5770" y="1552"/>
                  </a:cubicBezTo>
                  <a:cubicBezTo>
                    <a:pt x="6011" y="1787"/>
                    <a:pt x="6380" y="1869"/>
                    <a:pt x="6621" y="2104"/>
                  </a:cubicBezTo>
                  <a:cubicBezTo>
                    <a:pt x="6862" y="2410"/>
                    <a:pt x="6750" y="2798"/>
                    <a:pt x="7120" y="3033"/>
                  </a:cubicBezTo>
                  <a:cubicBezTo>
                    <a:pt x="7361" y="3268"/>
                    <a:pt x="7843" y="3115"/>
                    <a:pt x="8100" y="3268"/>
                  </a:cubicBezTo>
                  <a:cubicBezTo>
                    <a:pt x="8212" y="3350"/>
                    <a:pt x="8100" y="3585"/>
                    <a:pt x="8212" y="3666"/>
                  </a:cubicBezTo>
                  <a:cubicBezTo>
                    <a:pt x="8582" y="3820"/>
                    <a:pt x="9080" y="3738"/>
                    <a:pt x="9209" y="3973"/>
                  </a:cubicBezTo>
                  <a:cubicBezTo>
                    <a:pt x="9321" y="4208"/>
                    <a:pt x="8711" y="4514"/>
                    <a:pt x="8952" y="4677"/>
                  </a:cubicBezTo>
                  <a:cubicBezTo>
                    <a:pt x="9450" y="4984"/>
                    <a:pt x="10559" y="4749"/>
                    <a:pt x="10912" y="5147"/>
                  </a:cubicBezTo>
                  <a:cubicBezTo>
                    <a:pt x="11041" y="5454"/>
                    <a:pt x="9691" y="5689"/>
                    <a:pt x="9932" y="5923"/>
                  </a:cubicBezTo>
                  <a:cubicBezTo>
                    <a:pt x="10302" y="6311"/>
                    <a:pt x="11282" y="6240"/>
                    <a:pt x="11893" y="6240"/>
                  </a:cubicBezTo>
                  <a:cubicBezTo>
                    <a:pt x="12632" y="6240"/>
                    <a:pt x="13371" y="6158"/>
                    <a:pt x="14111" y="6005"/>
                  </a:cubicBezTo>
                  <a:cubicBezTo>
                    <a:pt x="14352" y="5923"/>
                    <a:pt x="14352" y="5689"/>
                    <a:pt x="14480" y="5607"/>
                  </a:cubicBezTo>
                  <a:cubicBezTo>
                    <a:pt x="14721" y="5454"/>
                    <a:pt x="15091" y="5372"/>
                    <a:pt x="15461" y="5372"/>
                  </a:cubicBezTo>
                  <a:cubicBezTo>
                    <a:pt x="15589" y="5372"/>
                    <a:pt x="15702" y="5372"/>
                    <a:pt x="15830" y="5454"/>
                  </a:cubicBezTo>
                  <a:cubicBezTo>
                    <a:pt x="15959" y="5535"/>
                    <a:pt x="15830" y="5842"/>
                    <a:pt x="16071" y="5923"/>
                  </a:cubicBezTo>
                  <a:cubicBezTo>
                    <a:pt x="16200" y="6005"/>
                    <a:pt x="16570" y="5923"/>
                    <a:pt x="16811" y="5923"/>
                  </a:cubicBezTo>
                  <a:cubicBezTo>
                    <a:pt x="17052" y="5842"/>
                    <a:pt x="17421" y="5770"/>
                    <a:pt x="17662" y="5607"/>
                  </a:cubicBezTo>
                  <a:cubicBezTo>
                    <a:pt x="18032" y="5607"/>
                    <a:pt x="18402" y="5535"/>
                    <a:pt x="18659" y="5607"/>
                  </a:cubicBezTo>
                  <a:cubicBezTo>
                    <a:pt x="18771" y="5770"/>
                    <a:pt x="18530" y="6005"/>
                    <a:pt x="18659" y="6158"/>
                  </a:cubicBezTo>
                  <a:cubicBezTo>
                    <a:pt x="18900" y="6311"/>
                    <a:pt x="19270" y="6393"/>
                    <a:pt x="19639" y="6393"/>
                  </a:cubicBezTo>
                  <a:cubicBezTo>
                    <a:pt x="20009" y="6393"/>
                    <a:pt x="20379" y="6311"/>
                    <a:pt x="20861" y="6240"/>
                  </a:cubicBezTo>
                  <a:cubicBezTo>
                    <a:pt x="20989" y="6393"/>
                    <a:pt x="21359" y="6393"/>
                    <a:pt x="21471" y="6546"/>
                  </a:cubicBezTo>
                  <a:cubicBezTo>
                    <a:pt x="21600" y="6863"/>
                    <a:pt x="21600" y="7169"/>
                    <a:pt x="21359" y="7404"/>
                  </a:cubicBezTo>
                  <a:cubicBezTo>
                    <a:pt x="21230" y="7557"/>
                    <a:pt x="20732" y="7323"/>
                    <a:pt x="20620" y="7486"/>
                  </a:cubicBezTo>
                  <a:cubicBezTo>
                    <a:pt x="20379" y="8027"/>
                    <a:pt x="20732" y="8650"/>
                    <a:pt x="20620" y="9202"/>
                  </a:cubicBezTo>
                  <a:cubicBezTo>
                    <a:pt x="20491" y="9437"/>
                    <a:pt x="20250" y="9590"/>
                    <a:pt x="20009" y="9743"/>
                  </a:cubicBezTo>
                  <a:cubicBezTo>
                    <a:pt x="19398" y="9978"/>
                    <a:pt x="18289" y="9906"/>
                    <a:pt x="17920" y="10366"/>
                  </a:cubicBezTo>
                  <a:cubicBezTo>
                    <a:pt x="17550" y="10836"/>
                    <a:pt x="18289" y="11387"/>
                    <a:pt x="18032" y="11929"/>
                  </a:cubicBezTo>
                  <a:cubicBezTo>
                    <a:pt x="18032" y="12245"/>
                    <a:pt x="17421" y="12317"/>
                    <a:pt x="17309" y="12551"/>
                  </a:cubicBezTo>
                  <a:cubicBezTo>
                    <a:pt x="17180" y="12940"/>
                    <a:pt x="17309" y="13338"/>
                    <a:pt x="17421" y="13726"/>
                  </a:cubicBezTo>
                  <a:cubicBezTo>
                    <a:pt x="17662" y="14584"/>
                    <a:pt x="18530" y="15360"/>
                    <a:pt x="18530" y="16218"/>
                  </a:cubicBezTo>
                  <a:cubicBezTo>
                    <a:pt x="18530" y="16606"/>
                    <a:pt x="17791" y="16841"/>
                    <a:pt x="17421" y="17239"/>
                  </a:cubicBezTo>
                  <a:cubicBezTo>
                    <a:pt x="16811" y="17311"/>
                    <a:pt x="16200" y="17239"/>
                    <a:pt x="15589" y="17392"/>
                  </a:cubicBezTo>
                  <a:cubicBezTo>
                    <a:pt x="15220" y="17546"/>
                    <a:pt x="14979" y="17780"/>
                    <a:pt x="14721" y="18015"/>
                  </a:cubicBezTo>
                  <a:cubicBezTo>
                    <a:pt x="14480" y="18250"/>
                    <a:pt x="14352" y="18557"/>
                    <a:pt x="14111" y="18720"/>
                  </a:cubicBezTo>
                  <a:cubicBezTo>
                    <a:pt x="13870" y="18873"/>
                    <a:pt x="13500" y="18955"/>
                    <a:pt x="13371" y="19108"/>
                  </a:cubicBezTo>
                  <a:cubicBezTo>
                    <a:pt x="13002" y="19343"/>
                    <a:pt x="13130" y="19813"/>
                    <a:pt x="12632" y="20037"/>
                  </a:cubicBezTo>
                  <a:cubicBezTo>
                    <a:pt x="12391" y="20119"/>
                    <a:pt x="11893" y="19884"/>
                    <a:pt x="11411" y="19884"/>
                  </a:cubicBezTo>
                  <a:cubicBezTo>
                    <a:pt x="11170" y="19966"/>
                    <a:pt x="10800" y="19966"/>
                    <a:pt x="10671" y="20119"/>
                  </a:cubicBezTo>
                  <a:cubicBezTo>
                    <a:pt x="10559" y="20354"/>
                    <a:pt x="10800" y="20671"/>
                    <a:pt x="10912" y="20977"/>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2" name="Shape 2376">
              <a:extLst>
                <a:ext uri="{FF2B5EF4-FFF2-40B4-BE49-F238E27FC236}">
                  <a16:creationId xmlns:a16="http://schemas.microsoft.com/office/drawing/2014/main" id="{2E378034-41AB-C34A-BF2F-A75F496BBFEE}"/>
                </a:ext>
              </a:extLst>
            </p:cNvPr>
            <p:cNvSpPr/>
            <p:nvPr/>
          </p:nvSpPr>
          <p:spPr>
            <a:xfrm>
              <a:off x="3500645" y="6101296"/>
              <a:ext cx="84396" cy="91121"/>
            </a:xfrm>
            <a:custGeom>
              <a:avLst/>
              <a:gdLst/>
              <a:ahLst/>
              <a:cxnLst>
                <a:cxn ang="0">
                  <a:pos x="wd2" y="hd2"/>
                </a:cxn>
                <a:cxn ang="5400000">
                  <a:pos x="wd2" y="hd2"/>
                </a:cxn>
                <a:cxn ang="10800000">
                  <a:pos x="wd2" y="hd2"/>
                </a:cxn>
                <a:cxn ang="16200000">
                  <a:pos x="wd2" y="hd2"/>
                </a:cxn>
              </a:cxnLst>
              <a:rect l="0" t="0" r="r" b="b"/>
              <a:pathLst>
                <a:path w="21600" h="20761" extrusionOk="0">
                  <a:moveTo>
                    <a:pt x="17657" y="2475"/>
                  </a:moveTo>
                  <a:cubicBezTo>
                    <a:pt x="16371" y="1862"/>
                    <a:pt x="14400" y="4236"/>
                    <a:pt x="12429" y="3624"/>
                  </a:cubicBezTo>
                  <a:cubicBezTo>
                    <a:pt x="11743" y="3087"/>
                    <a:pt x="12429" y="100"/>
                    <a:pt x="11057" y="100"/>
                  </a:cubicBezTo>
                  <a:cubicBezTo>
                    <a:pt x="9771" y="-436"/>
                    <a:pt x="8486" y="1326"/>
                    <a:pt x="7800" y="1862"/>
                  </a:cubicBezTo>
                  <a:cubicBezTo>
                    <a:pt x="5829" y="3624"/>
                    <a:pt x="5229" y="5998"/>
                    <a:pt x="3857" y="7760"/>
                  </a:cubicBezTo>
                  <a:cubicBezTo>
                    <a:pt x="2571" y="8909"/>
                    <a:pt x="600" y="8909"/>
                    <a:pt x="0" y="10670"/>
                  </a:cubicBezTo>
                  <a:cubicBezTo>
                    <a:pt x="0" y="12432"/>
                    <a:pt x="1286" y="13581"/>
                    <a:pt x="2571" y="15343"/>
                  </a:cubicBezTo>
                  <a:cubicBezTo>
                    <a:pt x="3857" y="16492"/>
                    <a:pt x="5829" y="17104"/>
                    <a:pt x="7200" y="17641"/>
                  </a:cubicBezTo>
                  <a:cubicBezTo>
                    <a:pt x="9171" y="18866"/>
                    <a:pt x="11743" y="20628"/>
                    <a:pt x="14400" y="20628"/>
                  </a:cubicBezTo>
                  <a:cubicBezTo>
                    <a:pt x="16371" y="21164"/>
                    <a:pt x="18943" y="20015"/>
                    <a:pt x="20229" y="18253"/>
                  </a:cubicBezTo>
                  <a:cubicBezTo>
                    <a:pt x="21600" y="16492"/>
                    <a:pt x="21600" y="14194"/>
                    <a:pt x="21600" y="11819"/>
                  </a:cubicBezTo>
                  <a:cubicBezTo>
                    <a:pt x="21600" y="10058"/>
                    <a:pt x="20914" y="8296"/>
                    <a:pt x="20229" y="6534"/>
                  </a:cubicBezTo>
                  <a:cubicBezTo>
                    <a:pt x="20229" y="4773"/>
                    <a:pt x="19629" y="3087"/>
                    <a:pt x="17657" y="247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3" name="Shape 2377">
              <a:extLst>
                <a:ext uri="{FF2B5EF4-FFF2-40B4-BE49-F238E27FC236}">
                  <a16:creationId xmlns:a16="http://schemas.microsoft.com/office/drawing/2014/main" id="{D7A77CB1-2040-EDDC-FB12-D73CDD3A1C65}"/>
                </a:ext>
              </a:extLst>
            </p:cNvPr>
            <p:cNvSpPr/>
            <p:nvPr/>
          </p:nvSpPr>
          <p:spPr>
            <a:xfrm>
              <a:off x="3464970" y="6090464"/>
              <a:ext cx="470877" cy="515503"/>
            </a:xfrm>
            <a:custGeom>
              <a:avLst/>
              <a:gdLst/>
              <a:ahLst/>
              <a:cxnLst>
                <a:cxn ang="0">
                  <a:pos x="wd2" y="hd2"/>
                </a:cxn>
                <a:cxn ang="5400000">
                  <a:pos x="wd2" y="hd2"/>
                </a:cxn>
                <a:cxn ang="10800000">
                  <a:pos x="wd2" y="hd2"/>
                </a:cxn>
                <a:cxn ang="16200000">
                  <a:pos x="wd2" y="hd2"/>
                </a:cxn>
              </a:cxnLst>
              <a:rect l="0" t="0" r="r" b="b"/>
              <a:pathLst>
                <a:path w="21600" h="21600" extrusionOk="0">
                  <a:moveTo>
                    <a:pt x="12509" y="11557"/>
                  </a:moveTo>
                  <a:cubicBezTo>
                    <a:pt x="12153" y="11444"/>
                    <a:pt x="11565" y="11670"/>
                    <a:pt x="11210" y="11557"/>
                  </a:cubicBezTo>
                  <a:cubicBezTo>
                    <a:pt x="10854" y="11444"/>
                    <a:pt x="10854" y="10581"/>
                    <a:pt x="10498" y="10807"/>
                  </a:cubicBezTo>
                  <a:cubicBezTo>
                    <a:pt x="10035" y="11118"/>
                    <a:pt x="10158" y="11882"/>
                    <a:pt x="9803" y="12420"/>
                  </a:cubicBezTo>
                  <a:cubicBezTo>
                    <a:pt x="9679" y="12632"/>
                    <a:pt x="9091" y="12533"/>
                    <a:pt x="9215" y="12745"/>
                  </a:cubicBezTo>
                  <a:cubicBezTo>
                    <a:pt x="9323" y="13070"/>
                    <a:pt x="9803" y="13183"/>
                    <a:pt x="10158" y="13396"/>
                  </a:cubicBezTo>
                  <a:cubicBezTo>
                    <a:pt x="10158" y="13396"/>
                    <a:pt x="10390" y="14372"/>
                    <a:pt x="10390" y="14471"/>
                  </a:cubicBezTo>
                  <a:cubicBezTo>
                    <a:pt x="10390" y="14584"/>
                    <a:pt x="11442" y="14471"/>
                    <a:pt x="11442" y="14471"/>
                  </a:cubicBezTo>
                  <a:cubicBezTo>
                    <a:pt x="11442" y="14471"/>
                    <a:pt x="11689" y="13721"/>
                    <a:pt x="11921" y="13721"/>
                  </a:cubicBezTo>
                  <a:cubicBezTo>
                    <a:pt x="12045" y="13721"/>
                    <a:pt x="12988" y="13070"/>
                    <a:pt x="12988" y="13070"/>
                  </a:cubicBezTo>
                  <a:cubicBezTo>
                    <a:pt x="12864" y="12745"/>
                    <a:pt x="12988" y="12420"/>
                    <a:pt x="12864" y="12094"/>
                  </a:cubicBezTo>
                  <a:cubicBezTo>
                    <a:pt x="12756" y="11882"/>
                    <a:pt x="12756" y="11670"/>
                    <a:pt x="12509" y="11557"/>
                  </a:cubicBezTo>
                  <a:close/>
                  <a:moveTo>
                    <a:pt x="0" y="10581"/>
                  </a:moveTo>
                  <a:cubicBezTo>
                    <a:pt x="1051" y="9718"/>
                    <a:pt x="1051" y="9718"/>
                    <a:pt x="1051" y="9718"/>
                  </a:cubicBezTo>
                  <a:cubicBezTo>
                    <a:pt x="943" y="9294"/>
                    <a:pt x="711" y="8855"/>
                    <a:pt x="819" y="8530"/>
                  </a:cubicBezTo>
                  <a:cubicBezTo>
                    <a:pt x="943" y="8317"/>
                    <a:pt x="1299" y="8317"/>
                    <a:pt x="1531" y="8204"/>
                  </a:cubicBezTo>
                  <a:cubicBezTo>
                    <a:pt x="1995" y="8204"/>
                    <a:pt x="2474" y="8530"/>
                    <a:pt x="2706" y="8417"/>
                  </a:cubicBezTo>
                  <a:cubicBezTo>
                    <a:pt x="3185" y="8105"/>
                    <a:pt x="3061" y="7455"/>
                    <a:pt x="3417" y="7129"/>
                  </a:cubicBezTo>
                  <a:cubicBezTo>
                    <a:pt x="3541" y="6917"/>
                    <a:pt x="3896" y="6804"/>
                    <a:pt x="4128" y="6592"/>
                  </a:cubicBezTo>
                  <a:cubicBezTo>
                    <a:pt x="4360" y="6365"/>
                    <a:pt x="4484" y="5941"/>
                    <a:pt x="4716" y="5616"/>
                  </a:cubicBezTo>
                  <a:cubicBezTo>
                    <a:pt x="4963" y="5290"/>
                    <a:pt x="5195" y="4965"/>
                    <a:pt x="5551" y="4753"/>
                  </a:cubicBezTo>
                  <a:cubicBezTo>
                    <a:pt x="6138" y="4541"/>
                    <a:pt x="6726" y="4640"/>
                    <a:pt x="7313" y="4541"/>
                  </a:cubicBezTo>
                  <a:cubicBezTo>
                    <a:pt x="7437" y="5290"/>
                    <a:pt x="7205" y="6153"/>
                    <a:pt x="7669" y="6804"/>
                  </a:cubicBezTo>
                  <a:cubicBezTo>
                    <a:pt x="8025" y="7228"/>
                    <a:pt x="8736" y="7228"/>
                    <a:pt x="9215" y="7129"/>
                  </a:cubicBezTo>
                  <a:cubicBezTo>
                    <a:pt x="9679" y="7016"/>
                    <a:pt x="10035" y="6592"/>
                    <a:pt x="10498" y="6479"/>
                  </a:cubicBezTo>
                  <a:cubicBezTo>
                    <a:pt x="10978" y="6266"/>
                    <a:pt x="11333" y="6054"/>
                    <a:pt x="11797" y="5941"/>
                  </a:cubicBezTo>
                  <a:cubicBezTo>
                    <a:pt x="12277" y="5941"/>
                    <a:pt x="12632" y="6054"/>
                    <a:pt x="12988" y="6054"/>
                  </a:cubicBezTo>
                  <a:cubicBezTo>
                    <a:pt x="13467" y="6054"/>
                    <a:pt x="14055" y="6153"/>
                    <a:pt x="14410" y="5941"/>
                  </a:cubicBezTo>
                  <a:cubicBezTo>
                    <a:pt x="14874" y="5503"/>
                    <a:pt x="14998" y="4852"/>
                    <a:pt x="15230" y="4428"/>
                  </a:cubicBezTo>
                  <a:cubicBezTo>
                    <a:pt x="15462" y="4102"/>
                    <a:pt x="15585" y="3777"/>
                    <a:pt x="15817" y="3451"/>
                  </a:cubicBezTo>
                  <a:cubicBezTo>
                    <a:pt x="16049" y="3239"/>
                    <a:pt x="16405" y="3126"/>
                    <a:pt x="16652" y="2914"/>
                  </a:cubicBezTo>
                  <a:cubicBezTo>
                    <a:pt x="17116" y="2376"/>
                    <a:pt x="17116" y="1613"/>
                    <a:pt x="17595" y="1075"/>
                  </a:cubicBezTo>
                  <a:cubicBezTo>
                    <a:pt x="17827" y="651"/>
                    <a:pt x="18307" y="325"/>
                    <a:pt x="18662" y="0"/>
                  </a:cubicBezTo>
                  <a:cubicBezTo>
                    <a:pt x="18894" y="325"/>
                    <a:pt x="19002" y="750"/>
                    <a:pt x="19126" y="1075"/>
                  </a:cubicBezTo>
                  <a:cubicBezTo>
                    <a:pt x="19126" y="1075"/>
                    <a:pt x="18894" y="2589"/>
                    <a:pt x="18894" y="2702"/>
                  </a:cubicBezTo>
                  <a:cubicBezTo>
                    <a:pt x="19002" y="2801"/>
                    <a:pt x="19837" y="4102"/>
                    <a:pt x="19837" y="4102"/>
                  </a:cubicBezTo>
                  <a:cubicBezTo>
                    <a:pt x="20301" y="4753"/>
                    <a:pt x="20904" y="5404"/>
                    <a:pt x="21136" y="6153"/>
                  </a:cubicBezTo>
                  <a:cubicBezTo>
                    <a:pt x="21492" y="6691"/>
                    <a:pt x="21492" y="7341"/>
                    <a:pt x="21600" y="7992"/>
                  </a:cubicBezTo>
                  <a:cubicBezTo>
                    <a:pt x="21012" y="8317"/>
                    <a:pt x="20425" y="8643"/>
                    <a:pt x="19714" y="8968"/>
                  </a:cubicBezTo>
                  <a:cubicBezTo>
                    <a:pt x="19714" y="8968"/>
                    <a:pt x="18894" y="8643"/>
                    <a:pt x="18771" y="8742"/>
                  </a:cubicBezTo>
                  <a:cubicBezTo>
                    <a:pt x="18771" y="8855"/>
                    <a:pt x="18183" y="9506"/>
                    <a:pt x="18183" y="9506"/>
                  </a:cubicBezTo>
                  <a:cubicBezTo>
                    <a:pt x="18539" y="9944"/>
                    <a:pt x="19002" y="10255"/>
                    <a:pt x="19002" y="10694"/>
                  </a:cubicBezTo>
                  <a:cubicBezTo>
                    <a:pt x="19126" y="11231"/>
                    <a:pt x="18894" y="11769"/>
                    <a:pt x="18771" y="12306"/>
                  </a:cubicBezTo>
                  <a:cubicBezTo>
                    <a:pt x="18662" y="12745"/>
                    <a:pt x="18307" y="13283"/>
                    <a:pt x="18415" y="13834"/>
                  </a:cubicBezTo>
                  <a:cubicBezTo>
                    <a:pt x="18415" y="14046"/>
                    <a:pt x="18894" y="13834"/>
                    <a:pt x="19126" y="14046"/>
                  </a:cubicBezTo>
                  <a:cubicBezTo>
                    <a:pt x="19482" y="14471"/>
                    <a:pt x="19714" y="15008"/>
                    <a:pt x="20069" y="15447"/>
                  </a:cubicBezTo>
                  <a:cubicBezTo>
                    <a:pt x="20425" y="15772"/>
                    <a:pt x="20657" y="16097"/>
                    <a:pt x="21012" y="16423"/>
                  </a:cubicBezTo>
                  <a:cubicBezTo>
                    <a:pt x="20549" y="16635"/>
                    <a:pt x="20193" y="17073"/>
                    <a:pt x="19837" y="16960"/>
                  </a:cubicBezTo>
                  <a:cubicBezTo>
                    <a:pt x="18894" y="16960"/>
                    <a:pt x="18059" y="15984"/>
                    <a:pt x="17363" y="16423"/>
                  </a:cubicBezTo>
                  <a:cubicBezTo>
                    <a:pt x="16652" y="16748"/>
                    <a:pt x="17472" y="18149"/>
                    <a:pt x="16884" y="18686"/>
                  </a:cubicBezTo>
                  <a:cubicBezTo>
                    <a:pt x="16405" y="19125"/>
                    <a:pt x="15585" y="18361"/>
                    <a:pt x="14874" y="18474"/>
                  </a:cubicBezTo>
                  <a:cubicBezTo>
                    <a:pt x="14410" y="18587"/>
                    <a:pt x="13807" y="18898"/>
                    <a:pt x="13467" y="19337"/>
                  </a:cubicBezTo>
                  <a:cubicBezTo>
                    <a:pt x="13343" y="19662"/>
                    <a:pt x="13699" y="20200"/>
                    <a:pt x="13343" y="20412"/>
                  </a:cubicBezTo>
                  <a:cubicBezTo>
                    <a:pt x="13112" y="20638"/>
                    <a:pt x="12632" y="19987"/>
                    <a:pt x="12400" y="20086"/>
                  </a:cubicBezTo>
                  <a:cubicBezTo>
                    <a:pt x="11797" y="20313"/>
                    <a:pt x="11797" y="21062"/>
                    <a:pt x="11333" y="21289"/>
                  </a:cubicBezTo>
                  <a:cubicBezTo>
                    <a:pt x="10854" y="21600"/>
                    <a:pt x="10267" y="21501"/>
                    <a:pt x="9679" y="21600"/>
                  </a:cubicBezTo>
                  <a:cubicBezTo>
                    <a:pt x="8736" y="20412"/>
                    <a:pt x="8025" y="19011"/>
                    <a:pt x="6850" y="17936"/>
                  </a:cubicBezTo>
                  <a:cubicBezTo>
                    <a:pt x="5783" y="17073"/>
                    <a:pt x="4360" y="16748"/>
                    <a:pt x="3185" y="15984"/>
                  </a:cubicBezTo>
                  <a:cubicBezTo>
                    <a:pt x="2350" y="15447"/>
                    <a:pt x="1654" y="15008"/>
                    <a:pt x="1051" y="14372"/>
                  </a:cubicBezTo>
                  <a:cubicBezTo>
                    <a:pt x="819" y="14145"/>
                    <a:pt x="943" y="13834"/>
                    <a:pt x="943" y="13608"/>
                  </a:cubicBezTo>
                  <a:cubicBezTo>
                    <a:pt x="819" y="13396"/>
                    <a:pt x="711" y="13183"/>
                    <a:pt x="711" y="12957"/>
                  </a:cubicBezTo>
                  <a:cubicBezTo>
                    <a:pt x="819" y="12858"/>
                    <a:pt x="1175" y="12858"/>
                    <a:pt x="1175" y="12745"/>
                  </a:cubicBezTo>
                  <a:cubicBezTo>
                    <a:pt x="1299" y="12533"/>
                    <a:pt x="1299" y="12306"/>
                    <a:pt x="1175" y="12207"/>
                  </a:cubicBezTo>
                  <a:cubicBezTo>
                    <a:pt x="943" y="11769"/>
                    <a:pt x="464" y="11557"/>
                    <a:pt x="108" y="11231"/>
                  </a:cubicBezTo>
                  <a:cubicBezTo>
                    <a:pt x="0" y="10581"/>
                    <a:pt x="0" y="10581"/>
                    <a:pt x="0" y="10581"/>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4" name="Shape 2378">
              <a:extLst>
                <a:ext uri="{FF2B5EF4-FFF2-40B4-BE49-F238E27FC236}">
                  <a16:creationId xmlns:a16="http://schemas.microsoft.com/office/drawing/2014/main" id="{57B06979-F0E7-0963-DA20-6EE35D05449D}"/>
                </a:ext>
              </a:extLst>
            </p:cNvPr>
            <p:cNvSpPr/>
            <p:nvPr/>
          </p:nvSpPr>
          <p:spPr>
            <a:xfrm>
              <a:off x="3664982" y="6347649"/>
              <a:ext cx="82083" cy="88850"/>
            </a:xfrm>
            <a:custGeom>
              <a:avLst/>
              <a:gdLst/>
              <a:ahLst/>
              <a:cxnLst>
                <a:cxn ang="0">
                  <a:pos x="wd2" y="hd2"/>
                </a:cxn>
                <a:cxn ang="5400000">
                  <a:pos x="wd2" y="hd2"/>
                </a:cxn>
                <a:cxn ang="10800000">
                  <a:pos x="wd2" y="hd2"/>
                </a:cxn>
                <a:cxn ang="16200000">
                  <a:pos x="wd2" y="hd2"/>
                </a:cxn>
              </a:cxnLst>
              <a:rect l="0" t="0" r="r" b="b"/>
              <a:pathLst>
                <a:path w="21009" h="20243" extrusionOk="0">
                  <a:moveTo>
                    <a:pt x="18352" y="4248"/>
                  </a:moveTo>
                  <a:cubicBezTo>
                    <a:pt x="16380" y="3638"/>
                    <a:pt x="13123" y="4859"/>
                    <a:pt x="11152" y="4248"/>
                  </a:cubicBezTo>
                  <a:cubicBezTo>
                    <a:pt x="9180" y="3638"/>
                    <a:pt x="9180" y="-1018"/>
                    <a:pt x="7209" y="203"/>
                  </a:cubicBezTo>
                  <a:cubicBezTo>
                    <a:pt x="4638" y="1882"/>
                    <a:pt x="5323" y="6004"/>
                    <a:pt x="3352" y="8904"/>
                  </a:cubicBezTo>
                  <a:cubicBezTo>
                    <a:pt x="2666" y="10049"/>
                    <a:pt x="-591" y="9515"/>
                    <a:pt x="95" y="10660"/>
                  </a:cubicBezTo>
                  <a:cubicBezTo>
                    <a:pt x="695" y="12415"/>
                    <a:pt x="3352" y="13026"/>
                    <a:pt x="5323" y="14171"/>
                  </a:cubicBezTo>
                  <a:cubicBezTo>
                    <a:pt x="5323" y="14171"/>
                    <a:pt x="6609" y="19437"/>
                    <a:pt x="6609" y="19971"/>
                  </a:cubicBezTo>
                  <a:cubicBezTo>
                    <a:pt x="6609" y="20582"/>
                    <a:pt x="12438" y="19971"/>
                    <a:pt x="12438" y="19971"/>
                  </a:cubicBezTo>
                  <a:cubicBezTo>
                    <a:pt x="12438" y="19971"/>
                    <a:pt x="13809" y="15926"/>
                    <a:pt x="15095" y="15926"/>
                  </a:cubicBezTo>
                  <a:cubicBezTo>
                    <a:pt x="15780" y="15926"/>
                    <a:pt x="21009" y="12415"/>
                    <a:pt x="21009" y="12415"/>
                  </a:cubicBezTo>
                  <a:cubicBezTo>
                    <a:pt x="20323" y="10660"/>
                    <a:pt x="21009" y="8904"/>
                    <a:pt x="20323" y="7149"/>
                  </a:cubicBezTo>
                  <a:cubicBezTo>
                    <a:pt x="19723" y="6004"/>
                    <a:pt x="19723" y="4859"/>
                    <a:pt x="18352" y="42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5" name="Shape 2379">
              <a:extLst>
                <a:ext uri="{FF2B5EF4-FFF2-40B4-BE49-F238E27FC236}">
                  <a16:creationId xmlns:a16="http://schemas.microsoft.com/office/drawing/2014/main" id="{E26C2728-7C4C-6ADE-E903-CC86FEDBA88F}"/>
                </a:ext>
              </a:extLst>
            </p:cNvPr>
            <p:cNvSpPr/>
            <p:nvPr/>
          </p:nvSpPr>
          <p:spPr>
            <a:xfrm>
              <a:off x="3621131" y="5663818"/>
              <a:ext cx="349559" cy="599164"/>
            </a:xfrm>
            <a:custGeom>
              <a:avLst/>
              <a:gdLst/>
              <a:ahLst/>
              <a:cxnLst>
                <a:cxn ang="0">
                  <a:pos x="wd2" y="hd2"/>
                </a:cxn>
                <a:cxn ang="5400000">
                  <a:pos x="wd2" y="hd2"/>
                </a:cxn>
                <a:cxn ang="10800000">
                  <a:pos x="wd2" y="hd2"/>
                </a:cxn>
                <a:cxn ang="16200000">
                  <a:pos x="wd2" y="hd2"/>
                </a:cxn>
              </a:cxnLst>
              <a:rect l="0" t="0" r="r" b="b"/>
              <a:pathLst>
                <a:path w="21453" h="21561" extrusionOk="0">
                  <a:moveTo>
                    <a:pt x="5418" y="14922"/>
                  </a:moveTo>
                  <a:cubicBezTo>
                    <a:pt x="4943" y="14655"/>
                    <a:pt x="4158" y="14461"/>
                    <a:pt x="3683" y="14655"/>
                  </a:cubicBezTo>
                  <a:cubicBezTo>
                    <a:pt x="3208" y="14740"/>
                    <a:pt x="3683" y="15298"/>
                    <a:pt x="3538" y="15578"/>
                  </a:cubicBezTo>
                  <a:cubicBezTo>
                    <a:pt x="3373" y="15675"/>
                    <a:pt x="2754" y="15578"/>
                    <a:pt x="2589" y="15760"/>
                  </a:cubicBezTo>
                  <a:cubicBezTo>
                    <a:pt x="2423" y="16039"/>
                    <a:pt x="2423" y="16318"/>
                    <a:pt x="2589" y="16501"/>
                  </a:cubicBezTo>
                  <a:cubicBezTo>
                    <a:pt x="2898" y="16780"/>
                    <a:pt x="3683" y="16877"/>
                    <a:pt x="4013" y="17156"/>
                  </a:cubicBezTo>
                  <a:cubicBezTo>
                    <a:pt x="4158" y="17253"/>
                    <a:pt x="4468" y="17435"/>
                    <a:pt x="4323" y="17618"/>
                  </a:cubicBezTo>
                  <a:cubicBezTo>
                    <a:pt x="4323" y="17800"/>
                    <a:pt x="3538" y="17800"/>
                    <a:pt x="3683" y="17994"/>
                  </a:cubicBezTo>
                  <a:cubicBezTo>
                    <a:pt x="3848" y="18261"/>
                    <a:pt x="4468" y="18637"/>
                    <a:pt x="4943" y="18455"/>
                  </a:cubicBezTo>
                  <a:cubicBezTo>
                    <a:pt x="5583" y="18079"/>
                    <a:pt x="4798" y="17435"/>
                    <a:pt x="5418" y="17059"/>
                  </a:cubicBezTo>
                  <a:cubicBezTo>
                    <a:pt x="5727" y="16695"/>
                    <a:pt x="7152" y="16974"/>
                    <a:pt x="7317" y="16501"/>
                  </a:cubicBezTo>
                  <a:cubicBezTo>
                    <a:pt x="7483" y="16136"/>
                    <a:pt x="6202" y="15954"/>
                    <a:pt x="5893" y="15578"/>
                  </a:cubicBezTo>
                  <a:cubicBezTo>
                    <a:pt x="5583" y="15396"/>
                    <a:pt x="5727" y="15019"/>
                    <a:pt x="5418" y="14922"/>
                  </a:cubicBezTo>
                  <a:close/>
                  <a:moveTo>
                    <a:pt x="214" y="19293"/>
                  </a:moveTo>
                  <a:cubicBezTo>
                    <a:pt x="689" y="18820"/>
                    <a:pt x="1639" y="18540"/>
                    <a:pt x="1639" y="18079"/>
                  </a:cubicBezTo>
                  <a:cubicBezTo>
                    <a:pt x="1639" y="17059"/>
                    <a:pt x="524" y="16136"/>
                    <a:pt x="214" y="15116"/>
                  </a:cubicBezTo>
                  <a:cubicBezTo>
                    <a:pt x="69" y="14655"/>
                    <a:pt x="-96" y="14181"/>
                    <a:pt x="69" y="13720"/>
                  </a:cubicBezTo>
                  <a:cubicBezTo>
                    <a:pt x="214" y="13441"/>
                    <a:pt x="998" y="13356"/>
                    <a:pt x="998" y="12979"/>
                  </a:cubicBezTo>
                  <a:cubicBezTo>
                    <a:pt x="1329" y="12336"/>
                    <a:pt x="379" y="11680"/>
                    <a:pt x="854" y="11122"/>
                  </a:cubicBezTo>
                  <a:cubicBezTo>
                    <a:pt x="1329" y="10575"/>
                    <a:pt x="2754" y="10660"/>
                    <a:pt x="3538" y="10381"/>
                  </a:cubicBezTo>
                  <a:cubicBezTo>
                    <a:pt x="3848" y="10199"/>
                    <a:pt x="4158" y="10017"/>
                    <a:pt x="4323" y="9738"/>
                  </a:cubicBezTo>
                  <a:cubicBezTo>
                    <a:pt x="4468" y="9082"/>
                    <a:pt x="4013" y="8341"/>
                    <a:pt x="4323" y="7698"/>
                  </a:cubicBezTo>
                  <a:cubicBezTo>
                    <a:pt x="4468" y="7504"/>
                    <a:pt x="5108" y="7783"/>
                    <a:pt x="5273" y="7601"/>
                  </a:cubicBezTo>
                  <a:cubicBezTo>
                    <a:pt x="5583" y="7321"/>
                    <a:pt x="5583" y="6957"/>
                    <a:pt x="5418" y="6581"/>
                  </a:cubicBezTo>
                  <a:cubicBezTo>
                    <a:pt x="5273" y="6399"/>
                    <a:pt x="4798" y="6399"/>
                    <a:pt x="4633" y="6217"/>
                  </a:cubicBezTo>
                  <a:cubicBezTo>
                    <a:pt x="5108" y="5937"/>
                    <a:pt x="6058" y="5658"/>
                    <a:pt x="6367" y="5282"/>
                  </a:cubicBezTo>
                  <a:cubicBezTo>
                    <a:pt x="6533" y="5099"/>
                    <a:pt x="5727" y="4917"/>
                    <a:pt x="5893" y="4723"/>
                  </a:cubicBezTo>
                  <a:cubicBezTo>
                    <a:pt x="5893" y="4444"/>
                    <a:pt x="6533" y="4359"/>
                    <a:pt x="6842" y="4080"/>
                  </a:cubicBezTo>
                  <a:cubicBezTo>
                    <a:pt x="7008" y="3800"/>
                    <a:pt x="7008" y="3424"/>
                    <a:pt x="7152" y="3060"/>
                  </a:cubicBezTo>
                  <a:cubicBezTo>
                    <a:pt x="7792" y="2878"/>
                    <a:pt x="8267" y="2683"/>
                    <a:pt x="8887" y="2501"/>
                  </a:cubicBezTo>
                  <a:cubicBezTo>
                    <a:pt x="9527" y="2404"/>
                    <a:pt x="10312" y="2598"/>
                    <a:pt x="10787" y="2319"/>
                  </a:cubicBezTo>
                  <a:cubicBezTo>
                    <a:pt x="11406" y="1943"/>
                    <a:pt x="10952" y="1299"/>
                    <a:pt x="11406" y="826"/>
                  </a:cubicBezTo>
                  <a:cubicBezTo>
                    <a:pt x="11737" y="461"/>
                    <a:pt x="12521" y="279"/>
                    <a:pt x="13161" y="0"/>
                  </a:cubicBezTo>
                  <a:cubicBezTo>
                    <a:pt x="13306" y="279"/>
                    <a:pt x="13781" y="559"/>
                    <a:pt x="13946" y="826"/>
                  </a:cubicBezTo>
                  <a:cubicBezTo>
                    <a:pt x="13946" y="923"/>
                    <a:pt x="13471" y="1105"/>
                    <a:pt x="13636" y="1202"/>
                  </a:cubicBezTo>
                  <a:cubicBezTo>
                    <a:pt x="14256" y="1299"/>
                    <a:pt x="14896" y="1105"/>
                    <a:pt x="15515" y="1202"/>
                  </a:cubicBezTo>
                  <a:cubicBezTo>
                    <a:pt x="16156" y="1202"/>
                    <a:pt x="16775" y="1384"/>
                    <a:pt x="17250" y="1481"/>
                  </a:cubicBezTo>
                  <a:cubicBezTo>
                    <a:pt x="17085" y="1761"/>
                    <a:pt x="16465" y="2040"/>
                    <a:pt x="16631" y="2404"/>
                  </a:cubicBezTo>
                  <a:cubicBezTo>
                    <a:pt x="16940" y="2683"/>
                    <a:pt x="18035" y="2683"/>
                    <a:pt x="18200" y="3060"/>
                  </a:cubicBezTo>
                  <a:cubicBezTo>
                    <a:pt x="18365" y="3521"/>
                    <a:pt x="17250" y="3897"/>
                    <a:pt x="17415" y="4359"/>
                  </a:cubicBezTo>
                  <a:cubicBezTo>
                    <a:pt x="17560" y="4638"/>
                    <a:pt x="18510" y="4541"/>
                    <a:pt x="18675" y="4820"/>
                  </a:cubicBezTo>
                  <a:cubicBezTo>
                    <a:pt x="19150" y="5282"/>
                    <a:pt x="19150" y="5937"/>
                    <a:pt x="19150" y="6399"/>
                  </a:cubicBezTo>
                  <a:cubicBezTo>
                    <a:pt x="19150" y="6581"/>
                    <a:pt x="18675" y="6678"/>
                    <a:pt x="18675" y="6763"/>
                  </a:cubicBezTo>
                  <a:cubicBezTo>
                    <a:pt x="18365" y="7236"/>
                    <a:pt x="17415" y="7880"/>
                    <a:pt x="18035" y="8062"/>
                  </a:cubicBezTo>
                  <a:cubicBezTo>
                    <a:pt x="18840" y="8438"/>
                    <a:pt x="20100" y="7698"/>
                    <a:pt x="21050" y="7698"/>
                  </a:cubicBezTo>
                  <a:cubicBezTo>
                    <a:pt x="21194" y="7698"/>
                    <a:pt x="21359" y="7880"/>
                    <a:pt x="21359" y="8062"/>
                  </a:cubicBezTo>
                  <a:cubicBezTo>
                    <a:pt x="21504" y="8341"/>
                    <a:pt x="21504" y="8718"/>
                    <a:pt x="21194" y="8997"/>
                  </a:cubicBezTo>
                  <a:cubicBezTo>
                    <a:pt x="20884" y="9276"/>
                    <a:pt x="19935" y="8997"/>
                    <a:pt x="19625" y="9276"/>
                  </a:cubicBezTo>
                  <a:cubicBezTo>
                    <a:pt x="19150" y="9555"/>
                    <a:pt x="18985" y="9920"/>
                    <a:pt x="18985" y="10296"/>
                  </a:cubicBezTo>
                  <a:cubicBezTo>
                    <a:pt x="19150" y="10478"/>
                    <a:pt x="19935" y="10381"/>
                    <a:pt x="19935" y="10575"/>
                  </a:cubicBezTo>
                  <a:cubicBezTo>
                    <a:pt x="20100" y="10842"/>
                    <a:pt x="19769" y="11122"/>
                    <a:pt x="19625" y="11401"/>
                  </a:cubicBezTo>
                  <a:cubicBezTo>
                    <a:pt x="19460" y="11680"/>
                    <a:pt x="18985" y="11862"/>
                    <a:pt x="18675" y="12142"/>
                  </a:cubicBezTo>
                  <a:cubicBezTo>
                    <a:pt x="18365" y="12336"/>
                    <a:pt x="17890" y="12518"/>
                    <a:pt x="17890" y="12797"/>
                  </a:cubicBezTo>
                  <a:cubicBezTo>
                    <a:pt x="17890" y="13174"/>
                    <a:pt x="18675" y="13441"/>
                    <a:pt x="18365" y="13720"/>
                  </a:cubicBezTo>
                  <a:cubicBezTo>
                    <a:pt x="18200" y="13999"/>
                    <a:pt x="17250" y="13817"/>
                    <a:pt x="16775" y="13999"/>
                  </a:cubicBezTo>
                  <a:cubicBezTo>
                    <a:pt x="16156" y="14376"/>
                    <a:pt x="15825" y="14922"/>
                    <a:pt x="15371" y="15396"/>
                  </a:cubicBezTo>
                  <a:cubicBezTo>
                    <a:pt x="14896" y="15675"/>
                    <a:pt x="14256" y="15954"/>
                    <a:pt x="13946" y="16318"/>
                  </a:cubicBezTo>
                  <a:cubicBezTo>
                    <a:pt x="13306" y="16780"/>
                    <a:pt x="13306" y="17435"/>
                    <a:pt x="12686" y="17897"/>
                  </a:cubicBezTo>
                  <a:cubicBezTo>
                    <a:pt x="12356" y="18079"/>
                    <a:pt x="11881" y="18176"/>
                    <a:pt x="11571" y="18358"/>
                  </a:cubicBezTo>
                  <a:cubicBezTo>
                    <a:pt x="11262" y="18637"/>
                    <a:pt x="11096" y="18917"/>
                    <a:pt x="10787" y="19196"/>
                  </a:cubicBezTo>
                  <a:cubicBezTo>
                    <a:pt x="10477" y="19560"/>
                    <a:pt x="10312" y="20119"/>
                    <a:pt x="9692" y="20495"/>
                  </a:cubicBezTo>
                  <a:cubicBezTo>
                    <a:pt x="9217" y="20677"/>
                    <a:pt x="8432" y="20592"/>
                    <a:pt x="7792" y="20592"/>
                  </a:cubicBezTo>
                  <a:cubicBezTo>
                    <a:pt x="7317" y="20592"/>
                    <a:pt x="6842" y="20495"/>
                    <a:pt x="6202" y="20495"/>
                  </a:cubicBezTo>
                  <a:cubicBezTo>
                    <a:pt x="5583" y="20592"/>
                    <a:pt x="5108" y="20774"/>
                    <a:pt x="4468" y="20956"/>
                  </a:cubicBezTo>
                  <a:cubicBezTo>
                    <a:pt x="3848" y="21054"/>
                    <a:pt x="3373" y="21418"/>
                    <a:pt x="2754" y="21515"/>
                  </a:cubicBezTo>
                  <a:cubicBezTo>
                    <a:pt x="2114" y="21600"/>
                    <a:pt x="1164" y="21600"/>
                    <a:pt x="689" y="21236"/>
                  </a:cubicBezTo>
                  <a:cubicBezTo>
                    <a:pt x="69" y="20677"/>
                    <a:pt x="379" y="19937"/>
                    <a:pt x="214" y="19293"/>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6" name="Shape 2380">
              <a:extLst>
                <a:ext uri="{FF2B5EF4-FFF2-40B4-BE49-F238E27FC236}">
                  <a16:creationId xmlns:a16="http://schemas.microsoft.com/office/drawing/2014/main" id="{F3315913-80FB-CAED-0706-A8510ECA6891}"/>
                </a:ext>
              </a:extLst>
            </p:cNvPr>
            <p:cNvSpPr/>
            <p:nvPr/>
          </p:nvSpPr>
          <p:spPr>
            <a:xfrm>
              <a:off x="3661860" y="6068391"/>
              <a:ext cx="79762" cy="108705"/>
            </a:xfrm>
            <a:custGeom>
              <a:avLst/>
              <a:gdLst/>
              <a:ahLst/>
              <a:cxnLst>
                <a:cxn ang="0">
                  <a:pos x="wd2" y="hd2"/>
                </a:cxn>
                <a:cxn ang="5400000">
                  <a:pos x="wd2" y="hd2"/>
                </a:cxn>
                <a:cxn ang="10800000">
                  <a:pos x="wd2" y="hd2"/>
                </a:cxn>
                <a:cxn ang="16200000">
                  <a:pos x="wd2" y="hd2"/>
                </a:cxn>
              </a:cxnLst>
              <a:rect l="0" t="0" r="r" b="b"/>
              <a:pathLst>
                <a:path w="20781" h="20309" extrusionOk="0">
                  <a:moveTo>
                    <a:pt x="12608" y="1789"/>
                  </a:moveTo>
                  <a:cubicBezTo>
                    <a:pt x="10580" y="408"/>
                    <a:pt x="7230" y="-597"/>
                    <a:pt x="5202" y="408"/>
                  </a:cubicBezTo>
                  <a:cubicBezTo>
                    <a:pt x="3174" y="847"/>
                    <a:pt x="5202" y="3736"/>
                    <a:pt x="4585" y="5180"/>
                  </a:cubicBezTo>
                  <a:cubicBezTo>
                    <a:pt x="3880" y="5682"/>
                    <a:pt x="1235" y="5180"/>
                    <a:pt x="529" y="6122"/>
                  </a:cubicBezTo>
                  <a:cubicBezTo>
                    <a:pt x="-176" y="7566"/>
                    <a:pt x="-176" y="9010"/>
                    <a:pt x="529" y="9952"/>
                  </a:cubicBezTo>
                  <a:cubicBezTo>
                    <a:pt x="1852" y="11396"/>
                    <a:pt x="5202" y="11898"/>
                    <a:pt x="6613" y="13343"/>
                  </a:cubicBezTo>
                  <a:cubicBezTo>
                    <a:pt x="7230" y="13845"/>
                    <a:pt x="8552" y="14787"/>
                    <a:pt x="7935" y="15729"/>
                  </a:cubicBezTo>
                  <a:cubicBezTo>
                    <a:pt x="7935" y="16670"/>
                    <a:pt x="4585" y="16670"/>
                    <a:pt x="5202" y="17675"/>
                  </a:cubicBezTo>
                  <a:cubicBezTo>
                    <a:pt x="5907" y="19056"/>
                    <a:pt x="8552" y="21003"/>
                    <a:pt x="10580" y="20061"/>
                  </a:cubicBezTo>
                  <a:cubicBezTo>
                    <a:pt x="13313" y="18115"/>
                    <a:pt x="9963" y="14787"/>
                    <a:pt x="12608" y="12840"/>
                  </a:cubicBezTo>
                  <a:cubicBezTo>
                    <a:pt x="13930" y="10956"/>
                    <a:pt x="20013" y="12401"/>
                    <a:pt x="20719" y="9952"/>
                  </a:cubicBezTo>
                  <a:cubicBezTo>
                    <a:pt x="21424" y="8068"/>
                    <a:pt x="15958" y="7126"/>
                    <a:pt x="14635" y="5180"/>
                  </a:cubicBezTo>
                  <a:cubicBezTo>
                    <a:pt x="13313" y="4238"/>
                    <a:pt x="13930" y="2291"/>
                    <a:pt x="12608" y="178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7" name="Shape 2381">
              <a:extLst>
                <a:ext uri="{FF2B5EF4-FFF2-40B4-BE49-F238E27FC236}">
                  <a16:creationId xmlns:a16="http://schemas.microsoft.com/office/drawing/2014/main" id="{2319BBC4-2966-ED53-29BA-F03C4F81F300}"/>
                </a:ext>
              </a:extLst>
            </p:cNvPr>
            <p:cNvSpPr/>
            <p:nvPr/>
          </p:nvSpPr>
          <p:spPr>
            <a:xfrm>
              <a:off x="3872263" y="5563269"/>
              <a:ext cx="653762" cy="837553"/>
            </a:xfrm>
            <a:custGeom>
              <a:avLst/>
              <a:gdLst/>
              <a:ahLst/>
              <a:cxnLst>
                <a:cxn ang="0">
                  <a:pos x="wd2" y="hd2"/>
                </a:cxn>
                <a:cxn ang="5400000">
                  <a:pos x="wd2" y="hd2"/>
                </a:cxn>
                <a:cxn ang="10800000">
                  <a:pos x="wd2" y="hd2"/>
                </a:cxn>
                <a:cxn ang="16200000">
                  <a:pos x="wd2" y="hd2"/>
                </a:cxn>
              </a:cxnLst>
              <a:rect l="0" t="0" r="r" b="b"/>
              <a:pathLst>
                <a:path w="20798" h="21548" extrusionOk="0">
                  <a:moveTo>
                    <a:pt x="0" y="13602"/>
                  </a:moveTo>
                  <a:cubicBezTo>
                    <a:pt x="236" y="13264"/>
                    <a:pt x="407" y="12873"/>
                    <a:pt x="729" y="12604"/>
                  </a:cubicBezTo>
                  <a:cubicBezTo>
                    <a:pt x="975" y="12474"/>
                    <a:pt x="1468" y="12604"/>
                    <a:pt x="1554" y="12405"/>
                  </a:cubicBezTo>
                  <a:cubicBezTo>
                    <a:pt x="1714" y="12205"/>
                    <a:pt x="1307" y="12015"/>
                    <a:pt x="1307" y="11746"/>
                  </a:cubicBezTo>
                  <a:cubicBezTo>
                    <a:pt x="1307" y="11546"/>
                    <a:pt x="1554" y="11416"/>
                    <a:pt x="1714" y="11277"/>
                  </a:cubicBezTo>
                  <a:cubicBezTo>
                    <a:pt x="1875" y="11078"/>
                    <a:pt x="2121" y="10948"/>
                    <a:pt x="2207" y="10748"/>
                  </a:cubicBezTo>
                  <a:cubicBezTo>
                    <a:pt x="2282" y="10548"/>
                    <a:pt x="2454" y="10349"/>
                    <a:pt x="2368" y="10158"/>
                  </a:cubicBezTo>
                  <a:cubicBezTo>
                    <a:pt x="2368" y="10019"/>
                    <a:pt x="1961" y="10089"/>
                    <a:pt x="1875" y="9959"/>
                  </a:cubicBezTo>
                  <a:cubicBezTo>
                    <a:pt x="1875" y="9690"/>
                    <a:pt x="1961" y="9429"/>
                    <a:pt x="2207" y="9230"/>
                  </a:cubicBezTo>
                  <a:cubicBezTo>
                    <a:pt x="2368" y="9030"/>
                    <a:pt x="2861" y="9230"/>
                    <a:pt x="3021" y="9030"/>
                  </a:cubicBezTo>
                  <a:cubicBezTo>
                    <a:pt x="3182" y="8831"/>
                    <a:pt x="3182" y="8562"/>
                    <a:pt x="3107" y="8362"/>
                  </a:cubicBezTo>
                  <a:cubicBezTo>
                    <a:pt x="3107" y="8232"/>
                    <a:pt x="3021" y="8102"/>
                    <a:pt x="2946" y="8102"/>
                  </a:cubicBezTo>
                  <a:cubicBezTo>
                    <a:pt x="2454" y="8102"/>
                    <a:pt x="1800" y="8631"/>
                    <a:pt x="1382" y="8362"/>
                  </a:cubicBezTo>
                  <a:cubicBezTo>
                    <a:pt x="1061" y="8232"/>
                    <a:pt x="1554" y="7773"/>
                    <a:pt x="1714" y="7434"/>
                  </a:cubicBezTo>
                  <a:cubicBezTo>
                    <a:pt x="1714" y="7374"/>
                    <a:pt x="1961" y="7304"/>
                    <a:pt x="1961" y="7174"/>
                  </a:cubicBezTo>
                  <a:cubicBezTo>
                    <a:pt x="1961" y="6844"/>
                    <a:pt x="1961" y="6376"/>
                    <a:pt x="1714" y="6046"/>
                  </a:cubicBezTo>
                  <a:cubicBezTo>
                    <a:pt x="1629" y="5847"/>
                    <a:pt x="1136" y="5916"/>
                    <a:pt x="1061" y="5717"/>
                  </a:cubicBezTo>
                  <a:cubicBezTo>
                    <a:pt x="975" y="5387"/>
                    <a:pt x="1554" y="5118"/>
                    <a:pt x="1468" y="4788"/>
                  </a:cubicBezTo>
                  <a:cubicBezTo>
                    <a:pt x="1382" y="4520"/>
                    <a:pt x="814" y="4520"/>
                    <a:pt x="654" y="4320"/>
                  </a:cubicBezTo>
                  <a:cubicBezTo>
                    <a:pt x="568" y="4060"/>
                    <a:pt x="889" y="3860"/>
                    <a:pt x="975" y="3661"/>
                  </a:cubicBezTo>
                  <a:cubicBezTo>
                    <a:pt x="1468" y="3132"/>
                    <a:pt x="1714" y="2403"/>
                    <a:pt x="2454" y="2073"/>
                  </a:cubicBezTo>
                  <a:cubicBezTo>
                    <a:pt x="2946" y="1874"/>
                    <a:pt x="3675" y="2073"/>
                    <a:pt x="4007" y="2403"/>
                  </a:cubicBezTo>
                  <a:cubicBezTo>
                    <a:pt x="4329" y="2663"/>
                    <a:pt x="3600" y="3461"/>
                    <a:pt x="4082" y="3661"/>
                  </a:cubicBezTo>
                  <a:cubicBezTo>
                    <a:pt x="4821" y="3860"/>
                    <a:pt x="5721" y="3461"/>
                    <a:pt x="6300" y="3132"/>
                  </a:cubicBezTo>
                  <a:cubicBezTo>
                    <a:pt x="6621" y="3001"/>
                    <a:pt x="6054" y="2533"/>
                    <a:pt x="6300" y="2403"/>
                  </a:cubicBezTo>
                  <a:cubicBezTo>
                    <a:pt x="6707" y="2134"/>
                    <a:pt x="7361" y="2403"/>
                    <a:pt x="7768" y="2134"/>
                  </a:cubicBezTo>
                  <a:cubicBezTo>
                    <a:pt x="7929" y="1935"/>
                    <a:pt x="7436" y="1744"/>
                    <a:pt x="7200" y="1605"/>
                  </a:cubicBezTo>
                  <a:cubicBezTo>
                    <a:pt x="6868" y="1544"/>
                    <a:pt x="6300" y="1874"/>
                    <a:pt x="6214" y="1605"/>
                  </a:cubicBezTo>
                  <a:cubicBezTo>
                    <a:pt x="6129" y="1275"/>
                    <a:pt x="6707" y="1076"/>
                    <a:pt x="7029" y="1006"/>
                  </a:cubicBezTo>
                  <a:cubicBezTo>
                    <a:pt x="7607" y="946"/>
                    <a:pt x="8261" y="1405"/>
                    <a:pt x="8839" y="1206"/>
                  </a:cubicBezTo>
                  <a:cubicBezTo>
                    <a:pt x="9246" y="1006"/>
                    <a:pt x="9000" y="416"/>
                    <a:pt x="9246" y="87"/>
                  </a:cubicBezTo>
                  <a:cubicBezTo>
                    <a:pt x="9246" y="-52"/>
                    <a:pt x="9493" y="17"/>
                    <a:pt x="9654" y="17"/>
                  </a:cubicBezTo>
                  <a:cubicBezTo>
                    <a:pt x="10146" y="416"/>
                    <a:pt x="10800" y="677"/>
                    <a:pt x="11046" y="1145"/>
                  </a:cubicBezTo>
                  <a:cubicBezTo>
                    <a:pt x="11207" y="1405"/>
                    <a:pt x="10629" y="1744"/>
                    <a:pt x="10800" y="2004"/>
                  </a:cubicBezTo>
                  <a:cubicBezTo>
                    <a:pt x="10875" y="2472"/>
                    <a:pt x="11368" y="2802"/>
                    <a:pt x="11614" y="3192"/>
                  </a:cubicBezTo>
                  <a:cubicBezTo>
                    <a:pt x="11861" y="3461"/>
                    <a:pt x="11946" y="3860"/>
                    <a:pt x="12268" y="3990"/>
                  </a:cubicBezTo>
                  <a:cubicBezTo>
                    <a:pt x="12514" y="4060"/>
                    <a:pt x="12846" y="3791"/>
                    <a:pt x="12921" y="3591"/>
                  </a:cubicBezTo>
                  <a:cubicBezTo>
                    <a:pt x="12921" y="3392"/>
                    <a:pt x="12514" y="3331"/>
                    <a:pt x="12514" y="3192"/>
                  </a:cubicBezTo>
                  <a:cubicBezTo>
                    <a:pt x="12600" y="3001"/>
                    <a:pt x="13007" y="2863"/>
                    <a:pt x="13168" y="2663"/>
                  </a:cubicBezTo>
                  <a:cubicBezTo>
                    <a:pt x="13254" y="2533"/>
                    <a:pt x="13168" y="2273"/>
                    <a:pt x="13414" y="2134"/>
                  </a:cubicBezTo>
                  <a:cubicBezTo>
                    <a:pt x="13821" y="1804"/>
                    <a:pt x="14229" y="1804"/>
                    <a:pt x="14721" y="1544"/>
                  </a:cubicBezTo>
                  <a:cubicBezTo>
                    <a:pt x="15139" y="1874"/>
                    <a:pt x="15461" y="2134"/>
                    <a:pt x="16114" y="2403"/>
                  </a:cubicBezTo>
                  <a:cubicBezTo>
                    <a:pt x="17014" y="2802"/>
                    <a:pt x="18000" y="3730"/>
                    <a:pt x="18246" y="4520"/>
                  </a:cubicBezTo>
                  <a:cubicBezTo>
                    <a:pt x="18568" y="5387"/>
                    <a:pt x="19221" y="6376"/>
                    <a:pt x="19714" y="7174"/>
                  </a:cubicBezTo>
                  <a:cubicBezTo>
                    <a:pt x="19800" y="7963"/>
                    <a:pt x="21600" y="11277"/>
                    <a:pt x="20368" y="11876"/>
                  </a:cubicBezTo>
                  <a:cubicBezTo>
                    <a:pt x="19468" y="12344"/>
                    <a:pt x="18654" y="12934"/>
                    <a:pt x="17839" y="13602"/>
                  </a:cubicBezTo>
                  <a:cubicBezTo>
                    <a:pt x="17100" y="14201"/>
                    <a:pt x="16607" y="14990"/>
                    <a:pt x="15868" y="15588"/>
                  </a:cubicBezTo>
                  <a:cubicBezTo>
                    <a:pt x="15621" y="15719"/>
                    <a:pt x="15461" y="16118"/>
                    <a:pt x="15461" y="16387"/>
                  </a:cubicBezTo>
                  <a:cubicBezTo>
                    <a:pt x="17100" y="16716"/>
                    <a:pt x="17175" y="16916"/>
                    <a:pt x="18332" y="17844"/>
                  </a:cubicBezTo>
                  <a:cubicBezTo>
                    <a:pt x="18407" y="17905"/>
                    <a:pt x="18654" y="18035"/>
                    <a:pt x="18986" y="18174"/>
                  </a:cubicBezTo>
                  <a:cubicBezTo>
                    <a:pt x="18900" y="18373"/>
                    <a:pt x="18654" y="18573"/>
                    <a:pt x="18654" y="18763"/>
                  </a:cubicBezTo>
                  <a:cubicBezTo>
                    <a:pt x="18654" y="18902"/>
                    <a:pt x="18986" y="19032"/>
                    <a:pt x="18900" y="19162"/>
                  </a:cubicBezTo>
                  <a:cubicBezTo>
                    <a:pt x="18739" y="19431"/>
                    <a:pt x="18332" y="19501"/>
                    <a:pt x="18000" y="19631"/>
                  </a:cubicBezTo>
                  <a:cubicBezTo>
                    <a:pt x="17668" y="19761"/>
                    <a:pt x="17346" y="19761"/>
                    <a:pt x="17014" y="19891"/>
                  </a:cubicBezTo>
                  <a:cubicBezTo>
                    <a:pt x="16607" y="19830"/>
                    <a:pt x="16200" y="19631"/>
                    <a:pt x="15707" y="19631"/>
                  </a:cubicBezTo>
                  <a:cubicBezTo>
                    <a:pt x="15386" y="19631"/>
                    <a:pt x="15054" y="19830"/>
                    <a:pt x="14893" y="20030"/>
                  </a:cubicBezTo>
                  <a:cubicBezTo>
                    <a:pt x="14721" y="20290"/>
                    <a:pt x="14968" y="20689"/>
                    <a:pt x="14721" y="20889"/>
                  </a:cubicBezTo>
                  <a:cubicBezTo>
                    <a:pt x="14475" y="21088"/>
                    <a:pt x="13993" y="21019"/>
                    <a:pt x="13661" y="21088"/>
                  </a:cubicBezTo>
                  <a:cubicBezTo>
                    <a:pt x="13254" y="21019"/>
                    <a:pt x="12846" y="20819"/>
                    <a:pt x="12439" y="20889"/>
                  </a:cubicBezTo>
                  <a:cubicBezTo>
                    <a:pt x="12021" y="20949"/>
                    <a:pt x="11775" y="21418"/>
                    <a:pt x="11368" y="21487"/>
                  </a:cubicBezTo>
                  <a:cubicBezTo>
                    <a:pt x="11046" y="21487"/>
                    <a:pt x="10800" y="21149"/>
                    <a:pt x="10382" y="21149"/>
                  </a:cubicBezTo>
                  <a:cubicBezTo>
                    <a:pt x="10146" y="21088"/>
                    <a:pt x="9975" y="21418"/>
                    <a:pt x="9729" y="21418"/>
                  </a:cubicBezTo>
                  <a:cubicBezTo>
                    <a:pt x="9321" y="21348"/>
                    <a:pt x="9000" y="20949"/>
                    <a:pt x="8593" y="20949"/>
                  </a:cubicBezTo>
                  <a:cubicBezTo>
                    <a:pt x="8175" y="21019"/>
                    <a:pt x="8014" y="21548"/>
                    <a:pt x="7521" y="21548"/>
                  </a:cubicBezTo>
                  <a:cubicBezTo>
                    <a:pt x="7114" y="21548"/>
                    <a:pt x="6868" y="21149"/>
                    <a:pt x="6461" y="21088"/>
                  </a:cubicBezTo>
                  <a:cubicBezTo>
                    <a:pt x="6054" y="20949"/>
                    <a:pt x="5561" y="21019"/>
                    <a:pt x="5068" y="20949"/>
                  </a:cubicBezTo>
                  <a:cubicBezTo>
                    <a:pt x="4907" y="20819"/>
                    <a:pt x="4329" y="20689"/>
                    <a:pt x="4489" y="20490"/>
                  </a:cubicBezTo>
                  <a:cubicBezTo>
                    <a:pt x="4821" y="20160"/>
                    <a:pt x="5646" y="20229"/>
                    <a:pt x="6054" y="19891"/>
                  </a:cubicBezTo>
                  <a:cubicBezTo>
                    <a:pt x="6129" y="19830"/>
                    <a:pt x="6129" y="19561"/>
                    <a:pt x="5968" y="19501"/>
                  </a:cubicBezTo>
                  <a:cubicBezTo>
                    <a:pt x="5561" y="19362"/>
                    <a:pt x="5068" y="19631"/>
                    <a:pt x="4661" y="19501"/>
                  </a:cubicBezTo>
                  <a:cubicBezTo>
                    <a:pt x="4329" y="19301"/>
                    <a:pt x="4329" y="18833"/>
                    <a:pt x="3921" y="18703"/>
                  </a:cubicBezTo>
                  <a:cubicBezTo>
                    <a:pt x="3354" y="18434"/>
                    <a:pt x="2700" y="18573"/>
                    <a:pt x="2036" y="18503"/>
                  </a:cubicBezTo>
                  <a:cubicBezTo>
                    <a:pt x="1961" y="18104"/>
                    <a:pt x="1961" y="17705"/>
                    <a:pt x="1714" y="17375"/>
                  </a:cubicBezTo>
                  <a:cubicBezTo>
                    <a:pt x="1554" y="16916"/>
                    <a:pt x="1136" y="16517"/>
                    <a:pt x="814" y="16118"/>
                  </a:cubicBezTo>
                  <a:cubicBezTo>
                    <a:pt x="814" y="16118"/>
                    <a:pt x="236" y="15320"/>
                    <a:pt x="161" y="15259"/>
                  </a:cubicBezTo>
                  <a:cubicBezTo>
                    <a:pt x="161" y="15189"/>
                    <a:pt x="321" y="14261"/>
                    <a:pt x="321" y="14261"/>
                  </a:cubicBezTo>
                  <a:cubicBezTo>
                    <a:pt x="236" y="14062"/>
                    <a:pt x="161" y="13801"/>
                    <a:pt x="0" y="13602"/>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8" name="Shape 2382">
              <a:extLst>
                <a:ext uri="{FF2B5EF4-FFF2-40B4-BE49-F238E27FC236}">
                  <a16:creationId xmlns:a16="http://schemas.microsoft.com/office/drawing/2014/main" id="{5E2BCF7E-F13A-8A97-9D72-1A00DF7D2C8F}"/>
                </a:ext>
              </a:extLst>
            </p:cNvPr>
            <p:cNvSpPr/>
            <p:nvPr/>
          </p:nvSpPr>
          <p:spPr>
            <a:xfrm>
              <a:off x="3560104" y="5652244"/>
              <a:ext cx="178040" cy="188141"/>
            </a:xfrm>
            <a:custGeom>
              <a:avLst/>
              <a:gdLst/>
              <a:ahLst/>
              <a:cxnLst>
                <a:cxn ang="0">
                  <a:pos x="wd2" y="hd2"/>
                </a:cxn>
                <a:cxn ang="5400000">
                  <a:pos x="wd2" y="hd2"/>
                </a:cxn>
                <a:cxn ang="10800000">
                  <a:pos x="wd2" y="hd2"/>
                </a:cxn>
                <a:cxn ang="16200000">
                  <a:pos x="wd2" y="hd2"/>
                </a:cxn>
              </a:cxnLst>
              <a:rect l="0" t="0" r="r" b="b"/>
              <a:pathLst>
                <a:path w="21600" h="21395" extrusionOk="0">
                  <a:moveTo>
                    <a:pt x="0" y="3847"/>
                  </a:moveTo>
                  <a:cubicBezTo>
                    <a:pt x="656" y="5338"/>
                    <a:pt x="943" y="7365"/>
                    <a:pt x="1885" y="8550"/>
                  </a:cubicBezTo>
                  <a:cubicBezTo>
                    <a:pt x="2500" y="9123"/>
                    <a:pt x="3771" y="8550"/>
                    <a:pt x="4386" y="9123"/>
                  </a:cubicBezTo>
                  <a:cubicBezTo>
                    <a:pt x="4713" y="9697"/>
                    <a:pt x="4099" y="10882"/>
                    <a:pt x="4386" y="11455"/>
                  </a:cubicBezTo>
                  <a:cubicBezTo>
                    <a:pt x="4713" y="12334"/>
                    <a:pt x="5000" y="13520"/>
                    <a:pt x="5656" y="14093"/>
                  </a:cubicBezTo>
                  <a:cubicBezTo>
                    <a:pt x="5943" y="14972"/>
                    <a:pt x="6886" y="15240"/>
                    <a:pt x="7542" y="15852"/>
                  </a:cubicBezTo>
                  <a:cubicBezTo>
                    <a:pt x="8156" y="16731"/>
                    <a:pt x="8156" y="17572"/>
                    <a:pt x="8443" y="18451"/>
                  </a:cubicBezTo>
                  <a:cubicBezTo>
                    <a:pt x="9386" y="18451"/>
                    <a:pt x="10329" y="18184"/>
                    <a:pt x="10984" y="18451"/>
                  </a:cubicBezTo>
                  <a:cubicBezTo>
                    <a:pt x="11271" y="19063"/>
                    <a:pt x="10657" y="19942"/>
                    <a:pt x="10984" y="20516"/>
                  </a:cubicBezTo>
                  <a:cubicBezTo>
                    <a:pt x="11599" y="21089"/>
                    <a:pt x="12542" y="21395"/>
                    <a:pt x="13485" y="21395"/>
                  </a:cubicBezTo>
                  <a:cubicBezTo>
                    <a:pt x="14427" y="21395"/>
                    <a:pt x="15370" y="21089"/>
                    <a:pt x="16600" y="20822"/>
                  </a:cubicBezTo>
                  <a:cubicBezTo>
                    <a:pt x="17542" y="19942"/>
                    <a:pt x="19428" y="19063"/>
                    <a:pt x="20043" y="17878"/>
                  </a:cubicBezTo>
                  <a:cubicBezTo>
                    <a:pt x="20370" y="17304"/>
                    <a:pt x="18772" y="16731"/>
                    <a:pt x="19100" y="16119"/>
                  </a:cubicBezTo>
                  <a:cubicBezTo>
                    <a:pt x="19100" y="15240"/>
                    <a:pt x="20370" y="14972"/>
                    <a:pt x="20985" y="14093"/>
                  </a:cubicBezTo>
                  <a:cubicBezTo>
                    <a:pt x="21313" y="13214"/>
                    <a:pt x="21313" y="12029"/>
                    <a:pt x="21600" y="10882"/>
                  </a:cubicBezTo>
                  <a:cubicBezTo>
                    <a:pt x="20985" y="10308"/>
                    <a:pt x="20657" y="9429"/>
                    <a:pt x="20043" y="8817"/>
                  </a:cubicBezTo>
                  <a:cubicBezTo>
                    <a:pt x="19428" y="8550"/>
                    <a:pt x="18485" y="8550"/>
                    <a:pt x="17870" y="8244"/>
                  </a:cubicBezTo>
                  <a:cubicBezTo>
                    <a:pt x="15985" y="7670"/>
                    <a:pt x="13772" y="7670"/>
                    <a:pt x="12542" y="6485"/>
                  </a:cubicBezTo>
                  <a:cubicBezTo>
                    <a:pt x="11599" y="5606"/>
                    <a:pt x="13485" y="3847"/>
                    <a:pt x="12870" y="3006"/>
                  </a:cubicBezTo>
                  <a:cubicBezTo>
                    <a:pt x="12214" y="2127"/>
                    <a:pt x="10984" y="4153"/>
                    <a:pt x="10042" y="3847"/>
                  </a:cubicBezTo>
                  <a:cubicBezTo>
                    <a:pt x="9099" y="3580"/>
                    <a:pt x="9099" y="2395"/>
                    <a:pt x="9099" y="1821"/>
                  </a:cubicBezTo>
                  <a:cubicBezTo>
                    <a:pt x="8771" y="1248"/>
                    <a:pt x="9099" y="674"/>
                    <a:pt x="9099" y="63"/>
                  </a:cubicBezTo>
                  <a:cubicBezTo>
                    <a:pt x="7828" y="63"/>
                    <a:pt x="6271" y="-205"/>
                    <a:pt x="4713" y="368"/>
                  </a:cubicBezTo>
                  <a:cubicBezTo>
                    <a:pt x="3771" y="674"/>
                    <a:pt x="3443" y="1821"/>
                    <a:pt x="2500" y="2395"/>
                  </a:cubicBezTo>
                  <a:cubicBezTo>
                    <a:pt x="1885" y="2395"/>
                    <a:pt x="1271" y="2127"/>
                    <a:pt x="943" y="2395"/>
                  </a:cubicBezTo>
                  <a:cubicBezTo>
                    <a:pt x="328" y="2700"/>
                    <a:pt x="328" y="3274"/>
                    <a:pt x="0" y="384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9" name="Shape 2383">
              <a:extLst>
                <a:ext uri="{FF2B5EF4-FFF2-40B4-BE49-F238E27FC236}">
                  <a16:creationId xmlns:a16="http://schemas.microsoft.com/office/drawing/2014/main" id="{9E8D42EC-1509-182A-8A3F-D249F9DA16F5}"/>
                </a:ext>
              </a:extLst>
            </p:cNvPr>
            <p:cNvSpPr/>
            <p:nvPr/>
          </p:nvSpPr>
          <p:spPr>
            <a:xfrm>
              <a:off x="3369836" y="5567614"/>
              <a:ext cx="281816" cy="151641"/>
            </a:xfrm>
            <a:custGeom>
              <a:avLst/>
              <a:gdLst/>
              <a:ahLst/>
              <a:cxnLst>
                <a:cxn ang="0">
                  <a:pos x="wd2" y="hd2"/>
                </a:cxn>
                <a:cxn ang="5400000">
                  <a:pos x="wd2" y="hd2"/>
                </a:cxn>
                <a:cxn ang="10800000">
                  <a:pos x="wd2" y="hd2"/>
                </a:cxn>
                <a:cxn ang="16200000">
                  <a:pos x="wd2" y="hd2"/>
                </a:cxn>
              </a:cxnLst>
              <a:rect l="0" t="0" r="r" b="b"/>
              <a:pathLst>
                <a:path w="21466" h="20831" extrusionOk="0">
                  <a:moveTo>
                    <a:pt x="0" y="10701"/>
                  </a:moveTo>
                  <a:cubicBezTo>
                    <a:pt x="206" y="11444"/>
                    <a:pt x="591" y="12141"/>
                    <a:pt x="797" y="12837"/>
                  </a:cubicBezTo>
                  <a:cubicBezTo>
                    <a:pt x="977" y="13906"/>
                    <a:pt x="797" y="14603"/>
                    <a:pt x="797" y="15671"/>
                  </a:cubicBezTo>
                  <a:cubicBezTo>
                    <a:pt x="1569" y="15671"/>
                    <a:pt x="2366" y="16043"/>
                    <a:pt x="3137" y="15671"/>
                  </a:cubicBezTo>
                  <a:cubicBezTo>
                    <a:pt x="3729" y="15346"/>
                    <a:pt x="3934" y="13906"/>
                    <a:pt x="4526" y="13906"/>
                  </a:cubicBezTo>
                  <a:cubicBezTo>
                    <a:pt x="6300" y="13534"/>
                    <a:pt x="8049" y="14277"/>
                    <a:pt x="9823" y="14974"/>
                  </a:cubicBezTo>
                  <a:cubicBezTo>
                    <a:pt x="10209" y="15346"/>
                    <a:pt x="10414" y="16368"/>
                    <a:pt x="10594" y="17111"/>
                  </a:cubicBezTo>
                  <a:cubicBezTo>
                    <a:pt x="10800" y="17808"/>
                    <a:pt x="10594" y="18504"/>
                    <a:pt x="10800" y="19248"/>
                  </a:cubicBezTo>
                  <a:cubicBezTo>
                    <a:pt x="11006" y="19944"/>
                    <a:pt x="11186" y="21338"/>
                    <a:pt x="11391" y="20641"/>
                  </a:cubicBezTo>
                  <a:cubicBezTo>
                    <a:pt x="12189" y="19944"/>
                    <a:pt x="11983" y="18179"/>
                    <a:pt x="12369" y="16739"/>
                  </a:cubicBezTo>
                  <a:cubicBezTo>
                    <a:pt x="12574" y="16368"/>
                    <a:pt x="12574" y="15346"/>
                    <a:pt x="12960" y="15346"/>
                  </a:cubicBezTo>
                  <a:cubicBezTo>
                    <a:pt x="13551" y="15346"/>
                    <a:pt x="13937" y="16043"/>
                    <a:pt x="14529" y="16368"/>
                  </a:cubicBezTo>
                  <a:cubicBezTo>
                    <a:pt x="14734" y="15671"/>
                    <a:pt x="14734" y="14974"/>
                    <a:pt x="15120" y="14603"/>
                  </a:cubicBezTo>
                  <a:cubicBezTo>
                    <a:pt x="15326" y="14277"/>
                    <a:pt x="15711" y="14603"/>
                    <a:pt x="16097" y="14603"/>
                  </a:cubicBezTo>
                  <a:cubicBezTo>
                    <a:pt x="16689" y="13906"/>
                    <a:pt x="16894" y="12512"/>
                    <a:pt x="17486" y="12141"/>
                  </a:cubicBezTo>
                  <a:cubicBezTo>
                    <a:pt x="18463" y="11444"/>
                    <a:pt x="19440" y="11769"/>
                    <a:pt x="20237" y="11769"/>
                  </a:cubicBezTo>
                  <a:cubicBezTo>
                    <a:pt x="20623" y="11072"/>
                    <a:pt x="21420" y="10701"/>
                    <a:pt x="21420" y="9632"/>
                  </a:cubicBezTo>
                  <a:cubicBezTo>
                    <a:pt x="21600" y="8935"/>
                    <a:pt x="21214" y="7867"/>
                    <a:pt x="20829" y="7170"/>
                  </a:cubicBezTo>
                  <a:cubicBezTo>
                    <a:pt x="20417" y="6473"/>
                    <a:pt x="19646" y="6473"/>
                    <a:pt x="19440" y="5730"/>
                  </a:cubicBezTo>
                  <a:cubicBezTo>
                    <a:pt x="19054" y="5033"/>
                    <a:pt x="19054" y="3965"/>
                    <a:pt x="18669" y="3268"/>
                  </a:cubicBezTo>
                  <a:cubicBezTo>
                    <a:pt x="18463" y="2572"/>
                    <a:pt x="18463" y="1503"/>
                    <a:pt x="18077" y="760"/>
                  </a:cubicBezTo>
                  <a:cubicBezTo>
                    <a:pt x="17666" y="435"/>
                    <a:pt x="17280" y="1132"/>
                    <a:pt x="16894" y="1132"/>
                  </a:cubicBezTo>
                  <a:cubicBezTo>
                    <a:pt x="16097" y="760"/>
                    <a:pt x="15531" y="-262"/>
                    <a:pt x="14734" y="63"/>
                  </a:cubicBezTo>
                  <a:cubicBezTo>
                    <a:pt x="14143" y="63"/>
                    <a:pt x="13757" y="1503"/>
                    <a:pt x="13166" y="1828"/>
                  </a:cubicBezTo>
                  <a:cubicBezTo>
                    <a:pt x="12780" y="2200"/>
                    <a:pt x="12189" y="2200"/>
                    <a:pt x="11597" y="1828"/>
                  </a:cubicBezTo>
                  <a:cubicBezTo>
                    <a:pt x="11186" y="1828"/>
                    <a:pt x="10800" y="760"/>
                    <a:pt x="10414" y="760"/>
                  </a:cubicBezTo>
                  <a:cubicBezTo>
                    <a:pt x="10029" y="435"/>
                    <a:pt x="9617" y="760"/>
                    <a:pt x="9437" y="760"/>
                  </a:cubicBezTo>
                  <a:cubicBezTo>
                    <a:pt x="9026" y="2200"/>
                    <a:pt x="8846" y="3965"/>
                    <a:pt x="8254" y="5033"/>
                  </a:cubicBezTo>
                  <a:cubicBezTo>
                    <a:pt x="7663" y="6102"/>
                    <a:pt x="6866" y="6799"/>
                    <a:pt x="6094" y="6799"/>
                  </a:cubicBezTo>
                  <a:cubicBezTo>
                    <a:pt x="5503" y="7170"/>
                    <a:pt x="5117" y="6102"/>
                    <a:pt x="4526" y="6102"/>
                  </a:cubicBezTo>
                  <a:cubicBezTo>
                    <a:pt x="4526" y="5730"/>
                    <a:pt x="4114" y="5730"/>
                    <a:pt x="4114" y="6102"/>
                  </a:cubicBezTo>
                  <a:cubicBezTo>
                    <a:pt x="3523" y="6799"/>
                    <a:pt x="3343" y="8239"/>
                    <a:pt x="2751" y="8610"/>
                  </a:cubicBezTo>
                  <a:cubicBezTo>
                    <a:pt x="2160" y="9307"/>
                    <a:pt x="1183" y="8610"/>
                    <a:pt x="386" y="9307"/>
                  </a:cubicBezTo>
                  <a:cubicBezTo>
                    <a:pt x="206" y="9307"/>
                    <a:pt x="206" y="10375"/>
                    <a:pt x="0" y="1070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0" name="Shape 2384">
              <a:extLst>
                <a:ext uri="{FF2B5EF4-FFF2-40B4-BE49-F238E27FC236}">
                  <a16:creationId xmlns:a16="http://schemas.microsoft.com/office/drawing/2014/main" id="{AEABC4AF-325E-70F7-9E13-C1B5A6B96231}"/>
                </a:ext>
              </a:extLst>
            </p:cNvPr>
            <p:cNvSpPr/>
            <p:nvPr/>
          </p:nvSpPr>
          <p:spPr>
            <a:xfrm>
              <a:off x="3615104" y="5524332"/>
              <a:ext cx="252364" cy="225371"/>
            </a:xfrm>
            <a:custGeom>
              <a:avLst/>
              <a:gdLst/>
              <a:ahLst/>
              <a:cxnLst>
                <a:cxn ang="0">
                  <a:pos x="wd2" y="hd2"/>
                </a:cxn>
                <a:cxn ang="5400000">
                  <a:pos x="wd2" y="hd2"/>
                </a:cxn>
                <a:cxn ang="10800000">
                  <a:pos x="wd2" y="hd2"/>
                </a:cxn>
                <a:cxn ang="16200000">
                  <a:pos x="wd2" y="hd2"/>
                </a:cxn>
              </a:cxnLst>
              <a:rect l="0" t="0" r="r" b="b"/>
              <a:pathLst>
                <a:path w="21600" h="21435" extrusionOk="0">
                  <a:moveTo>
                    <a:pt x="1761" y="12339"/>
                  </a:moveTo>
                  <a:cubicBezTo>
                    <a:pt x="2195" y="11856"/>
                    <a:pt x="3090" y="11599"/>
                    <a:pt x="3090" y="10860"/>
                  </a:cubicBezTo>
                  <a:cubicBezTo>
                    <a:pt x="3292" y="10378"/>
                    <a:pt x="2859" y="9639"/>
                    <a:pt x="2426" y="9156"/>
                  </a:cubicBezTo>
                  <a:cubicBezTo>
                    <a:pt x="1964" y="8674"/>
                    <a:pt x="1097" y="8674"/>
                    <a:pt x="866" y="8160"/>
                  </a:cubicBezTo>
                  <a:cubicBezTo>
                    <a:pt x="433" y="7678"/>
                    <a:pt x="433" y="6939"/>
                    <a:pt x="0" y="6456"/>
                  </a:cubicBezTo>
                  <a:cubicBezTo>
                    <a:pt x="866" y="6681"/>
                    <a:pt x="1530" y="7196"/>
                    <a:pt x="2426" y="7196"/>
                  </a:cubicBezTo>
                  <a:cubicBezTo>
                    <a:pt x="3090" y="6939"/>
                    <a:pt x="3523" y="6199"/>
                    <a:pt x="3956" y="5460"/>
                  </a:cubicBezTo>
                  <a:cubicBezTo>
                    <a:pt x="4187" y="5235"/>
                    <a:pt x="3956" y="4721"/>
                    <a:pt x="4187" y="4239"/>
                  </a:cubicBezTo>
                  <a:cubicBezTo>
                    <a:pt x="4620" y="3756"/>
                    <a:pt x="5053" y="3499"/>
                    <a:pt x="5516" y="3274"/>
                  </a:cubicBezTo>
                  <a:cubicBezTo>
                    <a:pt x="5718" y="2760"/>
                    <a:pt x="6180" y="2021"/>
                    <a:pt x="6613" y="1539"/>
                  </a:cubicBezTo>
                  <a:cubicBezTo>
                    <a:pt x="7046" y="1539"/>
                    <a:pt x="7277" y="2021"/>
                    <a:pt x="7710" y="2021"/>
                  </a:cubicBezTo>
                  <a:cubicBezTo>
                    <a:pt x="8143" y="2021"/>
                    <a:pt x="8576" y="1539"/>
                    <a:pt x="9039" y="1539"/>
                  </a:cubicBezTo>
                  <a:cubicBezTo>
                    <a:pt x="9472" y="1539"/>
                    <a:pt x="9703" y="2021"/>
                    <a:pt x="10136" y="2021"/>
                  </a:cubicBezTo>
                  <a:cubicBezTo>
                    <a:pt x="10569" y="2021"/>
                    <a:pt x="11031" y="1539"/>
                    <a:pt x="11464" y="1314"/>
                  </a:cubicBezTo>
                  <a:cubicBezTo>
                    <a:pt x="12128" y="799"/>
                    <a:pt x="12793" y="574"/>
                    <a:pt x="13659" y="317"/>
                  </a:cubicBezTo>
                  <a:cubicBezTo>
                    <a:pt x="15218" y="317"/>
                    <a:pt x="16749" y="-165"/>
                    <a:pt x="18308" y="60"/>
                  </a:cubicBezTo>
                  <a:cubicBezTo>
                    <a:pt x="19636" y="317"/>
                    <a:pt x="20503" y="1314"/>
                    <a:pt x="21600" y="1796"/>
                  </a:cubicBezTo>
                  <a:cubicBezTo>
                    <a:pt x="21398" y="3017"/>
                    <a:pt x="20734" y="4721"/>
                    <a:pt x="20503" y="5235"/>
                  </a:cubicBezTo>
                  <a:cubicBezTo>
                    <a:pt x="20272" y="5974"/>
                    <a:pt x="20070" y="10153"/>
                    <a:pt x="20070" y="10378"/>
                  </a:cubicBezTo>
                  <a:cubicBezTo>
                    <a:pt x="20070" y="10635"/>
                    <a:pt x="18308" y="10860"/>
                    <a:pt x="18308" y="11117"/>
                  </a:cubicBezTo>
                  <a:cubicBezTo>
                    <a:pt x="18510" y="11599"/>
                    <a:pt x="18741" y="12596"/>
                    <a:pt x="18972" y="13335"/>
                  </a:cubicBezTo>
                  <a:cubicBezTo>
                    <a:pt x="18077" y="14074"/>
                    <a:pt x="16980" y="14556"/>
                    <a:pt x="16518" y="15521"/>
                  </a:cubicBezTo>
                  <a:cubicBezTo>
                    <a:pt x="15882" y="16774"/>
                    <a:pt x="16518" y="18478"/>
                    <a:pt x="15651" y="19474"/>
                  </a:cubicBezTo>
                  <a:cubicBezTo>
                    <a:pt x="14987" y="20214"/>
                    <a:pt x="13890" y="19699"/>
                    <a:pt x="12995" y="19956"/>
                  </a:cubicBezTo>
                  <a:cubicBezTo>
                    <a:pt x="12128" y="20439"/>
                    <a:pt x="11464" y="20953"/>
                    <a:pt x="10569" y="21435"/>
                  </a:cubicBezTo>
                  <a:cubicBezTo>
                    <a:pt x="10136" y="20953"/>
                    <a:pt x="9905" y="20214"/>
                    <a:pt x="9472" y="19699"/>
                  </a:cubicBezTo>
                  <a:cubicBezTo>
                    <a:pt x="9039" y="19474"/>
                    <a:pt x="8374" y="19474"/>
                    <a:pt x="7941" y="19217"/>
                  </a:cubicBezTo>
                  <a:cubicBezTo>
                    <a:pt x="6613" y="18735"/>
                    <a:pt x="5053" y="18735"/>
                    <a:pt x="4187" y="17739"/>
                  </a:cubicBezTo>
                  <a:cubicBezTo>
                    <a:pt x="3523" y="16999"/>
                    <a:pt x="4851" y="15521"/>
                    <a:pt x="4418" y="14814"/>
                  </a:cubicBezTo>
                  <a:cubicBezTo>
                    <a:pt x="3956" y="14074"/>
                    <a:pt x="3090" y="15778"/>
                    <a:pt x="2426" y="15521"/>
                  </a:cubicBezTo>
                  <a:cubicBezTo>
                    <a:pt x="1761" y="15296"/>
                    <a:pt x="1761" y="14299"/>
                    <a:pt x="1761" y="13817"/>
                  </a:cubicBezTo>
                  <a:cubicBezTo>
                    <a:pt x="1530" y="13335"/>
                    <a:pt x="1761" y="12853"/>
                    <a:pt x="1761" y="1233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1" name="Shape 2385">
              <a:extLst>
                <a:ext uri="{FF2B5EF4-FFF2-40B4-BE49-F238E27FC236}">
                  <a16:creationId xmlns:a16="http://schemas.microsoft.com/office/drawing/2014/main" id="{AFBDF860-AEFC-46F7-626B-8DCF8B06E6A9}"/>
                </a:ext>
              </a:extLst>
            </p:cNvPr>
            <p:cNvSpPr/>
            <p:nvPr/>
          </p:nvSpPr>
          <p:spPr>
            <a:xfrm>
              <a:off x="3179567" y="5558271"/>
              <a:ext cx="140881" cy="109649"/>
            </a:xfrm>
            <a:custGeom>
              <a:avLst/>
              <a:gdLst/>
              <a:ahLst/>
              <a:cxnLst>
                <a:cxn ang="0">
                  <a:pos x="wd2" y="hd2"/>
                </a:cxn>
                <a:cxn ang="5400000">
                  <a:pos x="wd2" y="hd2"/>
                </a:cxn>
                <a:cxn ang="10800000">
                  <a:pos x="wd2" y="hd2"/>
                </a:cxn>
                <a:cxn ang="16200000">
                  <a:pos x="wd2" y="hd2"/>
                </a:cxn>
              </a:cxnLst>
              <a:rect l="0" t="0" r="r" b="b"/>
              <a:pathLst>
                <a:path w="21600" h="21307" extrusionOk="0">
                  <a:moveTo>
                    <a:pt x="0" y="15541"/>
                  </a:moveTo>
                  <a:cubicBezTo>
                    <a:pt x="771" y="16595"/>
                    <a:pt x="1543" y="17056"/>
                    <a:pt x="1543" y="18110"/>
                  </a:cubicBezTo>
                  <a:cubicBezTo>
                    <a:pt x="1543" y="19098"/>
                    <a:pt x="771" y="19098"/>
                    <a:pt x="771" y="20085"/>
                  </a:cubicBezTo>
                  <a:cubicBezTo>
                    <a:pt x="771" y="20612"/>
                    <a:pt x="411" y="20612"/>
                    <a:pt x="411" y="21073"/>
                  </a:cubicBezTo>
                  <a:cubicBezTo>
                    <a:pt x="1954" y="21073"/>
                    <a:pt x="3549" y="21600"/>
                    <a:pt x="4680" y="21073"/>
                  </a:cubicBezTo>
                  <a:cubicBezTo>
                    <a:pt x="5503" y="20612"/>
                    <a:pt x="5503" y="18571"/>
                    <a:pt x="6274" y="17583"/>
                  </a:cubicBezTo>
                  <a:cubicBezTo>
                    <a:pt x="7046" y="17056"/>
                    <a:pt x="8229" y="17583"/>
                    <a:pt x="9000" y="17056"/>
                  </a:cubicBezTo>
                  <a:cubicBezTo>
                    <a:pt x="9823" y="17056"/>
                    <a:pt x="9411" y="15541"/>
                    <a:pt x="10183" y="15080"/>
                  </a:cubicBezTo>
                  <a:cubicBezTo>
                    <a:pt x="11777" y="15080"/>
                    <a:pt x="13731" y="15541"/>
                    <a:pt x="15326" y="16595"/>
                  </a:cubicBezTo>
                  <a:cubicBezTo>
                    <a:pt x="16097" y="17056"/>
                    <a:pt x="16509" y="18571"/>
                    <a:pt x="17280" y="19098"/>
                  </a:cubicBezTo>
                  <a:cubicBezTo>
                    <a:pt x="18463" y="19098"/>
                    <a:pt x="19646" y="20085"/>
                    <a:pt x="20417" y="19098"/>
                  </a:cubicBezTo>
                  <a:cubicBezTo>
                    <a:pt x="21189" y="18571"/>
                    <a:pt x="20417" y="17056"/>
                    <a:pt x="20417" y="16595"/>
                  </a:cubicBezTo>
                  <a:cubicBezTo>
                    <a:pt x="20829" y="15541"/>
                    <a:pt x="21189" y="14554"/>
                    <a:pt x="21600" y="14093"/>
                  </a:cubicBezTo>
                  <a:cubicBezTo>
                    <a:pt x="20829" y="12578"/>
                    <a:pt x="20417" y="11063"/>
                    <a:pt x="19646" y="9549"/>
                  </a:cubicBezTo>
                  <a:cubicBezTo>
                    <a:pt x="18463" y="8034"/>
                    <a:pt x="16869" y="6980"/>
                    <a:pt x="16097" y="5532"/>
                  </a:cubicBezTo>
                  <a:cubicBezTo>
                    <a:pt x="14914" y="3490"/>
                    <a:pt x="14554" y="1515"/>
                    <a:pt x="13731" y="0"/>
                  </a:cubicBezTo>
                  <a:cubicBezTo>
                    <a:pt x="12960" y="461"/>
                    <a:pt x="12189" y="1515"/>
                    <a:pt x="11777" y="2502"/>
                  </a:cubicBezTo>
                  <a:cubicBezTo>
                    <a:pt x="11366" y="2963"/>
                    <a:pt x="11366" y="4478"/>
                    <a:pt x="10594" y="4478"/>
                  </a:cubicBezTo>
                  <a:cubicBezTo>
                    <a:pt x="9000" y="4478"/>
                    <a:pt x="7457" y="2963"/>
                    <a:pt x="5863" y="3490"/>
                  </a:cubicBezTo>
                  <a:cubicBezTo>
                    <a:pt x="4320" y="4017"/>
                    <a:pt x="3137" y="5532"/>
                    <a:pt x="2366" y="6980"/>
                  </a:cubicBezTo>
                  <a:cubicBezTo>
                    <a:pt x="1954" y="7507"/>
                    <a:pt x="2366" y="8495"/>
                    <a:pt x="1954" y="9549"/>
                  </a:cubicBezTo>
                  <a:cubicBezTo>
                    <a:pt x="1543" y="11524"/>
                    <a:pt x="771" y="13566"/>
                    <a:pt x="0" y="1554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2" name="Shape 2386">
              <a:extLst>
                <a:ext uri="{FF2B5EF4-FFF2-40B4-BE49-F238E27FC236}">
                  <a16:creationId xmlns:a16="http://schemas.microsoft.com/office/drawing/2014/main" id="{307E2820-2259-709C-D4FE-0023536F0289}"/>
                </a:ext>
              </a:extLst>
            </p:cNvPr>
            <p:cNvSpPr/>
            <p:nvPr/>
          </p:nvSpPr>
          <p:spPr>
            <a:xfrm>
              <a:off x="3075514" y="5513675"/>
              <a:ext cx="75472" cy="134931"/>
            </a:xfrm>
            <a:custGeom>
              <a:avLst/>
              <a:gdLst/>
              <a:ahLst/>
              <a:cxnLst>
                <a:cxn ang="0">
                  <a:pos x="wd2" y="hd2"/>
                </a:cxn>
                <a:cxn ang="5400000">
                  <a:pos x="wd2" y="hd2"/>
                </a:cxn>
                <a:cxn ang="10800000">
                  <a:pos x="wd2" y="hd2"/>
                </a:cxn>
                <a:cxn ang="16200000">
                  <a:pos x="wd2" y="hd2"/>
                </a:cxn>
              </a:cxnLst>
              <a:rect l="0" t="0" r="r" b="b"/>
              <a:pathLst>
                <a:path w="21600" h="21363" extrusionOk="0">
                  <a:moveTo>
                    <a:pt x="19362" y="21173"/>
                  </a:moveTo>
                  <a:cubicBezTo>
                    <a:pt x="18584" y="20373"/>
                    <a:pt x="16346" y="19520"/>
                    <a:pt x="17124" y="18720"/>
                  </a:cubicBezTo>
                  <a:cubicBezTo>
                    <a:pt x="17124" y="17920"/>
                    <a:pt x="20141" y="17920"/>
                    <a:pt x="21600" y="17920"/>
                  </a:cubicBezTo>
                  <a:cubicBezTo>
                    <a:pt x="20822" y="15893"/>
                    <a:pt x="19362" y="13813"/>
                    <a:pt x="19362" y="12213"/>
                  </a:cubicBezTo>
                  <a:cubicBezTo>
                    <a:pt x="18584" y="11413"/>
                    <a:pt x="20141" y="10560"/>
                    <a:pt x="20141" y="9760"/>
                  </a:cubicBezTo>
                  <a:cubicBezTo>
                    <a:pt x="19362" y="8960"/>
                    <a:pt x="18584" y="8160"/>
                    <a:pt x="17124" y="7307"/>
                  </a:cubicBezTo>
                  <a:cubicBezTo>
                    <a:pt x="16346" y="6933"/>
                    <a:pt x="14886" y="6933"/>
                    <a:pt x="14108" y="6080"/>
                  </a:cubicBezTo>
                  <a:cubicBezTo>
                    <a:pt x="12649" y="4480"/>
                    <a:pt x="13427" y="2027"/>
                    <a:pt x="11870" y="800"/>
                  </a:cubicBezTo>
                  <a:cubicBezTo>
                    <a:pt x="11189" y="0"/>
                    <a:pt x="10411" y="2027"/>
                    <a:pt x="8951" y="1600"/>
                  </a:cubicBezTo>
                  <a:cubicBezTo>
                    <a:pt x="6714" y="1600"/>
                    <a:pt x="4476" y="800"/>
                    <a:pt x="2238" y="0"/>
                  </a:cubicBezTo>
                  <a:cubicBezTo>
                    <a:pt x="0" y="4853"/>
                    <a:pt x="0" y="4853"/>
                    <a:pt x="0" y="4853"/>
                  </a:cubicBezTo>
                  <a:cubicBezTo>
                    <a:pt x="778" y="6080"/>
                    <a:pt x="1557" y="6933"/>
                    <a:pt x="1557" y="8160"/>
                  </a:cubicBezTo>
                  <a:cubicBezTo>
                    <a:pt x="1557" y="8960"/>
                    <a:pt x="0" y="9760"/>
                    <a:pt x="0" y="10987"/>
                  </a:cubicBezTo>
                  <a:cubicBezTo>
                    <a:pt x="0" y="11787"/>
                    <a:pt x="1557" y="12587"/>
                    <a:pt x="2238" y="13440"/>
                  </a:cubicBezTo>
                  <a:cubicBezTo>
                    <a:pt x="2238" y="14240"/>
                    <a:pt x="1557" y="15040"/>
                    <a:pt x="2238" y="15893"/>
                  </a:cubicBezTo>
                  <a:cubicBezTo>
                    <a:pt x="3016" y="17120"/>
                    <a:pt x="4476" y="17493"/>
                    <a:pt x="5935" y="18720"/>
                  </a:cubicBezTo>
                  <a:cubicBezTo>
                    <a:pt x="7492" y="19147"/>
                    <a:pt x="8951" y="19947"/>
                    <a:pt x="11189" y="20373"/>
                  </a:cubicBezTo>
                  <a:cubicBezTo>
                    <a:pt x="11189" y="20747"/>
                    <a:pt x="11870" y="21173"/>
                    <a:pt x="12649" y="21173"/>
                  </a:cubicBezTo>
                  <a:cubicBezTo>
                    <a:pt x="14886" y="21600"/>
                    <a:pt x="17124" y="21173"/>
                    <a:pt x="19362" y="2117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3" name="Shape 2387">
              <a:extLst>
                <a:ext uri="{FF2B5EF4-FFF2-40B4-BE49-F238E27FC236}">
                  <a16:creationId xmlns:a16="http://schemas.microsoft.com/office/drawing/2014/main" id="{E5EF3409-9221-CFD9-32D4-6EC20EFB8FAE}"/>
                </a:ext>
              </a:extLst>
            </p:cNvPr>
            <p:cNvSpPr/>
            <p:nvPr/>
          </p:nvSpPr>
          <p:spPr>
            <a:xfrm>
              <a:off x="2950650" y="5534488"/>
              <a:ext cx="146825" cy="105860"/>
            </a:xfrm>
            <a:custGeom>
              <a:avLst/>
              <a:gdLst/>
              <a:ahLst/>
              <a:cxnLst>
                <a:cxn ang="0">
                  <a:pos x="wd2" y="hd2"/>
                </a:cxn>
                <a:cxn ang="5400000">
                  <a:pos x="wd2" y="hd2"/>
                </a:cxn>
                <a:cxn ang="10800000">
                  <a:pos x="wd2" y="hd2"/>
                </a:cxn>
                <a:cxn ang="16200000">
                  <a:pos x="wd2" y="hd2"/>
                </a:cxn>
              </a:cxnLst>
              <a:rect l="0" t="0" r="r" b="b"/>
              <a:pathLst>
                <a:path w="21600" h="21136" extrusionOk="0">
                  <a:moveTo>
                    <a:pt x="12910" y="20052"/>
                  </a:moveTo>
                  <a:cubicBezTo>
                    <a:pt x="13655" y="19514"/>
                    <a:pt x="13655" y="18505"/>
                    <a:pt x="14400" y="17966"/>
                  </a:cubicBezTo>
                  <a:cubicBezTo>
                    <a:pt x="15542" y="17966"/>
                    <a:pt x="16684" y="18505"/>
                    <a:pt x="17429" y="19043"/>
                  </a:cubicBezTo>
                  <a:cubicBezTo>
                    <a:pt x="18571" y="19514"/>
                    <a:pt x="18968" y="21062"/>
                    <a:pt x="20110" y="21062"/>
                  </a:cubicBezTo>
                  <a:cubicBezTo>
                    <a:pt x="20508" y="21062"/>
                    <a:pt x="20855" y="20052"/>
                    <a:pt x="21600" y="19514"/>
                  </a:cubicBezTo>
                  <a:cubicBezTo>
                    <a:pt x="20855" y="17966"/>
                    <a:pt x="20110" y="17495"/>
                    <a:pt x="19713" y="15948"/>
                  </a:cubicBezTo>
                  <a:cubicBezTo>
                    <a:pt x="19366" y="14871"/>
                    <a:pt x="19713" y="13862"/>
                    <a:pt x="19713" y="12852"/>
                  </a:cubicBezTo>
                  <a:cubicBezTo>
                    <a:pt x="19366" y="11776"/>
                    <a:pt x="18571" y="10766"/>
                    <a:pt x="18571" y="9757"/>
                  </a:cubicBezTo>
                  <a:cubicBezTo>
                    <a:pt x="18571" y="8209"/>
                    <a:pt x="19366" y="7200"/>
                    <a:pt x="19366" y="6191"/>
                  </a:cubicBezTo>
                  <a:cubicBezTo>
                    <a:pt x="19366" y="4643"/>
                    <a:pt x="18968" y="3566"/>
                    <a:pt x="18571" y="2019"/>
                  </a:cubicBezTo>
                  <a:cubicBezTo>
                    <a:pt x="17826" y="2557"/>
                    <a:pt x="16684" y="4105"/>
                    <a:pt x="15939" y="3566"/>
                  </a:cubicBezTo>
                  <a:cubicBezTo>
                    <a:pt x="14797" y="3095"/>
                    <a:pt x="15194" y="0"/>
                    <a:pt x="14052" y="0"/>
                  </a:cubicBezTo>
                  <a:cubicBezTo>
                    <a:pt x="12910" y="0"/>
                    <a:pt x="13655" y="2557"/>
                    <a:pt x="12910" y="3095"/>
                  </a:cubicBezTo>
                  <a:cubicBezTo>
                    <a:pt x="12513" y="4105"/>
                    <a:pt x="12116" y="4643"/>
                    <a:pt x="11371" y="4643"/>
                  </a:cubicBezTo>
                  <a:cubicBezTo>
                    <a:pt x="10626" y="4643"/>
                    <a:pt x="9484" y="3566"/>
                    <a:pt x="8342" y="3095"/>
                  </a:cubicBezTo>
                  <a:cubicBezTo>
                    <a:pt x="7200" y="4643"/>
                    <a:pt x="6455" y="7200"/>
                    <a:pt x="4568" y="8209"/>
                  </a:cubicBezTo>
                  <a:cubicBezTo>
                    <a:pt x="3823" y="8209"/>
                    <a:pt x="3426" y="5114"/>
                    <a:pt x="2284" y="5652"/>
                  </a:cubicBezTo>
                  <a:cubicBezTo>
                    <a:pt x="1142" y="5652"/>
                    <a:pt x="745" y="7671"/>
                    <a:pt x="0" y="9219"/>
                  </a:cubicBezTo>
                  <a:cubicBezTo>
                    <a:pt x="1142" y="9757"/>
                    <a:pt x="3029" y="10295"/>
                    <a:pt x="3823" y="11776"/>
                  </a:cubicBezTo>
                  <a:cubicBezTo>
                    <a:pt x="4568" y="13323"/>
                    <a:pt x="3823" y="15409"/>
                    <a:pt x="4568" y="17495"/>
                  </a:cubicBezTo>
                  <a:cubicBezTo>
                    <a:pt x="4916" y="19043"/>
                    <a:pt x="5313" y="21062"/>
                    <a:pt x="6455" y="21062"/>
                  </a:cubicBezTo>
                  <a:cubicBezTo>
                    <a:pt x="7597" y="21600"/>
                    <a:pt x="8739" y="19043"/>
                    <a:pt x="9881" y="19043"/>
                  </a:cubicBezTo>
                  <a:cubicBezTo>
                    <a:pt x="10974" y="18505"/>
                    <a:pt x="12116" y="20052"/>
                    <a:pt x="12910" y="2005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4" name="Shape 2388">
              <a:extLst>
                <a:ext uri="{FF2B5EF4-FFF2-40B4-BE49-F238E27FC236}">
                  <a16:creationId xmlns:a16="http://schemas.microsoft.com/office/drawing/2014/main" id="{DFD5C242-C6CC-0E70-CB23-227D180DA4E0}"/>
                </a:ext>
              </a:extLst>
            </p:cNvPr>
            <p:cNvSpPr/>
            <p:nvPr/>
          </p:nvSpPr>
          <p:spPr>
            <a:xfrm>
              <a:off x="2984855" y="5415561"/>
              <a:ext cx="99241" cy="142374"/>
            </a:xfrm>
            <a:custGeom>
              <a:avLst/>
              <a:gdLst/>
              <a:ahLst/>
              <a:cxnLst>
                <a:cxn ang="0">
                  <a:pos x="wd2" y="hd2"/>
                </a:cxn>
                <a:cxn ang="5400000">
                  <a:pos x="wd2" y="hd2"/>
                </a:cxn>
                <a:cxn ang="10800000">
                  <a:pos x="wd2" y="hd2"/>
                </a:cxn>
                <a:cxn ang="16200000">
                  <a:pos x="wd2" y="hd2"/>
                </a:cxn>
              </a:cxnLst>
              <a:rect l="0" t="0" r="r" b="b"/>
              <a:pathLst>
                <a:path w="21278" h="21600" extrusionOk="0">
                  <a:moveTo>
                    <a:pt x="4679" y="20420"/>
                  </a:moveTo>
                  <a:cubicBezTo>
                    <a:pt x="6346" y="20779"/>
                    <a:pt x="8014" y="21600"/>
                    <a:pt x="9101" y="21600"/>
                  </a:cubicBezTo>
                  <a:cubicBezTo>
                    <a:pt x="10188" y="21600"/>
                    <a:pt x="10768" y="21190"/>
                    <a:pt x="11348" y="20420"/>
                  </a:cubicBezTo>
                  <a:cubicBezTo>
                    <a:pt x="12435" y="20010"/>
                    <a:pt x="11348" y="18060"/>
                    <a:pt x="13015" y="18060"/>
                  </a:cubicBezTo>
                  <a:cubicBezTo>
                    <a:pt x="14682" y="18060"/>
                    <a:pt x="14102" y="20420"/>
                    <a:pt x="15769" y="20779"/>
                  </a:cubicBezTo>
                  <a:cubicBezTo>
                    <a:pt x="16857" y="21190"/>
                    <a:pt x="18524" y="20010"/>
                    <a:pt x="19611" y="19599"/>
                  </a:cubicBezTo>
                  <a:cubicBezTo>
                    <a:pt x="21278" y="14930"/>
                    <a:pt x="21278" y="14930"/>
                    <a:pt x="21278" y="14930"/>
                  </a:cubicBezTo>
                  <a:cubicBezTo>
                    <a:pt x="20771" y="14109"/>
                    <a:pt x="20771" y="12929"/>
                    <a:pt x="20191" y="12570"/>
                  </a:cubicBezTo>
                  <a:cubicBezTo>
                    <a:pt x="19611" y="11800"/>
                    <a:pt x="18524" y="11800"/>
                    <a:pt x="17436" y="11800"/>
                  </a:cubicBezTo>
                  <a:cubicBezTo>
                    <a:pt x="17436" y="11800"/>
                    <a:pt x="13522" y="6670"/>
                    <a:pt x="13522" y="6311"/>
                  </a:cubicBezTo>
                  <a:lnTo>
                    <a:pt x="12435" y="1590"/>
                  </a:lnTo>
                  <a:cubicBezTo>
                    <a:pt x="11348" y="821"/>
                    <a:pt x="10188" y="0"/>
                    <a:pt x="9101" y="0"/>
                  </a:cubicBezTo>
                  <a:cubicBezTo>
                    <a:pt x="7434" y="0"/>
                    <a:pt x="6926" y="1180"/>
                    <a:pt x="5767" y="1590"/>
                  </a:cubicBezTo>
                  <a:cubicBezTo>
                    <a:pt x="4679" y="2001"/>
                    <a:pt x="2505" y="1180"/>
                    <a:pt x="1345" y="2001"/>
                  </a:cubicBezTo>
                  <a:cubicBezTo>
                    <a:pt x="258" y="2360"/>
                    <a:pt x="838" y="3540"/>
                    <a:pt x="258" y="3951"/>
                  </a:cubicBezTo>
                  <a:cubicBezTo>
                    <a:pt x="258" y="5131"/>
                    <a:pt x="-322" y="6670"/>
                    <a:pt x="258" y="7491"/>
                  </a:cubicBezTo>
                  <a:cubicBezTo>
                    <a:pt x="1345" y="9030"/>
                    <a:pt x="4679" y="9440"/>
                    <a:pt x="5259" y="10980"/>
                  </a:cubicBezTo>
                  <a:cubicBezTo>
                    <a:pt x="5259" y="12160"/>
                    <a:pt x="3012" y="13340"/>
                    <a:pt x="3012" y="14930"/>
                  </a:cubicBezTo>
                  <a:cubicBezTo>
                    <a:pt x="3012" y="16880"/>
                    <a:pt x="4099" y="18470"/>
                    <a:pt x="4679" y="204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5" name="Shape 2389">
              <a:extLst>
                <a:ext uri="{FF2B5EF4-FFF2-40B4-BE49-F238E27FC236}">
                  <a16:creationId xmlns:a16="http://schemas.microsoft.com/office/drawing/2014/main" id="{01473C41-250C-D036-B3B6-1DE793E388E8}"/>
                </a:ext>
              </a:extLst>
            </p:cNvPr>
            <p:cNvSpPr/>
            <p:nvPr/>
          </p:nvSpPr>
          <p:spPr>
            <a:xfrm>
              <a:off x="3133333" y="5500889"/>
              <a:ext cx="136572" cy="137321"/>
            </a:xfrm>
            <a:custGeom>
              <a:avLst/>
              <a:gdLst/>
              <a:ahLst/>
              <a:cxnLst>
                <a:cxn ang="0">
                  <a:pos x="wd2" y="hd2"/>
                </a:cxn>
                <a:cxn ang="5400000">
                  <a:pos x="wd2" y="hd2"/>
                </a:cxn>
                <a:cxn ang="10800000">
                  <a:pos x="wd2" y="hd2"/>
                </a:cxn>
                <a:cxn ang="16200000">
                  <a:pos x="wd2" y="hd2"/>
                </a:cxn>
              </a:cxnLst>
              <a:rect l="0" t="0" r="r" b="b"/>
              <a:pathLst>
                <a:path w="21163" h="21278" extrusionOk="0">
                  <a:moveTo>
                    <a:pt x="2761" y="19705"/>
                  </a:moveTo>
                  <a:cubicBezTo>
                    <a:pt x="7165" y="21278"/>
                    <a:pt x="7165" y="21278"/>
                    <a:pt x="7165" y="21278"/>
                  </a:cubicBezTo>
                  <a:cubicBezTo>
                    <a:pt x="7951" y="19705"/>
                    <a:pt x="8738" y="18080"/>
                    <a:pt x="9157" y="16507"/>
                  </a:cubicBezTo>
                  <a:cubicBezTo>
                    <a:pt x="9577" y="15668"/>
                    <a:pt x="9157" y="14882"/>
                    <a:pt x="9577" y="14462"/>
                  </a:cubicBezTo>
                  <a:cubicBezTo>
                    <a:pt x="10363" y="13309"/>
                    <a:pt x="11569" y="12103"/>
                    <a:pt x="13142" y="11684"/>
                  </a:cubicBezTo>
                  <a:cubicBezTo>
                    <a:pt x="14767" y="11264"/>
                    <a:pt x="16340" y="12470"/>
                    <a:pt x="17965" y="12470"/>
                  </a:cubicBezTo>
                  <a:cubicBezTo>
                    <a:pt x="18751" y="12470"/>
                    <a:pt x="18751" y="11264"/>
                    <a:pt x="19171" y="10897"/>
                  </a:cubicBezTo>
                  <a:cubicBezTo>
                    <a:pt x="19590" y="10111"/>
                    <a:pt x="20377" y="9272"/>
                    <a:pt x="21163" y="8905"/>
                  </a:cubicBezTo>
                  <a:cubicBezTo>
                    <a:pt x="20377" y="7699"/>
                    <a:pt x="19171" y="6861"/>
                    <a:pt x="18751" y="5707"/>
                  </a:cubicBezTo>
                  <a:cubicBezTo>
                    <a:pt x="18384" y="4868"/>
                    <a:pt x="19171" y="4082"/>
                    <a:pt x="18751" y="3295"/>
                  </a:cubicBezTo>
                  <a:cubicBezTo>
                    <a:pt x="18751" y="2090"/>
                    <a:pt x="18384" y="464"/>
                    <a:pt x="17179" y="45"/>
                  </a:cubicBezTo>
                  <a:cubicBezTo>
                    <a:pt x="16340" y="-322"/>
                    <a:pt x="15973" y="1670"/>
                    <a:pt x="15186" y="2090"/>
                  </a:cubicBezTo>
                  <a:cubicBezTo>
                    <a:pt x="14347" y="2090"/>
                    <a:pt x="13561" y="2090"/>
                    <a:pt x="12775" y="1670"/>
                  </a:cubicBezTo>
                  <a:cubicBezTo>
                    <a:pt x="12355" y="1251"/>
                    <a:pt x="12355" y="45"/>
                    <a:pt x="11936" y="45"/>
                  </a:cubicBezTo>
                  <a:cubicBezTo>
                    <a:pt x="11149" y="45"/>
                    <a:pt x="10782" y="464"/>
                    <a:pt x="10363" y="884"/>
                  </a:cubicBezTo>
                  <a:cubicBezTo>
                    <a:pt x="9944" y="1670"/>
                    <a:pt x="8738" y="2457"/>
                    <a:pt x="8738" y="3295"/>
                  </a:cubicBezTo>
                  <a:cubicBezTo>
                    <a:pt x="8371" y="4082"/>
                    <a:pt x="9944" y="5707"/>
                    <a:pt x="9157" y="6494"/>
                  </a:cubicBezTo>
                  <a:cubicBezTo>
                    <a:pt x="8738" y="6861"/>
                    <a:pt x="7951" y="6074"/>
                    <a:pt x="7165" y="5288"/>
                  </a:cubicBezTo>
                  <a:cubicBezTo>
                    <a:pt x="5959" y="4501"/>
                    <a:pt x="5959" y="2090"/>
                    <a:pt x="4334" y="2090"/>
                  </a:cubicBezTo>
                  <a:cubicBezTo>
                    <a:pt x="2761" y="1670"/>
                    <a:pt x="1136" y="2876"/>
                    <a:pt x="349" y="4501"/>
                  </a:cubicBezTo>
                  <a:cubicBezTo>
                    <a:pt x="-437" y="5707"/>
                    <a:pt x="349" y="7699"/>
                    <a:pt x="349" y="9272"/>
                  </a:cubicBezTo>
                  <a:cubicBezTo>
                    <a:pt x="1136" y="10111"/>
                    <a:pt x="1555" y="10897"/>
                    <a:pt x="1975" y="11684"/>
                  </a:cubicBezTo>
                  <a:cubicBezTo>
                    <a:pt x="1975" y="12470"/>
                    <a:pt x="1136" y="13309"/>
                    <a:pt x="1555" y="14095"/>
                  </a:cubicBezTo>
                  <a:cubicBezTo>
                    <a:pt x="1555" y="15668"/>
                    <a:pt x="2342" y="17713"/>
                    <a:pt x="2761" y="1970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6" name="Shape 2390">
              <a:extLst>
                <a:ext uri="{FF2B5EF4-FFF2-40B4-BE49-F238E27FC236}">
                  <a16:creationId xmlns:a16="http://schemas.microsoft.com/office/drawing/2014/main" id="{612C5C78-36D2-B5B1-161E-95BC98BFDE0F}"/>
                </a:ext>
              </a:extLst>
            </p:cNvPr>
            <p:cNvSpPr/>
            <p:nvPr/>
          </p:nvSpPr>
          <p:spPr>
            <a:xfrm>
              <a:off x="3268755" y="5436456"/>
              <a:ext cx="231554" cy="209188"/>
            </a:xfrm>
            <a:custGeom>
              <a:avLst/>
              <a:gdLst/>
              <a:ahLst/>
              <a:cxnLst>
                <a:cxn ang="0">
                  <a:pos x="wd2" y="hd2"/>
                </a:cxn>
                <a:cxn ang="5400000">
                  <a:pos x="wd2" y="hd2"/>
                </a:cxn>
                <a:cxn ang="10800000">
                  <a:pos x="wd2" y="hd2"/>
                </a:cxn>
                <a:cxn ang="16200000">
                  <a:pos x="wd2" y="hd2"/>
                </a:cxn>
              </a:cxnLst>
              <a:rect l="0" t="0" r="r" b="b"/>
              <a:pathLst>
                <a:path w="21600" h="21439" extrusionOk="0">
                  <a:moveTo>
                    <a:pt x="0" y="12502"/>
                  </a:moveTo>
                  <a:cubicBezTo>
                    <a:pt x="502" y="13296"/>
                    <a:pt x="722" y="14331"/>
                    <a:pt x="1444" y="15401"/>
                  </a:cubicBezTo>
                  <a:cubicBezTo>
                    <a:pt x="1915" y="16160"/>
                    <a:pt x="2888" y="16712"/>
                    <a:pt x="3610" y="17505"/>
                  </a:cubicBezTo>
                  <a:cubicBezTo>
                    <a:pt x="4081" y="18299"/>
                    <a:pt x="4333" y="19093"/>
                    <a:pt x="4803" y="19886"/>
                  </a:cubicBezTo>
                  <a:cubicBezTo>
                    <a:pt x="5274" y="19886"/>
                    <a:pt x="5526" y="20128"/>
                    <a:pt x="5997" y="20404"/>
                  </a:cubicBezTo>
                  <a:lnTo>
                    <a:pt x="6719" y="19886"/>
                  </a:lnTo>
                  <a:cubicBezTo>
                    <a:pt x="6719" y="20128"/>
                    <a:pt x="8163" y="21439"/>
                    <a:pt x="8163" y="21439"/>
                  </a:cubicBezTo>
                  <a:cubicBezTo>
                    <a:pt x="8634" y="21439"/>
                    <a:pt x="8885" y="21439"/>
                    <a:pt x="9356" y="21439"/>
                  </a:cubicBezTo>
                  <a:cubicBezTo>
                    <a:pt x="9607" y="21197"/>
                    <a:pt x="9607" y="20404"/>
                    <a:pt x="9827" y="20404"/>
                  </a:cubicBezTo>
                  <a:cubicBezTo>
                    <a:pt x="10800" y="19886"/>
                    <a:pt x="11993" y="20404"/>
                    <a:pt x="12715" y="19886"/>
                  </a:cubicBezTo>
                  <a:cubicBezTo>
                    <a:pt x="13437" y="19610"/>
                    <a:pt x="13657" y="18541"/>
                    <a:pt x="14379" y="18023"/>
                  </a:cubicBezTo>
                  <a:cubicBezTo>
                    <a:pt x="14379" y="17747"/>
                    <a:pt x="14881" y="17747"/>
                    <a:pt x="14881" y="18023"/>
                  </a:cubicBezTo>
                  <a:cubicBezTo>
                    <a:pt x="15603" y="18023"/>
                    <a:pt x="16074" y="18817"/>
                    <a:pt x="16797" y="18541"/>
                  </a:cubicBezTo>
                  <a:cubicBezTo>
                    <a:pt x="17738" y="18541"/>
                    <a:pt x="18712" y="18023"/>
                    <a:pt x="19434" y="17229"/>
                  </a:cubicBezTo>
                  <a:cubicBezTo>
                    <a:pt x="20156" y="16436"/>
                    <a:pt x="20376" y="15125"/>
                    <a:pt x="20878" y="14055"/>
                  </a:cubicBezTo>
                  <a:cubicBezTo>
                    <a:pt x="20156" y="13296"/>
                    <a:pt x="19685" y="12502"/>
                    <a:pt x="19183" y="11433"/>
                  </a:cubicBezTo>
                  <a:cubicBezTo>
                    <a:pt x="18963" y="11157"/>
                    <a:pt x="18963" y="10639"/>
                    <a:pt x="18963" y="10397"/>
                  </a:cubicBezTo>
                  <a:cubicBezTo>
                    <a:pt x="19183" y="9604"/>
                    <a:pt x="20156" y="9328"/>
                    <a:pt x="20376" y="8534"/>
                  </a:cubicBezTo>
                  <a:cubicBezTo>
                    <a:pt x="20376" y="8017"/>
                    <a:pt x="19685" y="8017"/>
                    <a:pt x="19685" y="7465"/>
                  </a:cubicBezTo>
                  <a:cubicBezTo>
                    <a:pt x="19434" y="7223"/>
                    <a:pt x="20156" y="7223"/>
                    <a:pt x="20156" y="6671"/>
                  </a:cubicBezTo>
                  <a:cubicBezTo>
                    <a:pt x="20156" y="6429"/>
                    <a:pt x="19434" y="5912"/>
                    <a:pt x="19685" y="5636"/>
                  </a:cubicBezTo>
                  <a:cubicBezTo>
                    <a:pt x="20156" y="5118"/>
                    <a:pt x="20878" y="5118"/>
                    <a:pt x="21600" y="4842"/>
                  </a:cubicBezTo>
                  <a:cubicBezTo>
                    <a:pt x="20627" y="4325"/>
                    <a:pt x="19434" y="4325"/>
                    <a:pt x="18460" y="3255"/>
                  </a:cubicBezTo>
                  <a:cubicBezTo>
                    <a:pt x="17990" y="2737"/>
                    <a:pt x="18460" y="1702"/>
                    <a:pt x="18241" y="1150"/>
                  </a:cubicBezTo>
                  <a:cubicBezTo>
                    <a:pt x="17990" y="909"/>
                    <a:pt x="17519" y="1150"/>
                    <a:pt x="17048" y="1150"/>
                  </a:cubicBezTo>
                  <a:cubicBezTo>
                    <a:pt x="16797" y="909"/>
                    <a:pt x="16326" y="633"/>
                    <a:pt x="16074" y="357"/>
                  </a:cubicBezTo>
                  <a:cubicBezTo>
                    <a:pt x="15352" y="115"/>
                    <a:pt x="14630" y="-161"/>
                    <a:pt x="14159" y="115"/>
                  </a:cubicBezTo>
                  <a:cubicBezTo>
                    <a:pt x="13657" y="357"/>
                    <a:pt x="13908" y="1150"/>
                    <a:pt x="13657" y="1702"/>
                  </a:cubicBezTo>
                  <a:cubicBezTo>
                    <a:pt x="13186" y="2220"/>
                    <a:pt x="12464" y="2461"/>
                    <a:pt x="11993" y="2737"/>
                  </a:cubicBezTo>
                  <a:cubicBezTo>
                    <a:pt x="12464" y="3255"/>
                    <a:pt x="13186" y="3531"/>
                    <a:pt x="13437" y="4325"/>
                  </a:cubicBezTo>
                  <a:cubicBezTo>
                    <a:pt x="13657" y="5118"/>
                    <a:pt x="13908" y="6153"/>
                    <a:pt x="13657" y="6947"/>
                  </a:cubicBezTo>
                  <a:cubicBezTo>
                    <a:pt x="13437" y="7465"/>
                    <a:pt x="12715" y="6153"/>
                    <a:pt x="12244" y="6153"/>
                  </a:cubicBezTo>
                  <a:cubicBezTo>
                    <a:pt x="11051" y="6429"/>
                    <a:pt x="9827" y="7465"/>
                    <a:pt x="8634" y="8258"/>
                  </a:cubicBezTo>
                  <a:cubicBezTo>
                    <a:pt x="8634" y="8258"/>
                    <a:pt x="5526" y="10121"/>
                    <a:pt x="5274" y="10397"/>
                  </a:cubicBezTo>
                  <a:cubicBezTo>
                    <a:pt x="5023" y="10397"/>
                    <a:pt x="3610" y="10397"/>
                    <a:pt x="3610" y="10397"/>
                  </a:cubicBezTo>
                  <a:cubicBezTo>
                    <a:pt x="3359" y="10639"/>
                    <a:pt x="3108" y="11433"/>
                    <a:pt x="2888" y="11433"/>
                  </a:cubicBezTo>
                  <a:cubicBezTo>
                    <a:pt x="1915" y="11950"/>
                    <a:pt x="973" y="12226"/>
                    <a:pt x="0" y="1250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7" name="Shape 2391">
              <a:extLst>
                <a:ext uri="{FF2B5EF4-FFF2-40B4-BE49-F238E27FC236}">
                  <a16:creationId xmlns:a16="http://schemas.microsoft.com/office/drawing/2014/main" id="{08282CD9-844B-9246-FBCE-01EC49FB1E9F}"/>
                </a:ext>
              </a:extLst>
            </p:cNvPr>
            <p:cNvSpPr/>
            <p:nvPr/>
          </p:nvSpPr>
          <p:spPr>
            <a:xfrm>
              <a:off x="3186288" y="5378398"/>
              <a:ext cx="230692" cy="181024"/>
            </a:xfrm>
            <a:custGeom>
              <a:avLst/>
              <a:gdLst/>
              <a:ahLst/>
              <a:cxnLst>
                <a:cxn ang="0">
                  <a:pos x="wd2" y="hd2"/>
                </a:cxn>
                <a:cxn ang="5400000">
                  <a:pos x="wd2" y="hd2"/>
                </a:cxn>
                <a:cxn ang="10800000">
                  <a:pos x="wd2" y="hd2"/>
                </a:cxn>
                <a:cxn ang="16200000">
                  <a:pos x="wd2" y="hd2"/>
                </a:cxn>
              </a:cxnLst>
              <a:rect l="0" t="0" r="r" b="b"/>
              <a:pathLst>
                <a:path w="21247" h="21600" extrusionOk="0">
                  <a:moveTo>
                    <a:pt x="7624" y="21600"/>
                  </a:moveTo>
                  <a:cubicBezTo>
                    <a:pt x="7158" y="20671"/>
                    <a:pt x="6443" y="20025"/>
                    <a:pt x="6194" y="19137"/>
                  </a:cubicBezTo>
                  <a:cubicBezTo>
                    <a:pt x="5977" y="18491"/>
                    <a:pt x="6443" y="17886"/>
                    <a:pt x="6194" y="17280"/>
                  </a:cubicBezTo>
                  <a:cubicBezTo>
                    <a:pt x="6194" y="16351"/>
                    <a:pt x="5977" y="15100"/>
                    <a:pt x="5262" y="14777"/>
                  </a:cubicBezTo>
                  <a:cubicBezTo>
                    <a:pt x="4765" y="14494"/>
                    <a:pt x="4547" y="16028"/>
                    <a:pt x="4081" y="16351"/>
                  </a:cubicBezTo>
                  <a:cubicBezTo>
                    <a:pt x="3584" y="16351"/>
                    <a:pt x="3117" y="16351"/>
                    <a:pt x="2651" y="16028"/>
                  </a:cubicBezTo>
                  <a:cubicBezTo>
                    <a:pt x="2403" y="15705"/>
                    <a:pt x="2403" y="14777"/>
                    <a:pt x="2154" y="14777"/>
                  </a:cubicBezTo>
                  <a:cubicBezTo>
                    <a:pt x="1688" y="14777"/>
                    <a:pt x="1470" y="15100"/>
                    <a:pt x="1222" y="15423"/>
                  </a:cubicBezTo>
                  <a:cubicBezTo>
                    <a:pt x="755" y="13889"/>
                    <a:pt x="-208" y="12314"/>
                    <a:pt x="41" y="10497"/>
                  </a:cubicBezTo>
                  <a:cubicBezTo>
                    <a:pt x="41" y="9246"/>
                    <a:pt x="1688" y="8963"/>
                    <a:pt x="2154" y="7711"/>
                  </a:cubicBezTo>
                  <a:cubicBezTo>
                    <a:pt x="2403" y="6783"/>
                    <a:pt x="1936" y="5249"/>
                    <a:pt x="2154" y="4320"/>
                  </a:cubicBezTo>
                  <a:cubicBezTo>
                    <a:pt x="2154" y="3674"/>
                    <a:pt x="2154" y="2786"/>
                    <a:pt x="2403" y="2463"/>
                  </a:cubicBezTo>
                  <a:cubicBezTo>
                    <a:pt x="3366" y="1534"/>
                    <a:pt x="4547" y="929"/>
                    <a:pt x="5479" y="0"/>
                  </a:cubicBezTo>
                  <a:cubicBezTo>
                    <a:pt x="6194" y="929"/>
                    <a:pt x="7406" y="1534"/>
                    <a:pt x="8121" y="2140"/>
                  </a:cubicBezTo>
                  <a:cubicBezTo>
                    <a:pt x="8587" y="2786"/>
                    <a:pt x="8805" y="3997"/>
                    <a:pt x="9520" y="4320"/>
                  </a:cubicBezTo>
                  <a:cubicBezTo>
                    <a:pt x="10235" y="4603"/>
                    <a:pt x="11198" y="4320"/>
                    <a:pt x="12130" y="4603"/>
                  </a:cubicBezTo>
                  <a:cubicBezTo>
                    <a:pt x="12845" y="4603"/>
                    <a:pt x="13809" y="4320"/>
                    <a:pt x="14524" y="4926"/>
                  </a:cubicBezTo>
                  <a:cubicBezTo>
                    <a:pt x="14990" y="5531"/>
                    <a:pt x="14524" y="7388"/>
                    <a:pt x="14990" y="7711"/>
                  </a:cubicBezTo>
                  <a:cubicBezTo>
                    <a:pt x="15953" y="8034"/>
                    <a:pt x="16419" y="6460"/>
                    <a:pt x="17352" y="6460"/>
                  </a:cubicBezTo>
                  <a:cubicBezTo>
                    <a:pt x="17600" y="6460"/>
                    <a:pt x="17849" y="7388"/>
                    <a:pt x="18067" y="7711"/>
                  </a:cubicBezTo>
                  <a:cubicBezTo>
                    <a:pt x="18315" y="8317"/>
                    <a:pt x="17849" y="8963"/>
                    <a:pt x="18067" y="9246"/>
                  </a:cubicBezTo>
                  <a:cubicBezTo>
                    <a:pt x="18315" y="9851"/>
                    <a:pt x="19030" y="9851"/>
                    <a:pt x="19496" y="10174"/>
                  </a:cubicBezTo>
                  <a:cubicBezTo>
                    <a:pt x="19962" y="10780"/>
                    <a:pt x="20677" y="11103"/>
                    <a:pt x="20926" y="12031"/>
                  </a:cubicBezTo>
                  <a:cubicBezTo>
                    <a:pt x="21143" y="12960"/>
                    <a:pt x="21392" y="14171"/>
                    <a:pt x="21143" y="15100"/>
                  </a:cubicBezTo>
                  <a:cubicBezTo>
                    <a:pt x="20926" y="15705"/>
                    <a:pt x="20211" y="14171"/>
                    <a:pt x="19745" y="14171"/>
                  </a:cubicBezTo>
                  <a:cubicBezTo>
                    <a:pt x="18564" y="14494"/>
                    <a:pt x="17352" y="15705"/>
                    <a:pt x="16171" y="16634"/>
                  </a:cubicBezTo>
                  <a:cubicBezTo>
                    <a:pt x="16171" y="16634"/>
                    <a:pt x="13094" y="18814"/>
                    <a:pt x="12845" y="19137"/>
                  </a:cubicBezTo>
                  <a:cubicBezTo>
                    <a:pt x="12597" y="19137"/>
                    <a:pt x="11198" y="19137"/>
                    <a:pt x="11198" y="19137"/>
                  </a:cubicBezTo>
                  <a:cubicBezTo>
                    <a:pt x="10949" y="19420"/>
                    <a:pt x="10701" y="20348"/>
                    <a:pt x="10483" y="20348"/>
                  </a:cubicBezTo>
                  <a:cubicBezTo>
                    <a:pt x="9520" y="20954"/>
                    <a:pt x="8587" y="21277"/>
                    <a:pt x="7624"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8" name="Shape 2392">
              <a:extLst>
                <a:ext uri="{FF2B5EF4-FFF2-40B4-BE49-F238E27FC236}">
                  <a16:creationId xmlns:a16="http://schemas.microsoft.com/office/drawing/2014/main" id="{BF9B6877-96B9-BB75-A9F7-5107DC9C3AC4}"/>
                </a:ext>
              </a:extLst>
            </p:cNvPr>
            <p:cNvSpPr/>
            <p:nvPr/>
          </p:nvSpPr>
          <p:spPr>
            <a:xfrm>
              <a:off x="3472402" y="5452726"/>
              <a:ext cx="221975" cy="146834"/>
            </a:xfrm>
            <a:custGeom>
              <a:avLst/>
              <a:gdLst/>
              <a:ahLst/>
              <a:cxnLst>
                <a:cxn ang="0">
                  <a:pos x="wd2" y="hd2"/>
                </a:cxn>
                <a:cxn ang="5400000">
                  <a:pos x="wd2" y="hd2"/>
                </a:cxn>
                <a:cxn ang="10800000">
                  <a:pos x="wd2" y="hd2"/>
                </a:cxn>
                <a:cxn ang="16200000">
                  <a:pos x="wd2" y="hd2"/>
                </a:cxn>
              </a:cxnLst>
              <a:rect l="0" t="0" r="r" b="b"/>
              <a:pathLst>
                <a:path w="21393" h="21600" extrusionOk="0">
                  <a:moveTo>
                    <a:pt x="1984" y="17777"/>
                  </a:moveTo>
                  <a:cubicBezTo>
                    <a:pt x="1236" y="16684"/>
                    <a:pt x="748" y="15542"/>
                    <a:pt x="228" y="14003"/>
                  </a:cubicBezTo>
                  <a:cubicBezTo>
                    <a:pt x="0" y="13606"/>
                    <a:pt x="0" y="12861"/>
                    <a:pt x="0" y="12513"/>
                  </a:cubicBezTo>
                  <a:cubicBezTo>
                    <a:pt x="228" y="11371"/>
                    <a:pt x="1236" y="10974"/>
                    <a:pt x="1464" y="9832"/>
                  </a:cubicBezTo>
                  <a:cubicBezTo>
                    <a:pt x="1464" y="9087"/>
                    <a:pt x="748" y="9087"/>
                    <a:pt x="748" y="8292"/>
                  </a:cubicBezTo>
                  <a:cubicBezTo>
                    <a:pt x="488" y="7945"/>
                    <a:pt x="1236" y="7945"/>
                    <a:pt x="1236" y="7150"/>
                  </a:cubicBezTo>
                  <a:cubicBezTo>
                    <a:pt x="1236" y="6803"/>
                    <a:pt x="488" y="6058"/>
                    <a:pt x="748" y="5661"/>
                  </a:cubicBezTo>
                  <a:cubicBezTo>
                    <a:pt x="1236" y="4916"/>
                    <a:pt x="1984" y="4916"/>
                    <a:pt x="2733" y="4519"/>
                  </a:cubicBezTo>
                  <a:cubicBezTo>
                    <a:pt x="2960" y="4916"/>
                    <a:pt x="2960" y="5661"/>
                    <a:pt x="3220" y="5661"/>
                  </a:cubicBezTo>
                  <a:cubicBezTo>
                    <a:pt x="3969" y="4916"/>
                    <a:pt x="3969" y="4121"/>
                    <a:pt x="4457" y="3377"/>
                  </a:cubicBezTo>
                  <a:cubicBezTo>
                    <a:pt x="4717" y="2632"/>
                    <a:pt x="4945" y="1887"/>
                    <a:pt x="5465" y="1490"/>
                  </a:cubicBezTo>
                  <a:cubicBezTo>
                    <a:pt x="5953" y="1490"/>
                    <a:pt x="6213" y="2632"/>
                    <a:pt x="6701" y="2632"/>
                  </a:cubicBezTo>
                  <a:cubicBezTo>
                    <a:pt x="7449" y="2632"/>
                    <a:pt x="8425" y="1887"/>
                    <a:pt x="9173" y="1887"/>
                  </a:cubicBezTo>
                  <a:cubicBezTo>
                    <a:pt x="9922" y="1887"/>
                    <a:pt x="10670" y="2632"/>
                    <a:pt x="11418" y="2632"/>
                  </a:cubicBezTo>
                  <a:cubicBezTo>
                    <a:pt x="12394" y="2234"/>
                    <a:pt x="13142" y="1490"/>
                    <a:pt x="14151" y="1092"/>
                  </a:cubicBezTo>
                  <a:cubicBezTo>
                    <a:pt x="14639" y="745"/>
                    <a:pt x="15127" y="348"/>
                    <a:pt x="15647" y="0"/>
                  </a:cubicBezTo>
                  <a:cubicBezTo>
                    <a:pt x="16623" y="1092"/>
                    <a:pt x="17371" y="3029"/>
                    <a:pt x="18380" y="3774"/>
                  </a:cubicBezTo>
                  <a:cubicBezTo>
                    <a:pt x="18867" y="4121"/>
                    <a:pt x="19616" y="3377"/>
                    <a:pt x="20364" y="3774"/>
                  </a:cubicBezTo>
                  <a:cubicBezTo>
                    <a:pt x="20852" y="4121"/>
                    <a:pt x="21600" y="4916"/>
                    <a:pt x="21340" y="5661"/>
                  </a:cubicBezTo>
                  <a:cubicBezTo>
                    <a:pt x="20852" y="6803"/>
                    <a:pt x="19355" y="5263"/>
                    <a:pt x="18867" y="6406"/>
                  </a:cubicBezTo>
                  <a:cubicBezTo>
                    <a:pt x="18119" y="7548"/>
                    <a:pt x="18640" y="9832"/>
                    <a:pt x="18640" y="11371"/>
                  </a:cubicBezTo>
                  <a:cubicBezTo>
                    <a:pt x="18867" y="12861"/>
                    <a:pt x="19355" y="14003"/>
                    <a:pt x="19876" y="15542"/>
                  </a:cubicBezTo>
                  <a:cubicBezTo>
                    <a:pt x="19355" y="15890"/>
                    <a:pt x="18867" y="16287"/>
                    <a:pt x="18380" y="17032"/>
                  </a:cubicBezTo>
                  <a:cubicBezTo>
                    <a:pt x="18119" y="17777"/>
                    <a:pt x="18380" y="18571"/>
                    <a:pt x="18119" y="18919"/>
                  </a:cubicBezTo>
                  <a:cubicBezTo>
                    <a:pt x="17631" y="20061"/>
                    <a:pt x="17143" y="21203"/>
                    <a:pt x="16395" y="21600"/>
                  </a:cubicBezTo>
                  <a:cubicBezTo>
                    <a:pt x="15387" y="21600"/>
                    <a:pt x="14639" y="20806"/>
                    <a:pt x="13663" y="20458"/>
                  </a:cubicBezTo>
                  <a:cubicBezTo>
                    <a:pt x="13402" y="19713"/>
                    <a:pt x="13402" y="18571"/>
                    <a:pt x="12914" y="17777"/>
                  </a:cubicBezTo>
                  <a:cubicBezTo>
                    <a:pt x="12394" y="17429"/>
                    <a:pt x="11906" y="18174"/>
                    <a:pt x="11418" y="18174"/>
                  </a:cubicBezTo>
                  <a:cubicBezTo>
                    <a:pt x="10410" y="17777"/>
                    <a:pt x="9694" y="16684"/>
                    <a:pt x="8686" y="17032"/>
                  </a:cubicBezTo>
                  <a:cubicBezTo>
                    <a:pt x="7937" y="17032"/>
                    <a:pt x="7449" y="18571"/>
                    <a:pt x="6701" y="18919"/>
                  </a:cubicBezTo>
                  <a:cubicBezTo>
                    <a:pt x="6213" y="19316"/>
                    <a:pt x="5465" y="19316"/>
                    <a:pt x="4717" y="18919"/>
                  </a:cubicBezTo>
                  <a:cubicBezTo>
                    <a:pt x="4196" y="18919"/>
                    <a:pt x="3708" y="17777"/>
                    <a:pt x="3220" y="17777"/>
                  </a:cubicBezTo>
                  <a:cubicBezTo>
                    <a:pt x="2733" y="17429"/>
                    <a:pt x="2212" y="17777"/>
                    <a:pt x="1984" y="1777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9" name="Shape 2393">
              <a:extLst>
                <a:ext uri="{FF2B5EF4-FFF2-40B4-BE49-F238E27FC236}">
                  <a16:creationId xmlns:a16="http://schemas.microsoft.com/office/drawing/2014/main" id="{ECDCACB9-CA06-086C-571C-AAB591F0E9C6}"/>
                </a:ext>
              </a:extLst>
            </p:cNvPr>
            <p:cNvSpPr/>
            <p:nvPr/>
          </p:nvSpPr>
          <p:spPr>
            <a:xfrm>
              <a:off x="3246458" y="5257063"/>
              <a:ext cx="216689" cy="205731"/>
            </a:xfrm>
            <a:custGeom>
              <a:avLst/>
              <a:gdLst/>
              <a:ahLst/>
              <a:cxnLst>
                <a:cxn ang="0">
                  <a:pos x="wd2" y="hd2"/>
                </a:cxn>
                <a:cxn ang="5400000">
                  <a:pos x="wd2" y="hd2"/>
                </a:cxn>
                <a:cxn ang="10800000">
                  <a:pos x="wd2" y="hd2"/>
                </a:cxn>
                <a:cxn ang="16200000">
                  <a:pos x="wd2" y="hd2"/>
                </a:cxn>
              </a:cxnLst>
              <a:rect l="0" t="0" r="r" b="b"/>
              <a:pathLst>
                <a:path w="21600" h="21235" extrusionOk="0">
                  <a:moveTo>
                    <a:pt x="0" y="12441"/>
                  </a:moveTo>
                  <a:cubicBezTo>
                    <a:pt x="774" y="13244"/>
                    <a:pt x="2086" y="13767"/>
                    <a:pt x="2860" y="14291"/>
                  </a:cubicBezTo>
                  <a:cubicBezTo>
                    <a:pt x="3364" y="14849"/>
                    <a:pt x="3600" y="15896"/>
                    <a:pt x="4374" y="16175"/>
                  </a:cubicBezTo>
                  <a:cubicBezTo>
                    <a:pt x="5148" y="16419"/>
                    <a:pt x="6191" y="16175"/>
                    <a:pt x="7200" y="16419"/>
                  </a:cubicBezTo>
                  <a:cubicBezTo>
                    <a:pt x="7974" y="16419"/>
                    <a:pt x="9017" y="16175"/>
                    <a:pt x="9791" y="16699"/>
                  </a:cubicBezTo>
                  <a:cubicBezTo>
                    <a:pt x="10295" y="17222"/>
                    <a:pt x="9791" y="18827"/>
                    <a:pt x="10295" y="19106"/>
                  </a:cubicBezTo>
                  <a:cubicBezTo>
                    <a:pt x="11338" y="19386"/>
                    <a:pt x="11843" y="18025"/>
                    <a:pt x="12852" y="18025"/>
                  </a:cubicBezTo>
                  <a:cubicBezTo>
                    <a:pt x="13121" y="18025"/>
                    <a:pt x="13391" y="18827"/>
                    <a:pt x="13626" y="19106"/>
                  </a:cubicBezTo>
                  <a:cubicBezTo>
                    <a:pt x="13895" y="19630"/>
                    <a:pt x="13391" y="20188"/>
                    <a:pt x="13626" y="20432"/>
                  </a:cubicBezTo>
                  <a:cubicBezTo>
                    <a:pt x="13895" y="20956"/>
                    <a:pt x="14669" y="20956"/>
                    <a:pt x="15174" y="21235"/>
                  </a:cubicBezTo>
                  <a:cubicBezTo>
                    <a:pt x="15679" y="20956"/>
                    <a:pt x="16452" y="20712"/>
                    <a:pt x="16957" y="20188"/>
                  </a:cubicBezTo>
                  <a:cubicBezTo>
                    <a:pt x="17226" y="19630"/>
                    <a:pt x="16957" y="18827"/>
                    <a:pt x="17495" y="18583"/>
                  </a:cubicBezTo>
                  <a:cubicBezTo>
                    <a:pt x="18000" y="18304"/>
                    <a:pt x="18774" y="18583"/>
                    <a:pt x="19548" y="18827"/>
                  </a:cubicBezTo>
                  <a:cubicBezTo>
                    <a:pt x="20321" y="18025"/>
                    <a:pt x="21600" y="17780"/>
                    <a:pt x="21600" y="16699"/>
                  </a:cubicBezTo>
                  <a:cubicBezTo>
                    <a:pt x="21600" y="16175"/>
                    <a:pt x="20321" y="16419"/>
                    <a:pt x="19817" y="16419"/>
                  </a:cubicBezTo>
                  <a:cubicBezTo>
                    <a:pt x="19279" y="16419"/>
                    <a:pt x="18505" y="16419"/>
                    <a:pt x="18269" y="16175"/>
                  </a:cubicBezTo>
                  <a:cubicBezTo>
                    <a:pt x="17731" y="15617"/>
                    <a:pt x="18000" y="15093"/>
                    <a:pt x="18269" y="14291"/>
                  </a:cubicBezTo>
                  <a:cubicBezTo>
                    <a:pt x="18269" y="13488"/>
                    <a:pt x="18505" y="12721"/>
                    <a:pt x="18505" y="11918"/>
                  </a:cubicBezTo>
                  <a:cubicBezTo>
                    <a:pt x="18505" y="11360"/>
                    <a:pt x="19043" y="10592"/>
                    <a:pt x="18774" y="9789"/>
                  </a:cubicBezTo>
                  <a:cubicBezTo>
                    <a:pt x="18774" y="9510"/>
                    <a:pt x="18269" y="9231"/>
                    <a:pt x="17731" y="8987"/>
                  </a:cubicBezTo>
                  <a:cubicBezTo>
                    <a:pt x="16957" y="8708"/>
                    <a:pt x="15679" y="8987"/>
                    <a:pt x="14905" y="8184"/>
                  </a:cubicBezTo>
                  <a:cubicBezTo>
                    <a:pt x="14400" y="7905"/>
                    <a:pt x="14400" y="7382"/>
                    <a:pt x="14164" y="6579"/>
                  </a:cubicBezTo>
                  <a:lnTo>
                    <a:pt x="14164" y="6056"/>
                  </a:lnTo>
                  <a:cubicBezTo>
                    <a:pt x="15174" y="6056"/>
                    <a:pt x="16217" y="7382"/>
                    <a:pt x="17226" y="7103"/>
                  </a:cubicBezTo>
                  <a:cubicBezTo>
                    <a:pt x="17731" y="6823"/>
                    <a:pt x="17226" y="5777"/>
                    <a:pt x="17226" y="4974"/>
                  </a:cubicBezTo>
                  <a:cubicBezTo>
                    <a:pt x="16957" y="4451"/>
                    <a:pt x="16721" y="4171"/>
                    <a:pt x="16217" y="3648"/>
                  </a:cubicBezTo>
                  <a:cubicBezTo>
                    <a:pt x="16217" y="3648"/>
                    <a:pt x="14400" y="3369"/>
                    <a:pt x="14164" y="3369"/>
                  </a:cubicBezTo>
                  <a:lnTo>
                    <a:pt x="12852" y="2322"/>
                  </a:lnTo>
                  <a:cubicBezTo>
                    <a:pt x="12348" y="2043"/>
                    <a:pt x="11843" y="2043"/>
                    <a:pt x="11338" y="2043"/>
                  </a:cubicBezTo>
                  <a:cubicBezTo>
                    <a:pt x="11069" y="2043"/>
                    <a:pt x="11338" y="2566"/>
                    <a:pt x="11338" y="2845"/>
                  </a:cubicBezTo>
                  <a:cubicBezTo>
                    <a:pt x="10800" y="2845"/>
                    <a:pt x="10564" y="2845"/>
                    <a:pt x="10295" y="2566"/>
                  </a:cubicBezTo>
                  <a:cubicBezTo>
                    <a:pt x="9791" y="1764"/>
                    <a:pt x="9791" y="438"/>
                    <a:pt x="9017" y="193"/>
                  </a:cubicBezTo>
                  <a:cubicBezTo>
                    <a:pt x="7705" y="-365"/>
                    <a:pt x="6426" y="438"/>
                    <a:pt x="5148" y="717"/>
                  </a:cubicBezTo>
                  <a:cubicBezTo>
                    <a:pt x="5148" y="717"/>
                    <a:pt x="4643" y="3124"/>
                    <a:pt x="4643" y="3369"/>
                  </a:cubicBezTo>
                  <a:lnTo>
                    <a:pt x="5652" y="4974"/>
                  </a:lnTo>
                  <a:cubicBezTo>
                    <a:pt x="5148" y="5253"/>
                    <a:pt x="4643" y="4974"/>
                    <a:pt x="4643" y="5497"/>
                  </a:cubicBezTo>
                  <a:cubicBezTo>
                    <a:pt x="4138" y="6300"/>
                    <a:pt x="4643" y="7626"/>
                    <a:pt x="4138" y="8429"/>
                  </a:cubicBezTo>
                  <a:cubicBezTo>
                    <a:pt x="3869" y="8987"/>
                    <a:pt x="3364" y="7905"/>
                    <a:pt x="2860" y="8184"/>
                  </a:cubicBezTo>
                  <a:cubicBezTo>
                    <a:pt x="2086" y="8429"/>
                    <a:pt x="1548" y="9510"/>
                    <a:pt x="774" y="10034"/>
                  </a:cubicBezTo>
                  <a:cubicBezTo>
                    <a:pt x="774" y="10592"/>
                    <a:pt x="1043" y="11115"/>
                    <a:pt x="774" y="11639"/>
                  </a:cubicBezTo>
                  <a:cubicBezTo>
                    <a:pt x="774" y="11918"/>
                    <a:pt x="269" y="12162"/>
                    <a:pt x="0" y="1244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0" name="Shape 2394">
              <a:extLst>
                <a:ext uri="{FF2B5EF4-FFF2-40B4-BE49-F238E27FC236}">
                  <a16:creationId xmlns:a16="http://schemas.microsoft.com/office/drawing/2014/main" id="{9FEE1A32-5606-E417-D919-0E7B9DAF9738}"/>
                </a:ext>
              </a:extLst>
            </p:cNvPr>
            <p:cNvSpPr/>
            <p:nvPr/>
          </p:nvSpPr>
          <p:spPr>
            <a:xfrm>
              <a:off x="3387672" y="5274237"/>
              <a:ext cx="259798" cy="216804"/>
            </a:xfrm>
            <a:custGeom>
              <a:avLst/>
              <a:gdLst/>
              <a:ahLst/>
              <a:cxnLst>
                <a:cxn ang="0">
                  <a:pos x="wd2" y="hd2"/>
                </a:cxn>
                <a:cxn ang="5400000">
                  <a:pos x="wd2" y="hd2"/>
                </a:cxn>
                <a:cxn ang="10800000">
                  <a:pos x="wd2" y="hd2"/>
                </a:cxn>
                <a:cxn ang="16200000">
                  <a:pos x="wd2" y="hd2"/>
                </a:cxn>
              </a:cxnLst>
              <a:rect l="0" t="0" r="r" b="b"/>
              <a:pathLst>
                <a:path w="21600" h="21463" extrusionOk="0">
                  <a:moveTo>
                    <a:pt x="2549" y="3158"/>
                  </a:moveTo>
                  <a:cubicBezTo>
                    <a:pt x="2549" y="3923"/>
                    <a:pt x="2970" y="4922"/>
                    <a:pt x="2549" y="5188"/>
                  </a:cubicBezTo>
                  <a:cubicBezTo>
                    <a:pt x="1709" y="5454"/>
                    <a:pt x="840" y="4190"/>
                    <a:pt x="0" y="4190"/>
                  </a:cubicBezTo>
                  <a:lnTo>
                    <a:pt x="0" y="4689"/>
                  </a:lnTo>
                  <a:cubicBezTo>
                    <a:pt x="196" y="5454"/>
                    <a:pt x="196" y="5954"/>
                    <a:pt x="616" y="6220"/>
                  </a:cubicBezTo>
                  <a:cubicBezTo>
                    <a:pt x="1261" y="6985"/>
                    <a:pt x="2325" y="6719"/>
                    <a:pt x="2970" y="6985"/>
                  </a:cubicBezTo>
                  <a:cubicBezTo>
                    <a:pt x="3418" y="7218"/>
                    <a:pt x="3838" y="7485"/>
                    <a:pt x="3838" y="7751"/>
                  </a:cubicBezTo>
                  <a:cubicBezTo>
                    <a:pt x="4062" y="8516"/>
                    <a:pt x="3614" y="9249"/>
                    <a:pt x="3614" y="9781"/>
                  </a:cubicBezTo>
                  <a:cubicBezTo>
                    <a:pt x="3614" y="10547"/>
                    <a:pt x="3418" y="11279"/>
                    <a:pt x="3418" y="12044"/>
                  </a:cubicBezTo>
                  <a:cubicBezTo>
                    <a:pt x="3194" y="12810"/>
                    <a:pt x="2970" y="13309"/>
                    <a:pt x="3418" y="13841"/>
                  </a:cubicBezTo>
                  <a:cubicBezTo>
                    <a:pt x="3614" y="14074"/>
                    <a:pt x="4258" y="14074"/>
                    <a:pt x="4707" y="14074"/>
                  </a:cubicBezTo>
                  <a:cubicBezTo>
                    <a:pt x="5127" y="14074"/>
                    <a:pt x="6191" y="13841"/>
                    <a:pt x="6191" y="14341"/>
                  </a:cubicBezTo>
                  <a:cubicBezTo>
                    <a:pt x="6191" y="15372"/>
                    <a:pt x="5127" y="15605"/>
                    <a:pt x="4482" y="16371"/>
                  </a:cubicBezTo>
                  <a:cubicBezTo>
                    <a:pt x="4707" y="16637"/>
                    <a:pt x="5127" y="16903"/>
                    <a:pt x="5351" y="17136"/>
                  </a:cubicBezTo>
                  <a:cubicBezTo>
                    <a:pt x="5771" y="17136"/>
                    <a:pt x="6191" y="16903"/>
                    <a:pt x="6416" y="17136"/>
                  </a:cubicBezTo>
                  <a:cubicBezTo>
                    <a:pt x="6612" y="17669"/>
                    <a:pt x="6191" y="18667"/>
                    <a:pt x="6612" y="19167"/>
                  </a:cubicBezTo>
                  <a:cubicBezTo>
                    <a:pt x="7480" y="20198"/>
                    <a:pt x="8545" y="20198"/>
                    <a:pt x="9413" y="20698"/>
                  </a:cubicBezTo>
                  <a:cubicBezTo>
                    <a:pt x="9609" y="20964"/>
                    <a:pt x="9609" y="21463"/>
                    <a:pt x="9833" y="21463"/>
                  </a:cubicBezTo>
                  <a:cubicBezTo>
                    <a:pt x="10478" y="20964"/>
                    <a:pt x="10478" y="20431"/>
                    <a:pt x="10898" y="19932"/>
                  </a:cubicBezTo>
                  <a:cubicBezTo>
                    <a:pt x="11122" y="19433"/>
                    <a:pt x="11318" y="18934"/>
                    <a:pt x="11767" y="18667"/>
                  </a:cubicBezTo>
                  <a:cubicBezTo>
                    <a:pt x="12187" y="18667"/>
                    <a:pt x="12411" y="19433"/>
                    <a:pt x="12831" y="19433"/>
                  </a:cubicBezTo>
                  <a:cubicBezTo>
                    <a:pt x="13475" y="19433"/>
                    <a:pt x="14316" y="18934"/>
                    <a:pt x="14960" y="18934"/>
                  </a:cubicBezTo>
                  <a:cubicBezTo>
                    <a:pt x="15605" y="18934"/>
                    <a:pt x="16249" y="19433"/>
                    <a:pt x="16893" y="19433"/>
                  </a:cubicBezTo>
                  <a:cubicBezTo>
                    <a:pt x="17734" y="19167"/>
                    <a:pt x="18378" y="18667"/>
                    <a:pt x="19247" y="18401"/>
                  </a:cubicBezTo>
                  <a:cubicBezTo>
                    <a:pt x="19667" y="18168"/>
                    <a:pt x="20087" y="17902"/>
                    <a:pt x="20535" y="17669"/>
                  </a:cubicBezTo>
                  <a:cubicBezTo>
                    <a:pt x="20956" y="16903"/>
                    <a:pt x="21600" y="16138"/>
                    <a:pt x="21600" y="15372"/>
                  </a:cubicBezTo>
                  <a:cubicBezTo>
                    <a:pt x="21600" y="15106"/>
                    <a:pt x="20732" y="15106"/>
                    <a:pt x="20535" y="14840"/>
                  </a:cubicBezTo>
                  <a:cubicBezTo>
                    <a:pt x="20311" y="13575"/>
                    <a:pt x="21180" y="12310"/>
                    <a:pt x="20732" y="11046"/>
                  </a:cubicBezTo>
                  <a:cubicBezTo>
                    <a:pt x="20535" y="9781"/>
                    <a:pt x="19023" y="9016"/>
                    <a:pt x="19023" y="7751"/>
                  </a:cubicBezTo>
                  <a:cubicBezTo>
                    <a:pt x="19023" y="6985"/>
                    <a:pt x="20311" y="7485"/>
                    <a:pt x="20535" y="6719"/>
                  </a:cubicBezTo>
                  <a:cubicBezTo>
                    <a:pt x="20956" y="5687"/>
                    <a:pt x="20311" y="4423"/>
                    <a:pt x="20311" y="3424"/>
                  </a:cubicBezTo>
                  <a:cubicBezTo>
                    <a:pt x="20535" y="2892"/>
                    <a:pt x="21180" y="2659"/>
                    <a:pt x="20956" y="2126"/>
                  </a:cubicBezTo>
                  <a:cubicBezTo>
                    <a:pt x="20732" y="1394"/>
                    <a:pt x="20311" y="628"/>
                    <a:pt x="19667" y="362"/>
                  </a:cubicBezTo>
                  <a:cubicBezTo>
                    <a:pt x="18826" y="96"/>
                    <a:pt x="17734" y="-137"/>
                    <a:pt x="16893" y="96"/>
                  </a:cubicBezTo>
                  <a:cubicBezTo>
                    <a:pt x="16249" y="362"/>
                    <a:pt x="16025" y="1128"/>
                    <a:pt x="15605" y="1627"/>
                  </a:cubicBezTo>
                  <a:cubicBezTo>
                    <a:pt x="15409" y="2126"/>
                    <a:pt x="15184" y="2892"/>
                    <a:pt x="14764" y="3158"/>
                  </a:cubicBezTo>
                  <a:cubicBezTo>
                    <a:pt x="14120" y="3424"/>
                    <a:pt x="13027" y="2892"/>
                    <a:pt x="12411" y="2892"/>
                  </a:cubicBezTo>
                  <a:cubicBezTo>
                    <a:pt x="11542" y="3158"/>
                    <a:pt x="10898" y="3657"/>
                    <a:pt x="10254" y="3657"/>
                  </a:cubicBezTo>
                  <a:cubicBezTo>
                    <a:pt x="9833" y="3657"/>
                    <a:pt x="9609" y="3158"/>
                    <a:pt x="9189" y="3158"/>
                  </a:cubicBezTo>
                  <a:cubicBezTo>
                    <a:pt x="8965" y="3158"/>
                    <a:pt x="8769" y="3657"/>
                    <a:pt x="8545" y="3657"/>
                  </a:cubicBezTo>
                  <a:cubicBezTo>
                    <a:pt x="7704" y="3923"/>
                    <a:pt x="7060" y="3657"/>
                    <a:pt x="6191" y="3424"/>
                  </a:cubicBezTo>
                  <a:cubicBezTo>
                    <a:pt x="5351" y="3158"/>
                    <a:pt x="4482" y="2392"/>
                    <a:pt x="3614" y="2392"/>
                  </a:cubicBezTo>
                  <a:cubicBezTo>
                    <a:pt x="3194" y="2392"/>
                    <a:pt x="2970" y="2892"/>
                    <a:pt x="2549" y="31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1" name="Shape 2395">
              <a:extLst>
                <a:ext uri="{FF2B5EF4-FFF2-40B4-BE49-F238E27FC236}">
                  <a16:creationId xmlns:a16="http://schemas.microsoft.com/office/drawing/2014/main" id="{78637D16-1715-844E-B544-FD12F7506415}"/>
                </a:ext>
              </a:extLst>
            </p:cNvPr>
            <p:cNvSpPr/>
            <p:nvPr/>
          </p:nvSpPr>
          <p:spPr>
            <a:xfrm>
              <a:off x="2712340" y="5018742"/>
              <a:ext cx="542687" cy="650686"/>
            </a:xfrm>
            <a:custGeom>
              <a:avLst/>
              <a:gdLst/>
              <a:ahLst/>
              <a:cxnLst>
                <a:cxn ang="0">
                  <a:pos x="wd2" y="hd2"/>
                </a:cxn>
                <a:cxn ang="5400000">
                  <a:pos x="wd2" y="hd2"/>
                </a:cxn>
                <a:cxn ang="10800000">
                  <a:pos x="wd2" y="hd2"/>
                </a:cxn>
                <a:cxn ang="16200000">
                  <a:pos x="wd2" y="hd2"/>
                </a:cxn>
              </a:cxnLst>
              <a:rect l="0" t="0" r="r" b="b"/>
              <a:pathLst>
                <a:path w="21154" h="21548" extrusionOk="0">
                  <a:moveTo>
                    <a:pt x="4125" y="1579"/>
                  </a:moveTo>
                  <a:cubicBezTo>
                    <a:pt x="4533" y="2686"/>
                    <a:pt x="5138" y="3971"/>
                    <a:pt x="3625" y="4474"/>
                  </a:cubicBezTo>
                  <a:cubicBezTo>
                    <a:pt x="3125" y="4652"/>
                    <a:pt x="2520" y="6273"/>
                    <a:pt x="2928" y="6440"/>
                  </a:cubicBezTo>
                  <a:cubicBezTo>
                    <a:pt x="4638" y="7211"/>
                    <a:pt x="1823" y="8832"/>
                    <a:pt x="718" y="8921"/>
                  </a:cubicBezTo>
                  <a:cubicBezTo>
                    <a:pt x="-387" y="8921"/>
                    <a:pt x="113" y="9513"/>
                    <a:pt x="113" y="10105"/>
                  </a:cubicBezTo>
                  <a:cubicBezTo>
                    <a:pt x="508" y="10105"/>
                    <a:pt x="810" y="10027"/>
                    <a:pt x="1218" y="10195"/>
                  </a:cubicBezTo>
                  <a:cubicBezTo>
                    <a:pt x="1415" y="10284"/>
                    <a:pt x="1415" y="10619"/>
                    <a:pt x="1520" y="10798"/>
                  </a:cubicBezTo>
                  <a:cubicBezTo>
                    <a:pt x="1626" y="11055"/>
                    <a:pt x="1626" y="11312"/>
                    <a:pt x="1718" y="11480"/>
                  </a:cubicBezTo>
                  <a:cubicBezTo>
                    <a:pt x="1718" y="11648"/>
                    <a:pt x="1915" y="11815"/>
                    <a:pt x="1823" y="11994"/>
                  </a:cubicBezTo>
                  <a:cubicBezTo>
                    <a:pt x="1823" y="12240"/>
                    <a:pt x="1520" y="12329"/>
                    <a:pt x="1415" y="12497"/>
                  </a:cubicBezTo>
                  <a:cubicBezTo>
                    <a:pt x="1218" y="12586"/>
                    <a:pt x="1218" y="12754"/>
                    <a:pt x="1021" y="12843"/>
                  </a:cubicBezTo>
                  <a:cubicBezTo>
                    <a:pt x="718" y="12921"/>
                    <a:pt x="310" y="12921"/>
                    <a:pt x="8" y="13011"/>
                  </a:cubicBezTo>
                  <a:lnTo>
                    <a:pt x="8" y="13100"/>
                  </a:lnTo>
                  <a:cubicBezTo>
                    <a:pt x="113" y="15313"/>
                    <a:pt x="3125" y="14296"/>
                    <a:pt x="4638" y="14296"/>
                  </a:cubicBezTo>
                  <a:cubicBezTo>
                    <a:pt x="4125" y="14296"/>
                    <a:pt x="3231" y="15145"/>
                    <a:pt x="2731" y="15570"/>
                  </a:cubicBezTo>
                  <a:cubicBezTo>
                    <a:pt x="2823" y="15749"/>
                    <a:pt x="2928" y="15994"/>
                    <a:pt x="2928" y="16251"/>
                  </a:cubicBezTo>
                  <a:cubicBezTo>
                    <a:pt x="2823" y="16687"/>
                    <a:pt x="2625" y="17201"/>
                    <a:pt x="2218" y="17536"/>
                  </a:cubicBezTo>
                  <a:cubicBezTo>
                    <a:pt x="2126" y="17626"/>
                    <a:pt x="1823" y="17447"/>
                    <a:pt x="1626" y="17536"/>
                  </a:cubicBezTo>
                  <a:cubicBezTo>
                    <a:pt x="1323" y="17793"/>
                    <a:pt x="915" y="18050"/>
                    <a:pt x="810" y="18475"/>
                  </a:cubicBezTo>
                  <a:cubicBezTo>
                    <a:pt x="810" y="18643"/>
                    <a:pt x="1323" y="18732"/>
                    <a:pt x="1218" y="18900"/>
                  </a:cubicBezTo>
                  <a:cubicBezTo>
                    <a:pt x="1218" y="19067"/>
                    <a:pt x="915" y="19157"/>
                    <a:pt x="810" y="19324"/>
                  </a:cubicBezTo>
                  <a:cubicBezTo>
                    <a:pt x="718" y="19503"/>
                    <a:pt x="613" y="19760"/>
                    <a:pt x="718" y="19928"/>
                  </a:cubicBezTo>
                  <a:cubicBezTo>
                    <a:pt x="1021" y="20274"/>
                    <a:pt x="1415" y="20442"/>
                    <a:pt x="1823" y="20609"/>
                  </a:cubicBezTo>
                  <a:cubicBezTo>
                    <a:pt x="2020" y="20699"/>
                    <a:pt x="2428" y="20777"/>
                    <a:pt x="2428" y="20609"/>
                  </a:cubicBezTo>
                  <a:cubicBezTo>
                    <a:pt x="2428" y="20274"/>
                    <a:pt x="1626" y="19760"/>
                    <a:pt x="2020" y="19503"/>
                  </a:cubicBezTo>
                  <a:cubicBezTo>
                    <a:pt x="2428" y="19324"/>
                    <a:pt x="2625" y="20095"/>
                    <a:pt x="3033" y="20274"/>
                  </a:cubicBezTo>
                  <a:cubicBezTo>
                    <a:pt x="3231" y="20352"/>
                    <a:pt x="3625" y="20274"/>
                    <a:pt x="3836" y="20442"/>
                  </a:cubicBezTo>
                  <a:cubicBezTo>
                    <a:pt x="4033" y="20609"/>
                    <a:pt x="3836" y="20866"/>
                    <a:pt x="3730" y="21034"/>
                  </a:cubicBezTo>
                  <a:cubicBezTo>
                    <a:pt x="5230" y="21548"/>
                    <a:pt x="5230" y="21548"/>
                    <a:pt x="5230" y="21548"/>
                  </a:cubicBezTo>
                  <a:cubicBezTo>
                    <a:pt x="5230" y="21380"/>
                    <a:pt x="5138" y="21123"/>
                    <a:pt x="5230" y="20866"/>
                  </a:cubicBezTo>
                  <a:cubicBezTo>
                    <a:pt x="5441" y="20699"/>
                    <a:pt x="5638" y="20442"/>
                    <a:pt x="5940" y="20352"/>
                  </a:cubicBezTo>
                  <a:cubicBezTo>
                    <a:pt x="6138" y="20352"/>
                    <a:pt x="6138" y="20777"/>
                    <a:pt x="6348" y="20866"/>
                  </a:cubicBezTo>
                  <a:cubicBezTo>
                    <a:pt x="6651" y="20866"/>
                    <a:pt x="6848" y="20699"/>
                    <a:pt x="7151" y="20609"/>
                  </a:cubicBezTo>
                  <a:cubicBezTo>
                    <a:pt x="7243" y="20274"/>
                    <a:pt x="7545" y="19928"/>
                    <a:pt x="7545" y="19503"/>
                  </a:cubicBezTo>
                  <a:cubicBezTo>
                    <a:pt x="7651" y="19324"/>
                    <a:pt x="7453" y="19067"/>
                    <a:pt x="7453" y="18900"/>
                  </a:cubicBezTo>
                  <a:lnTo>
                    <a:pt x="7743" y="18386"/>
                  </a:lnTo>
                  <a:lnTo>
                    <a:pt x="8848" y="18050"/>
                  </a:lnTo>
                  <a:cubicBezTo>
                    <a:pt x="8953" y="18218"/>
                    <a:pt x="9058" y="18386"/>
                    <a:pt x="9255" y="18643"/>
                  </a:cubicBezTo>
                  <a:cubicBezTo>
                    <a:pt x="9453" y="18386"/>
                    <a:pt x="9558" y="18050"/>
                    <a:pt x="9861" y="18050"/>
                  </a:cubicBezTo>
                  <a:cubicBezTo>
                    <a:pt x="10163" y="17961"/>
                    <a:pt x="10268" y="18475"/>
                    <a:pt x="10466" y="18475"/>
                  </a:cubicBezTo>
                  <a:cubicBezTo>
                    <a:pt x="10965" y="18307"/>
                    <a:pt x="11163" y="17883"/>
                    <a:pt x="11465" y="17626"/>
                  </a:cubicBezTo>
                  <a:cubicBezTo>
                    <a:pt x="11360" y="17201"/>
                    <a:pt x="11163" y="16855"/>
                    <a:pt x="11163" y="16430"/>
                  </a:cubicBezTo>
                  <a:cubicBezTo>
                    <a:pt x="11163" y="16084"/>
                    <a:pt x="11571" y="15827"/>
                    <a:pt x="11571" y="15570"/>
                  </a:cubicBezTo>
                  <a:cubicBezTo>
                    <a:pt x="11465" y="15234"/>
                    <a:pt x="10860" y="15145"/>
                    <a:pt x="10663" y="14810"/>
                  </a:cubicBezTo>
                  <a:cubicBezTo>
                    <a:pt x="10558" y="14631"/>
                    <a:pt x="10663" y="14296"/>
                    <a:pt x="10663" y="14039"/>
                  </a:cubicBezTo>
                  <a:cubicBezTo>
                    <a:pt x="10768" y="13949"/>
                    <a:pt x="10663" y="13692"/>
                    <a:pt x="10860" y="13614"/>
                  </a:cubicBezTo>
                  <a:cubicBezTo>
                    <a:pt x="11071" y="13435"/>
                    <a:pt x="11465" y="13614"/>
                    <a:pt x="11663" y="13525"/>
                  </a:cubicBezTo>
                  <a:cubicBezTo>
                    <a:pt x="11873" y="13435"/>
                    <a:pt x="11965" y="13178"/>
                    <a:pt x="12268" y="13178"/>
                  </a:cubicBezTo>
                  <a:cubicBezTo>
                    <a:pt x="12465" y="13178"/>
                    <a:pt x="12676" y="13357"/>
                    <a:pt x="12873" y="13525"/>
                  </a:cubicBezTo>
                  <a:lnTo>
                    <a:pt x="13070" y="14553"/>
                  </a:lnTo>
                  <a:cubicBezTo>
                    <a:pt x="13070" y="14631"/>
                    <a:pt x="13781" y="15749"/>
                    <a:pt x="13781" y="15749"/>
                  </a:cubicBezTo>
                  <a:cubicBezTo>
                    <a:pt x="13978" y="15749"/>
                    <a:pt x="14175" y="15749"/>
                    <a:pt x="14280" y="15916"/>
                  </a:cubicBezTo>
                  <a:cubicBezTo>
                    <a:pt x="14386" y="15994"/>
                    <a:pt x="14386" y="16251"/>
                    <a:pt x="14478" y="16430"/>
                  </a:cubicBezTo>
                  <a:cubicBezTo>
                    <a:pt x="14780" y="16598"/>
                    <a:pt x="15083" y="16765"/>
                    <a:pt x="15385" y="16765"/>
                  </a:cubicBezTo>
                  <a:cubicBezTo>
                    <a:pt x="15583" y="16855"/>
                    <a:pt x="15688" y="16430"/>
                    <a:pt x="15780" y="16598"/>
                  </a:cubicBezTo>
                  <a:cubicBezTo>
                    <a:pt x="15991" y="16855"/>
                    <a:pt x="15885" y="17369"/>
                    <a:pt x="16083" y="17704"/>
                  </a:cubicBezTo>
                  <a:cubicBezTo>
                    <a:pt x="16188" y="17883"/>
                    <a:pt x="16385" y="17883"/>
                    <a:pt x="16490" y="17961"/>
                  </a:cubicBezTo>
                  <a:cubicBezTo>
                    <a:pt x="16490" y="17626"/>
                    <a:pt x="16293" y="17201"/>
                    <a:pt x="16490" y="16944"/>
                  </a:cubicBezTo>
                  <a:cubicBezTo>
                    <a:pt x="16688" y="16598"/>
                    <a:pt x="17096" y="16341"/>
                    <a:pt x="17490" y="16430"/>
                  </a:cubicBezTo>
                  <a:cubicBezTo>
                    <a:pt x="17898" y="16430"/>
                    <a:pt x="17898" y="16944"/>
                    <a:pt x="18201" y="17112"/>
                  </a:cubicBezTo>
                  <a:cubicBezTo>
                    <a:pt x="18398" y="17279"/>
                    <a:pt x="18595" y="17447"/>
                    <a:pt x="18700" y="17369"/>
                  </a:cubicBezTo>
                  <a:cubicBezTo>
                    <a:pt x="18898" y="17201"/>
                    <a:pt x="18503" y="16855"/>
                    <a:pt x="18595" y="16687"/>
                  </a:cubicBezTo>
                  <a:cubicBezTo>
                    <a:pt x="18595" y="16508"/>
                    <a:pt x="18898" y="16341"/>
                    <a:pt x="19003" y="16173"/>
                  </a:cubicBezTo>
                  <a:cubicBezTo>
                    <a:pt x="18806" y="15749"/>
                    <a:pt x="18398" y="15313"/>
                    <a:pt x="18503" y="14810"/>
                  </a:cubicBezTo>
                  <a:cubicBezTo>
                    <a:pt x="18503" y="14463"/>
                    <a:pt x="19200" y="14385"/>
                    <a:pt x="19398" y="14039"/>
                  </a:cubicBezTo>
                  <a:cubicBezTo>
                    <a:pt x="19503" y="13782"/>
                    <a:pt x="19306" y="13357"/>
                    <a:pt x="19398" y="13100"/>
                  </a:cubicBezTo>
                  <a:cubicBezTo>
                    <a:pt x="19398" y="12921"/>
                    <a:pt x="19398" y="12676"/>
                    <a:pt x="19503" y="12586"/>
                  </a:cubicBezTo>
                  <a:cubicBezTo>
                    <a:pt x="19911" y="12329"/>
                    <a:pt x="20411" y="12162"/>
                    <a:pt x="20805" y="11905"/>
                  </a:cubicBezTo>
                  <a:cubicBezTo>
                    <a:pt x="20910" y="11815"/>
                    <a:pt x="21108" y="11737"/>
                    <a:pt x="21108" y="11648"/>
                  </a:cubicBezTo>
                  <a:cubicBezTo>
                    <a:pt x="21213" y="11480"/>
                    <a:pt x="21108" y="11312"/>
                    <a:pt x="21108" y="11134"/>
                  </a:cubicBezTo>
                  <a:cubicBezTo>
                    <a:pt x="20411" y="10362"/>
                    <a:pt x="19911" y="9513"/>
                    <a:pt x="19200" y="8832"/>
                  </a:cubicBezTo>
                  <a:cubicBezTo>
                    <a:pt x="19003" y="8575"/>
                    <a:pt x="18503" y="8742"/>
                    <a:pt x="18306" y="8575"/>
                  </a:cubicBezTo>
                  <a:cubicBezTo>
                    <a:pt x="18095" y="8318"/>
                    <a:pt x="18201" y="7893"/>
                    <a:pt x="18003" y="7547"/>
                  </a:cubicBezTo>
                  <a:cubicBezTo>
                    <a:pt x="17898" y="7468"/>
                    <a:pt x="17595" y="7379"/>
                    <a:pt x="17398" y="7379"/>
                  </a:cubicBezTo>
                  <a:cubicBezTo>
                    <a:pt x="17096" y="7290"/>
                    <a:pt x="16688" y="7468"/>
                    <a:pt x="16385" y="7379"/>
                  </a:cubicBezTo>
                  <a:cubicBezTo>
                    <a:pt x="15885" y="7290"/>
                    <a:pt x="15280" y="7122"/>
                    <a:pt x="14978" y="6787"/>
                  </a:cubicBezTo>
                  <a:cubicBezTo>
                    <a:pt x="14688" y="6351"/>
                    <a:pt x="15188" y="5669"/>
                    <a:pt x="14780" y="5334"/>
                  </a:cubicBezTo>
                  <a:cubicBezTo>
                    <a:pt x="14175" y="4988"/>
                    <a:pt x="13281" y="5591"/>
                    <a:pt x="12570" y="5412"/>
                  </a:cubicBezTo>
                  <a:cubicBezTo>
                    <a:pt x="12373" y="5334"/>
                    <a:pt x="12570" y="4988"/>
                    <a:pt x="12465" y="4820"/>
                  </a:cubicBezTo>
                  <a:cubicBezTo>
                    <a:pt x="12465" y="4563"/>
                    <a:pt x="12373" y="4306"/>
                    <a:pt x="12163" y="4049"/>
                  </a:cubicBezTo>
                  <a:cubicBezTo>
                    <a:pt x="11873" y="3714"/>
                    <a:pt x="11268" y="3457"/>
                    <a:pt x="11071" y="3021"/>
                  </a:cubicBezTo>
                  <a:cubicBezTo>
                    <a:pt x="10965" y="2775"/>
                    <a:pt x="11071" y="2429"/>
                    <a:pt x="11163" y="2172"/>
                  </a:cubicBezTo>
                  <a:cubicBezTo>
                    <a:pt x="11360" y="1836"/>
                    <a:pt x="11873" y="1658"/>
                    <a:pt x="12163" y="1322"/>
                  </a:cubicBezTo>
                  <a:cubicBezTo>
                    <a:pt x="12465" y="976"/>
                    <a:pt x="12676" y="551"/>
                    <a:pt x="12873" y="205"/>
                  </a:cubicBezTo>
                  <a:cubicBezTo>
                    <a:pt x="12873" y="127"/>
                    <a:pt x="12873" y="37"/>
                    <a:pt x="12768" y="37"/>
                  </a:cubicBezTo>
                  <a:cubicBezTo>
                    <a:pt x="12373" y="-52"/>
                    <a:pt x="11965" y="37"/>
                    <a:pt x="11571" y="127"/>
                  </a:cubicBezTo>
                  <a:cubicBezTo>
                    <a:pt x="11163" y="294"/>
                    <a:pt x="10860" y="719"/>
                    <a:pt x="10360" y="808"/>
                  </a:cubicBezTo>
                  <a:cubicBezTo>
                    <a:pt x="9966" y="976"/>
                    <a:pt x="9453" y="641"/>
                    <a:pt x="9058" y="719"/>
                  </a:cubicBezTo>
                  <a:cubicBezTo>
                    <a:pt x="8650" y="898"/>
                    <a:pt x="8650" y="1490"/>
                    <a:pt x="8256" y="1747"/>
                  </a:cubicBezTo>
                  <a:cubicBezTo>
                    <a:pt x="7953" y="1836"/>
                    <a:pt x="7545" y="1747"/>
                    <a:pt x="7243" y="1579"/>
                  </a:cubicBezTo>
                  <a:cubicBezTo>
                    <a:pt x="6940" y="1401"/>
                    <a:pt x="7045" y="1065"/>
                    <a:pt x="6743" y="976"/>
                  </a:cubicBezTo>
                  <a:cubicBezTo>
                    <a:pt x="6440" y="808"/>
                    <a:pt x="6046" y="719"/>
                    <a:pt x="5638" y="808"/>
                  </a:cubicBezTo>
                  <a:cubicBezTo>
                    <a:pt x="5533" y="898"/>
                    <a:pt x="5533" y="1155"/>
                    <a:pt x="5441" y="1233"/>
                  </a:cubicBezTo>
                  <a:cubicBezTo>
                    <a:pt x="5033" y="1401"/>
                    <a:pt x="4638" y="1401"/>
                    <a:pt x="4125" y="157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2" name="Shape 2396">
              <a:extLst>
                <a:ext uri="{FF2B5EF4-FFF2-40B4-BE49-F238E27FC236}">
                  <a16:creationId xmlns:a16="http://schemas.microsoft.com/office/drawing/2014/main" id="{823E2A27-2825-5FDB-0463-E4775EC312D5}"/>
                </a:ext>
              </a:extLst>
            </p:cNvPr>
            <p:cNvSpPr/>
            <p:nvPr/>
          </p:nvSpPr>
          <p:spPr>
            <a:xfrm>
              <a:off x="2712814" y="5323723"/>
              <a:ext cx="46993" cy="88528"/>
            </a:xfrm>
            <a:custGeom>
              <a:avLst/>
              <a:gdLst/>
              <a:ahLst/>
              <a:cxnLst>
                <a:cxn ang="0">
                  <a:pos x="wd2" y="hd2"/>
                </a:cxn>
                <a:cxn ang="5400000">
                  <a:pos x="wd2" y="hd2"/>
                </a:cxn>
                <a:cxn ang="10800000">
                  <a:pos x="wd2" y="hd2"/>
                </a:cxn>
                <a:cxn ang="16200000">
                  <a:pos x="wd2" y="hd2"/>
                </a:cxn>
              </a:cxnLst>
              <a:rect l="0" t="0" r="r" b="b"/>
              <a:pathLst>
                <a:path w="20834" h="21166" extrusionOk="0">
                  <a:moveTo>
                    <a:pt x="1192" y="132"/>
                  </a:moveTo>
                  <a:cubicBezTo>
                    <a:pt x="1192" y="779"/>
                    <a:pt x="1192" y="1427"/>
                    <a:pt x="1192" y="1993"/>
                  </a:cubicBezTo>
                  <a:cubicBezTo>
                    <a:pt x="0" y="8222"/>
                    <a:pt x="0" y="15018"/>
                    <a:pt x="0" y="21166"/>
                  </a:cubicBezTo>
                  <a:cubicBezTo>
                    <a:pt x="3426" y="20519"/>
                    <a:pt x="8044" y="20519"/>
                    <a:pt x="11470" y="19953"/>
                  </a:cubicBezTo>
                  <a:cubicBezTo>
                    <a:pt x="13705" y="19305"/>
                    <a:pt x="13705" y="18092"/>
                    <a:pt x="15939" y="17445"/>
                  </a:cubicBezTo>
                  <a:cubicBezTo>
                    <a:pt x="17131" y="16231"/>
                    <a:pt x="20557" y="15584"/>
                    <a:pt x="20557" y="13804"/>
                  </a:cubicBezTo>
                  <a:cubicBezTo>
                    <a:pt x="21600" y="12510"/>
                    <a:pt x="19366" y="11296"/>
                    <a:pt x="19366" y="10083"/>
                  </a:cubicBezTo>
                  <a:cubicBezTo>
                    <a:pt x="18323" y="8869"/>
                    <a:pt x="18323" y="7009"/>
                    <a:pt x="17131" y="5148"/>
                  </a:cubicBezTo>
                  <a:cubicBezTo>
                    <a:pt x="15939" y="3854"/>
                    <a:pt x="15939" y="1427"/>
                    <a:pt x="13705" y="779"/>
                  </a:cubicBezTo>
                  <a:cubicBezTo>
                    <a:pt x="9087" y="-434"/>
                    <a:pt x="5661" y="132"/>
                    <a:pt x="1192" y="13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3" name="Shape 2397">
              <a:extLst>
                <a:ext uri="{FF2B5EF4-FFF2-40B4-BE49-F238E27FC236}">
                  <a16:creationId xmlns:a16="http://schemas.microsoft.com/office/drawing/2014/main" id="{D6388D9F-D12B-12BB-9E72-617289DE0009}"/>
                </a:ext>
              </a:extLst>
            </p:cNvPr>
            <p:cNvSpPr/>
            <p:nvPr/>
          </p:nvSpPr>
          <p:spPr>
            <a:xfrm>
              <a:off x="2995328" y="4710927"/>
              <a:ext cx="1228893" cy="847010"/>
            </a:xfrm>
            <a:custGeom>
              <a:avLst/>
              <a:gdLst/>
              <a:ahLst/>
              <a:cxnLst>
                <a:cxn ang="0">
                  <a:pos x="wd2" y="hd2"/>
                </a:cxn>
                <a:cxn ang="5400000">
                  <a:pos x="wd2" y="hd2"/>
                </a:cxn>
                <a:cxn ang="10800000">
                  <a:pos x="wd2" y="hd2"/>
                </a:cxn>
                <a:cxn ang="16200000">
                  <a:pos x="wd2" y="hd2"/>
                </a:cxn>
              </a:cxnLst>
              <a:rect l="0" t="0" r="r" b="b"/>
              <a:pathLst>
                <a:path w="21572" h="21600" extrusionOk="0">
                  <a:moveTo>
                    <a:pt x="830" y="8002"/>
                  </a:moveTo>
                  <a:cubicBezTo>
                    <a:pt x="1013" y="7942"/>
                    <a:pt x="1149" y="7942"/>
                    <a:pt x="1279" y="7805"/>
                  </a:cubicBezTo>
                  <a:cubicBezTo>
                    <a:pt x="1416" y="7676"/>
                    <a:pt x="1416" y="7349"/>
                    <a:pt x="1552" y="7280"/>
                  </a:cubicBezTo>
                  <a:cubicBezTo>
                    <a:pt x="1688" y="7220"/>
                    <a:pt x="1824" y="7676"/>
                    <a:pt x="1913" y="7547"/>
                  </a:cubicBezTo>
                  <a:cubicBezTo>
                    <a:pt x="2049" y="7151"/>
                    <a:pt x="2007" y="6696"/>
                    <a:pt x="2049" y="6232"/>
                  </a:cubicBezTo>
                  <a:cubicBezTo>
                    <a:pt x="2049" y="5974"/>
                    <a:pt x="2137" y="5707"/>
                    <a:pt x="2049" y="5441"/>
                  </a:cubicBezTo>
                  <a:cubicBezTo>
                    <a:pt x="2007" y="5183"/>
                    <a:pt x="1688" y="5114"/>
                    <a:pt x="1688" y="4856"/>
                  </a:cubicBezTo>
                  <a:cubicBezTo>
                    <a:pt x="1688" y="4590"/>
                    <a:pt x="1871" y="4530"/>
                    <a:pt x="2007" y="4392"/>
                  </a:cubicBezTo>
                  <a:cubicBezTo>
                    <a:pt x="2096" y="4332"/>
                    <a:pt x="2273" y="4392"/>
                    <a:pt x="2321" y="4263"/>
                  </a:cubicBezTo>
                  <a:cubicBezTo>
                    <a:pt x="2368" y="4066"/>
                    <a:pt x="2137" y="3868"/>
                    <a:pt x="2137" y="3670"/>
                  </a:cubicBezTo>
                  <a:cubicBezTo>
                    <a:pt x="2137" y="3473"/>
                    <a:pt x="2232" y="3215"/>
                    <a:pt x="2321" y="3077"/>
                  </a:cubicBezTo>
                  <a:cubicBezTo>
                    <a:pt x="2368" y="2888"/>
                    <a:pt x="2504" y="2690"/>
                    <a:pt x="2640" y="2622"/>
                  </a:cubicBezTo>
                  <a:cubicBezTo>
                    <a:pt x="2818" y="2553"/>
                    <a:pt x="3043" y="2750"/>
                    <a:pt x="3226" y="2690"/>
                  </a:cubicBezTo>
                  <a:cubicBezTo>
                    <a:pt x="3315" y="2690"/>
                    <a:pt x="3362" y="2553"/>
                    <a:pt x="3451" y="2493"/>
                  </a:cubicBezTo>
                  <a:cubicBezTo>
                    <a:pt x="3634" y="2424"/>
                    <a:pt x="3900" y="2493"/>
                    <a:pt x="4084" y="2364"/>
                  </a:cubicBezTo>
                  <a:cubicBezTo>
                    <a:pt x="4261" y="2295"/>
                    <a:pt x="4356" y="1968"/>
                    <a:pt x="4533" y="1968"/>
                  </a:cubicBezTo>
                  <a:cubicBezTo>
                    <a:pt x="4764" y="1968"/>
                    <a:pt x="4942" y="2226"/>
                    <a:pt x="5166" y="2424"/>
                  </a:cubicBezTo>
                  <a:cubicBezTo>
                    <a:pt x="5214" y="2493"/>
                    <a:pt x="5214" y="2690"/>
                    <a:pt x="5302" y="2690"/>
                  </a:cubicBezTo>
                  <a:cubicBezTo>
                    <a:pt x="5622" y="2553"/>
                    <a:pt x="5983" y="2364"/>
                    <a:pt x="6296" y="2028"/>
                  </a:cubicBezTo>
                  <a:cubicBezTo>
                    <a:pt x="6391" y="1968"/>
                    <a:pt x="6208" y="1573"/>
                    <a:pt x="6344" y="1573"/>
                  </a:cubicBezTo>
                  <a:cubicBezTo>
                    <a:pt x="6527" y="1504"/>
                    <a:pt x="6657" y="2028"/>
                    <a:pt x="6793" y="1900"/>
                  </a:cubicBezTo>
                  <a:cubicBezTo>
                    <a:pt x="7018" y="1642"/>
                    <a:pt x="6841" y="1109"/>
                    <a:pt x="7018" y="851"/>
                  </a:cubicBezTo>
                  <a:cubicBezTo>
                    <a:pt x="7113" y="722"/>
                    <a:pt x="7290" y="911"/>
                    <a:pt x="7426" y="911"/>
                  </a:cubicBezTo>
                  <a:cubicBezTo>
                    <a:pt x="7515" y="851"/>
                    <a:pt x="7610" y="782"/>
                    <a:pt x="7746" y="782"/>
                  </a:cubicBezTo>
                  <a:cubicBezTo>
                    <a:pt x="7923" y="851"/>
                    <a:pt x="8148" y="980"/>
                    <a:pt x="8332" y="1049"/>
                  </a:cubicBezTo>
                  <a:cubicBezTo>
                    <a:pt x="8420" y="1109"/>
                    <a:pt x="8556" y="1178"/>
                    <a:pt x="8645" y="1306"/>
                  </a:cubicBezTo>
                  <a:cubicBezTo>
                    <a:pt x="8781" y="1444"/>
                    <a:pt x="8829" y="1702"/>
                    <a:pt x="8917" y="1900"/>
                  </a:cubicBezTo>
                  <a:cubicBezTo>
                    <a:pt x="9006" y="2028"/>
                    <a:pt x="9053" y="2166"/>
                    <a:pt x="9189" y="2226"/>
                  </a:cubicBezTo>
                  <a:cubicBezTo>
                    <a:pt x="9278" y="2226"/>
                    <a:pt x="9325" y="2028"/>
                    <a:pt x="9414" y="2028"/>
                  </a:cubicBezTo>
                  <a:cubicBezTo>
                    <a:pt x="9598" y="2097"/>
                    <a:pt x="9686" y="2493"/>
                    <a:pt x="9870" y="2493"/>
                  </a:cubicBezTo>
                  <a:cubicBezTo>
                    <a:pt x="9959" y="2424"/>
                    <a:pt x="10006" y="2166"/>
                    <a:pt x="10006" y="1968"/>
                  </a:cubicBezTo>
                  <a:cubicBezTo>
                    <a:pt x="10006" y="1771"/>
                    <a:pt x="9775" y="1573"/>
                    <a:pt x="9870" y="1444"/>
                  </a:cubicBezTo>
                  <a:cubicBezTo>
                    <a:pt x="10006" y="1375"/>
                    <a:pt x="10095" y="1642"/>
                    <a:pt x="10183" y="1771"/>
                  </a:cubicBezTo>
                  <a:cubicBezTo>
                    <a:pt x="10231" y="1900"/>
                    <a:pt x="10272" y="2097"/>
                    <a:pt x="10367" y="2097"/>
                  </a:cubicBezTo>
                  <a:cubicBezTo>
                    <a:pt x="10455" y="2097"/>
                    <a:pt x="10367" y="1839"/>
                    <a:pt x="10408" y="1702"/>
                  </a:cubicBezTo>
                  <a:cubicBezTo>
                    <a:pt x="10455" y="1702"/>
                    <a:pt x="10503" y="1839"/>
                    <a:pt x="10544" y="1839"/>
                  </a:cubicBezTo>
                  <a:cubicBezTo>
                    <a:pt x="10592" y="1900"/>
                    <a:pt x="10680" y="1771"/>
                    <a:pt x="10728" y="1839"/>
                  </a:cubicBezTo>
                  <a:cubicBezTo>
                    <a:pt x="10769" y="1968"/>
                    <a:pt x="10680" y="2166"/>
                    <a:pt x="10769" y="2295"/>
                  </a:cubicBezTo>
                  <a:cubicBezTo>
                    <a:pt x="10816" y="2364"/>
                    <a:pt x="10905" y="2226"/>
                    <a:pt x="10952" y="2226"/>
                  </a:cubicBezTo>
                  <a:cubicBezTo>
                    <a:pt x="11000" y="2226"/>
                    <a:pt x="11000" y="2364"/>
                    <a:pt x="11000" y="2364"/>
                  </a:cubicBezTo>
                  <a:cubicBezTo>
                    <a:pt x="11225" y="2226"/>
                    <a:pt x="11402" y="2028"/>
                    <a:pt x="11585" y="1900"/>
                  </a:cubicBezTo>
                  <a:cubicBezTo>
                    <a:pt x="11674" y="1839"/>
                    <a:pt x="11810" y="1771"/>
                    <a:pt x="11858" y="1702"/>
                  </a:cubicBezTo>
                  <a:cubicBezTo>
                    <a:pt x="11946" y="1573"/>
                    <a:pt x="11946" y="1444"/>
                    <a:pt x="11994" y="1306"/>
                  </a:cubicBezTo>
                  <a:cubicBezTo>
                    <a:pt x="12804" y="1504"/>
                    <a:pt x="12804" y="1504"/>
                    <a:pt x="12804" y="1504"/>
                  </a:cubicBezTo>
                  <a:cubicBezTo>
                    <a:pt x="12804" y="1504"/>
                    <a:pt x="13076" y="1573"/>
                    <a:pt x="13124" y="1573"/>
                  </a:cubicBezTo>
                  <a:cubicBezTo>
                    <a:pt x="13165" y="1573"/>
                    <a:pt x="13348" y="1444"/>
                    <a:pt x="13348" y="1444"/>
                  </a:cubicBezTo>
                  <a:cubicBezTo>
                    <a:pt x="13485" y="1504"/>
                    <a:pt x="13662" y="1642"/>
                    <a:pt x="13798" y="1642"/>
                  </a:cubicBezTo>
                  <a:cubicBezTo>
                    <a:pt x="13845" y="1642"/>
                    <a:pt x="13845" y="1444"/>
                    <a:pt x="13887" y="1444"/>
                  </a:cubicBezTo>
                  <a:cubicBezTo>
                    <a:pt x="13982" y="1375"/>
                    <a:pt x="14118" y="1444"/>
                    <a:pt x="14248" y="1504"/>
                  </a:cubicBezTo>
                  <a:cubicBezTo>
                    <a:pt x="14384" y="1573"/>
                    <a:pt x="14478" y="1771"/>
                    <a:pt x="14656" y="1839"/>
                  </a:cubicBezTo>
                  <a:cubicBezTo>
                    <a:pt x="14839" y="1839"/>
                    <a:pt x="14975" y="1642"/>
                    <a:pt x="15153" y="1642"/>
                  </a:cubicBezTo>
                  <a:cubicBezTo>
                    <a:pt x="15289" y="1642"/>
                    <a:pt x="15425" y="1771"/>
                    <a:pt x="15514" y="1702"/>
                  </a:cubicBezTo>
                  <a:cubicBezTo>
                    <a:pt x="15561" y="1642"/>
                    <a:pt x="15425" y="1504"/>
                    <a:pt x="15425" y="1375"/>
                  </a:cubicBezTo>
                  <a:cubicBezTo>
                    <a:pt x="15472" y="1109"/>
                    <a:pt x="15472" y="851"/>
                    <a:pt x="15608" y="584"/>
                  </a:cubicBezTo>
                  <a:cubicBezTo>
                    <a:pt x="15697" y="327"/>
                    <a:pt x="15833" y="258"/>
                    <a:pt x="16011" y="0"/>
                  </a:cubicBezTo>
                  <a:cubicBezTo>
                    <a:pt x="16466" y="258"/>
                    <a:pt x="16875" y="584"/>
                    <a:pt x="17141" y="1049"/>
                  </a:cubicBezTo>
                  <a:cubicBezTo>
                    <a:pt x="17413" y="1573"/>
                    <a:pt x="17910" y="1771"/>
                    <a:pt x="18271" y="2166"/>
                  </a:cubicBezTo>
                  <a:cubicBezTo>
                    <a:pt x="18365" y="2226"/>
                    <a:pt x="18679" y="2493"/>
                    <a:pt x="18679" y="2553"/>
                  </a:cubicBezTo>
                  <a:cubicBezTo>
                    <a:pt x="18679" y="3077"/>
                    <a:pt x="18501" y="3077"/>
                    <a:pt x="18862" y="3541"/>
                  </a:cubicBezTo>
                  <a:cubicBezTo>
                    <a:pt x="19312" y="4134"/>
                    <a:pt x="19448" y="4659"/>
                    <a:pt x="19626" y="5441"/>
                  </a:cubicBezTo>
                  <a:cubicBezTo>
                    <a:pt x="19720" y="5776"/>
                    <a:pt x="19945" y="7091"/>
                    <a:pt x="20170" y="7220"/>
                  </a:cubicBezTo>
                  <a:cubicBezTo>
                    <a:pt x="20265" y="7418"/>
                    <a:pt x="20939" y="7873"/>
                    <a:pt x="20939" y="7873"/>
                  </a:cubicBezTo>
                  <a:cubicBezTo>
                    <a:pt x="20986" y="8991"/>
                    <a:pt x="21164" y="9059"/>
                    <a:pt x="21572" y="9317"/>
                  </a:cubicBezTo>
                  <a:cubicBezTo>
                    <a:pt x="21525" y="9584"/>
                    <a:pt x="21572" y="9842"/>
                    <a:pt x="21389" y="9910"/>
                  </a:cubicBezTo>
                  <a:cubicBezTo>
                    <a:pt x="21028" y="10108"/>
                    <a:pt x="20625" y="9979"/>
                    <a:pt x="20306" y="9842"/>
                  </a:cubicBezTo>
                  <a:cubicBezTo>
                    <a:pt x="20034" y="9781"/>
                    <a:pt x="19898" y="9257"/>
                    <a:pt x="19626" y="9257"/>
                  </a:cubicBezTo>
                  <a:cubicBezTo>
                    <a:pt x="19401" y="9317"/>
                    <a:pt x="19359" y="9781"/>
                    <a:pt x="19223" y="9979"/>
                  </a:cubicBezTo>
                  <a:cubicBezTo>
                    <a:pt x="18998" y="10366"/>
                    <a:pt x="18768" y="10830"/>
                    <a:pt x="18454" y="11028"/>
                  </a:cubicBezTo>
                  <a:cubicBezTo>
                    <a:pt x="18271" y="11157"/>
                    <a:pt x="18046" y="10899"/>
                    <a:pt x="17863" y="10959"/>
                  </a:cubicBezTo>
                  <a:cubicBezTo>
                    <a:pt x="17638" y="11088"/>
                    <a:pt x="17460" y="11423"/>
                    <a:pt x="17277" y="11621"/>
                  </a:cubicBezTo>
                  <a:cubicBezTo>
                    <a:pt x="17188" y="11750"/>
                    <a:pt x="17052" y="11879"/>
                    <a:pt x="17011" y="12076"/>
                  </a:cubicBezTo>
                  <a:cubicBezTo>
                    <a:pt x="16963" y="12343"/>
                    <a:pt x="17099" y="12798"/>
                    <a:pt x="16963" y="12867"/>
                  </a:cubicBezTo>
                  <a:cubicBezTo>
                    <a:pt x="16780" y="12996"/>
                    <a:pt x="16644" y="12472"/>
                    <a:pt x="16419" y="12403"/>
                  </a:cubicBezTo>
                  <a:cubicBezTo>
                    <a:pt x="16105" y="12403"/>
                    <a:pt x="15745" y="12472"/>
                    <a:pt x="15425" y="12669"/>
                  </a:cubicBezTo>
                  <a:cubicBezTo>
                    <a:pt x="15153" y="12798"/>
                    <a:pt x="14975" y="13125"/>
                    <a:pt x="14792" y="13323"/>
                  </a:cubicBezTo>
                  <a:cubicBezTo>
                    <a:pt x="14615" y="13391"/>
                    <a:pt x="14478" y="13452"/>
                    <a:pt x="14342" y="13452"/>
                  </a:cubicBezTo>
                  <a:cubicBezTo>
                    <a:pt x="14248" y="13452"/>
                    <a:pt x="14159" y="13520"/>
                    <a:pt x="14159" y="13391"/>
                  </a:cubicBezTo>
                  <a:cubicBezTo>
                    <a:pt x="14118" y="13194"/>
                    <a:pt x="14206" y="12996"/>
                    <a:pt x="14248" y="12730"/>
                  </a:cubicBezTo>
                  <a:cubicBezTo>
                    <a:pt x="14248" y="12601"/>
                    <a:pt x="14295" y="12403"/>
                    <a:pt x="14248" y="12205"/>
                  </a:cubicBezTo>
                  <a:cubicBezTo>
                    <a:pt x="14159" y="12008"/>
                    <a:pt x="14023" y="11879"/>
                    <a:pt x="13845" y="11879"/>
                  </a:cubicBezTo>
                  <a:cubicBezTo>
                    <a:pt x="13662" y="11819"/>
                    <a:pt x="13485" y="11947"/>
                    <a:pt x="13348" y="12008"/>
                  </a:cubicBezTo>
                  <a:cubicBezTo>
                    <a:pt x="13124" y="12145"/>
                    <a:pt x="12852" y="12205"/>
                    <a:pt x="12715" y="12472"/>
                  </a:cubicBezTo>
                  <a:cubicBezTo>
                    <a:pt x="12621" y="12669"/>
                    <a:pt x="12804" y="12996"/>
                    <a:pt x="12715" y="13194"/>
                  </a:cubicBezTo>
                  <a:cubicBezTo>
                    <a:pt x="12668" y="13323"/>
                    <a:pt x="12491" y="12996"/>
                    <a:pt x="12396" y="13065"/>
                  </a:cubicBezTo>
                  <a:cubicBezTo>
                    <a:pt x="12355" y="13125"/>
                    <a:pt x="12532" y="13391"/>
                    <a:pt x="12443" y="13520"/>
                  </a:cubicBezTo>
                  <a:cubicBezTo>
                    <a:pt x="12355" y="13589"/>
                    <a:pt x="12171" y="13323"/>
                    <a:pt x="12082" y="13452"/>
                  </a:cubicBezTo>
                  <a:cubicBezTo>
                    <a:pt x="11994" y="13589"/>
                    <a:pt x="12082" y="13847"/>
                    <a:pt x="12130" y="13985"/>
                  </a:cubicBezTo>
                  <a:cubicBezTo>
                    <a:pt x="12219" y="14440"/>
                    <a:pt x="12260" y="14896"/>
                    <a:pt x="12491" y="15291"/>
                  </a:cubicBezTo>
                  <a:cubicBezTo>
                    <a:pt x="12621" y="15558"/>
                    <a:pt x="12852" y="15686"/>
                    <a:pt x="13076" y="15815"/>
                  </a:cubicBezTo>
                  <a:cubicBezTo>
                    <a:pt x="13212" y="15884"/>
                    <a:pt x="13348" y="15884"/>
                    <a:pt x="13485" y="15884"/>
                  </a:cubicBezTo>
                  <a:cubicBezTo>
                    <a:pt x="13662" y="15815"/>
                    <a:pt x="13887" y="15815"/>
                    <a:pt x="14118" y="15815"/>
                  </a:cubicBezTo>
                  <a:cubicBezTo>
                    <a:pt x="14295" y="15815"/>
                    <a:pt x="14520" y="15755"/>
                    <a:pt x="14751" y="15755"/>
                  </a:cubicBezTo>
                  <a:cubicBezTo>
                    <a:pt x="14703" y="16013"/>
                    <a:pt x="14615" y="16280"/>
                    <a:pt x="14615" y="16546"/>
                  </a:cubicBezTo>
                  <a:cubicBezTo>
                    <a:pt x="14615" y="16804"/>
                    <a:pt x="14751" y="17002"/>
                    <a:pt x="14751" y="17259"/>
                  </a:cubicBezTo>
                  <a:cubicBezTo>
                    <a:pt x="14792" y="17595"/>
                    <a:pt x="14751" y="17981"/>
                    <a:pt x="14656" y="18317"/>
                  </a:cubicBezTo>
                  <a:cubicBezTo>
                    <a:pt x="14615" y="18514"/>
                    <a:pt x="14431" y="18514"/>
                    <a:pt x="14342" y="18712"/>
                  </a:cubicBezTo>
                  <a:cubicBezTo>
                    <a:pt x="14342" y="18772"/>
                    <a:pt x="14384" y="18910"/>
                    <a:pt x="14431" y="18970"/>
                  </a:cubicBezTo>
                  <a:cubicBezTo>
                    <a:pt x="14567" y="19099"/>
                    <a:pt x="14792" y="19039"/>
                    <a:pt x="14887" y="19168"/>
                  </a:cubicBezTo>
                  <a:cubicBezTo>
                    <a:pt x="14975" y="19236"/>
                    <a:pt x="14975" y="19434"/>
                    <a:pt x="14887" y="19434"/>
                  </a:cubicBezTo>
                  <a:cubicBezTo>
                    <a:pt x="14751" y="19563"/>
                    <a:pt x="14567" y="19494"/>
                    <a:pt x="14431" y="19563"/>
                  </a:cubicBezTo>
                  <a:cubicBezTo>
                    <a:pt x="14342" y="19623"/>
                    <a:pt x="14248" y="19821"/>
                    <a:pt x="14159" y="19890"/>
                  </a:cubicBezTo>
                  <a:cubicBezTo>
                    <a:pt x="13934" y="19890"/>
                    <a:pt x="13709" y="19563"/>
                    <a:pt x="13526" y="19692"/>
                  </a:cubicBezTo>
                  <a:cubicBezTo>
                    <a:pt x="13348" y="19821"/>
                    <a:pt x="13165" y="20087"/>
                    <a:pt x="13165" y="20414"/>
                  </a:cubicBezTo>
                  <a:cubicBezTo>
                    <a:pt x="13212" y="20680"/>
                    <a:pt x="13485" y="20680"/>
                    <a:pt x="13662" y="20809"/>
                  </a:cubicBezTo>
                  <a:cubicBezTo>
                    <a:pt x="13485" y="20878"/>
                    <a:pt x="13348" y="20938"/>
                    <a:pt x="13212" y="21076"/>
                  </a:cubicBezTo>
                  <a:cubicBezTo>
                    <a:pt x="13124" y="21136"/>
                    <a:pt x="13029" y="21265"/>
                    <a:pt x="12940" y="21265"/>
                  </a:cubicBezTo>
                  <a:cubicBezTo>
                    <a:pt x="12852" y="21265"/>
                    <a:pt x="12804" y="21136"/>
                    <a:pt x="12715" y="21136"/>
                  </a:cubicBezTo>
                  <a:cubicBezTo>
                    <a:pt x="12621" y="21136"/>
                    <a:pt x="12532" y="21265"/>
                    <a:pt x="12443" y="21265"/>
                  </a:cubicBezTo>
                  <a:cubicBezTo>
                    <a:pt x="12355" y="21265"/>
                    <a:pt x="12307" y="21136"/>
                    <a:pt x="12219" y="21136"/>
                  </a:cubicBezTo>
                  <a:cubicBezTo>
                    <a:pt x="12130" y="21265"/>
                    <a:pt x="12035" y="21462"/>
                    <a:pt x="11994" y="21600"/>
                  </a:cubicBezTo>
                  <a:cubicBezTo>
                    <a:pt x="11899" y="21334"/>
                    <a:pt x="11810" y="21136"/>
                    <a:pt x="11769" y="20878"/>
                  </a:cubicBezTo>
                  <a:cubicBezTo>
                    <a:pt x="11769" y="20612"/>
                    <a:pt x="11674" y="20216"/>
                    <a:pt x="11810" y="20018"/>
                  </a:cubicBezTo>
                  <a:cubicBezTo>
                    <a:pt x="11899" y="19821"/>
                    <a:pt x="12171" y="20087"/>
                    <a:pt x="12260" y="19890"/>
                  </a:cubicBezTo>
                  <a:cubicBezTo>
                    <a:pt x="12307" y="19761"/>
                    <a:pt x="12171" y="19623"/>
                    <a:pt x="12082" y="19563"/>
                  </a:cubicBezTo>
                  <a:cubicBezTo>
                    <a:pt x="11946" y="19494"/>
                    <a:pt x="11810" y="19623"/>
                    <a:pt x="11722" y="19563"/>
                  </a:cubicBezTo>
                  <a:cubicBezTo>
                    <a:pt x="11538" y="19434"/>
                    <a:pt x="11402" y="19099"/>
                    <a:pt x="11225" y="18910"/>
                  </a:cubicBezTo>
                  <a:cubicBezTo>
                    <a:pt x="11313" y="18712"/>
                    <a:pt x="11449" y="18514"/>
                    <a:pt x="11449" y="18317"/>
                  </a:cubicBezTo>
                  <a:cubicBezTo>
                    <a:pt x="11449" y="18248"/>
                    <a:pt x="11266" y="18248"/>
                    <a:pt x="11225" y="18179"/>
                  </a:cubicBezTo>
                  <a:cubicBezTo>
                    <a:pt x="11177" y="17852"/>
                    <a:pt x="11361" y="17526"/>
                    <a:pt x="11266" y="17199"/>
                  </a:cubicBezTo>
                  <a:cubicBezTo>
                    <a:pt x="11225" y="16873"/>
                    <a:pt x="10905" y="16675"/>
                    <a:pt x="10905" y="16348"/>
                  </a:cubicBezTo>
                  <a:cubicBezTo>
                    <a:pt x="10905" y="16151"/>
                    <a:pt x="11177" y="16280"/>
                    <a:pt x="11225" y="16082"/>
                  </a:cubicBezTo>
                  <a:cubicBezTo>
                    <a:pt x="11313" y="15815"/>
                    <a:pt x="11177" y="15489"/>
                    <a:pt x="11177" y="15231"/>
                  </a:cubicBezTo>
                  <a:cubicBezTo>
                    <a:pt x="11225" y="15093"/>
                    <a:pt x="11361" y="15033"/>
                    <a:pt x="11313" y="14896"/>
                  </a:cubicBezTo>
                  <a:cubicBezTo>
                    <a:pt x="11266" y="14707"/>
                    <a:pt x="11177" y="14509"/>
                    <a:pt x="11041" y="14440"/>
                  </a:cubicBezTo>
                  <a:cubicBezTo>
                    <a:pt x="10864" y="14371"/>
                    <a:pt x="10633" y="14311"/>
                    <a:pt x="10455" y="14371"/>
                  </a:cubicBezTo>
                  <a:cubicBezTo>
                    <a:pt x="10319" y="14440"/>
                    <a:pt x="10272" y="14638"/>
                    <a:pt x="10183" y="14767"/>
                  </a:cubicBezTo>
                  <a:cubicBezTo>
                    <a:pt x="10142" y="14896"/>
                    <a:pt x="10095" y="15093"/>
                    <a:pt x="10006" y="15162"/>
                  </a:cubicBezTo>
                  <a:cubicBezTo>
                    <a:pt x="9870" y="15231"/>
                    <a:pt x="9639" y="15093"/>
                    <a:pt x="9509" y="15093"/>
                  </a:cubicBezTo>
                  <a:cubicBezTo>
                    <a:pt x="9325" y="15162"/>
                    <a:pt x="9189" y="15291"/>
                    <a:pt x="9053" y="15291"/>
                  </a:cubicBezTo>
                  <a:cubicBezTo>
                    <a:pt x="8965" y="15291"/>
                    <a:pt x="8917" y="15162"/>
                    <a:pt x="8829" y="15162"/>
                  </a:cubicBezTo>
                  <a:cubicBezTo>
                    <a:pt x="8781" y="15162"/>
                    <a:pt x="8740" y="15291"/>
                    <a:pt x="8692" y="15291"/>
                  </a:cubicBezTo>
                  <a:cubicBezTo>
                    <a:pt x="8515" y="15360"/>
                    <a:pt x="8379" y="15291"/>
                    <a:pt x="8196" y="15231"/>
                  </a:cubicBezTo>
                  <a:cubicBezTo>
                    <a:pt x="8018" y="15162"/>
                    <a:pt x="7835" y="14964"/>
                    <a:pt x="7651" y="14964"/>
                  </a:cubicBezTo>
                  <a:cubicBezTo>
                    <a:pt x="7562" y="14964"/>
                    <a:pt x="7515" y="15093"/>
                    <a:pt x="7426" y="15162"/>
                  </a:cubicBezTo>
                  <a:cubicBezTo>
                    <a:pt x="7379" y="15033"/>
                    <a:pt x="7338" y="14964"/>
                    <a:pt x="7249" y="14835"/>
                  </a:cubicBezTo>
                  <a:cubicBezTo>
                    <a:pt x="7249" y="14835"/>
                    <a:pt x="6929" y="14767"/>
                    <a:pt x="6888" y="14767"/>
                  </a:cubicBezTo>
                  <a:lnTo>
                    <a:pt x="6657" y="14509"/>
                  </a:lnTo>
                  <a:cubicBezTo>
                    <a:pt x="6569" y="14440"/>
                    <a:pt x="6480" y="14440"/>
                    <a:pt x="6391" y="14440"/>
                  </a:cubicBezTo>
                  <a:cubicBezTo>
                    <a:pt x="6344" y="14440"/>
                    <a:pt x="6391" y="14569"/>
                    <a:pt x="6391" y="14638"/>
                  </a:cubicBezTo>
                  <a:cubicBezTo>
                    <a:pt x="6296" y="14638"/>
                    <a:pt x="6255" y="14638"/>
                    <a:pt x="6208" y="14569"/>
                  </a:cubicBezTo>
                  <a:cubicBezTo>
                    <a:pt x="6119" y="14371"/>
                    <a:pt x="6119" y="14045"/>
                    <a:pt x="5983" y="13985"/>
                  </a:cubicBezTo>
                  <a:cubicBezTo>
                    <a:pt x="5752" y="13847"/>
                    <a:pt x="5527" y="14045"/>
                    <a:pt x="5302" y="14113"/>
                  </a:cubicBezTo>
                  <a:cubicBezTo>
                    <a:pt x="5302" y="14113"/>
                    <a:pt x="5214" y="14707"/>
                    <a:pt x="5214" y="14767"/>
                  </a:cubicBezTo>
                  <a:lnTo>
                    <a:pt x="5391" y="15162"/>
                  </a:lnTo>
                  <a:cubicBezTo>
                    <a:pt x="5302" y="15231"/>
                    <a:pt x="5214" y="15162"/>
                    <a:pt x="5214" y="15291"/>
                  </a:cubicBezTo>
                  <a:cubicBezTo>
                    <a:pt x="5125" y="15489"/>
                    <a:pt x="5214" y="15815"/>
                    <a:pt x="5125" y="16013"/>
                  </a:cubicBezTo>
                  <a:cubicBezTo>
                    <a:pt x="5078" y="16151"/>
                    <a:pt x="4989" y="15884"/>
                    <a:pt x="4900" y="15953"/>
                  </a:cubicBezTo>
                  <a:cubicBezTo>
                    <a:pt x="4764" y="16013"/>
                    <a:pt x="4669" y="16280"/>
                    <a:pt x="4533" y="16408"/>
                  </a:cubicBezTo>
                  <a:cubicBezTo>
                    <a:pt x="4220" y="15815"/>
                    <a:pt x="3995" y="15162"/>
                    <a:pt x="3676" y="14638"/>
                  </a:cubicBezTo>
                  <a:cubicBezTo>
                    <a:pt x="3587" y="14440"/>
                    <a:pt x="3362" y="14569"/>
                    <a:pt x="3273" y="14440"/>
                  </a:cubicBezTo>
                  <a:cubicBezTo>
                    <a:pt x="3179" y="14242"/>
                    <a:pt x="3226" y="13916"/>
                    <a:pt x="3137" y="13649"/>
                  </a:cubicBezTo>
                  <a:cubicBezTo>
                    <a:pt x="3090" y="13589"/>
                    <a:pt x="2954" y="13520"/>
                    <a:pt x="2865" y="13520"/>
                  </a:cubicBezTo>
                  <a:cubicBezTo>
                    <a:pt x="2729" y="13452"/>
                    <a:pt x="2546" y="13589"/>
                    <a:pt x="2409" y="13520"/>
                  </a:cubicBezTo>
                  <a:cubicBezTo>
                    <a:pt x="2185" y="13452"/>
                    <a:pt x="1913" y="13323"/>
                    <a:pt x="1776" y="13065"/>
                  </a:cubicBezTo>
                  <a:cubicBezTo>
                    <a:pt x="1646" y="12730"/>
                    <a:pt x="1871" y="12205"/>
                    <a:pt x="1688" y="11947"/>
                  </a:cubicBezTo>
                  <a:cubicBezTo>
                    <a:pt x="1416" y="11681"/>
                    <a:pt x="1013" y="12145"/>
                    <a:pt x="694" y="12008"/>
                  </a:cubicBezTo>
                  <a:cubicBezTo>
                    <a:pt x="605" y="11947"/>
                    <a:pt x="694" y="11681"/>
                    <a:pt x="646" y="11552"/>
                  </a:cubicBezTo>
                  <a:cubicBezTo>
                    <a:pt x="646" y="11354"/>
                    <a:pt x="605" y="11157"/>
                    <a:pt x="510" y="10959"/>
                  </a:cubicBezTo>
                  <a:cubicBezTo>
                    <a:pt x="380" y="10701"/>
                    <a:pt x="108" y="10503"/>
                    <a:pt x="19" y="10168"/>
                  </a:cubicBezTo>
                  <a:cubicBezTo>
                    <a:pt x="-28" y="9979"/>
                    <a:pt x="19" y="9713"/>
                    <a:pt x="61" y="9515"/>
                  </a:cubicBezTo>
                  <a:cubicBezTo>
                    <a:pt x="149" y="9257"/>
                    <a:pt x="380" y="9120"/>
                    <a:pt x="510" y="8862"/>
                  </a:cubicBezTo>
                  <a:cubicBezTo>
                    <a:pt x="646" y="8595"/>
                    <a:pt x="741" y="8269"/>
                    <a:pt x="830" y="800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4" name="Shape 2398">
              <a:extLst>
                <a:ext uri="{FF2B5EF4-FFF2-40B4-BE49-F238E27FC236}">
                  <a16:creationId xmlns:a16="http://schemas.microsoft.com/office/drawing/2014/main" id="{466B94F7-999C-F57D-08FB-49B1AC72166B}"/>
                </a:ext>
              </a:extLst>
            </p:cNvPr>
            <p:cNvSpPr/>
            <p:nvPr/>
          </p:nvSpPr>
          <p:spPr>
            <a:xfrm>
              <a:off x="3827668" y="5476552"/>
              <a:ext cx="392093" cy="230301"/>
            </a:xfrm>
            <a:custGeom>
              <a:avLst/>
              <a:gdLst/>
              <a:ahLst/>
              <a:cxnLst>
                <a:cxn ang="0">
                  <a:pos x="wd2" y="hd2"/>
                </a:cxn>
                <a:cxn ang="5400000">
                  <a:pos x="wd2" y="hd2"/>
                </a:cxn>
                <a:cxn ang="10800000">
                  <a:pos x="wd2" y="hd2"/>
                </a:cxn>
                <a:cxn ang="16200000">
                  <a:pos x="wd2" y="hd2"/>
                </a:cxn>
              </a:cxnLst>
              <a:rect l="0" t="0" r="r" b="b"/>
              <a:pathLst>
                <a:path w="21600" h="19481" extrusionOk="0">
                  <a:moveTo>
                    <a:pt x="428" y="15819"/>
                  </a:moveTo>
                  <a:cubicBezTo>
                    <a:pt x="279" y="15162"/>
                    <a:pt x="130" y="14276"/>
                    <a:pt x="0" y="13848"/>
                  </a:cubicBezTo>
                  <a:cubicBezTo>
                    <a:pt x="0" y="13619"/>
                    <a:pt x="1135" y="13419"/>
                    <a:pt x="1135" y="13191"/>
                  </a:cubicBezTo>
                  <a:cubicBezTo>
                    <a:pt x="1135" y="12991"/>
                    <a:pt x="1265" y="9276"/>
                    <a:pt x="1414" y="8619"/>
                  </a:cubicBezTo>
                  <a:cubicBezTo>
                    <a:pt x="1563" y="8162"/>
                    <a:pt x="1991" y="6648"/>
                    <a:pt x="2121" y="5562"/>
                  </a:cubicBezTo>
                  <a:cubicBezTo>
                    <a:pt x="2549" y="5762"/>
                    <a:pt x="2828" y="6219"/>
                    <a:pt x="3126" y="5991"/>
                  </a:cubicBezTo>
                  <a:cubicBezTo>
                    <a:pt x="4540" y="5133"/>
                    <a:pt x="5823" y="3819"/>
                    <a:pt x="6958" y="2276"/>
                  </a:cubicBezTo>
                  <a:cubicBezTo>
                    <a:pt x="7386" y="1619"/>
                    <a:pt x="7237" y="1419"/>
                    <a:pt x="7665" y="762"/>
                  </a:cubicBezTo>
                  <a:cubicBezTo>
                    <a:pt x="9079" y="762"/>
                    <a:pt x="9935" y="-1209"/>
                    <a:pt x="10940" y="1191"/>
                  </a:cubicBezTo>
                  <a:cubicBezTo>
                    <a:pt x="11367" y="2048"/>
                    <a:pt x="11647" y="2933"/>
                    <a:pt x="12502" y="2505"/>
                  </a:cubicBezTo>
                  <a:cubicBezTo>
                    <a:pt x="13488" y="2048"/>
                    <a:pt x="14344" y="1191"/>
                    <a:pt x="15330" y="762"/>
                  </a:cubicBezTo>
                  <a:cubicBezTo>
                    <a:pt x="17470" y="1419"/>
                    <a:pt x="19181" y="-1638"/>
                    <a:pt x="20447" y="1848"/>
                  </a:cubicBezTo>
                  <a:cubicBezTo>
                    <a:pt x="20874" y="2933"/>
                    <a:pt x="21172" y="3819"/>
                    <a:pt x="21600" y="4905"/>
                  </a:cubicBezTo>
                  <a:cubicBezTo>
                    <a:pt x="19181" y="7305"/>
                    <a:pt x="19181" y="7305"/>
                    <a:pt x="19181" y="7305"/>
                  </a:cubicBezTo>
                  <a:cubicBezTo>
                    <a:pt x="18902" y="7305"/>
                    <a:pt x="18474" y="7076"/>
                    <a:pt x="18474" y="7533"/>
                  </a:cubicBezTo>
                  <a:cubicBezTo>
                    <a:pt x="18047" y="8619"/>
                    <a:pt x="18474" y="10562"/>
                    <a:pt x="17767" y="11219"/>
                  </a:cubicBezTo>
                  <a:cubicBezTo>
                    <a:pt x="16763" y="11876"/>
                    <a:pt x="15628" y="10362"/>
                    <a:pt x="14623" y="10562"/>
                  </a:cubicBezTo>
                  <a:cubicBezTo>
                    <a:pt x="14065" y="10791"/>
                    <a:pt x="13060" y="11448"/>
                    <a:pt x="13209" y="12533"/>
                  </a:cubicBezTo>
                  <a:cubicBezTo>
                    <a:pt x="13358" y="13419"/>
                    <a:pt x="14344" y="12333"/>
                    <a:pt x="14921" y="12533"/>
                  </a:cubicBezTo>
                  <a:cubicBezTo>
                    <a:pt x="15330" y="12991"/>
                    <a:pt x="16186" y="13619"/>
                    <a:pt x="15907" y="14276"/>
                  </a:cubicBezTo>
                  <a:cubicBezTo>
                    <a:pt x="15200" y="15162"/>
                    <a:pt x="14065" y="14276"/>
                    <a:pt x="13358" y="15162"/>
                  </a:cubicBezTo>
                  <a:cubicBezTo>
                    <a:pt x="12930" y="15591"/>
                    <a:pt x="13916" y="17133"/>
                    <a:pt x="13358" y="17562"/>
                  </a:cubicBezTo>
                  <a:cubicBezTo>
                    <a:pt x="12353" y="18648"/>
                    <a:pt x="10791" y="19962"/>
                    <a:pt x="9507" y="19305"/>
                  </a:cubicBezTo>
                  <a:cubicBezTo>
                    <a:pt x="8670" y="18648"/>
                    <a:pt x="9935" y="16019"/>
                    <a:pt x="9377" y="15162"/>
                  </a:cubicBezTo>
                  <a:cubicBezTo>
                    <a:pt x="8800" y="14076"/>
                    <a:pt x="7535" y="13419"/>
                    <a:pt x="6679" y="14076"/>
                  </a:cubicBezTo>
                  <a:cubicBezTo>
                    <a:pt x="5395" y="15162"/>
                    <a:pt x="4967" y="17562"/>
                    <a:pt x="4112" y="19305"/>
                  </a:cubicBezTo>
                  <a:cubicBezTo>
                    <a:pt x="3684" y="19076"/>
                    <a:pt x="3126" y="18648"/>
                    <a:pt x="2549" y="18648"/>
                  </a:cubicBezTo>
                  <a:cubicBezTo>
                    <a:pt x="1991" y="18419"/>
                    <a:pt x="1414" y="18876"/>
                    <a:pt x="856" y="18648"/>
                  </a:cubicBezTo>
                  <a:cubicBezTo>
                    <a:pt x="707" y="18419"/>
                    <a:pt x="1135" y="17991"/>
                    <a:pt x="1135" y="17762"/>
                  </a:cubicBezTo>
                  <a:cubicBezTo>
                    <a:pt x="986" y="17133"/>
                    <a:pt x="558" y="16476"/>
                    <a:pt x="428" y="1581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5" name="Shape 2399">
              <a:extLst>
                <a:ext uri="{FF2B5EF4-FFF2-40B4-BE49-F238E27FC236}">
                  <a16:creationId xmlns:a16="http://schemas.microsoft.com/office/drawing/2014/main" id="{D0FE373F-5C79-558E-FC7A-5900521E6939}"/>
                </a:ext>
              </a:extLst>
            </p:cNvPr>
            <p:cNvSpPr/>
            <p:nvPr/>
          </p:nvSpPr>
          <p:spPr>
            <a:xfrm>
              <a:off x="4175505" y="5534488"/>
              <a:ext cx="158718" cy="183220"/>
            </a:xfrm>
            <a:custGeom>
              <a:avLst/>
              <a:gdLst/>
              <a:ahLst/>
              <a:cxnLst>
                <a:cxn ang="0">
                  <a:pos x="wd2" y="hd2"/>
                </a:cxn>
                <a:cxn ang="5400000">
                  <a:pos x="wd2" y="hd2"/>
                </a:cxn>
                <a:cxn ang="10800000">
                  <a:pos x="wd2" y="hd2"/>
                </a:cxn>
                <a:cxn ang="16200000">
                  <a:pos x="wd2" y="hd2"/>
                </a:cxn>
              </a:cxnLst>
              <a:rect l="0" t="0" r="r" b="b"/>
              <a:pathLst>
                <a:path w="21600" h="21336" extrusionOk="0">
                  <a:moveTo>
                    <a:pt x="5937" y="0"/>
                  </a:moveTo>
                  <a:cubicBezTo>
                    <a:pt x="0" y="3299"/>
                    <a:pt x="0" y="3299"/>
                    <a:pt x="0" y="3299"/>
                  </a:cubicBezTo>
                  <a:cubicBezTo>
                    <a:pt x="2101" y="5105"/>
                    <a:pt x="4886" y="6284"/>
                    <a:pt x="5937" y="8404"/>
                  </a:cubicBezTo>
                  <a:cubicBezTo>
                    <a:pt x="6622" y="9583"/>
                    <a:pt x="4156" y="11114"/>
                    <a:pt x="4886" y="12292"/>
                  </a:cubicBezTo>
                  <a:cubicBezTo>
                    <a:pt x="5206" y="14413"/>
                    <a:pt x="7307" y="15905"/>
                    <a:pt x="8357" y="17673"/>
                  </a:cubicBezTo>
                  <a:cubicBezTo>
                    <a:pt x="9407" y="18890"/>
                    <a:pt x="9773" y="20697"/>
                    <a:pt x="11142" y="21286"/>
                  </a:cubicBezTo>
                  <a:cubicBezTo>
                    <a:pt x="12193" y="21600"/>
                    <a:pt x="13608" y="20383"/>
                    <a:pt x="13928" y="19479"/>
                  </a:cubicBezTo>
                  <a:cubicBezTo>
                    <a:pt x="13928" y="18576"/>
                    <a:pt x="12193" y="18301"/>
                    <a:pt x="12193" y="17673"/>
                  </a:cubicBezTo>
                  <a:cubicBezTo>
                    <a:pt x="12558" y="16809"/>
                    <a:pt x="14293" y="16180"/>
                    <a:pt x="14978" y="15277"/>
                  </a:cubicBezTo>
                  <a:cubicBezTo>
                    <a:pt x="15344" y="14688"/>
                    <a:pt x="14978" y="13510"/>
                    <a:pt x="16029" y="12881"/>
                  </a:cubicBezTo>
                  <a:cubicBezTo>
                    <a:pt x="17764" y="11389"/>
                    <a:pt x="19499" y="11389"/>
                    <a:pt x="21600" y="10211"/>
                  </a:cubicBezTo>
                  <a:cubicBezTo>
                    <a:pt x="21280" y="9897"/>
                    <a:pt x="20550" y="9308"/>
                    <a:pt x="19865" y="8679"/>
                  </a:cubicBezTo>
                  <a:cubicBezTo>
                    <a:pt x="18129" y="7187"/>
                    <a:pt x="15344" y="7187"/>
                    <a:pt x="13243" y="5695"/>
                  </a:cubicBezTo>
                  <a:cubicBezTo>
                    <a:pt x="12558" y="5695"/>
                    <a:pt x="7307" y="1807"/>
                    <a:pt x="6622" y="1178"/>
                  </a:cubicBezTo>
                  <a:cubicBezTo>
                    <a:pt x="6256" y="903"/>
                    <a:pt x="5937" y="314"/>
                    <a:pt x="593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6" name="Shape 2400">
              <a:extLst>
                <a:ext uri="{FF2B5EF4-FFF2-40B4-BE49-F238E27FC236}">
                  <a16:creationId xmlns:a16="http://schemas.microsoft.com/office/drawing/2014/main" id="{16C17394-D79E-F14D-782C-40E0758EF87C}"/>
                </a:ext>
              </a:extLst>
            </p:cNvPr>
            <p:cNvSpPr/>
            <p:nvPr/>
          </p:nvSpPr>
          <p:spPr>
            <a:xfrm>
              <a:off x="3861859" y="6281951"/>
              <a:ext cx="202477" cy="200632"/>
            </a:xfrm>
            <a:custGeom>
              <a:avLst/>
              <a:gdLst/>
              <a:ahLst/>
              <a:cxnLst>
                <a:cxn ang="0">
                  <a:pos x="wd2" y="hd2"/>
                </a:cxn>
                <a:cxn ang="5400000">
                  <a:pos x="wd2" y="hd2"/>
                </a:cxn>
                <a:cxn ang="10800000">
                  <a:pos x="wd2" y="hd2"/>
                </a:cxn>
                <a:cxn ang="16200000">
                  <a:pos x="wd2" y="hd2"/>
                </a:cxn>
              </a:cxnLst>
              <a:rect l="0" t="0" r="r" b="b"/>
              <a:pathLst>
                <a:path w="21511" h="21314" extrusionOk="0">
                  <a:moveTo>
                    <a:pt x="7916" y="0"/>
                  </a:moveTo>
                  <a:cubicBezTo>
                    <a:pt x="10137" y="286"/>
                    <a:pt x="12322" y="-286"/>
                    <a:pt x="14221" y="823"/>
                  </a:cubicBezTo>
                  <a:cubicBezTo>
                    <a:pt x="15582" y="1359"/>
                    <a:pt x="15582" y="3290"/>
                    <a:pt x="16693" y="4113"/>
                  </a:cubicBezTo>
                  <a:cubicBezTo>
                    <a:pt x="18054" y="4649"/>
                    <a:pt x="19701" y="3540"/>
                    <a:pt x="21063" y="4113"/>
                  </a:cubicBezTo>
                  <a:cubicBezTo>
                    <a:pt x="21600" y="4363"/>
                    <a:pt x="21600" y="5472"/>
                    <a:pt x="21349" y="5722"/>
                  </a:cubicBezTo>
                  <a:cubicBezTo>
                    <a:pt x="19988" y="7117"/>
                    <a:pt x="17230" y="6831"/>
                    <a:pt x="16119" y="8189"/>
                  </a:cubicBezTo>
                  <a:cubicBezTo>
                    <a:pt x="15582" y="9012"/>
                    <a:pt x="17516" y="9548"/>
                    <a:pt x="18054" y="10085"/>
                  </a:cubicBezTo>
                  <a:cubicBezTo>
                    <a:pt x="17230" y="10657"/>
                    <a:pt x="16406" y="11193"/>
                    <a:pt x="15582" y="11730"/>
                  </a:cubicBezTo>
                  <a:cubicBezTo>
                    <a:pt x="15582" y="11730"/>
                    <a:pt x="15045" y="14484"/>
                    <a:pt x="15045" y="14770"/>
                  </a:cubicBezTo>
                  <a:cubicBezTo>
                    <a:pt x="15045" y="15020"/>
                    <a:pt x="9851" y="16665"/>
                    <a:pt x="9851" y="16665"/>
                  </a:cubicBezTo>
                  <a:cubicBezTo>
                    <a:pt x="8740" y="18310"/>
                    <a:pt x="7666" y="19919"/>
                    <a:pt x="6555" y="21314"/>
                  </a:cubicBezTo>
                  <a:cubicBezTo>
                    <a:pt x="5731" y="20491"/>
                    <a:pt x="5194" y="19669"/>
                    <a:pt x="4370" y="18846"/>
                  </a:cubicBezTo>
                  <a:cubicBezTo>
                    <a:pt x="3546" y="17738"/>
                    <a:pt x="3009" y="16379"/>
                    <a:pt x="2185" y="15306"/>
                  </a:cubicBezTo>
                  <a:cubicBezTo>
                    <a:pt x="1648" y="14770"/>
                    <a:pt x="537" y="15306"/>
                    <a:pt x="537" y="14770"/>
                  </a:cubicBezTo>
                  <a:cubicBezTo>
                    <a:pt x="287" y="13375"/>
                    <a:pt x="1110" y="12016"/>
                    <a:pt x="1361" y="10907"/>
                  </a:cubicBezTo>
                  <a:cubicBezTo>
                    <a:pt x="1648" y="9548"/>
                    <a:pt x="2185" y="8189"/>
                    <a:pt x="1899" y="6831"/>
                  </a:cubicBezTo>
                  <a:cubicBezTo>
                    <a:pt x="1899" y="5722"/>
                    <a:pt x="824" y="4935"/>
                    <a:pt x="0" y="3827"/>
                  </a:cubicBezTo>
                  <a:cubicBezTo>
                    <a:pt x="0" y="3827"/>
                    <a:pt x="1361" y="2182"/>
                    <a:pt x="1361" y="1895"/>
                  </a:cubicBezTo>
                  <a:cubicBezTo>
                    <a:pt x="1648" y="1645"/>
                    <a:pt x="3546" y="2468"/>
                    <a:pt x="3546" y="2468"/>
                  </a:cubicBezTo>
                  <a:cubicBezTo>
                    <a:pt x="5194" y="1645"/>
                    <a:pt x="6555" y="823"/>
                    <a:pt x="7916"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7" name="Shape 2401">
              <a:extLst>
                <a:ext uri="{FF2B5EF4-FFF2-40B4-BE49-F238E27FC236}">
                  <a16:creationId xmlns:a16="http://schemas.microsoft.com/office/drawing/2014/main" id="{E77439E3-6FC4-BEF2-1A7B-171BD2D4306A}"/>
                </a:ext>
              </a:extLst>
            </p:cNvPr>
            <p:cNvSpPr/>
            <p:nvPr/>
          </p:nvSpPr>
          <p:spPr>
            <a:xfrm>
              <a:off x="3616590" y="6377372"/>
              <a:ext cx="520422" cy="586837"/>
            </a:xfrm>
            <a:custGeom>
              <a:avLst/>
              <a:gdLst/>
              <a:ahLst/>
              <a:cxnLst>
                <a:cxn ang="0">
                  <a:pos x="wd2" y="hd2"/>
                </a:cxn>
                <a:cxn ang="5400000">
                  <a:pos x="wd2" y="hd2"/>
                </a:cxn>
                <a:cxn ang="10800000">
                  <a:pos x="wd2" y="hd2"/>
                </a:cxn>
                <a:cxn ang="16200000">
                  <a:pos x="wd2" y="hd2"/>
                </a:cxn>
              </a:cxnLst>
              <a:rect l="0" t="0" r="r" b="b"/>
              <a:pathLst>
                <a:path w="21498" h="21490" extrusionOk="0">
                  <a:moveTo>
                    <a:pt x="12659" y="3876"/>
                  </a:moveTo>
                  <a:cubicBezTo>
                    <a:pt x="13091" y="3394"/>
                    <a:pt x="13509" y="2839"/>
                    <a:pt x="13940" y="2271"/>
                  </a:cubicBezTo>
                  <a:cubicBezTo>
                    <a:pt x="13940" y="2271"/>
                    <a:pt x="15960" y="1703"/>
                    <a:pt x="15960" y="1617"/>
                  </a:cubicBezTo>
                  <a:cubicBezTo>
                    <a:pt x="15960" y="1518"/>
                    <a:pt x="16169" y="568"/>
                    <a:pt x="16169" y="568"/>
                  </a:cubicBezTo>
                  <a:cubicBezTo>
                    <a:pt x="16489" y="383"/>
                    <a:pt x="16809" y="197"/>
                    <a:pt x="17130" y="0"/>
                  </a:cubicBezTo>
                  <a:cubicBezTo>
                    <a:pt x="17561" y="383"/>
                    <a:pt x="18202" y="568"/>
                    <a:pt x="18299" y="1049"/>
                  </a:cubicBezTo>
                  <a:cubicBezTo>
                    <a:pt x="18411" y="1419"/>
                    <a:pt x="17770" y="1703"/>
                    <a:pt x="17770" y="2086"/>
                  </a:cubicBezTo>
                  <a:cubicBezTo>
                    <a:pt x="17882" y="2370"/>
                    <a:pt x="17979" y="2839"/>
                    <a:pt x="18411" y="2925"/>
                  </a:cubicBezTo>
                  <a:cubicBezTo>
                    <a:pt x="18731" y="3123"/>
                    <a:pt x="19149" y="2839"/>
                    <a:pt x="19581" y="2740"/>
                  </a:cubicBezTo>
                  <a:cubicBezTo>
                    <a:pt x="19901" y="3308"/>
                    <a:pt x="19998" y="3962"/>
                    <a:pt x="20319" y="4443"/>
                  </a:cubicBezTo>
                  <a:cubicBezTo>
                    <a:pt x="20639" y="4814"/>
                    <a:pt x="21280" y="4912"/>
                    <a:pt x="21391" y="5283"/>
                  </a:cubicBezTo>
                  <a:cubicBezTo>
                    <a:pt x="21600" y="5949"/>
                    <a:pt x="21489" y="6603"/>
                    <a:pt x="21168" y="7171"/>
                  </a:cubicBezTo>
                  <a:cubicBezTo>
                    <a:pt x="20848" y="7739"/>
                    <a:pt x="19998" y="8122"/>
                    <a:pt x="19358" y="8591"/>
                  </a:cubicBezTo>
                  <a:cubicBezTo>
                    <a:pt x="19051" y="8875"/>
                    <a:pt x="18202" y="8875"/>
                    <a:pt x="18202" y="9245"/>
                  </a:cubicBezTo>
                  <a:cubicBezTo>
                    <a:pt x="17979" y="9911"/>
                    <a:pt x="18620" y="10565"/>
                    <a:pt x="18829" y="11232"/>
                  </a:cubicBezTo>
                  <a:cubicBezTo>
                    <a:pt x="18299" y="11417"/>
                    <a:pt x="17770" y="11417"/>
                    <a:pt x="17450" y="11787"/>
                  </a:cubicBezTo>
                  <a:cubicBezTo>
                    <a:pt x="17241" y="12071"/>
                    <a:pt x="17338" y="12553"/>
                    <a:pt x="17338" y="12923"/>
                  </a:cubicBezTo>
                  <a:cubicBezTo>
                    <a:pt x="17338" y="12923"/>
                    <a:pt x="15960" y="12269"/>
                    <a:pt x="15848" y="12269"/>
                  </a:cubicBezTo>
                  <a:cubicBezTo>
                    <a:pt x="15751" y="12269"/>
                    <a:pt x="15110" y="12824"/>
                    <a:pt x="15110" y="12824"/>
                  </a:cubicBezTo>
                  <a:cubicBezTo>
                    <a:pt x="15222" y="13207"/>
                    <a:pt x="15431" y="13577"/>
                    <a:pt x="15319" y="13861"/>
                  </a:cubicBezTo>
                  <a:cubicBezTo>
                    <a:pt x="15222" y="14342"/>
                    <a:pt x="14581" y="14614"/>
                    <a:pt x="14581" y="14997"/>
                  </a:cubicBezTo>
                  <a:cubicBezTo>
                    <a:pt x="14581" y="15466"/>
                    <a:pt x="14999" y="15848"/>
                    <a:pt x="15222" y="16219"/>
                  </a:cubicBezTo>
                  <a:cubicBezTo>
                    <a:pt x="15222" y="16219"/>
                    <a:pt x="13188" y="16885"/>
                    <a:pt x="13091" y="16885"/>
                  </a:cubicBezTo>
                  <a:cubicBezTo>
                    <a:pt x="13091" y="16971"/>
                    <a:pt x="12659" y="17539"/>
                    <a:pt x="12659" y="17539"/>
                  </a:cubicBezTo>
                  <a:cubicBezTo>
                    <a:pt x="11810" y="17823"/>
                    <a:pt x="10751" y="17922"/>
                    <a:pt x="9999" y="18490"/>
                  </a:cubicBezTo>
                  <a:cubicBezTo>
                    <a:pt x="9679" y="18576"/>
                    <a:pt x="9999" y="19057"/>
                    <a:pt x="9999" y="19341"/>
                  </a:cubicBezTo>
                  <a:cubicBezTo>
                    <a:pt x="9790" y="19526"/>
                    <a:pt x="9470" y="20094"/>
                    <a:pt x="9261" y="19897"/>
                  </a:cubicBezTo>
                  <a:cubicBezTo>
                    <a:pt x="8621" y="19428"/>
                    <a:pt x="8941" y="18391"/>
                    <a:pt x="8300" y="18107"/>
                  </a:cubicBezTo>
                  <a:cubicBezTo>
                    <a:pt x="7771" y="17823"/>
                    <a:pt x="7130" y="18206"/>
                    <a:pt x="6713" y="18490"/>
                  </a:cubicBezTo>
                  <a:cubicBezTo>
                    <a:pt x="6601" y="18490"/>
                    <a:pt x="6713" y="18773"/>
                    <a:pt x="6601" y="18773"/>
                  </a:cubicBezTo>
                  <a:cubicBezTo>
                    <a:pt x="5961" y="19057"/>
                    <a:pt x="5222" y="18860"/>
                    <a:pt x="4679" y="19243"/>
                  </a:cubicBezTo>
                  <a:cubicBezTo>
                    <a:pt x="4359" y="19526"/>
                    <a:pt x="4679" y="19995"/>
                    <a:pt x="4679" y="20279"/>
                  </a:cubicBezTo>
                  <a:cubicBezTo>
                    <a:pt x="4582" y="20464"/>
                    <a:pt x="4470" y="20650"/>
                    <a:pt x="4359" y="20748"/>
                  </a:cubicBezTo>
                  <a:cubicBezTo>
                    <a:pt x="4039" y="21032"/>
                    <a:pt x="3830" y="21217"/>
                    <a:pt x="3509" y="21316"/>
                  </a:cubicBezTo>
                  <a:cubicBezTo>
                    <a:pt x="3189" y="21403"/>
                    <a:pt x="2660" y="21403"/>
                    <a:pt x="2242" y="21403"/>
                  </a:cubicBezTo>
                  <a:cubicBezTo>
                    <a:pt x="1922" y="21403"/>
                    <a:pt x="1490" y="21600"/>
                    <a:pt x="1170" y="21403"/>
                  </a:cubicBezTo>
                  <a:cubicBezTo>
                    <a:pt x="961" y="21316"/>
                    <a:pt x="1281" y="21032"/>
                    <a:pt x="1281" y="20847"/>
                  </a:cubicBezTo>
                  <a:cubicBezTo>
                    <a:pt x="1281" y="20464"/>
                    <a:pt x="1170" y="20094"/>
                    <a:pt x="1072" y="19712"/>
                  </a:cubicBezTo>
                  <a:cubicBezTo>
                    <a:pt x="850" y="19144"/>
                    <a:pt x="223" y="18675"/>
                    <a:pt x="432" y="18107"/>
                  </a:cubicBezTo>
                  <a:cubicBezTo>
                    <a:pt x="529" y="17737"/>
                    <a:pt x="1922" y="18206"/>
                    <a:pt x="1810" y="17737"/>
                  </a:cubicBezTo>
                  <a:cubicBezTo>
                    <a:pt x="1713" y="16885"/>
                    <a:pt x="641" y="16317"/>
                    <a:pt x="0" y="15663"/>
                  </a:cubicBezTo>
                  <a:cubicBezTo>
                    <a:pt x="111" y="15663"/>
                    <a:pt x="111" y="15663"/>
                    <a:pt x="111" y="15663"/>
                  </a:cubicBezTo>
                  <a:cubicBezTo>
                    <a:pt x="320" y="15379"/>
                    <a:pt x="432" y="15095"/>
                    <a:pt x="752" y="14811"/>
                  </a:cubicBezTo>
                  <a:cubicBezTo>
                    <a:pt x="961" y="14614"/>
                    <a:pt x="1602" y="14811"/>
                    <a:pt x="1713" y="14528"/>
                  </a:cubicBezTo>
                  <a:cubicBezTo>
                    <a:pt x="1810" y="14145"/>
                    <a:pt x="961" y="13775"/>
                    <a:pt x="1072" y="13392"/>
                  </a:cubicBezTo>
                  <a:cubicBezTo>
                    <a:pt x="1281" y="12923"/>
                    <a:pt x="2131" y="12923"/>
                    <a:pt x="2340" y="12454"/>
                  </a:cubicBezTo>
                  <a:cubicBezTo>
                    <a:pt x="2562" y="12170"/>
                    <a:pt x="2033" y="11886"/>
                    <a:pt x="2033" y="11504"/>
                  </a:cubicBezTo>
                  <a:cubicBezTo>
                    <a:pt x="2033" y="11232"/>
                    <a:pt x="2562" y="11035"/>
                    <a:pt x="2340" y="10849"/>
                  </a:cubicBezTo>
                  <a:cubicBezTo>
                    <a:pt x="2242" y="10565"/>
                    <a:pt x="1170" y="10664"/>
                    <a:pt x="1393" y="10282"/>
                  </a:cubicBezTo>
                  <a:cubicBezTo>
                    <a:pt x="1602" y="9813"/>
                    <a:pt x="2660" y="10096"/>
                    <a:pt x="2980" y="9627"/>
                  </a:cubicBezTo>
                  <a:cubicBezTo>
                    <a:pt x="3189" y="9245"/>
                    <a:pt x="2660" y="8776"/>
                    <a:pt x="2451" y="8393"/>
                  </a:cubicBezTo>
                  <a:cubicBezTo>
                    <a:pt x="2980" y="8307"/>
                    <a:pt x="3509" y="8393"/>
                    <a:pt x="3941" y="8122"/>
                  </a:cubicBezTo>
                  <a:cubicBezTo>
                    <a:pt x="4359" y="7924"/>
                    <a:pt x="4359" y="7270"/>
                    <a:pt x="4902" y="7072"/>
                  </a:cubicBezTo>
                  <a:cubicBezTo>
                    <a:pt x="5111" y="6986"/>
                    <a:pt x="5543" y="7554"/>
                    <a:pt x="5752" y="7356"/>
                  </a:cubicBezTo>
                  <a:cubicBezTo>
                    <a:pt x="6072" y="7171"/>
                    <a:pt x="5752" y="6702"/>
                    <a:pt x="5863" y="6418"/>
                  </a:cubicBezTo>
                  <a:cubicBezTo>
                    <a:pt x="6169" y="6036"/>
                    <a:pt x="6713" y="5764"/>
                    <a:pt x="7130" y="5665"/>
                  </a:cubicBezTo>
                  <a:cubicBezTo>
                    <a:pt x="7771" y="5567"/>
                    <a:pt x="8509" y="6233"/>
                    <a:pt x="8941" y="5851"/>
                  </a:cubicBezTo>
                  <a:cubicBezTo>
                    <a:pt x="9470" y="5381"/>
                    <a:pt x="8732" y="4160"/>
                    <a:pt x="9373" y="3876"/>
                  </a:cubicBezTo>
                  <a:cubicBezTo>
                    <a:pt x="9999" y="3493"/>
                    <a:pt x="10751" y="4345"/>
                    <a:pt x="11601" y="4345"/>
                  </a:cubicBezTo>
                  <a:cubicBezTo>
                    <a:pt x="11921" y="4443"/>
                    <a:pt x="12241" y="4061"/>
                    <a:pt x="12659" y="387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8" name="Shape 2402">
              <a:extLst>
                <a:ext uri="{FF2B5EF4-FFF2-40B4-BE49-F238E27FC236}">
                  <a16:creationId xmlns:a16="http://schemas.microsoft.com/office/drawing/2014/main" id="{7D9673EA-DA2E-F1F2-51D1-7E455302A8E4}"/>
                </a:ext>
              </a:extLst>
            </p:cNvPr>
            <p:cNvSpPr/>
            <p:nvPr/>
          </p:nvSpPr>
          <p:spPr>
            <a:xfrm>
              <a:off x="4031317" y="6373566"/>
              <a:ext cx="281246" cy="125874"/>
            </a:xfrm>
            <a:custGeom>
              <a:avLst/>
              <a:gdLst/>
              <a:ahLst/>
              <a:cxnLst>
                <a:cxn ang="0">
                  <a:pos x="wd2" y="hd2"/>
                </a:cxn>
                <a:cxn ang="5400000">
                  <a:pos x="wd2" y="hd2"/>
                </a:cxn>
                <a:cxn ang="10800000">
                  <a:pos x="wd2" y="hd2"/>
                </a:cxn>
                <a:cxn ang="16200000">
                  <a:pos x="wd2" y="hd2"/>
                </a:cxn>
              </a:cxnLst>
              <a:rect l="0" t="0" r="r" b="b"/>
              <a:pathLst>
                <a:path w="21200" h="21077" extrusionOk="0">
                  <a:moveTo>
                    <a:pt x="0" y="490"/>
                  </a:moveTo>
                  <a:cubicBezTo>
                    <a:pt x="1172" y="943"/>
                    <a:pt x="2343" y="490"/>
                    <a:pt x="3311" y="1395"/>
                  </a:cubicBezTo>
                  <a:cubicBezTo>
                    <a:pt x="4279" y="1791"/>
                    <a:pt x="4865" y="4392"/>
                    <a:pt x="5833" y="4392"/>
                  </a:cubicBezTo>
                  <a:cubicBezTo>
                    <a:pt x="7005" y="4392"/>
                    <a:pt x="7387" y="943"/>
                    <a:pt x="8380" y="490"/>
                  </a:cubicBezTo>
                  <a:cubicBezTo>
                    <a:pt x="9348" y="490"/>
                    <a:pt x="10112" y="3091"/>
                    <a:pt x="11080" y="3544"/>
                  </a:cubicBezTo>
                  <a:cubicBezTo>
                    <a:pt x="11666" y="3544"/>
                    <a:pt x="12074" y="1395"/>
                    <a:pt x="12634" y="1791"/>
                  </a:cubicBezTo>
                  <a:cubicBezTo>
                    <a:pt x="13627" y="1791"/>
                    <a:pt x="14213" y="3996"/>
                    <a:pt x="14977" y="3996"/>
                  </a:cubicBezTo>
                  <a:cubicBezTo>
                    <a:pt x="15945" y="3544"/>
                    <a:pt x="16531" y="490"/>
                    <a:pt x="17525" y="94"/>
                  </a:cubicBezTo>
                  <a:cubicBezTo>
                    <a:pt x="18492" y="-358"/>
                    <a:pt x="19460" y="943"/>
                    <a:pt x="20428" y="1395"/>
                  </a:cubicBezTo>
                  <a:cubicBezTo>
                    <a:pt x="20428" y="3091"/>
                    <a:pt x="20428" y="4392"/>
                    <a:pt x="20428" y="6145"/>
                  </a:cubicBezTo>
                  <a:cubicBezTo>
                    <a:pt x="20632" y="7897"/>
                    <a:pt x="21600" y="10894"/>
                    <a:pt x="21014" y="12195"/>
                  </a:cubicBezTo>
                  <a:cubicBezTo>
                    <a:pt x="19078" y="14796"/>
                    <a:pt x="16531" y="13495"/>
                    <a:pt x="14392" y="15644"/>
                  </a:cubicBezTo>
                  <a:cubicBezTo>
                    <a:pt x="13806" y="16040"/>
                    <a:pt x="14595" y="19093"/>
                    <a:pt x="14009" y="19941"/>
                  </a:cubicBezTo>
                  <a:cubicBezTo>
                    <a:pt x="13220" y="21242"/>
                    <a:pt x="12074" y="21242"/>
                    <a:pt x="10902" y="20846"/>
                  </a:cubicBezTo>
                  <a:cubicBezTo>
                    <a:pt x="10698" y="20846"/>
                    <a:pt x="11080" y="19546"/>
                    <a:pt x="10698" y="19093"/>
                  </a:cubicBezTo>
                  <a:cubicBezTo>
                    <a:pt x="10112" y="19093"/>
                    <a:pt x="9526" y="20846"/>
                    <a:pt x="8966" y="20394"/>
                  </a:cubicBezTo>
                  <a:cubicBezTo>
                    <a:pt x="8380" y="19546"/>
                    <a:pt x="8380" y="17340"/>
                    <a:pt x="7973" y="16040"/>
                  </a:cubicBezTo>
                  <a:cubicBezTo>
                    <a:pt x="7591" y="15192"/>
                    <a:pt x="7005" y="13891"/>
                    <a:pt x="6419" y="13495"/>
                  </a:cubicBezTo>
                  <a:cubicBezTo>
                    <a:pt x="5833" y="12591"/>
                    <a:pt x="5247" y="13043"/>
                    <a:pt x="4483" y="13043"/>
                  </a:cubicBezTo>
                  <a:cubicBezTo>
                    <a:pt x="3693" y="13495"/>
                    <a:pt x="2929" y="14796"/>
                    <a:pt x="2343" y="13891"/>
                  </a:cubicBezTo>
                  <a:cubicBezTo>
                    <a:pt x="1554" y="13495"/>
                    <a:pt x="1375" y="11347"/>
                    <a:pt x="1172" y="10046"/>
                  </a:cubicBezTo>
                  <a:cubicBezTo>
                    <a:pt x="1172" y="8293"/>
                    <a:pt x="2343" y="6993"/>
                    <a:pt x="2140" y="5296"/>
                  </a:cubicBezTo>
                  <a:cubicBezTo>
                    <a:pt x="1961" y="3091"/>
                    <a:pt x="790" y="2243"/>
                    <a:pt x="0" y="49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9" name="Shape 2403">
              <a:extLst>
                <a:ext uri="{FF2B5EF4-FFF2-40B4-BE49-F238E27FC236}">
                  <a16:creationId xmlns:a16="http://schemas.microsoft.com/office/drawing/2014/main" id="{EA0ABEB5-7E1E-96A3-5180-55354B5C2357}"/>
                </a:ext>
              </a:extLst>
            </p:cNvPr>
            <p:cNvSpPr/>
            <p:nvPr/>
          </p:nvSpPr>
          <p:spPr>
            <a:xfrm>
              <a:off x="4056393" y="6325342"/>
              <a:ext cx="520201" cy="628483"/>
            </a:xfrm>
            <a:custGeom>
              <a:avLst/>
              <a:gdLst/>
              <a:ahLst/>
              <a:cxnLst>
                <a:cxn ang="0">
                  <a:pos x="wd2" y="hd2"/>
                </a:cxn>
                <a:cxn ang="5400000">
                  <a:pos x="wd2" y="hd2"/>
                </a:cxn>
                <a:cxn ang="10800000">
                  <a:pos x="wd2" y="hd2"/>
                </a:cxn>
                <a:cxn ang="16200000">
                  <a:pos x="wd2" y="hd2"/>
                </a:cxn>
              </a:cxnLst>
              <a:rect l="0" t="0" r="r" b="b"/>
              <a:pathLst>
                <a:path w="21307" h="21600" extrusionOk="0">
                  <a:moveTo>
                    <a:pt x="10046" y="1948"/>
                  </a:moveTo>
                  <a:cubicBezTo>
                    <a:pt x="10473" y="1855"/>
                    <a:pt x="11094" y="1948"/>
                    <a:pt x="11411" y="1681"/>
                  </a:cubicBezTo>
                  <a:cubicBezTo>
                    <a:pt x="11728" y="1414"/>
                    <a:pt x="11411" y="881"/>
                    <a:pt x="11632" y="533"/>
                  </a:cubicBezTo>
                  <a:cubicBezTo>
                    <a:pt x="11839" y="267"/>
                    <a:pt x="12266" y="0"/>
                    <a:pt x="12680" y="0"/>
                  </a:cubicBezTo>
                  <a:cubicBezTo>
                    <a:pt x="13315" y="0"/>
                    <a:pt x="13839" y="267"/>
                    <a:pt x="14363" y="348"/>
                  </a:cubicBezTo>
                  <a:cubicBezTo>
                    <a:pt x="14253" y="800"/>
                    <a:pt x="13949" y="1241"/>
                    <a:pt x="14046" y="1681"/>
                  </a:cubicBezTo>
                  <a:cubicBezTo>
                    <a:pt x="14156" y="2122"/>
                    <a:pt x="14473" y="2481"/>
                    <a:pt x="14680" y="2829"/>
                  </a:cubicBezTo>
                  <a:cubicBezTo>
                    <a:pt x="14887" y="3096"/>
                    <a:pt x="15204" y="3188"/>
                    <a:pt x="15315" y="3455"/>
                  </a:cubicBezTo>
                  <a:cubicBezTo>
                    <a:pt x="15315" y="3803"/>
                    <a:pt x="14997" y="4070"/>
                    <a:pt x="14997" y="4429"/>
                  </a:cubicBezTo>
                  <a:cubicBezTo>
                    <a:pt x="14997" y="4870"/>
                    <a:pt x="14887" y="5403"/>
                    <a:pt x="15108" y="5843"/>
                  </a:cubicBezTo>
                  <a:cubicBezTo>
                    <a:pt x="15204" y="6110"/>
                    <a:pt x="15425" y="6470"/>
                    <a:pt x="15742" y="6551"/>
                  </a:cubicBezTo>
                  <a:cubicBezTo>
                    <a:pt x="16266" y="6643"/>
                    <a:pt x="16901" y="6284"/>
                    <a:pt x="17425" y="6377"/>
                  </a:cubicBezTo>
                  <a:cubicBezTo>
                    <a:pt x="18046" y="6470"/>
                    <a:pt x="18584" y="6817"/>
                    <a:pt x="19108" y="7084"/>
                  </a:cubicBezTo>
                  <a:cubicBezTo>
                    <a:pt x="19425" y="7351"/>
                    <a:pt x="19632" y="7699"/>
                    <a:pt x="19839" y="8058"/>
                  </a:cubicBezTo>
                  <a:cubicBezTo>
                    <a:pt x="19949" y="8325"/>
                    <a:pt x="20059" y="8672"/>
                    <a:pt x="20156" y="8939"/>
                  </a:cubicBezTo>
                  <a:cubicBezTo>
                    <a:pt x="19742" y="9206"/>
                    <a:pt x="19218" y="9299"/>
                    <a:pt x="18901" y="9565"/>
                  </a:cubicBezTo>
                  <a:cubicBezTo>
                    <a:pt x="18680" y="9739"/>
                    <a:pt x="18901" y="10099"/>
                    <a:pt x="19108" y="10272"/>
                  </a:cubicBezTo>
                  <a:cubicBezTo>
                    <a:pt x="19315" y="10539"/>
                    <a:pt x="19839" y="10713"/>
                    <a:pt x="19949" y="11072"/>
                  </a:cubicBezTo>
                  <a:cubicBezTo>
                    <a:pt x="20059" y="11246"/>
                    <a:pt x="19742" y="11594"/>
                    <a:pt x="19839" y="11780"/>
                  </a:cubicBezTo>
                  <a:cubicBezTo>
                    <a:pt x="19949" y="11954"/>
                    <a:pt x="20266" y="11861"/>
                    <a:pt x="20473" y="12046"/>
                  </a:cubicBezTo>
                  <a:cubicBezTo>
                    <a:pt x="20791" y="12220"/>
                    <a:pt x="20997" y="12487"/>
                    <a:pt x="21218" y="12754"/>
                  </a:cubicBezTo>
                  <a:cubicBezTo>
                    <a:pt x="21218" y="12928"/>
                    <a:pt x="21315" y="13194"/>
                    <a:pt x="21218" y="13287"/>
                  </a:cubicBezTo>
                  <a:cubicBezTo>
                    <a:pt x="20791" y="13554"/>
                    <a:pt x="20266" y="13809"/>
                    <a:pt x="19742" y="13728"/>
                  </a:cubicBezTo>
                  <a:cubicBezTo>
                    <a:pt x="19218" y="13554"/>
                    <a:pt x="18997" y="12928"/>
                    <a:pt x="18363" y="12661"/>
                  </a:cubicBezTo>
                  <a:cubicBezTo>
                    <a:pt x="18266" y="12568"/>
                    <a:pt x="18266" y="12928"/>
                    <a:pt x="18266" y="13020"/>
                  </a:cubicBezTo>
                  <a:cubicBezTo>
                    <a:pt x="18156" y="13287"/>
                    <a:pt x="17949" y="13554"/>
                    <a:pt x="17949" y="13809"/>
                  </a:cubicBezTo>
                  <a:cubicBezTo>
                    <a:pt x="18046" y="14168"/>
                    <a:pt x="18363" y="14435"/>
                    <a:pt x="18680" y="14516"/>
                  </a:cubicBezTo>
                  <a:cubicBezTo>
                    <a:pt x="19218" y="14609"/>
                    <a:pt x="19632" y="14075"/>
                    <a:pt x="20059" y="14075"/>
                  </a:cubicBezTo>
                  <a:cubicBezTo>
                    <a:pt x="20473" y="14075"/>
                    <a:pt x="20901" y="14261"/>
                    <a:pt x="21108" y="14516"/>
                  </a:cubicBezTo>
                  <a:cubicBezTo>
                    <a:pt x="21315" y="15142"/>
                    <a:pt x="21425" y="15849"/>
                    <a:pt x="21108" y="16383"/>
                  </a:cubicBezTo>
                  <a:cubicBezTo>
                    <a:pt x="20901" y="16649"/>
                    <a:pt x="20266" y="16209"/>
                    <a:pt x="19949" y="16383"/>
                  </a:cubicBezTo>
                  <a:cubicBezTo>
                    <a:pt x="19632" y="16557"/>
                    <a:pt x="19632" y="16916"/>
                    <a:pt x="19535" y="17264"/>
                  </a:cubicBezTo>
                  <a:cubicBezTo>
                    <a:pt x="19315" y="17623"/>
                    <a:pt x="19218" y="17971"/>
                    <a:pt x="19108" y="18330"/>
                  </a:cubicBezTo>
                  <a:cubicBezTo>
                    <a:pt x="19108" y="18864"/>
                    <a:pt x="19218" y="19304"/>
                    <a:pt x="19315" y="19838"/>
                  </a:cubicBezTo>
                  <a:cubicBezTo>
                    <a:pt x="19315" y="20012"/>
                    <a:pt x="19315" y="20186"/>
                    <a:pt x="19218" y="20278"/>
                  </a:cubicBezTo>
                  <a:cubicBezTo>
                    <a:pt x="19108" y="20371"/>
                    <a:pt x="18791" y="20371"/>
                    <a:pt x="18680" y="20278"/>
                  </a:cubicBezTo>
                  <a:cubicBezTo>
                    <a:pt x="18046" y="19745"/>
                    <a:pt x="17632" y="19038"/>
                    <a:pt x="16901" y="18678"/>
                  </a:cubicBezTo>
                  <a:cubicBezTo>
                    <a:pt x="16680" y="18504"/>
                    <a:pt x="16473" y="18945"/>
                    <a:pt x="16266" y="18945"/>
                  </a:cubicBezTo>
                  <a:cubicBezTo>
                    <a:pt x="15839" y="18864"/>
                    <a:pt x="15632" y="18238"/>
                    <a:pt x="15315" y="18423"/>
                  </a:cubicBezTo>
                  <a:cubicBezTo>
                    <a:pt x="14887" y="18597"/>
                    <a:pt x="15108" y="19130"/>
                    <a:pt x="14887" y="19478"/>
                  </a:cubicBezTo>
                  <a:cubicBezTo>
                    <a:pt x="14680" y="19664"/>
                    <a:pt x="14363" y="19745"/>
                    <a:pt x="14046" y="19838"/>
                  </a:cubicBezTo>
                  <a:cubicBezTo>
                    <a:pt x="13728" y="19838"/>
                    <a:pt x="13315" y="19478"/>
                    <a:pt x="13108" y="19745"/>
                  </a:cubicBezTo>
                  <a:cubicBezTo>
                    <a:pt x="12570" y="20278"/>
                    <a:pt x="12680" y="20986"/>
                    <a:pt x="12473" y="21600"/>
                  </a:cubicBezTo>
                  <a:cubicBezTo>
                    <a:pt x="12046" y="21345"/>
                    <a:pt x="11411" y="21252"/>
                    <a:pt x="11204" y="20893"/>
                  </a:cubicBezTo>
                  <a:cubicBezTo>
                    <a:pt x="11094" y="20545"/>
                    <a:pt x="11839" y="20012"/>
                    <a:pt x="11522" y="19745"/>
                  </a:cubicBezTo>
                  <a:cubicBezTo>
                    <a:pt x="11204" y="19397"/>
                    <a:pt x="10473" y="19304"/>
                    <a:pt x="9935" y="19478"/>
                  </a:cubicBezTo>
                  <a:cubicBezTo>
                    <a:pt x="9411" y="19664"/>
                    <a:pt x="9315" y="20638"/>
                    <a:pt x="8570" y="20638"/>
                  </a:cubicBezTo>
                  <a:cubicBezTo>
                    <a:pt x="8156" y="20638"/>
                    <a:pt x="8156" y="19838"/>
                    <a:pt x="7839" y="19478"/>
                  </a:cubicBezTo>
                  <a:cubicBezTo>
                    <a:pt x="7839" y="18771"/>
                    <a:pt x="8253" y="17890"/>
                    <a:pt x="7728" y="17264"/>
                  </a:cubicBezTo>
                  <a:cubicBezTo>
                    <a:pt x="7411" y="16823"/>
                    <a:pt x="6459" y="17449"/>
                    <a:pt x="5935" y="17264"/>
                  </a:cubicBezTo>
                  <a:cubicBezTo>
                    <a:pt x="5728" y="17183"/>
                    <a:pt x="6253" y="16823"/>
                    <a:pt x="6253" y="16649"/>
                  </a:cubicBezTo>
                  <a:cubicBezTo>
                    <a:pt x="6142" y="16383"/>
                    <a:pt x="5618" y="16383"/>
                    <a:pt x="5522" y="16209"/>
                  </a:cubicBezTo>
                  <a:cubicBezTo>
                    <a:pt x="5301" y="15942"/>
                    <a:pt x="5411" y="15675"/>
                    <a:pt x="5204" y="15409"/>
                  </a:cubicBezTo>
                  <a:cubicBezTo>
                    <a:pt x="4984" y="15235"/>
                    <a:pt x="4570" y="15316"/>
                    <a:pt x="4459" y="15049"/>
                  </a:cubicBezTo>
                  <a:cubicBezTo>
                    <a:pt x="4363" y="14875"/>
                    <a:pt x="4887" y="14435"/>
                    <a:pt x="4570" y="14261"/>
                  </a:cubicBezTo>
                  <a:cubicBezTo>
                    <a:pt x="4142" y="14075"/>
                    <a:pt x="3618" y="14783"/>
                    <a:pt x="3301" y="14516"/>
                  </a:cubicBezTo>
                  <a:cubicBezTo>
                    <a:pt x="2777" y="14261"/>
                    <a:pt x="3094" y="13554"/>
                    <a:pt x="2666" y="13101"/>
                  </a:cubicBezTo>
                  <a:cubicBezTo>
                    <a:pt x="2570" y="12928"/>
                    <a:pt x="2142" y="13101"/>
                    <a:pt x="1935" y="13020"/>
                  </a:cubicBezTo>
                  <a:cubicBezTo>
                    <a:pt x="1508" y="12835"/>
                    <a:pt x="1094" y="12487"/>
                    <a:pt x="666" y="12313"/>
                  </a:cubicBezTo>
                  <a:cubicBezTo>
                    <a:pt x="459" y="11687"/>
                    <a:pt x="-175" y="11072"/>
                    <a:pt x="46" y="10446"/>
                  </a:cubicBezTo>
                  <a:cubicBezTo>
                    <a:pt x="46" y="10099"/>
                    <a:pt x="887" y="10099"/>
                    <a:pt x="1191" y="9832"/>
                  </a:cubicBezTo>
                  <a:cubicBezTo>
                    <a:pt x="1825" y="9391"/>
                    <a:pt x="2666" y="9032"/>
                    <a:pt x="2984" y="8499"/>
                  </a:cubicBezTo>
                  <a:cubicBezTo>
                    <a:pt x="3301" y="7965"/>
                    <a:pt x="3411" y="7351"/>
                    <a:pt x="3204" y="6725"/>
                  </a:cubicBezTo>
                  <a:cubicBezTo>
                    <a:pt x="3094" y="6377"/>
                    <a:pt x="2459" y="6284"/>
                    <a:pt x="2142" y="5936"/>
                  </a:cubicBezTo>
                  <a:cubicBezTo>
                    <a:pt x="1825" y="5484"/>
                    <a:pt x="1728" y="4870"/>
                    <a:pt x="1411" y="4336"/>
                  </a:cubicBezTo>
                  <a:cubicBezTo>
                    <a:pt x="1825" y="4336"/>
                    <a:pt x="2142" y="4243"/>
                    <a:pt x="2459" y="4429"/>
                  </a:cubicBezTo>
                  <a:cubicBezTo>
                    <a:pt x="2777" y="4510"/>
                    <a:pt x="3094" y="4777"/>
                    <a:pt x="3301" y="4951"/>
                  </a:cubicBezTo>
                  <a:cubicBezTo>
                    <a:pt x="3522" y="5217"/>
                    <a:pt x="3522" y="5670"/>
                    <a:pt x="3839" y="5843"/>
                  </a:cubicBezTo>
                  <a:cubicBezTo>
                    <a:pt x="4142" y="5936"/>
                    <a:pt x="4459" y="5577"/>
                    <a:pt x="4777" y="5577"/>
                  </a:cubicBezTo>
                  <a:cubicBezTo>
                    <a:pt x="4984" y="5670"/>
                    <a:pt x="4777" y="5936"/>
                    <a:pt x="4887" y="5936"/>
                  </a:cubicBezTo>
                  <a:cubicBezTo>
                    <a:pt x="5522" y="6017"/>
                    <a:pt x="6142" y="6017"/>
                    <a:pt x="6570" y="5751"/>
                  </a:cubicBezTo>
                  <a:cubicBezTo>
                    <a:pt x="6887" y="5577"/>
                    <a:pt x="6459" y="4951"/>
                    <a:pt x="6777" y="4870"/>
                  </a:cubicBezTo>
                  <a:cubicBezTo>
                    <a:pt x="7935" y="4429"/>
                    <a:pt x="9315" y="4696"/>
                    <a:pt x="10363" y="4162"/>
                  </a:cubicBezTo>
                  <a:cubicBezTo>
                    <a:pt x="10680" y="3896"/>
                    <a:pt x="10156" y="3281"/>
                    <a:pt x="10046" y="2922"/>
                  </a:cubicBezTo>
                  <a:cubicBezTo>
                    <a:pt x="10046" y="2562"/>
                    <a:pt x="10046" y="2296"/>
                    <a:pt x="10046" y="19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0" name="Shape 2404">
              <a:extLst>
                <a:ext uri="{FF2B5EF4-FFF2-40B4-BE49-F238E27FC236}">
                  <a16:creationId xmlns:a16="http://schemas.microsoft.com/office/drawing/2014/main" id="{1740E3F5-8F9F-FA43-CD0F-BC5E6A3A2E09}"/>
                </a:ext>
              </a:extLst>
            </p:cNvPr>
            <p:cNvSpPr/>
            <p:nvPr/>
          </p:nvSpPr>
          <p:spPr>
            <a:xfrm>
              <a:off x="4398890" y="6130943"/>
              <a:ext cx="859917" cy="514686"/>
            </a:xfrm>
            <a:custGeom>
              <a:avLst/>
              <a:gdLst/>
              <a:ahLst/>
              <a:cxnLst>
                <a:cxn ang="0">
                  <a:pos x="wd2" y="hd2"/>
                </a:cxn>
                <a:cxn ang="5400000">
                  <a:pos x="wd2" y="hd2"/>
                </a:cxn>
                <a:cxn ang="10800000">
                  <a:pos x="wd2" y="hd2"/>
                </a:cxn>
                <a:cxn ang="16200000">
                  <a:pos x="wd2" y="hd2"/>
                </a:cxn>
              </a:cxnLst>
              <a:rect l="0" t="0" r="r" b="b"/>
              <a:pathLst>
                <a:path w="21552" h="21442" extrusionOk="0">
                  <a:moveTo>
                    <a:pt x="1759" y="5732"/>
                  </a:moveTo>
                  <a:cubicBezTo>
                    <a:pt x="1691" y="6055"/>
                    <a:pt x="1497" y="6379"/>
                    <a:pt x="1497" y="6688"/>
                  </a:cubicBezTo>
                  <a:cubicBezTo>
                    <a:pt x="1497" y="6913"/>
                    <a:pt x="1759" y="7124"/>
                    <a:pt x="1691" y="7335"/>
                  </a:cubicBezTo>
                  <a:cubicBezTo>
                    <a:pt x="1565" y="7771"/>
                    <a:pt x="1244" y="7883"/>
                    <a:pt x="982" y="8094"/>
                  </a:cubicBezTo>
                  <a:cubicBezTo>
                    <a:pt x="720" y="8305"/>
                    <a:pt x="467" y="8305"/>
                    <a:pt x="205" y="8516"/>
                  </a:cubicBezTo>
                  <a:cubicBezTo>
                    <a:pt x="138" y="9065"/>
                    <a:pt x="-48" y="9599"/>
                    <a:pt x="11" y="10133"/>
                  </a:cubicBezTo>
                  <a:cubicBezTo>
                    <a:pt x="79" y="10668"/>
                    <a:pt x="273" y="11104"/>
                    <a:pt x="400" y="11526"/>
                  </a:cubicBezTo>
                  <a:cubicBezTo>
                    <a:pt x="526" y="11849"/>
                    <a:pt x="720" y="11962"/>
                    <a:pt x="788" y="12285"/>
                  </a:cubicBezTo>
                  <a:cubicBezTo>
                    <a:pt x="788" y="12707"/>
                    <a:pt x="594" y="13030"/>
                    <a:pt x="594" y="13466"/>
                  </a:cubicBezTo>
                  <a:cubicBezTo>
                    <a:pt x="594" y="14001"/>
                    <a:pt x="526" y="14647"/>
                    <a:pt x="661" y="15182"/>
                  </a:cubicBezTo>
                  <a:cubicBezTo>
                    <a:pt x="720" y="15505"/>
                    <a:pt x="856" y="15941"/>
                    <a:pt x="1050" y="16040"/>
                  </a:cubicBezTo>
                  <a:cubicBezTo>
                    <a:pt x="1371" y="16152"/>
                    <a:pt x="1759" y="15716"/>
                    <a:pt x="2080" y="15829"/>
                  </a:cubicBezTo>
                  <a:cubicBezTo>
                    <a:pt x="2460" y="15941"/>
                    <a:pt x="2789" y="16363"/>
                    <a:pt x="3110" y="16687"/>
                  </a:cubicBezTo>
                  <a:cubicBezTo>
                    <a:pt x="3304" y="17010"/>
                    <a:pt x="3431" y="17432"/>
                    <a:pt x="3558" y="17868"/>
                  </a:cubicBezTo>
                  <a:cubicBezTo>
                    <a:pt x="3625" y="18191"/>
                    <a:pt x="3693" y="18613"/>
                    <a:pt x="3752" y="18937"/>
                  </a:cubicBezTo>
                  <a:cubicBezTo>
                    <a:pt x="3752" y="19049"/>
                    <a:pt x="3752" y="19049"/>
                    <a:pt x="3752" y="19049"/>
                  </a:cubicBezTo>
                  <a:cubicBezTo>
                    <a:pt x="4140" y="18838"/>
                    <a:pt x="4529" y="18515"/>
                    <a:pt x="4917" y="18402"/>
                  </a:cubicBezTo>
                  <a:cubicBezTo>
                    <a:pt x="5432" y="18191"/>
                    <a:pt x="6015" y="17966"/>
                    <a:pt x="6530" y="17966"/>
                  </a:cubicBezTo>
                  <a:cubicBezTo>
                    <a:pt x="6783" y="17966"/>
                    <a:pt x="7172" y="18079"/>
                    <a:pt x="7239" y="18515"/>
                  </a:cubicBezTo>
                  <a:cubicBezTo>
                    <a:pt x="7298" y="19049"/>
                    <a:pt x="6724" y="19583"/>
                    <a:pt x="6918" y="20118"/>
                  </a:cubicBezTo>
                  <a:cubicBezTo>
                    <a:pt x="7045" y="20666"/>
                    <a:pt x="7560" y="20441"/>
                    <a:pt x="7881" y="20441"/>
                  </a:cubicBezTo>
                  <a:cubicBezTo>
                    <a:pt x="8464" y="20554"/>
                    <a:pt x="9105" y="20343"/>
                    <a:pt x="9688" y="20441"/>
                  </a:cubicBezTo>
                  <a:cubicBezTo>
                    <a:pt x="10136" y="20441"/>
                    <a:pt x="10659" y="20765"/>
                    <a:pt x="11107" y="20877"/>
                  </a:cubicBezTo>
                  <a:cubicBezTo>
                    <a:pt x="11428" y="20976"/>
                    <a:pt x="11748" y="21088"/>
                    <a:pt x="12078" y="21201"/>
                  </a:cubicBezTo>
                  <a:cubicBezTo>
                    <a:pt x="12719" y="21299"/>
                    <a:pt x="13361" y="21524"/>
                    <a:pt x="14011" y="21412"/>
                  </a:cubicBezTo>
                  <a:cubicBezTo>
                    <a:pt x="14265" y="21412"/>
                    <a:pt x="14459" y="20877"/>
                    <a:pt x="14653" y="20666"/>
                  </a:cubicBezTo>
                  <a:cubicBezTo>
                    <a:pt x="14974" y="20343"/>
                    <a:pt x="15236" y="20118"/>
                    <a:pt x="15489" y="19794"/>
                  </a:cubicBezTo>
                  <a:cubicBezTo>
                    <a:pt x="15751" y="19372"/>
                    <a:pt x="15945" y="18838"/>
                    <a:pt x="16139" y="18402"/>
                  </a:cubicBezTo>
                  <a:cubicBezTo>
                    <a:pt x="16266" y="18079"/>
                    <a:pt x="16334" y="17544"/>
                    <a:pt x="16587" y="17432"/>
                  </a:cubicBezTo>
                  <a:cubicBezTo>
                    <a:pt x="17043" y="17333"/>
                    <a:pt x="17490" y="17657"/>
                    <a:pt x="17946" y="17657"/>
                  </a:cubicBezTo>
                  <a:cubicBezTo>
                    <a:pt x="18461" y="17657"/>
                    <a:pt x="18977" y="17868"/>
                    <a:pt x="19492" y="17544"/>
                  </a:cubicBezTo>
                  <a:cubicBezTo>
                    <a:pt x="19745" y="17333"/>
                    <a:pt x="20007" y="16687"/>
                    <a:pt x="20074" y="16152"/>
                  </a:cubicBezTo>
                  <a:cubicBezTo>
                    <a:pt x="20133" y="15941"/>
                    <a:pt x="19813" y="15716"/>
                    <a:pt x="19813" y="15393"/>
                  </a:cubicBezTo>
                  <a:cubicBezTo>
                    <a:pt x="19880" y="14971"/>
                    <a:pt x="20007" y="14535"/>
                    <a:pt x="20268" y="14324"/>
                  </a:cubicBezTo>
                  <a:cubicBezTo>
                    <a:pt x="20657" y="14099"/>
                    <a:pt x="21172" y="14212"/>
                    <a:pt x="21552" y="14212"/>
                  </a:cubicBezTo>
                  <a:cubicBezTo>
                    <a:pt x="21552" y="13143"/>
                    <a:pt x="21552" y="12285"/>
                    <a:pt x="21172" y="11202"/>
                  </a:cubicBezTo>
                  <a:cubicBezTo>
                    <a:pt x="21037" y="10780"/>
                    <a:pt x="21104" y="10344"/>
                    <a:pt x="21037" y="9922"/>
                  </a:cubicBezTo>
                  <a:cubicBezTo>
                    <a:pt x="20910" y="9163"/>
                    <a:pt x="20784" y="8840"/>
                    <a:pt x="20589" y="8305"/>
                  </a:cubicBezTo>
                  <a:cubicBezTo>
                    <a:pt x="19813" y="6379"/>
                    <a:pt x="18335" y="4649"/>
                    <a:pt x="17237" y="3046"/>
                  </a:cubicBezTo>
                  <a:cubicBezTo>
                    <a:pt x="16072" y="1218"/>
                    <a:pt x="14400" y="1865"/>
                    <a:pt x="12981" y="894"/>
                  </a:cubicBezTo>
                  <a:cubicBezTo>
                    <a:pt x="12137" y="360"/>
                    <a:pt x="10786" y="1105"/>
                    <a:pt x="10076" y="360"/>
                  </a:cubicBezTo>
                  <a:cubicBezTo>
                    <a:pt x="9367" y="-76"/>
                    <a:pt x="8852" y="-76"/>
                    <a:pt x="8075" y="149"/>
                  </a:cubicBezTo>
                  <a:cubicBezTo>
                    <a:pt x="7433" y="247"/>
                    <a:pt x="6657" y="-76"/>
                    <a:pt x="5947" y="149"/>
                  </a:cubicBezTo>
                  <a:cubicBezTo>
                    <a:pt x="4655" y="472"/>
                    <a:pt x="4461" y="2835"/>
                    <a:pt x="4334" y="4649"/>
                  </a:cubicBezTo>
                  <a:cubicBezTo>
                    <a:pt x="4267" y="5197"/>
                    <a:pt x="3431" y="5619"/>
                    <a:pt x="3304" y="6590"/>
                  </a:cubicBezTo>
                  <a:cubicBezTo>
                    <a:pt x="3043" y="6590"/>
                    <a:pt x="2274" y="6154"/>
                    <a:pt x="1759" y="573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1" name="Shape 2405">
              <a:extLst>
                <a:ext uri="{FF2B5EF4-FFF2-40B4-BE49-F238E27FC236}">
                  <a16:creationId xmlns:a16="http://schemas.microsoft.com/office/drawing/2014/main" id="{3DF16BC9-44A4-848A-72FF-32EC802A091E}"/>
                </a:ext>
              </a:extLst>
            </p:cNvPr>
            <p:cNvSpPr/>
            <p:nvPr/>
          </p:nvSpPr>
          <p:spPr>
            <a:xfrm>
              <a:off x="4495096" y="6471563"/>
              <a:ext cx="770132" cy="559764"/>
            </a:xfrm>
            <a:custGeom>
              <a:avLst/>
              <a:gdLst/>
              <a:ahLst/>
              <a:cxnLst>
                <a:cxn ang="0">
                  <a:pos x="wd2" y="hd2"/>
                </a:cxn>
                <a:cxn ang="5400000">
                  <a:pos x="wd2" y="hd2"/>
                </a:cxn>
                <a:cxn ang="10800000">
                  <a:pos x="wd2" y="hd2"/>
                </a:cxn>
                <a:cxn ang="16200000">
                  <a:pos x="wd2" y="hd2"/>
                </a:cxn>
              </a:cxnLst>
              <a:rect l="0" t="0" r="r" b="b"/>
              <a:pathLst>
                <a:path w="21530" h="20761" extrusionOk="0">
                  <a:moveTo>
                    <a:pt x="933" y="15984"/>
                  </a:moveTo>
                  <a:cubicBezTo>
                    <a:pt x="867" y="15409"/>
                    <a:pt x="792" y="14934"/>
                    <a:pt x="792" y="14358"/>
                  </a:cubicBezTo>
                  <a:cubicBezTo>
                    <a:pt x="867" y="13971"/>
                    <a:pt x="933" y="13595"/>
                    <a:pt x="1084" y="13208"/>
                  </a:cubicBezTo>
                  <a:cubicBezTo>
                    <a:pt x="1150" y="12832"/>
                    <a:pt x="1150" y="12445"/>
                    <a:pt x="1367" y="12257"/>
                  </a:cubicBezTo>
                  <a:cubicBezTo>
                    <a:pt x="1584" y="12070"/>
                    <a:pt x="2018" y="12545"/>
                    <a:pt x="2159" y="12257"/>
                  </a:cubicBezTo>
                  <a:cubicBezTo>
                    <a:pt x="2376" y="11682"/>
                    <a:pt x="2300" y="10919"/>
                    <a:pt x="2159" y="10243"/>
                  </a:cubicBezTo>
                  <a:cubicBezTo>
                    <a:pt x="2018" y="9968"/>
                    <a:pt x="1725" y="9768"/>
                    <a:pt x="1443" y="9768"/>
                  </a:cubicBezTo>
                  <a:cubicBezTo>
                    <a:pt x="1150" y="9768"/>
                    <a:pt x="867" y="10344"/>
                    <a:pt x="500" y="10243"/>
                  </a:cubicBezTo>
                  <a:cubicBezTo>
                    <a:pt x="283" y="10156"/>
                    <a:pt x="66" y="9868"/>
                    <a:pt x="0" y="9481"/>
                  </a:cubicBezTo>
                  <a:cubicBezTo>
                    <a:pt x="0" y="9205"/>
                    <a:pt x="141" y="8918"/>
                    <a:pt x="217" y="8630"/>
                  </a:cubicBezTo>
                  <a:cubicBezTo>
                    <a:pt x="217" y="8530"/>
                    <a:pt x="217" y="8142"/>
                    <a:pt x="283" y="8242"/>
                  </a:cubicBezTo>
                  <a:cubicBezTo>
                    <a:pt x="717" y="8530"/>
                    <a:pt x="867" y="9205"/>
                    <a:pt x="1226" y="9393"/>
                  </a:cubicBezTo>
                  <a:cubicBezTo>
                    <a:pt x="1584" y="9481"/>
                    <a:pt x="1942" y="9205"/>
                    <a:pt x="2234" y="8918"/>
                  </a:cubicBezTo>
                  <a:cubicBezTo>
                    <a:pt x="2300" y="8818"/>
                    <a:pt x="2234" y="8530"/>
                    <a:pt x="2234" y="8342"/>
                  </a:cubicBezTo>
                  <a:cubicBezTo>
                    <a:pt x="2084" y="8055"/>
                    <a:pt x="1942" y="7767"/>
                    <a:pt x="1725" y="7579"/>
                  </a:cubicBezTo>
                  <a:cubicBezTo>
                    <a:pt x="1584" y="7379"/>
                    <a:pt x="1367" y="7479"/>
                    <a:pt x="1292" y="7292"/>
                  </a:cubicBezTo>
                  <a:cubicBezTo>
                    <a:pt x="1226" y="7092"/>
                    <a:pt x="1443" y="6716"/>
                    <a:pt x="1367" y="6529"/>
                  </a:cubicBezTo>
                  <a:cubicBezTo>
                    <a:pt x="1292" y="6141"/>
                    <a:pt x="933" y="5953"/>
                    <a:pt x="792" y="5666"/>
                  </a:cubicBezTo>
                  <a:cubicBezTo>
                    <a:pt x="651" y="5478"/>
                    <a:pt x="500" y="5090"/>
                    <a:pt x="651" y="4903"/>
                  </a:cubicBezTo>
                  <a:cubicBezTo>
                    <a:pt x="867" y="4615"/>
                    <a:pt x="1226" y="4515"/>
                    <a:pt x="1509" y="4227"/>
                  </a:cubicBezTo>
                  <a:cubicBezTo>
                    <a:pt x="1509" y="4328"/>
                    <a:pt x="1509" y="4328"/>
                    <a:pt x="1509" y="4328"/>
                  </a:cubicBezTo>
                  <a:cubicBezTo>
                    <a:pt x="1942" y="4140"/>
                    <a:pt x="2376" y="3852"/>
                    <a:pt x="2810" y="3752"/>
                  </a:cubicBezTo>
                  <a:cubicBezTo>
                    <a:pt x="3385" y="3565"/>
                    <a:pt x="4035" y="3364"/>
                    <a:pt x="4610" y="3364"/>
                  </a:cubicBezTo>
                  <a:cubicBezTo>
                    <a:pt x="4893" y="3364"/>
                    <a:pt x="5327" y="3465"/>
                    <a:pt x="5402" y="3852"/>
                  </a:cubicBezTo>
                  <a:cubicBezTo>
                    <a:pt x="5468" y="4328"/>
                    <a:pt x="4827" y="4803"/>
                    <a:pt x="5044" y="5278"/>
                  </a:cubicBezTo>
                  <a:cubicBezTo>
                    <a:pt x="5186" y="5766"/>
                    <a:pt x="5761" y="5566"/>
                    <a:pt x="6119" y="5566"/>
                  </a:cubicBezTo>
                  <a:cubicBezTo>
                    <a:pt x="6769" y="5666"/>
                    <a:pt x="7486" y="5478"/>
                    <a:pt x="8137" y="5566"/>
                  </a:cubicBezTo>
                  <a:cubicBezTo>
                    <a:pt x="8636" y="5566"/>
                    <a:pt x="9221" y="5853"/>
                    <a:pt x="9720" y="5953"/>
                  </a:cubicBezTo>
                  <a:cubicBezTo>
                    <a:pt x="10079" y="6041"/>
                    <a:pt x="10437" y="6141"/>
                    <a:pt x="10805" y="6241"/>
                  </a:cubicBezTo>
                  <a:cubicBezTo>
                    <a:pt x="11521" y="6329"/>
                    <a:pt x="12238" y="6529"/>
                    <a:pt x="12964" y="6429"/>
                  </a:cubicBezTo>
                  <a:cubicBezTo>
                    <a:pt x="13247" y="6429"/>
                    <a:pt x="13463" y="5953"/>
                    <a:pt x="13680" y="5766"/>
                  </a:cubicBezTo>
                  <a:cubicBezTo>
                    <a:pt x="14039" y="5478"/>
                    <a:pt x="14331" y="5278"/>
                    <a:pt x="14614" y="4990"/>
                  </a:cubicBezTo>
                  <a:cubicBezTo>
                    <a:pt x="14906" y="4615"/>
                    <a:pt x="15123" y="4140"/>
                    <a:pt x="15340" y="3752"/>
                  </a:cubicBezTo>
                  <a:cubicBezTo>
                    <a:pt x="15481" y="3465"/>
                    <a:pt x="15557" y="2989"/>
                    <a:pt x="15839" y="2889"/>
                  </a:cubicBezTo>
                  <a:cubicBezTo>
                    <a:pt x="16348" y="2802"/>
                    <a:pt x="16848" y="3089"/>
                    <a:pt x="17357" y="3089"/>
                  </a:cubicBezTo>
                  <a:cubicBezTo>
                    <a:pt x="17932" y="3089"/>
                    <a:pt x="18508" y="3277"/>
                    <a:pt x="19083" y="2989"/>
                  </a:cubicBezTo>
                  <a:cubicBezTo>
                    <a:pt x="19366" y="2802"/>
                    <a:pt x="19658" y="2226"/>
                    <a:pt x="19733" y="1751"/>
                  </a:cubicBezTo>
                  <a:cubicBezTo>
                    <a:pt x="19799" y="1563"/>
                    <a:pt x="19441" y="1363"/>
                    <a:pt x="19441" y="1076"/>
                  </a:cubicBezTo>
                  <a:cubicBezTo>
                    <a:pt x="19516" y="700"/>
                    <a:pt x="19658" y="313"/>
                    <a:pt x="19950" y="125"/>
                  </a:cubicBezTo>
                  <a:cubicBezTo>
                    <a:pt x="20384" y="-75"/>
                    <a:pt x="20959" y="25"/>
                    <a:pt x="21383" y="25"/>
                  </a:cubicBezTo>
                  <a:cubicBezTo>
                    <a:pt x="21383" y="500"/>
                    <a:pt x="21317" y="988"/>
                    <a:pt x="21459" y="1463"/>
                  </a:cubicBezTo>
                  <a:cubicBezTo>
                    <a:pt x="21600" y="2889"/>
                    <a:pt x="21534" y="4715"/>
                    <a:pt x="21242" y="6141"/>
                  </a:cubicBezTo>
                  <a:cubicBezTo>
                    <a:pt x="19950" y="9581"/>
                    <a:pt x="19950" y="9581"/>
                    <a:pt x="19950" y="9581"/>
                  </a:cubicBezTo>
                  <a:cubicBezTo>
                    <a:pt x="19733" y="10243"/>
                    <a:pt x="19658" y="11682"/>
                    <a:pt x="19658" y="12357"/>
                  </a:cubicBezTo>
                  <a:cubicBezTo>
                    <a:pt x="19658" y="12920"/>
                    <a:pt x="19158" y="16172"/>
                    <a:pt x="18941" y="16360"/>
                  </a:cubicBezTo>
                  <a:cubicBezTo>
                    <a:pt x="18432" y="16747"/>
                    <a:pt x="17857" y="17035"/>
                    <a:pt x="17423" y="17510"/>
                  </a:cubicBezTo>
                  <a:cubicBezTo>
                    <a:pt x="16990" y="17885"/>
                    <a:pt x="16924" y="18949"/>
                    <a:pt x="16565" y="19524"/>
                  </a:cubicBezTo>
                  <a:cubicBezTo>
                    <a:pt x="15990" y="19999"/>
                    <a:pt x="15123" y="21525"/>
                    <a:pt x="14614" y="20287"/>
                  </a:cubicBezTo>
                  <a:cubicBezTo>
                    <a:pt x="14255" y="19324"/>
                    <a:pt x="14472" y="19036"/>
                    <a:pt x="13397" y="18661"/>
                  </a:cubicBezTo>
                  <a:cubicBezTo>
                    <a:pt x="14114" y="18661"/>
                    <a:pt x="14548" y="19899"/>
                    <a:pt x="14039" y="20287"/>
                  </a:cubicBezTo>
                  <a:cubicBezTo>
                    <a:pt x="13030" y="19799"/>
                    <a:pt x="12747" y="19524"/>
                    <a:pt x="11738" y="19236"/>
                  </a:cubicBezTo>
                  <a:cubicBezTo>
                    <a:pt x="11012" y="19036"/>
                    <a:pt x="10296" y="19136"/>
                    <a:pt x="9654" y="18949"/>
                  </a:cubicBezTo>
                  <a:cubicBezTo>
                    <a:pt x="9504" y="18949"/>
                    <a:pt x="9362" y="18748"/>
                    <a:pt x="9221" y="18748"/>
                  </a:cubicBezTo>
                  <a:cubicBezTo>
                    <a:pt x="8419" y="18748"/>
                    <a:pt x="7561" y="19424"/>
                    <a:pt x="6769" y="19036"/>
                  </a:cubicBezTo>
                  <a:cubicBezTo>
                    <a:pt x="6336" y="18848"/>
                    <a:pt x="6411" y="17885"/>
                    <a:pt x="6194" y="17323"/>
                  </a:cubicBezTo>
                  <a:cubicBezTo>
                    <a:pt x="5902" y="16747"/>
                    <a:pt x="5761" y="15797"/>
                    <a:pt x="5252" y="15597"/>
                  </a:cubicBezTo>
                  <a:cubicBezTo>
                    <a:pt x="4535" y="15309"/>
                    <a:pt x="3743" y="16172"/>
                    <a:pt x="2951" y="16172"/>
                  </a:cubicBezTo>
                  <a:cubicBezTo>
                    <a:pt x="2810" y="16172"/>
                    <a:pt x="2659" y="15797"/>
                    <a:pt x="2451" y="15697"/>
                  </a:cubicBezTo>
                  <a:cubicBezTo>
                    <a:pt x="1942" y="15697"/>
                    <a:pt x="1443" y="15884"/>
                    <a:pt x="933" y="1598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4" name="Shape 2406">
              <a:extLst>
                <a:ext uri="{FF2B5EF4-FFF2-40B4-BE49-F238E27FC236}">
                  <a16:creationId xmlns:a16="http://schemas.microsoft.com/office/drawing/2014/main" id="{FEB3CA75-6BFA-21C1-47CA-6DE177A77336}"/>
                </a:ext>
              </a:extLst>
            </p:cNvPr>
            <p:cNvSpPr/>
            <p:nvPr/>
          </p:nvSpPr>
          <p:spPr>
            <a:xfrm>
              <a:off x="4318791" y="6860444"/>
              <a:ext cx="701244" cy="543812"/>
            </a:xfrm>
            <a:custGeom>
              <a:avLst/>
              <a:gdLst/>
              <a:ahLst/>
              <a:cxnLst>
                <a:cxn ang="0">
                  <a:pos x="wd2" y="hd2"/>
                </a:cxn>
                <a:cxn ang="5400000">
                  <a:pos x="wd2" y="hd2"/>
                </a:cxn>
                <a:cxn ang="10800000">
                  <a:pos x="wd2" y="hd2"/>
                </a:cxn>
                <a:cxn ang="16200000">
                  <a:pos x="wd2" y="hd2"/>
                </a:cxn>
              </a:cxnLst>
              <a:rect l="0" t="0" r="r" b="b"/>
              <a:pathLst>
                <a:path w="21020" h="21427" extrusionOk="0">
                  <a:moveTo>
                    <a:pt x="1251" y="3677"/>
                  </a:moveTo>
                  <a:cubicBezTo>
                    <a:pt x="1402" y="2973"/>
                    <a:pt x="1321" y="2164"/>
                    <a:pt x="1715" y="1553"/>
                  </a:cubicBezTo>
                  <a:cubicBezTo>
                    <a:pt x="1867" y="1248"/>
                    <a:pt x="2170" y="1659"/>
                    <a:pt x="2402" y="1659"/>
                  </a:cubicBezTo>
                  <a:cubicBezTo>
                    <a:pt x="2634" y="1553"/>
                    <a:pt x="2866" y="1460"/>
                    <a:pt x="3018" y="1248"/>
                  </a:cubicBezTo>
                  <a:cubicBezTo>
                    <a:pt x="3180" y="849"/>
                    <a:pt x="3018" y="239"/>
                    <a:pt x="3331" y="39"/>
                  </a:cubicBezTo>
                  <a:cubicBezTo>
                    <a:pt x="3563" y="-173"/>
                    <a:pt x="3715" y="544"/>
                    <a:pt x="4028" y="637"/>
                  </a:cubicBezTo>
                  <a:cubicBezTo>
                    <a:pt x="4179" y="637"/>
                    <a:pt x="4331" y="132"/>
                    <a:pt x="4492" y="331"/>
                  </a:cubicBezTo>
                  <a:cubicBezTo>
                    <a:pt x="5027" y="743"/>
                    <a:pt x="5330" y="1553"/>
                    <a:pt x="5795" y="2164"/>
                  </a:cubicBezTo>
                  <a:cubicBezTo>
                    <a:pt x="5876" y="2270"/>
                    <a:pt x="6108" y="2270"/>
                    <a:pt x="6189" y="2164"/>
                  </a:cubicBezTo>
                  <a:cubicBezTo>
                    <a:pt x="6259" y="2057"/>
                    <a:pt x="6259" y="1858"/>
                    <a:pt x="6259" y="1659"/>
                  </a:cubicBezTo>
                  <a:cubicBezTo>
                    <a:pt x="6805" y="1553"/>
                    <a:pt x="7340" y="1354"/>
                    <a:pt x="7885" y="1354"/>
                  </a:cubicBezTo>
                  <a:cubicBezTo>
                    <a:pt x="8107" y="1460"/>
                    <a:pt x="8269" y="1858"/>
                    <a:pt x="8420" y="1858"/>
                  </a:cubicBezTo>
                  <a:cubicBezTo>
                    <a:pt x="9269" y="1858"/>
                    <a:pt x="10117" y="942"/>
                    <a:pt x="10884" y="1248"/>
                  </a:cubicBezTo>
                  <a:cubicBezTo>
                    <a:pt x="11430" y="1460"/>
                    <a:pt x="11581" y="2469"/>
                    <a:pt x="11894" y="3080"/>
                  </a:cubicBezTo>
                  <a:cubicBezTo>
                    <a:pt x="12127" y="3677"/>
                    <a:pt x="12046" y="4699"/>
                    <a:pt x="12510" y="4898"/>
                  </a:cubicBezTo>
                  <a:cubicBezTo>
                    <a:pt x="13358" y="5310"/>
                    <a:pt x="14277" y="4593"/>
                    <a:pt x="15136" y="4593"/>
                  </a:cubicBezTo>
                  <a:cubicBezTo>
                    <a:pt x="15287" y="4593"/>
                    <a:pt x="15439" y="4805"/>
                    <a:pt x="15600" y="4805"/>
                  </a:cubicBezTo>
                  <a:cubicBezTo>
                    <a:pt x="16287" y="5005"/>
                    <a:pt x="17054" y="4898"/>
                    <a:pt x="17832" y="5111"/>
                  </a:cubicBezTo>
                  <a:cubicBezTo>
                    <a:pt x="18912" y="5416"/>
                    <a:pt x="19215" y="5708"/>
                    <a:pt x="20296" y="6226"/>
                  </a:cubicBezTo>
                  <a:cubicBezTo>
                    <a:pt x="20064" y="6425"/>
                    <a:pt x="19761" y="6425"/>
                    <a:pt x="19215" y="6226"/>
                  </a:cubicBezTo>
                  <a:cubicBezTo>
                    <a:pt x="18993" y="6120"/>
                    <a:pt x="18296" y="6425"/>
                    <a:pt x="17983" y="6518"/>
                  </a:cubicBezTo>
                  <a:cubicBezTo>
                    <a:pt x="17680" y="6624"/>
                    <a:pt x="19064" y="6731"/>
                    <a:pt x="19296" y="6731"/>
                  </a:cubicBezTo>
                  <a:cubicBezTo>
                    <a:pt x="20296" y="6731"/>
                    <a:pt x="21073" y="6731"/>
                    <a:pt x="20064" y="8045"/>
                  </a:cubicBezTo>
                  <a:cubicBezTo>
                    <a:pt x="19912" y="8244"/>
                    <a:pt x="19609" y="8961"/>
                    <a:pt x="19761" y="9266"/>
                  </a:cubicBezTo>
                  <a:cubicBezTo>
                    <a:pt x="19993" y="9771"/>
                    <a:pt x="20457" y="9054"/>
                    <a:pt x="20690" y="8961"/>
                  </a:cubicBezTo>
                  <a:cubicBezTo>
                    <a:pt x="21538" y="8549"/>
                    <a:pt x="20528" y="10381"/>
                    <a:pt x="20144" y="10687"/>
                  </a:cubicBezTo>
                  <a:cubicBezTo>
                    <a:pt x="19215" y="11696"/>
                    <a:pt x="17832" y="13315"/>
                    <a:pt x="16751" y="11696"/>
                  </a:cubicBezTo>
                  <a:cubicBezTo>
                    <a:pt x="16671" y="11497"/>
                    <a:pt x="16055" y="12200"/>
                    <a:pt x="15822" y="12399"/>
                  </a:cubicBezTo>
                  <a:cubicBezTo>
                    <a:pt x="15439" y="12705"/>
                    <a:pt x="14974" y="12399"/>
                    <a:pt x="14590" y="12811"/>
                  </a:cubicBezTo>
                  <a:cubicBezTo>
                    <a:pt x="13974" y="13727"/>
                    <a:pt x="13823" y="13315"/>
                    <a:pt x="13045" y="13727"/>
                  </a:cubicBezTo>
                  <a:cubicBezTo>
                    <a:pt x="11117" y="14630"/>
                    <a:pt x="13823" y="14736"/>
                    <a:pt x="14358" y="14537"/>
                  </a:cubicBezTo>
                  <a:cubicBezTo>
                    <a:pt x="14590" y="14431"/>
                    <a:pt x="15600" y="13315"/>
                    <a:pt x="15752" y="13926"/>
                  </a:cubicBezTo>
                  <a:cubicBezTo>
                    <a:pt x="15822" y="14736"/>
                    <a:pt x="15671" y="15957"/>
                    <a:pt x="15671" y="16767"/>
                  </a:cubicBezTo>
                  <a:cubicBezTo>
                    <a:pt x="15519" y="17776"/>
                    <a:pt x="14742" y="19608"/>
                    <a:pt x="13823" y="20524"/>
                  </a:cubicBezTo>
                  <a:cubicBezTo>
                    <a:pt x="13510" y="20219"/>
                    <a:pt x="12975" y="19303"/>
                    <a:pt x="12591" y="19104"/>
                  </a:cubicBezTo>
                  <a:cubicBezTo>
                    <a:pt x="11965" y="18798"/>
                    <a:pt x="11278" y="18281"/>
                    <a:pt x="10581" y="18586"/>
                  </a:cubicBezTo>
                  <a:cubicBezTo>
                    <a:pt x="10268" y="18692"/>
                    <a:pt x="10733" y="20418"/>
                    <a:pt x="10733" y="20830"/>
                  </a:cubicBezTo>
                  <a:cubicBezTo>
                    <a:pt x="10349" y="20923"/>
                    <a:pt x="9965" y="21228"/>
                    <a:pt x="9582" y="21427"/>
                  </a:cubicBezTo>
                  <a:cubicBezTo>
                    <a:pt x="9117" y="20923"/>
                    <a:pt x="8501" y="19807"/>
                    <a:pt x="7956" y="19502"/>
                  </a:cubicBezTo>
                  <a:cubicBezTo>
                    <a:pt x="7724" y="19396"/>
                    <a:pt x="7491" y="19701"/>
                    <a:pt x="7188" y="19608"/>
                  </a:cubicBezTo>
                  <a:cubicBezTo>
                    <a:pt x="7037" y="19608"/>
                    <a:pt x="6956" y="19197"/>
                    <a:pt x="6805" y="19197"/>
                  </a:cubicBezTo>
                  <a:cubicBezTo>
                    <a:pt x="6340" y="19104"/>
                    <a:pt x="5957" y="19197"/>
                    <a:pt x="5492" y="19303"/>
                  </a:cubicBezTo>
                  <a:cubicBezTo>
                    <a:pt x="5563" y="19303"/>
                    <a:pt x="5563" y="19303"/>
                    <a:pt x="5563" y="19303"/>
                  </a:cubicBezTo>
                  <a:cubicBezTo>
                    <a:pt x="5330" y="18997"/>
                    <a:pt x="5027" y="18692"/>
                    <a:pt x="4795" y="18387"/>
                  </a:cubicBezTo>
                  <a:cubicBezTo>
                    <a:pt x="4714" y="18188"/>
                    <a:pt x="4876" y="18081"/>
                    <a:pt x="4795" y="17882"/>
                  </a:cubicBezTo>
                  <a:cubicBezTo>
                    <a:pt x="4714" y="17577"/>
                    <a:pt x="4563" y="17179"/>
                    <a:pt x="4331" y="16966"/>
                  </a:cubicBezTo>
                  <a:cubicBezTo>
                    <a:pt x="4179" y="16873"/>
                    <a:pt x="4028" y="17179"/>
                    <a:pt x="3876" y="17179"/>
                  </a:cubicBezTo>
                  <a:cubicBezTo>
                    <a:pt x="3644" y="17272"/>
                    <a:pt x="3412" y="17072"/>
                    <a:pt x="3180" y="17179"/>
                  </a:cubicBezTo>
                  <a:cubicBezTo>
                    <a:pt x="2715" y="17272"/>
                    <a:pt x="2331" y="17989"/>
                    <a:pt x="1867" y="17882"/>
                  </a:cubicBezTo>
                  <a:cubicBezTo>
                    <a:pt x="1483" y="17776"/>
                    <a:pt x="1321" y="16966"/>
                    <a:pt x="1019" y="16661"/>
                  </a:cubicBezTo>
                  <a:cubicBezTo>
                    <a:pt x="867" y="16568"/>
                    <a:pt x="554" y="16767"/>
                    <a:pt x="473" y="16568"/>
                  </a:cubicBezTo>
                  <a:cubicBezTo>
                    <a:pt x="322" y="16263"/>
                    <a:pt x="473" y="15851"/>
                    <a:pt x="473" y="15453"/>
                  </a:cubicBezTo>
                  <a:cubicBezTo>
                    <a:pt x="322" y="14842"/>
                    <a:pt x="-62" y="14231"/>
                    <a:pt x="9" y="13621"/>
                  </a:cubicBezTo>
                  <a:cubicBezTo>
                    <a:pt x="9" y="12811"/>
                    <a:pt x="241" y="12001"/>
                    <a:pt x="705" y="11497"/>
                  </a:cubicBezTo>
                  <a:cubicBezTo>
                    <a:pt x="1099" y="10979"/>
                    <a:pt x="1867" y="11191"/>
                    <a:pt x="2331" y="10886"/>
                  </a:cubicBezTo>
                  <a:cubicBezTo>
                    <a:pt x="2634" y="10780"/>
                    <a:pt x="2866" y="10381"/>
                    <a:pt x="2947" y="10076"/>
                  </a:cubicBezTo>
                  <a:cubicBezTo>
                    <a:pt x="3099" y="9359"/>
                    <a:pt x="3331" y="8549"/>
                    <a:pt x="3099" y="7939"/>
                  </a:cubicBezTo>
                  <a:cubicBezTo>
                    <a:pt x="3018" y="7633"/>
                    <a:pt x="2483" y="8045"/>
                    <a:pt x="2331" y="7739"/>
                  </a:cubicBezTo>
                  <a:cubicBezTo>
                    <a:pt x="2099" y="7328"/>
                    <a:pt x="2250" y="6624"/>
                    <a:pt x="2170" y="6120"/>
                  </a:cubicBezTo>
                  <a:cubicBezTo>
                    <a:pt x="2099" y="5509"/>
                    <a:pt x="2018" y="5005"/>
                    <a:pt x="1786" y="4500"/>
                  </a:cubicBezTo>
                  <a:cubicBezTo>
                    <a:pt x="1715" y="4195"/>
                    <a:pt x="1402" y="3889"/>
                    <a:pt x="1251" y="367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5" name="Shape 2407">
              <a:extLst>
                <a:ext uri="{FF2B5EF4-FFF2-40B4-BE49-F238E27FC236}">
                  <a16:creationId xmlns:a16="http://schemas.microsoft.com/office/drawing/2014/main" id="{EEA192F1-7D91-E427-77AE-919CFE6DECBE}"/>
                </a:ext>
              </a:extLst>
            </p:cNvPr>
            <p:cNvSpPr/>
            <p:nvPr/>
          </p:nvSpPr>
          <p:spPr>
            <a:xfrm>
              <a:off x="3855763" y="6820370"/>
              <a:ext cx="163326" cy="185486"/>
            </a:xfrm>
            <a:custGeom>
              <a:avLst/>
              <a:gdLst/>
              <a:ahLst/>
              <a:cxnLst>
                <a:cxn ang="0">
                  <a:pos x="wd2" y="hd2"/>
                </a:cxn>
                <a:cxn ang="5400000">
                  <a:pos x="wd2" y="hd2"/>
                </a:cxn>
                <a:cxn ang="10800000">
                  <a:pos x="wd2" y="hd2"/>
                </a:cxn>
                <a:cxn ang="16200000">
                  <a:pos x="wd2" y="hd2"/>
                </a:cxn>
              </a:cxnLst>
              <a:rect l="0" t="0" r="r" b="b"/>
              <a:pathLst>
                <a:path w="21045" h="21600" extrusionOk="0">
                  <a:moveTo>
                    <a:pt x="445" y="9936"/>
                  </a:moveTo>
                  <a:cubicBezTo>
                    <a:pt x="445" y="9033"/>
                    <a:pt x="-555" y="7501"/>
                    <a:pt x="445" y="7226"/>
                  </a:cubicBezTo>
                  <a:cubicBezTo>
                    <a:pt x="2791" y="5420"/>
                    <a:pt x="6094" y="5105"/>
                    <a:pt x="8746" y="4202"/>
                  </a:cubicBezTo>
                  <a:cubicBezTo>
                    <a:pt x="8746" y="4202"/>
                    <a:pt x="10093" y="2396"/>
                    <a:pt x="10093" y="2121"/>
                  </a:cubicBezTo>
                  <a:cubicBezTo>
                    <a:pt x="10397" y="2121"/>
                    <a:pt x="16742" y="0"/>
                    <a:pt x="16742" y="0"/>
                  </a:cubicBezTo>
                  <a:cubicBezTo>
                    <a:pt x="17394" y="1217"/>
                    <a:pt x="18046" y="2396"/>
                    <a:pt x="18698" y="3927"/>
                  </a:cubicBezTo>
                  <a:cubicBezTo>
                    <a:pt x="18698" y="4831"/>
                    <a:pt x="18046" y="5695"/>
                    <a:pt x="18394" y="6323"/>
                  </a:cubicBezTo>
                  <a:cubicBezTo>
                    <a:pt x="19046" y="7501"/>
                    <a:pt x="21045" y="7501"/>
                    <a:pt x="21045" y="8719"/>
                  </a:cubicBezTo>
                  <a:cubicBezTo>
                    <a:pt x="21045" y="10211"/>
                    <a:pt x="18698" y="11114"/>
                    <a:pt x="17699" y="12332"/>
                  </a:cubicBezTo>
                  <a:cubicBezTo>
                    <a:pt x="17394" y="13196"/>
                    <a:pt x="16742" y="14413"/>
                    <a:pt x="16742" y="15316"/>
                  </a:cubicBezTo>
                  <a:cubicBezTo>
                    <a:pt x="16395" y="17398"/>
                    <a:pt x="16395" y="19519"/>
                    <a:pt x="16395" y="21600"/>
                  </a:cubicBezTo>
                  <a:cubicBezTo>
                    <a:pt x="15047" y="21011"/>
                    <a:pt x="13744" y="19833"/>
                    <a:pt x="12396" y="19519"/>
                  </a:cubicBezTo>
                  <a:cubicBezTo>
                    <a:pt x="11092" y="19519"/>
                    <a:pt x="10093" y="21325"/>
                    <a:pt x="9093" y="21011"/>
                  </a:cubicBezTo>
                  <a:cubicBezTo>
                    <a:pt x="6746" y="20422"/>
                    <a:pt x="5095" y="18615"/>
                    <a:pt x="3791" y="17123"/>
                  </a:cubicBezTo>
                  <a:cubicBezTo>
                    <a:pt x="2791" y="16220"/>
                    <a:pt x="2444" y="14727"/>
                    <a:pt x="2140" y="13510"/>
                  </a:cubicBezTo>
                  <a:cubicBezTo>
                    <a:pt x="1444" y="12332"/>
                    <a:pt x="1140" y="11114"/>
                    <a:pt x="445" y="993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6" name="Shape 2408">
              <a:extLst>
                <a:ext uri="{FF2B5EF4-FFF2-40B4-BE49-F238E27FC236}">
                  <a16:creationId xmlns:a16="http://schemas.microsoft.com/office/drawing/2014/main" id="{88A07456-768F-BD6C-E89C-AA1F2E7965D5}"/>
                </a:ext>
              </a:extLst>
            </p:cNvPr>
            <p:cNvSpPr/>
            <p:nvPr/>
          </p:nvSpPr>
          <p:spPr>
            <a:xfrm>
              <a:off x="3959108" y="6683606"/>
              <a:ext cx="292972" cy="466447"/>
            </a:xfrm>
            <a:custGeom>
              <a:avLst/>
              <a:gdLst/>
              <a:ahLst/>
              <a:cxnLst>
                <a:cxn ang="0">
                  <a:pos x="wd2" y="hd2"/>
                </a:cxn>
                <a:cxn ang="5400000">
                  <a:pos x="wd2" y="hd2"/>
                </a:cxn>
                <a:cxn ang="10800000">
                  <a:pos x="wd2" y="hd2"/>
                </a:cxn>
                <a:cxn ang="16200000">
                  <a:pos x="wd2" y="hd2"/>
                </a:cxn>
              </a:cxnLst>
              <a:rect l="0" t="0" r="r" b="b"/>
              <a:pathLst>
                <a:path w="20995" h="21600" extrusionOk="0">
                  <a:moveTo>
                    <a:pt x="8145" y="0"/>
                  </a:moveTo>
                  <a:cubicBezTo>
                    <a:pt x="8894" y="234"/>
                    <a:pt x="9620" y="703"/>
                    <a:pt x="10370" y="953"/>
                  </a:cubicBezTo>
                  <a:cubicBezTo>
                    <a:pt x="10733" y="1063"/>
                    <a:pt x="11482" y="828"/>
                    <a:pt x="11652" y="1063"/>
                  </a:cubicBezTo>
                  <a:cubicBezTo>
                    <a:pt x="12402" y="1672"/>
                    <a:pt x="11845" y="2626"/>
                    <a:pt x="12764" y="2970"/>
                  </a:cubicBezTo>
                  <a:cubicBezTo>
                    <a:pt x="13321" y="3329"/>
                    <a:pt x="14240" y="2376"/>
                    <a:pt x="14990" y="2626"/>
                  </a:cubicBezTo>
                  <a:cubicBezTo>
                    <a:pt x="15546" y="2860"/>
                    <a:pt x="14627" y="3454"/>
                    <a:pt x="14796" y="3689"/>
                  </a:cubicBezTo>
                  <a:cubicBezTo>
                    <a:pt x="14990" y="4048"/>
                    <a:pt x="15715" y="3939"/>
                    <a:pt x="16102" y="4173"/>
                  </a:cubicBezTo>
                  <a:cubicBezTo>
                    <a:pt x="16465" y="4533"/>
                    <a:pt x="16272" y="4892"/>
                    <a:pt x="16659" y="5252"/>
                  </a:cubicBezTo>
                  <a:cubicBezTo>
                    <a:pt x="16828" y="5486"/>
                    <a:pt x="17747" y="5486"/>
                    <a:pt x="17941" y="5845"/>
                  </a:cubicBezTo>
                  <a:cubicBezTo>
                    <a:pt x="17941" y="6080"/>
                    <a:pt x="17022" y="6564"/>
                    <a:pt x="17384" y="6674"/>
                  </a:cubicBezTo>
                  <a:cubicBezTo>
                    <a:pt x="18304" y="6924"/>
                    <a:pt x="19973" y="6080"/>
                    <a:pt x="20529" y="6674"/>
                  </a:cubicBezTo>
                  <a:cubicBezTo>
                    <a:pt x="21448" y="7518"/>
                    <a:pt x="20722" y="8706"/>
                    <a:pt x="20722" y="9659"/>
                  </a:cubicBezTo>
                  <a:cubicBezTo>
                    <a:pt x="20335" y="10269"/>
                    <a:pt x="19779" y="10737"/>
                    <a:pt x="19416" y="11331"/>
                  </a:cubicBezTo>
                  <a:cubicBezTo>
                    <a:pt x="19247" y="11925"/>
                    <a:pt x="19779" y="12769"/>
                    <a:pt x="19053" y="13004"/>
                  </a:cubicBezTo>
                  <a:cubicBezTo>
                    <a:pt x="17941" y="13488"/>
                    <a:pt x="16272" y="12879"/>
                    <a:pt x="14990" y="13238"/>
                  </a:cubicBezTo>
                  <a:cubicBezTo>
                    <a:pt x="14071" y="13488"/>
                    <a:pt x="14071" y="14442"/>
                    <a:pt x="13321" y="14801"/>
                  </a:cubicBezTo>
                  <a:cubicBezTo>
                    <a:pt x="12595" y="14911"/>
                    <a:pt x="12039" y="13957"/>
                    <a:pt x="11482" y="14207"/>
                  </a:cubicBezTo>
                  <a:cubicBezTo>
                    <a:pt x="10926" y="14442"/>
                    <a:pt x="11289" y="15161"/>
                    <a:pt x="11482" y="15630"/>
                  </a:cubicBezTo>
                  <a:cubicBezTo>
                    <a:pt x="11652" y="16223"/>
                    <a:pt x="12208" y="16817"/>
                    <a:pt x="12595" y="17427"/>
                  </a:cubicBezTo>
                  <a:cubicBezTo>
                    <a:pt x="12039" y="17427"/>
                    <a:pt x="11482" y="17661"/>
                    <a:pt x="11095" y="17536"/>
                  </a:cubicBezTo>
                  <a:cubicBezTo>
                    <a:pt x="10733" y="17302"/>
                    <a:pt x="10926" y="16817"/>
                    <a:pt x="10539" y="16708"/>
                  </a:cubicBezTo>
                  <a:cubicBezTo>
                    <a:pt x="10176" y="16583"/>
                    <a:pt x="9451" y="16817"/>
                    <a:pt x="9064" y="16942"/>
                  </a:cubicBezTo>
                  <a:cubicBezTo>
                    <a:pt x="8894" y="17067"/>
                    <a:pt x="9257" y="17302"/>
                    <a:pt x="9257" y="17536"/>
                  </a:cubicBezTo>
                  <a:cubicBezTo>
                    <a:pt x="9064" y="17786"/>
                    <a:pt x="8338" y="17786"/>
                    <a:pt x="8532" y="18021"/>
                  </a:cubicBezTo>
                  <a:cubicBezTo>
                    <a:pt x="9064" y="18615"/>
                    <a:pt x="10007" y="19209"/>
                    <a:pt x="11095" y="19334"/>
                  </a:cubicBezTo>
                  <a:cubicBezTo>
                    <a:pt x="12208" y="19334"/>
                    <a:pt x="12958" y="18849"/>
                    <a:pt x="13877" y="18615"/>
                  </a:cubicBezTo>
                  <a:cubicBezTo>
                    <a:pt x="14071" y="19099"/>
                    <a:pt x="14240" y="19568"/>
                    <a:pt x="14240" y="20053"/>
                  </a:cubicBezTo>
                  <a:cubicBezTo>
                    <a:pt x="14240" y="20287"/>
                    <a:pt x="14433" y="20647"/>
                    <a:pt x="14071" y="20647"/>
                  </a:cubicBezTo>
                  <a:cubicBezTo>
                    <a:pt x="13514" y="20772"/>
                    <a:pt x="12764" y="20522"/>
                    <a:pt x="12039" y="20412"/>
                  </a:cubicBezTo>
                  <a:cubicBezTo>
                    <a:pt x="11095" y="20162"/>
                    <a:pt x="10370" y="19818"/>
                    <a:pt x="9451" y="19818"/>
                  </a:cubicBezTo>
                  <a:cubicBezTo>
                    <a:pt x="9257" y="19818"/>
                    <a:pt x="9064" y="20053"/>
                    <a:pt x="8894" y="20162"/>
                  </a:cubicBezTo>
                  <a:cubicBezTo>
                    <a:pt x="8701" y="20522"/>
                    <a:pt x="8701" y="21006"/>
                    <a:pt x="8338" y="21241"/>
                  </a:cubicBezTo>
                  <a:cubicBezTo>
                    <a:pt x="8145" y="21475"/>
                    <a:pt x="7782" y="21600"/>
                    <a:pt x="7419" y="21600"/>
                  </a:cubicBezTo>
                  <a:cubicBezTo>
                    <a:pt x="6863" y="21475"/>
                    <a:pt x="6669" y="21115"/>
                    <a:pt x="6306" y="20881"/>
                  </a:cubicBezTo>
                  <a:cubicBezTo>
                    <a:pt x="5943" y="20162"/>
                    <a:pt x="5750" y="19334"/>
                    <a:pt x="5000" y="18849"/>
                  </a:cubicBezTo>
                  <a:cubicBezTo>
                    <a:pt x="4081" y="18380"/>
                    <a:pt x="2799" y="18255"/>
                    <a:pt x="1880" y="17896"/>
                  </a:cubicBezTo>
                  <a:cubicBezTo>
                    <a:pt x="1130" y="17661"/>
                    <a:pt x="17" y="17661"/>
                    <a:pt x="17" y="17177"/>
                  </a:cubicBezTo>
                  <a:cubicBezTo>
                    <a:pt x="-152" y="16474"/>
                    <a:pt x="936" y="15989"/>
                    <a:pt x="1323" y="15395"/>
                  </a:cubicBezTo>
                  <a:cubicBezTo>
                    <a:pt x="1493" y="15270"/>
                    <a:pt x="1493" y="15036"/>
                    <a:pt x="1686" y="14911"/>
                  </a:cubicBezTo>
                  <a:cubicBezTo>
                    <a:pt x="1686" y="14082"/>
                    <a:pt x="1686" y="13238"/>
                    <a:pt x="1880" y="12410"/>
                  </a:cubicBezTo>
                  <a:cubicBezTo>
                    <a:pt x="1880" y="12050"/>
                    <a:pt x="2243" y="11566"/>
                    <a:pt x="2412" y="11222"/>
                  </a:cubicBezTo>
                  <a:cubicBezTo>
                    <a:pt x="2968" y="10737"/>
                    <a:pt x="4274" y="10378"/>
                    <a:pt x="4274" y="9784"/>
                  </a:cubicBezTo>
                  <a:cubicBezTo>
                    <a:pt x="4274" y="9300"/>
                    <a:pt x="3162" y="9300"/>
                    <a:pt x="2799" y="8831"/>
                  </a:cubicBezTo>
                  <a:cubicBezTo>
                    <a:pt x="2605" y="8581"/>
                    <a:pt x="2968" y="8237"/>
                    <a:pt x="2968" y="7877"/>
                  </a:cubicBezTo>
                  <a:cubicBezTo>
                    <a:pt x="2605" y="7268"/>
                    <a:pt x="2243" y="6799"/>
                    <a:pt x="1880" y="6314"/>
                  </a:cubicBezTo>
                  <a:cubicBezTo>
                    <a:pt x="1493" y="5845"/>
                    <a:pt x="767" y="5361"/>
                    <a:pt x="767" y="4767"/>
                  </a:cubicBezTo>
                  <a:cubicBezTo>
                    <a:pt x="767" y="4282"/>
                    <a:pt x="1880" y="3939"/>
                    <a:pt x="2049" y="3329"/>
                  </a:cubicBezTo>
                  <a:cubicBezTo>
                    <a:pt x="2243" y="2970"/>
                    <a:pt x="1880" y="2501"/>
                    <a:pt x="1686" y="2016"/>
                  </a:cubicBezTo>
                  <a:cubicBezTo>
                    <a:pt x="1686" y="2016"/>
                    <a:pt x="2799" y="1313"/>
                    <a:pt x="2968" y="1313"/>
                  </a:cubicBezTo>
                  <a:cubicBezTo>
                    <a:pt x="3162" y="1313"/>
                    <a:pt x="5556" y="2141"/>
                    <a:pt x="5556" y="2141"/>
                  </a:cubicBezTo>
                  <a:cubicBezTo>
                    <a:pt x="5556" y="1672"/>
                    <a:pt x="5387" y="1063"/>
                    <a:pt x="5750" y="703"/>
                  </a:cubicBezTo>
                  <a:cubicBezTo>
                    <a:pt x="6306" y="234"/>
                    <a:pt x="7225" y="234"/>
                    <a:pt x="814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7" name="Shape 2409">
              <a:extLst>
                <a:ext uri="{FF2B5EF4-FFF2-40B4-BE49-F238E27FC236}">
                  <a16:creationId xmlns:a16="http://schemas.microsoft.com/office/drawing/2014/main" id="{2C3050EC-CF19-F162-849B-D8786336AE1D}"/>
                </a:ext>
              </a:extLst>
            </p:cNvPr>
            <p:cNvSpPr/>
            <p:nvPr/>
          </p:nvSpPr>
          <p:spPr>
            <a:xfrm>
              <a:off x="4078147" y="7043790"/>
              <a:ext cx="74725" cy="57207"/>
            </a:xfrm>
            <a:custGeom>
              <a:avLst/>
              <a:gdLst/>
              <a:ahLst/>
              <a:cxnLst>
                <a:cxn ang="0">
                  <a:pos x="wd2" y="hd2"/>
                </a:cxn>
                <a:cxn ang="5400000">
                  <a:pos x="wd2" y="hd2"/>
                </a:cxn>
                <a:cxn ang="10800000">
                  <a:pos x="wd2" y="hd2"/>
                </a:cxn>
                <a:cxn ang="16200000">
                  <a:pos x="wd2" y="hd2"/>
                </a:cxn>
              </a:cxnLst>
              <a:rect l="0" t="0" r="r" b="b"/>
              <a:pathLst>
                <a:path w="20972" h="20898" extrusionOk="0">
                  <a:moveTo>
                    <a:pt x="20972" y="15253"/>
                  </a:moveTo>
                  <a:cubicBezTo>
                    <a:pt x="15973" y="5925"/>
                    <a:pt x="15973" y="5925"/>
                    <a:pt x="15973" y="5925"/>
                  </a:cubicBezTo>
                  <a:cubicBezTo>
                    <a:pt x="13803" y="5925"/>
                    <a:pt x="11634" y="7766"/>
                    <a:pt x="10125" y="6784"/>
                  </a:cubicBezTo>
                  <a:cubicBezTo>
                    <a:pt x="8710" y="4943"/>
                    <a:pt x="9465" y="1139"/>
                    <a:pt x="7955" y="280"/>
                  </a:cubicBezTo>
                  <a:cubicBezTo>
                    <a:pt x="6541" y="-702"/>
                    <a:pt x="3711" y="1139"/>
                    <a:pt x="2202" y="2121"/>
                  </a:cubicBezTo>
                  <a:cubicBezTo>
                    <a:pt x="1541" y="3103"/>
                    <a:pt x="2956" y="4943"/>
                    <a:pt x="2956" y="6784"/>
                  </a:cubicBezTo>
                  <a:cubicBezTo>
                    <a:pt x="2202" y="8748"/>
                    <a:pt x="-628" y="8748"/>
                    <a:pt x="127" y="10589"/>
                  </a:cubicBezTo>
                  <a:cubicBezTo>
                    <a:pt x="2202" y="15253"/>
                    <a:pt x="5880" y="19916"/>
                    <a:pt x="10125" y="20898"/>
                  </a:cubicBezTo>
                  <a:cubicBezTo>
                    <a:pt x="14464" y="20898"/>
                    <a:pt x="17388" y="17093"/>
                    <a:pt x="20972" y="1525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8" name="Shape 2410">
              <a:extLst>
                <a:ext uri="{FF2B5EF4-FFF2-40B4-BE49-F238E27FC236}">
                  <a16:creationId xmlns:a16="http://schemas.microsoft.com/office/drawing/2014/main" id="{1F291088-FCBA-879C-D236-E7DE6E67891B}"/>
                </a:ext>
              </a:extLst>
            </p:cNvPr>
            <p:cNvSpPr/>
            <p:nvPr/>
          </p:nvSpPr>
          <p:spPr>
            <a:xfrm>
              <a:off x="3945752" y="6889841"/>
              <a:ext cx="480615" cy="432813"/>
            </a:xfrm>
            <a:custGeom>
              <a:avLst/>
              <a:gdLst/>
              <a:ahLst/>
              <a:cxnLst>
                <a:cxn ang="0">
                  <a:pos x="wd2" y="hd2"/>
                </a:cxn>
                <a:cxn ang="5400000">
                  <a:pos x="wd2" y="hd2"/>
                </a:cxn>
                <a:cxn ang="10800000">
                  <a:pos x="wd2" y="hd2"/>
                </a:cxn>
                <a:cxn ang="16200000">
                  <a:pos x="wd2" y="hd2"/>
                </a:cxn>
              </a:cxnLst>
              <a:rect l="0" t="0" r="r" b="b"/>
              <a:pathLst>
                <a:path w="21307" h="21334" extrusionOk="0">
                  <a:moveTo>
                    <a:pt x="9164" y="9658"/>
                  </a:moveTo>
                  <a:cubicBezTo>
                    <a:pt x="8371" y="8393"/>
                    <a:pt x="8371" y="8393"/>
                    <a:pt x="8371" y="8393"/>
                  </a:cubicBezTo>
                  <a:cubicBezTo>
                    <a:pt x="8132" y="7744"/>
                    <a:pt x="7788" y="7112"/>
                    <a:pt x="7683" y="6479"/>
                  </a:cubicBezTo>
                  <a:cubicBezTo>
                    <a:pt x="7564" y="5980"/>
                    <a:pt x="7339" y="5215"/>
                    <a:pt x="7683" y="4965"/>
                  </a:cubicBezTo>
                  <a:cubicBezTo>
                    <a:pt x="8027" y="4699"/>
                    <a:pt x="8371" y="5714"/>
                    <a:pt x="8820" y="5597"/>
                  </a:cubicBezTo>
                  <a:cubicBezTo>
                    <a:pt x="9284" y="5215"/>
                    <a:pt x="9284" y="4200"/>
                    <a:pt x="9852" y="3933"/>
                  </a:cubicBezTo>
                  <a:cubicBezTo>
                    <a:pt x="10645" y="3551"/>
                    <a:pt x="11677" y="4200"/>
                    <a:pt x="12365" y="3684"/>
                  </a:cubicBezTo>
                  <a:cubicBezTo>
                    <a:pt x="12814" y="3434"/>
                    <a:pt x="12485" y="2536"/>
                    <a:pt x="12590" y="1903"/>
                  </a:cubicBezTo>
                  <a:cubicBezTo>
                    <a:pt x="12814" y="1271"/>
                    <a:pt x="13158" y="772"/>
                    <a:pt x="13398" y="123"/>
                  </a:cubicBezTo>
                  <a:cubicBezTo>
                    <a:pt x="13742" y="638"/>
                    <a:pt x="13742" y="1787"/>
                    <a:pt x="14190" y="1787"/>
                  </a:cubicBezTo>
                  <a:cubicBezTo>
                    <a:pt x="14998" y="1787"/>
                    <a:pt x="15103" y="389"/>
                    <a:pt x="15671" y="123"/>
                  </a:cubicBezTo>
                  <a:cubicBezTo>
                    <a:pt x="16255" y="-127"/>
                    <a:pt x="17047" y="6"/>
                    <a:pt x="17391" y="505"/>
                  </a:cubicBezTo>
                  <a:cubicBezTo>
                    <a:pt x="17735" y="888"/>
                    <a:pt x="16928" y="1654"/>
                    <a:pt x="17047" y="2153"/>
                  </a:cubicBezTo>
                  <a:cubicBezTo>
                    <a:pt x="17272" y="2669"/>
                    <a:pt x="17960" y="2802"/>
                    <a:pt x="18424" y="3168"/>
                  </a:cubicBezTo>
                  <a:cubicBezTo>
                    <a:pt x="18648" y="3434"/>
                    <a:pt x="19112" y="3817"/>
                    <a:pt x="19216" y="4200"/>
                  </a:cubicBezTo>
                  <a:cubicBezTo>
                    <a:pt x="19560" y="4832"/>
                    <a:pt x="19680" y="5464"/>
                    <a:pt x="19785" y="6230"/>
                  </a:cubicBezTo>
                  <a:cubicBezTo>
                    <a:pt x="19904" y="6862"/>
                    <a:pt x="19680" y="7744"/>
                    <a:pt x="20024" y="8260"/>
                  </a:cubicBezTo>
                  <a:cubicBezTo>
                    <a:pt x="20248" y="8643"/>
                    <a:pt x="21041" y="8127"/>
                    <a:pt x="21161" y="8510"/>
                  </a:cubicBezTo>
                  <a:cubicBezTo>
                    <a:pt x="21505" y="9275"/>
                    <a:pt x="21161" y="10290"/>
                    <a:pt x="20937" y="11189"/>
                  </a:cubicBezTo>
                  <a:cubicBezTo>
                    <a:pt x="20817" y="11572"/>
                    <a:pt x="20473" y="12071"/>
                    <a:pt x="20024" y="12204"/>
                  </a:cubicBezTo>
                  <a:cubicBezTo>
                    <a:pt x="19336" y="12587"/>
                    <a:pt x="18199" y="12320"/>
                    <a:pt x="17616" y="12969"/>
                  </a:cubicBezTo>
                  <a:cubicBezTo>
                    <a:pt x="16928" y="13602"/>
                    <a:pt x="16584" y="14617"/>
                    <a:pt x="16584" y="15632"/>
                  </a:cubicBezTo>
                  <a:cubicBezTo>
                    <a:pt x="16479" y="16397"/>
                    <a:pt x="17047" y="17163"/>
                    <a:pt x="17272" y="17928"/>
                  </a:cubicBezTo>
                  <a:cubicBezTo>
                    <a:pt x="16928" y="17795"/>
                    <a:pt x="16584" y="17662"/>
                    <a:pt x="16255" y="17546"/>
                  </a:cubicBezTo>
                  <a:cubicBezTo>
                    <a:pt x="16255" y="17546"/>
                    <a:pt x="14086" y="17662"/>
                    <a:pt x="13846" y="17662"/>
                  </a:cubicBezTo>
                  <a:cubicBezTo>
                    <a:pt x="13742" y="17662"/>
                    <a:pt x="13398" y="18428"/>
                    <a:pt x="13398" y="18428"/>
                  </a:cubicBezTo>
                  <a:cubicBezTo>
                    <a:pt x="12814" y="18810"/>
                    <a:pt x="12365" y="19326"/>
                    <a:pt x="11797" y="19576"/>
                  </a:cubicBezTo>
                  <a:cubicBezTo>
                    <a:pt x="11333" y="19709"/>
                    <a:pt x="10885" y="19576"/>
                    <a:pt x="10301" y="19709"/>
                  </a:cubicBezTo>
                  <a:cubicBezTo>
                    <a:pt x="9733" y="19959"/>
                    <a:pt x="9164" y="20458"/>
                    <a:pt x="8596" y="20591"/>
                  </a:cubicBezTo>
                  <a:cubicBezTo>
                    <a:pt x="8132" y="20724"/>
                    <a:pt x="7564" y="20841"/>
                    <a:pt x="6995" y="20724"/>
                  </a:cubicBezTo>
                  <a:cubicBezTo>
                    <a:pt x="6771" y="20591"/>
                    <a:pt x="6651" y="19959"/>
                    <a:pt x="6427" y="20092"/>
                  </a:cubicBezTo>
                  <a:cubicBezTo>
                    <a:pt x="5963" y="20208"/>
                    <a:pt x="6083" y="20841"/>
                    <a:pt x="5963" y="21223"/>
                  </a:cubicBezTo>
                  <a:cubicBezTo>
                    <a:pt x="5739" y="21223"/>
                    <a:pt x="5395" y="21473"/>
                    <a:pt x="5275" y="21223"/>
                  </a:cubicBezTo>
                  <a:cubicBezTo>
                    <a:pt x="4826" y="20591"/>
                    <a:pt x="4707" y="19709"/>
                    <a:pt x="4826" y="18944"/>
                  </a:cubicBezTo>
                  <a:cubicBezTo>
                    <a:pt x="4826" y="18561"/>
                    <a:pt x="5739" y="18677"/>
                    <a:pt x="5619" y="18178"/>
                  </a:cubicBezTo>
                  <a:cubicBezTo>
                    <a:pt x="5619" y="17795"/>
                    <a:pt x="4826" y="18045"/>
                    <a:pt x="4602" y="17662"/>
                  </a:cubicBezTo>
                  <a:cubicBezTo>
                    <a:pt x="4258" y="17163"/>
                    <a:pt x="4707" y="16264"/>
                    <a:pt x="4258" y="15765"/>
                  </a:cubicBezTo>
                  <a:cubicBezTo>
                    <a:pt x="3675" y="15133"/>
                    <a:pt x="2418" y="15249"/>
                    <a:pt x="1745" y="14617"/>
                  </a:cubicBezTo>
                  <a:cubicBezTo>
                    <a:pt x="1401" y="14234"/>
                    <a:pt x="1625" y="13469"/>
                    <a:pt x="1401" y="12969"/>
                  </a:cubicBezTo>
                  <a:cubicBezTo>
                    <a:pt x="1162" y="12587"/>
                    <a:pt x="713" y="12320"/>
                    <a:pt x="369" y="11954"/>
                  </a:cubicBezTo>
                  <a:cubicBezTo>
                    <a:pt x="249" y="11688"/>
                    <a:pt x="-95" y="11438"/>
                    <a:pt x="25" y="11189"/>
                  </a:cubicBezTo>
                  <a:cubicBezTo>
                    <a:pt x="144" y="10806"/>
                    <a:pt x="713" y="10423"/>
                    <a:pt x="1057" y="10673"/>
                  </a:cubicBezTo>
                  <a:cubicBezTo>
                    <a:pt x="1506" y="10939"/>
                    <a:pt x="1401" y="11821"/>
                    <a:pt x="1850" y="12204"/>
                  </a:cubicBezTo>
                  <a:cubicBezTo>
                    <a:pt x="2313" y="12587"/>
                    <a:pt x="2882" y="12836"/>
                    <a:pt x="3450" y="12703"/>
                  </a:cubicBezTo>
                  <a:cubicBezTo>
                    <a:pt x="3914" y="12703"/>
                    <a:pt x="4138" y="12320"/>
                    <a:pt x="4482" y="12071"/>
                  </a:cubicBezTo>
                  <a:cubicBezTo>
                    <a:pt x="4707" y="12320"/>
                    <a:pt x="4826" y="12703"/>
                    <a:pt x="5170" y="12836"/>
                  </a:cubicBezTo>
                  <a:cubicBezTo>
                    <a:pt x="5395" y="12836"/>
                    <a:pt x="5619" y="12703"/>
                    <a:pt x="5739" y="12454"/>
                  </a:cubicBezTo>
                  <a:cubicBezTo>
                    <a:pt x="5963" y="12204"/>
                    <a:pt x="5963" y="11688"/>
                    <a:pt x="6083" y="11305"/>
                  </a:cubicBezTo>
                  <a:cubicBezTo>
                    <a:pt x="6188" y="11189"/>
                    <a:pt x="6307" y="10939"/>
                    <a:pt x="6427" y="10939"/>
                  </a:cubicBezTo>
                  <a:cubicBezTo>
                    <a:pt x="6995" y="10939"/>
                    <a:pt x="7444" y="11305"/>
                    <a:pt x="8027" y="11572"/>
                  </a:cubicBezTo>
                  <a:cubicBezTo>
                    <a:pt x="8476" y="11688"/>
                    <a:pt x="8940" y="11954"/>
                    <a:pt x="9284" y="11821"/>
                  </a:cubicBezTo>
                  <a:cubicBezTo>
                    <a:pt x="9508" y="11821"/>
                    <a:pt x="9389" y="11438"/>
                    <a:pt x="9389" y="11189"/>
                  </a:cubicBezTo>
                  <a:cubicBezTo>
                    <a:pt x="9389" y="10673"/>
                    <a:pt x="9284" y="10174"/>
                    <a:pt x="9164" y="96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9" name="Shape 2411">
              <a:extLst>
                <a:ext uri="{FF2B5EF4-FFF2-40B4-BE49-F238E27FC236}">
                  <a16:creationId xmlns:a16="http://schemas.microsoft.com/office/drawing/2014/main" id="{EAFD402C-0F57-ABD0-6292-1C2310F7B132}"/>
                </a:ext>
              </a:extLst>
            </p:cNvPr>
            <p:cNvSpPr/>
            <p:nvPr/>
          </p:nvSpPr>
          <p:spPr>
            <a:xfrm>
              <a:off x="3726436" y="6868504"/>
              <a:ext cx="364003" cy="543186"/>
            </a:xfrm>
            <a:custGeom>
              <a:avLst/>
              <a:gdLst/>
              <a:ahLst/>
              <a:cxnLst>
                <a:cxn ang="0">
                  <a:pos x="wd2" y="hd2"/>
                </a:cxn>
                <a:cxn ang="5400000">
                  <a:pos x="wd2" y="hd2"/>
                </a:cxn>
                <a:cxn ang="10800000">
                  <a:pos x="wd2" y="hd2"/>
                </a:cxn>
                <a:cxn ang="16200000">
                  <a:pos x="wd2" y="hd2"/>
                </a:cxn>
              </a:cxnLst>
              <a:rect l="0" t="0" r="r" b="b"/>
              <a:pathLst>
                <a:path w="21347" h="21402" extrusionOk="0">
                  <a:moveTo>
                    <a:pt x="202" y="2444"/>
                  </a:moveTo>
                  <a:cubicBezTo>
                    <a:pt x="202" y="2139"/>
                    <a:pt x="-253" y="1634"/>
                    <a:pt x="202" y="1329"/>
                  </a:cubicBezTo>
                  <a:cubicBezTo>
                    <a:pt x="972" y="917"/>
                    <a:pt x="2020" y="1130"/>
                    <a:pt x="2929" y="824"/>
                  </a:cubicBezTo>
                  <a:cubicBezTo>
                    <a:pt x="3087" y="824"/>
                    <a:pt x="2929" y="519"/>
                    <a:pt x="3087" y="519"/>
                  </a:cubicBezTo>
                  <a:cubicBezTo>
                    <a:pt x="3680" y="214"/>
                    <a:pt x="4589" y="-198"/>
                    <a:pt x="5340" y="107"/>
                  </a:cubicBezTo>
                  <a:cubicBezTo>
                    <a:pt x="6249" y="413"/>
                    <a:pt x="5794" y="1528"/>
                    <a:pt x="6703" y="2032"/>
                  </a:cubicBezTo>
                  <a:cubicBezTo>
                    <a:pt x="7000" y="2245"/>
                    <a:pt x="7454" y="1634"/>
                    <a:pt x="7751" y="1435"/>
                  </a:cubicBezTo>
                  <a:cubicBezTo>
                    <a:pt x="8067" y="1833"/>
                    <a:pt x="8205" y="2245"/>
                    <a:pt x="8521" y="2643"/>
                  </a:cubicBezTo>
                  <a:cubicBezTo>
                    <a:pt x="8660" y="3055"/>
                    <a:pt x="8818" y="3559"/>
                    <a:pt x="9272" y="3864"/>
                  </a:cubicBezTo>
                  <a:cubicBezTo>
                    <a:pt x="9865" y="4369"/>
                    <a:pt x="10616" y="4980"/>
                    <a:pt x="11683" y="5179"/>
                  </a:cubicBezTo>
                  <a:cubicBezTo>
                    <a:pt x="12138" y="5285"/>
                    <a:pt x="12592" y="4674"/>
                    <a:pt x="13185" y="4674"/>
                  </a:cubicBezTo>
                  <a:cubicBezTo>
                    <a:pt x="13798" y="4780"/>
                    <a:pt x="14391" y="5179"/>
                    <a:pt x="15003" y="5378"/>
                  </a:cubicBezTo>
                  <a:cubicBezTo>
                    <a:pt x="14845" y="5484"/>
                    <a:pt x="14845" y="5683"/>
                    <a:pt x="14707" y="5789"/>
                  </a:cubicBezTo>
                  <a:cubicBezTo>
                    <a:pt x="14391" y="6294"/>
                    <a:pt x="13501" y="6706"/>
                    <a:pt x="13640" y="7303"/>
                  </a:cubicBezTo>
                  <a:cubicBezTo>
                    <a:pt x="13640" y="7714"/>
                    <a:pt x="14549" y="7714"/>
                    <a:pt x="15161" y="7914"/>
                  </a:cubicBezTo>
                  <a:cubicBezTo>
                    <a:pt x="15912" y="8219"/>
                    <a:pt x="16960" y="8325"/>
                    <a:pt x="17711" y="8723"/>
                  </a:cubicBezTo>
                  <a:cubicBezTo>
                    <a:pt x="18323" y="9135"/>
                    <a:pt x="18481" y="9839"/>
                    <a:pt x="18778" y="10449"/>
                  </a:cubicBezTo>
                  <a:cubicBezTo>
                    <a:pt x="18323" y="10648"/>
                    <a:pt x="18027" y="10954"/>
                    <a:pt x="17414" y="10954"/>
                  </a:cubicBezTo>
                  <a:cubicBezTo>
                    <a:pt x="16663" y="11060"/>
                    <a:pt x="15912" y="10861"/>
                    <a:pt x="15300" y="10556"/>
                  </a:cubicBezTo>
                  <a:cubicBezTo>
                    <a:pt x="14707" y="10250"/>
                    <a:pt x="14845" y="9547"/>
                    <a:pt x="14252" y="9334"/>
                  </a:cubicBezTo>
                  <a:cubicBezTo>
                    <a:pt x="13798" y="9135"/>
                    <a:pt x="13047" y="9440"/>
                    <a:pt x="12889" y="9746"/>
                  </a:cubicBezTo>
                  <a:cubicBezTo>
                    <a:pt x="12731" y="9945"/>
                    <a:pt x="13185" y="10144"/>
                    <a:pt x="13343" y="10356"/>
                  </a:cubicBezTo>
                  <a:cubicBezTo>
                    <a:pt x="13798" y="10648"/>
                    <a:pt x="14391" y="10861"/>
                    <a:pt x="14707" y="11166"/>
                  </a:cubicBezTo>
                  <a:cubicBezTo>
                    <a:pt x="15003" y="11565"/>
                    <a:pt x="14707" y="12175"/>
                    <a:pt x="15161" y="12481"/>
                  </a:cubicBezTo>
                  <a:cubicBezTo>
                    <a:pt x="16051" y="12985"/>
                    <a:pt x="17711" y="12892"/>
                    <a:pt x="18481" y="13397"/>
                  </a:cubicBezTo>
                  <a:cubicBezTo>
                    <a:pt x="19074" y="13795"/>
                    <a:pt x="18481" y="14512"/>
                    <a:pt x="18936" y="14910"/>
                  </a:cubicBezTo>
                  <a:cubicBezTo>
                    <a:pt x="19232" y="15215"/>
                    <a:pt x="20280" y="15016"/>
                    <a:pt x="20280" y="15322"/>
                  </a:cubicBezTo>
                  <a:cubicBezTo>
                    <a:pt x="20438" y="15720"/>
                    <a:pt x="19232" y="15627"/>
                    <a:pt x="19232" y="15932"/>
                  </a:cubicBezTo>
                  <a:cubicBezTo>
                    <a:pt x="19074" y="16543"/>
                    <a:pt x="19232" y="17247"/>
                    <a:pt x="19825" y="17751"/>
                  </a:cubicBezTo>
                  <a:cubicBezTo>
                    <a:pt x="19983" y="17950"/>
                    <a:pt x="20438" y="17751"/>
                    <a:pt x="20734" y="17751"/>
                  </a:cubicBezTo>
                  <a:cubicBezTo>
                    <a:pt x="20892" y="18163"/>
                    <a:pt x="21347" y="18561"/>
                    <a:pt x="21347" y="18972"/>
                  </a:cubicBezTo>
                  <a:cubicBezTo>
                    <a:pt x="21347" y="19172"/>
                    <a:pt x="20892" y="19371"/>
                    <a:pt x="20892" y="19583"/>
                  </a:cubicBezTo>
                  <a:cubicBezTo>
                    <a:pt x="20892" y="19889"/>
                    <a:pt x="21189" y="20194"/>
                    <a:pt x="21189" y="20499"/>
                  </a:cubicBezTo>
                  <a:cubicBezTo>
                    <a:pt x="21189" y="20698"/>
                    <a:pt x="21031" y="21004"/>
                    <a:pt x="20892" y="21203"/>
                  </a:cubicBezTo>
                  <a:cubicBezTo>
                    <a:pt x="20438" y="21203"/>
                    <a:pt x="20142" y="21309"/>
                    <a:pt x="19825" y="21097"/>
                  </a:cubicBezTo>
                  <a:cubicBezTo>
                    <a:pt x="19529" y="21004"/>
                    <a:pt x="19825" y="20698"/>
                    <a:pt x="19687" y="20592"/>
                  </a:cubicBezTo>
                  <a:cubicBezTo>
                    <a:pt x="19391" y="20287"/>
                    <a:pt x="18936" y="20088"/>
                    <a:pt x="18481" y="19981"/>
                  </a:cubicBezTo>
                  <a:cubicBezTo>
                    <a:pt x="18323" y="19981"/>
                    <a:pt x="18027" y="20088"/>
                    <a:pt x="17869" y="20088"/>
                  </a:cubicBezTo>
                  <a:cubicBezTo>
                    <a:pt x="17414" y="20088"/>
                    <a:pt x="16960" y="19782"/>
                    <a:pt x="16505" y="19782"/>
                  </a:cubicBezTo>
                  <a:cubicBezTo>
                    <a:pt x="16209" y="19782"/>
                    <a:pt x="15912" y="19981"/>
                    <a:pt x="15912" y="20194"/>
                  </a:cubicBezTo>
                  <a:cubicBezTo>
                    <a:pt x="15754" y="20499"/>
                    <a:pt x="16209" y="20791"/>
                    <a:pt x="16367" y="21004"/>
                  </a:cubicBezTo>
                  <a:cubicBezTo>
                    <a:pt x="16209" y="21097"/>
                    <a:pt x="16209" y="21402"/>
                    <a:pt x="16051" y="21402"/>
                  </a:cubicBezTo>
                  <a:cubicBezTo>
                    <a:pt x="15458" y="21203"/>
                    <a:pt x="14707" y="21004"/>
                    <a:pt x="14391" y="20592"/>
                  </a:cubicBezTo>
                  <a:cubicBezTo>
                    <a:pt x="14094" y="20088"/>
                    <a:pt x="14845" y="19477"/>
                    <a:pt x="14845" y="18866"/>
                  </a:cubicBezTo>
                  <a:cubicBezTo>
                    <a:pt x="14707" y="18667"/>
                    <a:pt x="14391" y="18468"/>
                    <a:pt x="13956" y="18468"/>
                  </a:cubicBezTo>
                  <a:cubicBezTo>
                    <a:pt x="13501" y="18468"/>
                    <a:pt x="13047" y="18667"/>
                    <a:pt x="12434" y="18866"/>
                  </a:cubicBezTo>
                  <a:cubicBezTo>
                    <a:pt x="12138" y="18866"/>
                    <a:pt x="11841" y="19065"/>
                    <a:pt x="11525" y="19172"/>
                  </a:cubicBezTo>
                  <a:cubicBezTo>
                    <a:pt x="11071" y="19278"/>
                    <a:pt x="10616" y="19477"/>
                    <a:pt x="10162" y="19583"/>
                  </a:cubicBezTo>
                  <a:cubicBezTo>
                    <a:pt x="9865" y="19371"/>
                    <a:pt x="9727" y="18866"/>
                    <a:pt x="9272" y="18866"/>
                  </a:cubicBezTo>
                  <a:cubicBezTo>
                    <a:pt x="8818" y="18866"/>
                    <a:pt x="8660" y="19278"/>
                    <a:pt x="8363" y="19477"/>
                  </a:cubicBezTo>
                  <a:cubicBezTo>
                    <a:pt x="7751" y="18773"/>
                    <a:pt x="7000" y="18056"/>
                    <a:pt x="6703" y="17247"/>
                  </a:cubicBezTo>
                  <a:cubicBezTo>
                    <a:pt x="6545" y="16941"/>
                    <a:pt x="7454" y="16742"/>
                    <a:pt x="7296" y="16437"/>
                  </a:cubicBezTo>
                  <a:cubicBezTo>
                    <a:pt x="7158" y="16238"/>
                    <a:pt x="6407" y="16543"/>
                    <a:pt x="6407" y="16331"/>
                  </a:cubicBezTo>
                  <a:cubicBezTo>
                    <a:pt x="6091" y="15932"/>
                    <a:pt x="6091" y="15322"/>
                    <a:pt x="6407" y="14910"/>
                  </a:cubicBezTo>
                  <a:cubicBezTo>
                    <a:pt x="6703" y="14512"/>
                    <a:pt x="7612" y="14406"/>
                    <a:pt x="7909" y="13901"/>
                  </a:cubicBezTo>
                  <a:cubicBezTo>
                    <a:pt x="8205" y="13397"/>
                    <a:pt x="8363" y="12786"/>
                    <a:pt x="7909" y="12281"/>
                  </a:cubicBezTo>
                  <a:cubicBezTo>
                    <a:pt x="7454" y="11777"/>
                    <a:pt x="6545" y="11472"/>
                    <a:pt x="5636" y="11259"/>
                  </a:cubicBezTo>
                  <a:cubicBezTo>
                    <a:pt x="4885" y="11166"/>
                    <a:pt x="3976" y="11671"/>
                    <a:pt x="3225" y="11472"/>
                  </a:cubicBezTo>
                  <a:cubicBezTo>
                    <a:pt x="2316" y="11259"/>
                    <a:pt x="1269" y="10954"/>
                    <a:pt x="656" y="10356"/>
                  </a:cubicBezTo>
                  <a:cubicBezTo>
                    <a:pt x="202" y="9839"/>
                    <a:pt x="-95" y="8936"/>
                    <a:pt x="360" y="8431"/>
                  </a:cubicBezTo>
                  <a:cubicBezTo>
                    <a:pt x="814" y="8020"/>
                    <a:pt x="2316" y="8936"/>
                    <a:pt x="2632" y="8524"/>
                  </a:cubicBezTo>
                  <a:cubicBezTo>
                    <a:pt x="2929" y="7914"/>
                    <a:pt x="1565" y="7303"/>
                    <a:pt x="1565" y="6706"/>
                  </a:cubicBezTo>
                  <a:cubicBezTo>
                    <a:pt x="1427" y="5989"/>
                    <a:pt x="2178" y="5484"/>
                    <a:pt x="2178" y="4780"/>
                  </a:cubicBezTo>
                  <a:cubicBezTo>
                    <a:pt x="2178" y="4568"/>
                    <a:pt x="1427" y="4873"/>
                    <a:pt x="1427" y="4674"/>
                  </a:cubicBezTo>
                  <a:cubicBezTo>
                    <a:pt x="1427" y="4064"/>
                    <a:pt x="2474" y="3453"/>
                    <a:pt x="2178" y="2842"/>
                  </a:cubicBezTo>
                  <a:cubicBezTo>
                    <a:pt x="1881" y="2444"/>
                    <a:pt x="814" y="2537"/>
                    <a:pt x="202" y="244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0" name="Shape 2412">
              <a:extLst>
                <a:ext uri="{FF2B5EF4-FFF2-40B4-BE49-F238E27FC236}">
                  <a16:creationId xmlns:a16="http://schemas.microsoft.com/office/drawing/2014/main" id="{796F3C84-28BC-F0E2-0B6F-F648C21C53E3}"/>
                </a:ext>
              </a:extLst>
            </p:cNvPr>
            <p:cNvSpPr/>
            <p:nvPr/>
          </p:nvSpPr>
          <p:spPr>
            <a:xfrm>
              <a:off x="3441951" y="6804018"/>
              <a:ext cx="440382" cy="631456"/>
            </a:xfrm>
            <a:custGeom>
              <a:avLst/>
              <a:gdLst/>
              <a:ahLst/>
              <a:cxnLst>
                <a:cxn ang="0">
                  <a:pos x="wd2" y="hd2"/>
                </a:cxn>
                <a:cxn ang="5400000">
                  <a:pos x="wd2" y="hd2"/>
                </a:cxn>
                <a:cxn ang="10800000">
                  <a:pos x="wd2" y="hd2"/>
                </a:cxn>
                <a:cxn ang="16200000">
                  <a:pos x="wd2" y="hd2"/>
                </a:cxn>
              </a:cxnLst>
              <a:rect l="0" t="0" r="r" b="b"/>
              <a:pathLst>
                <a:path w="21490" h="21600" extrusionOk="0">
                  <a:moveTo>
                    <a:pt x="8553" y="0"/>
                  </a:moveTo>
                  <a:cubicBezTo>
                    <a:pt x="9309" y="612"/>
                    <a:pt x="10575" y="1143"/>
                    <a:pt x="10690" y="1939"/>
                  </a:cubicBezTo>
                  <a:cubicBezTo>
                    <a:pt x="10822" y="2378"/>
                    <a:pt x="9178" y="1939"/>
                    <a:pt x="9063" y="2286"/>
                  </a:cubicBezTo>
                  <a:cubicBezTo>
                    <a:pt x="8816" y="2817"/>
                    <a:pt x="9556" y="3256"/>
                    <a:pt x="9819" y="3787"/>
                  </a:cubicBezTo>
                  <a:cubicBezTo>
                    <a:pt x="9934" y="4145"/>
                    <a:pt x="10065" y="4491"/>
                    <a:pt x="10065" y="4849"/>
                  </a:cubicBezTo>
                  <a:cubicBezTo>
                    <a:pt x="10065" y="5022"/>
                    <a:pt x="9687" y="5287"/>
                    <a:pt x="9934" y="5368"/>
                  </a:cubicBezTo>
                  <a:cubicBezTo>
                    <a:pt x="10312" y="5553"/>
                    <a:pt x="10822" y="5368"/>
                    <a:pt x="11200" y="5368"/>
                  </a:cubicBezTo>
                  <a:cubicBezTo>
                    <a:pt x="11693" y="5368"/>
                    <a:pt x="12317" y="5368"/>
                    <a:pt x="12695" y="5287"/>
                  </a:cubicBezTo>
                  <a:cubicBezTo>
                    <a:pt x="13074" y="5195"/>
                    <a:pt x="13320" y="5022"/>
                    <a:pt x="13698" y="4756"/>
                  </a:cubicBezTo>
                  <a:cubicBezTo>
                    <a:pt x="13830" y="4664"/>
                    <a:pt x="13961" y="4491"/>
                    <a:pt x="14076" y="4318"/>
                  </a:cubicBezTo>
                  <a:cubicBezTo>
                    <a:pt x="14586" y="4399"/>
                    <a:pt x="15474" y="4318"/>
                    <a:pt x="15720" y="4664"/>
                  </a:cubicBezTo>
                  <a:cubicBezTo>
                    <a:pt x="15967" y="5195"/>
                    <a:pt x="15095" y="5726"/>
                    <a:pt x="15095" y="6257"/>
                  </a:cubicBezTo>
                  <a:cubicBezTo>
                    <a:pt x="15095" y="6430"/>
                    <a:pt x="15720" y="6165"/>
                    <a:pt x="15720" y="6350"/>
                  </a:cubicBezTo>
                  <a:cubicBezTo>
                    <a:pt x="15720" y="6961"/>
                    <a:pt x="15095" y="7400"/>
                    <a:pt x="15211" y="8024"/>
                  </a:cubicBezTo>
                  <a:cubicBezTo>
                    <a:pt x="15211" y="8543"/>
                    <a:pt x="16345" y="9074"/>
                    <a:pt x="16098" y="9605"/>
                  </a:cubicBezTo>
                  <a:cubicBezTo>
                    <a:pt x="15835" y="9963"/>
                    <a:pt x="14586" y="9166"/>
                    <a:pt x="14208" y="9524"/>
                  </a:cubicBezTo>
                  <a:cubicBezTo>
                    <a:pt x="13830" y="9963"/>
                    <a:pt x="14076" y="10748"/>
                    <a:pt x="14454" y="11198"/>
                  </a:cubicBezTo>
                  <a:cubicBezTo>
                    <a:pt x="14964" y="11718"/>
                    <a:pt x="15835" y="11983"/>
                    <a:pt x="16591" y="12168"/>
                  </a:cubicBezTo>
                  <a:cubicBezTo>
                    <a:pt x="17216" y="12341"/>
                    <a:pt x="17972" y="11903"/>
                    <a:pt x="18597" y="11983"/>
                  </a:cubicBezTo>
                  <a:cubicBezTo>
                    <a:pt x="19353" y="12168"/>
                    <a:pt x="20109" y="12434"/>
                    <a:pt x="20487" y="12872"/>
                  </a:cubicBezTo>
                  <a:cubicBezTo>
                    <a:pt x="20865" y="13311"/>
                    <a:pt x="20734" y="13842"/>
                    <a:pt x="20487" y="14281"/>
                  </a:cubicBezTo>
                  <a:cubicBezTo>
                    <a:pt x="20241" y="14719"/>
                    <a:pt x="19485" y="14812"/>
                    <a:pt x="19238" y="15158"/>
                  </a:cubicBezTo>
                  <a:cubicBezTo>
                    <a:pt x="18975" y="15516"/>
                    <a:pt x="18975" y="16047"/>
                    <a:pt x="19238" y="16393"/>
                  </a:cubicBezTo>
                  <a:cubicBezTo>
                    <a:pt x="19238" y="16578"/>
                    <a:pt x="19863" y="16313"/>
                    <a:pt x="19978" y="16486"/>
                  </a:cubicBezTo>
                  <a:cubicBezTo>
                    <a:pt x="20109" y="16751"/>
                    <a:pt x="19353" y="16924"/>
                    <a:pt x="19485" y="17190"/>
                  </a:cubicBezTo>
                  <a:cubicBezTo>
                    <a:pt x="19731" y="17894"/>
                    <a:pt x="20356" y="18518"/>
                    <a:pt x="20865" y="19129"/>
                  </a:cubicBezTo>
                  <a:cubicBezTo>
                    <a:pt x="21112" y="19568"/>
                    <a:pt x="21490" y="19926"/>
                    <a:pt x="21490" y="20365"/>
                  </a:cubicBezTo>
                  <a:cubicBezTo>
                    <a:pt x="21490" y="20538"/>
                    <a:pt x="20997" y="20723"/>
                    <a:pt x="20734" y="20896"/>
                  </a:cubicBezTo>
                  <a:cubicBezTo>
                    <a:pt x="20487" y="21161"/>
                    <a:pt x="20356" y="21334"/>
                    <a:pt x="20109" y="21600"/>
                  </a:cubicBezTo>
                  <a:cubicBezTo>
                    <a:pt x="19863" y="21427"/>
                    <a:pt x="19731" y="21334"/>
                    <a:pt x="19616" y="21069"/>
                  </a:cubicBezTo>
                  <a:cubicBezTo>
                    <a:pt x="19485" y="20977"/>
                    <a:pt x="19731" y="20630"/>
                    <a:pt x="19485" y="20630"/>
                  </a:cubicBezTo>
                  <a:cubicBezTo>
                    <a:pt x="19106" y="20538"/>
                    <a:pt x="18728" y="20723"/>
                    <a:pt x="18482" y="20896"/>
                  </a:cubicBezTo>
                  <a:cubicBezTo>
                    <a:pt x="18219" y="20977"/>
                    <a:pt x="18482" y="21242"/>
                    <a:pt x="18219" y="21334"/>
                  </a:cubicBezTo>
                  <a:cubicBezTo>
                    <a:pt x="17972" y="21427"/>
                    <a:pt x="17726" y="21242"/>
                    <a:pt x="17479" y="21161"/>
                  </a:cubicBezTo>
                  <a:cubicBezTo>
                    <a:pt x="17348" y="20977"/>
                    <a:pt x="17348" y="20723"/>
                    <a:pt x="17101" y="20630"/>
                  </a:cubicBezTo>
                  <a:cubicBezTo>
                    <a:pt x="16723" y="20538"/>
                    <a:pt x="16213" y="20896"/>
                    <a:pt x="15835" y="20803"/>
                  </a:cubicBezTo>
                  <a:cubicBezTo>
                    <a:pt x="15342" y="20630"/>
                    <a:pt x="14964" y="20192"/>
                    <a:pt x="14832" y="19834"/>
                  </a:cubicBezTo>
                  <a:cubicBezTo>
                    <a:pt x="14717" y="19661"/>
                    <a:pt x="15211" y="19222"/>
                    <a:pt x="14832" y="19129"/>
                  </a:cubicBezTo>
                  <a:cubicBezTo>
                    <a:pt x="14339" y="19037"/>
                    <a:pt x="13830" y="19487"/>
                    <a:pt x="13320" y="19568"/>
                  </a:cubicBezTo>
                  <a:cubicBezTo>
                    <a:pt x="12958" y="19568"/>
                    <a:pt x="12580" y="19395"/>
                    <a:pt x="12317" y="19303"/>
                  </a:cubicBezTo>
                  <a:cubicBezTo>
                    <a:pt x="11578" y="19037"/>
                    <a:pt x="10822" y="18691"/>
                    <a:pt x="10065" y="18598"/>
                  </a:cubicBezTo>
                  <a:cubicBezTo>
                    <a:pt x="9819" y="18598"/>
                    <a:pt x="9819" y="18864"/>
                    <a:pt x="9687" y="18956"/>
                  </a:cubicBezTo>
                  <a:cubicBezTo>
                    <a:pt x="9556" y="18956"/>
                    <a:pt x="9441" y="18864"/>
                    <a:pt x="9441" y="18864"/>
                  </a:cubicBezTo>
                  <a:cubicBezTo>
                    <a:pt x="9063" y="18864"/>
                    <a:pt x="8685" y="19037"/>
                    <a:pt x="8306" y="19037"/>
                  </a:cubicBezTo>
                  <a:cubicBezTo>
                    <a:pt x="7797" y="19222"/>
                    <a:pt x="7172" y="19395"/>
                    <a:pt x="6679" y="19395"/>
                  </a:cubicBezTo>
                  <a:cubicBezTo>
                    <a:pt x="6169" y="19395"/>
                    <a:pt x="5923" y="19037"/>
                    <a:pt x="5413" y="18956"/>
                  </a:cubicBezTo>
                  <a:cubicBezTo>
                    <a:pt x="5035" y="18864"/>
                    <a:pt x="4674" y="18691"/>
                    <a:pt x="4164" y="18772"/>
                  </a:cubicBezTo>
                  <a:cubicBezTo>
                    <a:pt x="3786" y="18864"/>
                    <a:pt x="3786" y="19303"/>
                    <a:pt x="3539" y="19568"/>
                  </a:cubicBezTo>
                  <a:cubicBezTo>
                    <a:pt x="2915" y="19753"/>
                    <a:pt x="2915" y="19753"/>
                    <a:pt x="2915" y="19753"/>
                  </a:cubicBezTo>
                  <a:cubicBezTo>
                    <a:pt x="2652" y="19395"/>
                    <a:pt x="2537" y="18864"/>
                    <a:pt x="2158" y="18598"/>
                  </a:cubicBezTo>
                  <a:cubicBezTo>
                    <a:pt x="1780" y="18333"/>
                    <a:pt x="1271" y="18425"/>
                    <a:pt x="1024" y="18160"/>
                  </a:cubicBezTo>
                  <a:cubicBezTo>
                    <a:pt x="646" y="17894"/>
                    <a:pt x="646" y="17548"/>
                    <a:pt x="646" y="17190"/>
                  </a:cubicBezTo>
                  <a:cubicBezTo>
                    <a:pt x="778" y="16924"/>
                    <a:pt x="1534" y="16844"/>
                    <a:pt x="1649" y="16486"/>
                  </a:cubicBezTo>
                  <a:cubicBezTo>
                    <a:pt x="1649" y="16220"/>
                    <a:pt x="1024" y="16047"/>
                    <a:pt x="893" y="15782"/>
                  </a:cubicBezTo>
                  <a:cubicBezTo>
                    <a:pt x="893" y="15608"/>
                    <a:pt x="893" y="15343"/>
                    <a:pt x="1024" y="15077"/>
                  </a:cubicBezTo>
                  <a:cubicBezTo>
                    <a:pt x="1024" y="14985"/>
                    <a:pt x="1156" y="14812"/>
                    <a:pt x="1271" y="14719"/>
                  </a:cubicBezTo>
                  <a:cubicBezTo>
                    <a:pt x="1402" y="14546"/>
                    <a:pt x="1912" y="14454"/>
                    <a:pt x="1780" y="14281"/>
                  </a:cubicBezTo>
                  <a:cubicBezTo>
                    <a:pt x="1649" y="13842"/>
                    <a:pt x="893" y="13576"/>
                    <a:pt x="646" y="13219"/>
                  </a:cubicBezTo>
                  <a:cubicBezTo>
                    <a:pt x="268" y="12780"/>
                    <a:pt x="22" y="12341"/>
                    <a:pt x="22" y="11810"/>
                  </a:cubicBezTo>
                  <a:cubicBezTo>
                    <a:pt x="22" y="11452"/>
                    <a:pt x="400" y="11014"/>
                    <a:pt x="400" y="10667"/>
                  </a:cubicBezTo>
                  <a:cubicBezTo>
                    <a:pt x="400" y="10229"/>
                    <a:pt x="-110" y="9778"/>
                    <a:pt x="22" y="9432"/>
                  </a:cubicBezTo>
                  <a:cubicBezTo>
                    <a:pt x="22" y="8901"/>
                    <a:pt x="22" y="8462"/>
                    <a:pt x="400" y="8104"/>
                  </a:cubicBezTo>
                  <a:cubicBezTo>
                    <a:pt x="646" y="7931"/>
                    <a:pt x="1156" y="8277"/>
                    <a:pt x="1402" y="8104"/>
                  </a:cubicBezTo>
                  <a:cubicBezTo>
                    <a:pt x="1649" y="7931"/>
                    <a:pt x="1156" y="7666"/>
                    <a:pt x="1156" y="7492"/>
                  </a:cubicBezTo>
                  <a:cubicBezTo>
                    <a:pt x="1156" y="7227"/>
                    <a:pt x="1534" y="7054"/>
                    <a:pt x="1402" y="6869"/>
                  </a:cubicBezTo>
                  <a:cubicBezTo>
                    <a:pt x="1402" y="6615"/>
                    <a:pt x="893" y="6523"/>
                    <a:pt x="646" y="6350"/>
                  </a:cubicBezTo>
                  <a:cubicBezTo>
                    <a:pt x="400" y="6084"/>
                    <a:pt x="400" y="5818"/>
                    <a:pt x="268" y="5553"/>
                  </a:cubicBezTo>
                  <a:cubicBezTo>
                    <a:pt x="268" y="5634"/>
                    <a:pt x="268" y="5634"/>
                    <a:pt x="268" y="5634"/>
                  </a:cubicBezTo>
                  <a:cubicBezTo>
                    <a:pt x="778" y="5818"/>
                    <a:pt x="1271" y="6257"/>
                    <a:pt x="1912" y="6165"/>
                  </a:cubicBezTo>
                  <a:cubicBezTo>
                    <a:pt x="2537" y="6165"/>
                    <a:pt x="3276" y="5818"/>
                    <a:pt x="3539" y="5368"/>
                  </a:cubicBezTo>
                  <a:cubicBezTo>
                    <a:pt x="4295" y="4318"/>
                    <a:pt x="3786" y="2909"/>
                    <a:pt x="4789" y="1939"/>
                  </a:cubicBezTo>
                  <a:cubicBezTo>
                    <a:pt x="5298" y="1489"/>
                    <a:pt x="6301" y="2286"/>
                    <a:pt x="7057" y="2113"/>
                  </a:cubicBezTo>
                  <a:cubicBezTo>
                    <a:pt x="7304" y="2020"/>
                    <a:pt x="7172" y="1674"/>
                    <a:pt x="7304" y="1408"/>
                  </a:cubicBezTo>
                  <a:cubicBezTo>
                    <a:pt x="7304" y="1408"/>
                    <a:pt x="7928" y="970"/>
                    <a:pt x="7928" y="877"/>
                  </a:cubicBezTo>
                  <a:cubicBezTo>
                    <a:pt x="7928" y="785"/>
                    <a:pt x="8553" y="0"/>
                    <a:pt x="8553"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1" name="Shape 2413">
              <a:extLst>
                <a:ext uri="{FF2B5EF4-FFF2-40B4-BE49-F238E27FC236}">
                  <a16:creationId xmlns:a16="http://schemas.microsoft.com/office/drawing/2014/main" id="{9C26FA8F-06FE-8D55-B30C-13F39CCD2AAD}"/>
                </a:ext>
              </a:extLst>
            </p:cNvPr>
            <p:cNvSpPr/>
            <p:nvPr/>
          </p:nvSpPr>
          <p:spPr>
            <a:xfrm>
              <a:off x="2912757" y="6859021"/>
              <a:ext cx="564487" cy="478340"/>
            </a:xfrm>
            <a:custGeom>
              <a:avLst/>
              <a:gdLst/>
              <a:ahLst/>
              <a:cxnLst>
                <a:cxn ang="0">
                  <a:pos x="wd2" y="hd2"/>
                </a:cxn>
                <a:cxn ang="5400000">
                  <a:pos x="wd2" y="hd2"/>
                </a:cxn>
                <a:cxn ang="10800000">
                  <a:pos x="wd2" y="hd2"/>
                </a:cxn>
                <a:cxn ang="16200000">
                  <a:pos x="wd2" y="hd2"/>
                </a:cxn>
              </a:cxnLst>
              <a:rect l="0" t="0" r="r" b="b"/>
              <a:pathLst>
                <a:path w="21429" h="21600" extrusionOk="0">
                  <a:moveTo>
                    <a:pt x="414" y="20430"/>
                  </a:moveTo>
                  <a:cubicBezTo>
                    <a:pt x="311" y="19852"/>
                    <a:pt x="311" y="19852"/>
                    <a:pt x="311" y="19852"/>
                  </a:cubicBezTo>
                  <a:cubicBezTo>
                    <a:pt x="311" y="19746"/>
                    <a:pt x="311" y="19502"/>
                    <a:pt x="311" y="19502"/>
                  </a:cubicBezTo>
                  <a:cubicBezTo>
                    <a:pt x="311" y="19396"/>
                    <a:pt x="311" y="19396"/>
                    <a:pt x="311" y="19396"/>
                  </a:cubicBezTo>
                  <a:cubicBezTo>
                    <a:pt x="414" y="19396"/>
                    <a:pt x="414" y="19153"/>
                    <a:pt x="311" y="19046"/>
                  </a:cubicBezTo>
                  <a:cubicBezTo>
                    <a:pt x="311" y="18925"/>
                    <a:pt x="311" y="18925"/>
                    <a:pt x="209" y="18803"/>
                  </a:cubicBezTo>
                  <a:cubicBezTo>
                    <a:pt x="120" y="18575"/>
                    <a:pt x="17" y="18225"/>
                    <a:pt x="209" y="18119"/>
                  </a:cubicBezTo>
                  <a:lnTo>
                    <a:pt x="311" y="17997"/>
                  </a:lnTo>
                  <a:cubicBezTo>
                    <a:pt x="311" y="17876"/>
                    <a:pt x="311" y="17876"/>
                    <a:pt x="311" y="17769"/>
                  </a:cubicBezTo>
                  <a:lnTo>
                    <a:pt x="311" y="17648"/>
                  </a:lnTo>
                  <a:cubicBezTo>
                    <a:pt x="120" y="16599"/>
                    <a:pt x="120" y="16599"/>
                    <a:pt x="120" y="16599"/>
                  </a:cubicBezTo>
                  <a:cubicBezTo>
                    <a:pt x="120" y="16493"/>
                    <a:pt x="209" y="16143"/>
                    <a:pt x="17" y="16143"/>
                  </a:cubicBezTo>
                  <a:cubicBezTo>
                    <a:pt x="17" y="15565"/>
                    <a:pt x="-85" y="15565"/>
                    <a:pt x="209" y="15094"/>
                  </a:cubicBezTo>
                  <a:cubicBezTo>
                    <a:pt x="503" y="14745"/>
                    <a:pt x="503" y="14395"/>
                    <a:pt x="120" y="14045"/>
                  </a:cubicBezTo>
                  <a:cubicBezTo>
                    <a:pt x="120" y="13817"/>
                    <a:pt x="209" y="13696"/>
                    <a:pt x="209" y="13346"/>
                  </a:cubicBezTo>
                  <a:cubicBezTo>
                    <a:pt x="209" y="13118"/>
                    <a:pt x="17" y="12996"/>
                    <a:pt x="17" y="12768"/>
                  </a:cubicBezTo>
                  <a:cubicBezTo>
                    <a:pt x="17" y="12419"/>
                    <a:pt x="606" y="12191"/>
                    <a:pt x="606" y="11613"/>
                  </a:cubicBezTo>
                  <a:cubicBezTo>
                    <a:pt x="1283" y="11142"/>
                    <a:pt x="1872" y="10686"/>
                    <a:pt x="2562" y="10215"/>
                  </a:cubicBezTo>
                  <a:cubicBezTo>
                    <a:pt x="3240" y="9759"/>
                    <a:pt x="4314" y="9637"/>
                    <a:pt x="4608" y="8710"/>
                  </a:cubicBezTo>
                  <a:cubicBezTo>
                    <a:pt x="4800" y="7889"/>
                    <a:pt x="3828" y="7083"/>
                    <a:pt x="3726" y="6156"/>
                  </a:cubicBezTo>
                  <a:cubicBezTo>
                    <a:pt x="3636" y="5457"/>
                    <a:pt x="3342" y="4408"/>
                    <a:pt x="3828" y="3952"/>
                  </a:cubicBezTo>
                  <a:cubicBezTo>
                    <a:pt x="4212" y="3603"/>
                    <a:pt x="4608" y="4879"/>
                    <a:pt x="5094" y="4879"/>
                  </a:cubicBezTo>
                  <a:cubicBezTo>
                    <a:pt x="5683" y="4879"/>
                    <a:pt x="6079" y="4287"/>
                    <a:pt x="6667" y="3952"/>
                  </a:cubicBezTo>
                  <a:cubicBezTo>
                    <a:pt x="6757" y="4530"/>
                    <a:pt x="6949" y="5107"/>
                    <a:pt x="7153" y="5807"/>
                  </a:cubicBezTo>
                  <a:cubicBezTo>
                    <a:pt x="7153" y="5807"/>
                    <a:pt x="8228" y="6035"/>
                    <a:pt x="8317" y="5928"/>
                  </a:cubicBezTo>
                  <a:cubicBezTo>
                    <a:pt x="8317" y="5807"/>
                    <a:pt x="9008" y="4879"/>
                    <a:pt x="9008" y="4879"/>
                  </a:cubicBezTo>
                  <a:cubicBezTo>
                    <a:pt x="9391" y="4758"/>
                    <a:pt x="9980" y="5229"/>
                    <a:pt x="10082" y="4758"/>
                  </a:cubicBezTo>
                  <a:cubicBezTo>
                    <a:pt x="10274" y="4408"/>
                    <a:pt x="9596" y="4059"/>
                    <a:pt x="9494" y="3709"/>
                  </a:cubicBezTo>
                  <a:cubicBezTo>
                    <a:pt x="9494" y="3359"/>
                    <a:pt x="9788" y="2903"/>
                    <a:pt x="10082" y="2782"/>
                  </a:cubicBezTo>
                  <a:cubicBezTo>
                    <a:pt x="10274" y="2675"/>
                    <a:pt x="10862" y="2554"/>
                    <a:pt x="10964" y="2903"/>
                  </a:cubicBezTo>
                  <a:cubicBezTo>
                    <a:pt x="11156" y="3359"/>
                    <a:pt x="10466" y="4059"/>
                    <a:pt x="10760" y="4408"/>
                  </a:cubicBezTo>
                  <a:cubicBezTo>
                    <a:pt x="11246" y="4879"/>
                    <a:pt x="11936" y="4408"/>
                    <a:pt x="12422" y="4180"/>
                  </a:cubicBezTo>
                  <a:cubicBezTo>
                    <a:pt x="13011" y="3952"/>
                    <a:pt x="13497" y="3481"/>
                    <a:pt x="14085" y="3131"/>
                  </a:cubicBezTo>
                  <a:cubicBezTo>
                    <a:pt x="14379" y="3025"/>
                    <a:pt x="14763" y="3025"/>
                    <a:pt x="15057" y="2903"/>
                  </a:cubicBezTo>
                  <a:cubicBezTo>
                    <a:pt x="15057" y="2903"/>
                    <a:pt x="16630" y="4287"/>
                    <a:pt x="16630" y="4180"/>
                  </a:cubicBezTo>
                  <a:cubicBezTo>
                    <a:pt x="16630" y="4059"/>
                    <a:pt x="17013" y="3131"/>
                    <a:pt x="17013" y="3131"/>
                  </a:cubicBezTo>
                  <a:cubicBezTo>
                    <a:pt x="16822" y="2675"/>
                    <a:pt x="16336" y="2204"/>
                    <a:pt x="16527" y="1748"/>
                  </a:cubicBezTo>
                  <a:cubicBezTo>
                    <a:pt x="16822" y="927"/>
                    <a:pt x="17602" y="578"/>
                    <a:pt x="18088" y="0"/>
                  </a:cubicBezTo>
                  <a:cubicBezTo>
                    <a:pt x="18382" y="350"/>
                    <a:pt x="18676" y="578"/>
                    <a:pt x="18970" y="1049"/>
                  </a:cubicBezTo>
                  <a:cubicBezTo>
                    <a:pt x="19264" y="1505"/>
                    <a:pt x="19264" y="2326"/>
                    <a:pt x="19648" y="2675"/>
                  </a:cubicBezTo>
                  <a:cubicBezTo>
                    <a:pt x="20044" y="3025"/>
                    <a:pt x="21016" y="2326"/>
                    <a:pt x="21119" y="2903"/>
                  </a:cubicBezTo>
                  <a:cubicBezTo>
                    <a:pt x="21310" y="3603"/>
                    <a:pt x="20530" y="4180"/>
                    <a:pt x="20236" y="4879"/>
                  </a:cubicBezTo>
                  <a:cubicBezTo>
                    <a:pt x="20338" y="5229"/>
                    <a:pt x="20338" y="5579"/>
                    <a:pt x="20530" y="5928"/>
                  </a:cubicBezTo>
                  <a:cubicBezTo>
                    <a:pt x="20722" y="6156"/>
                    <a:pt x="21119" y="6278"/>
                    <a:pt x="21119" y="6612"/>
                  </a:cubicBezTo>
                  <a:cubicBezTo>
                    <a:pt x="21221" y="6855"/>
                    <a:pt x="20927" y="7083"/>
                    <a:pt x="20927" y="7433"/>
                  </a:cubicBezTo>
                  <a:cubicBezTo>
                    <a:pt x="20927" y="7661"/>
                    <a:pt x="21310" y="8011"/>
                    <a:pt x="21119" y="8239"/>
                  </a:cubicBezTo>
                  <a:cubicBezTo>
                    <a:pt x="20927" y="8467"/>
                    <a:pt x="20530" y="8011"/>
                    <a:pt x="20338" y="8239"/>
                  </a:cubicBezTo>
                  <a:cubicBezTo>
                    <a:pt x="20044" y="8710"/>
                    <a:pt x="20044" y="9288"/>
                    <a:pt x="20044" y="9987"/>
                  </a:cubicBezTo>
                  <a:cubicBezTo>
                    <a:pt x="19942" y="10443"/>
                    <a:pt x="20338" y="11036"/>
                    <a:pt x="20338" y="11613"/>
                  </a:cubicBezTo>
                  <a:cubicBezTo>
                    <a:pt x="20338" y="12069"/>
                    <a:pt x="20044" y="12647"/>
                    <a:pt x="20044" y="13118"/>
                  </a:cubicBezTo>
                  <a:cubicBezTo>
                    <a:pt x="20044" y="13817"/>
                    <a:pt x="20236" y="14395"/>
                    <a:pt x="20530" y="14973"/>
                  </a:cubicBezTo>
                  <a:cubicBezTo>
                    <a:pt x="20722" y="15444"/>
                    <a:pt x="21310" y="15793"/>
                    <a:pt x="21413" y="16371"/>
                  </a:cubicBezTo>
                  <a:cubicBezTo>
                    <a:pt x="21515" y="16599"/>
                    <a:pt x="21119" y="16721"/>
                    <a:pt x="21016" y="16949"/>
                  </a:cubicBezTo>
                  <a:cubicBezTo>
                    <a:pt x="20824" y="16949"/>
                    <a:pt x="20722" y="16949"/>
                    <a:pt x="20530" y="17070"/>
                  </a:cubicBezTo>
                  <a:cubicBezTo>
                    <a:pt x="20441" y="17177"/>
                    <a:pt x="20441" y="17648"/>
                    <a:pt x="20236" y="17769"/>
                  </a:cubicBezTo>
                  <a:cubicBezTo>
                    <a:pt x="20044" y="17997"/>
                    <a:pt x="19750" y="17997"/>
                    <a:pt x="19456" y="17997"/>
                  </a:cubicBezTo>
                  <a:cubicBezTo>
                    <a:pt x="19264" y="17997"/>
                    <a:pt x="19060" y="17876"/>
                    <a:pt x="18868" y="17769"/>
                  </a:cubicBezTo>
                  <a:cubicBezTo>
                    <a:pt x="18676" y="17420"/>
                    <a:pt x="18574" y="16721"/>
                    <a:pt x="18190" y="16721"/>
                  </a:cubicBezTo>
                  <a:cubicBezTo>
                    <a:pt x="17704" y="16721"/>
                    <a:pt x="17499" y="17648"/>
                    <a:pt x="16924" y="17769"/>
                  </a:cubicBezTo>
                  <a:cubicBezTo>
                    <a:pt x="16630" y="17876"/>
                    <a:pt x="16336" y="17070"/>
                    <a:pt x="15939" y="17298"/>
                  </a:cubicBezTo>
                  <a:cubicBezTo>
                    <a:pt x="15747" y="17420"/>
                    <a:pt x="16131" y="18225"/>
                    <a:pt x="15837" y="18225"/>
                  </a:cubicBezTo>
                  <a:cubicBezTo>
                    <a:pt x="15453" y="18347"/>
                    <a:pt x="15057" y="17526"/>
                    <a:pt x="14673" y="17648"/>
                  </a:cubicBezTo>
                  <a:cubicBezTo>
                    <a:pt x="14379" y="17769"/>
                    <a:pt x="14673" y="18697"/>
                    <a:pt x="14379" y="18697"/>
                  </a:cubicBezTo>
                  <a:cubicBezTo>
                    <a:pt x="13701" y="18575"/>
                    <a:pt x="13113" y="17070"/>
                    <a:pt x="12422" y="17420"/>
                  </a:cubicBezTo>
                  <a:cubicBezTo>
                    <a:pt x="11450" y="17876"/>
                    <a:pt x="11348" y="19746"/>
                    <a:pt x="10466" y="20551"/>
                  </a:cubicBezTo>
                  <a:cubicBezTo>
                    <a:pt x="10274" y="20779"/>
                    <a:pt x="9890" y="20202"/>
                    <a:pt x="9596" y="20323"/>
                  </a:cubicBezTo>
                  <a:cubicBezTo>
                    <a:pt x="9008" y="20551"/>
                    <a:pt x="8522" y="21129"/>
                    <a:pt x="8023" y="21600"/>
                  </a:cubicBezTo>
                  <a:cubicBezTo>
                    <a:pt x="7243" y="21357"/>
                    <a:pt x="6373" y="21478"/>
                    <a:pt x="5785" y="20901"/>
                  </a:cubicBezTo>
                  <a:cubicBezTo>
                    <a:pt x="5389" y="20551"/>
                    <a:pt x="5785" y="19502"/>
                    <a:pt x="5389" y="19153"/>
                  </a:cubicBezTo>
                  <a:cubicBezTo>
                    <a:pt x="5005" y="18803"/>
                    <a:pt x="4314" y="19274"/>
                    <a:pt x="3828" y="19046"/>
                  </a:cubicBezTo>
                  <a:cubicBezTo>
                    <a:pt x="3636" y="19046"/>
                    <a:pt x="3931" y="18697"/>
                    <a:pt x="3828" y="18575"/>
                  </a:cubicBezTo>
                  <a:cubicBezTo>
                    <a:pt x="3342" y="18225"/>
                    <a:pt x="3534" y="18453"/>
                    <a:pt x="3048" y="18225"/>
                  </a:cubicBezTo>
                  <a:cubicBezTo>
                    <a:pt x="3342" y="17876"/>
                    <a:pt x="3636" y="17648"/>
                    <a:pt x="3726" y="17177"/>
                  </a:cubicBezTo>
                  <a:cubicBezTo>
                    <a:pt x="4020" y="16249"/>
                    <a:pt x="5785" y="15565"/>
                    <a:pt x="5785" y="14395"/>
                  </a:cubicBezTo>
                  <a:cubicBezTo>
                    <a:pt x="4212" y="15793"/>
                    <a:pt x="3151" y="17420"/>
                    <a:pt x="1283" y="18453"/>
                  </a:cubicBezTo>
                  <a:cubicBezTo>
                    <a:pt x="797" y="19046"/>
                    <a:pt x="606" y="19746"/>
                    <a:pt x="414" y="2043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2" name="Shape 2414">
              <a:extLst>
                <a:ext uri="{FF2B5EF4-FFF2-40B4-BE49-F238E27FC236}">
                  <a16:creationId xmlns:a16="http://schemas.microsoft.com/office/drawing/2014/main" id="{5F8B0591-728D-E38E-5DD4-FA8EEB0E4444}"/>
                </a:ext>
              </a:extLst>
            </p:cNvPr>
            <p:cNvSpPr/>
            <p:nvPr/>
          </p:nvSpPr>
          <p:spPr>
            <a:xfrm>
              <a:off x="2662273" y="6983893"/>
              <a:ext cx="267230" cy="381712"/>
            </a:xfrm>
            <a:custGeom>
              <a:avLst/>
              <a:gdLst/>
              <a:ahLst/>
              <a:cxnLst>
                <a:cxn ang="0">
                  <a:pos x="wd2" y="hd2"/>
                </a:cxn>
                <a:cxn ang="5400000">
                  <a:pos x="wd2" y="hd2"/>
                </a:cxn>
                <a:cxn ang="10800000">
                  <a:pos x="wd2" y="hd2"/>
                </a:cxn>
                <a:cxn ang="16200000">
                  <a:pos x="wd2" y="hd2"/>
                </a:cxn>
              </a:cxnLst>
              <a:rect l="0" t="0" r="r" b="b"/>
              <a:pathLst>
                <a:path w="21600" h="21600" extrusionOk="0">
                  <a:moveTo>
                    <a:pt x="21600" y="7448"/>
                  </a:moveTo>
                  <a:cubicBezTo>
                    <a:pt x="21192" y="7162"/>
                    <a:pt x="20131" y="7162"/>
                    <a:pt x="19532" y="7009"/>
                  </a:cubicBezTo>
                  <a:cubicBezTo>
                    <a:pt x="18689" y="6856"/>
                    <a:pt x="19097" y="6570"/>
                    <a:pt x="18063" y="7009"/>
                  </a:cubicBezTo>
                  <a:cubicBezTo>
                    <a:pt x="17438" y="7162"/>
                    <a:pt x="17438" y="6723"/>
                    <a:pt x="17030" y="6570"/>
                  </a:cubicBezTo>
                  <a:cubicBezTo>
                    <a:pt x="17030" y="6131"/>
                    <a:pt x="16404" y="5558"/>
                    <a:pt x="16186" y="5118"/>
                  </a:cubicBezTo>
                  <a:cubicBezTo>
                    <a:pt x="15778" y="4679"/>
                    <a:pt x="15153" y="4373"/>
                    <a:pt x="14527" y="4087"/>
                  </a:cubicBezTo>
                  <a:cubicBezTo>
                    <a:pt x="14119" y="3934"/>
                    <a:pt x="13493" y="3648"/>
                    <a:pt x="13085" y="3361"/>
                  </a:cubicBezTo>
                  <a:cubicBezTo>
                    <a:pt x="12868" y="3075"/>
                    <a:pt x="11834" y="2483"/>
                    <a:pt x="11834" y="2330"/>
                  </a:cubicBezTo>
                  <a:cubicBezTo>
                    <a:pt x="11426" y="2330"/>
                    <a:pt x="10392" y="3208"/>
                    <a:pt x="9957" y="3361"/>
                  </a:cubicBezTo>
                  <a:cubicBezTo>
                    <a:pt x="9549" y="3495"/>
                    <a:pt x="8297" y="4240"/>
                    <a:pt x="8080" y="3934"/>
                  </a:cubicBezTo>
                  <a:cubicBezTo>
                    <a:pt x="7889" y="3648"/>
                    <a:pt x="7889" y="3361"/>
                    <a:pt x="7889" y="2922"/>
                  </a:cubicBezTo>
                  <a:cubicBezTo>
                    <a:pt x="7889" y="2769"/>
                    <a:pt x="6638" y="2922"/>
                    <a:pt x="6420" y="2922"/>
                  </a:cubicBezTo>
                  <a:cubicBezTo>
                    <a:pt x="6230" y="2922"/>
                    <a:pt x="6012" y="1471"/>
                    <a:pt x="5794" y="1318"/>
                  </a:cubicBezTo>
                  <a:cubicBezTo>
                    <a:pt x="5169" y="745"/>
                    <a:pt x="4353" y="439"/>
                    <a:pt x="3727" y="0"/>
                  </a:cubicBezTo>
                  <a:cubicBezTo>
                    <a:pt x="3319" y="306"/>
                    <a:pt x="2693" y="592"/>
                    <a:pt x="2476" y="1031"/>
                  </a:cubicBezTo>
                  <a:cubicBezTo>
                    <a:pt x="2476" y="1604"/>
                    <a:pt x="2693" y="2196"/>
                    <a:pt x="3101" y="2769"/>
                  </a:cubicBezTo>
                  <a:cubicBezTo>
                    <a:pt x="3509" y="3361"/>
                    <a:pt x="4761" y="3801"/>
                    <a:pt x="4978" y="4526"/>
                  </a:cubicBezTo>
                  <a:cubicBezTo>
                    <a:pt x="4978" y="4966"/>
                    <a:pt x="3727" y="4966"/>
                    <a:pt x="3509" y="5252"/>
                  </a:cubicBezTo>
                  <a:cubicBezTo>
                    <a:pt x="2911" y="5691"/>
                    <a:pt x="3101" y="6417"/>
                    <a:pt x="2476" y="6856"/>
                  </a:cubicBezTo>
                  <a:cubicBezTo>
                    <a:pt x="1850" y="7448"/>
                    <a:pt x="816" y="7735"/>
                    <a:pt x="0" y="8174"/>
                  </a:cubicBezTo>
                  <a:cubicBezTo>
                    <a:pt x="190" y="8613"/>
                    <a:pt x="0" y="8900"/>
                    <a:pt x="190" y="9186"/>
                  </a:cubicBezTo>
                  <a:cubicBezTo>
                    <a:pt x="408" y="9339"/>
                    <a:pt x="626" y="9339"/>
                    <a:pt x="816" y="9339"/>
                  </a:cubicBezTo>
                  <a:cubicBezTo>
                    <a:pt x="1659" y="9492"/>
                    <a:pt x="2476" y="9339"/>
                    <a:pt x="3101" y="9492"/>
                  </a:cubicBezTo>
                  <a:cubicBezTo>
                    <a:pt x="3727" y="9625"/>
                    <a:pt x="4135" y="9931"/>
                    <a:pt x="4570" y="10218"/>
                  </a:cubicBezTo>
                  <a:cubicBezTo>
                    <a:pt x="4761" y="10370"/>
                    <a:pt x="4570" y="10657"/>
                    <a:pt x="4761" y="10943"/>
                  </a:cubicBezTo>
                  <a:cubicBezTo>
                    <a:pt x="4761" y="10943"/>
                    <a:pt x="5169" y="12700"/>
                    <a:pt x="5386" y="12834"/>
                  </a:cubicBezTo>
                  <a:cubicBezTo>
                    <a:pt x="5604" y="12834"/>
                    <a:pt x="6855" y="13140"/>
                    <a:pt x="6855" y="13140"/>
                  </a:cubicBezTo>
                  <a:cubicBezTo>
                    <a:pt x="6855" y="13426"/>
                    <a:pt x="6638" y="13712"/>
                    <a:pt x="6855" y="13999"/>
                  </a:cubicBezTo>
                  <a:cubicBezTo>
                    <a:pt x="7046" y="14152"/>
                    <a:pt x="7889" y="13999"/>
                    <a:pt x="7889" y="14305"/>
                  </a:cubicBezTo>
                  <a:cubicBezTo>
                    <a:pt x="7889" y="14744"/>
                    <a:pt x="6638" y="14877"/>
                    <a:pt x="6638" y="15317"/>
                  </a:cubicBezTo>
                  <a:cubicBezTo>
                    <a:pt x="6855" y="16042"/>
                    <a:pt x="7889" y="16634"/>
                    <a:pt x="8515" y="17360"/>
                  </a:cubicBezTo>
                  <a:cubicBezTo>
                    <a:pt x="8923" y="17513"/>
                    <a:pt x="9331" y="17799"/>
                    <a:pt x="9766" y="17799"/>
                  </a:cubicBezTo>
                  <a:cubicBezTo>
                    <a:pt x="11208" y="17513"/>
                    <a:pt x="12459" y="16482"/>
                    <a:pt x="13901" y="16482"/>
                  </a:cubicBezTo>
                  <a:cubicBezTo>
                    <a:pt x="14745" y="16482"/>
                    <a:pt x="15370" y="17227"/>
                    <a:pt x="15153" y="17666"/>
                  </a:cubicBezTo>
                  <a:cubicBezTo>
                    <a:pt x="14935" y="18525"/>
                    <a:pt x="13276" y="18831"/>
                    <a:pt x="13085" y="19690"/>
                  </a:cubicBezTo>
                  <a:cubicBezTo>
                    <a:pt x="12868" y="19996"/>
                    <a:pt x="15153" y="21294"/>
                    <a:pt x="15561" y="21600"/>
                  </a:cubicBezTo>
                  <a:cubicBezTo>
                    <a:pt x="16622" y="21008"/>
                    <a:pt x="17873" y="20435"/>
                    <a:pt x="19097" y="19996"/>
                  </a:cubicBezTo>
                  <a:cubicBezTo>
                    <a:pt x="20131" y="19690"/>
                    <a:pt x="20757" y="19117"/>
                    <a:pt x="21192" y="18525"/>
                  </a:cubicBezTo>
                  <a:cubicBezTo>
                    <a:pt x="20974" y="17799"/>
                    <a:pt x="20974" y="17799"/>
                    <a:pt x="20974" y="17799"/>
                  </a:cubicBezTo>
                  <a:cubicBezTo>
                    <a:pt x="20974" y="17666"/>
                    <a:pt x="20974" y="17360"/>
                    <a:pt x="20974" y="17360"/>
                  </a:cubicBezTo>
                  <a:cubicBezTo>
                    <a:pt x="20974" y="17227"/>
                    <a:pt x="20974" y="17227"/>
                    <a:pt x="20974" y="17227"/>
                  </a:cubicBezTo>
                  <a:cubicBezTo>
                    <a:pt x="21192" y="17227"/>
                    <a:pt x="21192" y="16921"/>
                    <a:pt x="20974" y="16787"/>
                  </a:cubicBezTo>
                  <a:cubicBezTo>
                    <a:pt x="20974" y="16634"/>
                    <a:pt x="20974" y="16634"/>
                    <a:pt x="20757" y="16482"/>
                  </a:cubicBezTo>
                  <a:cubicBezTo>
                    <a:pt x="20566" y="16195"/>
                    <a:pt x="20349" y="15756"/>
                    <a:pt x="20757" y="15622"/>
                  </a:cubicBezTo>
                  <a:lnTo>
                    <a:pt x="20974" y="15469"/>
                  </a:lnTo>
                  <a:cubicBezTo>
                    <a:pt x="20974" y="15317"/>
                    <a:pt x="20974" y="15317"/>
                    <a:pt x="20974" y="15183"/>
                  </a:cubicBezTo>
                  <a:lnTo>
                    <a:pt x="20974" y="15030"/>
                  </a:lnTo>
                  <a:cubicBezTo>
                    <a:pt x="20566" y="13712"/>
                    <a:pt x="20566" y="13712"/>
                    <a:pt x="20566" y="13712"/>
                  </a:cubicBezTo>
                  <a:cubicBezTo>
                    <a:pt x="20566" y="13579"/>
                    <a:pt x="20757" y="13140"/>
                    <a:pt x="20349" y="13140"/>
                  </a:cubicBezTo>
                  <a:cubicBezTo>
                    <a:pt x="20349" y="12414"/>
                    <a:pt x="20131" y="12414"/>
                    <a:pt x="20757" y="11822"/>
                  </a:cubicBezTo>
                  <a:cubicBezTo>
                    <a:pt x="21382" y="11382"/>
                    <a:pt x="21382" y="10943"/>
                    <a:pt x="20566" y="10504"/>
                  </a:cubicBezTo>
                  <a:cubicBezTo>
                    <a:pt x="20566" y="10218"/>
                    <a:pt x="20757" y="10065"/>
                    <a:pt x="20757" y="9625"/>
                  </a:cubicBezTo>
                  <a:cubicBezTo>
                    <a:pt x="20757" y="9339"/>
                    <a:pt x="20349" y="9186"/>
                    <a:pt x="20349" y="8900"/>
                  </a:cubicBezTo>
                  <a:cubicBezTo>
                    <a:pt x="20349" y="8460"/>
                    <a:pt x="21600" y="8174"/>
                    <a:pt x="21600" y="74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3" name="Shape 2415">
              <a:extLst>
                <a:ext uri="{FF2B5EF4-FFF2-40B4-BE49-F238E27FC236}">
                  <a16:creationId xmlns:a16="http://schemas.microsoft.com/office/drawing/2014/main" id="{F59CAA9B-E906-CF2E-1950-676A08F6716D}"/>
                </a:ext>
              </a:extLst>
            </p:cNvPr>
            <p:cNvSpPr/>
            <p:nvPr/>
          </p:nvSpPr>
          <p:spPr>
            <a:xfrm>
              <a:off x="2507681" y="7116199"/>
              <a:ext cx="90339" cy="161701"/>
            </a:xfrm>
            <a:custGeom>
              <a:avLst/>
              <a:gdLst/>
              <a:ahLst/>
              <a:cxnLst>
                <a:cxn ang="0">
                  <a:pos x="wd2" y="hd2"/>
                </a:cxn>
                <a:cxn ang="5400000">
                  <a:pos x="wd2" y="hd2"/>
                </a:cxn>
                <a:cxn ang="10800000">
                  <a:pos x="wd2" y="hd2"/>
                </a:cxn>
                <a:cxn ang="16200000">
                  <a:pos x="wd2" y="hd2"/>
                </a:cxn>
              </a:cxnLst>
              <a:rect l="0" t="0" r="r" b="b"/>
              <a:pathLst>
                <a:path w="21600" h="21600" extrusionOk="0">
                  <a:moveTo>
                    <a:pt x="0" y="2066"/>
                  </a:moveTo>
                  <a:cubicBezTo>
                    <a:pt x="1290" y="1347"/>
                    <a:pt x="2499" y="0"/>
                    <a:pt x="4352" y="0"/>
                  </a:cubicBezTo>
                  <a:cubicBezTo>
                    <a:pt x="5561" y="0"/>
                    <a:pt x="4916" y="1347"/>
                    <a:pt x="5561" y="2066"/>
                  </a:cubicBezTo>
                  <a:cubicBezTo>
                    <a:pt x="6770" y="2380"/>
                    <a:pt x="8624" y="2066"/>
                    <a:pt x="9833" y="2380"/>
                  </a:cubicBezTo>
                  <a:cubicBezTo>
                    <a:pt x="10478" y="3054"/>
                    <a:pt x="9833" y="4086"/>
                    <a:pt x="10478" y="4805"/>
                  </a:cubicBezTo>
                  <a:cubicBezTo>
                    <a:pt x="11687" y="5119"/>
                    <a:pt x="12976" y="5119"/>
                    <a:pt x="14185" y="5119"/>
                  </a:cubicBezTo>
                  <a:cubicBezTo>
                    <a:pt x="14830" y="6511"/>
                    <a:pt x="14185" y="7859"/>
                    <a:pt x="15394" y="9251"/>
                  </a:cubicBezTo>
                  <a:cubicBezTo>
                    <a:pt x="16684" y="11990"/>
                    <a:pt x="20955" y="14729"/>
                    <a:pt x="21600" y="17828"/>
                  </a:cubicBezTo>
                  <a:cubicBezTo>
                    <a:pt x="21600" y="19220"/>
                    <a:pt x="18537" y="20208"/>
                    <a:pt x="17248" y="21600"/>
                  </a:cubicBezTo>
                  <a:cubicBezTo>
                    <a:pt x="16684" y="20926"/>
                    <a:pt x="15394" y="19894"/>
                    <a:pt x="14185" y="19220"/>
                  </a:cubicBezTo>
                  <a:cubicBezTo>
                    <a:pt x="12331" y="17828"/>
                    <a:pt x="9833" y="16795"/>
                    <a:pt x="8624" y="15762"/>
                  </a:cubicBezTo>
                  <a:cubicBezTo>
                    <a:pt x="5561" y="13382"/>
                    <a:pt x="1854" y="10957"/>
                    <a:pt x="0" y="8218"/>
                  </a:cubicBezTo>
                  <a:cubicBezTo>
                    <a:pt x="0" y="7544"/>
                    <a:pt x="2499" y="7185"/>
                    <a:pt x="2499" y="6511"/>
                  </a:cubicBezTo>
                  <a:cubicBezTo>
                    <a:pt x="2499" y="4805"/>
                    <a:pt x="645" y="3413"/>
                    <a:pt x="0" y="206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4" name="Shape 2416">
              <a:extLst>
                <a:ext uri="{FF2B5EF4-FFF2-40B4-BE49-F238E27FC236}">
                  <a16:creationId xmlns:a16="http://schemas.microsoft.com/office/drawing/2014/main" id="{7F444E58-0658-1484-B644-885A1119AD27}"/>
                </a:ext>
              </a:extLst>
            </p:cNvPr>
            <p:cNvSpPr/>
            <p:nvPr/>
          </p:nvSpPr>
          <p:spPr>
            <a:xfrm>
              <a:off x="2582004" y="7122986"/>
              <a:ext cx="103706" cy="123853"/>
            </a:xfrm>
            <a:custGeom>
              <a:avLst/>
              <a:gdLst/>
              <a:ahLst/>
              <a:cxnLst>
                <a:cxn ang="0">
                  <a:pos x="wd2" y="hd2"/>
                </a:cxn>
                <a:cxn ang="5400000">
                  <a:pos x="wd2" y="hd2"/>
                </a:cxn>
                <a:cxn ang="10800000">
                  <a:pos x="wd2" y="hd2"/>
                </a:cxn>
                <a:cxn ang="16200000">
                  <a:pos x="wd2" y="hd2"/>
                </a:cxn>
              </a:cxnLst>
              <a:rect l="0" t="0" r="r" b="b"/>
              <a:pathLst>
                <a:path w="21292" h="20739" extrusionOk="0">
                  <a:moveTo>
                    <a:pt x="16338" y="911"/>
                  </a:moveTo>
                  <a:cubicBezTo>
                    <a:pt x="16823" y="2211"/>
                    <a:pt x="16338" y="3059"/>
                    <a:pt x="16823" y="3907"/>
                  </a:cubicBezTo>
                  <a:cubicBezTo>
                    <a:pt x="17377" y="4360"/>
                    <a:pt x="17931" y="4360"/>
                    <a:pt x="18415" y="4360"/>
                  </a:cubicBezTo>
                  <a:cubicBezTo>
                    <a:pt x="19454" y="6113"/>
                    <a:pt x="20562" y="7413"/>
                    <a:pt x="21046" y="9109"/>
                  </a:cubicBezTo>
                  <a:cubicBezTo>
                    <a:pt x="21600" y="13011"/>
                    <a:pt x="21046" y="16460"/>
                    <a:pt x="21046" y="20362"/>
                  </a:cubicBezTo>
                  <a:cubicBezTo>
                    <a:pt x="20008" y="20362"/>
                    <a:pt x="18969" y="21210"/>
                    <a:pt x="17931" y="20362"/>
                  </a:cubicBezTo>
                  <a:cubicBezTo>
                    <a:pt x="17377" y="19909"/>
                    <a:pt x="19454" y="19457"/>
                    <a:pt x="19454" y="18609"/>
                  </a:cubicBezTo>
                  <a:cubicBezTo>
                    <a:pt x="18969" y="18157"/>
                    <a:pt x="17931" y="17761"/>
                    <a:pt x="17377" y="16913"/>
                  </a:cubicBezTo>
                  <a:cubicBezTo>
                    <a:pt x="15231" y="15160"/>
                    <a:pt x="13638" y="12163"/>
                    <a:pt x="10454" y="10862"/>
                  </a:cubicBezTo>
                  <a:cubicBezTo>
                    <a:pt x="9485" y="10410"/>
                    <a:pt x="11008" y="14312"/>
                    <a:pt x="9485" y="13859"/>
                  </a:cubicBezTo>
                  <a:cubicBezTo>
                    <a:pt x="7408" y="13463"/>
                    <a:pt x="6854" y="11258"/>
                    <a:pt x="5262" y="9958"/>
                  </a:cubicBezTo>
                  <a:cubicBezTo>
                    <a:pt x="3185" y="8261"/>
                    <a:pt x="1592" y="6113"/>
                    <a:pt x="0" y="3907"/>
                  </a:cubicBezTo>
                  <a:cubicBezTo>
                    <a:pt x="554" y="2607"/>
                    <a:pt x="554" y="458"/>
                    <a:pt x="2077" y="62"/>
                  </a:cubicBezTo>
                  <a:cubicBezTo>
                    <a:pt x="4223" y="-390"/>
                    <a:pt x="6300" y="1759"/>
                    <a:pt x="8446" y="1759"/>
                  </a:cubicBezTo>
                  <a:cubicBezTo>
                    <a:pt x="11008" y="2211"/>
                    <a:pt x="13638" y="1363"/>
                    <a:pt x="16338" y="91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5" name="Shape 2417">
              <a:extLst>
                <a:ext uri="{FF2B5EF4-FFF2-40B4-BE49-F238E27FC236}">
                  <a16:creationId xmlns:a16="http://schemas.microsoft.com/office/drawing/2014/main" id="{B032B4B7-67CB-63CE-E98F-72F6A5D37FF1}"/>
                </a:ext>
              </a:extLst>
            </p:cNvPr>
            <p:cNvSpPr/>
            <p:nvPr/>
          </p:nvSpPr>
          <p:spPr>
            <a:xfrm>
              <a:off x="2671193" y="7148903"/>
              <a:ext cx="94800" cy="1527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2366" y="383"/>
                    <a:pt x="4656" y="0"/>
                    <a:pt x="6411" y="383"/>
                  </a:cubicBezTo>
                  <a:cubicBezTo>
                    <a:pt x="8167" y="718"/>
                    <a:pt x="9312" y="1485"/>
                    <a:pt x="10533" y="2203"/>
                  </a:cubicBezTo>
                  <a:cubicBezTo>
                    <a:pt x="11067" y="2586"/>
                    <a:pt x="10533" y="3305"/>
                    <a:pt x="11067" y="4023"/>
                  </a:cubicBezTo>
                  <a:cubicBezTo>
                    <a:pt x="11067" y="4023"/>
                    <a:pt x="12212" y="8429"/>
                    <a:pt x="12823" y="8765"/>
                  </a:cubicBezTo>
                  <a:cubicBezTo>
                    <a:pt x="13433" y="8765"/>
                    <a:pt x="16944" y="9531"/>
                    <a:pt x="16944" y="9531"/>
                  </a:cubicBezTo>
                  <a:cubicBezTo>
                    <a:pt x="16944" y="10249"/>
                    <a:pt x="16334" y="10968"/>
                    <a:pt x="16944" y="11686"/>
                  </a:cubicBezTo>
                  <a:cubicBezTo>
                    <a:pt x="17478" y="12069"/>
                    <a:pt x="19845" y="11686"/>
                    <a:pt x="19845" y="12452"/>
                  </a:cubicBezTo>
                  <a:cubicBezTo>
                    <a:pt x="19845" y="13554"/>
                    <a:pt x="16334" y="13889"/>
                    <a:pt x="16334" y="14991"/>
                  </a:cubicBezTo>
                  <a:cubicBezTo>
                    <a:pt x="16944" y="16811"/>
                    <a:pt x="19845" y="18295"/>
                    <a:pt x="21600" y="20115"/>
                  </a:cubicBezTo>
                  <a:cubicBezTo>
                    <a:pt x="19234" y="20498"/>
                    <a:pt x="16944" y="21217"/>
                    <a:pt x="13967" y="21600"/>
                  </a:cubicBezTo>
                  <a:cubicBezTo>
                    <a:pt x="11678" y="21600"/>
                    <a:pt x="9312" y="21600"/>
                    <a:pt x="7022" y="21600"/>
                  </a:cubicBezTo>
                  <a:cubicBezTo>
                    <a:pt x="5877" y="20882"/>
                    <a:pt x="4656" y="20115"/>
                    <a:pt x="4656" y="19397"/>
                  </a:cubicBezTo>
                  <a:cubicBezTo>
                    <a:pt x="4656" y="18295"/>
                    <a:pt x="7022" y="17912"/>
                    <a:pt x="7556" y="16811"/>
                  </a:cubicBezTo>
                  <a:cubicBezTo>
                    <a:pt x="7556" y="15374"/>
                    <a:pt x="8167" y="13889"/>
                    <a:pt x="7022" y="13171"/>
                  </a:cubicBezTo>
                  <a:cubicBezTo>
                    <a:pt x="5877" y="12452"/>
                    <a:pt x="4122" y="13171"/>
                    <a:pt x="2900" y="13554"/>
                  </a:cubicBezTo>
                  <a:cubicBezTo>
                    <a:pt x="2900" y="10249"/>
                    <a:pt x="3511" y="7328"/>
                    <a:pt x="2900" y="4023"/>
                  </a:cubicBezTo>
                  <a:cubicBezTo>
                    <a:pt x="2366" y="2586"/>
                    <a:pt x="1145" y="1485"/>
                    <a:pt x="0"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6" name="Shape 2418">
              <a:extLst>
                <a:ext uri="{FF2B5EF4-FFF2-40B4-BE49-F238E27FC236}">
                  <a16:creationId xmlns:a16="http://schemas.microsoft.com/office/drawing/2014/main" id="{292E9E95-7E0D-021E-2236-1F825258E869}"/>
                </a:ext>
              </a:extLst>
            </p:cNvPr>
            <p:cNvSpPr/>
            <p:nvPr/>
          </p:nvSpPr>
          <p:spPr>
            <a:xfrm>
              <a:off x="2567140" y="7147417"/>
              <a:ext cx="138906" cy="216702"/>
            </a:xfrm>
            <a:custGeom>
              <a:avLst/>
              <a:gdLst/>
              <a:ahLst/>
              <a:cxnLst>
                <a:cxn ang="0">
                  <a:pos x="wd2" y="hd2"/>
                </a:cxn>
                <a:cxn ang="5400000">
                  <a:pos x="wd2" y="hd2"/>
                </a:cxn>
                <a:cxn ang="10800000">
                  <a:pos x="wd2" y="hd2"/>
                </a:cxn>
                <a:cxn ang="16200000">
                  <a:pos x="wd2" y="hd2"/>
                </a:cxn>
              </a:cxnLst>
              <a:rect l="0" t="0" r="r" b="b"/>
              <a:pathLst>
                <a:path w="21297" h="21600" extrusionOk="0">
                  <a:moveTo>
                    <a:pt x="0" y="774"/>
                  </a:moveTo>
                  <a:cubicBezTo>
                    <a:pt x="2371" y="0"/>
                    <a:pt x="2371" y="0"/>
                    <a:pt x="2371" y="0"/>
                  </a:cubicBezTo>
                  <a:cubicBezTo>
                    <a:pt x="3557" y="1312"/>
                    <a:pt x="4743" y="2591"/>
                    <a:pt x="6289" y="3600"/>
                  </a:cubicBezTo>
                  <a:cubicBezTo>
                    <a:pt x="7475" y="4374"/>
                    <a:pt x="7887" y="5686"/>
                    <a:pt x="9434" y="5921"/>
                  </a:cubicBezTo>
                  <a:cubicBezTo>
                    <a:pt x="10568" y="6191"/>
                    <a:pt x="9434" y="3869"/>
                    <a:pt x="10156" y="4138"/>
                  </a:cubicBezTo>
                  <a:cubicBezTo>
                    <a:pt x="12527" y="4912"/>
                    <a:pt x="13713" y="6695"/>
                    <a:pt x="15311" y="7738"/>
                  </a:cubicBezTo>
                  <a:cubicBezTo>
                    <a:pt x="15723" y="8243"/>
                    <a:pt x="16496" y="8479"/>
                    <a:pt x="16857" y="8748"/>
                  </a:cubicBezTo>
                  <a:cubicBezTo>
                    <a:pt x="16857" y="9252"/>
                    <a:pt x="15311" y="9521"/>
                    <a:pt x="15723" y="9791"/>
                  </a:cubicBezTo>
                  <a:cubicBezTo>
                    <a:pt x="16496" y="10295"/>
                    <a:pt x="17270" y="9791"/>
                    <a:pt x="18043" y="9791"/>
                  </a:cubicBezTo>
                  <a:cubicBezTo>
                    <a:pt x="18868" y="9521"/>
                    <a:pt x="20053" y="9017"/>
                    <a:pt x="20827" y="9521"/>
                  </a:cubicBezTo>
                  <a:cubicBezTo>
                    <a:pt x="21600" y="10026"/>
                    <a:pt x="21188" y="11069"/>
                    <a:pt x="21188" y="12079"/>
                  </a:cubicBezTo>
                  <a:cubicBezTo>
                    <a:pt x="20827" y="12852"/>
                    <a:pt x="19229" y="13121"/>
                    <a:pt x="19229" y="13895"/>
                  </a:cubicBezTo>
                  <a:cubicBezTo>
                    <a:pt x="19229" y="14400"/>
                    <a:pt x="20053" y="14938"/>
                    <a:pt x="20827" y="15443"/>
                  </a:cubicBezTo>
                  <a:cubicBezTo>
                    <a:pt x="19641" y="16217"/>
                    <a:pt x="18043" y="16991"/>
                    <a:pt x="17682" y="18000"/>
                  </a:cubicBezTo>
                  <a:cubicBezTo>
                    <a:pt x="17682" y="18505"/>
                    <a:pt x="20053" y="18774"/>
                    <a:pt x="20053" y="19548"/>
                  </a:cubicBezTo>
                  <a:cubicBezTo>
                    <a:pt x="20053" y="20321"/>
                    <a:pt x="18868" y="21095"/>
                    <a:pt x="18043" y="21600"/>
                  </a:cubicBezTo>
                  <a:cubicBezTo>
                    <a:pt x="16496" y="21331"/>
                    <a:pt x="15311" y="20557"/>
                    <a:pt x="14125" y="20557"/>
                  </a:cubicBezTo>
                  <a:cubicBezTo>
                    <a:pt x="12166" y="20321"/>
                    <a:pt x="10156" y="20826"/>
                    <a:pt x="8248" y="21095"/>
                  </a:cubicBezTo>
                  <a:cubicBezTo>
                    <a:pt x="6702" y="20052"/>
                    <a:pt x="4743" y="19043"/>
                    <a:pt x="3557" y="18000"/>
                  </a:cubicBezTo>
                  <a:cubicBezTo>
                    <a:pt x="2784" y="16452"/>
                    <a:pt x="2784" y="14669"/>
                    <a:pt x="1959" y="13121"/>
                  </a:cubicBezTo>
                  <a:cubicBezTo>
                    <a:pt x="2784" y="12079"/>
                    <a:pt x="4743" y="11338"/>
                    <a:pt x="4743" y="10295"/>
                  </a:cubicBezTo>
                  <a:cubicBezTo>
                    <a:pt x="4330" y="7974"/>
                    <a:pt x="1598" y="5921"/>
                    <a:pt x="773" y="3869"/>
                  </a:cubicBezTo>
                  <a:cubicBezTo>
                    <a:pt x="0" y="2826"/>
                    <a:pt x="412" y="1817"/>
                    <a:pt x="0" y="77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7" name="Shape 2419">
              <a:extLst>
                <a:ext uri="{FF2B5EF4-FFF2-40B4-BE49-F238E27FC236}">
                  <a16:creationId xmlns:a16="http://schemas.microsoft.com/office/drawing/2014/main" id="{3D21D5F5-1FE8-8124-218A-BA661A649C74}"/>
                </a:ext>
              </a:extLst>
            </p:cNvPr>
            <p:cNvSpPr/>
            <p:nvPr/>
          </p:nvSpPr>
          <p:spPr>
            <a:xfrm>
              <a:off x="2683084" y="7275262"/>
              <a:ext cx="172095" cy="128995"/>
            </a:xfrm>
            <a:custGeom>
              <a:avLst/>
              <a:gdLst/>
              <a:ahLst/>
              <a:cxnLst>
                <a:cxn ang="0">
                  <a:pos x="wd2" y="hd2"/>
                </a:cxn>
                <a:cxn ang="5400000">
                  <a:pos x="wd2" y="hd2"/>
                </a:cxn>
                <a:cxn ang="10800000">
                  <a:pos x="wd2" y="hd2"/>
                </a:cxn>
                <a:cxn ang="16200000">
                  <a:pos x="wd2" y="hd2"/>
                </a:cxn>
              </a:cxnLst>
              <a:rect l="0" t="0" r="r" b="b"/>
              <a:pathLst>
                <a:path w="21600" h="21600" extrusionOk="0">
                  <a:moveTo>
                    <a:pt x="2578" y="4354"/>
                  </a:moveTo>
                  <a:cubicBezTo>
                    <a:pt x="3847" y="4354"/>
                    <a:pt x="5157" y="4354"/>
                    <a:pt x="6425" y="4354"/>
                  </a:cubicBezTo>
                  <a:cubicBezTo>
                    <a:pt x="8074" y="3902"/>
                    <a:pt x="9342" y="3053"/>
                    <a:pt x="10652" y="2601"/>
                  </a:cubicBezTo>
                  <a:cubicBezTo>
                    <a:pt x="11286" y="3053"/>
                    <a:pt x="11920" y="3902"/>
                    <a:pt x="12596" y="3902"/>
                  </a:cubicBezTo>
                  <a:cubicBezTo>
                    <a:pt x="14837" y="3053"/>
                    <a:pt x="16781" y="0"/>
                    <a:pt x="19022" y="0"/>
                  </a:cubicBezTo>
                  <a:cubicBezTo>
                    <a:pt x="20332" y="0"/>
                    <a:pt x="21304" y="2205"/>
                    <a:pt x="20966" y="3506"/>
                  </a:cubicBezTo>
                  <a:cubicBezTo>
                    <a:pt x="20628" y="6050"/>
                    <a:pt x="18049" y="6955"/>
                    <a:pt x="17753" y="9499"/>
                  </a:cubicBezTo>
                  <a:cubicBezTo>
                    <a:pt x="17415" y="10404"/>
                    <a:pt x="20966" y="14249"/>
                    <a:pt x="21600" y="15154"/>
                  </a:cubicBezTo>
                  <a:cubicBezTo>
                    <a:pt x="19994" y="16454"/>
                    <a:pt x="18387" y="17755"/>
                    <a:pt x="16781" y="18603"/>
                  </a:cubicBezTo>
                  <a:cubicBezTo>
                    <a:pt x="11920" y="20752"/>
                    <a:pt x="6763" y="19451"/>
                    <a:pt x="2874" y="21600"/>
                  </a:cubicBezTo>
                  <a:cubicBezTo>
                    <a:pt x="2578" y="19451"/>
                    <a:pt x="2874" y="17303"/>
                    <a:pt x="2240" y="15550"/>
                  </a:cubicBezTo>
                  <a:cubicBezTo>
                    <a:pt x="1944" y="14702"/>
                    <a:pt x="972" y="15154"/>
                    <a:pt x="296" y="14702"/>
                  </a:cubicBezTo>
                  <a:cubicBezTo>
                    <a:pt x="972" y="13853"/>
                    <a:pt x="1944" y="12553"/>
                    <a:pt x="1944" y="11252"/>
                  </a:cubicBezTo>
                  <a:cubicBezTo>
                    <a:pt x="1944" y="9952"/>
                    <a:pt x="0" y="9499"/>
                    <a:pt x="0" y="8651"/>
                  </a:cubicBezTo>
                  <a:cubicBezTo>
                    <a:pt x="296" y="6955"/>
                    <a:pt x="1606" y="5654"/>
                    <a:pt x="2578" y="435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8" name="Shape 2420">
              <a:extLst>
                <a:ext uri="{FF2B5EF4-FFF2-40B4-BE49-F238E27FC236}">
                  <a16:creationId xmlns:a16="http://schemas.microsoft.com/office/drawing/2014/main" id="{83ED0139-4087-1B99-DF6E-DA858E5A758A}"/>
                </a:ext>
              </a:extLst>
            </p:cNvPr>
            <p:cNvSpPr/>
            <p:nvPr/>
          </p:nvSpPr>
          <p:spPr>
            <a:xfrm>
              <a:off x="2329304" y="7280928"/>
              <a:ext cx="161670" cy="161980"/>
            </a:xfrm>
            <a:custGeom>
              <a:avLst/>
              <a:gdLst/>
              <a:ahLst/>
              <a:cxnLst>
                <a:cxn ang="0">
                  <a:pos x="wd2" y="hd2"/>
                </a:cxn>
                <a:cxn ang="5400000">
                  <a:pos x="wd2" y="hd2"/>
                </a:cxn>
                <a:cxn ang="10800000">
                  <a:pos x="wd2" y="hd2"/>
                </a:cxn>
                <a:cxn ang="16200000">
                  <a:pos x="wd2" y="hd2"/>
                </a:cxn>
              </a:cxnLst>
              <a:rect l="0" t="0" r="r" b="b"/>
              <a:pathLst>
                <a:path w="21401" h="21247" extrusionOk="0">
                  <a:moveTo>
                    <a:pt x="15774" y="0"/>
                  </a:moveTo>
                  <a:cubicBezTo>
                    <a:pt x="17119" y="1016"/>
                    <a:pt x="18822" y="2032"/>
                    <a:pt x="20211" y="3357"/>
                  </a:cubicBezTo>
                  <a:cubicBezTo>
                    <a:pt x="20883" y="4373"/>
                    <a:pt x="21241" y="5699"/>
                    <a:pt x="21241" y="6714"/>
                  </a:cubicBezTo>
                  <a:cubicBezTo>
                    <a:pt x="21600" y="7730"/>
                    <a:pt x="21241" y="8437"/>
                    <a:pt x="21241" y="9409"/>
                  </a:cubicBezTo>
                  <a:cubicBezTo>
                    <a:pt x="21241" y="11132"/>
                    <a:pt x="21241" y="12457"/>
                    <a:pt x="21241" y="14180"/>
                  </a:cubicBezTo>
                  <a:cubicBezTo>
                    <a:pt x="19852" y="15151"/>
                    <a:pt x="18822" y="16874"/>
                    <a:pt x="17477" y="17537"/>
                  </a:cubicBezTo>
                  <a:cubicBezTo>
                    <a:pt x="16760" y="17846"/>
                    <a:pt x="15774" y="16521"/>
                    <a:pt x="15057" y="16874"/>
                  </a:cubicBezTo>
                  <a:cubicBezTo>
                    <a:pt x="12996" y="17537"/>
                    <a:pt x="10262" y="20231"/>
                    <a:pt x="8559" y="21247"/>
                  </a:cubicBezTo>
                  <a:cubicBezTo>
                    <a:pt x="5826" y="20231"/>
                    <a:pt x="2734" y="20894"/>
                    <a:pt x="1389" y="16874"/>
                  </a:cubicBezTo>
                  <a:cubicBezTo>
                    <a:pt x="1031" y="15858"/>
                    <a:pt x="672" y="14489"/>
                    <a:pt x="0" y="12457"/>
                  </a:cubicBezTo>
                  <a:cubicBezTo>
                    <a:pt x="2061" y="12457"/>
                    <a:pt x="6184" y="12810"/>
                    <a:pt x="8246" y="12148"/>
                  </a:cubicBezTo>
                  <a:cubicBezTo>
                    <a:pt x="8918" y="11794"/>
                    <a:pt x="9276" y="10425"/>
                    <a:pt x="8918" y="9409"/>
                  </a:cubicBezTo>
                  <a:cubicBezTo>
                    <a:pt x="8559" y="7421"/>
                    <a:pt x="6856" y="6052"/>
                    <a:pt x="6498" y="4020"/>
                  </a:cubicBezTo>
                  <a:cubicBezTo>
                    <a:pt x="6498" y="2695"/>
                    <a:pt x="6856" y="1016"/>
                    <a:pt x="8246" y="310"/>
                  </a:cubicBezTo>
                  <a:cubicBezTo>
                    <a:pt x="9276" y="-353"/>
                    <a:pt x="10979" y="663"/>
                    <a:pt x="12324" y="663"/>
                  </a:cubicBezTo>
                  <a:cubicBezTo>
                    <a:pt x="13713" y="663"/>
                    <a:pt x="14744" y="0"/>
                    <a:pt x="15774"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0" name="Shape 2421">
              <a:extLst>
                <a:ext uri="{FF2B5EF4-FFF2-40B4-BE49-F238E27FC236}">
                  <a16:creationId xmlns:a16="http://schemas.microsoft.com/office/drawing/2014/main" id="{3D144FD1-6CF8-EACB-CC51-200E0ABA0B1C}"/>
                </a:ext>
              </a:extLst>
            </p:cNvPr>
            <p:cNvSpPr/>
            <p:nvPr/>
          </p:nvSpPr>
          <p:spPr>
            <a:xfrm>
              <a:off x="2427411" y="7119825"/>
              <a:ext cx="192906" cy="278485"/>
            </a:xfrm>
            <a:custGeom>
              <a:avLst/>
              <a:gdLst/>
              <a:ahLst/>
              <a:cxnLst>
                <a:cxn ang="0">
                  <a:pos x="wd2" y="hd2"/>
                </a:cxn>
                <a:cxn ang="5400000">
                  <a:pos x="wd2" y="hd2"/>
                </a:cxn>
                <a:cxn ang="10800000">
                  <a:pos x="wd2" y="hd2"/>
                </a:cxn>
                <a:cxn ang="16200000">
                  <a:pos x="wd2" y="hd2"/>
                </a:cxn>
              </a:cxnLst>
              <a:rect l="0" t="0" r="r" b="b"/>
              <a:pathLst>
                <a:path w="21600" h="21435" extrusionOk="0">
                  <a:moveTo>
                    <a:pt x="8934" y="846"/>
                  </a:moveTo>
                  <a:cubicBezTo>
                    <a:pt x="9236" y="1624"/>
                    <a:pt x="10103" y="2428"/>
                    <a:pt x="10103" y="3413"/>
                  </a:cubicBezTo>
                  <a:cubicBezTo>
                    <a:pt x="10103" y="3802"/>
                    <a:pt x="8934" y="4010"/>
                    <a:pt x="8934" y="4399"/>
                  </a:cubicBezTo>
                  <a:cubicBezTo>
                    <a:pt x="9801" y="5980"/>
                    <a:pt x="11535" y="7381"/>
                    <a:pt x="12968" y="8755"/>
                  </a:cubicBezTo>
                  <a:cubicBezTo>
                    <a:pt x="13533" y="9351"/>
                    <a:pt x="14702" y="9948"/>
                    <a:pt x="15569" y="10752"/>
                  </a:cubicBezTo>
                  <a:cubicBezTo>
                    <a:pt x="16134" y="11141"/>
                    <a:pt x="16737" y="11737"/>
                    <a:pt x="17001" y="12126"/>
                  </a:cubicBezTo>
                  <a:cubicBezTo>
                    <a:pt x="17604" y="13319"/>
                    <a:pt x="17604" y="14693"/>
                    <a:pt x="18170" y="15886"/>
                  </a:cubicBezTo>
                  <a:cubicBezTo>
                    <a:pt x="19037" y="16690"/>
                    <a:pt x="20469" y="17468"/>
                    <a:pt x="21600" y="18271"/>
                  </a:cubicBezTo>
                  <a:cubicBezTo>
                    <a:pt x="21035" y="18453"/>
                    <a:pt x="21035" y="19257"/>
                    <a:pt x="20168" y="19257"/>
                  </a:cubicBezTo>
                  <a:cubicBezTo>
                    <a:pt x="19602" y="19257"/>
                    <a:pt x="19037" y="18453"/>
                    <a:pt x="18170" y="18453"/>
                  </a:cubicBezTo>
                  <a:cubicBezTo>
                    <a:pt x="17303" y="18453"/>
                    <a:pt x="16134" y="18660"/>
                    <a:pt x="15569" y="19257"/>
                  </a:cubicBezTo>
                  <a:cubicBezTo>
                    <a:pt x="15267" y="19853"/>
                    <a:pt x="15569" y="20450"/>
                    <a:pt x="15569" y="21046"/>
                  </a:cubicBezTo>
                  <a:cubicBezTo>
                    <a:pt x="14136" y="21228"/>
                    <a:pt x="12402" y="21435"/>
                    <a:pt x="10970" y="21435"/>
                  </a:cubicBezTo>
                  <a:cubicBezTo>
                    <a:pt x="9537" y="21435"/>
                    <a:pt x="8067" y="20839"/>
                    <a:pt x="6936" y="20657"/>
                  </a:cubicBezTo>
                  <a:cubicBezTo>
                    <a:pt x="6936" y="19646"/>
                    <a:pt x="6936" y="18868"/>
                    <a:pt x="6936" y="17857"/>
                  </a:cubicBezTo>
                  <a:cubicBezTo>
                    <a:pt x="6936" y="17286"/>
                    <a:pt x="7238" y="16871"/>
                    <a:pt x="6936" y="16275"/>
                  </a:cubicBezTo>
                  <a:cubicBezTo>
                    <a:pt x="6936" y="15678"/>
                    <a:pt x="6635" y="14901"/>
                    <a:pt x="6069" y="14304"/>
                  </a:cubicBezTo>
                  <a:cubicBezTo>
                    <a:pt x="4901" y="13526"/>
                    <a:pt x="3468" y="12930"/>
                    <a:pt x="2337" y="12333"/>
                  </a:cubicBezTo>
                  <a:cubicBezTo>
                    <a:pt x="0" y="8755"/>
                    <a:pt x="0" y="8755"/>
                    <a:pt x="0" y="8755"/>
                  </a:cubicBezTo>
                  <a:cubicBezTo>
                    <a:pt x="0" y="4606"/>
                    <a:pt x="0" y="4606"/>
                    <a:pt x="0" y="4606"/>
                  </a:cubicBezTo>
                  <a:cubicBezTo>
                    <a:pt x="1169" y="4010"/>
                    <a:pt x="2337" y="3621"/>
                    <a:pt x="3166" y="3024"/>
                  </a:cubicBezTo>
                  <a:cubicBezTo>
                    <a:pt x="4637" y="2013"/>
                    <a:pt x="6069" y="639"/>
                    <a:pt x="7803" y="42"/>
                  </a:cubicBezTo>
                  <a:cubicBezTo>
                    <a:pt x="8369" y="-165"/>
                    <a:pt x="8670" y="431"/>
                    <a:pt x="8934" y="84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1" name="Shape 2422">
              <a:extLst>
                <a:ext uri="{FF2B5EF4-FFF2-40B4-BE49-F238E27FC236}">
                  <a16:creationId xmlns:a16="http://schemas.microsoft.com/office/drawing/2014/main" id="{83202BD5-FDB4-1024-7439-934AAFAB3378}"/>
                </a:ext>
              </a:extLst>
            </p:cNvPr>
            <p:cNvSpPr/>
            <p:nvPr/>
          </p:nvSpPr>
          <p:spPr>
            <a:xfrm>
              <a:off x="2046873" y="7164610"/>
              <a:ext cx="249392" cy="217346"/>
            </a:xfrm>
            <a:custGeom>
              <a:avLst/>
              <a:gdLst/>
              <a:ahLst/>
              <a:cxnLst>
                <a:cxn ang="0">
                  <a:pos x="wd2" y="hd2"/>
                </a:cxn>
                <a:cxn ang="5400000">
                  <a:pos x="wd2" y="hd2"/>
                </a:cxn>
                <a:cxn ang="10800000">
                  <a:pos x="wd2" y="hd2"/>
                </a:cxn>
                <a:cxn ang="16200000">
                  <a:pos x="wd2" y="hd2"/>
                </a:cxn>
              </a:cxnLst>
              <a:rect l="0" t="0" r="r" b="b"/>
              <a:pathLst>
                <a:path w="21600" h="21371" extrusionOk="0">
                  <a:moveTo>
                    <a:pt x="19151" y="14758"/>
                  </a:moveTo>
                  <a:cubicBezTo>
                    <a:pt x="19822" y="12731"/>
                    <a:pt x="21367" y="9674"/>
                    <a:pt x="21600" y="7381"/>
                  </a:cubicBezTo>
                  <a:cubicBezTo>
                    <a:pt x="21600" y="6384"/>
                    <a:pt x="20259" y="5885"/>
                    <a:pt x="19822" y="5121"/>
                  </a:cubicBezTo>
                  <a:cubicBezTo>
                    <a:pt x="18918" y="3593"/>
                    <a:pt x="18481" y="2064"/>
                    <a:pt x="17577" y="535"/>
                  </a:cubicBezTo>
                  <a:cubicBezTo>
                    <a:pt x="17140" y="801"/>
                    <a:pt x="16703" y="1300"/>
                    <a:pt x="16266" y="1034"/>
                  </a:cubicBezTo>
                  <a:cubicBezTo>
                    <a:pt x="15595" y="1034"/>
                    <a:pt x="15129" y="-229"/>
                    <a:pt x="14487" y="37"/>
                  </a:cubicBezTo>
                  <a:cubicBezTo>
                    <a:pt x="13584" y="303"/>
                    <a:pt x="13584" y="1565"/>
                    <a:pt x="13147" y="2562"/>
                  </a:cubicBezTo>
                  <a:cubicBezTo>
                    <a:pt x="12476" y="4091"/>
                    <a:pt x="12243" y="5620"/>
                    <a:pt x="11572" y="6882"/>
                  </a:cubicBezTo>
                  <a:cubicBezTo>
                    <a:pt x="10902" y="8145"/>
                    <a:pt x="10028" y="8909"/>
                    <a:pt x="9357" y="9940"/>
                  </a:cubicBezTo>
                  <a:cubicBezTo>
                    <a:pt x="2886" y="9674"/>
                    <a:pt x="2886" y="9674"/>
                    <a:pt x="2886" y="9674"/>
                  </a:cubicBezTo>
                  <a:cubicBezTo>
                    <a:pt x="2886" y="11202"/>
                    <a:pt x="3119" y="11701"/>
                    <a:pt x="2011" y="13229"/>
                  </a:cubicBezTo>
                  <a:cubicBezTo>
                    <a:pt x="1778" y="13728"/>
                    <a:pt x="0" y="15024"/>
                    <a:pt x="0" y="15257"/>
                  </a:cubicBezTo>
                  <a:cubicBezTo>
                    <a:pt x="0" y="16785"/>
                    <a:pt x="1108" y="19078"/>
                    <a:pt x="2215" y="19842"/>
                  </a:cubicBezTo>
                  <a:cubicBezTo>
                    <a:pt x="4227" y="21105"/>
                    <a:pt x="4897" y="20607"/>
                    <a:pt x="7346" y="21371"/>
                  </a:cubicBezTo>
                  <a:cubicBezTo>
                    <a:pt x="7346" y="17284"/>
                    <a:pt x="12913" y="19078"/>
                    <a:pt x="15362" y="19078"/>
                  </a:cubicBezTo>
                  <a:cubicBezTo>
                    <a:pt x="14487" y="16021"/>
                    <a:pt x="16703" y="15024"/>
                    <a:pt x="19151" y="147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2" name="Shape 2423">
              <a:extLst>
                <a:ext uri="{FF2B5EF4-FFF2-40B4-BE49-F238E27FC236}">
                  <a16:creationId xmlns:a16="http://schemas.microsoft.com/office/drawing/2014/main" id="{88D1C7EF-1648-6D57-621D-39E204BA8E73}"/>
                </a:ext>
              </a:extLst>
            </p:cNvPr>
            <p:cNvSpPr/>
            <p:nvPr/>
          </p:nvSpPr>
          <p:spPr>
            <a:xfrm>
              <a:off x="2250522" y="7133503"/>
              <a:ext cx="198851" cy="242025"/>
            </a:xfrm>
            <a:custGeom>
              <a:avLst/>
              <a:gdLst/>
              <a:ahLst/>
              <a:cxnLst>
                <a:cxn ang="0">
                  <a:pos x="wd2" y="hd2"/>
                </a:cxn>
                <a:cxn ang="5400000">
                  <a:pos x="wd2" y="hd2"/>
                </a:cxn>
                <a:cxn ang="10800000">
                  <a:pos x="wd2" y="hd2"/>
                </a:cxn>
                <a:cxn ang="16200000">
                  <a:pos x="wd2" y="hd2"/>
                </a:cxn>
              </a:cxnLst>
              <a:rect l="0" t="0" r="r" b="b"/>
              <a:pathLst>
                <a:path w="21600" h="21213" extrusionOk="0">
                  <a:moveTo>
                    <a:pt x="0" y="3145"/>
                  </a:moveTo>
                  <a:cubicBezTo>
                    <a:pt x="843" y="3145"/>
                    <a:pt x="1980" y="3587"/>
                    <a:pt x="2274" y="3145"/>
                  </a:cubicBezTo>
                  <a:cubicBezTo>
                    <a:pt x="2824" y="2261"/>
                    <a:pt x="1137" y="1112"/>
                    <a:pt x="1687" y="434"/>
                  </a:cubicBezTo>
                  <a:cubicBezTo>
                    <a:pt x="2274" y="-214"/>
                    <a:pt x="3667" y="-8"/>
                    <a:pt x="4511" y="228"/>
                  </a:cubicBezTo>
                  <a:cubicBezTo>
                    <a:pt x="5611" y="434"/>
                    <a:pt x="6198" y="1112"/>
                    <a:pt x="7004" y="1584"/>
                  </a:cubicBezTo>
                  <a:cubicBezTo>
                    <a:pt x="7591" y="2026"/>
                    <a:pt x="7848" y="2703"/>
                    <a:pt x="8435" y="3145"/>
                  </a:cubicBezTo>
                  <a:cubicBezTo>
                    <a:pt x="8985" y="3587"/>
                    <a:pt x="9241" y="4501"/>
                    <a:pt x="10085" y="4501"/>
                  </a:cubicBezTo>
                  <a:cubicBezTo>
                    <a:pt x="10928" y="4501"/>
                    <a:pt x="10672" y="3145"/>
                    <a:pt x="11515" y="2939"/>
                  </a:cubicBezTo>
                  <a:cubicBezTo>
                    <a:pt x="12615" y="2261"/>
                    <a:pt x="14009" y="2026"/>
                    <a:pt x="15439" y="2026"/>
                  </a:cubicBezTo>
                  <a:cubicBezTo>
                    <a:pt x="16833" y="2026"/>
                    <a:pt x="18226" y="2468"/>
                    <a:pt x="19326" y="2939"/>
                  </a:cubicBezTo>
                  <a:cubicBezTo>
                    <a:pt x="19620" y="3145"/>
                    <a:pt x="19326" y="3587"/>
                    <a:pt x="19326" y="4059"/>
                  </a:cubicBezTo>
                  <a:cubicBezTo>
                    <a:pt x="19326" y="8774"/>
                    <a:pt x="19326" y="8774"/>
                    <a:pt x="19326" y="8774"/>
                  </a:cubicBezTo>
                  <a:cubicBezTo>
                    <a:pt x="21600" y="12840"/>
                    <a:pt x="21600" y="12840"/>
                    <a:pt x="21600" y="12840"/>
                  </a:cubicBezTo>
                  <a:cubicBezTo>
                    <a:pt x="20757" y="12840"/>
                    <a:pt x="19913" y="13282"/>
                    <a:pt x="18776" y="13282"/>
                  </a:cubicBezTo>
                  <a:cubicBezTo>
                    <a:pt x="17676" y="13282"/>
                    <a:pt x="16283" y="12605"/>
                    <a:pt x="15439" y="13047"/>
                  </a:cubicBezTo>
                  <a:cubicBezTo>
                    <a:pt x="14302" y="13518"/>
                    <a:pt x="14009" y="14638"/>
                    <a:pt x="14009" y="15522"/>
                  </a:cubicBezTo>
                  <a:cubicBezTo>
                    <a:pt x="14302" y="16877"/>
                    <a:pt x="15696" y="17791"/>
                    <a:pt x="15989" y="19117"/>
                  </a:cubicBezTo>
                  <a:cubicBezTo>
                    <a:pt x="16283" y="19795"/>
                    <a:pt x="15989" y="20708"/>
                    <a:pt x="15439" y="20944"/>
                  </a:cubicBezTo>
                  <a:cubicBezTo>
                    <a:pt x="13752" y="21386"/>
                    <a:pt x="10378" y="21150"/>
                    <a:pt x="8691" y="21150"/>
                  </a:cubicBezTo>
                  <a:cubicBezTo>
                    <a:pt x="7298" y="18675"/>
                    <a:pt x="5354" y="15758"/>
                    <a:pt x="2824" y="15758"/>
                  </a:cubicBezTo>
                  <a:cubicBezTo>
                    <a:pt x="2530" y="15758"/>
                    <a:pt x="2274" y="15758"/>
                    <a:pt x="1980" y="15758"/>
                  </a:cubicBezTo>
                  <a:cubicBezTo>
                    <a:pt x="2824" y="13960"/>
                    <a:pt x="4767" y="11249"/>
                    <a:pt x="5061" y="9216"/>
                  </a:cubicBezTo>
                  <a:cubicBezTo>
                    <a:pt x="5061" y="8332"/>
                    <a:pt x="3374" y="7890"/>
                    <a:pt x="2824" y="7212"/>
                  </a:cubicBezTo>
                  <a:cubicBezTo>
                    <a:pt x="1687" y="5856"/>
                    <a:pt x="1137" y="4501"/>
                    <a:pt x="0" y="314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3" name="Shape 2424">
              <a:extLst>
                <a:ext uri="{FF2B5EF4-FFF2-40B4-BE49-F238E27FC236}">
                  <a16:creationId xmlns:a16="http://schemas.microsoft.com/office/drawing/2014/main" id="{AFA78553-EF2C-08BE-E709-F5DCBA84C20D}"/>
                </a:ext>
              </a:extLst>
            </p:cNvPr>
            <p:cNvSpPr/>
            <p:nvPr/>
          </p:nvSpPr>
          <p:spPr>
            <a:xfrm>
              <a:off x="1510256" y="6876859"/>
              <a:ext cx="450065" cy="452131"/>
            </a:xfrm>
            <a:custGeom>
              <a:avLst/>
              <a:gdLst/>
              <a:ahLst/>
              <a:cxnLst>
                <a:cxn ang="0">
                  <a:pos x="wd2" y="hd2"/>
                </a:cxn>
                <a:cxn ang="5400000">
                  <a:pos x="wd2" y="hd2"/>
                </a:cxn>
                <a:cxn ang="10800000">
                  <a:pos x="wd2" y="hd2"/>
                </a:cxn>
                <a:cxn ang="16200000">
                  <a:pos x="wd2" y="hd2"/>
                </a:cxn>
              </a:cxnLst>
              <a:rect l="0" t="0" r="r" b="b"/>
              <a:pathLst>
                <a:path w="21600" h="21276" extrusionOk="0">
                  <a:moveTo>
                    <a:pt x="17771" y="15771"/>
                  </a:moveTo>
                  <a:cubicBezTo>
                    <a:pt x="17658" y="15168"/>
                    <a:pt x="17658" y="14199"/>
                    <a:pt x="17529" y="13595"/>
                  </a:cubicBezTo>
                  <a:lnTo>
                    <a:pt x="17529" y="13468"/>
                  </a:lnTo>
                  <a:cubicBezTo>
                    <a:pt x="17658" y="12865"/>
                    <a:pt x="18272" y="12134"/>
                    <a:pt x="17771" y="11769"/>
                  </a:cubicBezTo>
                  <a:cubicBezTo>
                    <a:pt x="16915" y="11054"/>
                    <a:pt x="15429" y="11658"/>
                    <a:pt x="14443" y="11054"/>
                  </a:cubicBezTo>
                  <a:cubicBezTo>
                    <a:pt x="14072" y="10800"/>
                    <a:pt x="15429" y="10689"/>
                    <a:pt x="15558" y="10196"/>
                  </a:cubicBezTo>
                  <a:cubicBezTo>
                    <a:pt x="15671" y="9831"/>
                    <a:pt x="14815" y="9466"/>
                    <a:pt x="14944" y="8989"/>
                  </a:cubicBezTo>
                  <a:cubicBezTo>
                    <a:pt x="15299" y="8259"/>
                    <a:pt x="16042" y="7655"/>
                    <a:pt x="16786" y="7163"/>
                  </a:cubicBezTo>
                  <a:cubicBezTo>
                    <a:pt x="17028" y="7036"/>
                    <a:pt x="17400" y="7655"/>
                    <a:pt x="17658" y="7528"/>
                  </a:cubicBezTo>
                  <a:cubicBezTo>
                    <a:pt x="18514" y="7290"/>
                    <a:pt x="19257" y="6432"/>
                    <a:pt x="20001" y="6067"/>
                  </a:cubicBezTo>
                  <a:cubicBezTo>
                    <a:pt x="20485" y="5829"/>
                    <a:pt x="21600" y="6067"/>
                    <a:pt x="21600" y="5591"/>
                  </a:cubicBezTo>
                  <a:cubicBezTo>
                    <a:pt x="21600" y="4733"/>
                    <a:pt x="20615" y="4129"/>
                    <a:pt x="20243" y="3399"/>
                  </a:cubicBezTo>
                  <a:cubicBezTo>
                    <a:pt x="20001" y="3161"/>
                    <a:pt x="19871" y="2922"/>
                    <a:pt x="19742" y="2668"/>
                  </a:cubicBezTo>
                  <a:cubicBezTo>
                    <a:pt x="19629" y="2430"/>
                    <a:pt x="19742" y="2065"/>
                    <a:pt x="19500" y="2065"/>
                  </a:cubicBezTo>
                  <a:cubicBezTo>
                    <a:pt x="19015" y="1826"/>
                    <a:pt x="18385" y="2192"/>
                    <a:pt x="17900" y="2065"/>
                  </a:cubicBezTo>
                  <a:cubicBezTo>
                    <a:pt x="17658" y="1954"/>
                    <a:pt x="17658" y="1350"/>
                    <a:pt x="17400" y="1350"/>
                  </a:cubicBezTo>
                  <a:cubicBezTo>
                    <a:pt x="17028" y="1223"/>
                    <a:pt x="17028" y="1826"/>
                    <a:pt x="16786" y="1954"/>
                  </a:cubicBezTo>
                  <a:cubicBezTo>
                    <a:pt x="16543" y="1954"/>
                    <a:pt x="16172" y="1699"/>
                    <a:pt x="16172" y="1461"/>
                  </a:cubicBezTo>
                  <a:cubicBezTo>
                    <a:pt x="16042" y="1350"/>
                    <a:pt x="16543" y="1223"/>
                    <a:pt x="16543" y="985"/>
                  </a:cubicBezTo>
                  <a:cubicBezTo>
                    <a:pt x="16543" y="619"/>
                    <a:pt x="16285" y="365"/>
                    <a:pt x="16285" y="0"/>
                  </a:cubicBezTo>
                  <a:cubicBezTo>
                    <a:pt x="15186" y="254"/>
                    <a:pt x="15186" y="254"/>
                    <a:pt x="15186" y="254"/>
                  </a:cubicBezTo>
                  <a:cubicBezTo>
                    <a:pt x="14815" y="254"/>
                    <a:pt x="13958" y="2319"/>
                    <a:pt x="13215" y="2668"/>
                  </a:cubicBezTo>
                  <a:cubicBezTo>
                    <a:pt x="12472" y="2922"/>
                    <a:pt x="11842" y="2668"/>
                    <a:pt x="12101" y="3637"/>
                  </a:cubicBezTo>
                  <a:cubicBezTo>
                    <a:pt x="12214" y="4256"/>
                    <a:pt x="11228" y="4129"/>
                    <a:pt x="11115" y="3891"/>
                  </a:cubicBezTo>
                  <a:cubicBezTo>
                    <a:pt x="10986" y="3891"/>
                    <a:pt x="10986" y="3764"/>
                    <a:pt x="10986" y="3764"/>
                  </a:cubicBezTo>
                  <a:cubicBezTo>
                    <a:pt x="10986" y="3764"/>
                    <a:pt x="10986" y="3764"/>
                    <a:pt x="10857" y="3764"/>
                  </a:cubicBezTo>
                  <a:lnTo>
                    <a:pt x="10743" y="3891"/>
                  </a:lnTo>
                  <a:cubicBezTo>
                    <a:pt x="10372" y="4987"/>
                    <a:pt x="8772" y="6067"/>
                    <a:pt x="8772" y="4129"/>
                  </a:cubicBezTo>
                  <a:cubicBezTo>
                    <a:pt x="8272" y="4002"/>
                    <a:pt x="6414" y="4002"/>
                    <a:pt x="5929" y="4129"/>
                  </a:cubicBezTo>
                  <a:cubicBezTo>
                    <a:pt x="5929" y="4860"/>
                    <a:pt x="6672" y="6067"/>
                    <a:pt x="5558" y="6559"/>
                  </a:cubicBezTo>
                  <a:cubicBezTo>
                    <a:pt x="4200" y="7036"/>
                    <a:pt x="3086" y="7401"/>
                    <a:pt x="1729" y="8259"/>
                  </a:cubicBezTo>
                  <a:cubicBezTo>
                    <a:pt x="372" y="8989"/>
                    <a:pt x="0" y="8735"/>
                    <a:pt x="0" y="10562"/>
                  </a:cubicBezTo>
                  <a:cubicBezTo>
                    <a:pt x="2229" y="10562"/>
                    <a:pt x="3086" y="9593"/>
                    <a:pt x="4814" y="11658"/>
                  </a:cubicBezTo>
                  <a:cubicBezTo>
                    <a:pt x="5315" y="12134"/>
                    <a:pt x="5800" y="14326"/>
                    <a:pt x="4701" y="14326"/>
                  </a:cubicBezTo>
                  <a:cubicBezTo>
                    <a:pt x="2973" y="14326"/>
                    <a:pt x="4200" y="14199"/>
                    <a:pt x="3086" y="15295"/>
                  </a:cubicBezTo>
                  <a:cubicBezTo>
                    <a:pt x="1729" y="16502"/>
                    <a:pt x="1115" y="15056"/>
                    <a:pt x="2973" y="16391"/>
                  </a:cubicBezTo>
                  <a:cubicBezTo>
                    <a:pt x="3344" y="16629"/>
                    <a:pt x="3215" y="17598"/>
                    <a:pt x="3700" y="17598"/>
                  </a:cubicBezTo>
                  <a:cubicBezTo>
                    <a:pt x="3829" y="17598"/>
                    <a:pt x="4330" y="16391"/>
                    <a:pt x="4944" y="16264"/>
                  </a:cubicBezTo>
                  <a:cubicBezTo>
                    <a:pt x="6915" y="16629"/>
                    <a:pt x="7771" y="16867"/>
                    <a:pt x="9758" y="16867"/>
                  </a:cubicBezTo>
                  <a:cubicBezTo>
                    <a:pt x="9758" y="17471"/>
                    <a:pt x="5929" y="17598"/>
                    <a:pt x="5428" y="17598"/>
                  </a:cubicBezTo>
                  <a:cubicBezTo>
                    <a:pt x="4200" y="17836"/>
                    <a:pt x="6058" y="18328"/>
                    <a:pt x="6301" y="18439"/>
                  </a:cubicBezTo>
                  <a:cubicBezTo>
                    <a:pt x="7286" y="18932"/>
                    <a:pt x="5929" y="20028"/>
                    <a:pt x="7415" y="20504"/>
                  </a:cubicBezTo>
                  <a:cubicBezTo>
                    <a:pt x="9629" y="21235"/>
                    <a:pt x="9629" y="21235"/>
                    <a:pt x="9629" y="21235"/>
                  </a:cubicBezTo>
                  <a:cubicBezTo>
                    <a:pt x="10743" y="21600"/>
                    <a:pt x="11487" y="19424"/>
                    <a:pt x="12844" y="19535"/>
                  </a:cubicBezTo>
                  <a:cubicBezTo>
                    <a:pt x="14443" y="19535"/>
                    <a:pt x="14815" y="19059"/>
                    <a:pt x="16285" y="18694"/>
                  </a:cubicBezTo>
                  <a:cubicBezTo>
                    <a:pt x="16285" y="17105"/>
                    <a:pt x="16543" y="16025"/>
                    <a:pt x="17771" y="1577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4" name="Shape 2425">
              <a:extLst>
                <a:ext uri="{FF2B5EF4-FFF2-40B4-BE49-F238E27FC236}">
                  <a16:creationId xmlns:a16="http://schemas.microsoft.com/office/drawing/2014/main" id="{2119A8A2-C742-7DEE-DA25-F017395696AC}"/>
                </a:ext>
              </a:extLst>
            </p:cNvPr>
            <p:cNvSpPr/>
            <p:nvPr/>
          </p:nvSpPr>
          <p:spPr>
            <a:xfrm>
              <a:off x="1810997" y="6848615"/>
              <a:ext cx="586348" cy="417674"/>
            </a:xfrm>
            <a:custGeom>
              <a:avLst/>
              <a:gdLst/>
              <a:ahLst/>
              <a:cxnLst>
                <a:cxn ang="0">
                  <a:pos x="wd2" y="hd2"/>
                </a:cxn>
                <a:cxn ang="5400000">
                  <a:pos x="wd2" y="hd2"/>
                </a:cxn>
                <a:cxn ang="10800000">
                  <a:pos x="wd2" y="hd2"/>
                </a:cxn>
                <a:cxn ang="16200000">
                  <a:pos x="wd2" y="hd2"/>
                </a:cxn>
              </a:cxnLst>
              <a:rect l="0" t="0" r="r" b="b"/>
              <a:pathLst>
                <a:path w="21366" h="21089" extrusionOk="0">
                  <a:moveTo>
                    <a:pt x="2581" y="18346"/>
                  </a:moveTo>
                  <a:cubicBezTo>
                    <a:pt x="2495" y="17699"/>
                    <a:pt x="2495" y="16660"/>
                    <a:pt x="2397" y="16013"/>
                  </a:cubicBezTo>
                  <a:lnTo>
                    <a:pt x="2397" y="15876"/>
                  </a:lnTo>
                  <a:cubicBezTo>
                    <a:pt x="2495" y="15229"/>
                    <a:pt x="2962" y="14445"/>
                    <a:pt x="2581" y="14054"/>
                  </a:cubicBezTo>
                  <a:cubicBezTo>
                    <a:pt x="1930" y="13287"/>
                    <a:pt x="799" y="13934"/>
                    <a:pt x="49" y="13287"/>
                  </a:cubicBezTo>
                  <a:cubicBezTo>
                    <a:pt x="-234" y="13015"/>
                    <a:pt x="799" y="12895"/>
                    <a:pt x="897" y="12367"/>
                  </a:cubicBezTo>
                  <a:cubicBezTo>
                    <a:pt x="983" y="11975"/>
                    <a:pt x="332" y="11584"/>
                    <a:pt x="430" y="11073"/>
                  </a:cubicBezTo>
                  <a:cubicBezTo>
                    <a:pt x="700" y="10289"/>
                    <a:pt x="1266" y="9642"/>
                    <a:pt x="1831" y="9114"/>
                  </a:cubicBezTo>
                  <a:cubicBezTo>
                    <a:pt x="2016" y="8977"/>
                    <a:pt x="2298" y="9642"/>
                    <a:pt x="2495" y="9505"/>
                  </a:cubicBezTo>
                  <a:cubicBezTo>
                    <a:pt x="3147" y="9250"/>
                    <a:pt x="3712" y="8330"/>
                    <a:pt x="4278" y="7938"/>
                  </a:cubicBezTo>
                  <a:cubicBezTo>
                    <a:pt x="4647" y="7683"/>
                    <a:pt x="5495" y="7938"/>
                    <a:pt x="5495" y="7427"/>
                  </a:cubicBezTo>
                  <a:cubicBezTo>
                    <a:pt x="5495" y="6507"/>
                    <a:pt x="4745" y="5860"/>
                    <a:pt x="4462" y="5076"/>
                  </a:cubicBezTo>
                  <a:cubicBezTo>
                    <a:pt x="4278" y="4821"/>
                    <a:pt x="4179" y="4565"/>
                    <a:pt x="4081" y="4293"/>
                  </a:cubicBezTo>
                  <a:cubicBezTo>
                    <a:pt x="4831" y="4293"/>
                    <a:pt x="5679" y="4293"/>
                    <a:pt x="6528" y="4429"/>
                  </a:cubicBezTo>
                  <a:cubicBezTo>
                    <a:pt x="6909" y="4565"/>
                    <a:pt x="7277" y="5076"/>
                    <a:pt x="7659" y="4957"/>
                  </a:cubicBezTo>
                  <a:cubicBezTo>
                    <a:pt x="8126" y="4821"/>
                    <a:pt x="8408" y="3918"/>
                    <a:pt x="8876" y="3918"/>
                  </a:cubicBezTo>
                  <a:cubicBezTo>
                    <a:pt x="9343" y="3782"/>
                    <a:pt x="9810" y="4685"/>
                    <a:pt x="10191" y="4429"/>
                  </a:cubicBezTo>
                  <a:cubicBezTo>
                    <a:pt x="11408" y="3782"/>
                    <a:pt x="12158" y="2095"/>
                    <a:pt x="13289" y="1312"/>
                  </a:cubicBezTo>
                  <a:cubicBezTo>
                    <a:pt x="13670" y="1039"/>
                    <a:pt x="14039" y="1959"/>
                    <a:pt x="14420" y="1823"/>
                  </a:cubicBezTo>
                  <a:cubicBezTo>
                    <a:pt x="14973" y="1567"/>
                    <a:pt x="15170" y="528"/>
                    <a:pt x="15723" y="273"/>
                  </a:cubicBezTo>
                  <a:cubicBezTo>
                    <a:pt x="16006" y="136"/>
                    <a:pt x="16203" y="920"/>
                    <a:pt x="16485" y="920"/>
                  </a:cubicBezTo>
                  <a:cubicBezTo>
                    <a:pt x="16768" y="784"/>
                    <a:pt x="16854" y="0"/>
                    <a:pt x="17137" y="0"/>
                  </a:cubicBezTo>
                  <a:cubicBezTo>
                    <a:pt x="17887" y="273"/>
                    <a:pt x="18268" y="1431"/>
                    <a:pt x="18920" y="1567"/>
                  </a:cubicBezTo>
                  <a:cubicBezTo>
                    <a:pt x="19202" y="1703"/>
                    <a:pt x="19202" y="920"/>
                    <a:pt x="19301" y="664"/>
                  </a:cubicBezTo>
                  <a:cubicBezTo>
                    <a:pt x="19583" y="784"/>
                    <a:pt x="19866" y="784"/>
                    <a:pt x="20051" y="1039"/>
                  </a:cubicBezTo>
                  <a:cubicBezTo>
                    <a:pt x="20149" y="1431"/>
                    <a:pt x="19866" y="1959"/>
                    <a:pt x="19952" y="2351"/>
                  </a:cubicBezTo>
                  <a:cubicBezTo>
                    <a:pt x="20149" y="2743"/>
                    <a:pt x="20702" y="2487"/>
                    <a:pt x="20899" y="2879"/>
                  </a:cubicBezTo>
                  <a:cubicBezTo>
                    <a:pt x="21182" y="3390"/>
                    <a:pt x="21366" y="4174"/>
                    <a:pt x="21366" y="4821"/>
                  </a:cubicBezTo>
                  <a:cubicBezTo>
                    <a:pt x="21182" y="6115"/>
                    <a:pt x="20616" y="7291"/>
                    <a:pt x="20333" y="8603"/>
                  </a:cubicBezTo>
                  <a:cubicBezTo>
                    <a:pt x="20149" y="9505"/>
                    <a:pt x="20333" y="10544"/>
                    <a:pt x="20149" y="11328"/>
                  </a:cubicBezTo>
                  <a:cubicBezTo>
                    <a:pt x="19952" y="11975"/>
                    <a:pt x="19387" y="12112"/>
                    <a:pt x="19202" y="12759"/>
                  </a:cubicBezTo>
                  <a:cubicBezTo>
                    <a:pt x="18834" y="13543"/>
                    <a:pt x="18637" y="14445"/>
                    <a:pt x="18354" y="15365"/>
                  </a:cubicBezTo>
                  <a:cubicBezTo>
                    <a:pt x="18084" y="15093"/>
                    <a:pt x="17887" y="14701"/>
                    <a:pt x="17518" y="14582"/>
                  </a:cubicBezTo>
                  <a:cubicBezTo>
                    <a:pt x="17235" y="14445"/>
                    <a:pt x="16768" y="14326"/>
                    <a:pt x="16571" y="14701"/>
                  </a:cubicBezTo>
                  <a:cubicBezTo>
                    <a:pt x="16387" y="15093"/>
                    <a:pt x="16953" y="15757"/>
                    <a:pt x="16768" y="16268"/>
                  </a:cubicBezTo>
                  <a:cubicBezTo>
                    <a:pt x="16670" y="16524"/>
                    <a:pt x="16289" y="16268"/>
                    <a:pt x="16006" y="16268"/>
                  </a:cubicBezTo>
                  <a:cubicBezTo>
                    <a:pt x="15822" y="16404"/>
                    <a:pt x="15637" y="16660"/>
                    <a:pt x="15453" y="16524"/>
                  </a:cubicBezTo>
                  <a:cubicBezTo>
                    <a:pt x="15170" y="16524"/>
                    <a:pt x="14973" y="15876"/>
                    <a:pt x="14703" y="16013"/>
                  </a:cubicBezTo>
                  <a:cubicBezTo>
                    <a:pt x="14322" y="16149"/>
                    <a:pt x="14322" y="16796"/>
                    <a:pt x="14137" y="17307"/>
                  </a:cubicBezTo>
                  <a:cubicBezTo>
                    <a:pt x="13855" y="18091"/>
                    <a:pt x="13756" y="18874"/>
                    <a:pt x="13473" y="19522"/>
                  </a:cubicBezTo>
                  <a:cubicBezTo>
                    <a:pt x="13191" y="20169"/>
                    <a:pt x="12822" y="20561"/>
                    <a:pt x="12539" y="21089"/>
                  </a:cubicBezTo>
                  <a:cubicBezTo>
                    <a:pt x="9810" y="20953"/>
                    <a:pt x="9810" y="20953"/>
                    <a:pt x="9810" y="20953"/>
                  </a:cubicBezTo>
                  <a:cubicBezTo>
                    <a:pt x="9060" y="20953"/>
                    <a:pt x="8495" y="21600"/>
                    <a:pt x="7941" y="20050"/>
                  </a:cubicBezTo>
                  <a:cubicBezTo>
                    <a:pt x="7659" y="19777"/>
                    <a:pt x="6909" y="18619"/>
                    <a:pt x="6810" y="18091"/>
                  </a:cubicBezTo>
                  <a:cubicBezTo>
                    <a:pt x="6429" y="18091"/>
                    <a:pt x="5876" y="18738"/>
                    <a:pt x="5495" y="18874"/>
                  </a:cubicBezTo>
                  <a:cubicBezTo>
                    <a:pt x="4831" y="19130"/>
                    <a:pt x="4364" y="18483"/>
                    <a:pt x="3897" y="18346"/>
                  </a:cubicBezTo>
                  <a:cubicBezTo>
                    <a:pt x="3331" y="18227"/>
                    <a:pt x="2864" y="18227"/>
                    <a:pt x="2581" y="1834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5" name="Shape 2426">
              <a:extLst>
                <a:ext uri="{FF2B5EF4-FFF2-40B4-BE49-F238E27FC236}">
                  <a16:creationId xmlns:a16="http://schemas.microsoft.com/office/drawing/2014/main" id="{9515C0AC-B74E-F40A-7ED7-3754DA120916}"/>
                </a:ext>
              </a:extLst>
            </p:cNvPr>
            <p:cNvSpPr/>
            <p:nvPr/>
          </p:nvSpPr>
          <p:spPr>
            <a:xfrm>
              <a:off x="1848451" y="6482639"/>
              <a:ext cx="543778" cy="463237"/>
            </a:xfrm>
            <a:custGeom>
              <a:avLst/>
              <a:gdLst/>
              <a:ahLst/>
              <a:cxnLst>
                <a:cxn ang="0">
                  <a:pos x="wd2" y="hd2"/>
                </a:cxn>
                <a:cxn ang="5400000">
                  <a:pos x="wd2" y="hd2"/>
                </a:cxn>
                <a:cxn ang="10800000">
                  <a:pos x="wd2" y="hd2"/>
                </a:cxn>
                <a:cxn ang="16200000">
                  <a:pos x="wd2" y="hd2"/>
                </a:cxn>
              </a:cxnLst>
              <a:rect l="0" t="0" r="r" b="b"/>
              <a:pathLst>
                <a:path w="21427" h="21383" extrusionOk="0">
                  <a:moveTo>
                    <a:pt x="12696" y="1181"/>
                  </a:moveTo>
                  <a:cubicBezTo>
                    <a:pt x="16041" y="0"/>
                    <a:pt x="16041" y="0"/>
                    <a:pt x="16041" y="0"/>
                  </a:cubicBezTo>
                  <a:cubicBezTo>
                    <a:pt x="16652" y="109"/>
                    <a:pt x="17356" y="-124"/>
                    <a:pt x="17767" y="358"/>
                  </a:cubicBezTo>
                  <a:cubicBezTo>
                    <a:pt x="18073" y="715"/>
                    <a:pt x="17661" y="1306"/>
                    <a:pt x="17661" y="1772"/>
                  </a:cubicBezTo>
                  <a:cubicBezTo>
                    <a:pt x="17767" y="2254"/>
                    <a:pt x="17661" y="3201"/>
                    <a:pt x="18165" y="3326"/>
                  </a:cubicBezTo>
                  <a:cubicBezTo>
                    <a:pt x="18776" y="3435"/>
                    <a:pt x="19281" y="2611"/>
                    <a:pt x="19785" y="2129"/>
                  </a:cubicBezTo>
                  <a:lnTo>
                    <a:pt x="19891" y="3077"/>
                  </a:lnTo>
                  <a:cubicBezTo>
                    <a:pt x="19785" y="3201"/>
                    <a:pt x="19480" y="3792"/>
                    <a:pt x="19480" y="3792"/>
                  </a:cubicBezTo>
                  <a:cubicBezTo>
                    <a:pt x="19480" y="3792"/>
                    <a:pt x="19387" y="4631"/>
                    <a:pt x="19387" y="4740"/>
                  </a:cubicBezTo>
                  <a:lnTo>
                    <a:pt x="20090" y="5688"/>
                  </a:lnTo>
                  <a:cubicBezTo>
                    <a:pt x="20396" y="6294"/>
                    <a:pt x="20595" y="6993"/>
                    <a:pt x="20807" y="7599"/>
                  </a:cubicBezTo>
                  <a:cubicBezTo>
                    <a:pt x="20807" y="7599"/>
                    <a:pt x="21511" y="8423"/>
                    <a:pt x="21418" y="8423"/>
                  </a:cubicBezTo>
                  <a:cubicBezTo>
                    <a:pt x="21312" y="8547"/>
                    <a:pt x="20197" y="9371"/>
                    <a:pt x="20197" y="9371"/>
                  </a:cubicBezTo>
                  <a:cubicBezTo>
                    <a:pt x="19998" y="9604"/>
                    <a:pt x="19586" y="9728"/>
                    <a:pt x="19586" y="9961"/>
                  </a:cubicBezTo>
                  <a:cubicBezTo>
                    <a:pt x="19692" y="10567"/>
                    <a:pt x="20502" y="10800"/>
                    <a:pt x="20502" y="11391"/>
                  </a:cubicBezTo>
                  <a:cubicBezTo>
                    <a:pt x="20502" y="11748"/>
                    <a:pt x="19785" y="11624"/>
                    <a:pt x="19692" y="11981"/>
                  </a:cubicBezTo>
                  <a:cubicBezTo>
                    <a:pt x="19480" y="12572"/>
                    <a:pt x="19692" y="13178"/>
                    <a:pt x="19692" y="13768"/>
                  </a:cubicBezTo>
                  <a:cubicBezTo>
                    <a:pt x="19785" y="14592"/>
                    <a:pt x="19998" y="15540"/>
                    <a:pt x="19998" y="16379"/>
                  </a:cubicBezTo>
                  <a:cubicBezTo>
                    <a:pt x="19891" y="16845"/>
                    <a:pt x="19586" y="17094"/>
                    <a:pt x="19387" y="17451"/>
                  </a:cubicBezTo>
                  <a:cubicBezTo>
                    <a:pt x="19281" y="17684"/>
                    <a:pt x="19281" y="18399"/>
                    <a:pt x="18975" y="18275"/>
                  </a:cubicBezTo>
                  <a:cubicBezTo>
                    <a:pt x="18272" y="18151"/>
                    <a:pt x="17860" y="17094"/>
                    <a:pt x="17050" y="16845"/>
                  </a:cubicBezTo>
                  <a:cubicBezTo>
                    <a:pt x="16745" y="16845"/>
                    <a:pt x="16652" y="17560"/>
                    <a:pt x="16347" y="17684"/>
                  </a:cubicBezTo>
                  <a:cubicBezTo>
                    <a:pt x="16041" y="17684"/>
                    <a:pt x="15829" y="16970"/>
                    <a:pt x="15524" y="17094"/>
                  </a:cubicBezTo>
                  <a:cubicBezTo>
                    <a:pt x="14926" y="17327"/>
                    <a:pt x="14714" y="18275"/>
                    <a:pt x="14116" y="18508"/>
                  </a:cubicBezTo>
                  <a:cubicBezTo>
                    <a:pt x="13705" y="18632"/>
                    <a:pt x="13306" y="17793"/>
                    <a:pt x="12895" y="18042"/>
                  </a:cubicBezTo>
                  <a:cubicBezTo>
                    <a:pt x="11674" y="18757"/>
                    <a:pt x="10864" y="20295"/>
                    <a:pt x="9549" y="20885"/>
                  </a:cubicBezTo>
                  <a:cubicBezTo>
                    <a:pt x="9138" y="21119"/>
                    <a:pt x="8633" y="20295"/>
                    <a:pt x="8129" y="20419"/>
                  </a:cubicBezTo>
                  <a:cubicBezTo>
                    <a:pt x="7624" y="20419"/>
                    <a:pt x="7319" y="21243"/>
                    <a:pt x="6815" y="21367"/>
                  </a:cubicBezTo>
                  <a:cubicBezTo>
                    <a:pt x="6403" y="21476"/>
                    <a:pt x="6005" y="21010"/>
                    <a:pt x="5593" y="20885"/>
                  </a:cubicBezTo>
                  <a:cubicBezTo>
                    <a:pt x="4677" y="20761"/>
                    <a:pt x="3761" y="20761"/>
                    <a:pt x="2951" y="20761"/>
                  </a:cubicBezTo>
                  <a:cubicBezTo>
                    <a:pt x="2858" y="20528"/>
                    <a:pt x="2951" y="20171"/>
                    <a:pt x="2752" y="20171"/>
                  </a:cubicBezTo>
                  <a:cubicBezTo>
                    <a:pt x="2354" y="19938"/>
                    <a:pt x="1836" y="20295"/>
                    <a:pt x="1438" y="20171"/>
                  </a:cubicBezTo>
                  <a:cubicBezTo>
                    <a:pt x="1239" y="20062"/>
                    <a:pt x="1239" y="19471"/>
                    <a:pt x="1026" y="19471"/>
                  </a:cubicBezTo>
                  <a:cubicBezTo>
                    <a:pt x="721" y="19347"/>
                    <a:pt x="721" y="19938"/>
                    <a:pt x="522" y="20062"/>
                  </a:cubicBezTo>
                  <a:cubicBezTo>
                    <a:pt x="323" y="20062"/>
                    <a:pt x="17" y="19813"/>
                    <a:pt x="17" y="19580"/>
                  </a:cubicBezTo>
                  <a:cubicBezTo>
                    <a:pt x="-89" y="19471"/>
                    <a:pt x="323" y="19347"/>
                    <a:pt x="323" y="19114"/>
                  </a:cubicBezTo>
                  <a:cubicBezTo>
                    <a:pt x="323" y="18757"/>
                    <a:pt x="110" y="18508"/>
                    <a:pt x="110" y="18151"/>
                  </a:cubicBezTo>
                  <a:cubicBezTo>
                    <a:pt x="2248" y="17560"/>
                    <a:pt x="2248" y="17560"/>
                    <a:pt x="2248" y="17560"/>
                  </a:cubicBezTo>
                  <a:cubicBezTo>
                    <a:pt x="2752" y="17451"/>
                    <a:pt x="3164" y="18151"/>
                    <a:pt x="3761" y="17451"/>
                  </a:cubicBezTo>
                  <a:cubicBezTo>
                    <a:pt x="4372" y="16845"/>
                    <a:pt x="5288" y="16255"/>
                    <a:pt x="5699" y="15664"/>
                  </a:cubicBezTo>
                  <a:cubicBezTo>
                    <a:pt x="6005" y="15198"/>
                    <a:pt x="6098" y="14592"/>
                    <a:pt x="6602" y="14359"/>
                  </a:cubicBezTo>
                  <a:cubicBezTo>
                    <a:pt x="7213" y="14126"/>
                    <a:pt x="7717" y="14359"/>
                    <a:pt x="8235" y="13877"/>
                  </a:cubicBezTo>
                  <a:cubicBezTo>
                    <a:pt x="8633" y="13287"/>
                    <a:pt x="9244" y="12696"/>
                    <a:pt x="9656" y="12106"/>
                  </a:cubicBezTo>
                  <a:cubicBezTo>
                    <a:pt x="10864" y="10210"/>
                    <a:pt x="11474" y="9013"/>
                    <a:pt x="12284" y="6760"/>
                  </a:cubicBezTo>
                  <a:cubicBezTo>
                    <a:pt x="12390" y="6403"/>
                    <a:pt x="12390" y="5579"/>
                    <a:pt x="12483" y="5097"/>
                  </a:cubicBezTo>
                  <a:cubicBezTo>
                    <a:pt x="12590" y="4631"/>
                    <a:pt x="12789" y="4631"/>
                    <a:pt x="13001" y="4149"/>
                  </a:cubicBezTo>
                  <a:cubicBezTo>
                    <a:pt x="13306" y="3668"/>
                    <a:pt x="13001" y="2378"/>
                    <a:pt x="13001" y="1772"/>
                  </a:cubicBezTo>
                  <a:cubicBezTo>
                    <a:pt x="13399" y="1663"/>
                    <a:pt x="13811" y="1663"/>
                    <a:pt x="14209" y="1539"/>
                  </a:cubicBezTo>
                  <a:cubicBezTo>
                    <a:pt x="14209" y="1430"/>
                    <a:pt x="14209" y="1430"/>
                    <a:pt x="14209" y="1430"/>
                  </a:cubicBezTo>
                  <a:cubicBezTo>
                    <a:pt x="13904" y="1430"/>
                    <a:pt x="12789" y="1306"/>
                    <a:pt x="12696" y="118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6" name="Shape 2427">
              <a:extLst>
                <a:ext uri="{FF2B5EF4-FFF2-40B4-BE49-F238E27FC236}">
                  <a16:creationId xmlns:a16="http://schemas.microsoft.com/office/drawing/2014/main" id="{99CC0D38-17C8-858D-D3E4-43F8921F056C}"/>
                </a:ext>
              </a:extLst>
            </p:cNvPr>
            <p:cNvSpPr/>
            <p:nvPr/>
          </p:nvSpPr>
          <p:spPr>
            <a:xfrm>
              <a:off x="2565661" y="7351328"/>
              <a:ext cx="139386" cy="100500"/>
            </a:xfrm>
            <a:custGeom>
              <a:avLst/>
              <a:gdLst/>
              <a:ahLst/>
              <a:cxnLst>
                <a:cxn ang="0">
                  <a:pos x="wd2" y="hd2"/>
                </a:cxn>
                <a:cxn ang="5400000">
                  <a:pos x="wd2" y="hd2"/>
                </a:cxn>
                <a:cxn ang="10800000">
                  <a:pos x="wd2" y="hd2"/>
                </a:cxn>
                <a:cxn ang="16200000">
                  <a:pos x="wd2" y="hd2"/>
                </a:cxn>
              </a:cxnLst>
              <a:rect l="0" t="0" r="r" b="b"/>
              <a:pathLst>
                <a:path w="21371" h="21232" extrusionOk="0">
                  <a:moveTo>
                    <a:pt x="8432" y="1261"/>
                  </a:moveTo>
                  <a:cubicBezTo>
                    <a:pt x="10339" y="694"/>
                    <a:pt x="12350" y="-368"/>
                    <a:pt x="14308" y="128"/>
                  </a:cubicBezTo>
                  <a:cubicBezTo>
                    <a:pt x="15494" y="128"/>
                    <a:pt x="16680" y="1757"/>
                    <a:pt x="18226" y="2323"/>
                  </a:cubicBezTo>
                  <a:cubicBezTo>
                    <a:pt x="19051" y="2890"/>
                    <a:pt x="20237" y="2323"/>
                    <a:pt x="20598" y="3385"/>
                  </a:cubicBezTo>
                  <a:cubicBezTo>
                    <a:pt x="21371" y="5581"/>
                    <a:pt x="21010" y="8272"/>
                    <a:pt x="21371" y="10963"/>
                  </a:cubicBezTo>
                  <a:cubicBezTo>
                    <a:pt x="18226" y="12592"/>
                    <a:pt x="15907" y="15283"/>
                    <a:pt x="13896" y="21232"/>
                  </a:cubicBezTo>
                  <a:cubicBezTo>
                    <a:pt x="12350" y="19107"/>
                    <a:pt x="11525" y="15850"/>
                    <a:pt x="9617" y="14787"/>
                  </a:cubicBezTo>
                  <a:cubicBezTo>
                    <a:pt x="8071" y="14221"/>
                    <a:pt x="6885" y="17479"/>
                    <a:pt x="5699" y="16912"/>
                  </a:cubicBezTo>
                  <a:cubicBezTo>
                    <a:pt x="4101" y="15850"/>
                    <a:pt x="4514" y="12592"/>
                    <a:pt x="3740" y="11530"/>
                  </a:cubicBezTo>
                  <a:cubicBezTo>
                    <a:pt x="2967" y="9901"/>
                    <a:pt x="1369" y="9901"/>
                    <a:pt x="183" y="8839"/>
                  </a:cubicBezTo>
                  <a:cubicBezTo>
                    <a:pt x="183" y="7210"/>
                    <a:pt x="-229" y="5581"/>
                    <a:pt x="183" y="3952"/>
                  </a:cubicBezTo>
                  <a:cubicBezTo>
                    <a:pt x="957" y="2323"/>
                    <a:pt x="2555" y="1757"/>
                    <a:pt x="3740" y="1757"/>
                  </a:cubicBezTo>
                  <a:cubicBezTo>
                    <a:pt x="4926" y="1757"/>
                    <a:pt x="5699" y="3952"/>
                    <a:pt x="6473" y="3952"/>
                  </a:cubicBezTo>
                  <a:cubicBezTo>
                    <a:pt x="7658" y="3952"/>
                    <a:pt x="7658" y="1757"/>
                    <a:pt x="8432" y="12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7" name="Shape 2428">
              <a:extLst>
                <a:ext uri="{FF2B5EF4-FFF2-40B4-BE49-F238E27FC236}">
                  <a16:creationId xmlns:a16="http://schemas.microsoft.com/office/drawing/2014/main" id="{BEB036ED-D99D-E6A9-47DA-D7484AB59FEE}"/>
                </a:ext>
              </a:extLst>
            </p:cNvPr>
            <p:cNvSpPr/>
            <p:nvPr/>
          </p:nvSpPr>
          <p:spPr>
            <a:xfrm>
              <a:off x="2394708" y="7389728"/>
              <a:ext cx="262770" cy="126053"/>
            </a:xfrm>
            <a:custGeom>
              <a:avLst/>
              <a:gdLst/>
              <a:ahLst/>
              <a:cxnLst>
                <a:cxn ang="0">
                  <a:pos x="wd2" y="hd2"/>
                </a:cxn>
                <a:cxn ang="5400000">
                  <a:pos x="wd2" y="hd2"/>
                </a:cxn>
                <a:cxn ang="10800000">
                  <a:pos x="wd2" y="hd2"/>
                </a:cxn>
                <a:cxn ang="16200000">
                  <a:pos x="wd2" y="hd2"/>
                </a:cxn>
              </a:cxnLst>
              <a:rect l="0" t="0" r="r" b="b"/>
              <a:pathLst>
                <a:path w="21600" h="20867" extrusionOk="0">
                  <a:moveTo>
                    <a:pt x="7857" y="0"/>
                  </a:moveTo>
                  <a:cubicBezTo>
                    <a:pt x="8690" y="389"/>
                    <a:pt x="9773" y="1666"/>
                    <a:pt x="10828" y="1666"/>
                  </a:cubicBezTo>
                  <a:cubicBezTo>
                    <a:pt x="11883" y="1666"/>
                    <a:pt x="13160" y="1222"/>
                    <a:pt x="14215" y="833"/>
                  </a:cubicBezTo>
                  <a:cubicBezTo>
                    <a:pt x="14853" y="1666"/>
                    <a:pt x="15714" y="1666"/>
                    <a:pt x="16131" y="2943"/>
                  </a:cubicBezTo>
                  <a:cubicBezTo>
                    <a:pt x="16547" y="3776"/>
                    <a:pt x="16325" y="6330"/>
                    <a:pt x="17186" y="7163"/>
                  </a:cubicBezTo>
                  <a:cubicBezTo>
                    <a:pt x="17824" y="7607"/>
                    <a:pt x="18463" y="5053"/>
                    <a:pt x="19296" y="5497"/>
                  </a:cubicBezTo>
                  <a:cubicBezTo>
                    <a:pt x="20323" y="6330"/>
                    <a:pt x="20767" y="8884"/>
                    <a:pt x="21600" y="10550"/>
                  </a:cubicBezTo>
                  <a:cubicBezTo>
                    <a:pt x="21600" y="10994"/>
                    <a:pt x="21600" y="11439"/>
                    <a:pt x="21406" y="11827"/>
                  </a:cubicBezTo>
                  <a:cubicBezTo>
                    <a:pt x="19684" y="21600"/>
                    <a:pt x="20323" y="18213"/>
                    <a:pt x="14853" y="20323"/>
                  </a:cubicBezTo>
                  <a:cubicBezTo>
                    <a:pt x="11466" y="21600"/>
                    <a:pt x="3609" y="21156"/>
                    <a:pt x="2332" y="13104"/>
                  </a:cubicBezTo>
                  <a:cubicBezTo>
                    <a:pt x="1694" y="10550"/>
                    <a:pt x="861" y="9717"/>
                    <a:pt x="0" y="8884"/>
                  </a:cubicBezTo>
                  <a:cubicBezTo>
                    <a:pt x="1055" y="7607"/>
                    <a:pt x="2749" y="4220"/>
                    <a:pt x="4026" y="3387"/>
                  </a:cubicBezTo>
                  <a:cubicBezTo>
                    <a:pt x="4470" y="2943"/>
                    <a:pt x="5081" y="4609"/>
                    <a:pt x="5525" y="4220"/>
                  </a:cubicBezTo>
                  <a:cubicBezTo>
                    <a:pt x="6358" y="3387"/>
                    <a:pt x="6996" y="1222"/>
                    <a:pt x="785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8" name="Shape 2429">
              <a:extLst>
                <a:ext uri="{FF2B5EF4-FFF2-40B4-BE49-F238E27FC236}">
                  <a16:creationId xmlns:a16="http://schemas.microsoft.com/office/drawing/2014/main" id="{AEA282AE-7190-1480-609A-602CC0A92AFE}"/>
                </a:ext>
              </a:extLst>
            </p:cNvPr>
            <p:cNvSpPr/>
            <p:nvPr/>
          </p:nvSpPr>
          <p:spPr>
            <a:xfrm>
              <a:off x="2918817" y="7263367"/>
              <a:ext cx="213859" cy="209270"/>
            </a:xfrm>
            <a:custGeom>
              <a:avLst/>
              <a:gdLst/>
              <a:ahLst/>
              <a:cxnLst>
                <a:cxn ang="0">
                  <a:pos x="wd2" y="hd2"/>
                </a:cxn>
                <a:cxn ang="5400000">
                  <a:pos x="wd2" y="hd2"/>
                </a:cxn>
                <a:cxn ang="10800000">
                  <a:pos x="wd2" y="hd2"/>
                </a:cxn>
                <a:cxn ang="16200000">
                  <a:pos x="wd2" y="hd2"/>
                </a:cxn>
              </a:cxnLst>
              <a:rect l="0" t="0" r="r" b="b"/>
              <a:pathLst>
                <a:path w="20888" h="21600" extrusionOk="0">
                  <a:moveTo>
                    <a:pt x="7299" y="0"/>
                  </a:moveTo>
                  <a:cubicBezTo>
                    <a:pt x="6543" y="1082"/>
                    <a:pt x="5556" y="2129"/>
                    <a:pt x="5030" y="3489"/>
                  </a:cubicBezTo>
                  <a:cubicBezTo>
                    <a:pt x="4537" y="5339"/>
                    <a:pt x="2269" y="5862"/>
                    <a:pt x="1512" y="7747"/>
                  </a:cubicBezTo>
                  <a:cubicBezTo>
                    <a:pt x="1019" y="9073"/>
                    <a:pt x="526" y="10678"/>
                    <a:pt x="0" y="12004"/>
                  </a:cubicBezTo>
                  <a:cubicBezTo>
                    <a:pt x="526" y="13330"/>
                    <a:pt x="-230" y="12527"/>
                    <a:pt x="756" y="13330"/>
                  </a:cubicBezTo>
                  <a:cubicBezTo>
                    <a:pt x="1775" y="13853"/>
                    <a:pt x="2762" y="13086"/>
                    <a:pt x="3781" y="13330"/>
                  </a:cubicBezTo>
                  <a:cubicBezTo>
                    <a:pt x="4537" y="13609"/>
                    <a:pt x="4537" y="14656"/>
                    <a:pt x="5293" y="14935"/>
                  </a:cubicBezTo>
                  <a:cubicBezTo>
                    <a:pt x="5786" y="15214"/>
                    <a:pt x="6806" y="14656"/>
                    <a:pt x="7299" y="15214"/>
                  </a:cubicBezTo>
                  <a:cubicBezTo>
                    <a:pt x="7792" y="15738"/>
                    <a:pt x="7792" y="16540"/>
                    <a:pt x="7792" y="17343"/>
                  </a:cubicBezTo>
                  <a:cubicBezTo>
                    <a:pt x="7792" y="17866"/>
                    <a:pt x="7036" y="17866"/>
                    <a:pt x="7036" y="18390"/>
                  </a:cubicBezTo>
                  <a:cubicBezTo>
                    <a:pt x="6806" y="19192"/>
                    <a:pt x="7036" y="19995"/>
                    <a:pt x="7299" y="20797"/>
                  </a:cubicBezTo>
                  <a:cubicBezTo>
                    <a:pt x="8548" y="21077"/>
                    <a:pt x="9567" y="21600"/>
                    <a:pt x="11047" y="21600"/>
                  </a:cubicBezTo>
                  <a:cubicBezTo>
                    <a:pt x="12559" y="21600"/>
                    <a:pt x="14071" y="20274"/>
                    <a:pt x="15847" y="20274"/>
                  </a:cubicBezTo>
                  <a:cubicBezTo>
                    <a:pt x="16833" y="20274"/>
                    <a:pt x="17852" y="20797"/>
                    <a:pt x="18838" y="21077"/>
                  </a:cubicBezTo>
                  <a:cubicBezTo>
                    <a:pt x="18838" y="19716"/>
                    <a:pt x="19332" y="18111"/>
                    <a:pt x="19102" y="16784"/>
                  </a:cubicBezTo>
                  <a:cubicBezTo>
                    <a:pt x="18838" y="15738"/>
                    <a:pt x="17096" y="15458"/>
                    <a:pt x="17326" y="14656"/>
                  </a:cubicBezTo>
                  <a:cubicBezTo>
                    <a:pt x="17852" y="13330"/>
                    <a:pt x="20088" y="13609"/>
                    <a:pt x="20614" y="12283"/>
                  </a:cubicBezTo>
                  <a:cubicBezTo>
                    <a:pt x="21370" y="10678"/>
                    <a:pt x="20351" y="9317"/>
                    <a:pt x="20088" y="7747"/>
                  </a:cubicBezTo>
                  <a:cubicBezTo>
                    <a:pt x="18082" y="7188"/>
                    <a:pt x="15847" y="7468"/>
                    <a:pt x="14334" y="6142"/>
                  </a:cubicBezTo>
                  <a:cubicBezTo>
                    <a:pt x="13315" y="5339"/>
                    <a:pt x="14334" y="2931"/>
                    <a:pt x="13315" y="2129"/>
                  </a:cubicBezTo>
                  <a:cubicBezTo>
                    <a:pt x="12329" y="1326"/>
                    <a:pt x="10554" y="2408"/>
                    <a:pt x="9304" y="1884"/>
                  </a:cubicBezTo>
                  <a:cubicBezTo>
                    <a:pt x="8811" y="1884"/>
                    <a:pt x="9567" y="1082"/>
                    <a:pt x="9304" y="803"/>
                  </a:cubicBezTo>
                  <a:cubicBezTo>
                    <a:pt x="8055" y="0"/>
                    <a:pt x="8548" y="523"/>
                    <a:pt x="7299"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9" name="Shape 2430">
              <a:extLst>
                <a:ext uri="{FF2B5EF4-FFF2-40B4-BE49-F238E27FC236}">
                  <a16:creationId xmlns:a16="http://schemas.microsoft.com/office/drawing/2014/main" id="{9EA763FB-3FAF-C5A9-6FBE-57758030C9D6}"/>
                </a:ext>
              </a:extLst>
            </p:cNvPr>
            <p:cNvSpPr/>
            <p:nvPr/>
          </p:nvSpPr>
          <p:spPr>
            <a:xfrm>
              <a:off x="2901596" y="7379320"/>
              <a:ext cx="97771" cy="111156"/>
            </a:xfrm>
            <a:custGeom>
              <a:avLst/>
              <a:gdLst/>
              <a:ahLst/>
              <a:cxnLst>
                <a:cxn ang="0">
                  <a:pos x="wd2" y="hd2"/>
                </a:cxn>
                <a:cxn ang="5400000">
                  <a:pos x="wd2" y="hd2"/>
                </a:cxn>
                <a:cxn ang="10800000">
                  <a:pos x="wd2" y="hd2"/>
                </a:cxn>
                <a:cxn ang="16200000">
                  <a:pos x="wd2" y="hd2"/>
                </a:cxn>
              </a:cxnLst>
              <a:rect l="0" t="0" r="r" b="b"/>
              <a:pathLst>
                <a:path w="21600" h="21600" extrusionOk="0">
                  <a:moveTo>
                    <a:pt x="3948" y="0"/>
                  </a:moveTo>
                  <a:cubicBezTo>
                    <a:pt x="5139" y="2502"/>
                    <a:pt x="3426" y="988"/>
                    <a:pt x="5661" y="2502"/>
                  </a:cubicBezTo>
                  <a:cubicBezTo>
                    <a:pt x="7970" y="3490"/>
                    <a:pt x="10204" y="2041"/>
                    <a:pt x="12513" y="2502"/>
                  </a:cubicBezTo>
                  <a:cubicBezTo>
                    <a:pt x="14226" y="3029"/>
                    <a:pt x="14226" y="5005"/>
                    <a:pt x="15939" y="5532"/>
                  </a:cubicBezTo>
                  <a:cubicBezTo>
                    <a:pt x="17057" y="6059"/>
                    <a:pt x="19366" y="5005"/>
                    <a:pt x="20483" y="6059"/>
                  </a:cubicBezTo>
                  <a:cubicBezTo>
                    <a:pt x="21600" y="7046"/>
                    <a:pt x="21600" y="8561"/>
                    <a:pt x="21600" y="10076"/>
                  </a:cubicBezTo>
                  <a:cubicBezTo>
                    <a:pt x="21600" y="11063"/>
                    <a:pt x="19887" y="11063"/>
                    <a:pt x="19887" y="12051"/>
                  </a:cubicBezTo>
                  <a:cubicBezTo>
                    <a:pt x="19366" y="13566"/>
                    <a:pt x="19887" y="15080"/>
                    <a:pt x="20483" y="16595"/>
                  </a:cubicBezTo>
                  <a:cubicBezTo>
                    <a:pt x="19887" y="17583"/>
                    <a:pt x="19887" y="19098"/>
                    <a:pt x="18770" y="19624"/>
                  </a:cubicBezTo>
                  <a:cubicBezTo>
                    <a:pt x="18174" y="20151"/>
                    <a:pt x="17057" y="19098"/>
                    <a:pt x="15939" y="19624"/>
                  </a:cubicBezTo>
                  <a:cubicBezTo>
                    <a:pt x="14822" y="19624"/>
                    <a:pt x="14226" y="20612"/>
                    <a:pt x="13630" y="21600"/>
                  </a:cubicBezTo>
                  <a:cubicBezTo>
                    <a:pt x="11396" y="20612"/>
                    <a:pt x="8491" y="21139"/>
                    <a:pt x="7374" y="19098"/>
                  </a:cubicBezTo>
                  <a:cubicBezTo>
                    <a:pt x="6257" y="18110"/>
                    <a:pt x="7970" y="16595"/>
                    <a:pt x="7970" y="15080"/>
                  </a:cubicBezTo>
                  <a:cubicBezTo>
                    <a:pt x="7970" y="13566"/>
                    <a:pt x="8491" y="11524"/>
                    <a:pt x="7374" y="10076"/>
                  </a:cubicBezTo>
                  <a:cubicBezTo>
                    <a:pt x="6778" y="9022"/>
                    <a:pt x="4543" y="9022"/>
                    <a:pt x="3426" y="8034"/>
                  </a:cubicBezTo>
                  <a:cubicBezTo>
                    <a:pt x="1117" y="6520"/>
                    <a:pt x="1713" y="7046"/>
                    <a:pt x="0" y="5005"/>
                  </a:cubicBezTo>
                  <a:cubicBezTo>
                    <a:pt x="1713" y="4017"/>
                    <a:pt x="2830" y="2041"/>
                    <a:pt x="3948"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0" name="Shape 2431">
              <a:extLst>
                <a:ext uri="{FF2B5EF4-FFF2-40B4-BE49-F238E27FC236}">
                  <a16:creationId xmlns:a16="http://schemas.microsoft.com/office/drawing/2014/main" id="{D7657557-845D-90F5-2D26-BDD4096AE85F}"/>
                </a:ext>
              </a:extLst>
            </p:cNvPr>
            <p:cNvSpPr/>
            <p:nvPr/>
          </p:nvSpPr>
          <p:spPr>
            <a:xfrm>
              <a:off x="3375922" y="7233637"/>
              <a:ext cx="124387" cy="174014"/>
            </a:xfrm>
            <a:custGeom>
              <a:avLst/>
              <a:gdLst/>
              <a:ahLst/>
              <a:cxnLst>
                <a:cxn ang="0">
                  <a:pos x="wd2" y="hd2"/>
                </a:cxn>
                <a:cxn ang="5400000">
                  <a:pos x="wd2" y="hd2"/>
                </a:cxn>
                <a:cxn ang="10800000">
                  <a:pos x="wd2" y="hd2"/>
                </a:cxn>
                <a:cxn ang="16200000">
                  <a:pos x="wd2" y="hd2"/>
                </a:cxn>
              </a:cxnLst>
              <a:rect l="0" t="0" r="r" b="b"/>
              <a:pathLst>
                <a:path w="21321" h="21469" extrusionOk="0">
                  <a:moveTo>
                    <a:pt x="5884" y="2243"/>
                  </a:moveTo>
                  <a:cubicBezTo>
                    <a:pt x="6748" y="2534"/>
                    <a:pt x="7670" y="2866"/>
                    <a:pt x="8534" y="2866"/>
                  </a:cubicBezTo>
                  <a:cubicBezTo>
                    <a:pt x="9859" y="2866"/>
                    <a:pt x="11183" y="2866"/>
                    <a:pt x="12047" y="2243"/>
                  </a:cubicBezTo>
                  <a:cubicBezTo>
                    <a:pt x="12969" y="1911"/>
                    <a:pt x="12969" y="623"/>
                    <a:pt x="13372" y="332"/>
                  </a:cubicBezTo>
                  <a:cubicBezTo>
                    <a:pt x="14236" y="0"/>
                    <a:pt x="14697" y="0"/>
                    <a:pt x="15561" y="0"/>
                  </a:cubicBezTo>
                  <a:cubicBezTo>
                    <a:pt x="15158" y="332"/>
                    <a:pt x="14697" y="955"/>
                    <a:pt x="14697" y="1288"/>
                  </a:cubicBezTo>
                  <a:cubicBezTo>
                    <a:pt x="14236" y="2243"/>
                    <a:pt x="14236" y="3198"/>
                    <a:pt x="14236" y="3822"/>
                  </a:cubicBezTo>
                  <a:cubicBezTo>
                    <a:pt x="14697" y="4777"/>
                    <a:pt x="16886" y="5400"/>
                    <a:pt x="16886" y="6355"/>
                  </a:cubicBezTo>
                  <a:cubicBezTo>
                    <a:pt x="16483" y="7643"/>
                    <a:pt x="13833" y="7934"/>
                    <a:pt x="13372" y="8889"/>
                  </a:cubicBezTo>
                  <a:cubicBezTo>
                    <a:pt x="13372" y="10177"/>
                    <a:pt x="13372" y="11423"/>
                    <a:pt x="14697" y="12378"/>
                  </a:cubicBezTo>
                  <a:cubicBezTo>
                    <a:pt x="15561" y="13334"/>
                    <a:pt x="17347" y="13002"/>
                    <a:pt x="18671" y="13957"/>
                  </a:cubicBezTo>
                  <a:cubicBezTo>
                    <a:pt x="19996" y="14912"/>
                    <a:pt x="20399" y="16823"/>
                    <a:pt x="21321" y="18111"/>
                  </a:cubicBezTo>
                  <a:cubicBezTo>
                    <a:pt x="17347" y="19066"/>
                    <a:pt x="13833" y="20645"/>
                    <a:pt x="9398" y="21268"/>
                  </a:cubicBezTo>
                  <a:cubicBezTo>
                    <a:pt x="7670" y="21600"/>
                    <a:pt x="5020" y="21600"/>
                    <a:pt x="3235" y="20645"/>
                  </a:cubicBezTo>
                  <a:cubicBezTo>
                    <a:pt x="1967" y="19689"/>
                    <a:pt x="1507" y="18111"/>
                    <a:pt x="1046" y="16823"/>
                  </a:cubicBezTo>
                  <a:cubicBezTo>
                    <a:pt x="182" y="15535"/>
                    <a:pt x="-279" y="13957"/>
                    <a:pt x="182" y="12711"/>
                  </a:cubicBezTo>
                  <a:cubicBezTo>
                    <a:pt x="182" y="12046"/>
                    <a:pt x="1507" y="11755"/>
                    <a:pt x="1507" y="11091"/>
                  </a:cubicBezTo>
                  <a:cubicBezTo>
                    <a:pt x="1967" y="9512"/>
                    <a:pt x="182" y="8266"/>
                    <a:pt x="1046" y="6978"/>
                  </a:cubicBezTo>
                  <a:cubicBezTo>
                    <a:pt x="1967" y="6023"/>
                    <a:pt x="4559" y="6688"/>
                    <a:pt x="5481" y="6023"/>
                  </a:cubicBezTo>
                  <a:cubicBezTo>
                    <a:pt x="6345" y="5400"/>
                    <a:pt x="4559" y="4777"/>
                    <a:pt x="4559" y="4112"/>
                  </a:cubicBezTo>
                  <a:cubicBezTo>
                    <a:pt x="5020" y="3489"/>
                    <a:pt x="5481" y="2866"/>
                    <a:pt x="5884" y="224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1" name="Shape 2432">
              <a:extLst>
                <a:ext uri="{FF2B5EF4-FFF2-40B4-BE49-F238E27FC236}">
                  <a16:creationId xmlns:a16="http://schemas.microsoft.com/office/drawing/2014/main" id="{27928788-0FE2-B9B8-A366-2C5B6116E975}"/>
                </a:ext>
              </a:extLst>
            </p:cNvPr>
            <p:cNvSpPr/>
            <p:nvPr/>
          </p:nvSpPr>
          <p:spPr>
            <a:xfrm>
              <a:off x="3514024" y="7348103"/>
              <a:ext cx="307459" cy="192894"/>
            </a:xfrm>
            <a:custGeom>
              <a:avLst/>
              <a:gdLst/>
              <a:ahLst/>
              <a:cxnLst>
                <a:cxn ang="0">
                  <a:pos x="wd2" y="hd2"/>
                </a:cxn>
                <a:cxn ang="5400000">
                  <a:pos x="wd2" y="hd2"/>
                </a:cxn>
                <a:cxn ang="10800000">
                  <a:pos x="wd2" y="hd2"/>
                </a:cxn>
                <a:cxn ang="16200000">
                  <a:pos x="wd2" y="hd2"/>
                </a:cxn>
              </a:cxnLst>
              <a:rect l="0" t="0" r="r" b="b"/>
              <a:pathLst>
                <a:path w="21503" h="21270" extrusionOk="0">
                  <a:moveTo>
                    <a:pt x="2688" y="21005"/>
                  </a:moveTo>
                  <a:cubicBezTo>
                    <a:pt x="2877" y="19890"/>
                    <a:pt x="3231" y="18737"/>
                    <a:pt x="2877" y="17622"/>
                  </a:cubicBezTo>
                  <a:cubicBezTo>
                    <a:pt x="2688" y="16767"/>
                    <a:pt x="1792" y="16470"/>
                    <a:pt x="1438" y="15614"/>
                  </a:cubicBezTo>
                  <a:cubicBezTo>
                    <a:pt x="1085" y="14797"/>
                    <a:pt x="354" y="13941"/>
                    <a:pt x="354" y="13086"/>
                  </a:cubicBezTo>
                  <a:cubicBezTo>
                    <a:pt x="542" y="12231"/>
                    <a:pt x="1627" y="12789"/>
                    <a:pt x="1792" y="12231"/>
                  </a:cubicBezTo>
                  <a:cubicBezTo>
                    <a:pt x="2146" y="11636"/>
                    <a:pt x="2146" y="10781"/>
                    <a:pt x="1981" y="9926"/>
                  </a:cubicBezTo>
                  <a:cubicBezTo>
                    <a:pt x="1627" y="9108"/>
                    <a:pt x="896" y="8514"/>
                    <a:pt x="707" y="7659"/>
                  </a:cubicBezTo>
                  <a:cubicBezTo>
                    <a:pt x="354" y="6246"/>
                    <a:pt x="165" y="4573"/>
                    <a:pt x="0" y="3123"/>
                  </a:cubicBezTo>
                  <a:cubicBezTo>
                    <a:pt x="354" y="2268"/>
                    <a:pt x="354" y="855"/>
                    <a:pt x="896" y="558"/>
                  </a:cubicBezTo>
                  <a:cubicBezTo>
                    <a:pt x="1627" y="297"/>
                    <a:pt x="2146" y="855"/>
                    <a:pt x="2688" y="1152"/>
                  </a:cubicBezTo>
                  <a:cubicBezTo>
                    <a:pt x="3419" y="1413"/>
                    <a:pt x="3773" y="2565"/>
                    <a:pt x="4504" y="2565"/>
                  </a:cubicBezTo>
                  <a:cubicBezTo>
                    <a:pt x="5211" y="2565"/>
                    <a:pt x="6107" y="2008"/>
                    <a:pt x="6838" y="1413"/>
                  </a:cubicBezTo>
                  <a:cubicBezTo>
                    <a:pt x="7381" y="1413"/>
                    <a:pt x="7923" y="855"/>
                    <a:pt x="8466" y="855"/>
                  </a:cubicBezTo>
                  <a:cubicBezTo>
                    <a:pt x="8466" y="855"/>
                    <a:pt x="8631" y="1152"/>
                    <a:pt x="8819" y="1152"/>
                  </a:cubicBezTo>
                  <a:cubicBezTo>
                    <a:pt x="9008" y="855"/>
                    <a:pt x="9008" y="0"/>
                    <a:pt x="9362" y="0"/>
                  </a:cubicBezTo>
                  <a:cubicBezTo>
                    <a:pt x="10446" y="297"/>
                    <a:pt x="11531" y="1413"/>
                    <a:pt x="12592" y="2268"/>
                  </a:cubicBezTo>
                  <a:cubicBezTo>
                    <a:pt x="12969" y="2565"/>
                    <a:pt x="13512" y="3123"/>
                    <a:pt x="14031" y="3123"/>
                  </a:cubicBezTo>
                  <a:cubicBezTo>
                    <a:pt x="14762" y="2863"/>
                    <a:pt x="15493" y="1413"/>
                    <a:pt x="16200" y="1710"/>
                  </a:cubicBezTo>
                  <a:cubicBezTo>
                    <a:pt x="16742" y="2008"/>
                    <a:pt x="16035" y="3420"/>
                    <a:pt x="16200" y="3978"/>
                  </a:cubicBezTo>
                  <a:cubicBezTo>
                    <a:pt x="16389" y="5130"/>
                    <a:pt x="16931" y="6543"/>
                    <a:pt x="17638" y="7101"/>
                  </a:cubicBezTo>
                  <a:cubicBezTo>
                    <a:pt x="18181" y="7398"/>
                    <a:pt x="18912" y="6246"/>
                    <a:pt x="19454" y="6543"/>
                  </a:cubicBezTo>
                  <a:cubicBezTo>
                    <a:pt x="19808" y="6841"/>
                    <a:pt x="19808" y="7659"/>
                    <a:pt x="19997" y="8253"/>
                  </a:cubicBezTo>
                  <a:cubicBezTo>
                    <a:pt x="19808" y="8811"/>
                    <a:pt x="19454" y="9369"/>
                    <a:pt x="19454" y="10224"/>
                  </a:cubicBezTo>
                  <a:cubicBezTo>
                    <a:pt x="19454" y="10781"/>
                    <a:pt x="20162" y="10521"/>
                    <a:pt x="20350" y="10781"/>
                  </a:cubicBezTo>
                  <a:cubicBezTo>
                    <a:pt x="20704" y="11636"/>
                    <a:pt x="20893" y="12492"/>
                    <a:pt x="21246" y="13347"/>
                  </a:cubicBezTo>
                  <a:cubicBezTo>
                    <a:pt x="21058" y="13941"/>
                    <a:pt x="20704" y="14499"/>
                    <a:pt x="20893" y="15354"/>
                  </a:cubicBezTo>
                  <a:cubicBezTo>
                    <a:pt x="20893" y="15912"/>
                    <a:pt x="21435" y="16209"/>
                    <a:pt x="21435" y="17064"/>
                  </a:cubicBezTo>
                  <a:cubicBezTo>
                    <a:pt x="21600" y="17622"/>
                    <a:pt x="21435" y="18180"/>
                    <a:pt x="21246" y="18737"/>
                  </a:cubicBezTo>
                  <a:cubicBezTo>
                    <a:pt x="20704" y="18737"/>
                    <a:pt x="20162" y="19332"/>
                    <a:pt x="19619" y="19035"/>
                  </a:cubicBezTo>
                  <a:cubicBezTo>
                    <a:pt x="18912" y="18737"/>
                    <a:pt x="18558" y="17064"/>
                    <a:pt x="17827" y="16767"/>
                  </a:cubicBezTo>
                  <a:cubicBezTo>
                    <a:pt x="17638" y="16470"/>
                    <a:pt x="17285" y="16767"/>
                    <a:pt x="16931" y="17325"/>
                  </a:cubicBezTo>
                  <a:cubicBezTo>
                    <a:pt x="16742" y="17622"/>
                    <a:pt x="16931" y="18737"/>
                    <a:pt x="16742" y="18737"/>
                  </a:cubicBezTo>
                  <a:cubicBezTo>
                    <a:pt x="16035" y="19035"/>
                    <a:pt x="15493" y="18477"/>
                    <a:pt x="14762" y="18180"/>
                  </a:cubicBezTo>
                  <a:cubicBezTo>
                    <a:pt x="11885" y="17882"/>
                    <a:pt x="9173" y="17064"/>
                    <a:pt x="6296" y="17325"/>
                  </a:cubicBezTo>
                  <a:cubicBezTo>
                    <a:pt x="5754" y="17325"/>
                    <a:pt x="5211" y="18477"/>
                    <a:pt x="5046" y="19332"/>
                  </a:cubicBezTo>
                  <a:cubicBezTo>
                    <a:pt x="5046" y="19890"/>
                    <a:pt x="5754" y="20745"/>
                    <a:pt x="5400" y="21005"/>
                  </a:cubicBezTo>
                  <a:cubicBezTo>
                    <a:pt x="4669" y="21600"/>
                    <a:pt x="3608" y="21005"/>
                    <a:pt x="2688" y="2100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2" name="Shape 2433">
              <a:extLst>
                <a:ext uri="{FF2B5EF4-FFF2-40B4-BE49-F238E27FC236}">
                  <a16:creationId xmlns:a16="http://schemas.microsoft.com/office/drawing/2014/main" id="{742C7F3B-8C8C-F89A-B51C-FB91643F588F}"/>
                </a:ext>
              </a:extLst>
            </p:cNvPr>
            <p:cNvSpPr/>
            <p:nvPr/>
          </p:nvSpPr>
          <p:spPr>
            <a:xfrm>
              <a:off x="3791993" y="7406587"/>
              <a:ext cx="62094" cy="71328"/>
            </a:xfrm>
            <a:custGeom>
              <a:avLst/>
              <a:gdLst/>
              <a:ahLst/>
              <a:cxnLst>
                <a:cxn ang="0">
                  <a:pos x="wd2" y="hd2"/>
                </a:cxn>
                <a:cxn ang="5400000">
                  <a:pos x="wd2" y="hd2"/>
                </a:cxn>
                <a:cxn ang="10800000">
                  <a:pos x="wd2" y="hd2"/>
                </a:cxn>
                <a:cxn ang="16200000">
                  <a:pos x="wd2" y="hd2"/>
                </a:cxn>
              </a:cxnLst>
              <a:rect l="0" t="0" r="r" b="b"/>
              <a:pathLst>
                <a:path w="21600" h="20413" extrusionOk="0">
                  <a:moveTo>
                    <a:pt x="2715" y="4683"/>
                  </a:moveTo>
                  <a:cubicBezTo>
                    <a:pt x="4485" y="5364"/>
                    <a:pt x="6256" y="6921"/>
                    <a:pt x="8026" y="6143"/>
                  </a:cubicBezTo>
                  <a:cubicBezTo>
                    <a:pt x="9915" y="5364"/>
                    <a:pt x="8026" y="3126"/>
                    <a:pt x="9915" y="2445"/>
                  </a:cubicBezTo>
                  <a:cubicBezTo>
                    <a:pt x="11685" y="986"/>
                    <a:pt x="14400" y="-571"/>
                    <a:pt x="17115" y="207"/>
                  </a:cubicBezTo>
                  <a:cubicBezTo>
                    <a:pt x="18885" y="207"/>
                    <a:pt x="17115" y="3126"/>
                    <a:pt x="18059" y="3905"/>
                  </a:cubicBezTo>
                  <a:cubicBezTo>
                    <a:pt x="18885" y="6143"/>
                    <a:pt x="19830" y="6921"/>
                    <a:pt x="21600" y="8380"/>
                  </a:cubicBezTo>
                  <a:cubicBezTo>
                    <a:pt x="19830" y="9840"/>
                    <a:pt x="18885" y="10618"/>
                    <a:pt x="18059" y="12078"/>
                  </a:cubicBezTo>
                  <a:cubicBezTo>
                    <a:pt x="18059" y="12856"/>
                    <a:pt x="19830" y="14315"/>
                    <a:pt x="19830" y="15094"/>
                  </a:cubicBezTo>
                  <a:cubicBezTo>
                    <a:pt x="18059" y="17332"/>
                    <a:pt x="17115" y="19570"/>
                    <a:pt x="14400" y="20251"/>
                  </a:cubicBezTo>
                  <a:cubicBezTo>
                    <a:pt x="12630" y="21029"/>
                    <a:pt x="10741" y="18791"/>
                    <a:pt x="8970" y="18013"/>
                  </a:cubicBezTo>
                  <a:cubicBezTo>
                    <a:pt x="7200" y="15775"/>
                    <a:pt x="6256" y="13537"/>
                    <a:pt x="4485" y="11299"/>
                  </a:cubicBezTo>
                  <a:cubicBezTo>
                    <a:pt x="3541" y="10618"/>
                    <a:pt x="0" y="11299"/>
                    <a:pt x="0" y="9840"/>
                  </a:cubicBezTo>
                  <a:cubicBezTo>
                    <a:pt x="0" y="7602"/>
                    <a:pt x="1770" y="6143"/>
                    <a:pt x="2715" y="468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3" name="Shape 2434">
              <a:extLst>
                <a:ext uri="{FF2B5EF4-FFF2-40B4-BE49-F238E27FC236}">
                  <a16:creationId xmlns:a16="http://schemas.microsoft.com/office/drawing/2014/main" id="{762E83FC-A158-153F-80B2-805E6AE42CB3}"/>
                </a:ext>
              </a:extLst>
            </p:cNvPr>
            <p:cNvSpPr/>
            <p:nvPr/>
          </p:nvSpPr>
          <p:spPr>
            <a:xfrm>
              <a:off x="3811754" y="7348103"/>
              <a:ext cx="112194" cy="178052"/>
            </a:xfrm>
            <a:custGeom>
              <a:avLst/>
              <a:gdLst/>
              <a:ahLst/>
              <a:cxnLst>
                <a:cxn ang="0">
                  <a:pos x="wd2" y="hd2"/>
                </a:cxn>
                <a:cxn ang="5400000">
                  <a:pos x="wd2" y="hd2"/>
                </a:cxn>
                <a:cxn ang="10800000">
                  <a:pos x="wd2" y="hd2"/>
                </a:cxn>
                <a:cxn ang="16200000">
                  <a:pos x="wd2" y="hd2"/>
                </a:cxn>
              </a:cxnLst>
              <a:rect l="0" t="0" r="r" b="b"/>
              <a:pathLst>
                <a:path w="20962" h="21600" extrusionOk="0">
                  <a:moveTo>
                    <a:pt x="10692" y="1885"/>
                  </a:moveTo>
                  <a:cubicBezTo>
                    <a:pt x="11634" y="1271"/>
                    <a:pt x="12136" y="0"/>
                    <a:pt x="13581" y="0"/>
                  </a:cubicBezTo>
                  <a:cubicBezTo>
                    <a:pt x="15025" y="0"/>
                    <a:pt x="15464" y="1557"/>
                    <a:pt x="16406" y="2213"/>
                  </a:cubicBezTo>
                  <a:cubicBezTo>
                    <a:pt x="16406" y="2828"/>
                    <a:pt x="15967" y="3443"/>
                    <a:pt x="15967" y="4386"/>
                  </a:cubicBezTo>
                  <a:cubicBezTo>
                    <a:pt x="16406" y="5041"/>
                    <a:pt x="18353" y="5041"/>
                    <a:pt x="18855" y="5943"/>
                  </a:cubicBezTo>
                  <a:cubicBezTo>
                    <a:pt x="19294" y="7542"/>
                    <a:pt x="17850" y="9099"/>
                    <a:pt x="17850" y="10657"/>
                  </a:cubicBezTo>
                  <a:cubicBezTo>
                    <a:pt x="17411" y="10657"/>
                    <a:pt x="17411" y="10657"/>
                    <a:pt x="17411" y="10657"/>
                  </a:cubicBezTo>
                  <a:cubicBezTo>
                    <a:pt x="20299" y="12542"/>
                    <a:pt x="20299" y="12542"/>
                    <a:pt x="20299" y="12542"/>
                  </a:cubicBezTo>
                  <a:cubicBezTo>
                    <a:pt x="20299" y="13485"/>
                    <a:pt x="20739" y="14099"/>
                    <a:pt x="20739" y="15042"/>
                  </a:cubicBezTo>
                  <a:cubicBezTo>
                    <a:pt x="20739" y="16600"/>
                    <a:pt x="21241" y="18157"/>
                    <a:pt x="20739" y="19715"/>
                  </a:cubicBezTo>
                  <a:cubicBezTo>
                    <a:pt x="20739" y="20043"/>
                    <a:pt x="19294" y="19428"/>
                    <a:pt x="18855" y="19715"/>
                  </a:cubicBezTo>
                  <a:cubicBezTo>
                    <a:pt x="17850" y="20043"/>
                    <a:pt x="17850" y="20985"/>
                    <a:pt x="17411" y="21600"/>
                  </a:cubicBezTo>
                  <a:cubicBezTo>
                    <a:pt x="13581" y="20985"/>
                    <a:pt x="10190" y="20370"/>
                    <a:pt x="6862" y="20043"/>
                  </a:cubicBezTo>
                  <a:cubicBezTo>
                    <a:pt x="5920" y="20043"/>
                    <a:pt x="5418" y="20657"/>
                    <a:pt x="4915" y="20657"/>
                  </a:cubicBezTo>
                  <a:cubicBezTo>
                    <a:pt x="3471" y="20657"/>
                    <a:pt x="2529" y="20657"/>
                    <a:pt x="1085" y="20657"/>
                  </a:cubicBezTo>
                  <a:cubicBezTo>
                    <a:pt x="1588" y="20043"/>
                    <a:pt x="2027" y="19428"/>
                    <a:pt x="1588" y="18813"/>
                  </a:cubicBezTo>
                  <a:cubicBezTo>
                    <a:pt x="1588" y="17870"/>
                    <a:pt x="143" y="17542"/>
                    <a:pt x="143" y="16928"/>
                  </a:cubicBezTo>
                  <a:cubicBezTo>
                    <a:pt x="-359" y="15985"/>
                    <a:pt x="583" y="15370"/>
                    <a:pt x="1085" y="14714"/>
                  </a:cubicBezTo>
                  <a:cubicBezTo>
                    <a:pt x="2027" y="15042"/>
                    <a:pt x="3032" y="15985"/>
                    <a:pt x="3974" y="15657"/>
                  </a:cubicBezTo>
                  <a:cubicBezTo>
                    <a:pt x="5418" y="15370"/>
                    <a:pt x="5920" y="14427"/>
                    <a:pt x="6862" y="13485"/>
                  </a:cubicBezTo>
                  <a:cubicBezTo>
                    <a:pt x="6862" y="13157"/>
                    <a:pt x="5920" y="12542"/>
                    <a:pt x="5920" y="12214"/>
                  </a:cubicBezTo>
                  <a:cubicBezTo>
                    <a:pt x="6360" y="11599"/>
                    <a:pt x="6862" y="11271"/>
                    <a:pt x="7804" y="10657"/>
                  </a:cubicBezTo>
                  <a:cubicBezTo>
                    <a:pt x="8746" y="9714"/>
                    <a:pt x="9248" y="9099"/>
                    <a:pt x="10190" y="8156"/>
                  </a:cubicBezTo>
                  <a:cubicBezTo>
                    <a:pt x="11194" y="7542"/>
                    <a:pt x="13078" y="6886"/>
                    <a:pt x="13078" y="6271"/>
                  </a:cubicBezTo>
                  <a:cubicBezTo>
                    <a:pt x="13078" y="4713"/>
                    <a:pt x="11634" y="3443"/>
                    <a:pt x="10692" y="188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4" name="Shape 2435">
              <a:extLst>
                <a:ext uri="{FF2B5EF4-FFF2-40B4-BE49-F238E27FC236}">
                  <a16:creationId xmlns:a16="http://schemas.microsoft.com/office/drawing/2014/main" id="{20E59E38-8297-8201-B592-AB9C94C9ADCE}"/>
                </a:ext>
              </a:extLst>
            </p:cNvPr>
            <p:cNvSpPr/>
            <p:nvPr/>
          </p:nvSpPr>
          <p:spPr>
            <a:xfrm>
              <a:off x="3897534" y="7337697"/>
              <a:ext cx="169407" cy="166293"/>
            </a:xfrm>
            <a:custGeom>
              <a:avLst/>
              <a:gdLst/>
              <a:ahLst/>
              <a:cxnLst>
                <a:cxn ang="0">
                  <a:pos x="wd2" y="hd2"/>
                </a:cxn>
                <a:cxn ang="5400000">
                  <a:pos x="wd2" y="hd2"/>
                </a:cxn>
                <a:cxn ang="10800000">
                  <a:pos x="wd2" y="hd2"/>
                </a:cxn>
                <a:cxn ang="16200000">
                  <a:pos x="wd2" y="hd2"/>
                </a:cxn>
              </a:cxnLst>
              <a:rect l="0" t="0" r="r" b="b"/>
              <a:pathLst>
                <a:path w="21262" h="21052" extrusionOk="0">
                  <a:moveTo>
                    <a:pt x="13542" y="8186"/>
                  </a:moveTo>
                  <a:cubicBezTo>
                    <a:pt x="13205" y="8486"/>
                    <a:pt x="13205" y="9471"/>
                    <a:pt x="12867" y="9471"/>
                  </a:cubicBezTo>
                  <a:cubicBezTo>
                    <a:pt x="11602" y="8829"/>
                    <a:pt x="9998" y="8186"/>
                    <a:pt x="9323" y="6857"/>
                  </a:cubicBezTo>
                  <a:cubicBezTo>
                    <a:pt x="8691" y="5229"/>
                    <a:pt x="10294" y="3257"/>
                    <a:pt x="10294" y="1286"/>
                  </a:cubicBezTo>
                  <a:cubicBezTo>
                    <a:pt x="9998" y="643"/>
                    <a:pt x="9323" y="0"/>
                    <a:pt x="8395" y="0"/>
                  </a:cubicBezTo>
                  <a:cubicBezTo>
                    <a:pt x="7425" y="0"/>
                    <a:pt x="6455" y="643"/>
                    <a:pt x="5147" y="1286"/>
                  </a:cubicBezTo>
                  <a:cubicBezTo>
                    <a:pt x="4514" y="1286"/>
                    <a:pt x="3881" y="1929"/>
                    <a:pt x="3206" y="2271"/>
                  </a:cubicBezTo>
                  <a:cubicBezTo>
                    <a:pt x="2236" y="2614"/>
                    <a:pt x="1266" y="3257"/>
                    <a:pt x="295" y="3600"/>
                  </a:cubicBezTo>
                  <a:cubicBezTo>
                    <a:pt x="295" y="4243"/>
                    <a:pt x="0" y="4886"/>
                    <a:pt x="0" y="5871"/>
                  </a:cubicBezTo>
                  <a:cubicBezTo>
                    <a:pt x="295" y="6557"/>
                    <a:pt x="1603" y="6557"/>
                    <a:pt x="1941" y="7500"/>
                  </a:cubicBezTo>
                  <a:cubicBezTo>
                    <a:pt x="2236" y="9171"/>
                    <a:pt x="1266" y="10800"/>
                    <a:pt x="1266" y="12429"/>
                  </a:cubicBezTo>
                  <a:cubicBezTo>
                    <a:pt x="970" y="12429"/>
                    <a:pt x="970" y="12429"/>
                    <a:pt x="970" y="12429"/>
                  </a:cubicBezTo>
                  <a:cubicBezTo>
                    <a:pt x="2911" y="14400"/>
                    <a:pt x="2911" y="14400"/>
                    <a:pt x="2911" y="14400"/>
                  </a:cubicBezTo>
                  <a:cubicBezTo>
                    <a:pt x="3544" y="13414"/>
                    <a:pt x="3881" y="11786"/>
                    <a:pt x="5147" y="11443"/>
                  </a:cubicBezTo>
                  <a:cubicBezTo>
                    <a:pt x="6117" y="11100"/>
                    <a:pt x="6750" y="12429"/>
                    <a:pt x="7720" y="12729"/>
                  </a:cubicBezTo>
                  <a:cubicBezTo>
                    <a:pt x="8691" y="12729"/>
                    <a:pt x="9323" y="12429"/>
                    <a:pt x="10294" y="12429"/>
                  </a:cubicBezTo>
                  <a:cubicBezTo>
                    <a:pt x="10969" y="12429"/>
                    <a:pt x="11897" y="12086"/>
                    <a:pt x="12234" y="12429"/>
                  </a:cubicBezTo>
                  <a:cubicBezTo>
                    <a:pt x="12572" y="12729"/>
                    <a:pt x="11897" y="13714"/>
                    <a:pt x="12234" y="14057"/>
                  </a:cubicBezTo>
                  <a:cubicBezTo>
                    <a:pt x="12572" y="14400"/>
                    <a:pt x="13542" y="14057"/>
                    <a:pt x="13837" y="14700"/>
                  </a:cubicBezTo>
                  <a:cubicBezTo>
                    <a:pt x="14175" y="15386"/>
                    <a:pt x="14808" y="16671"/>
                    <a:pt x="14175" y="17014"/>
                  </a:cubicBezTo>
                  <a:cubicBezTo>
                    <a:pt x="12867" y="17357"/>
                    <a:pt x="11897" y="15386"/>
                    <a:pt x="10969" y="15686"/>
                  </a:cubicBezTo>
                  <a:cubicBezTo>
                    <a:pt x="10294" y="15686"/>
                    <a:pt x="10294" y="17014"/>
                    <a:pt x="10294" y="17657"/>
                  </a:cubicBezTo>
                  <a:cubicBezTo>
                    <a:pt x="10631" y="18643"/>
                    <a:pt x="11264" y="19629"/>
                    <a:pt x="11602" y="20614"/>
                  </a:cubicBezTo>
                  <a:cubicBezTo>
                    <a:pt x="12867" y="20614"/>
                    <a:pt x="14175" y="21600"/>
                    <a:pt x="15145" y="20614"/>
                  </a:cubicBezTo>
                  <a:cubicBezTo>
                    <a:pt x="16411" y="18986"/>
                    <a:pt x="15441" y="15686"/>
                    <a:pt x="17381" y="14057"/>
                  </a:cubicBezTo>
                  <a:cubicBezTo>
                    <a:pt x="18352" y="13071"/>
                    <a:pt x="19997" y="15686"/>
                    <a:pt x="20925" y="15043"/>
                  </a:cubicBezTo>
                  <a:cubicBezTo>
                    <a:pt x="21600" y="14400"/>
                    <a:pt x="19997" y="13071"/>
                    <a:pt x="19997" y="12086"/>
                  </a:cubicBezTo>
                  <a:cubicBezTo>
                    <a:pt x="20292" y="11786"/>
                    <a:pt x="20925" y="11443"/>
                    <a:pt x="21262" y="11443"/>
                  </a:cubicBezTo>
                  <a:cubicBezTo>
                    <a:pt x="20630" y="10457"/>
                    <a:pt x="20292" y="9814"/>
                    <a:pt x="19322" y="9171"/>
                  </a:cubicBezTo>
                  <a:cubicBezTo>
                    <a:pt x="18352" y="8486"/>
                    <a:pt x="16748" y="8486"/>
                    <a:pt x="15441" y="8186"/>
                  </a:cubicBezTo>
                  <a:cubicBezTo>
                    <a:pt x="14808" y="8186"/>
                    <a:pt x="14175" y="8186"/>
                    <a:pt x="13542" y="81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5" name="Shape 2436">
              <a:extLst>
                <a:ext uri="{FF2B5EF4-FFF2-40B4-BE49-F238E27FC236}">
                  <a16:creationId xmlns:a16="http://schemas.microsoft.com/office/drawing/2014/main" id="{58DF32AB-48DE-58E1-452C-C16F1904EB33}"/>
                </a:ext>
              </a:extLst>
            </p:cNvPr>
            <p:cNvSpPr/>
            <p:nvPr/>
          </p:nvSpPr>
          <p:spPr>
            <a:xfrm>
              <a:off x="3997769" y="7370402"/>
              <a:ext cx="85238" cy="56157"/>
            </a:xfrm>
            <a:custGeom>
              <a:avLst/>
              <a:gdLst/>
              <a:ahLst/>
              <a:cxnLst>
                <a:cxn ang="0">
                  <a:pos x="wd2" y="hd2"/>
                </a:cxn>
                <a:cxn ang="5400000">
                  <a:pos x="wd2" y="hd2"/>
                </a:cxn>
                <a:cxn ang="10800000">
                  <a:pos x="wd2" y="hd2"/>
                </a:cxn>
                <a:cxn ang="16200000">
                  <a:pos x="wd2" y="hd2"/>
                </a:cxn>
              </a:cxnLst>
              <a:rect l="0" t="0" r="r" b="b"/>
              <a:pathLst>
                <a:path w="21074" h="21600" extrusionOk="0">
                  <a:moveTo>
                    <a:pt x="17252" y="21600"/>
                  </a:moveTo>
                  <a:cubicBezTo>
                    <a:pt x="16006" y="18643"/>
                    <a:pt x="15342" y="16714"/>
                    <a:pt x="13431" y="14786"/>
                  </a:cubicBezTo>
                  <a:cubicBezTo>
                    <a:pt x="11520" y="12729"/>
                    <a:pt x="8363" y="12729"/>
                    <a:pt x="5788" y="11829"/>
                  </a:cubicBezTo>
                  <a:cubicBezTo>
                    <a:pt x="4542" y="11829"/>
                    <a:pt x="3296" y="11829"/>
                    <a:pt x="2049" y="11829"/>
                  </a:cubicBezTo>
                  <a:cubicBezTo>
                    <a:pt x="1385" y="9771"/>
                    <a:pt x="-526" y="6943"/>
                    <a:pt x="139" y="3986"/>
                  </a:cubicBezTo>
                  <a:cubicBezTo>
                    <a:pt x="139" y="1929"/>
                    <a:pt x="1385" y="0"/>
                    <a:pt x="2631" y="0"/>
                  </a:cubicBezTo>
                  <a:cubicBezTo>
                    <a:pt x="4542" y="0"/>
                    <a:pt x="6452" y="2957"/>
                    <a:pt x="8363" y="2957"/>
                  </a:cubicBezTo>
                  <a:cubicBezTo>
                    <a:pt x="9028" y="2957"/>
                    <a:pt x="10274" y="1929"/>
                    <a:pt x="10939" y="1929"/>
                  </a:cubicBezTo>
                  <a:cubicBezTo>
                    <a:pt x="12849" y="2957"/>
                    <a:pt x="14760" y="4886"/>
                    <a:pt x="16006" y="7843"/>
                  </a:cubicBezTo>
                  <a:cubicBezTo>
                    <a:pt x="16588" y="8871"/>
                    <a:pt x="15342" y="11829"/>
                    <a:pt x="16588" y="12729"/>
                  </a:cubicBezTo>
                  <a:cubicBezTo>
                    <a:pt x="17917" y="14786"/>
                    <a:pt x="19163" y="13757"/>
                    <a:pt x="21074" y="13757"/>
                  </a:cubicBezTo>
                  <a:cubicBezTo>
                    <a:pt x="19828" y="21600"/>
                    <a:pt x="19828" y="21600"/>
                    <a:pt x="19828" y="21600"/>
                  </a:cubicBezTo>
                  <a:cubicBezTo>
                    <a:pt x="17252" y="21600"/>
                    <a:pt x="17252" y="21600"/>
                    <a:pt x="17252"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6" name="Shape 2437">
              <a:extLst>
                <a:ext uri="{FF2B5EF4-FFF2-40B4-BE49-F238E27FC236}">
                  <a16:creationId xmlns:a16="http://schemas.microsoft.com/office/drawing/2014/main" id="{65E6CCAE-8DCE-D571-386A-47EBA48D0FC1}"/>
                </a:ext>
              </a:extLst>
            </p:cNvPr>
            <p:cNvSpPr/>
            <p:nvPr/>
          </p:nvSpPr>
          <p:spPr>
            <a:xfrm>
              <a:off x="3904966" y="7427659"/>
              <a:ext cx="108235" cy="116335"/>
            </a:xfrm>
            <a:custGeom>
              <a:avLst/>
              <a:gdLst/>
              <a:ahLst/>
              <a:cxnLst>
                <a:cxn ang="0">
                  <a:pos x="wd2" y="hd2"/>
                </a:cxn>
                <a:cxn ang="5400000">
                  <a:pos x="wd2" y="hd2"/>
                </a:cxn>
                <a:cxn ang="10800000">
                  <a:pos x="wd2" y="hd2"/>
                </a:cxn>
                <a:cxn ang="16200000">
                  <a:pos x="wd2" y="hd2"/>
                </a:cxn>
              </a:cxnLst>
              <a:rect l="0" t="0" r="r" b="b"/>
              <a:pathLst>
                <a:path w="21034" h="21189" extrusionOk="0">
                  <a:moveTo>
                    <a:pt x="3029" y="4314"/>
                  </a:moveTo>
                  <a:cubicBezTo>
                    <a:pt x="4017" y="2903"/>
                    <a:pt x="4544" y="571"/>
                    <a:pt x="6520" y="80"/>
                  </a:cubicBezTo>
                  <a:cubicBezTo>
                    <a:pt x="8034" y="-411"/>
                    <a:pt x="9022" y="1491"/>
                    <a:pt x="10537" y="1921"/>
                  </a:cubicBezTo>
                  <a:cubicBezTo>
                    <a:pt x="12051" y="1921"/>
                    <a:pt x="13039" y="1491"/>
                    <a:pt x="14554" y="1491"/>
                  </a:cubicBezTo>
                  <a:cubicBezTo>
                    <a:pt x="15607" y="1491"/>
                    <a:pt x="17056" y="1000"/>
                    <a:pt x="17583" y="1491"/>
                  </a:cubicBezTo>
                  <a:cubicBezTo>
                    <a:pt x="18110" y="1921"/>
                    <a:pt x="17056" y="3332"/>
                    <a:pt x="17583" y="3823"/>
                  </a:cubicBezTo>
                  <a:cubicBezTo>
                    <a:pt x="18110" y="4314"/>
                    <a:pt x="19624" y="3823"/>
                    <a:pt x="20085" y="4744"/>
                  </a:cubicBezTo>
                  <a:cubicBezTo>
                    <a:pt x="20612" y="5725"/>
                    <a:pt x="21600" y="7566"/>
                    <a:pt x="20612" y="8057"/>
                  </a:cubicBezTo>
                  <a:cubicBezTo>
                    <a:pt x="18571" y="8548"/>
                    <a:pt x="17056" y="5725"/>
                    <a:pt x="15607" y="6155"/>
                  </a:cubicBezTo>
                  <a:cubicBezTo>
                    <a:pt x="14554" y="6155"/>
                    <a:pt x="14554" y="8057"/>
                    <a:pt x="14554" y="8978"/>
                  </a:cubicBezTo>
                  <a:cubicBezTo>
                    <a:pt x="15080" y="10389"/>
                    <a:pt x="16068" y="11800"/>
                    <a:pt x="16595" y="13212"/>
                  </a:cubicBezTo>
                  <a:cubicBezTo>
                    <a:pt x="14554" y="14132"/>
                    <a:pt x="12051" y="14623"/>
                    <a:pt x="10537" y="16034"/>
                  </a:cubicBezTo>
                  <a:cubicBezTo>
                    <a:pt x="8561" y="17446"/>
                    <a:pt x="7046" y="19287"/>
                    <a:pt x="5532" y="21189"/>
                  </a:cubicBezTo>
                  <a:cubicBezTo>
                    <a:pt x="0" y="17875"/>
                    <a:pt x="0" y="17875"/>
                    <a:pt x="0" y="17875"/>
                  </a:cubicBezTo>
                  <a:cubicBezTo>
                    <a:pt x="461" y="16955"/>
                    <a:pt x="461" y="15544"/>
                    <a:pt x="1515" y="15053"/>
                  </a:cubicBezTo>
                  <a:cubicBezTo>
                    <a:pt x="1976" y="14623"/>
                    <a:pt x="3490" y="15544"/>
                    <a:pt x="3490" y="15053"/>
                  </a:cubicBezTo>
                  <a:cubicBezTo>
                    <a:pt x="4017" y="12721"/>
                    <a:pt x="3490" y="10389"/>
                    <a:pt x="3490" y="8057"/>
                  </a:cubicBezTo>
                  <a:cubicBezTo>
                    <a:pt x="3490" y="6646"/>
                    <a:pt x="3029" y="5725"/>
                    <a:pt x="3029" y="431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7" name="Shape 2438">
              <a:extLst>
                <a:ext uri="{FF2B5EF4-FFF2-40B4-BE49-F238E27FC236}">
                  <a16:creationId xmlns:a16="http://schemas.microsoft.com/office/drawing/2014/main" id="{163687E4-0C24-18AF-845C-E5F82C649F00}"/>
                </a:ext>
              </a:extLst>
            </p:cNvPr>
            <p:cNvSpPr/>
            <p:nvPr/>
          </p:nvSpPr>
          <p:spPr>
            <a:xfrm>
              <a:off x="4077396" y="7244043"/>
              <a:ext cx="441547" cy="335103"/>
            </a:xfrm>
            <a:custGeom>
              <a:avLst/>
              <a:gdLst/>
              <a:ahLst/>
              <a:cxnLst>
                <a:cxn ang="0">
                  <a:pos x="wd2" y="hd2"/>
                </a:cxn>
                <a:cxn ang="5400000">
                  <a:pos x="wd2" y="hd2"/>
                </a:cxn>
                <a:cxn ang="10800000">
                  <a:pos x="wd2" y="hd2"/>
                </a:cxn>
                <a:cxn ang="16200000">
                  <a:pos x="wd2" y="hd2"/>
                </a:cxn>
              </a:cxnLst>
              <a:rect l="0" t="0" r="r" b="b"/>
              <a:pathLst>
                <a:path w="21403" h="21471" extrusionOk="0">
                  <a:moveTo>
                    <a:pt x="0" y="11707"/>
                  </a:moveTo>
                  <a:cubicBezTo>
                    <a:pt x="245" y="10390"/>
                    <a:pt x="245" y="10390"/>
                    <a:pt x="245" y="10390"/>
                  </a:cubicBezTo>
                  <a:cubicBezTo>
                    <a:pt x="360" y="10066"/>
                    <a:pt x="491" y="9569"/>
                    <a:pt x="491" y="9245"/>
                  </a:cubicBezTo>
                  <a:cubicBezTo>
                    <a:pt x="491" y="8748"/>
                    <a:pt x="245" y="8251"/>
                    <a:pt x="245" y="7754"/>
                  </a:cubicBezTo>
                  <a:cubicBezTo>
                    <a:pt x="245" y="7409"/>
                    <a:pt x="621" y="7085"/>
                    <a:pt x="621" y="6761"/>
                  </a:cubicBezTo>
                  <a:cubicBezTo>
                    <a:pt x="621" y="6091"/>
                    <a:pt x="245" y="5443"/>
                    <a:pt x="114" y="4774"/>
                  </a:cubicBezTo>
                  <a:cubicBezTo>
                    <a:pt x="245" y="4277"/>
                    <a:pt x="114" y="3456"/>
                    <a:pt x="621" y="3305"/>
                  </a:cubicBezTo>
                  <a:cubicBezTo>
                    <a:pt x="867" y="3132"/>
                    <a:pt x="997" y="3953"/>
                    <a:pt x="1243" y="4126"/>
                  </a:cubicBezTo>
                  <a:cubicBezTo>
                    <a:pt x="1864" y="4277"/>
                    <a:pt x="2485" y="4126"/>
                    <a:pt x="2992" y="3953"/>
                  </a:cubicBezTo>
                  <a:cubicBezTo>
                    <a:pt x="3614" y="3780"/>
                    <a:pt x="4235" y="3132"/>
                    <a:pt x="4856" y="2808"/>
                  </a:cubicBezTo>
                  <a:cubicBezTo>
                    <a:pt x="5494" y="2635"/>
                    <a:pt x="5985" y="2808"/>
                    <a:pt x="6491" y="2635"/>
                  </a:cubicBezTo>
                  <a:cubicBezTo>
                    <a:pt x="7113" y="2311"/>
                    <a:pt x="7603" y="1642"/>
                    <a:pt x="8241" y="1145"/>
                  </a:cubicBezTo>
                  <a:cubicBezTo>
                    <a:pt x="8241" y="1145"/>
                    <a:pt x="8617" y="151"/>
                    <a:pt x="8732" y="151"/>
                  </a:cubicBezTo>
                  <a:cubicBezTo>
                    <a:pt x="8993" y="151"/>
                    <a:pt x="11364" y="0"/>
                    <a:pt x="11364" y="0"/>
                  </a:cubicBezTo>
                  <a:cubicBezTo>
                    <a:pt x="11724" y="151"/>
                    <a:pt x="12100" y="324"/>
                    <a:pt x="12476" y="497"/>
                  </a:cubicBezTo>
                  <a:cubicBezTo>
                    <a:pt x="12476" y="1145"/>
                    <a:pt x="12231" y="1814"/>
                    <a:pt x="12476" y="2311"/>
                  </a:cubicBezTo>
                  <a:cubicBezTo>
                    <a:pt x="12607" y="2635"/>
                    <a:pt x="13114" y="2311"/>
                    <a:pt x="13359" y="2462"/>
                  </a:cubicBezTo>
                  <a:cubicBezTo>
                    <a:pt x="13850" y="2959"/>
                    <a:pt x="14111" y="4277"/>
                    <a:pt x="14732" y="4450"/>
                  </a:cubicBezTo>
                  <a:cubicBezTo>
                    <a:pt x="15485" y="4622"/>
                    <a:pt x="16106" y="3456"/>
                    <a:pt x="16858" y="3305"/>
                  </a:cubicBezTo>
                  <a:cubicBezTo>
                    <a:pt x="17234" y="3132"/>
                    <a:pt x="17610" y="3456"/>
                    <a:pt x="17986" y="3305"/>
                  </a:cubicBezTo>
                  <a:cubicBezTo>
                    <a:pt x="18232" y="3305"/>
                    <a:pt x="18477" y="2808"/>
                    <a:pt x="18722" y="2959"/>
                  </a:cubicBezTo>
                  <a:cubicBezTo>
                    <a:pt x="19098" y="3305"/>
                    <a:pt x="19344" y="3953"/>
                    <a:pt x="19474" y="4450"/>
                  </a:cubicBezTo>
                  <a:cubicBezTo>
                    <a:pt x="19605" y="4774"/>
                    <a:pt x="19344" y="4946"/>
                    <a:pt x="19474" y="5270"/>
                  </a:cubicBezTo>
                  <a:cubicBezTo>
                    <a:pt x="19850" y="5767"/>
                    <a:pt x="20341" y="6264"/>
                    <a:pt x="20717" y="6761"/>
                  </a:cubicBezTo>
                  <a:cubicBezTo>
                    <a:pt x="20603" y="6761"/>
                    <a:pt x="20603" y="6761"/>
                    <a:pt x="20603" y="6761"/>
                  </a:cubicBezTo>
                  <a:cubicBezTo>
                    <a:pt x="20848" y="7085"/>
                    <a:pt x="21600" y="7582"/>
                    <a:pt x="21355" y="7906"/>
                  </a:cubicBezTo>
                  <a:cubicBezTo>
                    <a:pt x="21093" y="8575"/>
                    <a:pt x="20472" y="8251"/>
                    <a:pt x="19981" y="8251"/>
                  </a:cubicBezTo>
                  <a:cubicBezTo>
                    <a:pt x="19605" y="8251"/>
                    <a:pt x="19098" y="8078"/>
                    <a:pt x="18853" y="8402"/>
                  </a:cubicBezTo>
                  <a:cubicBezTo>
                    <a:pt x="18477" y="8748"/>
                    <a:pt x="18608" y="9396"/>
                    <a:pt x="18608" y="9893"/>
                  </a:cubicBezTo>
                  <a:cubicBezTo>
                    <a:pt x="18477" y="10217"/>
                    <a:pt x="18477" y="10714"/>
                    <a:pt x="18477" y="11038"/>
                  </a:cubicBezTo>
                  <a:cubicBezTo>
                    <a:pt x="18232" y="11534"/>
                    <a:pt x="18232" y="12204"/>
                    <a:pt x="17986" y="12528"/>
                  </a:cubicBezTo>
                  <a:cubicBezTo>
                    <a:pt x="17725" y="13025"/>
                    <a:pt x="17103" y="13025"/>
                    <a:pt x="16858" y="13522"/>
                  </a:cubicBezTo>
                  <a:cubicBezTo>
                    <a:pt x="16727" y="14191"/>
                    <a:pt x="16973" y="14839"/>
                    <a:pt x="16858" y="15509"/>
                  </a:cubicBezTo>
                  <a:cubicBezTo>
                    <a:pt x="16858" y="15833"/>
                    <a:pt x="16597" y="16006"/>
                    <a:pt x="16597" y="16157"/>
                  </a:cubicBezTo>
                  <a:cubicBezTo>
                    <a:pt x="16482" y="16826"/>
                    <a:pt x="16597" y="17647"/>
                    <a:pt x="16482" y="18295"/>
                  </a:cubicBezTo>
                  <a:cubicBezTo>
                    <a:pt x="16351" y="18792"/>
                    <a:pt x="16106" y="18965"/>
                    <a:pt x="15975" y="19289"/>
                  </a:cubicBezTo>
                  <a:cubicBezTo>
                    <a:pt x="15730" y="19462"/>
                    <a:pt x="15354" y="19462"/>
                    <a:pt x="15223" y="19786"/>
                  </a:cubicBezTo>
                  <a:cubicBezTo>
                    <a:pt x="14978" y="20131"/>
                    <a:pt x="15223" y="20952"/>
                    <a:pt x="14847" y="21276"/>
                  </a:cubicBezTo>
                  <a:cubicBezTo>
                    <a:pt x="14732" y="21449"/>
                    <a:pt x="14356" y="21276"/>
                    <a:pt x="13980" y="21276"/>
                  </a:cubicBezTo>
                  <a:cubicBezTo>
                    <a:pt x="13850" y="20952"/>
                    <a:pt x="13850" y="20455"/>
                    <a:pt x="13604" y="20282"/>
                  </a:cubicBezTo>
                  <a:cubicBezTo>
                    <a:pt x="13490" y="20282"/>
                    <a:pt x="13359" y="20952"/>
                    <a:pt x="13228" y="20779"/>
                  </a:cubicBezTo>
                  <a:cubicBezTo>
                    <a:pt x="12738" y="20282"/>
                    <a:pt x="12852" y="18792"/>
                    <a:pt x="12231" y="18792"/>
                  </a:cubicBezTo>
                  <a:cubicBezTo>
                    <a:pt x="11479" y="18641"/>
                    <a:pt x="11233" y="19958"/>
                    <a:pt x="10726" y="20455"/>
                  </a:cubicBezTo>
                  <a:cubicBezTo>
                    <a:pt x="10350" y="20952"/>
                    <a:pt x="10105" y="21600"/>
                    <a:pt x="9615" y="21449"/>
                  </a:cubicBezTo>
                  <a:cubicBezTo>
                    <a:pt x="9238" y="21449"/>
                    <a:pt x="8993" y="20779"/>
                    <a:pt x="8732" y="20282"/>
                  </a:cubicBezTo>
                  <a:cubicBezTo>
                    <a:pt x="8486" y="19786"/>
                    <a:pt x="8486" y="18965"/>
                    <a:pt x="8110" y="18641"/>
                  </a:cubicBezTo>
                  <a:cubicBezTo>
                    <a:pt x="7865" y="18468"/>
                    <a:pt x="7358" y="19289"/>
                    <a:pt x="7113" y="18965"/>
                  </a:cubicBezTo>
                  <a:cubicBezTo>
                    <a:pt x="6737" y="18468"/>
                    <a:pt x="7113" y="16978"/>
                    <a:pt x="6491" y="16654"/>
                  </a:cubicBezTo>
                  <a:cubicBezTo>
                    <a:pt x="5985" y="16330"/>
                    <a:pt x="5608" y="17474"/>
                    <a:pt x="5232" y="17971"/>
                  </a:cubicBezTo>
                  <a:cubicBezTo>
                    <a:pt x="4987" y="18468"/>
                    <a:pt x="4856" y="19289"/>
                    <a:pt x="4497" y="19462"/>
                  </a:cubicBezTo>
                  <a:cubicBezTo>
                    <a:pt x="4121" y="19462"/>
                    <a:pt x="4366" y="18641"/>
                    <a:pt x="4497" y="18295"/>
                  </a:cubicBezTo>
                  <a:cubicBezTo>
                    <a:pt x="4497" y="17474"/>
                    <a:pt x="4987" y="16826"/>
                    <a:pt x="4742" y="16157"/>
                  </a:cubicBezTo>
                  <a:cubicBezTo>
                    <a:pt x="4497" y="15336"/>
                    <a:pt x="3614" y="15185"/>
                    <a:pt x="2992" y="14688"/>
                  </a:cubicBezTo>
                  <a:cubicBezTo>
                    <a:pt x="2485" y="14191"/>
                    <a:pt x="1864" y="13846"/>
                    <a:pt x="1357" y="13198"/>
                  </a:cubicBezTo>
                  <a:cubicBezTo>
                    <a:pt x="1243" y="13025"/>
                    <a:pt x="1243" y="12701"/>
                    <a:pt x="1112" y="12528"/>
                  </a:cubicBezTo>
                  <a:cubicBezTo>
                    <a:pt x="867" y="12204"/>
                    <a:pt x="360" y="12031"/>
                    <a:pt x="0" y="1170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8" name="Shape 2439">
              <a:extLst>
                <a:ext uri="{FF2B5EF4-FFF2-40B4-BE49-F238E27FC236}">
                  <a16:creationId xmlns:a16="http://schemas.microsoft.com/office/drawing/2014/main" id="{A0F43AD0-AA97-4F3D-CAE1-05A91BA2EE22}"/>
                </a:ext>
              </a:extLst>
            </p:cNvPr>
            <p:cNvSpPr/>
            <p:nvPr/>
          </p:nvSpPr>
          <p:spPr>
            <a:xfrm>
              <a:off x="3897533" y="7426891"/>
              <a:ext cx="473848" cy="332655"/>
            </a:xfrm>
            <a:custGeom>
              <a:avLst/>
              <a:gdLst/>
              <a:ahLst/>
              <a:cxnLst>
                <a:cxn ang="0">
                  <a:pos x="wd2" y="hd2"/>
                </a:cxn>
                <a:cxn ang="5400000">
                  <a:pos x="wd2" y="hd2"/>
                </a:cxn>
                <a:cxn ang="10800000">
                  <a:pos x="wd2" y="hd2"/>
                </a:cxn>
                <a:cxn ang="16200000">
                  <a:pos x="wd2" y="hd2"/>
                </a:cxn>
              </a:cxnLst>
              <a:rect l="0" t="0" r="r" b="b"/>
              <a:pathLst>
                <a:path w="21600" h="21600" extrusionOk="0">
                  <a:moveTo>
                    <a:pt x="4228" y="4693"/>
                  </a:moveTo>
                  <a:cubicBezTo>
                    <a:pt x="4689" y="4693"/>
                    <a:pt x="5166" y="5197"/>
                    <a:pt x="5519" y="4693"/>
                  </a:cubicBezTo>
                  <a:cubicBezTo>
                    <a:pt x="5980" y="3859"/>
                    <a:pt x="5627" y="2171"/>
                    <a:pt x="6334" y="1338"/>
                  </a:cubicBezTo>
                  <a:cubicBezTo>
                    <a:pt x="6688" y="833"/>
                    <a:pt x="7287" y="2171"/>
                    <a:pt x="7625" y="1842"/>
                  </a:cubicBezTo>
                  <a:cubicBezTo>
                    <a:pt x="7871" y="1513"/>
                    <a:pt x="7287" y="833"/>
                    <a:pt x="7287" y="329"/>
                  </a:cubicBezTo>
                  <a:cubicBezTo>
                    <a:pt x="7395" y="175"/>
                    <a:pt x="7625" y="0"/>
                    <a:pt x="7748" y="0"/>
                  </a:cubicBezTo>
                  <a:cubicBezTo>
                    <a:pt x="8225" y="0"/>
                    <a:pt x="8225" y="0"/>
                    <a:pt x="8225" y="0"/>
                  </a:cubicBezTo>
                  <a:cubicBezTo>
                    <a:pt x="8563" y="329"/>
                    <a:pt x="9040" y="504"/>
                    <a:pt x="9270" y="833"/>
                  </a:cubicBezTo>
                  <a:cubicBezTo>
                    <a:pt x="9393" y="1009"/>
                    <a:pt x="9393" y="1338"/>
                    <a:pt x="9501" y="1513"/>
                  </a:cubicBezTo>
                  <a:cubicBezTo>
                    <a:pt x="9978" y="2171"/>
                    <a:pt x="10562" y="2522"/>
                    <a:pt x="11038" y="3026"/>
                  </a:cubicBezTo>
                  <a:cubicBezTo>
                    <a:pt x="11622" y="3531"/>
                    <a:pt x="12453" y="3684"/>
                    <a:pt x="12683" y="4517"/>
                  </a:cubicBezTo>
                  <a:cubicBezTo>
                    <a:pt x="12914" y="5197"/>
                    <a:pt x="12453" y="5855"/>
                    <a:pt x="12453" y="6688"/>
                  </a:cubicBezTo>
                  <a:cubicBezTo>
                    <a:pt x="12330" y="7039"/>
                    <a:pt x="12099" y="7872"/>
                    <a:pt x="12453" y="7872"/>
                  </a:cubicBezTo>
                  <a:cubicBezTo>
                    <a:pt x="12791" y="7697"/>
                    <a:pt x="12914" y="6864"/>
                    <a:pt x="13144" y="6359"/>
                  </a:cubicBezTo>
                  <a:cubicBezTo>
                    <a:pt x="13498" y="5855"/>
                    <a:pt x="13852" y="4693"/>
                    <a:pt x="14328" y="5022"/>
                  </a:cubicBezTo>
                  <a:cubicBezTo>
                    <a:pt x="14912" y="5351"/>
                    <a:pt x="14559" y="6864"/>
                    <a:pt x="14912" y="7368"/>
                  </a:cubicBezTo>
                  <a:cubicBezTo>
                    <a:pt x="15143" y="7697"/>
                    <a:pt x="15620" y="6864"/>
                    <a:pt x="15850" y="7039"/>
                  </a:cubicBezTo>
                  <a:cubicBezTo>
                    <a:pt x="16204" y="7368"/>
                    <a:pt x="16204" y="8201"/>
                    <a:pt x="16434" y="8706"/>
                  </a:cubicBezTo>
                  <a:cubicBezTo>
                    <a:pt x="16680" y="9210"/>
                    <a:pt x="16911" y="9890"/>
                    <a:pt x="17265" y="9890"/>
                  </a:cubicBezTo>
                  <a:cubicBezTo>
                    <a:pt x="17726" y="10043"/>
                    <a:pt x="17956" y="9386"/>
                    <a:pt x="18310" y="8881"/>
                  </a:cubicBezTo>
                  <a:cubicBezTo>
                    <a:pt x="18787" y="8377"/>
                    <a:pt x="19017" y="7039"/>
                    <a:pt x="19724" y="7193"/>
                  </a:cubicBezTo>
                  <a:cubicBezTo>
                    <a:pt x="20309" y="7193"/>
                    <a:pt x="20201" y="8706"/>
                    <a:pt x="20662" y="9210"/>
                  </a:cubicBezTo>
                  <a:cubicBezTo>
                    <a:pt x="20785" y="9386"/>
                    <a:pt x="20908" y="8706"/>
                    <a:pt x="21016" y="8706"/>
                  </a:cubicBezTo>
                  <a:cubicBezTo>
                    <a:pt x="21246" y="8881"/>
                    <a:pt x="21246" y="9386"/>
                    <a:pt x="21369" y="9715"/>
                  </a:cubicBezTo>
                  <a:cubicBezTo>
                    <a:pt x="21492" y="10394"/>
                    <a:pt x="21600" y="11052"/>
                    <a:pt x="21600" y="11885"/>
                  </a:cubicBezTo>
                  <a:cubicBezTo>
                    <a:pt x="21600" y="12565"/>
                    <a:pt x="21369" y="13223"/>
                    <a:pt x="21246" y="13903"/>
                  </a:cubicBezTo>
                  <a:cubicBezTo>
                    <a:pt x="21139" y="14232"/>
                    <a:pt x="21246" y="14583"/>
                    <a:pt x="21246" y="15087"/>
                  </a:cubicBezTo>
                  <a:cubicBezTo>
                    <a:pt x="21246" y="15920"/>
                    <a:pt x="21369" y="16929"/>
                    <a:pt x="21492" y="17916"/>
                  </a:cubicBezTo>
                  <a:cubicBezTo>
                    <a:pt x="20785" y="18267"/>
                    <a:pt x="20785" y="18267"/>
                    <a:pt x="20785" y="18267"/>
                  </a:cubicBezTo>
                  <a:cubicBezTo>
                    <a:pt x="20078" y="18267"/>
                    <a:pt x="19371" y="18091"/>
                    <a:pt x="18556" y="18091"/>
                  </a:cubicBezTo>
                  <a:cubicBezTo>
                    <a:pt x="18079" y="18267"/>
                    <a:pt x="17618" y="18596"/>
                    <a:pt x="17142" y="18267"/>
                  </a:cubicBezTo>
                  <a:cubicBezTo>
                    <a:pt x="16788" y="18091"/>
                    <a:pt x="16788" y="17412"/>
                    <a:pt x="16557" y="16929"/>
                  </a:cubicBezTo>
                  <a:cubicBezTo>
                    <a:pt x="16557" y="16929"/>
                    <a:pt x="15727" y="16754"/>
                    <a:pt x="15620" y="16754"/>
                  </a:cubicBezTo>
                  <a:cubicBezTo>
                    <a:pt x="15497" y="16754"/>
                    <a:pt x="14082" y="18267"/>
                    <a:pt x="14082" y="18267"/>
                  </a:cubicBezTo>
                  <a:cubicBezTo>
                    <a:pt x="12683" y="18925"/>
                    <a:pt x="11392" y="19604"/>
                    <a:pt x="9978" y="20262"/>
                  </a:cubicBezTo>
                  <a:cubicBezTo>
                    <a:pt x="8917" y="20613"/>
                    <a:pt x="7871" y="21096"/>
                    <a:pt x="6811" y="21271"/>
                  </a:cubicBezTo>
                  <a:cubicBezTo>
                    <a:pt x="6334" y="21271"/>
                    <a:pt x="5750" y="20942"/>
                    <a:pt x="5273" y="21096"/>
                  </a:cubicBezTo>
                  <a:cubicBezTo>
                    <a:pt x="4689" y="21096"/>
                    <a:pt x="4228" y="21600"/>
                    <a:pt x="3644" y="21600"/>
                  </a:cubicBezTo>
                  <a:cubicBezTo>
                    <a:pt x="3059" y="21600"/>
                    <a:pt x="2583" y="21271"/>
                    <a:pt x="2106" y="21096"/>
                  </a:cubicBezTo>
                  <a:cubicBezTo>
                    <a:pt x="2106" y="20613"/>
                    <a:pt x="2460" y="20109"/>
                    <a:pt x="2352" y="19604"/>
                  </a:cubicBezTo>
                  <a:cubicBezTo>
                    <a:pt x="1999" y="18749"/>
                    <a:pt x="1522" y="17916"/>
                    <a:pt x="938" y="17412"/>
                  </a:cubicBezTo>
                  <a:cubicBezTo>
                    <a:pt x="707" y="17258"/>
                    <a:pt x="354" y="18091"/>
                    <a:pt x="231" y="17762"/>
                  </a:cubicBezTo>
                  <a:cubicBezTo>
                    <a:pt x="0" y="17083"/>
                    <a:pt x="354" y="16249"/>
                    <a:pt x="354" y="15570"/>
                  </a:cubicBezTo>
                  <a:cubicBezTo>
                    <a:pt x="354" y="15087"/>
                    <a:pt x="0" y="14736"/>
                    <a:pt x="0" y="14232"/>
                  </a:cubicBezTo>
                  <a:cubicBezTo>
                    <a:pt x="0" y="13728"/>
                    <a:pt x="108" y="13223"/>
                    <a:pt x="354" y="12719"/>
                  </a:cubicBezTo>
                  <a:cubicBezTo>
                    <a:pt x="584" y="12390"/>
                    <a:pt x="938" y="12061"/>
                    <a:pt x="1291" y="12236"/>
                  </a:cubicBezTo>
                  <a:cubicBezTo>
                    <a:pt x="1645" y="12236"/>
                    <a:pt x="1999" y="12894"/>
                    <a:pt x="2460" y="12894"/>
                  </a:cubicBezTo>
                  <a:cubicBezTo>
                    <a:pt x="2706" y="12894"/>
                    <a:pt x="2583" y="12390"/>
                    <a:pt x="2706" y="12061"/>
                  </a:cubicBezTo>
                  <a:cubicBezTo>
                    <a:pt x="2706" y="11381"/>
                    <a:pt x="2706" y="10548"/>
                    <a:pt x="2583" y="9890"/>
                  </a:cubicBezTo>
                  <a:cubicBezTo>
                    <a:pt x="2352" y="9057"/>
                    <a:pt x="1999" y="8201"/>
                    <a:pt x="1645" y="7544"/>
                  </a:cubicBezTo>
                  <a:cubicBezTo>
                    <a:pt x="1999" y="6864"/>
                    <a:pt x="2352" y="6206"/>
                    <a:pt x="2813" y="5702"/>
                  </a:cubicBezTo>
                  <a:cubicBezTo>
                    <a:pt x="3167" y="5197"/>
                    <a:pt x="3751" y="5022"/>
                    <a:pt x="4228" y="469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9" name="Shape 2440">
              <a:extLst>
                <a:ext uri="{FF2B5EF4-FFF2-40B4-BE49-F238E27FC236}">
                  <a16:creationId xmlns:a16="http://schemas.microsoft.com/office/drawing/2014/main" id="{6903654F-3366-A829-359B-2C81BE24AF3E}"/>
                </a:ext>
              </a:extLst>
            </p:cNvPr>
            <p:cNvSpPr/>
            <p:nvPr/>
          </p:nvSpPr>
          <p:spPr>
            <a:xfrm>
              <a:off x="4459421" y="7346516"/>
              <a:ext cx="181012" cy="101135"/>
            </a:xfrm>
            <a:custGeom>
              <a:avLst/>
              <a:gdLst/>
              <a:ahLst/>
              <a:cxnLst>
                <a:cxn ang="0">
                  <a:pos x="wd2" y="hd2"/>
                </a:cxn>
                <a:cxn ang="5400000">
                  <a:pos x="wd2" y="hd2"/>
                </a:cxn>
                <a:cxn ang="10800000">
                  <a:pos x="wd2" y="hd2"/>
                </a:cxn>
                <a:cxn ang="16200000">
                  <a:pos x="wd2" y="hd2"/>
                </a:cxn>
              </a:cxnLst>
              <a:rect l="0" t="0" r="r" b="b"/>
              <a:pathLst>
                <a:path w="21600" h="20763" extrusionOk="0">
                  <a:moveTo>
                    <a:pt x="12031" y="20763"/>
                  </a:moveTo>
                  <a:cubicBezTo>
                    <a:pt x="12637" y="19728"/>
                    <a:pt x="13243" y="18624"/>
                    <a:pt x="13566" y="17105"/>
                  </a:cubicBezTo>
                  <a:cubicBezTo>
                    <a:pt x="14494" y="11792"/>
                    <a:pt x="15100" y="12344"/>
                    <a:pt x="18491" y="12344"/>
                  </a:cubicBezTo>
                  <a:cubicBezTo>
                    <a:pt x="19420" y="12344"/>
                    <a:pt x="20348" y="12344"/>
                    <a:pt x="21600" y="11792"/>
                  </a:cubicBezTo>
                  <a:cubicBezTo>
                    <a:pt x="19743" y="9169"/>
                    <a:pt x="17280" y="3373"/>
                    <a:pt x="15100" y="1785"/>
                  </a:cubicBezTo>
                  <a:cubicBezTo>
                    <a:pt x="14171" y="1233"/>
                    <a:pt x="13243" y="2820"/>
                    <a:pt x="12031" y="2337"/>
                  </a:cubicBezTo>
                  <a:cubicBezTo>
                    <a:pt x="11426" y="2337"/>
                    <a:pt x="11103" y="198"/>
                    <a:pt x="10497" y="198"/>
                  </a:cubicBezTo>
                  <a:cubicBezTo>
                    <a:pt x="8640" y="-285"/>
                    <a:pt x="7106" y="198"/>
                    <a:pt x="5249" y="750"/>
                  </a:cubicBezTo>
                  <a:cubicBezTo>
                    <a:pt x="5854" y="1785"/>
                    <a:pt x="7711" y="3373"/>
                    <a:pt x="7106" y="4408"/>
                  </a:cubicBezTo>
                  <a:cubicBezTo>
                    <a:pt x="6460" y="6547"/>
                    <a:pt x="4926" y="5512"/>
                    <a:pt x="3714" y="5512"/>
                  </a:cubicBezTo>
                  <a:cubicBezTo>
                    <a:pt x="2786" y="5512"/>
                    <a:pt x="1534" y="4960"/>
                    <a:pt x="929" y="5995"/>
                  </a:cubicBezTo>
                  <a:cubicBezTo>
                    <a:pt x="0" y="7099"/>
                    <a:pt x="323" y="9169"/>
                    <a:pt x="323" y="10757"/>
                  </a:cubicBezTo>
                  <a:cubicBezTo>
                    <a:pt x="0" y="11792"/>
                    <a:pt x="0" y="13379"/>
                    <a:pt x="0" y="14414"/>
                  </a:cubicBezTo>
                  <a:cubicBezTo>
                    <a:pt x="929" y="16001"/>
                    <a:pt x="2140" y="18141"/>
                    <a:pt x="3391" y="18624"/>
                  </a:cubicBezTo>
                  <a:cubicBezTo>
                    <a:pt x="4320" y="19176"/>
                    <a:pt x="4926" y="16001"/>
                    <a:pt x="5854" y="16553"/>
                  </a:cubicBezTo>
                  <a:cubicBezTo>
                    <a:pt x="6783" y="16553"/>
                    <a:pt x="6460" y="19728"/>
                    <a:pt x="7388" y="20211"/>
                  </a:cubicBezTo>
                  <a:cubicBezTo>
                    <a:pt x="9246" y="21315"/>
                    <a:pt x="9851" y="20211"/>
                    <a:pt x="12031" y="2076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0" name="Shape 2441">
              <a:extLst>
                <a:ext uri="{FF2B5EF4-FFF2-40B4-BE49-F238E27FC236}">
                  <a16:creationId xmlns:a16="http://schemas.microsoft.com/office/drawing/2014/main" id="{DE8D327A-BAB6-4620-44A9-00B5C482DF64}"/>
                </a:ext>
              </a:extLst>
            </p:cNvPr>
            <p:cNvSpPr/>
            <p:nvPr/>
          </p:nvSpPr>
          <p:spPr>
            <a:xfrm>
              <a:off x="4668407" y="7329687"/>
              <a:ext cx="111756" cy="62035"/>
            </a:xfrm>
            <a:custGeom>
              <a:avLst/>
              <a:gdLst/>
              <a:ahLst/>
              <a:cxnLst>
                <a:cxn ang="0">
                  <a:pos x="wd2" y="hd2"/>
                </a:cxn>
                <a:cxn ang="5400000">
                  <a:pos x="wd2" y="hd2"/>
                </a:cxn>
                <a:cxn ang="10800000">
                  <a:pos x="wd2" y="hd2"/>
                </a:cxn>
                <a:cxn ang="16200000">
                  <a:pos x="wd2" y="hd2"/>
                </a:cxn>
              </a:cxnLst>
              <a:rect l="0" t="0" r="r" b="b"/>
              <a:pathLst>
                <a:path w="20356" h="19271" extrusionOk="0">
                  <a:moveTo>
                    <a:pt x="1579" y="18367"/>
                  </a:moveTo>
                  <a:cubicBezTo>
                    <a:pt x="2990" y="16697"/>
                    <a:pt x="4892" y="15967"/>
                    <a:pt x="6304" y="16697"/>
                  </a:cubicBezTo>
                  <a:cubicBezTo>
                    <a:pt x="9556" y="17532"/>
                    <a:pt x="13299" y="19932"/>
                    <a:pt x="16613" y="19097"/>
                  </a:cubicBezTo>
                  <a:cubicBezTo>
                    <a:pt x="18024" y="18367"/>
                    <a:pt x="18945" y="17532"/>
                    <a:pt x="20356" y="15967"/>
                  </a:cubicBezTo>
                  <a:cubicBezTo>
                    <a:pt x="18454" y="13567"/>
                    <a:pt x="15201" y="6367"/>
                    <a:pt x="12870" y="4802"/>
                  </a:cubicBezTo>
                  <a:cubicBezTo>
                    <a:pt x="9065" y="2402"/>
                    <a:pt x="4892" y="-1668"/>
                    <a:pt x="658" y="732"/>
                  </a:cubicBezTo>
                  <a:cubicBezTo>
                    <a:pt x="-1244" y="1567"/>
                    <a:pt x="1579" y="15132"/>
                    <a:pt x="1579" y="1836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1" name="Shape 2442">
              <a:extLst>
                <a:ext uri="{FF2B5EF4-FFF2-40B4-BE49-F238E27FC236}">
                  <a16:creationId xmlns:a16="http://schemas.microsoft.com/office/drawing/2014/main" id="{B6D91290-D0CE-D9C6-4303-360086901D1D}"/>
                </a:ext>
              </a:extLst>
            </p:cNvPr>
            <p:cNvSpPr/>
            <p:nvPr/>
          </p:nvSpPr>
          <p:spPr>
            <a:xfrm>
              <a:off x="4362624" y="7416484"/>
              <a:ext cx="745286" cy="497664"/>
            </a:xfrm>
            <a:custGeom>
              <a:avLst/>
              <a:gdLst/>
              <a:ahLst/>
              <a:cxnLst>
                <a:cxn ang="0">
                  <a:pos x="wd2" y="hd2"/>
                </a:cxn>
                <a:cxn ang="5400000">
                  <a:pos x="wd2" y="hd2"/>
                </a:cxn>
                <a:cxn ang="10800000">
                  <a:pos x="wd2" y="hd2"/>
                </a:cxn>
                <a:cxn ang="16200000">
                  <a:pos x="wd2" y="hd2"/>
                </a:cxn>
              </a:cxnLst>
              <a:rect l="0" t="0" r="r" b="b"/>
              <a:pathLst>
                <a:path w="20365" h="21600" extrusionOk="0">
                  <a:moveTo>
                    <a:pt x="6154" y="1010"/>
                  </a:moveTo>
                  <a:cubicBezTo>
                    <a:pt x="5868" y="1347"/>
                    <a:pt x="5656" y="1801"/>
                    <a:pt x="5168" y="1801"/>
                  </a:cubicBezTo>
                  <a:cubicBezTo>
                    <a:pt x="4606" y="1904"/>
                    <a:pt x="3409" y="1801"/>
                    <a:pt x="2985" y="1230"/>
                  </a:cubicBezTo>
                  <a:cubicBezTo>
                    <a:pt x="3685" y="1230"/>
                    <a:pt x="4745" y="1801"/>
                    <a:pt x="5380" y="1347"/>
                  </a:cubicBezTo>
                  <a:cubicBezTo>
                    <a:pt x="4883" y="1230"/>
                    <a:pt x="4745" y="1464"/>
                    <a:pt x="4321" y="1230"/>
                  </a:cubicBezTo>
                  <a:cubicBezTo>
                    <a:pt x="4109" y="1128"/>
                    <a:pt x="4183" y="454"/>
                    <a:pt x="3971" y="454"/>
                  </a:cubicBezTo>
                  <a:cubicBezTo>
                    <a:pt x="3759" y="337"/>
                    <a:pt x="3621" y="1010"/>
                    <a:pt x="3409" y="893"/>
                  </a:cubicBezTo>
                  <a:cubicBezTo>
                    <a:pt x="3123" y="791"/>
                    <a:pt x="2847" y="337"/>
                    <a:pt x="2635" y="0"/>
                  </a:cubicBezTo>
                  <a:cubicBezTo>
                    <a:pt x="2497" y="337"/>
                    <a:pt x="2497" y="791"/>
                    <a:pt x="2359" y="1010"/>
                  </a:cubicBezTo>
                  <a:cubicBezTo>
                    <a:pt x="2212" y="1347"/>
                    <a:pt x="1861" y="1347"/>
                    <a:pt x="1723" y="1684"/>
                  </a:cubicBezTo>
                  <a:cubicBezTo>
                    <a:pt x="1650" y="2138"/>
                    <a:pt x="1788" y="2577"/>
                    <a:pt x="1723" y="3031"/>
                  </a:cubicBezTo>
                  <a:cubicBezTo>
                    <a:pt x="1723" y="3251"/>
                    <a:pt x="1576" y="3368"/>
                    <a:pt x="1576" y="3471"/>
                  </a:cubicBezTo>
                  <a:cubicBezTo>
                    <a:pt x="1511" y="3925"/>
                    <a:pt x="1576" y="4481"/>
                    <a:pt x="1511" y="4920"/>
                  </a:cubicBezTo>
                  <a:cubicBezTo>
                    <a:pt x="1438" y="5257"/>
                    <a:pt x="1300" y="5374"/>
                    <a:pt x="1226" y="5594"/>
                  </a:cubicBezTo>
                  <a:cubicBezTo>
                    <a:pt x="1088" y="5711"/>
                    <a:pt x="876" y="5711"/>
                    <a:pt x="802" y="5931"/>
                  </a:cubicBezTo>
                  <a:cubicBezTo>
                    <a:pt x="664" y="6165"/>
                    <a:pt x="802" y="6722"/>
                    <a:pt x="590" y="6941"/>
                  </a:cubicBezTo>
                  <a:cubicBezTo>
                    <a:pt x="526" y="7058"/>
                    <a:pt x="314" y="6941"/>
                    <a:pt x="102" y="6941"/>
                  </a:cubicBezTo>
                  <a:cubicBezTo>
                    <a:pt x="176" y="7395"/>
                    <a:pt x="240" y="7835"/>
                    <a:pt x="240" y="8391"/>
                  </a:cubicBezTo>
                  <a:cubicBezTo>
                    <a:pt x="240" y="8845"/>
                    <a:pt x="102" y="9284"/>
                    <a:pt x="28" y="9738"/>
                  </a:cubicBezTo>
                  <a:cubicBezTo>
                    <a:pt x="-36" y="9958"/>
                    <a:pt x="28" y="10192"/>
                    <a:pt x="28" y="10529"/>
                  </a:cubicBezTo>
                  <a:cubicBezTo>
                    <a:pt x="28" y="11086"/>
                    <a:pt x="102" y="11759"/>
                    <a:pt x="176" y="12418"/>
                  </a:cubicBezTo>
                  <a:cubicBezTo>
                    <a:pt x="664" y="12418"/>
                    <a:pt x="1226" y="12081"/>
                    <a:pt x="1650" y="12316"/>
                  </a:cubicBezTo>
                  <a:cubicBezTo>
                    <a:pt x="1861" y="12535"/>
                    <a:pt x="1576" y="13311"/>
                    <a:pt x="1788" y="13429"/>
                  </a:cubicBezTo>
                  <a:cubicBezTo>
                    <a:pt x="2212" y="13648"/>
                    <a:pt x="2709" y="13429"/>
                    <a:pt x="3123" y="13311"/>
                  </a:cubicBezTo>
                  <a:cubicBezTo>
                    <a:pt x="3483" y="13311"/>
                    <a:pt x="3833" y="13092"/>
                    <a:pt x="4183" y="13311"/>
                  </a:cubicBezTo>
                  <a:cubicBezTo>
                    <a:pt x="4468" y="13546"/>
                    <a:pt x="4606" y="14102"/>
                    <a:pt x="4818" y="14439"/>
                  </a:cubicBezTo>
                  <a:cubicBezTo>
                    <a:pt x="5168" y="14878"/>
                    <a:pt x="5518" y="15113"/>
                    <a:pt x="5868" y="15449"/>
                  </a:cubicBezTo>
                  <a:cubicBezTo>
                    <a:pt x="6080" y="15786"/>
                    <a:pt x="6154" y="16226"/>
                    <a:pt x="6366" y="16445"/>
                  </a:cubicBezTo>
                  <a:cubicBezTo>
                    <a:pt x="6716" y="16899"/>
                    <a:pt x="7139" y="17339"/>
                    <a:pt x="7628" y="17573"/>
                  </a:cubicBezTo>
                  <a:cubicBezTo>
                    <a:pt x="7987" y="17573"/>
                    <a:pt x="8263" y="17002"/>
                    <a:pt x="8613" y="17002"/>
                  </a:cubicBezTo>
                  <a:cubicBezTo>
                    <a:pt x="8899" y="17002"/>
                    <a:pt x="9111" y="17456"/>
                    <a:pt x="9387" y="17573"/>
                  </a:cubicBezTo>
                  <a:cubicBezTo>
                    <a:pt x="9672" y="17573"/>
                    <a:pt x="10023" y="17119"/>
                    <a:pt x="10308" y="17339"/>
                  </a:cubicBezTo>
                  <a:cubicBezTo>
                    <a:pt x="10723" y="17793"/>
                    <a:pt x="10870" y="18905"/>
                    <a:pt x="11284" y="19477"/>
                  </a:cubicBezTo>
                  <a:cubicBezTo>
                    <a:pt x="11432" y="19696"/>
                    <a:pt x="11782" y="19140"/>
                    <a:pt x="11920" y="19477"/>
                  </a:cubicBezTo>
                  <a:cubicBezTo>
                    <a:pt x="11994" y="19813"/>
                    <a:pt x="11708" y="20707"/>
                    <a:pt x="11708" y="21029"/>
                  </a:cubicBezTo>
                  <a:cubicBezTo>
                    <a:pt x="11846" y="21146"/>
                    <a:pt x="11994" y="21146"/>
                    <a:pt x="12132" y="21146"/>
                  </a:cubicBezTo>
                  <a:cubicBezTo>
                    <a:pt x="12556" y="21146"/>
                    <a:pt x="12979" y="21600"/>
                    <a:pt x="13403" y="21600"/>
                  </a:cubicBezTo>
                  <a:cubicBezTo>
                    <a:pt x="13403" y="21029"/>
                    <a:pt x="13329" y="20253"/>
                    <a:pt x="13256" y="19579"/>
                  </a:cubicBezTo>
                  <a:cubicBezTo>
                    <a:pt x="13615" y="18012"/>
                    <a:pt x="13541" y="16782"/>
                    <a:pt x="14665" y="16108"/>
                  </a:cubicBezTo>
                  <a:cubicBezTo>
                    <a:pt x="15650" y="15449"/>
                    <a:pt x="16562" y="14776"/>
                    <a:pt x="17548" y="14439"/>
                  </a:cubicBezTo>
                  <a:cubicBezTo>
                    <a:pt x="19943" y="13648"/>
                    <a:pt x="19943" y="9738"/>
                    <a:pt x="19095" y="6941"/>
                  </a:cubicBezTo>
                  <a:cubicBezTo>
                    <a:pt x="18884" y="6048"/>
                    <a:pt x="19657" y="6268"/>
                    <a:pt x="19943" y="5711"/>
                  </a:cubicBezTo>
                  <a:cubicBezTo>
                    <a:pt x="21564" y="3251"/>
                    <a:pt x="18045" y="3925"/>
                    <a:pt x="17336" y="4261"/>
                  </a:cubicBezTo>
                  <a:cubicBezTo>
                    <a:pt x="16212" y="4701"/>
                    <a:pt x="14950" y="4261"/>
                    <a:pt x="13965" y="5257"/>
                  </a:cubicBezTo>
                  <a:cubicBezTo>
                    <a:pt x="13679" y="5492"/>
                    <a:pt x="11920" y="5931"/>
                    <a:pt x="12694" y="5038"/>
                  </a:cubicBezTo>
                  <a:cubicBezTo>
                    <a:pt x="13753" y="3925"/>
                    <a:pt x="9949" y="571"/>
                    <a:pt x="9884" y="2475"/>
                  </a:cubicBezTo>
                  <a:cubicBezTo>
                    <a:pt x="9884" y="3925"/>
                    <a:pt x="9175" y="3925"/>
                    <a:pt x="8613" y="3807"/>
                  </a:cubicBezTo>
                  <a:cubicBezTo>
                    <a:pt x="8549" y="4261"/>
                    <a:pt x="8475" y="4261"/>
                    <a:pt x="8401" y="4598"/>
                  </a:cubicBezTo>
                  <a:cubicBezTo>
                    <a:pt x="8337" y="4920"/>
                    <a:pt x="8475" y="5374"/>
                    <a:pt x="8337" y="5492"/>
                  </a:cubicBezTo>
                  <a:cubicBezTo>
                    <a:pt x="7913" y="5711"/>
                    <a:pt x="7489" y="5594"/>
                    <a:pt x="7066" y="5374"/>
                  </a:cubicBezTo>
                  <a:cubicBezTo>
                    <a:pt x="6854" y="5257"/>
                    <a:pt x="6789" y="4920"/>
                    <a:pt x="6578" y="4701"/>
                  </a:cubicBezTo>
                  <a:cubicBezTo>
                    <a:pt x="6430" y="4481"/>
                    <a:pt x="6154" y="4027"/>
                    <a:pt x="6016" y="4261"/>
                  </a:cubicBezTo>
                  <a:cubicBezTo>
                    <a:pt x="5804" y="4364"/>
                    <a:pt x="6080" y="5038"/>
                    <a:pt x="5868" y="5155"/>
                  </a:cubicBezTo>
                  <a:cubicBezTo>
                    <a:pt x="5656" y="5374"/>
                    <a:pt x="5306" y="5257"/>
                    <a:pt x="5095" y="5038"/>
                  </a:cubicBezTo>
                  <a:cubicBezTo>
                    <a:pt x="4956" y="4920"/>
                    <a:pt x="5168" y="4598"/>
                    <a:pt x="5242" y="4481"/>
                  </a:cubicBezTo>
                  <a:cubicBezTo>
                    <a:pt x="5380" y="4144"/>
                    <a:pt x="5380" y="3807"/>
                    <a:pt x="5518" y="3588"/>
                  </a:cubicBezTo>
                  <a:cubicBezTo>
                    <a:pt x="5804" y="3031"/>
                    <a:pt x="6218" y="2914"/>
                    <a:pt x="6430" y="2358"/>
                  </a:cubicBezTo>
                  <a:cubicBezTo>
                    <a:pt x="6578" y="2138"/>
                    <a:pt x="6430" y="1684"/>
                    <a:pt x="6366" y="1464"/>
                  </a:cubicBezTo>
                  <a:cubicBezTo>
                    <a:pt x="6218" y="1128"/>
                    <a:pt x="6292" y="1347"/>
                    <a:pt x="6154" y="101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2" name="Shape 2443">
              <a:extLst>
                <a:ext uri="{FF2B5EF4-FFF2-40B4-BE49-F238E27FC236}">
                  <a16:creationId xmlns:a16="http://schemas.microsoft.com/office/drawing/2014/main" id="{DD38EE13-26F2-8A6F-2AFB-41E643E39BA3}"/>
                </a:ext>
              </a:extLst>
            </p:cNvPr>
            <p:cNvSpPr/>
            <p:nvPr/>
          </p:nvSpPr>
          <p:spPr>
            <a:xfrm>
              <a:off x="4547522" y="7428983"/>
              <a:ext cx="172464" cy="117130"/>
            </a:xfrm>
            <a:custGeom>
              <a:avLst/>
              <a:gdLst/>
              <a:ahLst/>
              <a:cxnLst>
                <a:cxn ang="0">
                  <a:pos x="wd2" y="hd2"/>
                </a:cxn>
                <a:cxn ang="5400000">
                  <a:pos x="wd2" y="hd2"/>
                </a:cxn>
                <a:cxn ang="10800000">
                  <a:pos x="wd2" y="hd2"/>
                </a:cxn>
                <a:cxn ang="16200000">
                  <a:pos x="wd2" y="hd2"/>
                </a:cxn>
              </a:cxnLst>
              <a:rect l="0" t="0" r="r" b="b"/>
              <a:pathLst>
                <a:path w="19613" h="20561" extrusionOk="0">
                  <a:moveTo>
                    <a:pt x="14793" y="13321"/>
                  </a:moveTo>
                  <a:cubicBezTo>
                    <a:pt x="13035" y="12909"/>
                    <a:pt x="11582" y="11555"/>
                    <a:pt x="11888" y="11555"/>
                  </a:cubicBezTo>
                  <a:cubicBezTo>
                    <a:pt x="12461" y="10613"/>
                    <a:pt x="13341" y="8377"/>
                    <a:pt x="14220" y="8377"/>
                  </a:cubicBezTo>
                  <a:cubicBezTo>
                    <a:pt x="15367" y="7965"/>
                    <a:pt x="21216" y="7494"/>
                    <a:pt x="19190" y="2962"/>
                  </a:cubicBezTo>
                  <a:cubicBezTo>
                    <a:pt x="17431" y="-628"/>
                    <a:pt x="13035" y="1197"/>
                    <a:pt x="10129" y="314"/>
                  </a:cubicBezTo>
                  <a:cubicBezTo>
                    <a:pt x="6918" y="-628"/>
                    <a:pt x="5733" y="726"/>
                    <a:pt x="4586" y="2079"/>
                  </a:cubicBezTo>
                  <a:cubicBezTo>
                    <a:pt x="5159" y="3433"/>
                    <a:pt x="4854" y="2550"/>
                    <a:pt x="5465" y="3904"/>
                  </a:cubicBezTo>
                  <a:cubicBezTo>
                    <a:pt x="5733" y="4787"/>
                    <a:pt x="6344" y="6611"/>
                    <a:pt x="5733" y="7494"/>
                  </a:cubicBezTo>
                  <a:cubicBezTo>
                    <a:pt x="4854" y="9731"/>
                    <a:pt x="3133" y="10201"/>
                    <a:pt x="1948" y="12438"/>
                  </a:cubicBezTo>
                  <a:cubicBezTo>
                    <a:pt x="1375" y="13321"/>
                    <a:pt x="1375" y="14674"/>
                    <a:pt x="801" y="16028"/>
                  </a:cubicBezTo>
                  <a:cubicBezTo>
                    <a:pt x="495" y="16499"/>
                    <a:pt x="-384" y="17794"/>
                    <a:pt x="189" y="18265"/>
                  </a:cubicBezTo>
                  <a:cubicBezTo>
                    <a:pt x="1069" y="19147"/>
                    <a:pt x="2521" y="19618"/>
                    <a:pt x="3401" y="18735"/>
                  </a:cubicBezTo>
                  <a:cubicBezTo>
                    <a:pt x="4280" y="18265"/>
                    <a:pt x="3133" y="15557"/>
                    <a:pt x="4012" y="15145"/>
                  </a:cubicBezTo>
                  <a:cubicBezTo>
                    <a:pt x="4586" y="14204"/>
                    <a:pt x="5733" y="16028"/>
                    <a:pt x="6344" y="16911"/>
                  </a:cubicBezTo>
                  <a:cubicBezTo>
                    <a:pt x="7224" y="17794"/>
                    <a:pt x="7491" y="19147"/>
                    <a:pt x="8371" y="19618"/>
                  </a:cubicBezTo>
                  <a:cubicBezTo>
                    <a:pt x="10129" y="20501"/>
                    <a:pt x="11888" y="20972"/>
                    <a:pt x="13646" y="20089"/>
                  </a:cubicBezTo>
                  <a:cubicBezTo>
                    <a:pt x="14220" y="19618"/>
                    <a:pt x="13646" y="17794"/>
                    <a:pt x="13914" y="16499"/>
                  </a:cubicBezTo>
                  <a:cubicBezTo>
                    <a:pt x="14220" y="15145"/>
                    <a:pt x="14526" y="15145"/>
                    <a:pt x="14793" y="1332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3" name="Shape 2444">
              <a:extLst>
                <a:ext uri="{FF2B5EF4-FFF2-40B4-BE49-F238E27FC236}">
                  <a16:creationId xmlns:a16="http://schemas.microsoft.com/office/drawing/2014/main" id="{C2EF8D55-B6B4-BCAA-F51E-AE402132ACB9}"/>
                </a:ext>
              </a:extLst>
            </p:cNvPr>
            <p:cNvSpPr/>
            <p:nvPr/>
          </p:nvSpPr>
          <p:spPr>
            <a:xfrm>
              <a:off x="3681907" y="5176477"/>
              <a:ext cx="155834" cy="156988"/>
            </a:xfrm>
            <a:custGeom>
              <a:avLst/>
              <a:gdLst/>
              <a:ahLst/>
              <a:cxnLst>
                <a:cxn ang="0">
                  <a:pos x="wd2" y="hd2"/>
                </a:cxn>
                <a:cxn ang="5400000">
                  <a:pos x="wd2" y="hd2"/>
                </a:cxn>
                <a:cxn ang="10800000">
                  <a:pos x="wd2" y="hd2"/>
                </a:cxn>
                <a:cxn ang="16200000">
                  <a:pos x="wd2" y="hd2"/>
                </a:cxn>
              </a:cxnLst>
              <a:rect l="0" t="0" r="r" b="b"/>
              <a:pathLst>
                <a:path w="21207" h="21363" extrusionOk="0">
                  <a:moveTo>
                    <a:pt x="21207" y="7755"/>
                  </a:moveTo>
                  <a:cubicBezTo>
                    <a:pt x="20887" y="10540"/>
                    <a:pt x="20157" y="13006"/>
                    <a:pt x="20157" y="15792"/>
                  </a:cubicBezTo>
                  <a:cubicBezTo>
                    <a:pt x="20157" y="17527"/>
                    <a:pt x="20522" y="18943"/>
                    <a:pt x="20887" y="20678"/>
                  </a:cubicBezTo>
                  <a:cubicBezTo>
                    <a:pt x="19106" y="20678"/>
                    <a:pt x="17371" y="20998"/>
                    <a:pt x="16001" y="20998"/>
                  </a:cubicBezTo>
                  <a:cubicBezTo>
                    <a:pt x="14220" y="20998"/>
                    <a:pt x="12485" y="20998"/>
                    <a:pt x="11115" y="21363"/>
                  </a:cubicBezTo>
                  <a:cubicBezTo>
                    <a:pt x="10065" y="21363"/>
                    <a:pt x="9014" y="21363"/>
                    <a:pt x="7964" y="20998"/>
                  </a:cubicBezTo>
                  <a:cubicBezTo>
                    <a:pt x="6229" y="20313"/>
                    <a:pt x="4448" y="19628"/>
                    <a:pt x="3443" y="18212"/>
                  </a:cubicBezTo>
                  <a:cubicBezTo>
                    <a:pt x="1662" y="16111"/>
                    <a:pt x="1342" y="13691"/>
                    <a:pt x="657" y="11271"/>
                  </a:cubicBezTo>
                  <a:cubicBezTo>
                    <a:pt x="292" y="10540"/>
                    <a:pt x="-393" y="9170"/>
                    <a:pt x="292" y="8440"/>
                  </a:cubicBezTo>
                  <a:cubicBezTo>
                    <a:pt x="977" y="7755"/>
                    <a:pt x="2393" y="9170"/>
                    <a:pt x="3078" y="8805"/>
                  </a:cubicBezTo>
                  <a:cubicBezTo>
                    <a:pt x="3763" y="8120"/>
                    <a:pt x="2393" y="6704"/>
                    <a:pt x="2712" y="6385"/>
                  </a:cubicBezTo>
                  <a:cubicBezTo>
                    <a:pt x="3443" y="6019"/>
                    <a:pt x="4813" y="7755"/>
                    <a:pt x="5178" y="7070"/>
                  </a:cubicBezTo>
                  <a:cubicBezTo>
                    <a:pt x="5863" y="6019"/>
                    <a:pt x="4448" y="4284"/>
                    <a:pt x="5178" y="3234"/>
                  </a:cubicBezTo>
                  <a:cubicBezTo>
                    <a:pt x="6229" y="1818"/>
                    <a:pt x="8329" y="1498"/>
                    <a:pt x="10065" y="768"/>
                  </a:cubicBezTo>
                  <a:cubicBezTo>
                    <a:pt x="11115" y="448"/>
                    <a:pt x="12485" y="-237"/>
                    <a:pt x="13900" y="83"/>
                  </a:cubicBezTo>
                  <a:cubicBezTo>
                    <a:pt x="15270" y="83"/>
                    <a:pt x="16321" y="768"/>
                    <a:pt x="17006" y="1818"/>
                  </a:cubicBezTo>
                  <a:cubicBezTo>
                    <a:pt x="17371" y="2868"/>
                    <a:pt x="17006" y="3919"/>
                    <a:pt x="17006" y="4604"/>
                  </a:cubicBezTo>
                  <a:cubicBezTo>
                    <a:pt x="16686" y="6019"/>
                    <a:pt x="16001" y="7070"/>
                    <a:pt x="16321" y="8120"/>
                  </a:cubicBezTo>
                  <a:cubicBezTo>
                    <a:pt x="16321" y="8805"/>
                    <a:pt x="17006" y="8440"/>
                    <a:pt x="17736" y="8440"/>
                  </a:cubicBezTo>
                  <a:cubicBezTo>
                    <a:pt x="18787" y="8440"/>
                    <a:pt x="19837" y="8120"/>
                    <a:pt x="21207" y="77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4" name="Shape 2445">
              <a:extLst>
                <a:ext uri="{FF2B5EF4-FFF2-40B4-BE49-F238E27FC236}">
                  <a16:creationId xmlns:a16="http://schemas.microsoft.com/office/drawing/2014/main" id="{2CC1620A-1B1C-5597-A1BE-6ED79027623A}"/>
                </a:ext>
              </a:extLst>
            </p:cNvPr>
            <p:cNvSpPr/>
            <p:nvPr/>
          </p:nvSpPr>
          <p:spPr>
            <a:xfrm>
              <a:off x="3745913" y="5073650"/>
              <a:ext cx="666769" cy="533342"/>
            </a:xfrm>
            <a:custGeom>
              <a:avLst/>
              <a:gdLst/>
              <a:ahLst/>
              <a:cxnLst>
                <a:cxn ang="0">
                  <a:pos x="wd2" y="hd2"/>
                </a:cxn>
                <a:cxn ang="5400000">
                  <a:pos x="wd2" y="hd2"/>
                </a:cxn>
                <a:cxn ang="10800000">
                  <a:pos x="wd2" y="hd2"/>
                </a:cxn>
                <a:cxn ang="16200000">
                  <a:pos x="wd2" y="hd2"/>
                </a:cxn>
              </a:cxnLst>
              <a:rect l="0" t="0" r="r" b="b"/>
              <a:pathLst>
                <a:path w="21352" h="21600" extrusionOk="0">
                  <a:moveTo>
                    <a:pt x="15339" y="96"/>
                  </a:moveTo>
                  <a:cubicBezTo>
                    <a:pt x="15253" y="519"/>
                    <a:pt x="15339" y="929"/>
                    <a:pt x="15004" y="1038"/>
                  </a:cubicBezTo>
                  <a:cubicBezTo>
                    <a:pt x="14346" y="1353"/>
                    <a:pt x="13612" y="1148"/>
                    <a:pt x="13029" y="929"/>
                  </a:cubicBezTo>
                  <a:cubicBezTo>
                    <a:pt x="12533" y="833"/>
                    <a:pt x="12284" y="0"/>
                    <a:pt x="11788" y="0"/>
                  </a:cubicBezTo>
                  <a:cubicBezTo>
                    <a:pt x="11378" y="96"/>
                    <a:pt x="11302" y="833"/>
                    <a:pt x="11054" y="1148"/>
                  </a:cubicBezTo>
                  <a:cubicBezTo>
                    <a:pt x="10643" y="1762"/>
                    <a:pt x="10222" y="2500"/>
                    <a:pt x="9650" y="2814"/>
                  </a:cubicBezTo>
                  <a:cubicBezTo>
                    <a:pt x="9316" y="3019"/>
                    <a:pt x="8906" y="2609"/>
                    <a:pt x="8571" y="2705"/>
                  </a:cubicBezTo>
                  <a:cubicBezTo>
                    <a:pt x="8161" y="2910"/>
                    <a:pt x="7837" y="3443"/>
                    <a:pt x="7502" y="3757"/>
                  </a:cubicBezTo>
                  <a:cubicBezTo>
                    <a:pt x="7340" y="3962"/>
                    <a:pt x="7092" y="4167"/>
                    <a:pt x="7016" y="4481"/>
                  </a:cubicBezTo>
                  <a:cubicBezTo>
                    <a:pt x="6930" y="4905"/>
                    <a:pt x="7178" y="5629"/>
                    <a:pt x="6930" y="5738"/>
                  </a:cubicBezTo>
                  <a:cubicBezTo>
                    <a:pt x="6596" y="5943"/>
                    <a:pt x="6347" y="5110"/>
                    <a:pt x="5937" y="5000"/>
                  </a:cubicBezTo>
                  <a:cubicBezTo>
                    <a:pt x="5365" y="5000"/>
                    <a:pt x="4706" y="5110"/>
                    <a:pt x="4124" y="5424"/>
                  </a:cubicBezTo>
                  <a:cubicBezTo>
                    <a:pt x="3627" y="5629"/>
                    <a:pt x="3303" y="6148"/>
                    <a:pt x="2969" y="6462"/>
                  </a:cubicBezTo>
                  <a:cubicBezTo>
                    <a:pt x="2893" y="7296"/>
                    <a:pt x="2720" y="8033"/>
                    <a:pt x="2720" y="8867"/>
                  </a:cubicBezTo>
                  <a:cubicBezTo>
                    <a:pt x="2720" y="9386"/>
                    <a:pt x="2807" y="9809"/>
                    <a:pt x="2893" y="10329"/>
                  </a:cubicBezTo>
                  <a:cubicBezTo>
                    <a:pt x="2807" y="10739"/>
                    <a:pt x="2645" y="11162"/>
                    <a:pt x="2645" y="11586"/>
                  </a:cubicBezTo>
                  <a:cubicBezTo>
                    <a:pt x="2645" y="11995"/>
                    <a:pt x="2893" y="12310"/>
                    <a:pt x="2893" y="12720"/>
                  </a:cubicBezTo>
                  <a:cubicBezTo>
                    <a:pt x="2969" y="13252"/>
                    <a:pt x="2893" y="13867"/>
                    <a:pt x="2720" y="14400"/>
                  </a:cubicBezTo>
                  <a:cubicBezTo>
                    <a:pt x="2645" y="14714"/>
                    <a:pt x="2310" y="14714"/>
                    <a:pt x="2148" y="15028"/>
                  </a:cubicBezTo>
                  <a:cubicBezTo>
                    <a:pt x="2148" y="15124"/>
                    <a:pt x="2224" y="15343"/>
                    <a:pt x="2310" y="15438"/>
                  </a:cubicBezTo>
                  <a:cubicBezTo>
                    <a:pt x="2558" y="15643"/>
                    <a:pt x="2969" y="15548"/>
                    <a:pt x="3141" y="15753"/>
                  </a:cubicBezTo>
                  <a:cubicBezTo>
                    <a:pt x="3303" y="15862"/>
                    <a:pt x="3303" y="16176"/>
                    <a:pt x="3141" y="16176"/>
                  </a:cubicBezTo>
                  <a:cubicBezTo>
                    <a:pt x="2893" y="16381"/>
                    <a:pt x="2558" y="16272"/>
                    <a:pt x="2310" y="16381"/>
                  </a:cubicBezTo>
                  <a:cubicBezTo>
                    <a:pt x="2148" y="16477"/>
                    <a:pt x="1975" y="16791"/>
                    <a:pt x="1813" y="16900"/>
                  </a:cubicBezTo>
                  <a:cubicBezTo>
                    <a:pt x="1403" y="16900"/>
                    <a:pt x="993" y="16381"/>
                    <a:pt x="658" y="16586"/>
                  </a:cubicBezTo>
                  <a:cubicBezTo>
                    <a:pt x="335" y="16791"/>
                    <a:pt x="0" y="17214"/>
                    <a:pt x="0" y="17734"/>
                  </a:cubicBezTo>
                  <a:cubicBezTo>
                    <a:pt x="86" y="18157"/>
                    <a:pt x="583" y="18157"/>
                    <a:pt x="907" y="18362"/>
                  </a:cubicBezTo>
                  <a:cubicBezTo>
                    <a:pt x="1490" y="18362"/>
                    <a:pt x="2062" y="18157"/>
                    <a:pt x="2645" y="18253"/>
                  </a:cubicBezTo>
                  <a:cubicBezTo>
                    <a:pt x="3141" y="18362"/>
                    <a:pt x="3465" y="18786"/>
                    <a:pt x="3875" y="18991"/>
                  </a:cubicBezTo>
                  <a:cubicBezTo>
                    <a:pt x="4124" y="19086"/>
                    <a:pt x="4285" y="19305"/>
                    <a:pt x="4458" y="19195"/>
                  </a:cubicBezTo>
                  <a:cubicBezTo>
                    <a:pt x="5279" y="18786"/>
                    <a:pt x="6023" y="18157"/>
                    <a:pt x="6682" y="17419"/>
                  </a:cubicBezTo>
                  <a:cubicBezTo>
                    <a:pt x="6930" y="17105"/>
                    <a:pt x="6844" y="17009"/>
                    <a:pt x="7092" y="16695"/>
                  </a:cubicBezTo>
                  <a:cubicBezTo>
                    <a:pt x="7178" y="16477"/>
                    <a:pt x="7912" y="15957"/>
                    <a:pt x="7999" y="15957"/>
                  </a:cubicBezTo>
                  <a:cubicBezTo>
                    <a:pt x="8333" y="15753"/>
                    <a:pt x="8992" y="15753"/>
                    <a:pt x="9240" y="16067"/>
                  </a:cubicBezTo>
                  <a:cubicBezTo>
                    <a:pt x="9402" y="16381"/>
                    <a:pt x="9737" y="16477"/>
                    <a:pt x="9985" y="16477"/>
                  </a:cubicBezTo>
                  <a:cubicBezTo>
                    <a:pt x="10395" y="16477"/>
                    <a:pt x="10719" y="16176"/>
                    <a:pt x="11129" y="16176"/>
                  </a:cubicBezTo>
                  <a:cubicBezTo>
                    <a:pt x="11216" y="16176"/>
                    <a:pt x="11302" y="16176"/>
                    <a:pt x="11378" y="16176"/>
                  </a:cubicBezTo>
                  <a:cubicBezTo>
                    <a:pt x="11464" y="15343"/>
                    <a:pt x="11464" y="14605"/>
                    <a:pt x="11712" y="13867"/>
                  </a:cubicBezTo>
                  <a:cubicBezTo>
                    <a:pt x="11788" y="13553"/>
                    <a:pt x="11960" y="13252"/>
                    <a:pt x="12122" y="13034"/>
                  </a:cubicBezTo>
                  <a:cubicBezTo>
                    <a:pt x="12371" y="12829"/>
                    <a:pt x="12705" y="12720"/>
                    <a:pt x="12954" y="12829"/>
                  </a:cubicBezTo>
                  <a:cubicBezTo>
                    <a:pt x="13364" y="13034"/>
                    <a:pt x="13849" y="13252"/>
                    <a:pt x="14184" y="13772"/>
                  </a:cubicBezTo>
                  <a:cubicBezTo>
                    <a:pt x="14346" y="14086"/>
                    <a:pt x="14098" y="15028"/>
                    <a:pt x="14022" y="15438"/>
                  </a:cubicBezTo>
                  <a:cubicBezTo>
                    <a:pt x="14346" y="15643"/>
                    <a:pt x="14594" y="15862"/>
                    <a:pt x="14929" y="16381"/>
                  </a:cubicBezTo>
                  <a:cubicBezTo>
                    <a:pt x="15587" y="17419"/>
                    <a:pt x="16742" y="19715"/>
                    <a:pt x="17897" y="19400"/>
                  </a:cubicBezTo>
                  <a:cubicBezTo>
                    <a:pt x="18880" y="19195"/>
                    <a:pt x="19301" y="18786"/>
                    <a:pt x="20207" y="19305"/>
                  </a:cubicBezTo>
                  <a:cubicBezTo>
                    <a:pt x="21600" y="20029"/>
                    <a:pt x="20693" y="20548"/>
                    <a:pt x="20693" y="21600"/>
                  </a:cubicBezTo>
                  <a:cubicBezTo>
                    <a:pt x="20780" y="21286"/>
                    <a:pt x="21276" y="21176"/>
                    <a:pt x="21352" y="20452"/>
                  </a:cubicBezTo>
                  <a:cubicBezTo>
                    <a:pt x="21352" y="19619"/>
                    <a:pt x="21190" y="19195"/>
                    <a:pt x="20942" y="18567"/>
                  </a:cubicBezTo>
                  <a:cubicBezTo>
                    <a:pt x="20445" y="16900"/>
                    <a:pt x="19301" y="15438"/>
                    <a:pt x="18631" y="13976"/>
                  </a:cubicBezTo>
                  <a:cubicBezTo>
                    <a:pt x="18146" y="12829"/>
                    <a:pt x="16991" y="11271"/>
                    <a:pt x="16742" y="10219"/>
                  </a:cubicBezTo>
                  <a:cubicBezTo>
                    <a:pt x="15836" y="7924"/>
                    <a:pt x="14184" y="4481"/>
                    <a:pt x="16084" y="2391"/>
                  </a:cubicBezTo>
                  <a:cubicBezTo>
                    <a:pt x="16332" y="2186"/>
                    <a:pt x="17476" y="2186"/>
                    <a:pt x="17563" y="1872"/>
                  </a:cubicBezTo>
                  <a:cubicBezTo>
                    <a:pt x="17725" y="1448"/>
                    <a:pt x="16332" y="833"/>
                    <a:pt x="16084" y="615"/>
                  </a:cubicBezTo>
                  <a:cubicBezTo>
                    <a:pt x="15836" y="410"/>
                    <a:pt x="15587" y="205"/>
                    <a:pt x="15339" y="9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5" name="Shape 2446">
              <a:extLst>
                <a:ext uri="{FF2B5EF4-FFF2-40B4-BE49-F238E27FC236}">
                  <a16:creationId xmlns:a16="http://schemas.microsoft.com/office/drawing/2014/main" id="{00FF54BA-C882-BFC2-3365-40718198A445}"/>
                </a:ext>
              </a:extLst>
            </p:cNvPr>
            <p:cNvSpPr/>
            <p:nvPr/>
          </p:nvSpPr>
          <p:spPr>
            <a:xfrm>
              <a:off x="4101180" y="5388959"/>
              <a:ext cx="89910" cy="84239"/>
            </a:xfrm>
            <a:custGeom>
              <a:avLst/>
              <a:gdLst/>
              <a:ahLst/>
              <a:cxnLst>
                <a:cxn ang="0">
                  <a:pos x="wd2" y="hd2"/>
                </a:cxn>
                <a:cxn ang="5400000">
                  <a:pos x="wd2" y="hd2"/>
                </a:cxn>
                <a:cxn ang="10800000">
                  <a:pos x="wd2" y="hd2"/>
                </a:cxn>
                <a:cxn ang="16200000">
                  <a:pos x="wd2" y="hd2"/>
                </a:cxn>
              </a:cxnLst>
              <a:rect l="0" t="0" r="r" b="b"/>
              <a:pathLst>
                <a:path w="20813" h="21187" extrusionOk="0">
                  <a:moveTo>
                    <a:pt x="0" y="21187"/>
                  </a:moveTo>
                  <a:cubicBezTo>
                    <a:pt x="7855" y="20504"/>
                    <a:pt x="13196" y="14613"/>
                    <a:pt x="19244" y="16577"/>
                  </a:cubicBezTo>
                  <a:cubicBezTo>
                    <a:pt x="19793" y="14015"/>
                    <a:pt x="21600" y="8125"/>
                    <a:pt x="20422" y="6161"/>
                  </a:cubicBezTo>
                  <a:cubicBezTo>
                    <a:pt x="17987" y="2917"/>
                    <a:pt x="14452" y="1551"/>
                    <a:pt x="11468" y="270"/>
                  </a:cubicBezTo>
                  <a:cubicBezTo>
                    <a:pt x="9661" y="-413"/>
                    <a:pt x="7226" y="270"/>
                    <a:pt x="5420" y="1551"/>
                  </a:cubicBezTo>
                  <a:cubicBezTo>
                    <a:pt x="4241" y="2917"/>
                    <a:pt x="2985" y="4795"/>
                    <a:pt x="2435" y="6759"/>
                  </a:cubicBezTo>
                  <a:cubicBezTo>
                    <a:pt x="628" y="11369"/>
                    <a:pt x="628" y="15979"/>
                    <a:pt x="0" y="2118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6" name="Shape 2447">
              <a:extLst>
                <a:ext uri="{FF2B5EF4-FFF2-40B4-BE49-F238E27FC236}">
                  <a16:creationId xmlns:a16="http://schemas.microsoft.com/office/drawing/2014/main" id="{C73FB5D0-89FD-8429-138C-0C54524471AF}"/>
                </a:ext>
              </a:extLst>
            </p:cNvPr>
            <p:cNvSpPr/>
            <p:nvPr/>
          </p:nvSpPr>
          <p:spPr>
            <a:xfrm>
              <a:off x="3431036" y="4669075"/>
              <a:ext cx="155719" cy="139632"/>
            </a:xfrm>
            <a:custGeom>
              <a:avLst/>
              <a:gdLst/>
              <a:ahLst/>
              <a:cxnLst>
                <a:cxn ang="0">
                  <a:pos x="wd2" y="hd2"/>
                </a:cxn>
                <a:cxn ang="5400000">
                  <a:pos x="wd2" y="hd2"/>
                </a:cxn>
                <a:cxn ang="10800000">
                  <a:pos x="wd2" y="hd2"/>
                </a:cxn>
                <a:cxn ang="16200000">
                  <a:pos x="wd2" y="hd2"/>
                </a:cxn>
              </a:cxnLst>
              <a:rect l="0" t="0" r="r" b="b"/>
              <a:pathLst>
                <a:path w="21192" h="21407" extrusionOk="0">
                  <a:moveTo>
                    <a:pt x="813" y="11173"/>
                  </a:moveTo>
                  <a:cubicBezTo>
                    <a:pt x="2183" y="11584"/>
                    <a:pt x="3919" y="12356"/>
                    <a:pt x="5334" y="12767"/>
                  </a:cubicBezTo>
                  <a:cubicBezTo>
                    <a:pt x="6019" y="13127"/>
                    <a:pt x="7070" y="13538"/>
                    <a:pt x="7755" y="14310"/>
                  </a:cubicBezTo>
                  <a:cubicBezTo>
                    <a:pt x="8805" y="15133"/>
                    <a:pt x="9170" y="16676"/>
                    <a:pt x="9855" y="17858"/>
                  </a:cubicBezTo>
                  <a:cubicBezTo>
                    <a:pt x="10540" y="18630"/>
                    <a:pt x="10905" y="19453"/>
                    <a:pt x="11956" y="19813"/>
                  </a:cubicBezTo>
                  <a:cubicBezTo>
                    <a:pt x="12641" y="19813"/>
                    <a:pt x="13006" y="18630"/>
                    <a:pt x="13691" y="18630"/>
                  </a:cubicBezTo>
                  <a:cubicBezTo>
                    <a:pt x="15107" y="19041"/>
                    <a:pt x="15792" y="21407"/>
                    <a:pt x="17207" y="21407"/>
                  </a:cubicBezTo>
                  <a:cubicBezTo>
                    <a:pt x="17892" y="20996"/>
                    <a:pt x="18258" y="19453"/>
                    <a:pt x="18258" y="18270"/>
                  </a:cubicBezTo>
                  <a:cubicBezTo>
                    <a:pt x="18258" y="17087"/>
                    <a:pt x="16477" y="15904"/>
                    <a:pt x="17207" y="15133"/>
                  </a:cubicBezTo>
                  <a:cubicBezTo>
                    <a:pt x="18258" y="14721"/>
                    <a:pt x="18943" y="16316"/>
                    <a:pt x="19628" y="17087"/>
                  </a:cubicBezTo>
                  <a:cubicBezTo>
                    <a:pt x="19628" y="15904"/>
                    <a:pt x="20313" y="14310"/>
                    <a:pt x="19993" y="12767"/>
                  </a:cubicBezTo>
                  <a:cubicBezTo>
                    <a:pt x="19993" y="11584"/>
                    <a:pt x="18258" y="10401"/>
                    <a:pt x="18258" y="9218"/>
                  </a:cubicBezTo>
                  <a:cubicBezTo>
                    <a:pt x="18577" y="7624"/>
                    <a:pt x="20313" y="7624"/>
                    <a:pt x="20678" y="6493"/>
                  </a:cubicBezTo>
                  <a:cubicBezTo>
                    <a:pt x="21363" y="5670"/>
                    <a:pt x="21363" y="4127"/>
                    <a:pt x="20678" y="2944"/>
                  </a:cubicBezTo>
                  <a:cubicBezTo>
                    <a:pt x="20678" y="2533"/>
                    <a:pt x="19628" y="2944"/>
                    <a:pt x="18943" y="2944"/>
                  </a:cubicBezTo>
                  <a:cubicBezTo>
                    <a:pt x="18577" y="3356"/>
                    <a:pt x="17892" y="3716"/>
                    <a:pt x="17527" y="3716"/>
                  </a:cubicBezTo>
                  <a:cubicBezTo>
                    <a:pt x="16477" y="3356"/>
                    <a:pt x="15792" y="2173"/>
                    <a:pt x="14741" y="2173"/>
                  </a:cubicBezTo>
                  <a:cubicBezTo>
                    <a:pt x="13371" y="2173"/>
                    <a:pt x="11956" y="2944"/>
                    <a:pt x="10905" y="3716"/>
                  </a:cubicBezTo>
                  <a:cubicBezTo>
                    <a:pt x="10221" y="3716"/>
                    <a:pt x="10221" y="5670"/>
                    <a:pt x="9855" y="5310"/>
                  </a:cubicBezTo>
                  <a:cubicBezTo>
                    <a:pt x="8120" y="4127"/>
                    <a:pt x="8120" y="1350"/>
                    <a:pt x="6385" y="578"/>
                  </a:cubicBezTo>
                  <a:cubicBezTo>
                    <a:pt x="5334" y="-193"/>
                    <a:pt x="3599" y="-193"/>
                    <a:pt x="2549" y="578"/>
                  </a:cubicBezTo>
                  <a:cubicBezTo>
                    <a:pt x="1498" y="1350"/>
                    <a:pt x="2549" y="2944"/>
                    <a:pt x="1864" y="4127"/>
                  </a:cubicBezTo>
                  <a:cubicBezTo>
                    <a:pt x="1864" y="4487"/>
                    <a:pt x="448" y="4487"/>
                    <a:pt x="83" y="4898"/>
                  </a:cubicBezTo>
                  <a:cubicBezTo>
                    <a:pt x="-237" y="6853"/>
                    <a:pt x="448" y="9218"/>
                    <a:pt x="813" y="1117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7" name="Shape 2448">
              <a:extLst>
                <a:ext uri="{FF2B5EF4-FFF2-40B4-BE49-F238E27FC236}">
                  <a16:creationId xmlns:a16="http://schemas.microsoft.com/office/drawing/2014/main" id="{2CEA43F8-BD59-CC84-C7FC-44766D7EDAF1}"/>
                </a:ext>
              </a:extLst>
            </p:cNvPr>
            <p:cNvSpPr/>
            <p:nvPr/>
          </p:nvSpPr>
          <p:spPr>
            <a:xfrm>
              <a:off x="3648955" y="4689403"/>
              <a:ext cx="77279" cy="80648"/>
            </a:xfrm>
            <a:custGeom>
              <a:avLst/>
              <a:gdLst/>
              <a:ahLst/>
              <a:cxnLst>
                <a:cxn ang="0">
                  <a:pos x="wd2" y="hd2"/>
                </a:cxn>
                <a:cxn ang="5400000">
                  <a:pos x="wd2" y="hd2"/>
                </a:cxn>
                <a:cxn ang="10800000">
                  <a:pos x="wd2" y="hd2"/>
                </a:cxn>
                <a:cxn ang="16200000">
                  <a:pos x="wd2" y="hd2"/>
                </a:cxn>
              </a:cxnLst>
              <a:rect l="0" t="0" r="r" b="b"/>
              <a:pathLst>
                <a:path w="20134" h="21011" extrusionOk="0">
                  <a:moveTo>
                    <a:pt x="7742" y="18975"/>
                  </a:moveTo>
                  <a:cubicBezTo>
                    <a:pt x="19821" y="21011"/>
                    <a:pt x="19821" y="21011"/>
                    <a:pt x="19821" y="21011"/>
                  </a:cubicBezTo>
                  <a:cubicBezTo>
                    <a:pt x="19821" y="19683"/>
                    <a:pt x="20526" y="18355"/>
                    <a:pt x="19821" y="16939"/>
                  </a:cubicBezTo>
                  <a:cubicBezTo>
                    <a:pt x="19115" y="15611"/>
                    <a:pt x="16470" y="16319"/>
                    <a:pt x="15148" y="14903"/>
                  </a:cubicBezTo>
                  <a:cubicBezTo>
                    <a:pt x="13737" y="14283"/>
                    <a:pt x="12415" y="12247"/>
                    <a:pt x="12415" y="10919"/>
                  </a:cubicBezTo>
                  <a:cubicBezTo>
                    <a:pt x="13120" y="9503"/>
                    <a:pt x="16470" y="10211"/>
                    <a:pt x="16470" y="8883"/>
                  </a:cubicBezTo>
                  <a:cubicBezTo>
                    <a:pt x="16470" y="6139"/>
                    <a:pt x="13737" y="4811"/>
                    <a:pt x="12415" y="2775"/>
                  </a:cubicBezTo>
                  <a:cubicBezTo>
                    <a:pt x="9770" y="2067"/>
                    <a:pt x="7742" y="-589"/>
                    <a:pt x="5009" y="119"/>
                  </a:cubicBezTo>
                  <a:cubicBezTo>
                    <a:pt x="3687" y="119"/>
                    <a:pt x="4392" y="3483"/>
                    <a:pt x="2982" y="4811"/>
                  </a:cubicBezTo>
                  <a:cubicBezTo>
                    <a:pt x="2364" y="5519"/>
                    <a:pt x="1659" y="5519"/>
                    <a:pt x="1659" y="6139"/>
                  </a:cubicBezTo>
                  <a:cubicBezTo>
                    <a:pt x="954" y="6847"/>
                    <a:pt x="2982" y="7467"/>
                    <a:pt x="2982" y="8175"/>
                  </a:cubicBezTo>
                  <a:cubicBezTo>
                    <a:pt x="2364" y="11539"/>
                    <a:pt x="-1074" y="14283"/>
                    <a:pt x="337" y="17647"/>
                  </a:cubicBezTo>
                  <a:cubicBezTo>
                    <a:pt x="954" y="19683"/>
                    <a:pt x="5009" y="18355"/>
                    <a:pt x="7742" y="1897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8" name="Shape 2449">
              <a:extLst>
                <a:ext uri="{FF2B5EF4-FFF2-40B4-BE49-F238E27FC236}">
                  <a16:creationId xmlns:a16="http://schemas.microsoft.com/office/drawing/2014/main" id="{4C1E2715-68F5-10AB-A551-CF818DEA3BF0}"/>
                </a:ext>
              </a:extLst>
            </p:cNvPr>
            <p:cNvSpPr/>
            <p:nvPr/>
          </p:nvSpPr>
          <p:spPr>
            <a:xfrm>
              <a:off x="3598752" y="4559298"/>
              <a:ext cx="123043" cy="102239"/>
            </a:xfrm>
            <a:custGeom>
              <a:avLst/>
              <a:gdLst/>
              <a:ahLst/>
              <a:cxnLst>
                <a:cxn ang="0">
                  <a:pos x="wd2" y="hd2"/>
                </a:cxn>
                <a:cxn ang="5400000">
                  <a:pos x="wd2" y="hd2"/>
                </a:cxn>
                <a:cxn ang="10800000">
                  <a:pos x="wd2" y="hd2"/>
                </a:cxn>
                <a:cxn ang="16200000">
                  <a:pos x="wd2" y="hd2"/>
                </a:cxn>
              </a:cxnLst>
              <a:rect l="0" t="0" r="r" b="b"/>
              <a:pathLst>
                <a:path w="21600" h="21600" extrusionOk="0">
                  <a:moveTo>
                    <a:pt x="21600" y="16218"/>
                  </a:moveTo>
                  <a:cubicBezTo>
                    <a:pt x="20243" y="21104"/>
                    <a:pt x="20243" y="21104"/>
                    <a:pt x="20243" y="21104"/>
                  </a:cubicBezTo>
                  <a:cubicBezTo>
                    <a:pt x="18000" y="21104"/>
                    <a:pt x="16230" y="21600"/>
                    <a:pt x="13987" y="21600"/>
                  </a:cubicBezTo>
                  <a:cubicBezTo>
                    <a:pt x="12630" y="21600"/>
                    <a:pt x="11744" y="21600"/>
                    <a:pt x="10800" y="21600"/>
                  </a:cubicBezTo>
                  <a:cubicBezTo>
                    <a:pt x="9030" y="20538"/>
                    <a:pt x="8085" y="18909"/>
                    <a:pt x="6315" y="18413"/>
                  </a:cubicBezTo>
                  <a:cubicBezTo>
                    <a:pt x="5843" y="17847"/>
                    <a:pt x="5843" y="20042"/>
                    <a:pt x="4957" y="20042"/>
                  </a:cubicBezTo>
                  <a:cubicBezTo>
                    <a:pt x="3128" y="20042"/>
                    <a:pt x="1770" y="18909"/>
                    <a:pt x="0" y="18413"/>
                  </a:cubicBezTo>
                  <a:cubicBezTo>
                    <a:pt x="885" y="16784"/>
                    <a:pt x="2243" y="15155"/>
                    <a:pt x="2715" y="13527"/>
                  </a:cubicBezTo>
                  <a:cubicBezTo>
                    <a:pt x="3128" y="11898"/>
                    <a:pt x="3128" y="9702"/>
                    <a:pt x="3600" y="8144"/>
                  </a:cubicBezTo>
                  <a:cubicBezTo>
                    <a:pt x="4957" y="5949"/>
                    <a:pt x="7200" y="3753"/>
                    <a:pt x="9030" y="2195"/>
                  </a:cubicBezTo>
                  <a:cubicBezTo>
                    <a:pt x="10800" y="567"/>
                    <a:pt x="12630" y="567"/>
                    <a:pt x="14400" y="0"/>
                  </a:cubicBezTo>
                  <a:cubicBezTo>
                    <a:pt x="16643" y="1629"/>
                    <a:pt x="18472" y="3258"/>
                    <a:pt x="18472" y="4320"/>
                  </a:cubicBezTo>
                  <a:cubicBezTo>
                    <a:pt x="18944" y="4320"/>
                    <a:pt x="18944" y="4887"/>
                    <a:pt x="18944" y="5382"/>
                  </a:cubicBezTo>
                  <a:cubicBezTo>
                    <a:pt x="14872" y="6515"/>
                    <a:pt x="21187" y="14022"/>
                    <a:pt x="21600" y="1621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9" name="Shape 2450">
              <a:extLst>
                <a:ext uri="{FF2B5EF4-FFF2-40B4-BE49-F238E27FC236}">
                  <a16:creationId xmlns:a16="http://schemas.microsoft.com/office/drawing/2014/main" id="{CC89EE20-10D8-1D19-46EE-B1B29514BB6A}"/>
                </a:ext>
              </a:extLst>
            </p:cNvPr>
            <p:cNvSpPr/>
            <p:nvPr/>
          </p:nvSpPr>
          <p:spPr>
            <a:xfrm>
              <a:off x="3565766" y="4646289"/>
              <a:ext cx="148596" cy="157954"/>
            </a:xfrm>
            <a:custGeom>
              <a:avLst/>
              <a:gdLst/>
              <a:ahLst/>
              <a:cxnLst>
                <a:cxn ang="0">
                  <a:pos x="wd2" y="hd2"/>
                </a:cxn>
                <a:cxn ang="5400000">
                  <a:pos x="wd2" y="hd2"/>
                </a:cxn>
                <a:cxn ang="10800000">
                  <a:pos x="wd2" y="hd2"/>
                </a:cxn>
                <a:cxn ang="16200000">
                  <a:pos x="wd2" y="hd2"/>
                </a:cxn>
              </a:cxnLst>
              <a:rect l="0" t="0" r="r" b="b"/>
              <a:pathLst>
                <a:path w="21216" h="21296" extrusionOk="0">
                  <a:moveTo>
                    <a:pt x="720" y="5620"/>
                  </a:moveTo>
                  <a:cubicBezTo>
                    <a:pt x="720" y="4937"/>
                    <a:pt x="-384" y="4207"/>
                    <a:pt x="336" y="3524"/>
                  </a:cubicBezTo>
                  <a:cubicBezTo>
                    <a:pt x="1104" y="2840"/>
                    <a:pt x="2928" y="3524"/>
                    <a:pt x="3648" y="2840"/>
                  </a:cubicBezTo>
                  <a:cubicBezTo>
                    <a:pt x="4752" y="2111"/>
                    <a:pt x="4368" y="744"/>
                    <a:pt x="4752" y="61"/>
                  </a:cubicBezTo>
                  <a:cubicBezTo>
                    <a:pt x="6192" y="380"/>
                    <a:pt x="7296" y="1109"/>
                    <a:pt x="8784" y="1109"/>
                  </a:cubicBezTo>
                  <a:cubicBezTo>
                    <a:pt x="9504" y="1109"/>
                    <a:pt x="9504" y="-304"/>
                    <a:pt x="9888" y="61"/>
                  </a:cubicBezTo>
                  <a:cubicBezTo>
                    <a:pt x="11328" y="380"/>
                    <a:pt x="12096" y="1428"/>
                    <a:pt x="13536" y="2111"/>
                  </a:cubicBezTo>
                  <a:cubicBezTo>
                    <a:pt x="14304" y="2111"/>
                    <a:pt x="15024" y="2111"/>
                    <a:pt x="16128" y="2111"/>
                  </a:cubicBezTo>
                  <a:cubicBezTo>
                    <a:pt x="17952" y="2111"/>
                    <a:pt x="19392" y="1792"/>
                    <a:pt x="21216" y="1792"/>
                  </a:cubicBezTo>
                  <a:cubicBezTo>
                    <a:pt x="20880" y="4207"/>
                    <a:pt x="20880" y="4207"/>
                    <a:pt x="20880" y="4207"/>
                  </a:cubicBezTo>
                  <a:cubicBezTo>
                    <a:pt x="18672" y="7352"/>
                    <a:pt x="18672" y="7352"/>
                    <a:pt x="18672" y="7352"/>
                  </a:cubicBezTo>
                  <a:cubicBezTo>
                    <a:pt x="17232" y="6987"/>
                    <a:pt x="16128" y="5620"/>
                    <a:pt x="14640" y="5985"/>
                  </a:cubicBezTo>
                  <a:cubicBezTo>
                    <a:pt x="13920" y="5985"/>
                    <a:pt x="14304" y="7716"/>
                    <a:pt x="13536" y="8400"/>
                  </a:cubicBezTo>
                  <a:cubicBezTo>
                    <a:pt x="13200" y="8764"/>
                    <a:pt x="12816" y="8764"/>
                    <a:pt x="12816" y="9083"/>
                  </a:cubicBezTo>
                  <a:cubicBezTo>
                    <a:pt x="12432" y="9448"/>
                    <a:pt x="13536" y="9767"/>
                    <a:pt x="13536" y="10131"/>
                  </a:cubicBezTo>
                  <a:cubicBezTo>
                    <a:pt x="13200" y="11863"/>
                    <a:pt x="11328" y="13276"/>
                    <a:pt x="12096" y="15007"/>
                  </a:cubicBezTo>
                  <a:cubicBezTo>
                    <a:pt x="12432" y="16055"/>
                    <a:pt x="14640" y="15372"/>
                    <a:pt x="16128" y="15691"/>
                  </a:cubicBezTo>
                  <a:cubicBezTo>
                    <a:pt x="15744" y="16420"/>
                    <a:pt x="15744" y="17104"/>
                    <a:pt x="15024" y="17787"/>
                  </a:cubicBezTo>
                  <a:cubicBezTo>
                    <a:pt x="14640" y="18152"/>
                    <a:pt x="13536" y="18516"/>
                    <a:pt x="12816" y="18835"/>
                  </a:cubicBezTo>
                  <a:cubicBezTo>
                    <a:pt x="11328" y="19519"/>
                    <a:pt x="9888" y="20567"/>
                    <a:pt x="8064" y="21296"/>
                  </a:cubicBezTo>
                  <a:cubicBezTo>
                    <a:pt x="8064" y="21296"/>
                    <a:pt x="8064" y="20567"/>
                    <a:pt x="7680" y="20567"/>
                  </a:cubicBezTo>
                  <a:cubicBezTo>
                    <a:pt x="7296" y="20567"/>
                    <a:pt x="6576" y="21296"/>
                    <a:pt x="6192" y="20931"/>
                  </a:cubicBezTo>
                  <a:cubicBezTo>
                    <a:pt x="5472" y="20248"/>
                    <a:pt x="6192" y="19200"/>
                    <a:pt x="5856" y="18516"/>
                  </a:cubicBezTo>
                  <a:cubicBezTo>
                    <a:pt x="5472" y="18152"/>
                    <a:pt x="4752" y="18835"/>
                    <a:pt x="4368" y="18516"/>
                  </a:cubicBezTo>
                  <a:cubicBezTo>
                    <a:pt x="4032" y="18516"/>
                    <a:pt x="3648" y="17787"/>
                    <a:pt x="3264" y="17787"/>
                  </a:cubicBezTo>
                  <a:cubicBezTo>
                    <a:pt x="2928" y="18516"/>
                    <a:pt x="3648" y="19883"/>
                    <a:pt x="2928" y="19883"/>
                  </a:cubicBezTo>
                  <a:cubicBezTo>
                    <a:pt x="2160" y="19883"/>
                    <a:pt x="1824" y="18835"/>
                    <a:pt x="1440" y="18152"/>
                  </a:cubicBezTo>
                  <a:cubicBezTo>
                    <a:pt x="1440" y="17104"/>
                    <a:pt x="2160" y="15691"/>
                    <a:pt x="1824" y="14324"/>
                  </a:cubicBezTo>
                  <a:cubicBezTo>
                    <a:pt x="1824" y="13276"/>
                    <a:pt x="0" y="12228"/>
                    <a:pt x="0" y="11180"/>
                  </a:cubicBezTo>
                  <a:cubicBezTo>
                    <a:pt x="336" y="9767"/>
                    <a:pt x="2160" y="9767"/>
                    <a:pt x="2544" y="8764"/>
                  </a:cubicBezTo>
                  <a:cubicBezTo>
                    <a:pt x="3264" y="8035"/>
                    <a:pt x="3264" y="6668"/>
                    <a:pt x="2544" y="5620"/>
                  </a:cubicBezTo>
                  <a:cubicBezTo>
                    <a:pt x="2544" y="5255"/>
                    <a:pt x="1440" y="5620"/>
                    <a:pt x="720" y="56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0" name="Shape 2451">
              <a:extLst>
                <a:ext uri="{FF2B5EF4-FFF2-40B4-BE49-F238E27FC236}">
                  <a16:creationId xmlns:a16="http://schemas.microsoft.com/office/drawing/2014/main" id="{B0758D3D-0103-9B08-04ED-866DC291FF40}"/>
                </a:ext>
              </a:extLst>
            </p:cNvPr>
            <p:cNvSpPr/>
            <p:nvPr/>
          </p:nvSpPr>
          <p:spPr>
            <a:xfrm>
              <a:off x="3696860" y="4636599"/>
              <a:ext cx="210743" cy="146834"/>
            </a:xfrm>
            <a:custGeom>
              <a:avLst/>
              <a:gdLst/>
              <a:ahLst/>
              <a:cxnLst>
                <a:cxn ang="0">
                  <a:pos x="wd2" y="hd2"/>
                </a:cxn>
                <a:cxn ang="5400000">
                  <a:pos x="wd2" y="hd2"/>
                </a:cxn>
                <a:cxn ang="10800000">
                  <a:pos x="wd2" y="hd2"/>
                </a:cxn>
                <a:cxn ang="16200000">
                  <a:pos x="wd2" y="hd2"/>
                </a:cxn>
              </a:cxnLst>
              <a:rect l="0" t="0" r="r" b="b"/>
              <a:pathLst>
                <a:path w="21600" h="21600" extrusionOk="0">
                  <a:moveTo>
                    <a:pt x="21600" y="10998"/>
                  </a:moveTo>
                  <a:cubicBezTo>
                    <a:pt x="20565" y="12484"/>
                    <a:pt x="19771" y="12881"/>
                    <a:pt x="19254" y="14367"/>
                  </a:cubicBezTo>
                  <a:cubicBezTo>
                    <a:pt x="18460" y="15903"/>
                    <a:pt x="18460" y="17389"/>
                    <a:pt x="18184" y="18925"/>
                  </a:cubicBezTo>
                  <a:cubicBezTo>
                    <a:pt x="18184" y="19668"/>
                    <a:pt x="18978" y="20461"/>
                    <a:pt x="18702" y="20807"/>
                  </a:cubicBezTo>
                  <a:cubicBezTo>
                    <a:pt x="18184" y="21204"/>
                    <a:pt x="17390" y="20461"/>
                    <a:pt x="16597" y="20461"/>
                  </a:cubicBezTo>
                  <a:cubicBezTo>
                    <a:pt x="15562" y="20461"/>
                    <a:pt x="14768" y="21600"/>
                    <a:pt x="13698" y="21600"/>
                  </a:cubicBezTo>
                  <a:cubicBezTo>
                    <a:pt x="12663" y="21204"/>
                    <a:pt x="12111" y="20064"/>
                    <a:pt x="11318" y="19668"/>
                  </a:cubicBezTo>
                  <a:cubicBezTo>
                    <a:pt x="10558" y="19321"/>
                    <a:pt x="9765" y="18925"/>
                    <a:pt x="9213" y="19321"/>
                  </a:cubicBezTo>
                  <a:cubicBezTo>
                    <a:pt x="8971" y="19321"/>
                    <a:pt x="8971" y="20461"/>
                    <a:pt x="8695" y="20461"/>
                  </a:cubicBezTo>
                  <a:cubicBezTo>
                    <a:pt x="7902" y="20461"/>
                    <a:pt x="6866" y="19668"/>
                    <a:pt x="6073" y="19321"/>
                  </a:cubicBezTo>
                  <a:cubicBezTo>
                    <a:pt x="6073" y="19321"/>
                    <a:pt x="5003" y="20064"/>
                    <a:pt x="4762" y="20064"/>
                  </a:cubicBezTo>
                  <a:cubicBezTo>
                    <a:pt x="4486" y="20064"/>
                    <a:pt x="2898" y="19668"/>
                    <a:pt x="2898" y="19668"/>
                  </a:cubicBezTo>
                  <a:cubicBezTo>
                    <a:pt x="2898" y="18925"/>
                    <a:pt x="3174" y="18182"/>
                    <a:pt x="2898" y="17389"/>
                  </a:cubicBezTo>
                  <a:cubicBezTo>
                    <a:pt x="2622" y="16646"/>
                    <a:pt x="1587" y="17042"/>
                    <a:pt x="1070" y="16250"/>
                  </a:cubicBezTo>
                  <a:cubicBezTo>
                    <a:pt x="518" y="15903"/>
                    <a:pt x="0" y="14763"/>
                    <a:pt x="0" y="14020"/>
                  </a:cubicBezTo>
                  <a:cubicBezTo>
                    <a:pt x="276" y="13228"/>
                    <a:pt x="1587" y="13624"/>
                    <a:pt x="1587" y="12881"/>
                  </a:cubicBezTo>
                  <a:cubicBezTo>
                    <a:pt x="1587" y="11345"/>
                    <a:pt x="518" y="10602"/>
                    <a:pt x="0" y="9462"/>
                  </a:cubicBezTo>
                  <a:cubicBezTo>
                    <a:pt x="1587" y="6044"/>
                    <a:pt x="1587" y="6044"/>
                    <a:pt x="1587" y="6044"/>
                  </a:cubicBezTo>
                  <a:cubicBezTo>
                    <a:pt x="1829" y="3418"/>
                    <a:pt x="1829" y="3418"/>
                    <a:pt x="1829" y="3418"/>
                  </a:cubicBezTo>
                  <a:cubicBezTo>
                    <a:pt x="2622" y="0"/>
                    <a:pt x="2622" y="0"/>
                    <a:pt x="2622" y="0"/>
                  </a:cubicBezTo>
                  <a:cubicBezTo>
                    <a:pt x="3692" y="0"/>
                    <a:pt x="7902" y="3022"/>
                    <a:pt x="8971" y="3765"/>
                  </a:cubicBezTo>
                  <a:cubicBezTo>
                    <a:pt x="12663" y="6837"/>
                    <a:pt x="17390" y="8323"/>
                    <a:pt x="21600" y="1099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1" name="Shape 2452">
              <a:extLst>
                <a:ext uri="{FF2B5EF4-FFF2-40B4-BE49-F238E27FC236}">
                  <a16:creationId xmlns:a16="http://schemas.microsoft.com/office/drawing/2014/main" id="{42321677-C205-51C0-9448-C3AAA2C6B9B2}"/>
                </a:ext>
              </a:extLst>
            </p:cNvPr>
            <p:cNvSpPr/>
            <p:nvPr/>
          </p:nvSpPr>
          <p:spPr>
            <a:xfrm>
              <a:off x="2901596" y="3546942"/>
              <a:ext cx="664118" cy="970395"/>
            </a:xfrm>
            <a:custGeom>
              <a:avLst/>
              <a:gdLst/>
              <a:ahLst/>
              <a:cxnLst>
                <a:cxn ang="0">
                  <a:pos x="wd2" y="hd2"/>
                </a:cxn>
                <a:cxn ang="5400000">
                  <a:pos x="wd2" y="hd2"/>
                </a:cxn>
                <a:cxn ang="10800000">
                  <a:pos x="wd2" y="hd2"/>
                </a:cxn>
                <a:cxn ang="16200000">
                  <a:pos x="wd2" y="hd2"/>
                </a:cxn>
              </a:cxnLst>
              <a:rect l="0" t="0" r="r" b="b"/>
              <a:pathLst>
                <a:path w="21600" h="21600" extrusionOk="0">
                  <a:moveTo>
                    <a:pt x="16241" y="17706"/>
                  </a:moveTo>
                  <a:cubicBezTo>
                    <a:pt x="16066" y="17706"/>
                    <a:pt x="15901" y="17654"/>
                    <a:pt x="15825" y="17654"/>
                  </a:cubicBezTo>
                  <a:cubicBezTo>
                    <a:pt x="15649" y="17706"/>
                    <a:pt x="15573" y="17766"/>
                    <a:pt x="15485" y="17819"/>
                  </a:cubicBezTo>
                  <a:cubicBezTo>
                    <a:pt x="15321" y="17991"/>
                    <a:pt x="15156" y="18111"/>
                    <a:pt x="15068" y="18284"/>
                  </a:cubicBezTo>
                  <a:cubicBezTo>
                    <a:pt x="15068" y="18396"/>
                    <a:pt x="15321" y="18449"/>
                    <a:pt x="15233" y="18561"/>
                  </a:cubicBezTo>
                  <a:cubicBezTo>
                    <a:pt x="15156" y="18674"/>
                    <a:pt x="14816" y="18734"/>
                    <a:pt x="14816" y="18847"/>
                  </a:cubicBezTo>
                  <a:cubicBezTo>
                    <a:pt x="14816" y="19019"/>
                    <a:pt x="15068" y="19079"/>
                    <a:pt x="15233" y="19192"/>
                  </a:cubicBezTo>
                  <a:cubicBezTo>
                    <a:pt x="15156" y="19304"/>
                    <a:pt x="14981" y="19417"/>
                    <a:pt x="14816" y="19537"/>
                  </a:cubicBezTo>
                  <a:cubicBezTo>
                    <a:pt x="14652" y="19762"/>
                    <a:pt x="14652" y="20047"/>
                    <a:pt x="14400" y="20220"/>
                  </a:cubicBezTo>
                  <a:cubicBezTo>
                    <a:pt x="14312" y="20392"/>
                    <a:pt x="14060" y="20512"/>
                    <a:pt x="13808" y="20512"/>
                  </a:cubicBezTo>
                  <a:cubicBezTo>
                    <a:pt x="13644" y="20512"/>
                    <a:pt x="13556" y="20280"/>
                    <a:pt x="13392" y="20220"/>
                  </a:cubicBezTo>
                  <a:cubicBezTo>
                    <a:pt x="13140" y="20107"/>
                    <a:pt x="12811" y="19934"/>
                    <a:pt x="12471" y="19934"/>
                  </a:cubicBezTo>
                  <a:cubicBezTo>
                    <a:pt x="12142" y="19994"/>
                    <a:pt x="11967" y="20280"/>
                    <a:pt x="11715" y="20340"/>
                  </a:cubicBezTo>
                  <a:cubicBezTo>
                    <a:pt x="11463" y="20452"/>
                    <a:pt x="11211" y="20512"/>
                    <a:pt x="10959" y="20512"/>
                  </a:cubicBezTo>
                  <a:cubicBezTo>
                    <a:pt x="10630" y="20565"/>
                    <a:pt x="10290" y="20392"/>
                    <a:pt x="9962" y="20512"/>
                  </a:cubicBezTo>
                  <a:cubicBezTo>
                    <a:pt x="9874" y="20565"/>
                    <a:pt x="9962" y="20737"/>
                    <a:pt x="9874" y="20857"/>
                  </a:cubicBezTo>
                  <a:cubicBezTo>
                    <a:pt x="9797" y="20970"/>
                    <a:pt x="9622" y="21022"/>
                    <a:pt x="9545" y="21142"/>
                  </a:cubicBezTo>
                  <a:cubicBezTo>
                    <a:pt x="9545" y="21142"/>
                    <a:pt x="9129" y="21082"/>
                    <a:pt x="9041" y="21082"/>
                  </a:cubicBezTo>
                  <a:cubicBezTo>
                    <a:pt x="8953" y="21082"/>
                    <a:pt x="8789" y="21600"/>
                    <a:pt x="8789" y="21600"/>
                  </a:cubicBezTo>
                  <a:cubicBezTo>
                    <a:pt x="8449" y="21540"/>
                    <a:pt x="8197" y="21367"/>
                    <a:pt x="7868" y="21307"/>
                  </a:cubicBezTo>
                  <a:cubicBezTo>
                    <a:pt x="7529" y="21307"/>
                    <a:pt x="7277" y="21427"/>
                    <a:pt x="7025" y="21427"/>
                  </a:cubicBezTo>
                  <a:cubicBezTo>
                    <a:pt x="6948" y="21367"/>
                    <a:pt x="6784" y="21367"/>
                    <a:pt x="6608" y="21307"/>
                  </a:cubicBezTo>
                  <a:cubicBezTo>
                    <a:pt x="6532" y="21195"/>
                    <a:pt x="6532" y="21082"/>
                    <a:pt x="6444" y="21022"/>
                  </a:cubicBezTo>
                  <a:cubicBezTo>
                    <a:pt x="6279" y="20857"/>
                    <a:pt x="6027" y="20737"/>
                    <a:pt x="5775" y="20565"/>
                  </a:cubicBezTo>
                  <a:cubicBezTo>
                    <a:pt x="5688" y="20452"/>
                    <a:pt x="5611" y="20280"/>
                    <a:pt x="5436" y="20167"/>
                  </a:cubicBezTo>
                  <a:cubicBezTo>
                    <a:pt x="5359" y="20107"/>
                    <a:pt x="5436" y="20280"/>
                    <a:pt x="5359" y="20340"/>
                  </a:cubicBezTo>
                  <a:cubicBezTo>
                    <a:pt x="5195" y="20452"/>
                    <a:pt x="4855" y="20452"/>
                    <a:pt x="4690" y="20565"/>
                  </a:cubicBezTo>
                  <a:cubicBezTo>
                    <a:pt x="4438" y="20737"/>
                    <a:pt x="4351" y="20970"/>
                    <a:pt x="4099" y="21082"/>
                  </a:cubicBezTo>
                  <a:cubicBezTo>
                    <a:pt x="3934" y="21195"/>
                    <a:pt x="3682" y="21195"/>
                    <a:pt x="3430" y="21142"/>
                  </a:cubicBezTo>
                  <a:cubicBezTo>
                    <a:pt x="3266" y="21082"/>
                    <a:pt x="3101" y="20910"/>
                    <a:pt x="2926" y="20797"/>
                  </a:cubicBezTo>
                  <a:cubicBezTo>
                    <a:pt x="2762" y="20625"/>
                    <a:pt x="2762" y="20452"/>
                    <a:pt x="2674" y="20280"/>
                  </a:cubicBezTo>
                  <a:cubicBezTo>
                    <a:pt x="2674" y="20167"/>
                    <a:pt x="2674" y="20047"/>
                    <a:pt x="2597" y="19994"/>
                  </a:cubicBezTo>
                  <a:cubicBezTo>
                    <a:pt x="2510" y="19822"/>
                    <a:pt x="2181" y="19709"/>
                    <a:pt x="2258" y="19537"/>
                  </a:cubicBezTo>
                  <a:cubicBezTo>
                    <a:pt x="2258" y="19417"/>
                    <a:pt x="2510" y="19304"/>
                    <a:pt x="2674" y="19192"/>
                  </a:cubicBezTo>
                  <a:cubicBezTo>
                    <a:pt x="2849" y="19019"/>
                    <a:pt x="3101" y="18847"/>
                    <a:pt x="3178" y="18621"/>
                  </a:cubicBezTo>
                  <a:cubicBezTo>
                    <a:pt x="3178" y="18396"/>
                    <a:pt x="2926" y="18224"/>
                    <a:pt x="2762" y="18051"/>
                  </a:cubicBezTo>
                  <a:cubicBezTo>
                    <a:pt x="2674" y="17939"/>
                    <a:pt x="2345" y="17991"/>
                    <a:pt x="2345" y="17939"/>
                  </a:cubicBezTo>
                  <a:cubicBezTo>
                    <a:pt x="2345" y="17819"/>
                    <a:pt x="2597" y="17819"/>
                    <a:pt x="2674" y="17706"/>
                  </a:cubicBezTo>
                  <a:cubicBezTo>
                    <a:pt x="2849" y="17481"/>
                    <a:pt x="2674" y="17136"/>
                    <a:pt x="2926" y="16963"/>
                  </a:cubicBezTo>
                  <a:cubicBezTo>
                    <a:pt x="3266" y="16678"/>
                    <a:pt x="3934" y="16738"/>
                    <a:pt x="4351" y="16506"/>
                  </a:cubicBezTo>
                  <a:cubicBezTo>
                    <a:pt x="4438" y="16446"/>
                    <a:pt x="4351" y="16273"/>
                    <a:pt x="4263" y="16161"/>
                  </a:cubicBezTo>
                  <a:cubicBezTo>
                    <a:pt x="4263" y="16048"/>
                    <a:pt x="4099" y="15988"/>
                    <a:pt x="4011" y="15876"/>
                  </a:cubicBezTo>
                  <a:cubicBezTo>
                    <a:pt x="4011" y="15763"/>
                    <a:pt x="4186" y="15530"/>
                    <a:pt x="4011" y="15530"/>
                  </a:cubicBezTo>
                  <a:cubicBezTo>
                    <a:pt x="3770" y="15418"/>
                    <a:pt x="3430" y="15643"/>
                    <a:pt x="3101" y="15643"/>
                  </a:cubicBezTo>
                  <a:cubicBezTo>
                    <a:pt x="2926" y="15643"/>
                    <a:pt x="2926" y="15530"/>
                    <a:pt x="2849" y="15470"/>
                  </a:cubicBezTo>
                  <a:cubicBezTo>
                    <a:pt x="2674" y="15245"/>
                    <a:pt x="2597" y="14960"/>
                    <a:pt x="2345" y="14788"/>
                  </a:cubicBezTo>
                  <a:cubicBezTo>
                    <a:pt x="2181" y="14675"/>
                    <a:pt x="1929" y="14788"/>
                    <a:pt x="1753" y="14675"/>
                  </a:cubicBezTo>
                  <a:cubicBezTo>
                    <a:pt x="1589" y="14615"/>
                    <a:pt x="1425" y="14503"/>
                    <a:pt x="1337" y="14382"/>
                  </a:cubicBezTo>
                  <a:cubicBezTo>
                    <a:pt x="1173" y="14157"/>
                    <a:pt x="1337" y="13872"/>
                    <a:pt x="1085" y="13640"/>
                  </a:cubicBezTo>
                  <a:cubicBezTo>
                    <a:pt x="833" y="13407"/>
                    <a:pt x="329" y="13355"/>
                    <a:pt x="0" y="13235"/>
                  </a:cubicBezTo>
                  <a:cubicBezTo>
                    <a:pt x="88" y="13182"/>
                    <a:pt x="88" y="13122"/>
                    <a:pt x="88" y="13122"/>
                  </a:cubicBezTo>
                  <a:cubicBezTo>
                    <a:pt x="164" y="12949"/>
                    <a:pt x="504" y="12319"/>
                    <a:pt x="756" y="12319"/>
                  </a:cubicBezTo>
                  <a:cubicBezTo>
                    <a:pt x="921" y="12267"/>
                    <a:pt x="1249" y="12267"/>
                    <a:pt x="1249" y="12094"/>
                  </a:cubicBezTo>
                  <a:cubicBezTo>
                    <a:pt x="1249" y="11922"/>
                    <a:pt x="1425" y="11809"/>
                    <a:pt x="1425" y="11689"/>
                  </a:cubicBezTo>
                  <a:cubicBezTo>
                    <a:pt x="833" y="11577"/>
                    <a:pt x="1501" y="11171"/>
                    <a:pt x="1589" y="11006"/>
                  </a:cubicBezTo>
                  <a:cubicBezTo>
                    <a:pt x="2005" y="10774"/>
                    <a:pt x="2258" y="10661"/>
                    <a:pt x="2597" y="10376"/>
                  </a:cubicBezTo>
                  <a:cubicBezTo>
                    <a:pt x="2926" y="10091"/>
                    <a:pt x="3770" y="9513"/>
                    <a:pt x="4263" y="9401"/>
                  </a:cubicBezTo>
                  <a:cubicBezTo>
                    <a:pt x="4603" y="9341"/>
                    <a:pt x="4942" y="9281"/>
                    <a:pt x="5195" y="9401"/>
                  </a:cubicBezTo>
                  <a:cubicBezTo>
                    <a:pt x="5271" y="9453"/>
                    <a:pt x="5436" y="9626"/>
                    <a:pt x="5523" y="9573"/>
                  </a:cubicBezTo>
                  <a:cubicBezTo>
                    <a:pt x="5611" y="9573"/>
                    <a:pt x="5863" y="9453"/>
                    <a:pt x="5940" y="9401"/>
                  </a:cubicBezTo>
                  <a:cubicBezTo>
                    <a:pt x="6532" y="9281"/>
                    <a:pt x="6192" y="8425"/>
                    <a:pt x="6444" y="8425"/>
                  </a:cubicBezTo>
                  <a:cubicBezTo>
                    <a:pt x="6948" y="8253"/>
                    <a:pt x="6948" y="8253"/>
                    <a:pt x="6948" y="8253"/>
                  </a:cubicBezTo>
                  <a:cubicBezTo>
                    <a:pt x="7277" y="8140"/>
                    <a:pt x="7529" y="7855"/>
                    <a:pt x="7956" y="7908"/>
                  </a:cubicBezTo>
                  <a:cubicBezTo>
                    <a:pt x="8197" y="7968"/>
                    <a:pt x="8625" y="7683"/>
                    <a:pt x="8789" y="7563"/>
                  </a:cubicBezTo>
                  <a:cubicBezTo>
                    <a:pt x="8877" y="7510"/>
                    <a:pt x="9293" y="7165"/>
                    <a:pt x="9293" y="7045"/>
                  </a:cubicBezTo>
                  <a:cubicBezTo>
                    <a:pt x="9205" y="7045"/>
                    <a:pt x="9205" y="7045"/>
                    <a:pt x="9129" y="7045"/>
                  </a:cubicBezTo>
                  <a:cubicBezTo>
                    <a:pt x="9129" y="6992"/>
                    <a:pt x="8537" y="6707"/>
                    <a:pt x="8449" y="6647"/>
                  </a:cubicBezTo>
                  <a:cubicBezTo>
                    <a:pt x="8197" y="6302"/>
                    <a:pt x="8373" y="6077"/>
                    <a:pt x="8197" y="5732"/>
                  </a:cubicBezTo>
                  <a:cubicBezTo>
                    <a:pt x="8197" y="5559"/>
                    <a:pt x="8121" y="5327"/>
                    <a:pt x="7956" y="5214"/>
                  </a:cubicBezTo>
                  <a:cubicBezTo>
                    <a:pt x="7868" y="5154"/>
                    <a:pt x="7529" y="4989"/>
                    <a:pt x="7452" y="4869"/>
                  </a:cubicBezTo>
                  <a:cubicBezTo>
                    <a:pt x="7452" y="4869"/>
                    <a:pt x="7364" y="4817"/>
                    <a:pt x="7277" y="4817"/>
                  </a:cubicBezTo>
                  <a:lnTo>
                    <a:pt x="7200" y="4817"/>
                  </a:lnTo>
                  <a:cubicBezTo>
                    <a:pt x="7200" y="4757"/>
                    <a:pt x="7277" y="4359"/>
                    <a:pt x="7112" y="4299"/>
                  </a:cubicBezTo>
                  <a:cubicBezTo>
                    <a:pt x="7025" y="4186"/>
                    <a:pt x="6784" y="4126"/>
                    <a:pt x="6784" y="4014"/>
                  </a:cubicBezTo>
                  <a:cubicBezTo>
                    <a:pt x="6696" y="3954"/>
                    <a:pt x="6608" y="3901"/>
                    <a:pt x="6608" y="3901"/>
                  </a:cubicBezTo>
                  <a:cubicBezTo>
                    <a:pt x="6532" y="3841"/>
                    <a:pt x="6356" y="3496"/>
                    <a:pt x="6356" y="3436"/>
                  </a:cubicBezTo>
                  <a:cubicBezTo>
                    <a:pt x="6444" y="3436"/>
                    <a:pt x="6444" y="3436"/>
                    <a:pt x="6444" y="3436"/>
                  </a:cubicBezTo>
                  <a:cubicBezTo>
                    <a:pt x="6860" y="3436"/>
                    <a:pt x="7364" y="3496"/>
                    <a:pt x="7781" y="3496"/>
                  </a:cubicBezTo>
                  <a:cubicBezTo>
                    <a:pt x="8033" y="3264"/>
                    <a:pt x="8197" y="2866"/>
                    <a:pt x="8537" y="2581"/>
                  </a:cubicBezTo>
                  <a:cubicBezTo>
                    <a:pt x="8701" y="2461"/>
                    <a:pt x="8953" y="2408"/>
                    <a:pt x="9129" y="2296"/>
                  </a:cubicBezTo>
                  <a:cubicBezTo>
                    <a:pt x="9293" y="2063"/>
                    <a:pt x="9293" y="2063"/>
                    <a:pt x="9293" y="1838"/>
                  </a:cubicBezTo>
                  <a:lnTo>
                    <a:pt x="9293" y="1778"/>
                  </a:lnTo>
                  <a:cubicBezTo>
                    <a:pt x="9370" y="1778"/>
                    <a:pt x="9458" y="1718"/>
                    <a:pt x="9458" y="1718"/>
                  </a:cubicBezTo>
                  <a:cubicBezTo>
                    <a:pt x="9545" y="1666"/>
                    <a:pt x="9710" y="1493"/>
                    <a:pt x="9710" y="1433"/>
                  </a:cubicBezTo>
                  <a:cubicBezTo>
                    <a:pt x="10466" y="1433"/>
                    <a:pt x="10038" y="1035"/>
                    <a:pt x="10542" y="975"/>
                  </a:cubicBezTo>
                  <a:cubicBezTo>
                    <a:pt x="10630" y="863"/>
                    <a:pt x="10630" y="630"/>
                    <a:pt x="10718" y="570"/>
                  </a:cubicBezTo>
                  <a:cubicBezTo>
                    <a:pt x="10718" y="518"/>
                    <a:pt x="10718" y="458"/>
                    <a:pt x="10718" y="398"/>
                  </a:cubicBezTo>
                  <a:lnTo>
                    <a:pt x="10795" y="345"/>
                  </a:lnTo>
                  <a:cubicBezTo>
                    <a:pt x="10882" y="285"/>
                    <a:pt x="10959" y="233"/>
                    <a:pt x="11047" y="233"/>
                  </a:cubicBezTo>
                  <a:cubicBezTo>
                    <a:pt x="11047" y="173"/>
                    <a:pt x="11134" y="173"/>
                    <a:pt x="11134" y="173"/>
                  </a:cubicBezTo>
                  <a:cubicBezTo>
                    <a:pt x="11211" y="173"/>
                    <a:pt x="11299" y="113"/>
                    <a:pt x="11299" y="113"/>
                  </a:cubicBezTo>
                  <a:cubicBezTo>
                    <a:pt x="11463" y="0"/>
                    <a:pt x="11463" y="0"/>
                    <a:pt x="11463" y="0"/>
                  </a:cubicBezTo>
                  <a:cubicBezTo>
                    <a:pt x="11715" y="345"/>
                    <a:pt x="12055" y="690"/>
                    <a:pt x="12307" y="975"/>
                  </a:cubicBezTo>
                  <a:cubicBezTo>
                    <a:pt x="13052" y="1951"/>
                    <a:pt x="14312" y="2296"/>
                    <a:pt x="15649" y="2633"/>
                  </a:cubicBezTo>
                  <a:cubicBezTo>
                    <a:pt x="16241" y="2753"/>
                    <a:pt x="15573" y="2926"/>
                    <a:pt x="15573" y="3099"/>
                  </a:cubicBezTo>
                  <a:cubicBezTo>
                    <a:pt x="15573" y="3099"/>
                    <a:pt x="16405" y="3781"/>
                    <a:pt x="16570" y="3841"/>
                  </a:cubicBezTo>
                  <a:cubicBezTo>
                    <a:pt x="17162" y="4066"/>
                    <a:pt x="17490" y="4066"/>
                    <a:pt x="17918" y="4584"/>
                  </a:cubicBezTo>
                  <a:cubicBezTo>
                    <a:pt x="18159" y="4989"/>
                    <a:pt x="18334" y="5042"/>
                    <a:pt x="18334" y="5499"/>
                  </a:cubicBezTo>
                  <a:cubicBezTo>
                    <a:pt x="18334" y="5845"/>
                    <a:pt x="18751" y="6017"/>
                    <a:pt x="18751" y="6302"/>
                  </a:cubicBezTo>
                  <a:cubicBezTo>
                    <a:pt x="18751" y="6647"/>
                    <a:pt x="19167" y="6535"/>
                    <a:pt x="19167" y="6992"/>
                  </a:cubicBezTo>
                  <a:cubicBezTo>
                    <a:pt x="19079" y="7390"/>
                    <a:pt x="19584" y="8193"/>
                    <a:pt x="19167" y="8538"/>
                  </a:cubicBezTo>
                  <a:cubicBezTo>
                    <a:pt x="18159" y="9401"/>
                    <a:pt x="20088" y="9971"/>
                    <a:pt x="19923" y="10256"/>
                  </a:cubicBezTo>
                  <a:cubicBezTo>
                    <a:pt x="19419" y="10834"/>
                    <a:pt x="19836" y="11862"/>
                    <a:pt x="20340" y="12379"/>
                  </a:cubicBezTo>
                  <a:cubicBezTo>
                    <a:pt x="20340" y="12552"/>
                    <a:pt x="20504" y="12724"/>
                    <a:pt x="20504" y="12897"/>
                  </a:cubicBezTo>
                  <a:cubicBezTo>
                    <a:pt x="20679" y="13122"/>
                    <a:pt x="20175" y="13295"/>
                    <a:pt x="20340" y="13640"/>
                  </a:cubicBezTo>
                  <a:cubicBezTo>
                    <a:pt x="21260" y="15185"/>
                    <a:pt x="21260" y="15185"/>
                    <a:pt x="21260" y="15185"/>
                  </a:cubicBezTo>
                  <a:cubicBezTo>
                    <a:pt x="21425" y="15358"/>
                    <a:pt x="21512" y="15590"/>
                    <a:pt x="21600" y="15763"/>
                  </a:cubicBezTo>
                  <a:cubicBezTo>
                    <a:pt x="21348" y="15815"/>
                    <a:pt x="21425" y="15763"/>
                    <a:pt x="21173" y="15876"/>
                  </a:cubicBezTo>
                  <a:cubicBezTo>
                    <a:pt x="21008" y="15928"/>
                    <a:pt x="21096" y="16048"/>
                    <a:pt x="20921" y="16161"/>
                  </a:cubicBezTo>
                  <a:cubicBezTo>
                    <a:pt x="20844" y="16221"/>
                    <a:pt x="20756" y="16273"/>
                    <a:pt x="20592" y="16273"/>
                  </a:cubicBezTo>
                  <a:cubicBezTo>
                    <a:pt x="20427" y="16333"/>
                    <a:pt x="20252" y="16221"/>
                    <a:pt x="20088" y="16161"/>
                  </a:cubicBezTo>
                  <a:cubicBezTo>
                    <a:pt x="19836" y="16161"/>
                    <a:pt x="19671" y="16221"/>
                    <a:pt x="19419" y="16221"/>
                  </a:cubicBezTo>
                  <a:cubicBezTo>
                    <a:pt x="19332" y="16221"/>
                    <a:pt x="19167" y="16101"/>
                    <a:pt x="19079" y="16101"/>
                  </a:cubicBezTo>
                  <a:cubicBezTo>
                    <a:pt x="18838" y="16048"/>
                    <a:pt x="18663" y="16048"/>
                    <a:pt x="18499" y="16048"/>
                  </a:cubicBezTo>
                  <a:cubicBezTo>
                    <a:pt x="18334" y="15928"/>
                    <a:pt x="18247" y="15703"/>
                    <a:pt x="18082" y="15703"/>
                  </a:cubicBezTo>
                  <a:cubicBezTo>
                    <a:pt x="17742" y="15703"/>
                    <a:pt x="17414" y="15815"/>
                    <a:pt x="17238" y="16048"/>
                  </a:cubicBezTo>
                  <a:cubicBezTo>
                    <a:pt x="17074" y="16161"/>
                    <a:pt x="17490" y="16393"/>
                    <a:pt x="17414" y="16566"/>
                  </a:cubicBezTo>
                  <a:cubicBezTo>
                    <a:pt x="17238" y="16738"/>
                    <a:pt x="16822" y="16678"/>
                    <a:pt x="16570" y="16851"/>
                  </a:cubicBezTo>
                  <a:cubicBezTo>
                    <a:pt x="16405" y="17076"/>
                    <a:pt x="16318" y="17421"/>
                    <a:pt x="16241" y="1770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2" name="Shape 2453">
              <a:extLst>
                <a:ext uri="{FF2B5EF4-FFF2-40B4-BE49-F238E27FC236}">
                  <a16:creationId xmlns:a16="http://schemas.microsoft.com/office/drawing/2014/main" id="{6D5187EB-E3E2-C647-69AF-886CCA527CEF}"/>
                </a:ext>
              </a:extLst>
            </p:cNvPr>
            <p:cNvSpPr/>
            <p:nvPr/>
          </p:nvSpPr>
          <p:spPr>
            <a:xfrm>
              <a:off x="3503465" y="4376448"/>
              <a:ext cx="121708" cy="128515"/>
            </a:xfrm>
            <a:custGeom>
              <a:avLst/>
              <a:gdLst/>
              <a:ahLst/>
              <a:cxnLst>
                <a:cxn ang="0">
                  <a:pos x="wd2" y="hd2"/>
                </a:cxn>
                <a:cxn ang="5400000">
                  <a:pos x="wd2" y="hd2"/>
                </a:cxn>
                <a:cxn ang="10800000">
                  <a:pos x="wd2" y="hd2"/>
                </a:cxn>
                <a:cxn ang="16200000">
                  <a:pos x="wd2" y="hd2"/>
                </a:cxn>
              </a:cxnLst>
              <a:rect l="0" t="0" r="r" b="b"/>
              <a:pathLst>
                <a:path w="20862" h="21274" extrusionOk="0">
                  <a:moveTo>
                    <a:pt x="18667" y="0"/>
                  </a:moveTo>
                  <a:cubicBezTo>
                    <a:pt x="16473" y="833"/>
                    <a:pt x="14682" y="1666"/>
                    <a:pt x="12083" y="2110"/>
                  </a:cubicBezTo>
                  <a:cubicBezTo>
                    <a:pt x="9831" y="2110"/>
                    <a:pt x="7636" y="1666"/>
                    <a:pt x="4980" y="1666"/>
                  </a:cubicBezTo>
                  <a:cubicBezTo>
                    <a:pt x="3651" y="1666"/>
                    <a:pt x="1457" y="833"/>
                    <a:pt x="590" y="2110"/>
                  </a:cubicBezTo>
                  <a:cubicBezTo>
                    <a:pt x="-738" y="4220"/>
                    <a:pt x="590" y="6774"/>
                    <a:pt x="590" y="9329"/>
                  </a:cubicBezTo>
                  <a:cubicBezTo>
                    <a:pt x="995" y="9717"/>
                    <a:pt x="995" y="10161"/>
                    <a:pt x="1457" y="10161"/>
                  </a:cubicBezTo>
                  <a:cubicBezTo>
                    <a:pt x="2785" y="10550"/>
                    <a:pt x="3651" y="10161"/>
                    <a:pt x="4980" y="10550"/>
                  </a:cubicBezTo>
                  <a:cubicBezTo>
                    <a:pt x="4980" y="10550"/>
                    <a:pt x="6308" y="16547"/>
                    <a:pt x="6308" y="16936"/>
                  </a:cubicBezTo>
                  <a:cubicBezTo>
                    <a:pt x="6308" y="17380"/>
                    <a:pt x="7174" y="21156"/>
                    <a:pt x="7174" y="21156"/>
                  </a:cubicBezTo>
                  <a:cubicBezTo>
                    <a:pt x="8965" y="21156"/>
                    <a:pt x="10755" y="21600"/>
                    <a:pt x="12488" y="20767"/>
                  </a:cubicBezTo>
                  <a:cubicBezTo>
                    <a:pt x="13354" y="20767"/>
                    <a:pt x="13354" y="19490"/>
                    <a:pt x="13354" y="18657"/>
                  </a:cubicBezTo>
                  <a:cubicBezTo>
                    <a:pt x="13816" y="17380"/>
                    <a:pt x="12950" y="15659"/>
                    <a:pt x="13816" y="14826"/>
                  </a:cubicBezTo>
                  <a:cubicBezTo>
                    <a:pt x="14278" y="13549"/>
                    <a:pt x="16011" y="13993"/>
                    <a:pt x="16877" y="13549"/>
                  </a:cubicBezTo>
                  <a:cubicBezTo>
                    <a:pt x="18667" y="13104"/>
                    <a:pt x="19129" y="12716"/>
                    <a:pt x="20862" y="11827"/>
                  </a:cubicBezTo>
                  <a:cubicBezTo>
                    <a:pt x="19534" y="9329"/>
                    <a:pt x="18667" y="4220"/>
                    <a:pt x="18667" y="2110"/>
                  </a:cubicBezTo>
                  <a:cubicBezTo>
                    <a:pt x="18667" y="1666"/>
                    <a:pt x="18667" y="833"/>
                    <a:pt x="1866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3" name="Shape 2454">
              <a:extLst>
                <a:ext uri="{FF2B5EF4-FFF2-40B4-BE49-F238E27FC236}">
                  <a16:creationId xmlns:a16="http://schemas.microsoft.com/office/drawing/2014/main" id="{A63EA220-1B3B-820F-AC38-F2CCB6B3DB18}"/>
                </a:ext>
              </a:extLst>
            </p:cNvPr>
            <p:cNvSpPr/>
            <p:nvPr/>
          </p:nvSpPr>
          <p:spPr>
            <a:xfrm>
              <a:off x="3096323" y="4397852"/>
              <a:ext cx="583849" cy="419772"/>
            </a:xfrm>
            <a:custGeom>
              <a:avLst/>
              <a:gdLst/>
              <a:ahLst/>
              <a:cxnLst>
                <a:cxn ang="0">
                  <a:pos x="wd2" y="hd2"/>
                </a:cxn>
                <a:cxn ang="5400000">
                  <a:pos x="wd2" y="hd2"/>
                </a:cxn>
                <a:cxn ang="10800000">
                  <a:pos x="wd2" y="hd2"/>
                </a:cxn>
                <a:cxn ang="16200000">
                  <a:pos x="wd2" y="hd2"/>
                </a:cxn>
              </a:cxnLst>
              <a:rect l="0" t="0" r="r" b="b"/>
              <a:pathLst>
                <a:path w="21600" h="21570" extrusionOk="0">
                  <a:moveTo>
                    <a:pt x="760" y="5799"/>
                  </a:moveTo>
                  <a:cubicBezTo>
                    <a:pt x="1046" y="5799"/>
                    <a:pt x="1333" y="5522"/>
                    <a:pt x="1719" y="5522"/>
                  </a:cubicBezTo>
                  <a:cubicBezTo>
                    <a:pt x="2093" y="5661"/>
                    <a:pt x="2379" y="6060"/>
                    <a:pt x="2765" y="6198"/>
                  </a:cubicBezTo>
                  <a:cubicBezTo>
                    <a:pt x="2765" y="6198"/>
                    <a:pt x="2952" y="5001"/>
                    <a:pt x="3052" y="5001"/>
                  </a:cubicBezTo>
                  <a:cubicBezTo>
                    <a:pt x="3152" y="5001"/>
                    <a:pt x="3625" y="5140"/>
                    <a:pt x="3625" y="5140"/>
                  </a:cubicBezTo>
                  <a:cubicBezTo>
                    <a:pt x="3712" y="4863"/>
                    <a:pt x="3911" y="4741"/>
                    <a:pt x="3999" y="4481"/>
                  </a:cubicBezTo>
                  <a:cubicBezTo>
                    <a:pt x="4098" y="4203"/>
                    <a:pt x="3999" y="3804"/>
                    <a:pt x="4098" y="3683"/>
                  </a:cubicBezTo>
                  <a:cubicBezTo>
                    <a:pt x="4472" y="3405"/>
                    <a:pt x="4858" y="3804"/>
                    <a:pt x="5232" y="3683"/>
                  </a:cubicBezTo>
                  <a:cubicBezTo>
                    <a:pt x="5518" y="3683"/>
                    <a:pt x="5805" y="3544"/>
                    <a:pt x="6091" y="3284"/>
                  </a:cubicBezTo>
                  <a:cubicBezTo>
                    <a:pt x="6378" y="3145"/>
                    <a:pt x="6577" y="2486"/>
                    <a:pt x="6951" y="2347"/>
                  </a:cubicBezTo>
                  <a:cubicBezTo>
                    <a:pt x="7337" y="2347"/>
                    <a:pt x="7711" y="2746"/>
                    <a:pt x="7997" y="3006"/>
                  </a:cubicBezTo>
                  <a:cubicBezTo>
                    <a:pt x="8184" y="3145"/>
                    <a:pt x="8284" y="3683"/>
                    <a:pt x="8471" y="3683"/>
                  </a:cubicBezTo>
                  <a:cubicBezTo>
                    <a:pt x="8757" y="3683"/>
                    <a:pt x="9044" y="3405"/>
                    <a:pt x="9143" y="3006"/>
                  </a:cubicBezTo>
                  <a:cubicBezTo>
                    <a:pt x="9430" y="2607"/>
                    <a:pt x="9430" y="1948"/>
                    <a:pt x="9617" y="1427"/>
                  </a:cubicBezTo>
                  <a:cubicBezTo>
                    <a:pt x="9803" y="1150"/>
                    <a:pt x="10003" y="890"/>
                    <a:pt x="10090" y="629"/>
                  </a:cubicBezTo>
                  <a:cubicBezTo>
                    <a:pt x="10476" y="629"/>
                    <a:pt x="10949" y="629"/>
                    <a:pt x="11236" y="490"/>
                  </a:cubicBezTo>
                  <a:cubicBezTo>
                    <a:pt x="11423" y="490"/>
                    <a:pt x="11423" y="91"/>
                    <a:pt x="11522" y="91"/>
                  </a:cubicBezTo>
                  <a:cubicBezTo>
                    <a:pt x="11610" y="-30"/>
                    <a:pt x="11797" y="-30"/>
                    <a:pt x="11896" y="91"/>
                  </a:cubicBezTo>
                  <a:cubicBezTo>
                    <a:pt x="11996" y="230"/>
                    <a:pt x="12083" y="490"/>
                    <a:pt x="12282" y="490"/>
                  </a:cubicBezTo>
                  <a:cubicBezTo>
                    <a:pt x="12469" y="629"/>
                    <a:pt x="12756" y="369"/>
                    <a:pt x="12943" y="490"/>
                  </a:cubicBezTo>
                  <a:cubicBezTo>
                    <a:pt x="13142" y="629"/>
                    <a:pt x="13042" y="890"/>
                    <a:pt x="13142" y="1028"/>
                  </a:cubicBezTo>
                  <a:cubicBezTo>
                    <a:pt x="13229" y="1150"/>
                    <a:pt x="13329" y="1028"/>
                    <a:pt x="13416" y="1150"/>
                  </a:cubicBezTo>
                  <a:cubicBezTo>
                    <a:pt x="13516" y="1289"/>
                    <a:pt x="13416" y="1826"/>
                    <a:pt x="13615" y="1826"/>
                  </a:cubicBezTo>
                  <a:cubicBezTo>
                    <a:pt x="13989" y="1688"/>
                    <a:pt x="14089" y="768"/>
                    <a:pt x="14462" y="768"/>
                  </a:cubicBezTo>
                  <a:cubicBezTo>
                    <a:pt x="14749" y="768"/>
                    <a:pt x="14462" y="1549"/>
                    <a:pt x="14662" y="1826"/>
                  </a:cubicBezTo>
                  <a:cubicBezTo>
                    <a:pt x="14749" y="1948"/>
                    <a:pt x="14948" y="1826"/>
                    <a:pt x="15135" y="1826"/>
                  </a:cubicBezTo>
                  <a:cubicBezTo>
                    <a:pt x="15222" y="1948"/>
                    <a:pt x="15222" y="2087"/>
                    <a:pt x="15322" y="2087"/>
                  </a:cubicBezTo>
                  <a:cubicBezTo>
                    <a:pt x="15608" y="2208"/>
                    <a:pt x="15795" y="2087"/>
                    <a:pt x="16082" y="2208"/>
                  </a:cubicBezTo>
                  <a:cubicBezTo>
                    <a:pt x="16082" y="2208"/>
                    <a:pt x="16368" y="4082"/>
                    <a:pt x="16368" y="4203"/>
                  </a:cubicBezTo>
                  <a:cubicBezTo>
                    <a:pt x="16368" y="4342"/>
                    <a:pt x="16555" y="5522"/>
                    <a:pt x="16555" y="5522"/>
                  </a:cubicBezTo>
                  <a:cubicBezTo>
                    <a:pt x="16941" y="5522"/>
                    <a:pt x="17327" y="5661"/>
                    <a:pt x="17701" y="5400"/>
                  </a:cubicBezTo>
                  <a:cubicBezTo>
                    <a:pt x="17888" y="5400"/>
                    <a:pt x="17888" y="5001"/>
                    <a:pt x="17888" y="4741"/>
                  </a:cubicBezTo>
                  <a:cubicBezTo>
                    <a:pt x="17988" y="4342"/>
                    <a:pt x="17801" y="3804"/>
                    <a:pt x="17988" y="3544"/>
                  </a:cubicBezTo>
                  <a:cubicBezTo>
                    <a:pt x="18087" y="3145"/>
                    <a:pt x="18461" y="3284"/>
                    <a:pt x="18648" y="3145"/>
                  </a:cubicBezTo>
                  <a:cubicBezTo>
                    <a:pt x="19034" y="3006"/>
                    <a:pt x="19134" y="2885"/>
                    <a:pt x="19507" y="2607"/>
                  </a:cubicBezTo>
                  <a:cubicBezTo>
                    <a:pt x="19607" y="2746"/>
                    <a:pt x="19607" y="2885"/>
                    <a:pt x="19694" y="3006"/>
                  </a:cubicBezTo>
                  <a:cubicBezTo>
                    <a:pt x="19607" y="3943"/>
                    <a:pt x="20080" y="5921"/>
                    <a:pt x="20466" y="6719"/>
                  </a:cubicBezTo>
                  <a:cubicBezTo>
                    <a:pt x="20554" y="7118"/>
                    <a:pt x="21127" y="7777"/>
                    <a:pt x="21600" y="8315"/>
                  </a:cubicBezTo>
                  <a:cubicBezTo>
                    <a:pt x="21226" y="8454"/>
                    <a:pt x="20840" y="8454"/>
                    <a:pt x="20466" y="8853"/>
                  </a:cubicBezTo>
                  <a:cubicBezTo>
                    <a:pt x="20080" y="9235"/>
                    <a:pt x="19607" y="9772"/>
                    <a:pt x="19320" y="10310"/>
                  </a:cubicBezTo>
                  <a:cubicBezTo>
                    <a:pt x="19221" y="10692"/>
                    <a:pt x="19221" y="11230"/>
                    <a:pt x="19134" y="11629"/>
                  </a:cubicBezTo>
                  <a:cubicBezTo>
                    <a:pt x="19034" y="12028"/>
                    <a:pt x="18747" y="12427"/>
                    <a:pt x="18561" y="12826"/>
                  </a:cubicBezTo>
                  <a:cubicBezTo>
                    <a:pt x="18461" y="13086"/>
                    <a:pt x="18561" y="13607"/>
                    <a:pt x="18274" y="13884"/>
                  </a:cubicBezTo>
                  <a:cubicBezTo>
                    <a:pt x="18087" y="14144"/>
                    <a:pt x="17614" y="13884"/>
                    <a:pt x="17415" y="14144"/>
                  </a:cubicBezTo>
                  <a:cubicBezTo>
                    <a:pt x="17228" y="14405"/>
                    <a:pt x="17514" y="14682"/>
                    <a:pt x="17514" y="14943"/>
                  </a:cubicBezTo>
                  <a:cubicBezTo>
                    <a:pt x="17415" y="15081"/>
                    <a:pt x="17228" y="15203"/>
                    <a:pt x="17128" y="15203"/>
                  </a:cubicBezTo>
                  <a:cubicBezTo>
                    <a:pt x="16842" y="15081"/>
                    <a:pt x="16655" y="14682"/>
                    <a:pt x="16368" y="14682"/>
                  </a:cubicBezTo>
                  <a:cubicBezTo>
                    <a:pt x="15994" y="14682"/>
                    <a:pt x="15608" y="14943"/>
                    <a:pt x="15322" y="15203"/>
                  </a:cubicBezTo>
                  <a:cubicBezTo>
                    <a:pt x="15135" y="15203"/>
                    <a:pt x="15135" y="15862"/>
                    <a:pt x="15035" y="15741"/>
                  </a:cubicBezTo>
                  <a:cubicBezTo>
                    <a:pt x="14562" y="15342"/>
                    <a:pt x="14562" y="14405"/>
                    <a:pt x="14089" y="14144"/>
                  </a:cubicBezTo>
                  <a:cubicBezTo>
                    <a:pt x="13802" y="13884"/>
                    <a:pt x="13329" y="13884"/>
                    <a:pt x="13042" y="14144"/>
                  </a:cubicBezTo>
                  <a:cubicBezTo>
                    <a:pt x="12756" y="14405"/>
                    <a:pt x="13042" y="14943"/>
                    <a:pt x="12855" y="15342"/>
                  </a:cubicBezTo>
                  <a:cubicBezTo>
                    <a:pt x="12855" y="15463"/>
                    <a:pt x="12469" y="15463"/>
                    <a:pt x="12370" y="15602"/>
                  </a:cubicBezTo>
                  <a:cubicBezTo>
                    <a:pt x="12282" y="16261"/>
                    <a:pt x="12469" y="17059"/>
                    <a:pt x="12569" y="17718"/>
                  </a:cubicBezTo>
                  <a:cubicBezTo>
                    <a:pt x="12282" y="17718"/>
                    <a:pt x="12083" y="17857"/>
                    <a:pt x="11896" y="17979"/>
                  </a:cubicBezTo>
                  <a:cubicBezTo>
                    <a:pt x="11610" y="17979"/>
                    <a:pt x="11236" y="17597"/>
                    <a:pt x="11037" y="17857"/>
                  </a:cubicBezTo>
                  <a:cubicBezTo>
                    <a:pt x="10663" y="18378"/>
                    <a:pt x="11037" y="19453"/>
                    <a:pt x="10563" y="19974"/>
                  </a:cubicBezTo>
                  <a:cubicBezTo>
                    <a:pt x="10277" y="20234"/>
                    <a:pt x="10003" y="19176"/>
                    <a:pt x="9617" y="19315"/>
                  </a:cubicBezTo>
                  <a:cubicBezTo>
                    <a:pt x="9330" y="19315"/>
                    <a:pt x="9716" y="20113"/>
                    <a:pt x="9517" y="20234"/>
                  </a:cubicBezTo>
                  <a:cubicBezTo>
                    <a:pt x="8857" y="20911"/>
                    <a:pt x="8097" y="21292"/>
                    <a:pt x="7424" y="21570"/>
                  </a:cubicBezTo>
                  <a:cubicBezTo>
                    <a:pt x="7237" y="21570"/>
                    <a:pt x="7237" y="21171"/>
                    <a:pt x="7138" y="21032"/>
                  </a:cubicBezTo>
                  <a:cubicBezTo>
                    <a:pt x="6664" y="20633"/>
                    <a:pt x="6291" y="20113"/>
                    <a:pt x="5805" y="20113"/>
                  </a:cubicBezTo>
                  <a:cubicBezTo>
                    <a:pt x="5431" y="20113"/>
                    <a:pt x="5232" y="20772"/>
                    <a:pt x="4858" y="20911"/>
                  </a:cubicBezTo>
                  <a:cubicBezTo>
                    <a:pt x="4472" y="21171"/>
                    <a:pt x="3911" y="21032"/>
                    <a:pt x="3525" y="21171"/>
                  </a:cubicBezTo>
                  <a:cubicBezTo>
                    <a:pt x="3525" y="20512"/>
                    <a:pt x="3625" y="19852"/>
                    <a:pt x="3625" y="19176"/>
                  </a:cubicBezTo>
                  <a:cubicBezTo>
                    <a:pt x="3625" y="18655"/>
                    <a:pt x="3525" y="17979"/>
                    <a:pt x="3338" y="17597"/>
                  </a:cubicBezTo>
                  <a:cubicBezTo>
                    <a:pt x="3239" y="17319"/>
                    <a:pt x="3052" y="17718"/>
                    <a:pt x="2952" y="17597"/>
                  </a:cubicBezTo>
                  <a:cubicBezTo>
                    <a:pt x="2865" y="17458"/>
                    <a:pt x="2865" y="17198"/>
                    <a:pt x="2765" y="16920"/>
                  </a:cubicBezTo>
                  <a:cubicBezTo>
                    <a:pt x="2192" y="16261"/>
                    <a:pt x="1532" y="15741"/>
                    <a:pt x="1046" y="14943"/>
                  </a:cubicBezTo>
                  <a:cubicBezTo>
                    <a:pt x="760" y="14405"/>
                    <a:pt x="573" y="13745"/>
                    <a:pt x="673" y="13225"/>
                  </a:cubicBezTo>
                  <a:cubicBezTo>
                    <a:pt x="673" y="12826"/>
                    <a:pt x="1146" y="12687"/>
                    <a:pt x="1246" y="12288"/>
                  </a:cubicBezTo>
                  <a:cubicBezTo>
                    <a:pt x="1246" y="12028"/>
                    <a:pt x="1146" y="11750"/>
                    <a:pt x="1046" y="11490"/>
                  </a:cubicBezTo>
                  <a:cubicBezTo>
                    <a:pt x="959" y="11369"/>
                    <a:pt x="673" y="11490"/>
                    <a:pt x="486" y="11230"/>
                  </a:cubicBezTo>
                  <a:cubicBezTo>
                    <a:pt x="287" y="10970"/>
                    <a:pt x="100" y="10570"/>
                    <a:pt x="0" y="10033"/>
                  </a:cubicBezTo>
                  <a:cubicBezTo>
                    <a:pt x="0" y="9772"/>
                    <a:pt x="287" y="9634"/>
                    <a:pt x="386" y="9512"/>
                  </a:cubicBezTo>
                  <a:cubicBezTo>
                    <a:pt x="486" y="9113"/>
                    <a:pt x="386" y="8714"/>
                    <a:pt x="386" y="8454"/>
                  </a:cubicBezTo>
                  <a:cubicBezTo>
                    <a:pt x="486" y="8055"/>
                    <a:pt x="486" y="7777"/>
                    <a:pt x="573" y="7378"/>
                  </a:cubicBezTo>
                  <a:cubicBezTo>
                    <a:pt x="573" y="7118"/>
                    <a:pt x="760" y="6979"/>
                    <a:pt x="760" y="6719"/>
                  </a:cubicBezTo>
                  <a:cubicBezTo>
                    <a:pt x="860" y="6459"/>
                    <a:pt x="760" y="6060"/>
                    <a:pt x="760" y="579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4" name="Shape 2455">
              <a:extLst>
                <a:ext uri="{FF2B5EF4-FFF2-40B4-BE49-F238E27FC236}">
                  <a16:creationId xmlns:a16="http://schemas.microsoft.com/office/drawing/2014/main" id="{F88481EE-0CB1-C66C-517C-46A3A9C0E5DD}"/>
                </a:ext>
              </a:extLst>
            </p:cNvPr>
            <p:cNvSpPr/>
            <p:nvPr/>
          </p:nvSpPr>
          <p:spPr>
            <a:xfrm>
              <a:off x="2404406" y="4141570"/>
              <a:ext cx="789689" cy="1044225"/>
            </a:xfrm>
            <a:custGeom>
              <a:avLst/>
              <a:gdLst/>
              <a:ahLst/>
              <a:cxnLst>
                <a:cxn ang="0">
                  <a:pos x="wd2" y="hd2"/>
                </a:cxn>
                <a:cxn ang="5400000">
                  <a:pos x="wd2" y="hd2"/>
                </a:cxn>
                <a:cxn ang="10800000">
                  <a:pos x="wd2" y="hd2"/>
                </a:cxn>
                <a:cxn ang="16200000">
                  <a:pos x="wd2" y="hd2"/>
                </a:cxn>
              </a:cxnLst>
              <a:rect l="0" t="0" r="r" b="b"/>
              <a:pathLst>
                <a:path w="21378" h="21051" extrusionOk="0">
                  <a:moveTo>
                    <a:pt x="8338" y="3535"/>
                  </a:moveTo>
                  <a:cubicBezTo>
                    <a:pt x="8338" y="3590"/>
                    <a:pt x="8201" y="3794"/>
                    <a:pt x="7991" y="3896"/>
                  </a:cubicBezTo>
                  <a:cubicBezTo>
                    <a:pt x="7507" y="4419"/>
                    <a:pt x="8201" y="4154"/>
                    <a:pt x="8548" y="4154"/>
                  </a:cubicBezTo>
                  <a:cubicBezTo>
                    <a:pt x="8548" y="4929"/>
                    <a:pt x="6321" y="4107"/>
                    <a:pt x="6047" y="4263"/>
                  </a:cubicBezTo>
                  <a:cubicBezTo>
                    <a:pt x="5700" y="4467"/>
                    <a:pt x="5144" y="4310"/>
                    <a:pt x="4934" y="4623"/>
                  </a:cubicBezTo>
                  <a:cubicBezTo>
                    <a:pt x="4870" y="4678"/>
                    <a:pt x="4797" y="4882"/>
                    <a:pt x="4870" y="4929"/>
                  </a:cubicBezTo>
                  <a:cubicBezTo>
                    <a:pt x="4934" y="4984"/>
                    <a:pt x="5071" y="4984"/>
                    <a:pt x="5144" y="4984"/>
                  </a:cubicBezTo>
                  <a:cubicBezTo>
                    <a:pt x="5217" y="4984"/>
                    <a:pt x="5491" y="4984"/>
                    <a:pt x="5491" y="5038"/>
                  </a:cubicBezTo>
                  <a:cubicBezTo>
                    <a:pt x="5071" y="5086"/>
                    <a:pt x="5354" y="5915"/>
                    <a:pt x="4514" y="5398"/>
                  </a:cubicBezTo>
                  <a:cubicBezTo>
                    <a:pt x="3821" y="4929"/>
                    <a:pt x="3611" y="5867"/>
                    <a:pt x="3264" y="6330"/>
                  </a:cubicBezTo>
                  <a:cubicBezTo>
                    <a:pt x="2981" y="6751"/>
                    <a:pt x="2917" y="6853"/>
                    <a:pt x="3054" y="7316"/>
                  </a:cubicBezTo>
                  <a:cubicBezTo>
                    <a:pt x="3118" y="7683"/>
                    <a:pt x="2634" y="7995"/>
                    <a:pt x="2424" y="8308"/>
                  </a:cubicBezTo>
                  <a:cubicBezTo>
                    <a:pt x="2078" y="8825"/>
                    <a:pt x="1311" y="9192"/>
                    <a:pt x="1028" y="9811"/>
                  </a:cubicBezTo>
                  <a:cubicBezTo>
                    <a:pt x="891" y="10124"/>
                    <a:pt x="964" y="10334"/>
                    <a:pt x="964" y="10640"/>
                  </a:cubicBezTo>
                  <a:cubicBezTo>
                    <a:pt x="964" y="10953"/>
                    <a:pt x="608" y="11368"/>
                    <a:pt x="608" y="11735"/>
                  </a:cubicBezTo>
                  <a:cubicBezTo>
                    <a:pt x="608" y="12048"/>
                    <a:pt x="335" y="12095"/>
                    <a:pt x="52" y="12197"/>
                  </a:cubicBezTo>
                  <a:cubicBezTo>
                    <a:pt x="-222" y="12306"/>
                    <a:pt x="681" y="12931"/>
                    <a:pt x="754" y="13135"/>
                  </a:cubicBezTo>
                  <a:cubicBezTo>
                    <a:pt x="891" y="13448"/>
                    <a:pt x="1101" y="13394"/>
                    <a:pt x="1311" y="13605"/>
                  </a:cubicBezTo>
                  <a:cubicBezTo>
                    <a:pt x="1521" y="13808"/>
                    <a:pt x="1731" y="14019"/>
                    <a:pt x="1868" y="14223"/>
                  </a:cubicBezTo>
                  <a:cubicBezTo>
                    <a:pt x="2005" y="14692"/>
                    <a:pt x="2561" y="15005"/>
                    <a:pt x="2917" y="15365"/>
                  </a:cubicBezTo>
                  <a:cubicBezTo>
                    <a:pt x="3118" y="15631"/>
                    <a:pt x="3054" y="16147"/>
                    <a:pt x="3054" y="16406"/>
                  </a:cubicBezTo>
                  <a:cubicBezTo>
                    <a:pt x="3191" y="16977"/>
                    <a:pt x="4030" y="17500"/>
                    <a:pt x="4304" y="18017"/>
                  </a:cubicBezTo>
                  <a:cubicBezTo>
                    <a:pt x="4724" y="18799"/>
                    <a:pt x="5071" y="18119"/>
                    <a:pt x="5700" y="18119"/>
                  </a:cubicBezTo>
                  <a:cubicBezTo>
                    <a:pt x="5700" y="18534"/>
                    <a:pt x="4724" y="19003"/>
                    <a:pt x="5144" y="19520"/>
                  </a:cubicBezTo>
                  <a:cubicBezTo>
                    <a:pt x="5217" y="19887"/>
                    <a:pt x="6248" y="21600"/>
                    <a:pt x="6878" y="20873"/>
                  </a:cubicBezTo>
                  <a:cubicBezTo>
                    <a:pt x="7297" y="20403"/>
                    <a:pt x="8128" y="18799"/>
                    <a:pt x="8621" y="18534"/>
                  </a:cubicBezTo>
                  <a:cubicBezTo>
                    <a:pt x="8684" y="18642"/>
                    <a:pt x="9177" y="19003"/>
                    <a:pt x="9314" y="19105"/>
                  </a:cubicBezTo>
                  <a:cubicBezTo>
                    <a:pt x="9661" y="19418"/>
                    <a:pt x="9460" y="19520"/>
                    <a:pt x="9734" y="19159"/>
                  </a:cubicBezTo>
                  <a:cubicBezTo>
                    <a:pt x="10017" y="18901"/>
                    <a:pt x="10920" y="17759"/>
                    <a:pt x="11057" y="18275"/>
                  </a:cubicBezTo>
                  <a:cubicBezTo>
                    <a:pt x="11130" y="18384"/>
                    <a:pt x="11194" y="18486"/>
                    <a:pt x="11194" y="18642"/>
                  </a:cubicBezTo>
                  <a:cubicBezTo>
                    <a:pt x="11550" y="18534"/>
                    <a:pt x="11824" y="18534"/>
                    <a:pt x="12107" y="18432"/>
                  </a:cubicBezTo>
                  <a:cubicBezTo>
                    <a:pt x="12170" y="18384"/>
                    <a:pt x="12170" y="18228"/>
                    <a:pt x="12243" y="18173"/>
                  </a:cubicBezTo>
                  <a:cubicBezTo>
                    <a:pt x="12526" y="18119"/>
                    <a:pt x="12800" y="18173"/>
                    <a:pt x="13010" y="18275"/>
                  </a:cubicBezTo>
                  <a:cubicBezTo>
                    <a:pt x="13220" y="18330"/>
                    <a:pt x="13147" y="18534"/>
                    <a:pt x="13357" y="18642"/>
                  </a:cubicBezTo>
                  <a:cubicBezTo>
                    <a:pt x="13567" y="18744"/>
                    <a:pt x="13849" y="18799"/>
                    <a:pt x="14059" y="18744"/>
                  </a:cubicBezTo>
                  <a:cubicBezTo>
                    <a:pt x="14333" y="18588"/>
                    <a:pt x="14333" y="18228"/>
                    <a:pt x="14616" y="18119"/>
                  </a:cubicBezTo>
                  <a:cubicBezTo>
                    <a:pt x="14890" y="18071"/>
                    <a:pt x="15246" y="18275"/>
                    <a:pt x="15519" y="18173"/>
                  </a:cubicBezTo>
                  <a:cubicBezTo>
                    <a:pt x="15866" y="18119"/>
                    <a:pt x="16076" y="17861"/>
                    <a:pt x="16359" y="17759"/>
                  </a:cubicBezTo>
                  <a:cubicBezTo>
                    <a:pt x="16633" y="17704"/>
                    <a:pt x="16916" y="17650"/>
                    <a:pt x="17189" y="17704"/>
                  </a:cubicBezTo>
                  <a:cubicBezTo>
                    <a:pt x="17262" y="17704"/>
                    <a:pt x="17262" y="17759"/>
                    <a:pt x="17262" y="17806"/>
                  </a:cubicBezTo>
                  <a:cubicBezTo>
                    <a:pt x="17545" y="17759"/>
                    <a:pt x="17755" y="17759"/>
                    <a:pt x="17956" y="17650"/>
                  </a:cubicBezTo>
                  <a:cubicBezTo>
                    <a:pt x="18166" y="17548"/>
                    <a:pt x="18166" y="17290"/>
                    <a:pt x="18376" y="17235"/>
                  </a:cubicBezTo>
                  <a:cubicBezTo>
                    <a:pt x="18586" y="17188"/>
                    <a:pt x="18795" y="17548"/>
                    <a:pt x="18932" y="17446"/>
                  </a:cubicBezTo>
                  <a:cubicBezTo>
                    <a:pt x="19142" y="17133"/>
                    <a:pt x="19078" y="16773"/>
                    <a:pt x="19142" y="16406"/>
                  </a:cubicBezTo>
                  <a:cubicBezTo>
                    <a:pt x="19142" y="16202"/>
                    <a:pt x="19279" y="15991"/>
                    <a:pt x="19142" y="15780"/>
                  </a:cubicBezTo>
                  <a:cubicBezTo>
                    <a:pt x="19078" y="15576"/>
                    <a:pt x="18586" y="15522"/>
                    <a:pt x="18586" y="15318"/>
                  </a:cubicBezTo>
                  <a:cubicBezTo>
                    <a:pt x="18586" y="15107"/>
                    <a:pt x="18868" y="15059"/>
                    <a:pt x="19078" y="14951"/>
                  </a:cubicBezTo>
                  <a:cubicBezTo>
                    <a:pt x="19215" y="14903"/>
                    <a:pt x="19489" y="14951"/>
                    <a:pt x="19562" y="14849"/>
                  </a:cubicBezTo>
                  <a:cubicBezTo>
                    <a:pt x="19635" y="14692"/>
                    <a:pt x="19279" y="14536"/>
                    <a:pt x="19279" y="14380"/>
                  </a:cubicBezTo>
                  <a:cubicBezTo>
                    <a:pt x="19279" y="14223"/>
                    <a:pt x="19425" y="14019"/>
                    <a:pt x="19562" y="13910"/>
                  </a:cubicBezTo>
                  <a:cubicBezTo>
                    <a:pt x="19635" y="13761"/>
                    <a:pt x="19845" y="13605"/>
                    <a:pt x="20055" y="13550"/>
                  </a:cubicBezTo>
                  <a:cubicBezTo>
                    <a:pt x="20329" y="13496"/>
                    <a:pt x="20675" y="13652"/>
                    <a:pt x="20958" y="13605"/>
                  </a:cubicBezTo>
                  <a:cubicBezTo>
                    <a:pt x="21095" y="13605"/>
                    <a:pt x="21168" y="13496"/>
                    <a:pt x="21305" y="13448"/>
                  </a:cubicBezTo>
                  <a:cubicBezTo>
                    <a:pt x="21305" y="13190"/>
                    <a:pt x="21378" y="12931"/>
                    <a:pt x="21378" y="12666"/>
                  </a:cubicBezTo>
                  <a:cubicBezTo>
                    <a:pt x="21378" y="12462"/>
                    <a:pt x="21305" y="12197"/>
                    <a:pt x="21168" y="12048"/>
                  </a:cubicBezTo>
                  <a:cubicBezTo>
                    <a:pt x="21095" y="11939"/>
                    <a:pt x="20958" y="12095"/>
                    <a:pt x="20885" y="12048"/>
                  </a:cubicBezTo>
                  <a:cubicBezTo>
                    <a:pt x="20821" y="11993"/>
                    <a:pt x="20821" y="11891"/>
                    <a:pt x="20748" y="11782"/>
                  </a:cubicBezTo>
                  <a:cubicBezTo>
                    <a:pt x="20329" y="11524"/>
                    <a:pt x="19845" y="11320"/>
                    <a:pt x="19489" y="11007"/>
                  </a:cubicBezTo>
                  <a:cubicBezTo>
                    <a:pt x="19279" y="10797"/>
                    <a:pt x="19142" y="10538"/>
                    <a:pt x="19215" y="10334"/>
                  </a:cubicBezTo>
                  <a:cubicBezTo>
                    <a:pt x="19215" y="10178"/>
                    <a:pt x="19562" y="10124"/>
                    <a:pt x="19635" y="9967"/>
                  </a:cubicBezTo>
                  <a:cubicBezTo>
                    <a:pt x="19635" y="9865"/>
                    <a:pt x="19562" y="9756"/>
                    <a:pt x="19489" y="9654"/>
                  </a:cubicBezTo>
                  <a:cubicBezTo>
                    <a:pt x="19425" y="9607"/>
                    <a:pt x="19215" y="9654"/>
                    <a:pt x="19078" y="9552"/>
                  </a:cubicBezTo>
                  <a:cubicBezTo>
                    <a:pt x="18932" y="9450"/>
                    <a:pt x="18795" y="9294"/>
                    <a:pt x="18722" y="9083"/>
                  </a:cubicBezTo>
                  <a:cubicBezTo>
                    <a:pt x="18722" y="8981"/>
                    <a:pt x="18932" y="8927"/>
                    <a:pt x="19005" y="8879"/>
                  </a:cubicBezTo>
                  <a:cubicBezTo>
                    <a:pt x="19078" y="8723"/>
                    <a:pt x="19005" y="8567"/>
                    <a:pt x="19005" y="8465"/>
                  </a:cubicBezTo>
                  <a:cubicBezTo>
                    <a:pt x="19078" y="8308"/>
                    <a:pt x="19078" y="8199"/>
                    <a:pt x="19142" y="8043"/>
                  </a:cubicBezTo>
                  <a:cubicBezTo>
                    <a:pt x="19142" y="7941"/>
                    <a:pt x="19279" y="7887"/>
                    <a:pt x="19279" y="7785"/>
                  </a:cubicBezTo>
                  <a:cubicBezTo>
                    <a:pt x="19352" y="7683"/>
                    <a:pt x="19279" y="7526"/>
                    <a:pt x="19279" y="7424"/>
                  </a:cubicBezTo>
                  <a:cubicBezTo>
                    <a:pt x="19215" y="7370"/>
                    <a:pt x="19078" y="7370"/>
                    <a:pt x="18932" y="7316"/>
                  </a:cubicBezTo>
                  <a:cubicBezTo>
                    <a:pt x="18868" y="7214"/>
                    <a:pt x="18868" y="7112"/>
                    <a:pt x="18795" y="7057"/>
                  </a:cubicBezTo>
                  <a:cubicBezTo>
                    <a:pt x="18659" y="6908"/>
                    <a:pt x="18449" y="6799"/>
                    <a:pt x="18239" y="6642"/>
                  </a:cubicBezTo>
                  <a:cubicBezTo>
                    <a:pt x="18166" y="6541"/>
                    <a:pt x="18102" y="6384"/>
                    <a:pt x="17956" y="6282"/>
                  </a:cubicBezTo>
                  <a:cubicBezTo>
                    <a:pt x="17892" y="6228"/>
                    <a:pt x="17956" y="6384"/>
                    <a:pt x="17892" y="6439"/>
                  </a:cubicBezTo>
                  <a:cubicBezTo>
                    <a:pt x="17755" y="6541"/>
                    <a:pt x="17472" y="6541"/>
                    <a:pt x="17335" y="6642"/>
                  </a:cubicBezTo>
                  <a:cubicBezTo>
                    <a:pt x="17126" y="6799"/>
                    <a:pt x="17053" y="7010"/>
                    <a:pt x="16843" y="7112"/>
                  </a:cubicBezTo>
                  <a:cubicBezTo>
                    <a:pt x="16706" y="7214"/>
                    <a:pt x="16496" y="7214"/>
                    <a:pt x="16286" y="7166"/>
                  </a:cubicBezTo>
                  <a:cubicBezTo>
                    <a:pt x="16149" y="7112"/>
                    <a:pt x="16012" y="6955"/>
                    <a:pt x="15866" y="6853"/>
                  </a:cubicBezTo>
                  <a:cubicBezTo>
                    <a:pt x="15729" y="6697"/>
                    <a:pt x="15729" y="6541"/>
                    <a:pt x="15656" y="6384"/>
                  </a:cubicBezTo>
                  <a:cubicBezTo>
                    <a:pt x="15656" y="6282"/>
                    <a:pt x="15656" y="6173"/>
                    <a:pt x="15592" y="6126"/>
                  </a:cubicBezTo>
                  <a:cubicBezTo>
                    <a:pt x="15519" y="5969"/>
                    <a:pt x="15246" y="5867"/>
                    <a:pt x="15310" y="5711"/>
                  </a:cubicBezTo>
                  <a:cubicBezTo>
                    <a:pt x="15310" y="5602"/>
                    <a:pt x="15519" y="5500"/>
                    <a:pt x="15656" y="5398"/>
                  </a:cubicBezTo>
                  <a:cubicBezTo>
                    <a:pt x="15802" y="5242"/>
                    <a:pt x="16012" y="5086"/>
                    <a:pt x="16076" y="4882"/>
                  </a:cubicBezTo>
                  <a:cubicBezTo>
                    <a:pt x="16076" y="4678"/>
                    <a:pt x="15866" y="4521"/>
                    <a:pt x="15729" y="4365"/>
                  </a:cubicBezTo>
                  <a:cubicBezTo>
                    <a:pt x="15656" y="4263"/>
                    <a:pt x="15383" y="4310"/>
                    <a:pt x="15383" y="4263"/>
                  </a:cubicBezTo>
                  <a:cubicBezTo>
                    <a:pt x="15383" y="4154"/>
                    <a:pt x="15592" y="4154"/>
                    <a:pt x="15656" y="4052"/>
                  </a:cubicBezTo>
                  <a:cubicBezTo>
                    <a:pt x="15802" y="3848"/>
                    <a:pt x="15656" y="3535"/>
                    <a:pt x="15866" y="3379"/>
                  </a:cubicBezTo>
                  <a:cubicBezTo>
                    <a:pt x="16149" y="3121"/>
                    <a:pt x="16706" y="3175"/>
                    <a:pt x="17053" y="2964"/>
                  </a:cubicBezTo>
                  <a:cubicBezTo>
                    <a:pt x="17126" y="2910"/>
                    <a:pt x="17053" y="2754"/>
                    <a:pt x="16980" y="2652"/>
                  </a:cubicBezTo>
                  <a:cubicBezTo>
                    <a:pt x="16980" y="2550"/>
                    <a:pt x="16843" y="2495"/>
                    <a:pt x="16770" y="2393"/>
                  </a:cubicBezTo>
                  <a:cubicBezTo>
                    <a:pt x="16770" y="2291"/>
                    <a:pt x="16916" y="2080"/>
                    <a:pt x="16770" y="2080"/>
                  </a:cubicBezTo>
                  <a:cubicBezTo>
                    <a:pt x="16569" y="1978"/>
                    <a:pt x="16286" y="2182"/>
                    <a:pt x="16012" y="2182"/>
                  </a:cubicBezTo>
                  <a:cubicBezTo>
                    <a:pt x="15866" y="2182"/>
                    <a:pt x="15866" y="2080"/>
                    <a:pt x="15802" y="2026"/>
                  </a:cubicBezTo>
                  <a:cubicBezTo>
                    <a:pt x="15656" y="1822"/>
                    <a:pt x="15592" y="1564"/>
                    <a:pt x="15383" y="1407"/>
                  </a:cubicBezTo>
                  <a:cubicBezTo>
                    <a:pt x="15246" y="1305"/>
                    <a:pt x="15036" y="1407"/>
                    <a:pt x="14890" y="1305"/>
                  </a:cubicBezTo>
                  <a:cubicBezTo>
                    <a:pt x="14753" y="1251"/>
                    <a:pt x="14616" y="1149"/>
                    <a:pt x="14543" y="1040"/>
                  </a:cubicBezTo>
                  <a:cubicBezTo>
                    <a:pt x="14406" y="836"/>
                    <a:pt x="14543" y="578"/>
                    <a:pt x="14333" y="367"/>
                  </a:cubicBezTo>
                  <a:cubicBezTo>
                    <a:pt x="14123" y="156"/>
                    <a:pt x="13703" y="109"/>
                    <a:pt x="13430" y="0"/>
                  </a:cubicBezTo>
                  <a:cubicBezTo>
                    <a:pt x="13357" y="54"/>
                    <a:pt x="13147" y="109"/>
                    <a:pt x="13010" y="211"/>
                  </a:cubicBezTo>
                  <a:cubicBezTo>
                    <a:pt x="12800" y="367"/>
                    <a:pt x="12526" y="578"/>
                    <a:pt x="12170" y="625"/>
                  </a:cubicBezTo>
                  <a:cubicBezTo>
                    <a:pt x="12034" y="680"/>
                    <a:pt x="11687" y="680"/>
                    <a:pt x="11687" y="782"/>
                  </a:cubicBezTo>
                  <a:cubicBezTo>
                    <a:pt x="11614" y="782"/>
                    <a:pt x="11614" y="938"/>
                    <a:pt x="11614" y="993"/>
                  </a:cubicBezTo>
                  <a:cubicBezTo>
                    <a:pt x="11550" y="1040"/>
                    <a:pt x="11477" y="1040"/>
                    <a:pt x="11404" y="1095"/>
                  </a:cubicBezTo>
                  <a:cubicBezTo>
                    <a:pt x="11194" y="1251"/>
                    <a:pt x="11194" y="1353"/>
                    <a:pt x="11057" y="1509"/>
                  </a:cubicBezTo>
                  <a:cubicBezTo>
                    <a:pt x="10637" y="1611"/>
                    <a:pt x="10364" y="2135"/>
                    <a:pt x="9807" y="2182"/>
                  </a:cubicBezTo>
                  <a:cubicBezTo>
                    <a:pt x="9734" y="2291"/>
                    <a:pt x="8684" y="2237"/>
                    <a:pt x="8621" y="2135"/>
                  </a:cubicBezTo>
                  <a:lnTo>
                    <a:pt x="8548" y="2237"/>
                  </a:lnTo>
                  <a:cubicBezTo>
                    <a:pt x="8484" y="2291"/>
                    <a:pt x="8548" y="2291"/>
                    <a:pt x="8548" y="2339"/>
                  </a:cubicBezTo>
                  <a:cubicBezTo>
                    <a:pt x="8830" y="2550"/>
                    <a:pt x="8830" y="2550"/>
                    <a:pt x="8830" y="2550"/>
                  </a:cubicBezTo>
                  <a:cubicBezTo>
                    <a:pt x="9040" y="2550"/>
                    <a:pt x="8621" y="3019"/>
                    <a:pt x="8548" y="3066"/>
                  </a:cubicBezTo>
                  <a:cubicBezTo>
                    <a:pt x="8484" y="3175"/>
                    <a:pt x="8484" y="3481"/>
                    <a:pt x="8274" y="3535"/>
                  </a:cubicBezTo>
                  <a:lnTo>
                    <a:pt x="8338" y="3535"/>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5" name="Shape 2456">
              <a:extLst>
                <a:ext uri="{FF2B5EF4-FFF2-40B4-BE49-F238E27FC236}">
                  <a16:creationId xmlns:a16="http://schemas.microsoft.com/office/drawing/2014/main" id="{056FD916-2B7B-084B-AB5F-47DCCF5D9207}"/>
                </a:ext>
              </a:extLst>
            </p:cNvPr>
            <p:cNvSpPr/>
            <p:nvPr/>
          </p:nvSpPr>
          <p:spPr>
            <a:xfrm>
              <a:off x="3356456" y="4340770"/>
              <a:ext cx="175068" cy="93492"/>
            </a:xfrm>
            <a:custGeom>
              <a:avLst/>
              <a:gdLst/>
              <a:ahLst/>
              <a:cxnLst>
                <a:cxn ang="0">
                  <a:pos x="wd2" y="hd2"/>
                </a:cxn>
                <a:cxn ang="5400000">
                  <a:pos x="wd2" y="hd2"/>
                </a:cxn>
                <a:cxn ang="10800000">
                  <a:pos x="wd2" y="hd2"/>
                </a:cxn>
                <a:cxn ang="16200000">
                  <a:pos x="wd2" y="hd2"/>
                </a:cxn>
              </a:cxnLst>
              <a:rect l="0" t="0" r="r" b="b"/>
              <a:pathLst>
                <a:path w="21600" h="21301" extrusionOk="0">
                  <a:moveTo>
                    <a:pt x="21600" y="10454"/>
                  </a:moveTo>
                  <a:cubicBezTo>
                    <a:pt x="20351" y="4074"/>
                    <a:pt x="20351" y="4074"/>
                    <a:pt x="20351" y="4074"/>
                  </a:cubicBezTo>
                  <a:cubicBezTo>
                    <a:pt x="19061" y="3459"/>
                    <a:pt x="17813" y="2921"/>
                    <a:pt x="16190" y="2921"/>
                  </a:cubicBezTo>
                  <a:cubicBezTo>
                    <a:pt x="15274" y="2921"/>
                    <a:pt x="14317" y="4689"/>
                    <a:pt x="13027" y="4689"/>
                  </a:cubicBezTo>
                  <a:cubicBezTo>
                    <a:pt x="11445" y="4689"/>
                    <a:pt x="9864" y="4689"/>
                    <a:pt x="8240" y="4074"/>
                  </a:cubicBezTo>
                  <a:cubicBezTo>
                    <a:pt x="7283" y="2921"/>
                    <a:pt x="6368" y="1691"/>
                    <a:pt x="5410" y="538"/>
                  </a:cubicBezTo>
                  <a:cubicBezTo>
                    <a:pt x="4745" y="538"/>
                    <a:pt x="4120" y="0"/>
                    <a:pt x="3829" y="0"/>
                  </a:cubicBezTo>
                  <a:cubicBezTo>
                    <a:pt x="3163" y="538"/>
                    <a:pt x="2872" y="1153"/>
                    <a:pt x="2539" y="1691"/>
                  </a:cubicBezTo>
                  <a:cubicBezTo>
                    <a:pt x="1914" y="3459"/>
                    <a:pt x="1290" y="4689"/>
                    <a:pt x="957" y="6457"/>
                  </a:cubicBezTo>
                  <a:cubicBezTo>
                    <a:pt x="957" y="7610"/>
                    <a:pt x="1914" y="8148"/>
                    <a:pt x="1582" y="9301"/>
                  </a:cubicBezTo>
                  <a:cubicBezTo>
                    <a:pt x="1290" y="10454"/>
                    <a:pt x="0" y="11069"/>
                    <a:pt x="0" y="12222"/>
                  </a:cubicBezTo>
                  <a:cubicBezTo>
                    <a:pt x="0" y="13990"/>
                    <a:pt x="957" y="14605"/>
                    <a:pt x="1582" y="15758"/>
                  </a:cubicBezTo>
                  <a:cubicBezTo>
                    <a:pt x="2872" y="15758"/>
                    <a:pt x="4453" y="15758"/>
                    <a:pt x="5410" y="15143"/>
                  </a:cubicBezTo>
                  <a:cubicBezTo>
                    <a:pt x="6035" y="15143"/>
                    <a:pt x="6035" y="13375"/>
                    <a:pt x="6368" y="13375"/>
                  </a:cubicBezTo>
                  <a:cubicBezTo>
                    <a:pt x="6659" y="12837"/>
                    <a:pt x="7283" y="12837"/>
                    <a:pt x="7616" y="13375"/>
                  </a:cubicBezTo>
                  <a:cubicBezTo>
                    <a:pt x="7949" y="13990"/>
                    <a:pt x="8240" y="15143"/>
                    <a:pt x="8906" y="15143"/>
                  </a:cubicBezTo>
                  <a:cubicBezTo>
                    <a:pt x="9531" y="15758"/>
                    <a:pt x="10488" y="14605"/>
                    <a:pt x="11112" y="15143"/>
                  </a:cubicBezTo>
                  <a:cubicBezTo>
                    <a:pt x="11778" y="15758"/>
                    <a:pt x="11445" y="16911"/>
                    <a:pt x="11778" y="17526"/>
                  </a:cubicBezTo>
                  <a:cubicBezTo>
                    <a:pt x="12069" y="18064"/>
                    <a:pt x="12402" y="17526"/>
                    <a:pt x="12694" y="18064"/>
                  </a:cubicBezTo>
                  <a:cubicBezTo>
                    <a:pt x="13027" y="18679"/>
                    <a:pt x="12694" y="21062"/>
                    <a:pt x="13360" y="21062"/>
                  </a:cubicBezTo>
                  <a:cubicBezTo>
                    <a:pt x="14608" y="20447"/>
                    <a:pt x="14941" y="16373"/>
                    <a:pt x="16190" y="16373"/>
                  </a:cubicBezTo>
                  <a:cubicBezTo>
                    <a:pt x="17147" y="16373"/>
                    <a:pt x="16190" y="19832"/>
                    <a:pt x="16855" y="21062"/>
                  </a:cubicBezTo>
                  <a:cubicBezTo>
                    <a:pt x="17147" y="21600"/>
                    <a:pt x="17813" y="21062"/>
                    <a:pt x="18437" y="21062"/>
                  </a:cubicBezTo>
                  <a:cubicBezTo>
                    <a:pt x="18437" y="17526"/>
                    <a:pt x="17480" y="13990"/>
                    <a:pt x="18437" y="11069"/>
                  </a:cubicBezTo>
                  <a:cubicBezTo>
                    <a:pt x="19061" y="9301"/>
                    <a:pt x="20643" y="10454"/>
                    <a:pt x="21600" y="1045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6" name="Shape 2457">
              <a:extLst>
                <a:ext uri="{FF2B5EF4-FFF2-40B4-BE49-F238E27FC236}">
                  <a16:creationId xmlns:a16="http://schemas.microsoft.com/office/drawing/2014/main" id="{35C27BFD-39BD-C798-791B-2EFFCE68544F}"/>
                </a:ext>
              </a:extLst>
            </p:cNvPr>
            <p:cNvSpPr/>
            <p:nvPr/>
          </p:nvSpPr>
          <p:spPr>
            <a:xfrm>
              <a:off x="3521456" y="4312526"/>
              <a:ext cx="94144" cy="76965"/>
            </a:xfrm>
            <a:custGeom>
              <a:avLst/>
              <a:gdLst/>
              <a:ahLst/>
              <a:cxnLst>
                <a:cxn ang="0">
                  <a:pos x="wd2" y="hd2"/>
                </a:cxn>
                <a:cxn ang="5400000">
                  <a:pos x="wd2" y="hd2"/>
                </a:cxn>
                <a:cxn ang="10800000">
                  <a:pos x="wd2" y="hd2"/>
                </a:cxn>
                <a:cxn ang="16200000">
                  <a:pos x="wd2" y="hd2"/>
                </a:cxn>
              </a:cxnLst>
              <a:rect l="0" t="0" r="r" b="b"/>
              <a:pathLst>
                <a:path w="20799" h="21600" extrusionOk="0">
                  <a:moveTo>
                    <a:pt x="0" y="7200"/>
                  </a:moveTo>
                  <a:cubicBezTo>
                    <a:pt x="0" y="12979"/>
                    <a:pt x="0" y="12979"/>
                    <a:pt x="0" y="12979"/>
                  </a:cubicBezTo>
                  <a:cubicBezTo>
                    <a:pt x="2234" y="20842"/>
                    <a:pt x="2234" y="20842"/>
                    <a:pt x="2234" y="20842"/>
                  </a:cubicBezTo>
                  <a:cubicBezTo>
                    <a:pt x="5661" y="20842"/>
                    <a:pt x="8491" y="21600"/>
                    <a:pt x="11396" y="21600"/>
                  </a:cubicBezTo>
                  <a:cubicBezTo>
                    <a:pt x="14748" y="20842"/>
                    <a:pt x="17057" y="19421"/>
                    <a:pt x="19887" y="18000"/>
                  </a:cubicBezTo>
                  <a:cubicBezTo>
                    <a:pt x="20483" y="13737"/>
                    <a:pt x="21600" y="7200"/>
                    <a:pt x="19887" y="5779"/>
                  </a:cubicBezTo>
                  <a:cubicBezTo>
                    <a:pt x="18770" y="4263"/>
                    <a:pt x="17057" y="2179"/>
                    <a:pt x="15939" y="0"/>
                  </a:cubicBezTo>
                  <a:cubicBezTo>
                    <a:pt x="13630" y="2842"/>
                    <a:pt x="13034" y="4263"/>
                    <a:pt x="10204" y="5779"/>
                  </a:cubicBezTo>
                  <a:cubicBezTo>
                    <a:pt x="6778" y="7200"/>
                    <a:pt x="3426" y="6442"/>
                    <a:pt x="0" y="72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7" name="Shape 2458">
              <a:extLst>
                <a:ext uri="{FF2B5EF4-FFF2-40B4-BE49-F238E27FC236}">
                  <a16:creationId xmlns:a16="http://schemas.microsoft.com/office/drawing/2014/main" id="{CFBBC668-1759-A122-E320-4B253A1560D2}"/>
                </a:ext>
              </a:extLst>
            </p:cNvPr>
            <p:cNvSpPr/>
            <p:nvPr/>
          </p:nvSpPr>
          <p:spPr>
            <a:xfrm>
              <a:off x="3401051" y="4253064"/>
              <a:ext cx="121554" cy="108183"/>
            </a:xfrm>
            <a:custGeom>
              <a:avLst/>
              <a:gdLst/>
              <a:ahLst/>
              <a:cxnLst>
                <a:cxn ang="0">
                  <a:pos x="wd2" y="hd2"/>
                </a:cxn>
                <a:cxn ang="5400000">
                  <a:pos x="wd2" y="hd2"/>
                </a:cxn>
                <a:cxn ang="10800000">
                  <a:pos x="wd2" y="hd2"/>
                </a:cxn>
                <a:cxn ang="16200000">
                  <a:pos x="wd2" y="hd2"/>
                </a:cxn>
              </a:cxnLst>
              <a:rect l="0" t="0" r="r" b="b"/>
              <a:pathLst>
                <a:path w="21600" h="21600" extrusionOk="0">
                  <a:moveTo>
                    <a:pt x="21600" y="16957"/>
                  </a:moveTo>
                  <a:cubicBezTo>
                    <a:pt x="19735" y="15409"/>
                    <a:pt x="16967" y="14871"/>
                    <a:pt x="15583" y="12852"/>
                  </a:cubicBezTo>
                  <a:cubicBezTo>
                    <a:pt x="14681" y="11305"/>
                    <a:pt x="16967" y="9757"/>
                    <a:pt x="16065" y="8209"/>
                  </a:cubicBezTo>
                  <a:cubicBezTo>
                    <a:pt x="15583" y="7200"/>
                    <a:pt x="13297" y="7738"/>
                    <a:pt x="12394" y="6662"/>
                  </a:cubicBezTo>
                  <a:cubicBezTo>
                    <a:pt x="11913" y="5652"/>
                    <a:pt x="12394" y="4105"/>
                    <a:pt x="12394" y="3095"/>
                  </a:cubicBezTo>
                  <a:cubicBezTo>
                    <a:pt x="11492" y="2019"/>
                    <a:pt x="11011" y="0"/>
                    <a:pt x="10108" y="0"/>
                  </a:cubicBezTo>
                  <a:cubicBezTo>
                    <a:pt x="8243" y="0"/>
                    <a:pt x="6438" y="1009"/>
                    <a:pt x="5475" y="3095"/>
                  </a:cubicBezTo>
                  <a:cubicBezTo>
                    <a:pt x="4573" y="4105"/>
                    <a:pt x="6859" y="6191"/>
                    <a:pt x="6438" y="7738"/>
                  </a:cubicBezTo>
                  <a:cubicBezTo>
                    <a:pt x="5475" y="9286"/>
                    <a:pt x="3189" y="8748"/>
                    <a:pt x="1805" y="10295"/>
                  </a:cubicBezTo>
                  <a:cubicBezTo>
                    <a:pt x="903" y="12314"/>
                    <a:pt x="421" y="15409"/>
                    <a:pt x="0" y="17966"/>
                  </a:cubicBezTo>
                  <a:cubicBezTo>
                    <a:pt x="1384" y="18976"/>
                    <a:pt x="2708" y="20052"/>
                    <a:pt x="4091" y="21062"/>
                  </a:cubicBezTo>
                  <a:cubicBezTo>
                    <a:pt x="6438" y="21600"/>
                    <a:pt x="8724" y="21600"/>
                    <a:pt x="11011" y="21600"/>
                  </a:cubicBezTo>
                  <a:cubicBezTo>
                    <a:pt x="12876" y="21600"/>
                    <a:pt x="14260" y="20052"/>
                    <a:pt x="15583" y="20052"/>
                  </a:cubicBezTo>
                  <a:cubicBezTo>
                    <a:pt x="17930" y="20052"/>
                    <a:pt x="19735" y="20523"/>
                    <a:pt x="21600" y="21062"/>
                  </a:cubicBezTo>
                  <a:cubicBezTo>
                    <a:pt x="21600" y="16957"/>
                    <a:pt x="21600" y="16957"/>
                    <a:pt x="21600" y="1695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8" name="Shape 2459">
              <a:extLst>
                <a:ext uri="{FF2B5EF4-FFF2-40B4-BE49-F238E27FC236}">
                  <a16:creationId xmlns:a16="http://schemas.microsoft.com/office/drawing/2014/main" id="{D5DD9B07-E8E1-C7F4-F2D9-FC825C9E91B7}"/>
                </a:ext>
              </a:extLst>
            </p:cNvPr>
            <p:cNvSpPr/>
            <p:nvPr/>
          </p:nvSpPr>
          <p:spPr>
            <a:xfrm>
              <a:off x="3469435" y="4256036"/>
              <a:ext cx="124522" cy="82909"/>
            </a:xfrm>
            <a:custGeom>
              <a:avLst/>
              <a:gdLst/>
              <a:ahLst/>
              <a:cxnLst>
                <a:cxn ang="0">
                  <a:pos x="wd2" y="hd2"/>
                </a:cxn>
                <a:cxn ang="5400000">
                  <a:pos x="wd2" y="hd2"/>
                </a:cxn>
                <a:cxn ang="10800000">
                  <a:pos x="wd2" y="hd2"/>
                </a:cxn>
                <a:cxn ang="16200000">
                  <a:pos x="wd2" y="hd2"/>
                </a:cxn>
              </a:cxnLst>
              <a:rect l="0" t="0" r="r" b="b"/>
              <a:pathLst>
                <a:path w="21344" h="21600" extrusionOk="0">
                  <a:moveTo>
                    <a:pt x="21344" y="14872"/>
                  </a:moveTo>
                  <a:cubicBezTo>
                    <a:pt x="19098" y="10800"/>
                    <a:pt x="17830" y="5400"/>
                    <a:pt x="16506" y="0"/>
                  </a:cubicBezTo>
                  <a:cubicBezTo>
                    <a:pt x="15181" y="620"/>
                    <a:pt x="15584" y="0"/>
                    <a:pt x="14259" y="1328"/>
                  </a:cubicBezTo>
                  <a:cubicBezTo>
                    <a:pt x="13395" y="1948"/>
                    <a:pt x="13856" y="3364"/>
                    <a:pt x="12934" y="4692"/>
                  </a:cubicBezTo>
                  <a:cubicBezTo>
                    <a:pt x="12531" y="5400"/>
                    <a:pt x="12070" y="6020"/>
                    <a:pt x="11206" y="6020"/>
                  </a:cubicBezTo>
                  <a:cubicBezTo>
                    <a:pt x="10342" y="6728"/>
                    <a:pt x="9421" y="5400"/>
                    <a:pt x="8557" y="4692"/>
                  </a:cubicBezTo>
                  <a:cubicBezTo>
                    <a:pt x="7232" y="4692"/>
                    <a:pt x="6368" y="5400"/>
                    <a:pt x="5043" y="5400"/>
                  </a:cubicBezTo>
                  <a:cubicBezTo>
                    <a:pt x="4582" y="5400"/>
                    <a:pt x="3718" y="3984"/>
                    <a:pt x="3258" y="3984"/>
                  </a:cubicBezTo>
                  <a:cubicBezTo>
                    <a:pt x="1990" y="3364"/>
                    <a:pt x="1069" y="3364"/>
                    <a:pt x="205" y="3364"/>
                  </a:cubicBezTo>
                  <a:cubicBezTo>
                    <a:pt x="205" y="4692"/>
                    <a:pt x="-256" y="6728"/>
                    <a:pt x="205" y="8056"/>
                  </a:cubicBezTo>
                  <a:cubicBezTo>
                    <a:pt x="1069" y="9472"/>
                    <a:pt x="3258" y="8764"/>
                    <a:pt x="3718" y="10092"/>
                  </a:cubicBezTo>
                  <a:cubicBezTo>
                    <a:pt x="4582" y="12128"/>
                    <a:pt x="2394" y="14164"/>
                    <a:pt x="3258" y="16200"/>
                  </a:cubicBezTo>
                  <a:cubicBezTo>
                    <a:pt x="4582" y="18856"/>
                    <a:pt x="7232" y="19564"/>
                    <a:pt x="9018" y="21600"/>
                  </a:cubicBezTo>
                  <a:cubicBezTo>
                    <a:pt x="11667" y="20892"/>
                    <a:pt x="14259" y="21600"/>
                    <a:pt x="16909" y="20272"/>
                  </a:cubicBezTo>
                  <a:cubicBezTo>
                    <a:pt x="19098" y="18856"/>
                    <a:pt x="19558" y="17528"/>
                    <a:pt x="21344" y="1487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9" name="Shape 2460">
              <a:extLst>
                <a:ext uri="{FF2B5EF4-FFF2-40B4-BE49-F238E27FC236}">
                  <a16:creationId xmlns:a16="http://schemas.microsoft.com/office/drawing/2014/main" id="{CFB7314C-D3B6-ED8D-C747-00FB681150C7}"/>
                </a:ext>
              </a:extLst>
            </p:cNvPr>
            <p:cNvSpPr/>
            <p:nvPr/>
          </p:nvSpPr>
          <p:spPr>
            <a:xfrm>
              <a:off x="1581025" y="3862095"/>
              <a:ext cx="1254832" cy="784573"/>
            </a:xfrm>
            <a:custGeom>
              <a:avLst/>
              <a:gdLst/>
              <a:ahLst/>
              <a:cxnLst>
                <a:cxn ang="0">
                  <a:pos x="wd2" y="hd2"/>
                </a:cxn>
                <a:cxn ang="5400000">
                  <a:pos x="wd2" y="hd2"/>
                </a:cxn>
                <a:cxn ang="10800000">
                  <a:pos x="wd2" y="hd2"/>
                </a:cxn>
                <a:cxn ang="16200000">
                  <a:pos x="wd2" y="hd2"/>
                </a:cxn>
              </a:cxnLst>
              <a:rect l="0" t="0" r="r" b="b"/>
              <a:pathLst>
                <a:path w="21457" h="21600" extrusionOk="0">
                  <a:moveTo>
                    <a:pt x="21457" y="8783"/>
                  </a:moveTo>
                  <a:cubicBezTo>
                    <a:pt x="21411" y="8783"/>
                    <a:pt x="21411" y="8996"/>
                    <a:pt x="21411" y="9070"/>
                  </a:cubicBezTo>
                  <a:cubicBezTo>
                    <a:pt x="21371" y="9135"/>
                    <a:pt x="21324" y="9135"/>
                    <a:pt x="21278" y="9209"/>
                  </a:cubicBezTo>
                  <a:cubicBezTo>
                    <a:pt x="21146" y="9423"/>
                    <a:pt x="21146" y="9562"/>
                    <a:pt x="21059" y="9775"/>
                  </a:cubicBezTo>
                  <a:cubicBezTo>
                    <a:pt x="20794" y="9914"/>
                    <a:pt x="20622" y="10628"/>
                    <a:pt x="20270" y="10693"/>
                  </a:cubicBezTo>
                  <a:cubicBezTo>
                    <a:pt x="20224" y="10842"/>
                    <a:pt x="19561" y="10768"/>
                    <a:pt x="19521" y="10628"/>
                  </a:cubicBezTo>
                  <a:lnTo>
                    <a:pt x="19475" y="10768"/>
                  </a:lnTo>
                  <a:cubicBezTo>
                    <a:pt x="19435" y="10842"/>
                    <a:pt x="19475" y="10842"/>
                    <a:pt x="19475" y="10907"/>
                  </a:cubicBezTo>
                  <a:cubicBezTo>
                    <a:pt x="19654" y="11194"/>
                    <a:pt x="19654" y="11194"/>
                    <a:pt x="19654" y="11194"/>
                  </a:cubicBezTo>
                  <a:cubicBezTo>
                    <a:pt x="19786" y="11194"/>
                    <a:pt x="19521" y="11834"/>
                    <a:pt x="19475" y="11899"/>
                  </a:cubicBezTo>
                  <a:cubicBezTo>
                    <a:pt x="19435" y="12047"/>
                    <a:pt x="19435" y="12465"/>
                    <a:pt x="19302" y="12539"/>
                  </a:cubicBezTo>
                  <a:cubicBezTo>
                    <a:pt x="19343" y="12539"/>
                    <a:pt x="19343" y="12539"/>
                    <a:pt x="19343" y="12539"/>
                  </a:cubicBezTo>
                  <a:cubicBezTo>
                    <a:pt x="19302" y="12539"/>
                    <a:pt x="19210" y="12613"/>
                    <a:pt x="19037" y="12752"/>
                  </a:cubicBezTo>
                  <a:cubicBezTo>
                    <a:pt x="18640" y="13179"/>
                    <a:pt x="17591" y="13179"/>
                    <a:pt x="17061" y="13030"/>
                  </a:cubicBezTo>
                  <a:cubicBezTo>
                    <a:pt x="16491" y="12817"/>
                    <a:pt x="15920" y="12966"/>
                    <a:pt x="15344" y="13030"/>
                  </a:cubicBezTo>
                  <a:cubicBezTo>
                    <a:pt x="14993" y="13105"/>
                    <a:pt x="14906" y="12613"/>
                    <a:pt x="14687" y="12613"/>
                  </a:cubicBezTo>
                  <a:cubicBezTo>
                    <a:pt x="14687" y="12966"/>
                    <a:pt x="14728" y="13179"/>
                    <a:pt x="14641" y="13531"/>
                  </a:cubicBezTo>
                  <a:cubicBezTo>
                    <a:pt x="14555" y="13884"/>
                    <a:pt x="14728" y="14162"/>
                    <a:pt x="14728" y="14514"/>
                  </a:cubicBezTo>
                  <a:cubicBezTo>
                    <a:pt x="14728" y="15572"/>
                    <a:pt x="14290" y="15219"/>
                    <a:pt x="13892" y="15572"/>
                  </a:cubicBezTo>
                  <a:cubicBezTo>
                    <a:pt x="13368" y="15507"/>
                    <a:pt x="13495" y="15154"/>
                    <a:pt x="13011" y="15720"/>
                  </a:cubicBezTo>
                  <a:cubicBezTo>
                    <a:pt x="12619" y="16137"/>
                    <a:pt x="12440" y="16638"/>
                    <a:pt x="12135" y="16991"/>
                  </a:cubicBezTo>
                  <a:cubicBezTo>
                    <a:pt x="11737" y="17491"/>
                    <a:pt x="10683" y="18475"/>
                    <a:pt x="10239" y="17844"/>
                  </a:cubicBezTo>
                  <a:cubicBezTo>
                    <a:pt x="10199" y="17770"/>
                    <a:pt x="10066" y="17278"/>
                    <a:pt x="10020" y="17343"/>
                  </a:cubicBezTo>
                  <a:cubicBezTo>
                    <a:pt x="9934" y="17844"/>
                    <a:pt x="10020" y="17909"/>
                    <a:pt x="10020" y="18335"/>
                  </a:cubicBezTo>
                  <a:cubicBezTo>
                    <a:pt x="9934" y="17983"/>
                    <a:pt x="9404" y="17770"/>
                    <a:pt x="9231" y="17556"/>
                  </a:cubicBezTo>
                  <a:cubicBezTo>
                    <a:pt x="9006" y="17278"/>
                    <a:pt x="8747" y="16852"/>
                    <a:pt x="8701" y="16351"/>
                  </a:cubicBezTo>
                  <a:cubicBezTo>
                    <a:pt x="8655" y="15924"/>
                    <a:pt x="8568" y="16564"/>
                    <a:pt x="8436" y="16564"/>
                  </a:cubicBezTo>
                  <a:cubicBezTo>
                    <a:pt x="8303" y="16564"/>
                    <a:pt x="7866" y="15998"/>
                    <a:pt x="7687" y="15859"/>
                  </a:cubicBezTo>
                  <a:cubicBezTo>
                    <a:pt x="7422" y="15720"/>
                    <a:pt x="7249" y="14941"/>
                    <a:pt x="7203" y="15785"/>
                  </a:cubicBezTo>
                  <a:cubicBezTo>
                    <a:pt x="7163" y="16286"/>
                    <a:pt x="7335" y="16499"/>
                    <a:pt x="7514" y="16712"/>
                  </a:cubicBezTo>
                  <a:cubicBezTo>
                    <a:pt x="7906" y="17204"/>
                    <a:pt x="7422" y="18475"/>
                    <a:pt x="7468" y="19050"/>
                  </a:cubicBezTo>
                  <a:cubicBezTo>
                    <a:pt x="7554" y="19615"/>
                    <a:pt x="7601" y="19968"/>
                    <a:pt x="7295" y="20394"/>
                  </a:cubicBezTo>
                  <a:cubicBezTo>
                    <a:pt x="7117" y="20533"/>
                    <a:pt x="6454" y="19829"/>
                    <a:pt x="6235" y="19680"/>
                  </a:cubicBezTo>
                  <a:cubicBezTo>
                    <a:pt x="5619" y="19189"/>
                    <a:pt x="5532" y="18196"/>
                    <a:pt x="5094" y="17695"/>
                  </a:cubicBezTo>
                  <a:cubicBezTo>
                    <a:pt x="4737" y="17343"/>
                    <a:pt x="4564" y="17204"/>
                    <a:pt x="4299" y="16777"/>
                  </a:cubicBezTo>
                  <a:cubicBezTo>
                    <a:pt x="4167" y="16564"/>
                    <a:pt x="3902" y="16712"/>
                    <a:pt x="3729" y="16712"/>
                  </a:cubicBezTo>
                  <a:cubicBezTo>
                    <a:pt x="3596" y="16638"/>
                    <a:pt x="3464" y="16286"/>
                    <a:pt x="3377" y="16072"/>
                  </a:cubicBezTo>
                  <a:cubicBezTo>
                    <a:pt x="3112" y="15646"/>
                    <a:pt x="2582" y="16499"/>
                    <a:pt x="2363" y="16712"/>
                  </a:cubicBezTo>
                  <a:cubicBezTo>
                    <a:pt x="1879" y="17139"/>
                    <a:pt x="2363" y="17983"/>
                    <a:pt x="2450" y="18623"/>
                  </a:cubicBezTo>
                  <a:cubicBezTo>
                    <a:pt x="2582" y="19754"/>
                    <a:pt x="2582" y="19754"/>
                    <a:pt x="2582" y="19754"/>
                  </a:cubicBezTo>
                  <a:cubicBezTo>
                    <a:pt x="2847" y="20320"/>
                    <a:pt x="2847" y="20320"/>
                    <a:pt x="2847" y="20320"/>
                  </a:cubicBezTo>
                  <a:cubicBezTo>
                    <a:pt x="2801" y="21025"/>
                    <a:pt x="2801" y="21025"/>
                    <a:pt x="2801" y="21025"/>
                  </a:cubicBezTo>
                  <a:cubicBezTo>
                    <a:pt x="2761" y="21312"/>
                    <a:pt x="3020" y="21452"/>
                    <a:pt x="3066" y="21600"/>
                  </a:cubicBezTo>
                  <a:cubicBezTo>
                    <a:pt x="2496" y="21600"/>
                    <a:pt x="1879" y="20886"/>
                    <a:pt x="2144" y="19968"/>
                  </a:cubicBezTo>
                  <a:cubicBezTo>
                    <a:pt x="2231" y="19680"/>
                    <a:pt x="1701" y="17983"/>
                    <a:pt x="1528" y="17695"/>
                  </a:cubicBezTo>
                  <a:cubicBezTo>
                    <a:pt x="1309" y="17139"/>
                    <a:pt x="825" y="16852"/>
                    <a:pt x="606" y="16212"/>
                  </a:cubicBezTo>
                  <a:cubicBezTo>
                    <a:pt x="473" y="15433"/>
                    <a:pt x="-143" y="14440"/>
                    <a:pt x="30" y="13457"/>
                  </a:cubicBezTo>
                  <a:cubicBezTo>
                    <a:pt x="116" y="12817"/>
                    <a:pt x="208" y="11686"/>
                    <a:pt x="779" y="11686"/>
                  </a:cubicBezTo>
                  <a:cubicBezTo>
                    <a:pt x="779" y="11899"/>
                    <a:pt x="998" y="12400"/>
                    <a:pt x="1044" y="12678"/>
                  </a:cubicBezTo>
                  <a:cubicBezTo>
                    <a:pt x="1084" y="13030"/>
                    <a:pt x="1044" y="13457"/>
                    <a:pt x="1044" y="13810"/>
                  </a:cubicBezTo>
                  <a:cubicBezTo>
                    <a:pt x="1084" y="14514"/>
                    <a:pt x="1966" y="14728"/>
                    <a:pt x="1747" y="14023"/>
                  </a:cubicBezTo>
                  <a:cubicBezTo>
                    <a:pt x="1482" y="13318"/>
                    <a:pt x="1309" y="12613"/>
                    <a:pt x="1263" y="11899"/>
                  </a:cubicBezTo>
                  <a:cubicBezTo>
                    <a:pt x="1568" y="11621"/>
                    <a:pt x="2058" y="11407"/>
                    <a:pt x="2277" y="11046"/>
                  </a:cubicBezTo>
                  <a:cubicBezTo>
                    <a:pt x="2496" y="10768"/>
                    <a:pt x="2450" y="10128"/>
                    <a:pt x="2669" y="9988"/>
                  </a:cubicBezTo>
                  <a:cubicBezTo>
                    <a:pt x="2934" y="9914"/>
                    <a:pt x="3112" y="10480"/>
                    <a:pt x="3331" y="10628"/>
                  </a:cubicBezTo>
                  <a:cubicBezTo>
                    <a:pt x="3642" y="10768"/>
                    <a:pt x="3994" y="10842"/>
                    <a:pt x="4299" y="10768"/>
                  </a:cubicBezTo>
                  <a:cubicBezTo>
                    <a:pt x="4605" y="10768"/>
                    <a:pt x="4916" y="10628"/>
                    <a:pt x="5181" y="10415"/>
                  </a:cubicBezTo>
                  <a:cubicBezTo>
                    <a:pt x="5267" y="10341"/>
                    <a:pt x="5267" y="10053"/>
                    <a:pt x="5313" y="9914"/>
                  </a:cubicBezTo>
                  <a:cubicBezTo>
                    <a:pt x="5313" y="9914"/>
                    <a:pt x="5094" y="9562"/>
                    <a:pt x="5094" y="9497"/>
                  </a:cubicBezTo>
                  <a:cubicBezTo>
                    <a:pt x="5094" y="9423"/>
                    <a:pt x="5267" y="8505"/>
                    <a:pt x="5267" y="8505"/>
                  </a:cubicBezTo>
                  <a:cubicBezTo>
                    <a:pt x="5313" y="8356"/>
                    <a:pt x="5400" y="8143"/>
                    <a:pt x="5486" y="8078"/>
                  </a:cubicBezTo>
                  <a:cubicBezTo>
                    <a:pt x="5532" y="8004"/>
                    <a:pt x="5619" y="8143"/>
                    <a:pt x="5665" y="8143"/>
                  </a:cubicBezTo>
                  <a:cubicBezTo>
                    <a:pt x="5797" y="8004"/>
                    <a:pt x="5837" y="7651"/>
                    <a:pt x="5970" y="7651"/>
                  </a:cubicBezTo>
                  <a:cubicBezTo>
                    <a:pt x="6149" y="7577"/>
                    <a:pt x="6368" y="7865"/>
                    <a:pt x="6546" y="7790"/>
                  </a:cubicBezTo>
                  <a:cubicBezTo>
                    <a:pt x="6679" y="7790"/>
                    <a:pt x="6805" y="7577"/>
                    <a:pt x="6898" y="7512"/>
                  </a:cubicBezTo>
                  <a:cubicBezTo>
                    <a:pt x="6938" y="7716"/>
                    <a:pt x="6898" y="8217"/>
                    <a:pt x="7070" y="8217"/>
                  </a:cubicBezTo>
                  <a:cubicBezTo>
                    <a:pt x="7203" y="8291"/>
                    <a:pt x="7249" y="7865"/>
                    <a:pt x="7295" y="7577"/>
                  </a:cubicBezTo>
                  <a:cubicBezTo>
                    <a:pt x="7382" y="7299"/>
                    <a:pt x="7335" y="6937"/>
                    <a:pt x="7422" y="6659"/>
                  </a:cubicBezTo>
                  <a:cubicBezTo>
                    <a:pt x="7468" y="6520"/>
                    <a:pt x="7601" y="6659"/>
                    <a:pt x="7647" y="6585"/>
                  </a:cubicBezTo>
                  <a:cubicBezTo>
                    <a:pt x="7733" y="6167"/>
                    <a:pt x="7733" y="5667"/>
                    <a:pt x="7819" y="5240"/>
                  </a:cubicBezTo>
                  <a:cubicBezTo>
                    <a:pt x="7952" y="4748"/>
                    <a:pt x="8084" y="4322"/>
                    <a:pt x="8303" y="4034"/>
                  </a:cubicBezTo>
                  <a:cubicBezTo>
                    <a:pt x="8390" y="3895"/>
                    <a:pt x="8522" y="4034"/>
                    <a:pt x="8655" y="4034"/>
                  </a:cubicBezTo>
                  <a:cubicBezTo>
                    <a:pt x="8747" y="3969"/>
                    <a:pt x="8787" y="3756"/>
                    <a:pt x="8880" y="3756"/>
                  </a:cubicBezTo>
                  <a:cubicBezTo>
                    <a:pt x="8920" y="3682"/>
                    <a:pt x="9006" y="3682"/>
                    <a:pt x="9099" y="3756"/>
                  </a:cubicBezTo>
                  <a:cubicBezTo>
                    <a:pt x="9358" y="3969"/>
                    <a:pt x="9490" y="4461"/>
                    <a:pt x="9801" y="4600"/>
                  </a:cubicBezTo>
                  <a:cubicBezTo>
                    <a:pt x="9888" y="4674"/>
                    <a:pt x="9934" y="4396"/>
                    <a:pt x="9974" y="4248"/>
                  </a:cubicBezTo>
                  <a:cubicBezTo>
                    <a:pt x="9974" y="4248"/>
                    <a:pt x="9974" y="3830"/>
                    <a:pt x="9974" y="3756"/>
                  </a:cubicBezTo>
                  <a:cubicBezTo>
                    <a:pt x="9974" y="3617"/>
                    <a:pt x="10285" y="2977"/>
                    <a:pt x="10285" y="2977"/>
                  </a:cubicBezTo>
                  <a:cubicBezTo>
                    <a:pt x="10239" y="2764"/>
                    <a:pt x="10107" y="2615"/>
                    <a:pt x="10107" y="2411"/>
                  </a:cubicBezTo>
                  <a:cubicBezTo>
                    <a:pt x="10107" y="2050"/>
                    <a:pt x="10107" y="1632"/>
                    <a:pt x="10239" y="1419"/>
                  </a:cubicBezTo>
                  <a:cubicBezTo>
                    <a:pt x="10418" y="1067"/>
                    <a:pt x="10769" y="1131"/>
                    <a:pt x="10988" y="853"/>
                  </a:cubicBezTo>
                  <a:cubicBezTo>
                    <a:pt x="11075" y="779"/>
                    <a:pt x="10902" y="566"/>
                    <a:pt x="10942" y="492"/>
                  </a:cubicBezTo>
                  <a:cubicBezTo>
                    <a:pt x="10988" y="278"/>
                    <a:pt x="11121" y="139"/>
                    <a:pt x="11207" y="0"/>
                  </a:cubicBezTo>
                  <a:cubicBezTo>
                    <a:pt x="11294" y="65"/>
                    <a:pt x="11340" y="213"/>
                    <a:pt x="11426" y="213"/>
                  </a:cubicBezTo>
                  <a:cubicBezTo>
                    <a:pt x="11651" y="278"/>
                    <a:pt x="11870" y="139"/>
                    <a:pt x="12089" y="213"/>
                  </a:cubicBezTo>
                  <a:cubicBezTo>
                    <a:pt x="12308" y="213"/>
                    <a:pt x="12486" y="352"/>
                    <a:pt x="12659" y="566"/>
                  </a:cubicBezTo>
                  <a:cubicBezTo>
                    <a:pt x="12792" y="779"/>
                    <a:pt x="12878" y="1067"/>
                    <a:pt x="12970" y="1280"/>
                  </a:cubicBezTo>
                  <a:cubicBezTo>
                    <a:pt x="13057" y="1419"/>
                    <a:pt x="13103" y="1632"/>
                    <a:pt x="13143" y="1771"/>
                  </a:cubicBezTo>
                  <a:cubicBezTo>
                    <a:pt x="13235" y="2050"/>
                    <a:pt x="13322" y="2337"/>
                    <a:pt x="13408" y="2550"/>
                  </a:cubicBezTo>
                  <a:cubicBezTo>
                    <a:pt x="13495" y="2764"/>
                    <a:pt x="13627" y="2903"/>
                    <a:pt x="13673" y="3116"/>
                  </a:cubicBezTo>
                  <a:cubicBezTo>
                    <a:pt x="13719" y="3255"/>
                    <a:pt x="13673" y="3543"/>
                    <a:pt x="13719" y="3682"/>
                  </a:cubicBezTo>
                  <a:cubicBezTo>
                    <a:pt x="13719" y="3830"/>
                    <a:pt x="13852" y="3969"/>
                    <a:pt x="13892" y="4034"/>
                  </a:cubicBezTo>
                  <a:cubicBezTo>
                    <a:pt x="13984" y="4183"/>
                    <a:pt x="14071" y="4396"/>
                    <a:pt x="14203" y="4461"/>
                  </a:cubicBezTo>
                  <a:cubicBezTo>
                    <a:pt x="14244" y="4535"/>
                    <a:pt x="14376" y="4535"/>
                    <a:pt x="14422" y="4461"/>
                  </a:cubicBezTo>
                  <a:cubicBezTo>
                    <a:pt x="14509" y="4183"/>
                    <a:pt x="14462" y="3830"/>
                    <a:pt x="14595" y="3617"/>
                  </a:cubicBezTo>
                  <a:cubicBezTo>
                    <a:pt x="14641" y="3543"/>
                    <a:pt x="14820" y="3756"/>
                    <a:pt x="14860" y="3617"/>
                  </a:cubicBezTo>
                  <a:cubicBezTo>
                    <a:pt x="14946" y="3404"/>
                    <a:pt x="14860" y="3042"/>
                    <a:pt x="14860" y="2764"/>
                  </a:cubicBezTo>
                  <a:cubicBezTo>
                    <a:pt x="14860" y="2476"/>
                    <a:pt x="14774" y="2198"/>
                    <a:pt x="14860" y="1985"/>
                  </a:cubicBezTo>
                  <a:cubicBezTo>
                    <a:pt x="14906" y="1846"/>
                    <a:pt x="15039" y="1846"/>
                    <a:pt x="15125" y="1771"/>
                  </a:cubicBezTo>
                  <a:cubicBezTo>
                    <a:pt x="15258" y="1632"/>
                    <a:pt x="15390" y="1558"/>
                    <a:pt x="15477" y="1419"/>
                  </a:cubicBezTo>
                  <a:cubicBezTo>
                    <a:pt x="15569" y="1484"/>
                    <a:pt x="15609" y="1558"/>
                    <a:pt x="15695" y="1558"/>
                  </a:cubicBezTo>
                  <a:cubicBezTo>
                    <a:pt x="15828" y="1558"/>
                    <a:pt x="16007" y="1484"/>
                    <a:pt x="16179" y="1419"/>
                  </a:cubicBezTo>
                  <a:cubicBezTo>
                    <a:pt x="16444" y="1345"/>
                    <a:pt x="16756" y="1419"/>
                    <a:pt x="16975" y="1206"/>
                  </a:cubicBezTo>
                  <a:cubicBezTo>
                    <a:pt x="17107" y="1067"/>
                    <a:pt x="17021" y="705"/>
                    <a:pt x="17153" y="566"/>
                  </a:cubicBezTo>
                  <a:cubicBezTo>
                    <a:pt x="17193" y="492"/>
                    <a:pt x="17280" y="705"/>
                    <a:pt x="17372" y="705"/>
                  </a:cubicBezTo>
                  <a:cubicBezTo>
                    <a:pt x="17545" y="853"/>
                    <a:pt x="17764" y="705"/>
                    <a:pt x="17896" y="918"/>
                  </a:cubicBezTo>
                  <a:cubicBezTo>
                    <a:pt x="17942" y="1131"/>
                    <a:pt x="17724" y="1206"/>
                    <a:pt x="17631" y="1345"/>
                  </a:cubicBezTo>
                  <a:cubicBezTo>
                    <a:pt x="17505" y="1484"/>
                    <a:pt x="17412" y="1632"/>
                    <a:pt x="17326" y="1846"/>
                  </a:cubicBezTo>
                  <a:cubicBezTo>
                    <a:pt x="17280" y="2050"/>
                    <a:pt x="17240" y="2337"/>
                    <a:pt x="17240" y="2550"/>
                  </a:cubicBezTo>
                  <a:cubicBezTo>
                    <a:pt x="17240" y="2764"/>
                    <a:pt x="17193" y="3042"/>
                    <a:pt x="17280" y="3190"/>
                  </a:cubicBezTo>
                  <a:cubicBezTo>
                    <a:pt x="17412" y="3255"/>
                    <a:pt x="17505" y="2977"/>
                    <a:pt x="17631" y="2829"/>
                  </a:cubicBezTo>
                  <a:cubicBezTo>
                    <a:pt x="17724" y="2690"/>
                    <a:pt x="17810" y="2411"/>
                    <a:pt x="17977" y="2337"/>
                  </a:cubicBezTo>
                  <a:cubicBezTo>
                    <a:pt x="18069" y="2263"/>
                    <a:pt x="18156" y="2411"/>
                    <a:pt x="18242" y="2550"/>
                  </a:cubicBezTo>
                  <a:cubicBezTo>
                    <a:pt x="18334" y="2615"/>
                    <a:pt x="18334" y="2977"/>
                    <a:pt x="18467" y="2977"/>
                  </a:cubicBezTo>
                  <a:cubicBezTo>
                    <a:pt x="18640" y="3042"/>
                    <a:pt x="18859" y="2690"/>
                    <a:pt x="19083" y="2764"/>
                  </a:cubicBezTo>
                  <a:cubicBezTo>
                    <a:pt x="19170" y="2829"/>
                    <a:pt x="19124" y="3042"/>
                    <a:pt x="19124" y="3190"/>
                  </a:cubicBezTo>
                  <a:cubicBezTo>
                    <a:pt x="19210" y="3404"/>
                    <a:pt x="19256" y="3543"/>
                    <a:pt x="19302" y="3756"/>
                  </a:cubicBezTo>
                  <a:cubicBezTo>
                    <a:pt x="19389" y="3969"/>
                    <a:pt x="19521" y="4109"/>
                    <a:pt x="19608" y="4322"/>
                  </a:cubicBezTo>
                  <a:cubicBezTo>
                    <a:pt x="19654" y="4461"/>
                    <a:pt x="19561" y="4748"/>
                    <a:pt x="19654" y="4888"/>
                  </a:cubicBezTo>
                  <a:cubicBezTo>
                    <a:pt x="19694" y="4962"/>
                    <a:pt x="19786" y="4888"/>
                    <a:pt x="19873" y="4888"/>
                  </a:cubicBezTo>
                  <a:cubicBezTo>
                    <a:pt x="19919" y="4888"/>
                    <a:pt x="19959" y="5027"/>
                    <a:pt x="20005" y="4962"/>
                  </a:cubicBezTo>
                  <a:cubicBezTo>
                    <a:pt x="20178" y="4888"/>
                    <a:pt x="20270" y="4600"/>
                    <a:pt x="20443" y="4535"/>
                  </a:cubicBezTo>
                  <a:cubicBezTo>
                    <a:pt x="20535" y="4535"/>
                    <a:pt x="20622" y="4674"/>
                    <a:pt x="20708" y="4748"/>
                  </a:cubicBezTo>
                  <a:cubicBezTo>
                    <a:pt x="20841" y="4748"/>
                    <a:pt x="20927" y="4535"/>
                    <a:pt x="21019" y="4600"/>
                  </a:cubicBezTo>
                  <a:cubicBezTo>
                    <a:pt x="21106" y="4674"/>
                    <a:pt x="21192" y="4962"/>
                    <a:pt x="21146" y="5101"/>
                  </a:cubicBezTo>
                  <a:cubicBezTo>
                    <a:pt x="21106" y="5379"/>
                    <a:pt x="20754" y="5453"/>
                    <a:pt x="20794" y="5741"/>
                  </a:cubicBezTo>
                  <a:cubicBezTo>
                    <a:pt x="20841" y="6019"/>
                    <a:pt x="21146" y="5667"/>
                    <a:pt x="21324" y="5806"/>
                  </a:cubicBezTo>
                  <a:cubicBezTo>
                    <a:pt x="21371" y="5880"/>
                    <a:pt x="21371" y="6093"/>
                    <a:pt x="21324" y="6232"/>
                  </a:cubicBezTo>
                  <a:cubicBezTo>
                    <a:pt x="21278" y="6371"/>
                    <a:pt x="21146" y="6371"/>
                    <a:pt x="21146" y="6520"/>
                  </a:cubicBezTo>
                  <a:cubicBezTo>
                    <a:pt x="21059" y="7086"/>
                    <a:pt x="20927" y="7651"/>
                    <a:pt x="20973" y="8143"/>
                  </a:cubicBezTo>
                  <a:cubicBezTo>
                    <a:pt x="21019" y="8505"/>
                    <a:pt x="21278" y="8570"/>
                    <a:pt x="21457" y="878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0" name="Shape 2461">
              <a:extLst>
                <a:ext uri="{FF2B5EF4-FFF2-40B4-BE49-F238E27FC236}">
                  <a16:creationId xmlns:a16="http://schemas.microsoft.com/office/drawing/2014/main" id="{18A2EF35-DB4D-F23D-833C-40912A91535F}"/>
                </a:ext>
              </a:extLst>
            </p:cNvPr>
            <p:cNvSpPr/>
            <p:nvPr/>
          </p:nvSpPr>
          <p:spPr>
            <a:xfrm>
              <a:off x="1655932" y="3729790"/>
              <a:ext cx="366545" cy="564561"/>
            </a:xfrm>
            <a:custGeom>
              <a:avLst/>
              <a:gdLst/>
              <a:ahLst/>
              <a:cxnLst>
                <a:cxn ang="0">
                  <a:pos x="wd2" y="hd2"/>
                </a:cxn>
                <a:cxn ang="5400000">
                  <a:pos x="wd2" y="hd2"/>
                </a:cxn>
                <a:cxn ang="10800000">
                  <a:pos x="wd2" y="hd2"/>
                </a:cxn>
                <a:cxn ang="16200000">
                  <a:pos x="wd2" y="hd2"/>
                </a:cxn>
              </a:cxnLst>
              <a:rect l="0" t="0" r="r" b="b"/>
              <a:pathLst>
                <a:path w="21497" h="21600" extrusionOk="0">
                  <a:moveTo>
                    <a:pt x="0" y="21600"/>
                  </a:moveTo>
                  <a:cubicBezTo>
                    <a:pt x="1048" y="21213"/>
                    <a:pt x="2730" y="20916"/>
                    <a:pt x="3481" y="20412"/>
                  </a:cubicBezTo>
                  <a:cubicBezTo>
                    <a:pt x="4233" y="20025"/>
                    <a:pt x="4075" y="19134"/>
                    <a:pt x="4826" y="18940"/>
                  </a:cubicBezTo>
                  <a:cubicBezTo>
                    <a:pt x="5736" y="18837"/>
                    <a:pt x="6349" y="19625"/>
                    <a:pt x="7101" y="19831"/>
                  </a:cubicBezTo>
                  <a:cubicBezTo>
                    <a:pt x="8169" y="20025"/>
                    <a:pt x="9376" y="20128"/>
                    <a:pt x="10424" y="20025"/>
                  </a:cubicBezTo>
                  <a:cubicBezTo>
                    <a:pt x="11473" y="20025"/>
                    <a:pt x="12541" y="19831"/>
                    <a:pt x="13451" y="19534"/>
                  </a:cubicBezTo>
                  <a:cubicBezTo>
                    <a:pt x="13747" y="19431"/>
                    <a:pt x="13747" y="19031"/>
                    <a:pt x="13905" y="18837"/>
                  </a:cubicBezTo>
                  <a:cubicBezTo>
                    <a:pt x="13905" y="18837"/>
                    <a:pt x="13154" y="18346"/>
                    <a:pt x="13154" y="18256"/>
                  </a:cubicBezTo>
                  <a:cubicBezTo>
                    <a:pt x="13154" y="18153"/>
                    <a:pt x="13747" y="16875"/>
                    <a:pt x="13747" y="16875"/>
                  </a:cubicBezTo>
                  <a:cubicBezTo>
                    <a:pt x="13905" y="16668"/>
                    <a:pt x="14202" y="16371"/>
                    <a:pt x="14499" y="16281"/>
                  </a:cubicBezTo>
                  <a:cubicBezTo>
                    <a:pt x="14657" y="16177"/>
                    <a:pt x="14954" y="16371"/>
                    <a:pt x="15112" y="16371"/>
                  </a:cubicBezTo>
                  <a:cubicBezTo>
                    <a:pt x="15567" y="16177"/>
                    <a:pt x="15705" y="15687"/>
                    <a:pt x="16160" y="15687"/>
                  </a:cubicBezTo>
                  <a:cubicBezTo>
                    <a:pt x="16774" y="15584"/>
                    <a:pt x="17525" y="15984"/>
                    <a:pt x="18138" y="15880"/>
                  </a:cubicBezTo>
                  <a:cubicBezTo>
                    <a:pt x="18593" y="15880"/>
                    <a:pt x="19029" y="15584"/>
                    <a:pt x="19345" y="15493"/>
                  </a:cubicBezTo>
                  <a:cubicBezTo>
                    <a:pt x="19187" y="15093"/>
                    <a:pt x="18890" y="14602"/>
                    <a:pt x="19029" y="14202"/>
                  </a:cubicBezTo>
                  <a:cubicBezTo>
                    <a:pt x="19029" y="13905"/>
                    <a:pt x="19484" y="13621"/>
                    <a:pt x="19800" y="13324"/>
                  </a:cubicBezTo>
                  <a:cubicBezTo>
                    <a:pt x="19938" y="13027"/>
                    <a:pt x="20255" y="12730"/>
                    <a:pt x="20255" y="12330"/>
                  </a:cubicBezTo>
                  <a:cubicBezTo>
                    <a:pt x="20255" y="12330"/>
                    <a:pt x="19938" y="12433"/>
                    <a:pt x="19938" y="12330"/>
                  </a:cubicBezTo>
                  <a:cubicBezTo>
                    <a:pt x="19800" y="12227"/>
                    <a:pt x="20097" y="12033"/>
                    <a:pt x="20097" y="11943"/>
                  </a:cubicBezTo>
                  <a:cubicBezTo>
                    <a:pt x="19938" y="11736"/>
                    <a:pt x="19484" y="11646"/>
                    <a:pt x="19345" y="11349"/>
                  </a:cubicBezTo>
                  <a:cubicBezTo>
                    <a:pt x="19345" y="11052"/>
                    <a:pt x="19938" y="10858"/>
                    <a:pt x="19938" y="10458"/>
                  </a:cubicBezTo>
                  <a:cubicBezTo>
                    <a:pt x="19800" y="10264"/>
                    <a:pt x="19345" y="10071"/>
                    <a:pt x="19029" y="9967"/>
                  </a:cubicBezTo>
                  <a:cubicBezTo>
                    <a:pt x="18732" y="9864"/>
                    <a:pt x="18435" y="9967"/>
                    <a:pt x="18277" y="9967"/>
                  </a:cubicBezTo>
                  <a:cubicBezTo>
                    <a:pt x="17980" y="9774"/>
                    <a:pt x="17822" y="9477"/>
                    <a:pt x="17367" y="9180"/>
                  </a:cubicBezTo>
                  <a:cubicBezTo>
                    <a:pt x="17070" y="8973"/>
                    <a:pt x="16615" y="8883"/>
                    <a:pt x="16319" y="8586"/>
                  </a:cubicBezTo>
                  <a:cubicBezTo>
                    <a:pt x="16319" y="8482"/>
                    <a:pt x="16774" y="8482"/>
                    <a:pt x="16912" y="8392"/>
                  </a:cubicBezTo>
                  <a:cubicBezTo>
                    <a:pt x="17229" y="8186"/>
                    <a:pt x="17525" y="7992"/>
                    <a:pt x="17525" y="7695"/>
                  </a:cubicBezTo>
                  <a:cubicBezTo>
                    <a:pt x="17525" y="7605"/>
                    <a:pt x="17367" y="7501"/>
                    <a:pt x="17229" y="7398"/>
                  </a:cubicBezTo>
                  <a:cubicBezTo>
                    <a:pt x="16774" y="7398"/>
                    <a:pt x="16477" y="7605"/>
                    <a:pt x="16022" y="7501"/>
                  </a:cubicBezTo>
                  <a:cubicBezTo>
                    <a:pt x="15705" y="7501"/>
                    <a:pt x="15112" y="7398"/>
                    <a:pt x="15270" y="7204"/>
                  </a:cubicBezTo>
                  <a:cubicBezTo>
                    <a:pt x="15270" y="6907"/>
                    <a:pt x="16022" y="6907"/>
                    <a:pt x="16319" y="6714"/>
                  </a:cubicBezTo>
                  <a:cubicBezTo>
                    <a:pt x="16477" y="6610"/>
                    <a:pt x="16160" y="6223"/>
                    <a:pt x="16319" y="6223"/>
                  </a:cubicBezTo>
                  <a:cubicBezTo>
                    <a:pt x="16615" y="6120"/>
                    <a:pt x="17070" y="6223"/>
                    <a:pt x="17367" y="6417"/>
                  </a:cubicBezTo>
                  <a:cubicBezTo>
                    <a:pt x="17525" y="6520"/>
                    <a:pt x="17229" y="6817"/>
                    <a:pt x="17525" y="6907"/>
                  </a:cubicBezTo>
                  <a:cubicBezTo>
                    <a:pt x="17980" y="7101"/>
                    <a:pt x="18593" y="7101"/>
                    <a:pt x="19029" y="7101"/>
                  </a:cubicBezTo>
                  <a:cubicBezTo>
                    <a:pt x="19345" y="7011"/>
                    <a:pt x="19642" y="6907"/>
                    <a:pt x="19800" y="6714"/>
                  </a:cubicBezTo>
                  <a:cubicBezTo>
                    <a:pt x="19938" y="6520"/>
                    <a:pt x="19938" y="6313"/>
                    <a:pt x="19800" y="6223"/>
                  </a:cubicBezTo>
                  <a:cubicBezTo>
                    <a:pt x="19484" y="6016"/>
                    <a:pt x="18890" y="6016"/>
                    <a:pt x="18593" y="5823"/>
                  </a:cubicBezTo>
                  <a:cubicBezTo>
                    <a:pt x="18593" y="5629"/>
                    <a:pt x="19029" y="5526"/>
                    <a:pt x="18890" y="5423"/>
                  </a:cubicBezTo>
                  <a:cubicBezTo>
                    <a:pt x="18890" y="5229"/>
                    <a:pt x="18435" y="5332"/>
                    <a:pt x="18435" y="5126"/>
                  </a:cubicBezTo>
                  <a:cubicBezTo>
                    <a:pt x="18435" y="4842"/>
                    <a:pt x="18732" y="4545"/>
                    <a:pt x="19029" y="4248"/>
                  </a:cubicBezTo>
                  <a:cubicBezTo>
                    <a:pt x="19187" y="4144"/>
                    <a:pt x="19642" y="4338"/>
                    <a:pt x="19800" y="4248"/>
                  </a:cubicBezTo>
                  <a:cubicBezTo>
                    <a:pt x="19938" y="4144"/>
                    <a:pt x="19938" y="3847"/>
                    <a:pt x="20255" y="3757"/>
                  </a:cubicBezTo>
                  <a:cubicBezTo>
                    <a:pt x="20552" y="3551"/>
                    <a:pt x="21303" y="3654"/>
                    <a:pt x="21462" y="3357"/>
                  </a:cubicBezTo>
                  <a:cubicBezTo>
                    <a:pt x="21600" y="2866"/>
                    <a:pt x="21303" y="2272"/>
                    <a:pt x="21007" y="1782"/>
                  </a:cubicBezTo>
                  <a:cubicBezTo>
                    <a:pt x="21007" y="1588"/>
                    <a:pt x="20710" y="1485"/>
                    <a:pt x="20393" y="1381"/>
                  </a:cubicBezTo>
                  <a:cubicBezTo>
                    <a:pt x="20097" y="1381"/>
                    <a:pt x="19642" y="1485"/>
                    <a:pt x="19345" y="1485"/>
                  </a:cubicBezTo>
                  <a:lnTo>
                    <a:pt x="17684" y="1291"/>
                  </a:lnTo>
                  <a:cubicBezTo>
                    <a:pt x="17525" y="1188"/>
                    <a:pt x="17070" y="400"/>
                    <a:pt x="17070" y="400"/>
                  </a:cubicBezTo>
                  <a:cubicBezTo>
                    <a:pt x="16615" y="297"/>
                    <a:pt x="16160" y="103"/>
                    <a:pt x="15864" y="0"/>
                  </a:cubicBezTo>
                  <a:cubicBezTo>
                    <a:pt x="15270" y="400"/>
                    <a:pt x="14815" y="788"/>
                    <a:pt x="14202" y="1085"/>
                  </a:cubicBezTo>
                  <a:cubicBezTo>
                    <a:pt x="13747" y="1188"/>
                    <a:pt x="13451" y="1291"/>
                    <a:pt x="12996" y="1291"/>
                  </a:cubicBezTo>
                  <a:cubicBezTo>
                    <a:pt x="12699" y="1291"/>
                    <a:pt x="11789" y="1188"/>
                    <a:pt x="11473" y="1085"/>
                  </a:cubicBezTo>
                  <a:cubicBezTo>
                    <a:pt x="11631" y="1188"/>
                    <a:pt x="11631" y="1291"/>
                    <a:pt x="11631" y="1381"/>
                  </a:cubicBezTo>
                  <a:cubicBezTo>
                    <a:pt x="11631" y="1678"/>
                    <a:pt x="12244" y="2079"/>
                    <a:pt x="12086" y="2272"/>
                  </a:cubicBezTo>
                  <a:cubicBezTo>
                    <a:pt x="11631" y="3060"/>
                    <a:pt x="11631" y="2466"/>
                    <a:pt x="12541" y="3254"/>
                  </a:cubicBezTo>
                  <a:cubicBezTo>
                    <a:pt x="13292" y="3847"/>
                    <a:pt x="13154" y="5332"/>
                    <a:pt x="12541" y="6016"/>
                  </a:cubicBezTo>
                  <a:cubicBezTo>
                    <a:pt x="11631" y="6907"/>
                    <a:pt x="10582" y="6714"/>
                    <a:pt x="9376" y="7101"/>
                  </a:cubicBezTo>
                  <a:cubicBezTo>
                    <a:pt x="8624" y="7308"/>
                    <a:pt x="8921" y="8289"/>
                    <a:pt x="8763" y="8779"/>
                  </a:cubicBezTo>
                  <a:cubicBezTo>
                    <a:pt x="8466" y="9180"/>
                    <a:pt x="6349" y="10458"/>
                    <a:pt x="6349" y="10458"/>
                  </a:cubicBezTo>
                  <a:cubicBezTo>
                    <a:pt x="6488" y="10948"/>
                    <a:pt x="6488" y="11245"/>
                    <a:pt x="6488" y="11839"/>
                  </a:cubicBezTo>
                  <a:cubicBezTo>
                    <a:pt x="6488" y="12330"/>
                    <a:pt x="5895" y="12627"/>
                    <a:pt x="5895" y="13221"/>
                  </a:cubicBezTo>
                  <a:cubicBezTo>
                    <a:pt x="5440" y="13905"/>
                    <a:pt x="4391" y="14693"/>
                    <a:pt x="3936" y="15390"/>
                  </a:cubicBezTo>
                  <a:cubicBezTo>
                    <a:pt x="3323" y="16371"/>
                    <a:pt x="2571" y="16177"/>
                    <a:pt x="1820" y="16875"/>
                  </a:cubicBezTo>
                  <a:cubicBezTo>
                    <a:pt x="1503" y="17159"/>
                    <a:pt x="1820" y="18153"/>
                    <a:pt x="1365" y="18643"/>
                  </a:cubicBezTo>
                  <a:cubicBezTo>
                    <a:pt x="297" y="19625"/>
                    <a:pt x="0" y="20619"/>
                    <a:pt x="0"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1" name="Shape 2462">
              <a:extLst>
                <a:ext uri="{FF2B5EF4-FFF2-40B4-BE49-F238E27FC236}">
                  <a16:creationId xmlns:a16="http://schemas.microsoft.com/office/drawing/2014/main" id="{A90955FD-AF8B-6EF3-6D7B-5E4E49560DF4}"/>
                </a:ext>
              </a:extLst>
            </p:cNvPr>
            <p:cNvSpPr/>
            <p:nvPr/>
          </p:nvSpPr>
          <p:spPr>
            <a:xfrm>
              <a:off x="1942819" y="3529104"/>
              <a:ext cx="177367" cy="133456"/>
            </a:xfrm>
            <a:custGeom>
              <a:avLst/>
              <a:gdLst/>
              <a:ahLst/>
              <a:cxnLst>
                <a:cxn ang="0">
                  <a:pos x="wd2" y="hd2"/>
                </a:cxn>
                <a:cxn ang="5400000">
                  <a:pos x="wd2" y="hd2"/>
                </a:cxn>
                <a:cxn ang="10800000">
                  <a:pos x="wd2" y="hd2"/>
                </a:cxn>
                <a:cxn ang="16200000">
                  <a:pos x="wd2" y="hd2"/>
                </a:cxn>
              </a:cxnLst>
              <a:rect l="0" t="0" r="r" b="b"/>
              <a:pathLst>
                <a:path w="21518" h="21600" extrusionOk="0">
                  <a:moveTo>
                    <a:pt x="1268" y="11208"/>
                  </a:moveTo>
                  <a:cubicBezTo>
                    <a:pt x="0" y="7889"/>
                    <a:pt x="0" y="7889"/>
                    <a:pt x="0" y="7889"/>
                  </a:cubicBezTo>
                  <a:cubicBezTo>
                    <a:pt x="655" y="7019"/>
                    <a:pt x="1268" y="6638"/>
                    <a:pt x="1882" y="6203"/>
                  </a:cubicBezTo>
                  <a:cubicBezTo>
                    <a:pt x="2823" y="4951"/>
                    <a:pt x="3150" y="3700"/>
                    <a:pt x="4091" y="2884"/>
                  </a:cubicBezTo>
                  <a:cubicBezTo>
                    <a:pt x="5318" y="2448"/>
                    <a:pt x="6586" y="3319"/>
                    <a:pt x="7855" y="2884"/>
                  </a:cubicBezTo>
                  <a:cubicBezTo>
                    <a:pt x="9082" y="2448"/>
                    <a:pt x="10023" y="816"/>
                    <a:pt x="11250" y="0"/>
                  </a:cubicBezTo>
                  <a:cubicBezTo>
                    <a:pt x="11250" y="1251"/>
                    <a:pt x="10964" y="2884"/>
                    <a:pt x="11577" y="4135"/>
                  </a:cubicBezTo>
                  <a:cubicBezTo>
                    <a:pt x="11905" y="4570"/>
                    <a:pt x="12845" y="4570"/>
                    <a:pt x="13459" y="4135"/>
                  </a:cubicBezTo>
                  <a:cubicBezTo>
                    <a:pt x="14073" y="3700"/>
                    <a:pt x="14073" y="2068"/>
                    <a:pt x="15014" y="1632"/>
                  </a:cubicBezTo>
                  <a:cubicBezTo>
                    <a:pt x="15627" y="1251"/>
                    <a:pt x="16895" y="816"/>
                    <a:pt x="17509" y="1632"/>
                  </a:cubicBezTo>
                  <a:cubicBezTo>
                    <a:pt x="18450" y="2068"/>
                    <a:pt x="17836" y="4135"/>
                    <a:pt x="18164" y="4951"/>
                  </a:cubicBezTo>
                  <a:cubicBezTo>
                    <a:pt x="18450" y="5386"/>
                    <a:pt x="19105" y="5386"/>
                    <a:pt x="19391" y="5386"/>
                  </a:cubicBezTo>
                  <a:cubicBezTo>
                    <a:pt x="19391" y="6203"/>
                    <a:pt x="19391" y="7019"/>
                    <a:pt x="18777" y="7454"/>
                  </a:cubicBezTo>
                  <a:cubicBezTo>
                    <a:pt x="18450" y="7889"/>
                    <a:pt x="17223" y="7019"/>
                    <a:pt x="17223" y="7889"/>
                  </a:cubicBezTo>
                  <a:cubicBezTo>
                    <a:pt x="17223" y="9141"/>
                    <a:pt x="18164" y="10392"/>
                    <a:pt x="18777" y="11643"/>
                  </a:cubicBezTo>
                  <a:cubicBezTo>
                    <a:pt x="19391" y="12459"/>
                    <a:pt x="20659" y="12840"/>
                    <a:pt x="21273" y="14092"/>
                  </a:cubicBezTo>
                  <a:cubicBezTo>
                    <a:pt x="21600" y="15343"/>
                    <a:pt x="21600" y="17030"/>
                    <a:pt x="21273" y="18281"/>
                  </a:cubicBezTo>
                  <a:cubicBezTo>
                    <a:pt x="20945" y="19532"/>
                    <a:pt x="20005" y="20349"/>
                    <a:pt x="19391" y="21600"/>
                  </a:cubicBezTo>
                  <a:cubicBezTo>
                    <a:pt x="18777" y="21165"/>
                    <a:pt x="18164" y="20729"/>
                    <a:pt x="17836" y="20349"/>
                  </a:cubicBezTo>
                  <a:cubicBezTo>
                    <a:pt x="16568" y="20349"/>
                    <a:pt x="15341" y="20349"/>
                    <a:pt x="14073" y="19913"/>
                  </a:cubicBezTo>
                  <a:cubicBezTo>
                    <a:pt x="13786" y="19532"/>
                    <a:pt x="14073" y="18662"/>
                    <a:pt x="13786" y="18281"/>
                  </a:cubicBezTo>
                  <a:cubicBezTo>
                    <a:pt x="12845" y="17030"/>
                    <a:pt x="11905" y="15778"/>
                    <a:pt x="10636" y="14962"/>
                  </a:cubicBezTo>
                  <a:cubicBezTo>
                    <a:pt x="10350" y="14527"/>
                    <a:pt x="10023" y="15778"/>
                    <a:pt x="9695" y="15778"/>
                  </a:cubicBezTo>
                  <a:cubicBezTo>
                    <a:pt x="8755" y="14962"/>
                    <a:pt x="8755" y="13711"/>
                    <a:pt x="7855" y="13276"/>
                  </a:cubicBezTo>
                  <a:cubicBezTo>
                    <a:pt x="7200" y="12840"/>
                    <a:pt x="5973" y="13711"/>
                    <a:pt x="5318" y="12840"/>
                  </a:cubicBezTo>
                  <a:cubicBezTo>
                    <a:pt x="5032" y="12459"/>
                    <a:pt x="6259" y="11208"/>
                    <a:pt x="5973" y="10773"/>
                  </a:cubicBezTo>
                  <a:cubicBezTo>
                    <a:pt x="5318" y="9521"/>
                    <a:pt x="4377" y="8270"/>
                    <a:pt x="3477" y="8270"/>
                  </a:cubicBezTo>
                  <a:cubicBezTo>
                    <a:pt x="2209" y="8270"/>
                    <a:pt x="1882" y="9957"/>
                    <a:pt x="1268" y="11208"/>
                  </a:cubicBezTo>
                  <a:cubicBezTo>
                    <a:pt x="0" y="7889"/>
                    <a:pt x="0" y="7889"/>
                    <a:pt x="0" y="7889"/>
                  </a:cubicBezTo>
                  <a:lnTo>
                    <a:pt x="1268" y="11208"/>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2" name="Shape 2463">
              <a:extLst>
                <a:ext uri="{FF2B5EF4-FFF2-40B4-BE49-F238E27FC236}">
                  <a16:creationId xmlns:a16="http://schemas.microsoft.com/office/drawing/2014/main" id="{F5E1951F-D530-AE76-32C8-8CCA3C4584C3}"/>
                </a:ext>
              </a:extLst>
            </p:cNvPr>
            <p:cNvSpPr/>
            <p:nvPr/>
          </p:nvSpPr>
          <p:spPr>
            <a:xfrm>
              <a:off x="1901628" y="3581134"/>
              <a:ext cx="350044" cy="580011"/>
            </a:xfrm>
            <a:custGeom>
              <a:avLst/>
              <a:gdLst/>
              <a:ahLst/>
              <a:cxnLst>
                <a:cxn ang="0">
                  <a:pos x="wd2" y="hd2"/>
                </a:cxn>
                <a:cxn ang="5400000">
                  <a:pos x="wd2" y="hd2"/>
                </a:cxn>
                <a:cxn ang="10800000">
                  <a:pos x="wd2" y="hd2"/>
                </a:cxn>
                <a:cxn ang="16200000">
                  <a:pos x="wd2" y="hd2"/>
                </a:cxn>
              </a:cxnLst>
              <a:rect l="0" t="0" r="r" b="b"/>
              <a:pathLst>
                <a:path w="21483" h="21511" extrusionOk="0">
                  <a:moveTo>
                    <a:pt x="12335" y="3064"/>
                  </a:moveTo>
                  <a:cubicBezTo>
                    <a:pt x="12025" y="2964"/>
                    <a:pt x="11716" y="2864"/>
                    <a:pt x="11550" y="2777"/>
                  </a:cubicBezTo>
                  <a:cubicBezTo>
                    <a:pt x="10910" y="2777"/>
                    <a:pt x="10291" y="2777"/>
                    <a:pt x="9650" y="2677"/>
                  </a:cubicBezTo>
                  <a:cubicBezTo>
                    <a:pt x="9506" y="2589"/>
                    <a:pt x="9650" y="2389"/>
                    <a:pt x="9506" y="2301"/>
                  </a:cubicBezTo>
                  <a:cubicBezTo>
                    <a:pt x="9031" y="2014"/>
                    <a:pt x="8556" y="1726"/>
                    <a:pt x="7916" y="1538"/>
                  </a:cubicBezTo>
                  <a:cubicBezTo>
                    <a:pt x="7771" y="1438"/>
                    <a:pt x="7606" y="1726"/>
                    <a:pt x="7441" y="1726"/>
                  </a:cubicBezTo>
                  <a:cubicBezTo>
                    <a:pt x="6966" y="1538"/>
                    <a:pt x="6966" y="1251"/>
                    <a:pt x="6512" y="1151"/>
                  </a:cubicBezTo>
                  <a:cubicBezTo>
                    <a:pt x="6181" y="1051"/>
                    <a:pt x="5562" y="1251"/>
                    <a:pt x="5231" y="1051"/>
                  </a:cubicBezTo>
                  <a:cubicBezTo>
                    <a:pt x="5087" y="963"/>
                    <a:pt x="5706" y="675"/>
                    <a:pt x="5562" y="575"/>
                  </a:cubicBezTo>
                  <a:cubicBezTo>
                    <a:pt x="5231" y="288"/>
                    <a:pt x="4756" y="0"/>
                    <a:pt x="4302" y="0"/>
                  </a:cubicBezTo>
                  <a:cubicBezTo>
                    <a:pt x="3662" y="0"/>
                    <a:pt x="3497" y="388"/>
                    <a:pt x="3187" y="675"/>
                  </a:cubicBezTo>
                  <a:cubicBezTo>
                    <a:pt x="2877" y="863"/>
                    <a:pt x="2547" y="1051"/>
                    <a:pt x="2237" y="1338"/>
                  </a:cubicBezTo>
                  <a:cubicBezTo>
                    <a:pt x="1762" y="1726"/>
                    <a:pt x="1452" y="2301"/>
                    <a:pt x="977" y="2677"/>
                  </a:cubicBezTo>
                  <a:cubicBezTo>
                    <a:pt x="668" y="2864"/>
                    <a:pt x="193" y="2964"/>
                    <a:pt x="28" y="3152"/>
                  </a:cubicBezTo>
                  <a:cubicBezTo>
                    <a:pt x="-117" y="3252"/>
                    <a:pt x="358" y="3352"/>
                    <a:pt x="503" y="3540"/>
                  </a:cubicBezTo>
                  <a:cubicBezTo>
                    <a:pt x="668" y="3640"/>
                    <a:pt x="977" y="4015"/>
                    <a:pt x="1287" y="4015"/>
                  </a:cubicBezTo>
                  <a:cubicBezTo>
                    <a:pt x="1927" y="4015"/>
                    <a:pt x="2237" y="3439"/>
                    <a:pt x="2712" y="3352"/>
                  </a:cubicBezTo>
                  <a:cubicBezTo>
                    <a:pt x="3022" y="3252"/>
                    <a:pt x="3187" y="3439"/>
                    <a:pt x="3352" y="3540"/>
                  </a:cubicBezTo>
                  <a:cubicBezTo>
                    <a:pt x="3662" y="3540"/>
                    <a:pt x="3972" y="3352"/>
                    <a:pt x="4302" y="3439"/>
                  </a:cubicBezTo>
                  <a:cubicBezTo>
                    <a:pt x="4447" y="3439"/>
                    <a:pt x="4447" y="3640"/>
                    <a:pt x="4302" y="3727"/>
                  </a:cubicBezTo>
                  <a:cubicBezTo>
                    <a:pt x="3827" y="3927"/>
                    <a:pt x="3022" y="3827"/>
                    <a:pt x="2547" y="4015"/>
                  </a:cubicBezTo>
                  <a:cubicBezTo>
                    <a:pt x="2237" y="4202"/>
                    <a:pt x="2402" y="4490"/>
                    <a:pt x="2093" y="4690"/>
                  </a:cubicBezTo>
                  <a:cubicBezTo>
                    <a:pt x="2093" y="4778"/>
                    <a:pt x="1762" y="4878"/>
                    <a:pt x="1618" y="4978"/>
                  </a:cubicBezTo>
                  <a:cubicBezTo>
                    <a:pt x="1452" y="5541"/>
                    <a:pt x="1452" y="5541"/>
                    <a:pt x="1452" y="5541"/>
                  </a:cubicBezTo>
                  <a:cubicBezTo>
                    <a:pt x="1762" y="5641"/>
                    <a:pt x="2237" y="5828"/>
                    <a:pt x="2712" y="5928"/>
                  </a:cubicBezTo>
                  <a:cubicBezTo>
                    <a:pt x="2712" y="5928"/>
                    <a:pt x="3187" y="6691"/>
                    <a:pt x="3352" y="6791"/>
                  </a:cubicBezTo>
                  <a:lnTo>
                    <a:pt x="5087" y="6979"/>
                  </a:lnTo>
                  <a:cubicBezTo>
                    <a:pt x="5397" y="6979"/>
                    <a:pt x="5872" y="6879"/>
                    <a:pt x="6181" y="6879"/>
                  </a:cubicBezTo>
                  <a:cubicBezTo>
                    <a:pt x="6512" y="6979"/>
                    <a:pt x="6821" y="7079"/>
                    <a:pt x="6821" y="7267"/>
                  </a:cubicBezTo>
                  <a:cubicBezTo>
                    <a:pt x="7131" y="7742"/>
                    <a:pt x="7441" y="8317"/>
                    <a:pt x="7296" y="8793"/>
                  </a:cubicBezTo>
                  <a:cubicBezTo>
                    <a:pt x="7131" y="9080"/>
                    <a:pt x="6346" y="8980"/>
                    <a:pt x="6037" y="9180"/>
                  </a:cubicBezTo>
                  <a:cubicBezTo>
                    <a:pt x="5706" y="9268"/>
                    <a:pt x="5706" y="9556"/>
                    <a:pt x="5562" y="9656"/>
                  </a:cubicBezTo>
                  <a:cubicBezTo>
                    <a:pt x="5397" y="9743"/>
                    <a:pt x="4922" y="9556"/>
                    <a:pt x="4756" y="9656"/>
                  </a:cubicBezTo>
                  <a:cubicBezTo>
                    <a:pt x="4447" y="9943"/>
                    <a:pt x="4137" y="10231"/>
                    <a:pt x="4137" y="10506"/>
                  </a:cubicBezTo>
                  <a:cubicBezTo>
                    <a:pt x="4137" y="10706"/>
                    <a:pt x="4612" y="10606"/>
                    <a:pt x="4612" y="10794"/>
                  </a:cubicBezTo>
                  <a:cubicBezTo>
                    <a:pt x="4756" y="10894"/>
                    <a:pt x="4302" y="10994"/>
                    <a:pt x="4302" y="11181"/>
                  </a:cubicBezTo>
                  <a:cubicBezTo>
                    <a:pt x="4612" y="11369"/>
                    <a:pt x="5231" y="11369"/>
                    <a:pt x="5562" y="11569"/>
                  </a:cubicBezTo>
                  <a:cubicBezTo>
                    <a:pt x="5706" y="11657"/>
                    <a:pt x="5706" y="11857"/>
                    <a:pt x="5562" y="12044"/>
                  </a:cubicBezTo>
                  <a:cubicBezTo>
                    <a:pt x="5397" y="12232"/>
                    <a:pt x="5087" y="12332"/>
                    <a:pt x="4756" y="12420"/>
                  </a:cubicBezTo>
                  <a:cubicBezTo>
                    <a:pt x="4302" y="12420"/>
                    <a:pt x="3662" y="12420"/>
                    <a:pt x="3187" y="12232"/>
                  </a:cubicBezTo>
                  <a:cubicBezTo>
                    <a:pt x="2877" y="12145"/>
                    <a:pt x="3187" y="11857"/>
                    <a:pt x="3022" y="11757"/>
                  </a:cubicBezTo>
                  <a:cubicBezTo>
                    <a:pt x="2712" y="11569"/>
                    <a:pt x="2237" y="11469"/>
                    <a:pt x="1927" y="11569"/>
                  </a:cubicBezTo>
                  <a:cubicBezTo>
                    <a:pt x="1762" y="11569"/>
                    <a:pt x="2093" y="11944"/>
                    <a:pt x="1927" y="12044"/>
                  </a:cubicBezTo>
                  <a:cubicBezTo>
                    <a:pt x="1618" y="12232"/>
                    <a:pt x="833" y="12232"/>
                    <a:pt x="833" y="12520"/>
                  </a:cubicBezTo>
                  <a:cubicBezTo>
                    <a:pt x="668" y="12707"/>
                    <a:pt x="1287" y="12807"/>
                    <a:pt x="1618" y="12807"/>
                  </a:cubicBezTo>
                  <a:cubicBezTo>
                    <a:pt x="2093" y="12907"/>
                    <a:pt x="2402" y="12707"/>
                    <a:pt x="2877" y="12707"/>
                  </a:cubicBezTo>
                  <a:cubicBezTo>
                    <a:pt x="3022" y="12807"/>
                    <a:pt x="3187" y="12907"/>
                    <a:pt x="3187" y="12995"/>
                  </a:cubicBezTo>
                  <a:cubicBezTo>
                    <a:pt x="3187" y="13283"/>
                    <a:pt x="2877" y="13470"/>
                    <a:pt x="2547" y="13670"/>
                  </a:cubicBezTo>
                  <a:cubicBezTo>
                    <a:pt x="2402" y="13758"/>
                    <a:pt x="1927" y="13758"/>
                    <a:pt x="1927" y="13858"/>
                  </a:cubicBezTo>
                  <a:cubicBezTo>
                    <a:pt x="2237" y="14146"/>
                    <a:pt x="2712" y="14233"/>
                    <a:pt x="3022" y="14433"/>
                  </a:cubicBezTo>
                  <a:cubicBezTo>
                    <a:pt x="3497" y="14721"/>
                    <a:pt x="3662" y="15009"/>
                    <a:pt x="3972" y="15196"/>
                  </a:cubicBezTo>
                  <a:cubicBezTo>
                    <a:pt x="4137" y="15196"/>
                    <a:pt x="4447" y="15096"/>
                    <a:pt x="4756" y="15196"/>
                  </a:cubicBezTo>
                  <a:cubicBezTo>
                    <a:pt x="5087" y="15296"/>
                    <a:pt x="5562" y="15484"/>
                    <a:pt x="5706" y="15672"/>
                  </a:cubicBezTo>
                  <a:cubicBezTo>
                    <a:pt x="5706" y="16059"/>
                    <a:pt x="5087" y="16247"/>
                    <a:pt x="5087" y="16535"/>
                  </a:cubicBezTo>
                  <a:cubicBezTo>
                    <a:pt x="5231" y="16822"/>
                    <a:pt x="5706" y="16910"/>
                    <a:pt x="5872" y="17110"/>
                  </a:cubicBezTo>
                  <a:cubicBezTo>
                    <a:pt x="5872" y="17197"/>
                    <a:pt x="5562" y="17385"/>
                    <a:pt x="5706" y="17485"/>
                  </a:cubicBezTo>
                  <a:cubicBezTo>
                    <a:pt x="5706" y="17585"/>
                    <a:pt x="6037" y="17485"/>
                    <a:pt x="6037" y="17485"/>
                  </a:cubicBezTo>
                  <a:cubicBezTo>
                    <a:pt x="6037" y="17873"/>
                    <a:pt x="5706" y="18161"/>
                    <a:pt x="5562" y="18448"/>
                  </a:cubicBezTo>
                  <a:cubicBezTo>
                    <a:pt x="5231" y="18736"/>
                    <a:pt x="4756" y="19011"/>
                    <a:pt x="4756" y="19299"/>
                  </a:cubicBezTo>
                  <a:cubicBezTo>
                    <a:pt x="4612" y="19686"/>
                    <a:pt x="4922" y="20162"/>
                    <a:pt x="5087" y="20549"/>
                  </a:cubicBezTo>
                  <a:cubicBezTo>
                    <a:pt x="5231" y="20825"/>
                    <a:pt x="5087" y="21500"/>
                    <a:pt x="5706" y="21500"/>
                  </a:cubicBezTo>
                  <a:cubicBezTo>
                    <a:pt x="6181" y="21600"/>
                    <a:pt x="6346" y="21025"/>
                    <a:pt x="6512" y="20637"/>
                  </a:cubicBezTo>
                  <a:cubicBezTo>
                    <a:pt x="6821" y="20262"/>
                    <a:pt x="6656" y="19774"/>
                    <a:pt x="6966" y="19399"/>
                  </a:cubicBezTo>
                  <a:cubicBezTo>
                    <a:pt x="7131" y="19211"/>
                    <a:pt x="7606" y="19399"/>
                    <a:pt x="7771" y="19299"/>
                  </a:cubicBezTo>
                  <a:cubicBezTo>
                    <a:pt x="8081" y="18736"/>
                    <a:pt x="8081" y="18060"/>
                    <a:pt x="8391" y="17485"/>
                  </a:cubicBezTo>
                  <a:cubicBezTo>
                    <a:pt x="8866" y="16822"/>
                    <a:pt x="9341" y="16247"/>
                    <a:pt x="10125" y="15859"/>
                  </a:cubicBezTo>
                  <a:cubicBezTo>
                    <a:pt x="10435" y="15672"/>
                    <a:pt x="10910" y="15859"/>
                    <a:pt x="11385" y="15859"/>
                  </a:cubicBezTo>
                  <a:cubicBezTo>
                    <a:pt x="11716" y="15772"/>
                    <a:pt x="11860" y="15484"/>
                    <a:pt x="12190" y="15484"/>
                  </a:cubicBezTo>
                  <a:cubicBezTo>
                    <a:pt x="12335" y="15384"/>
                    <a:pt x="12645" y="15384"/>
                    <a:pt x="12975" y="15484"/>
                  </a:cubicBezTo>
                  <a:cubicBezTo>
                    <a:pt x="13904" y="15772"/>
                    <a:pt x="14379" y="16435"/>
                    <a:pt x="15494" y="16622"/>
                  </a:cubicBezTo>
                  <a:cubicBezTo>
                    <a:pt x="15804" y="16722"/>
                    <a:pt x="15969" y="16347"/>
                    <a:pt x="16114" y="16147"/>
                  </a:cubicBezTo>
                  <a:cubicBezTo>
                    <a:pt x="16114" y="16147"/>
                    <a:pt x="16114" y="15584"/>
                    <a:pt x="16114" y="15484"/>
                  </a:cubicBezTo>
                  <a:cubicBezTo>
                    <a:pt x="16114" y="15296"/>
                    <a:pt x="17229" y="14433"/>
                    <a:pt x="17229" y="14433"/>
                  </a:cubicBezTo>
                  <a:cubicBezTo>
                    <a:pt x="17064" y="14146"/>
                    <a:pt x="16589" y="13946"/>
                    <a:pt x="16589" y="13670"/>
                  </a:cubicBezTo>
                  <a:cubicBezTo>
                    <a:pt x="16589" y="13183"/>
                    <a:pt x="16589" y="12620"/>
                    <a:pt x="17064" y="12332"/>
                  </a:cubicBezTo>
                  <a:cubicBezTo>
                    <a:pt x="17704" y="11857"/>
                    <a:pt x="18964" y="11944"/>
                    <a:pt x="19748" y="11569"/>
                  </a:cubicBezTo>
                  <a:cubicBezTo>
                    <a:pt x="20058" y="11469"/>
                    <a:pt x="19439" y="11181"/>
                    <a:pt x="19583" y="11081"/>
                  </a:cubicBezTo>
                  <a:cubicBezTo>
                    <a:pt x="19748" y="10794"/>
                    <a:pt x="20223" y="10606"/>
                    <a:pt x="20533" y="10419"/>
                  </a:cubicBezTo>
                  <a:cubicBezTo>
                    <a:pt x="19439" y="9656"/>
                    <a:pt x="19439" y="9656"/>
                    <a:pt x="19439" y="9656"/>
                  </a:cubicBezTo>
                  <a:cubicBezTo>
                    <a:pt x="19583" y="9368"/>
                    <a:pt x="19748" y="8980"/>
                    <a:pt x="20058" y="8693"/>
                  </a:cubicBezTo>
                  <a:cubicBezTo>
                    <a:pt x="20389" y="8417"/>
                    <a:pt x="21008" y="8317"/>
                    <a:pt x="21318" y="8030"/>
                  </a:cubicBezTo>
                  <a:cubicBezTo>
                    <a:pt x="21483" y="7842"/>
                    <a:pt x="21483" y="7554"/>
                    <a:pt x="21483" y="7354"/>
                  </a:cubicBezTo>
                  <a:cubicBezTo>
                    <a:pt x="21483" y="7354"/>
                    <a:pt x="19914" y="6979"/>
                    <a:pt x="19914" y="6879"/>
                  </a:cubicBezTo>
                  <a:lnTo>
                    <a:pt x="19583" y="6504"/>
                  </a:lnTo>
                  <a:cubicBezTo>
                    <a:pt x="19439" y="6404"/>
                    <a:pt x="19273" y="6116"/>
                    <a:pt x="18964" y="6116"/>
                  </a:cubicBezTo>
                  <a:cubicBezTo>
                    <a:pt x="18324" y="6216"/>
                    <a:pt x="17869" y="6691"/>
                    <a:pt x="17064" y="6791"/>
                  </a:cubicBezTo>
                  <a:cubicBezTo>
                    <a:pt x="16589" y="6879"/>
                    <a:pt x="15969" y="6691"/>
                    <a:pt x="15329" y="6691"/>
                  </a:cubicBezTo>
                  <a:cubicBezTo>
                    <a:pt x="14854" y="6791"/>
                    <a:pt x="14379" y="6879"/>
                    <a:pt x="13904" y="6979"/>
                  </a:cubicBezTo>
                  <a:cubicBezTo>
                    <a:pt x="13595" y="7079"/>
                    <a:pt x="13450" y="7354"/>
                    <a:pt x="12975" y="7354"/>
                  </a:cubicBezTo>
                  <a:cubicBezTo>
                    <a:pt x="12810" y="7354"/>
                    <a:pt x="12500" y="7167"/>
                    <a:pt x="12645" y="6979"/>
                  </a:cubicBezTo>
                  <a:cubicBezTo>
                    <a:pt x="12810" y="6591"/>
                    <a:pt x="13285" y="6304"/>
                    <a:pt x="13595" y="6028"/>
                  </a:cubicBezTo>
                  <a:cubicBezTo>
                    <a:pt x="13904" y="5828"/>
                    <a:pt x="14379" y="5828"/>
                    <a:pt x="14379" y="5541"/>
                  </a:cubicBezTo>
                  <a:cubicBezTo>
                    <a:pt x="14379" y="5353"/>
                    <a:pt x="13904" y="5353"/>
                    <a:pt x="13760" y="5165"/>
                  </a:cubicBezTo>
                  <a:cubicBezTo>
                    <a:pt x="13450" y="4778"/>
                    <a:pt x="13285" y="4302"/>
                    <a:pt x="12975" y="3827"/>
                  </a:cubicBezTo>
                  <a:cubicBezTo>
                    <a:pt x="12810" y="3540"/>
                    <a:pt x="12500" y="3252"/>
                    <a:pt x="12335" y="306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3" name="Shape 2464">
              <a:extLst>
                <a:ext uri="{FF2B5EF4-FFF2-40B4-BE49-F238E27FC236}">
                  <a16:creationId xmlns:a16="http://schemas.microsoft.com/office/drawing/2014/main" id="{C965A92C-824B-AB19-CA25-62726E41C80D}"/>
                </a:ext>
              </a:extLst>
            </p:cNvPr>
            <p:cNvSpPr/>
            <p:nvPr/>
          </p:nvSpPr>
          <p:spPr>
            <a:xfrm>
              <a:off x="2085522" y="3511940"/>
              <a:ext cx="460471" cy="514154"/>
            </a:xfrm>
            <a:custGeom>
              <a:avLst/>
              <a:gdLst/>
              <a:ahLst/>
              <a:cxnLst>
                <a:cxn ang="0">
                  <a:pos x="wd2" y="hd2"/>
                </a:cxn>
                <a:cxn ang="5400000">
                  <a:pos x="wd2" y="hd2"/>
                </a:cxn>
                <a:cxn ang="10800000">
                  <a:pos x="wd2" y="hd2"/>
                </a:cxn>
                <a:cxn ang="16200000">
                  <a:pos x="wd2" y="hd2"/>
                </a:cxn>
              </a:cxnLst>
              <a:rect l="0" t="0" r="r" b="b"/>
              <a:pathLst>
                <a:path w="21600" h="21543" extrusionOk="0">
                  <a:moveTo>
                    <a:pt x="6273" y="13797"/>
                  </a:moveTo>
                  <a:cubicBezTo>
                    <a:pt x="6384" y="13472"/>
                    <a:pt x="6510" y="13034"/>
                    <a:pt x="6747" y="12709"/>
                  </a:cubicBezTo>
                  <a:cubicBezTo>
                    <a:pt x="7000" y="12398"/>
                    <a:pt x="7474" y="12285"/>
                    <a:pt x="7711" y="11959"/>
                  </a:cubicBezTo>
                  <a:cubicBezTo>
                    <a:pt x="7837" y="11747"/>
                    <a:pt x="7837" y="11422"/>
                    <a:pt x="7837" y="11196"/>
                  </a:cubicBezTo>
                  <a:cubicBezTo>
                    <a:pt x="7837" y="11196"/>
                    <a:pt x="6636" y="10772"/>
                    <a:pt x="6636" y="10659"/>
                  </a:cubicBezTo>
                  <a:lnTo>
                    <a:pt x="6384" y="10235"/>
                  </a:lnTo>
                  <a:cubicBezTo>
                    <a:pt x="6273" y="10122"/>
                    <a:pt x="6147" y="9797"/>
                    <a:pt x="5910" y="9797"/>
                  </a:cubicBezTo>
                  <a:cubicBezTo>
                    <a:pt x="5420" y="9910"/>
                    <a:pt x="5072" y="10447"/>
                    <a:pt x="4456" y="10560"/>
                  </a:cubicBezTo>
                  <a:cubicBezTo>
                    <a:pt x="4092" y="10659"/>
                    <a:pt x="3618" y="10447"/>
                    <a:pt x="3129" y="10447"/>
                  </a:cubicBezTo>
                  <a:cubicBezTo>
                    <a:pt x="2765" y="10560"/>
                    <a:pt x="2402" y="10659"/>
                    <a:pt x="2038" y="10772"/>
                  </a:cubicBezTo>
                  <a:cubicBezTo>
                    <a:pt x="1801" y="10885"/>
                    <a:pt x="1691" y="11196"/>
                    <a:pt x="1327" y="11196"/>
                  </a:cubicBezTo>
                  <a:cubicBezTo>
                    <a:pt x="1201" y="11196"/>
                    <a:pt x="964" y="10984"/>
                    <a:pt x="1074" y="10772"/>
                  </a:cubicBezTo>
                  <a:cubicBezTo>
                    <a:pt x="1201" y="10334"/>
                    <a:pt x="1564" y="10009"/>
                    <a:pt x="1801" y="9698"/>
                  </a:cubicBezTo>
                  <a:cubicBezTo>
                    <a:pt x="2038" y="9471"/>
                    <a:pt x="2402" y="9471"/>
                    <a:pt x="2402" y="9146"/>
                  </a:cubicBezTo>
                  <a:cubicBezTo>
                    <a:pt x="2402" y="8934"/>
                    <a:pt x="2038" y="8934"/>
                    <a:pt x="1928" y="8722"/>
                  </a:cubicBezTo>
                  <a:cubicBezTo>
                    <a:pt x="1691" y="8284"/>
                    <a:pt x="1564" y="7747"/>
                    <a:pt x="1327" y="7210"/>
                  </a:cubicBezTo>
                  <a:cubicBezTo>
                    <a:pt x="1201" y="6885"/>
                    <a:pt x="964" y="6559"/>
                    <a:pt x="837" y="6347"/>
                  </a:cubicBezTo>
                  <a:cubicBezTo>
                    <a:pt x="1074" y="6022"/>
                    <a:pt x="1438" y="5810"/>
                    <a:pt x="1564" y="5485"/>
                  </a:cubicBezTo>
                  <a:cubicBezTo>
                    <a:pt x="1691" y="5160"/>
                    <a:pt x="1691" y="4722"/>
                    <a:pt x="1564" y="4397"/>
                  </a:cubicBezTo>
                  <a:cubicBezTo>
                    <a:pt x="1327" y="4071"/>
                    <a:pt x="837" y="3973"/>
                    <a:pt x="600" y="3760"/>
                  </a:cubicBezTo>
                  <a:cubicBezTo>
                    <a:pt x="363" y="3435"/>
                    <a:pt x="0" y="3110"/>
                    <a:pt x="0" y="2785"/>
                  </a:cubicBezTo>
                  <a:cubicBezTo>
                    <a:pt x="0" y="2559"/>
                    <a:pt x="474" y="2785"/>
                    <a:pt x="600" y="2672"/>
                  </a:cubicBezTo>
                  <a:cubicBezTo>
                    <a:pt x="837" y="2559"/>
                    <a:pt x="837" y="2347"/>
                    <a:pt x="837" y="2135"/>
                  </a:cubicBezTo>
                  <a:cubicBezTo>
                    <a:pt x="1201" y="2022"/>
                    <a:pt x="1691" y="1923"/>
                    <a:pt x="1801" y="1598"/>
                  </a:cubicBezTo>
                  <a:cubicBezTo>
                    <a:pt x="1928" y="1273"/>
                    <a:pt x="1327" y="1060"/>
                    <a:pt x="1201" y="735"/>
                  </a:cubicBezTo>
                  <a:cubicBezTo>
                    <a:pt x="1074" y="509"/>
                    <a:pt x="1201" y="184"/>
                    <a:pt x="1327" y="85"/>
                  </a:cubicBezTo>
                  <a:cubicBezTo>
                    <a:pt x="1691" y="-28"/>
                    <a:pt x="2038" y="-28"/>
                    <a:pt x="2291" y="85"/>
                  </a:cubicBezTo>
                  <a:cubicBezTo>
                    <a:pt x="2528" y="184"/>
                    <a:pt x="2528" y="622"/>
                    <a:pt x="2765" y="622"/>
                  </a:cubicBezTo>
                  <a:cubicBezTo>
                    <a:pt x="3129" y="834"/>
                    <a:pt x="3492" y="834"/>
                    <a:pt x="3855" y="735"/>
                  </a:cubicBezTo>
                  <a:cubicBezTo>
                    <a:pt x="3982" y="622"/>
                    <a:pt x="4092" y="410"/>
                    <a:pt x="4219" y="297"/>
                  </a:cubicBezTo>
                  <a:cubicBezTo>
                    <a:pt x="4219" y="184"/>
                    <a:pt x="4219" y="184"/>
                    <a:pt x="4219" y="184"/>
                  </a:cubicBezTo>
                  <a:cubicBezTo>
                    <a:pt x="4819" y="622"/>
                    <a:pt x="5420" y="834"/>
                    <a:pt x="5910" y="1273"/>
                  </a:cubicBezTo>
                  <a:cubicBezTo>
                    <a:pt x="6036" y="1371"/>
                    <a:pt x="5673" y="1598"/>
                    <a:pt x="5783" y="1697"/>
                  </a:cubicBezTo>
                  <a:cubicBezTo>
                    <a:pt x="6636" y="2460"/>
                    <a:pt x="7600" y="2884"/>
                    <a:pt x="8438" y="3647"/>
                  </a:cubicBezTo>
                  <a:cubicBezTo>
                    <a:pt x="8691" y="3760"/>
                    <a:pt x="8691" y="4298"/>
                    <a:pt x="9054" y="4298"/>
                  </a:cubicBezTo>
                  <a:cubicBezTo>
                    <a:pt x="9402" y="4185"/>
                    <a:pt x="9291" y="3534"/>
                    <a:pt x="9528" y="3435"/>
                  </a:cubicBezTo>
                  <a:cubicBezTo>
                    <a:pt x="10018" y="3110"/>
                    <a:pt x="10492" y="3209"/>
                    <a:pt x="10982" y="3110"/>
                  </a:cubicBezTo>
                  <a:cubicBezTo>
                    <a:pt x="11693" y="2884"/>
                    <a:pt x="12420" y="2672"/>
                    <a:pt x="13146" y="2460"/>
                  </a:cubicBezTo>
                  <a:cubicBezTo>
                    <a:pt x="13383" y="2347"/>
                    <a:pt x="13636" y="2460"/>
                    <a:pt x="13747" y="2347"/>
                  </a:cubicBezTo>
                  <a:cubicBezTo>
                    <a:pt x="14110" y="2234"/>
                    <a:pt x="14363" y="1923"/>
                    <a:pt x="14727" y="1810"/>
                  </a:cubicBezTo>
                  <a:cubicBezTo>
                    <a:pt x="15438" y="1598"/>
                    <a:pt x="16164" y="1371"/>
                    <a:pt x="16891" y="1371"/>
                  </a:cubicBezTo>
                  <a:cubicBezTo>
                    <a:pt x="17255" y="1485"/>
                    <a:pt x="17492" y="1923"/>
                    <a:pt x="17855" y="2022"/>
                  </a:cubicBezTo>
                  <a:cubicBezTo>
                    <a:pt x="18456" y="2347"/>
                    <a:pt x="19182" y="2559"/>
                    <a:pt x="19783" y="2785"/>
                  </a:cubicBezTo>
                  <a:cubicBezTo>
                    <a:pt x="20036" y="3110"/>
                    <a:pt x="20273" y="3435"/>
                    <a:pt x="20383" y="3760"/>
                  </a:cubicBezTo>
                  <a:cubicBezTo>
                    <a:pt x="20636" y="4185"/>
                    <a:pt x="20636" y="4623"/>
                    <a:pt x="21000" y="4948"/>
                  </a:cubicBezTo>
                  <a:cubicBezTo>
                    <a:pt x="21110" y="5047"/>
                    <a:pt x="21474" y="4835"/>
                    <a:pt x="21600" y="5047"/>
                  </a:cubicBezTo>
                  <a:cubicBezTo>
                    <a:pt x="21600" y="5259"/>
                    <a:pt x="21474" y="5485"/>
                    <a:pt x="21237" y="5697"/>
                  </a:cubicBezTo>
                  <a:cubicBezTo>
                    <a:pt x="20747" y="6234"/>
                    <a:pt x="20036" y="6559"/>
                    <a:pt x="19672" y="7097"/>
                  </a:cubicBezTo>
                  <a:cubicBezTo>
                    <a:pt x="19309" y="7634"/>
                    <a:pt x="19783" y="8284"/>
                    <a:pt x="19419" y="8722"/>
                  </a:cubicBezTo>
                  <a:cubicBezTo>
                    <a:pt x="19309" y="9047"/>
                    <a:pt x="18456" y="8609"/>
                    <a:pt x="18456" y="8934"/>
                  </a:cubicBezTo>
                  <a:cubicBezTo>
                    <a:pt x="18345" y="9585"/>
                    <a:pt x="19072" y="10235"/>
                    <a:pt x="19182" y="10885"/>
                  </a:cubicBezTo>
                  <a:cubicBezTo>
                    <a:pt x="19182" y="11097"/>
                    <a:pt x="18945" y="11196"/>
                    <a:pt x="18945" y="11422"/>
                  </a:cubicBezTo>
                  <a:cubicBezTo>
                    <a:pt x="18945" y="11846"/>
                    <a:pt x="19309" y="12285"/>
                    <a:pt x="19419" y="12709"/>
                  </a:cubicBezTo>
                  <a:cubicBezTo>
                    <a:pt x="19419" y="12822"/>
                    <a:pt x="19182" y="12822"/>
                    <a:pt x="19072" y="12935"/>
                  </a:cubicBezTo>
                  <a:cubicBezTo>
                    <a:pt x="18708" y="13797"/>
                    <a:pt x="18092" y="14659"/>
                    <a:pt x="17982" y="15635"/>
                  </a:cubicBezTo>
                  <a:cubicBezTo>
                    <a:pt x="17982" y="16172"/>
                    <a:pt x="18582" y="16384"/>
                    <a:pt x="18819" y="16822"/>
                  </a:cubicBezTo>
                  <a:cubicBezTo>
                    <a:pt x="18582" y="17034"/>
                    <a:pt x="18219" y="17147"/>
                    <a:pt x="17855" y="17359"/>
                  </a:cubicBezTo>
                  <a:cubicBezTo>
                    <a:pt x="17618" y="17473"/>
                    <a:pt x="17255" y="17473"/>
                    <a:pt x="17128" y="17685"/>
                  </a:cubicBezTo>
                  <a:cubicBezTo>
                    <a:pt x="16891" y="18010"/>
                    <a:pt x="17128" y="18434"/>
                    <a:pt x="17128" y="18872"/>
                  </a:cubicBezTo>
                  <a:cubicBezTo>
                    <a:pt x="17128" y="19296"/>
                    <a:pt x="17365" y="19847"/>
                    <a:pt x="17128" y="20173"/>
                  </a:cubicBezTo>
                  <a:cubicBezTo>
                    <a:pt x="17018" y="20385"/>
                    <a:pt x="16528" y="20059"/>
                    <a:pt x="16401" y="20173"/>
                  </a:cubicBezTo>
                  <a:cubicBezTo>
                    <a:pt x="16038" y="20498"/>
                    <a:pt x="16164" y="21035"/>
                    <a:pt x="15927" y="21459"/>
                  </a:cubicBezTo>
                  <a:cubicBezTo>
                    <a:pt x="15801" y="21572"/>
                    <a:pt x="15438" y="21572"/>
                    <a:pt x="15327" y="21459"/>
                  </a:cubicBezTo>
                  <a:cubicBezTo>
                    <a:pt x="14964" y="21360"/>
                    <a:pt x="14727" y="21035"/>
                    <a:pt x="14474" y="20809"/>
                  </a:cubicBezTo>
                  <a:cubicBezTo>
                    <a:pt x="14363" y="20710"/>
                    <a:pt x="14000" y="20498"/>
                    <a:pt x="14000" y="20271"/>
                  </a:cubicBezTo>
                  <a:cubicBezTo>
                    <a:pt x="13873" y="20059"/>
                    <a:pt x="14000" y="19621"/>
                    <a:pt x="13873" y="19409"/>
                  </a:cubicBezTo>
                  <a:cubicBezTo>
                    <a:pt x="13747" y="19084"/>
                    <a:pt x="13383" y="18872"/>
                    <a:pt x="13146" y="18547"/>
                  </a:cubicBezTo>
                  <a:cubicBezTo>
                    <a:pt x="12909" y="18222"/>
                    <a:pt x="12672" y="17784"/>
                    <a:pt x="12420" y="17359"/>
                  </a:cubicBezTo>
                  <a:cubicBezTo>
                    <a:pt x="12309" y="17147"/>
                    <a:pt x="12183" y="16822"/>
                    <a:pt x="11946" y="16610"/>
                  </a:cubicBezTo>
                  <a:cubicBezTo>
                    <a:pt x="11693" y="16285"/>
                    <a:pt x="11456" y="15847"/>
                    <a:pt x="11092" y="15522"/>
                  </a:cubicBezTo>
                  <a:cubicBezTo>
                    <a:pt x="10618" y="15197"/>
                    <a:pt x="10128" y="14985"/>
                    <a:pt x="9528" y="14985"/>
                  </a:cubicBezTo>
                  <a:cubicBezTo>
                    <a:pt x="8928" y="14871"/>
                    <a:pt x="8327" y="15084"/>
                    <a:pt x="7711" y="14985"/>
                  </a:cubicBezTo>
                  <a:cubicBezTo>
                    <a:pt x="7474" y="14985"/>
                    <a:pt x="7347" y="14758"/>
                    <a:pt x="7110" y="14659"/>
                  </a:cubicBezTo>
                  <a:cubicBezTo>
                    <a:pt x="6273" y="13797"/>
                    <a:pt x="6273" y="13797"/>
                    <a:pt x="6273" y="1379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4" name="Shape 2465">
              <a:extLst>
                <a:ext uri="{FF2B5EF4-FFF2-40B4-BE49-F238E27FC236}">
                  <a16:creationId xmlns:a16="http://schemas.microsoft.com/office/drawing/2014/main" id="{E66194DD-36DA-3472-02E5-16B1A2F44EC8}"/>
                </a:ext>
              </a:extLst>
            </p:cNvPr>
            <p:cNvSpPr/>
            <p:nvPr/>
          </p:nvSpPr>
          <p:spPr>
            <a:xfrm>
              <a:off x="2520001" y="3364094"/>
              <a:ext cx="190992" cy="170618"/>
            </a:xfrm>
            <a:custGeom>
              <a:avLst/>
              <a:gdLst/>
              <a:ahLst/>
              <a:cxnLst>
                <a:cxn ang="0">
                  <a:pos x="wd2" y="hd2"/>
                </a:cxn>
                <a:cxn ang="5400000">
                  <a:pos x="wd2" y="hd2"/>
                </a:cxn>
                <a:cxn ang="10800000">
                  <a:pos x="wd2" y="hd2"/>
                </a:cxn>
                <a:cxn ang="16200000">
                  <a:pos x="wd2" y="hd2"/>
                </a:cxn>
              </a:cxnLst>
              <a:rect l="0" t="0" r="r" b="b"/>
              <a:pathLst>
                <a:path w="21386" h="21600" extrusionOk="0">
                  <a:moveTo>
                    <a:pt x="1221" y="986"/>
                  </a:moveTo>
                  <a:cubicBezTo>
                    <a:pt x="655" y="1929"/>
                    <a:pt x="352" y="2614"/>
                    <a:pt x="50" y="3900"/>
                  </a:cubicBezTo>
                  <a:cubicBezTo>
                    <a:pt x="50" y="4243"/>
                    <a:pt x="655" y="4886"/>
                    <a:pt x="655" y="5229"/>
                  </a:cubicBezTo>
                  <a:cubicBezTo>
                    <a:pt x="655" y="5871"/>
                    <a:pt x="-214" y="6214"/>
                    <a:pt x="50" y="6557"/>
                  </a:cubicBezTo>
                  <a:cubicBezTo>
                    <a:pt x="50" y="7200"/>
                    <a:pt x="1221" y="7200"/>
                    <a:pt x="1221" y="7843"/>
                  </a:cubicBezTo>
                  <a:cubicBezTo>
                    <a:pt x="1221" y="9171"/>
                    <a:pt x="50" y="10457"/>
                    <a:pt x="655" y="11443"/>
                  </a:cubicBezTo>
                  <a:cubicBezTo>
                    <a:pt x="919" y="12086"/>
                    <a:pt x="2656" y="11100"/>
                    <a:pt x="3222" y="12086"/>
                  </a:cubicBezTo>
                  <a:cubicBezTo>
                    <a:pt x="3524" y="13071"/>
                    <a:pt x="2656" y="14700"/>
                    <a:pt x="2354" y="16029"/>
                  </a:cubicBezTo>
                  <a:cubicBezTo>
                    <a:pt x="2089" y="17014"/>
                    <a:pt x="1787" y="17657"/>
                    <a:pt x="1787" y="18643"/>
                  </a:cubicBezTo>
                  <a:cubicBezTo>
                    <a:pt x="2089" y="19629"/>
                    <a:pt x="2656" y="20614"/>
                    <a:pt x="3222" y="21600"/>
                  </a:cubicBezTo>
                  <a:cubicBezTo>
                    <a:pt x="4695" y="21257"/>
                    <a:pt x="4695" y="21257"/>
                    <a:pt x="4695" y="21257"/>
                  </a:cubicBezTo>
                  <a:cubicBezTo>
                    <a:pt x="6130" y="19286"/>
                    <a:pt x="7565" y="17657"/>
                    <a:pt x="9000" y="16029"/>
                  </a:cubicBezTo>
                  <a:cubicBezTo>
                    <a:pt x="9302" y="15686"/>
                    <a:pt x="9604" y="15386"/>
                    <a:pt x="10171" y="15043"/>
                  </a:cubicBezTo>
                  <a:cubicBezTo>
                    <a:pt x="10435" y="15043"/>
                    <a:pt x="11039" y="15386"/>
                    <a:pt x="11606" y="15043"/>
                  </a:cubicBezTo>
                  <a:cubicBezTo>
                    <a:pt x="12172" y="15043"/>
                    <a:pt x="12701" y="14700"/>
                    <a:pt x="13305" y="14057"/>
                  </a:cubicBezTo>
                  <a:cubicBezTo>
                    <a:pt x="13569" y="14057"/>
                    <a:pt x="13569" y="13414"/>
                    <a:pt x="13871" y="13414"/>
                  </a:cubicBezTo>
                  <a:cubicBezTo>
                    <a:pt x="15608" y="12771"/>
                    <a:pt x="17610" y="13414"/>
                    <a:pt x="19083" y="12771"/>
                  </a:cubicBezTo>
                  <a:cubicBezTo>
                    <a:pt x="19649" y="12086"/>
                    <a:pt x="18780" y="10800"/>
                    <a:pt x="19083" y="10157"/>
                  </a:cubicBezTo>
                  <a:cubicBezTo>
                    <a:pt x="19649" y="9171"/>
                    <a:pt x="20517" y="9171"/>
                    <a:pt x="21084" y="8486"/>
                  </a:cubicBezTo>
                  <a:cubicBezTo>
                    <a:pt x="21386" y="6857"/>
                    <a:pt x="21386" y="6857"/>
                    <a:pt x="21386" y="6857"/>
                  </a:cubicBezTo>
                  <a:cubicBezTo>
                    <a:pt x="18780" y="6214"/>
                    <a:pt x="16175" y="3900"/>
                    <a:pt x="14740" y="1929"/>
                  </a:cubicBezTo>
                  <a:cubicBezTo>
                    <a:pt x="14173" y="1286"/>
                    <a:pt x="8736" y="2914"/>
                    <a:pt x="6696" y="2271"/>
                  </a:cubicBezTo>
                  <a:cubicBezTo>
                    <a:pt x="5828" y="1929"/>
                    <a:pt x="4091" y="0"/>
                    <a:pt x="3827" y="0"/>
                  </a:cubicBezTo>
                  <a:cubicBezTo>
                    <a:pt x="2958" y="643"/>
                    <a:pt x="2089" y="643"/>
                    <a:pt x="1221" y="9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5" name="Shape 2466">
              <a:extLst>
                <a:ext uri="{FF2B5EF4-FFF2-40B4-BE49-F238E27FC236}">
                  <a16:creationId xmlns:a16="http://schemas.microsoft.com/office/drawing/2014/main" id="{59E07DA0-F212-D925-A36E-D328ECC53D8A}"/>
                </a:ext>
              </a:extLst>
            </p:cNvPr>
            <p:cNvSpPr/>
            <p:nvPr/>
          </p:nvSpPr>
          <p:spPr>
            <a:xfrm>
              <a:off x="2469033" y="3420584"/>
              <a:ext cx="784521" cy="759301"/>
            </a:xfrm>
            <a:custGeom>
              <a:avLst/>
              <a:gdLst/>
              <a:ahLst/>
              <a:cxnLst>
                <a:cxn ang="0">
                  <a:pos x="wd2" y="hd2"/>
                </a:cxn>
                <a:cxn ang="5400000">
                  <a:pos x="wd2" y="hd2"/>
                </a:cxn>
                <a:cxn ang="10800000">
                  <a:pos x="wd2" y="hd2"/>
                </a:cxn>
                <a:cxn ang="16200000">
                  <a:pos x="wd2" y="hd2"/>
                </a:cxn>
              </a:cxnLst>
              <a:rect l="0" t="0" r="r" b="b"/>
              <a:pathLst>
                <a:path w="21600" h="21600" extrusionOk="0">
                  <a:moveTo>
                    <a:pt x="2552" y="3145"/>
                  </a:moveTo>
                  <a:cubicBezTo>
                    <a:pt x="2190" y="3221"/>
                    <a:pt x="2190" y="3221"/>
                    <a:pt x="2190" y="3221"/>
                  </a:cubicBezTo>
                  <a:cubicBezTo>
                    <a:pt x="1976" y="3298"/>
                    <a:pt x="1772" y="3365"/>
                    <a:pt x="1624" y="3509"/>
                  </a:cubicBezTo>
                  <a:cubicBezTo>
                    <a:pt x="1485" y="3662"/>
                    <a:pt x="1624" y="3883"/>
                    <a:pt x="1485" y="4027"/>
                  </a:cubicBezTo>
                  <a:cubicBezTo>
                    <a:pt x="1410" y="4170"/>
                    <a:pt x="1206" y="4314"/>
                    <a:pt x="1058" y="4468"/>
                  </a:cubicBezTo>
                  <a:cubicBezTo>
                    <a:pt x="1206" y="4688"/>
                    <a:pt x="1345" y="4909"/>
                    <a:pt x="1410" y="5129"/>
                  </a:cubicBezTo>
                  <a:cubicBezTo>
                    <a:pt x="1559" y="5417"/>
                    <a:pt x="1559" y="5714"/>
                    <a:pt x="1772" y="5934"/>
                  </a:cubicBezTo>
                  <a:cubicBezTo>
                    <a:pt x="1837" y="6002"/>
                    <a:pt x="2051" y="5858"/>
                    <a:pt x="2125" y="6002"/>
                  </a:cubicBezTo>
                  <a:cubicBezTo>
                    <a:pt x="2125" y="6145"/>
                    <a:pt x="2051" y="6299"/>
                    <a:pt x="1911" y="6443"/>
                  </a:cubicBezTo>
                  <a:cubicBezTo>
                    <a:pt x="1624" y="6807"/>
                    <a:pt x="1206" y="7027"/>
                    <a:pt x="993" y="7392"/>
                  </a:cubicBezTo>
                  <a:cubicBezTo>
                    <a:pt x="779" y="7756"/>
                    <a:pt x="1058" y="8197"/>
                    <a:pt x="844" y="8494"/>
                  </a:cubicBezTo>
                  <a:cubicBezTo>
                    <a:pt x="779" y="8715"/>
                    <a:pt x="278" y="8418"/>
                    <a:pt x="278" y="8638"/>
                  </a:cubicBezTo>
                  <a:cubicBezTo>
                    <a:pt x="213" y="9079"/>
                    <a:pt x="640" y="9520"/>
                    <a:pt x="705" y="9961"/>
                  </a:cubicBezTo>
                  <a:cubicBezTo>
                    <a:pt x="705" y="10105"/>
                    <a:pt x="566" y="10172"/>
                    <a:pt x="566" y="10325"/>
                  </a:cubicBezTo>
                  <a:cubicBezTo>
                    <a:pt x="566" y="10613"/>
                    <a:pt x="779" y="10910"/>
                    <a:pt x="844" y="11198"/>
                  </a:cubicBezTo>
                  <a:cubicBezTo>
                    <a:pt x="844" y="11275"/>
                    <a:pt x="705" y="11275"/>
                    <a:pt x="640" y="11351"/>
                  </a:cubicBezTo>
                  <a:cubicBezTo>
                    <a:pt x="427" y="11936"/>
                    <a:pt x="65" y="12521"/>
                    <a:pt x="0" y="13182"/>
                  </a:cubicBezTo>
                  <a:cubicBezTo>
                    <a:pt x="0" y="13547"/>
                    <a:pt x="353" y="13691"/>
                    <a:pt x="492" y="13988"/>
                  </a:cubicBezTo>
                  <a:cubicBezTo>
                    <a:pt x="640" y="14055"/>
                    <a:pt x="705" y="14132"/>
                    <a:pt x="844" y="14132"/>
                  </a:cubicBezTo>
                  <a:cubicBezTo>
                    <a:pt x="1058" y="14132"/>
                    <a:pt x="1345" y="14055"/>
                    <a:pt x="1624" y="13988"/>
                  </a:cubicBezTo>
                  <a:cubicBezTo>
                    <a:pt x="2051" y="13911"/>
                    <a:pt x="2552" y="13988"/>
                    <a:pt x="2904" y="13767"/>
                  </a:cubicBezTo>
                  <a:cubicBezTo>
                    <a:pt x="3118" y="13623"/>
                    <a:pt x="2978" y="13250"/>
                    <a:pt x="3192" y="13106"/>
                  </a:cubicBezTo>
                  <a:cubicBezTo>
                    <a:pt x="3257" y="13029"/>
                    <a:pt x="3396" y="13250"/>
                    <a:pt x="3544" y="13250"/>
                  </a:cubicBezTo>
                  <a:cubicBezTo>
                    <a:pt x="3823" y="13403"/>
                    <a:pt x="4175" y="13250"/>
                    <a:pt x="4389" y="13470"/>
                  </a:cubicBezTo>
                  <a:cubicBezTo>
                    <a:pt x="4463" y="13691"/>
                    <a:pt x="4110" y="13767"/>
                    <a:pt x="3962" y="13911"/>
                  </a:cubicBezTo>
                  <a:cubicBezTo>
                    <a:pt x="3758" y="14055"/>
                    <a:pt x="3609" y="14208"/>
                    <a:pt x="3470" y="14429"/>
                  </a:cubicBezTo>
                  <a:cubicBezTo>
                    <a:pt x="3396" y="14640"/>
                    <a:pt x="3331" y="14937"/>
                    <a:pt x="3331" y="15157"/>
                  </a:cubicBezTo>
                  <a:cubicBezTo>
                    <a:pt x="3331" y="15378"/>
                    <a:pt x="3257" y="15666"/>
                    <a:pt x="3396" y="15819"/>
                  </a:cubicBezTo>
                  <a:cubicBezTo>
                    <a:pt x="3609" y="15886"/>
                    <a:pt x="3758" y="15598"/>
                    <a:pt x="3962" y="15445"/>
                  </a:cubicBezTo>
                  <a:cubicBezTo>
                    <a:pt x="4110" y="15301"/>
                    <a:pt x="4249" y="15014"/>
                    <a:pt x="4519" y="14937"/>
                  </a:cubicBezTo>
                  <a:cubicBezTo>
                    <a:pt x="4667" y="14860"/>
                    <a:pt x="4806" y="15014"/>
                    <a:pt x="4945" y="15157"/>
                  </a:cubicBezTo>
                  <a:cubicBezTo>
                    <a:pt x="5094" y="15225"/>
                    <a:pt x="5094" y="15598"/>
                    <a:pt x="5307" y="15598"/>
                  </a:cubicBezTo>
                  <a:cubicBezTo>
                    <a:pt x="5586" y="15666"/>
                    <a:pt x="5938" y="15301"/>
                    <a:pt x="6300" y="15378"/>
                  </a:cubicBezTo>
                  <a:cubicBezTo>
                    <a:pt x="6439" y="15445"/>
                    <a:pt x="6365" y="15666"/>
                    <a:pt x="6365" y="15819"/>
                  </a:cubicBezTo>
                  <a:cubicBezTo>
                    <a:pt x="6504" y="16039"/>
                    <a:pt x="6578" y="16183"/>
                    <a:pt x="6653" y="16404"/>
                  </a:cubicBezTo>
                  <a:cubicBezTo>
                    <a:pt x="6792" y="16624"/>
                    <a:pt x="7005" y="16768"/>
                    <a:pt x="7144" y="16989"/>
                  </a:cubicBezTo>
                  <a:cubicBezTo>
                    <a:pt x="7219" y="17132"/>
                    <a:pt x="7070" y="17430"/>
                    <a:pt x="7219" y="17573"/>
                  </a:cubicBezTo>
                  <a:cubicBezTo>
                    <a:pt x="7284" y="17650"/>
                    <a:pt x="7432" y="17573"/>
                    <a:pt x="7571" y="17573"/>
                  </a:cubicBezTo>
                  <a:cubicBezTo>
                    <a:pt x="7645" y="17573"/>
                    <a:pt x="7710" y="17717"/>
                    <a:pt x="7785" y="17650"/>
                  </a:cubicBezTo>
                  <a:cubicBezTo>
                    <a:pt x="8063" y="17573"/>
                    <a:pt x="8211" y="17276"/>
                    <a:pt x="8490" y="17209"/>
                  </a:cubicBezTo>
                  <a:cubicBezTo>
                    <a:pt x="8638" y="17209"/>
                    <a:pt x="8777" y="17353"/>
                    <a:pt x="8916" y="17430"/>
                  </a:cubicBezTo>
                  <a:cubicBezTo>
                    <a:pt x="9130" y="17430"/>
                    <a:pt x="9269" y="17209"/>
                    <a:pt x="9418" y="17276"/>
                  </a:cubicBezTo>
                  <a:cubicBezTo>
                    <a:pt x="9557" y="17353"/>
                    <a:pt x="9696" y="17650"/>
                    <a:pt x="9622" y="17794"/>
                  </a:cubicBezTo>
                  <a:cubicBezTo>
                    <a:pt x="9557" y="18081"/>
                    <a:pt x="8991" y="18158"/>
                    <a:pt x="9056" y="18455"/>
                  </a:cubicBezTo>
                  <a:cubicBezTo>
                    <a:pt x="9130" y="18743"/>
                    <a:pt x="9622" y="18379"/>
                    <a:pt x="9909" y="18523"/>
                  </a:cubicBezTo>
                  <a:cubicBezTo>
                    <a:pt x="9984" y="18599"/>
                    <a:pt x="9984" y="18820"/>
                    <a:pt x="9909" y="18964"/>
                  </a:cubicBezTo>
                  <a:cubicBezTo>
                    <a:pt x="9835" y="19107"/>
                    <a:pt x="9622" y="19107"/>
                    <a:pt x="9622" y="19261"/>
                  </a:cubicBezTo>
                  <a:cubicBezTo>
                    <a:pt x="9482" y="19846"/>
                    <a:pt x="9269" y="20430"/>
                    <a:pt x="9343" y="20938"/>
                  </a:cubicBezTo>
                  <a:cubicBezTo>
                    <a:pt x="9418" y="21312"/>
                    <a:pt x="9835" y="21379"/>
                    <a:pt x="10123" y="21600"/>
                  </a:cubicBezTo>
                  <a:cubicBezTo>
                    <a:pt x="10123" y="21456"/>
                    <a:pt x="10475" y="21456"/>
                    <a:pt x="10614" y="21379"/>
                  </a:cubicBezTo>
                  <a:cubicBezTo>
                    <a:pt x="10976" y="21312"/>
                    <a:pt x="11255" y="21015"/>
                    <a:pt x="11468" y="20795"/>
                  </a:cubicBezTo>
                  <a:cubicBezTo>
                    <a:pt x="11607" y="20651"/>
                    <a:pt x="11821" y="20574"/>
                    <a:pt x="11895" y="20497"/>
                  </a:cubicBezTo>
                  <a:cubicBezTo>
                    <a:pt x="11969" y="20430"/>
                    <a:pt x="11969" y="20354"/>
                    <a:pt x="11969" y="20354"/>
                  </a:cubicBezTo>
                  <a:cubicBezTo>
                    <a:pt x="12034" y="20133"/>
                    <a:pt x="12322" y="19328"/>
                    <a:pt x="12535" y="19328"/>
                  </a:cubicBezTo>
                  <a:cubicBezTo>
                    <a:pt x="12674" y="19261"/>
                    <a:pt x="12953" y="19261"/>
                    <a:pt x="12953" y="19040"/>
                  </a:cubicBezTo>
                  <a:cubicBezTo>
                    <a:pt x="12953" y="18820"/>
                    <a:pt x="13101" y="18676"/>
                    <a:pt x="13101" y="18523"/>
                  </a:cubicBezTo>
                  <a:cubicBezTo>
                    <a:pt x="12600" y="18379"/>
                    <a:pt x="13166" y="17861"/>
                    <a:pt x="13240" y="17650"/>
                  </a:cubicBezTo>
                  <a:cubicBezTo>
                    <a:pt x="13593" y="17353"/>
                    <a:pt x="13806" y="17209"/>
                    <a:pt x="14094" y="16845"/>
                  </a:cubicBezTo>
                  <a:cubicBezTo>
                    <a:pt x="14372" y="16480"/>
                    <a:pt x="15087" y="15742"/>
                    <a:pt x="15504" y="15598"/>
                  </a:cubicBezTo>
                  <a:cubicBezTo>
                    <a:pt x="15792" y="15522"/>
                    <a:pt x="16079" y="15445"/>
                    <a:pt x="16293" y="15598"/>
                  </a:cubicBezTo>
                  <a:cubicBezTo>
                    <a:pt x="16358" y="15666"/>
                    <a:pt x="16497" y="15886"/>
                    <a:pt x="16571" y="15819"/>
                  </a:cubicBezTo>
                  <a:cubicBezTo>
                    <a:pt x="16645" y="15819"/>
                    <a:pt x="16859" y="15666"/>
                    <a:pt x="16924" y="15598"/>
                  </a:cubicBezTo>
                  <a:cubicBezTo>
                    <a:pt x="17425" y="15445"/>
                    <a:pt x="17137" y="14352"/>
                    <a:pt x="17351" y="14352"/>
                  </a:cubicBezTo>
                  <a:cubicBezTo>
                    <a:pt x="17777" y="14132"/>
                    <a:pt x="17777" y="14132"/>
                    <a:pt x="17777" y="14132"/>
                  </a:cubicBezTo>
                  <a:cubicBezTo>
                    <a:pt x="18056" y="13988"/>
                    <a:pt x="18269" y="13623"/>
                    <a:pt x="18631" y="13691"/>
                  </a:cubicBezTo>
                  <a:cubicBezTo>
                    <a:pt x="18835" y="13767"/>
                    <a:pt x="19197" y="13403"/>
                    <a:pt x="19336" y="13250"/>
                  </a:cubicBezTo>
                  <a:cubicBezTo>
                    <a:pt x="19410" y="13182"/>
                    <a:pt x="19763" y="12741"/>
                    <a:pt x="19763" y="12588"/>
                  </a:cubicBezTo>
                  <a:cubicBezTo>
                    <a:pt x="19689" y="12588"/>
                    <a:pt x="19689" y="12588"/>
                    <a:pt x="19624" y="12588"/>
                  </a:cubicBezTo>
                  <a:cubicBezTo>
                    <a:pt x="19624" y="12521"/>
                    <a:pt x="19123" y="12157"/>
                    <a:pt x="19048" y="12080"/>
                  </a:cubicBezTo>
                  <a:cubicBezTo>
                    <a:pt x="18835" y="11639"/>
                    <a:pt x="18984" y="11351"/>
                    <a:pt x="18835" y="10910"/>
                  </a:cubicBezTo>
                  <a:cubicBezTo>
                    <a:pt x="18835" y="10690"/>
                    <a:pt x="18770" y="10393"/>
                    <a:pt x="18631" y="10249"/>
                  </a:cubicBezTo>
                  <a:cubicBezTo>
                    <a:pt x="18557" y="10172"/>
                    <a:pt x="18269" y="9961"/>
                    <a:pt x="18204" y="9808"/>
                  </a:cubicBezTo>
                  <a:cubicBezTo>
                    <a:pt x="18204" y="9808"/>
                    <a:pt x="18130" y="9741"/>
                    <a:pt x="18056" y="9741"/>
                  </a:cubicBezTo>
                  <a:lnTo>
                    <a:pt x="17991" y="9741"/>
                  </a:lnTo>
                  <a:cubicBezTo>
                    <a:pt x="17991" y="9664"/>
                    <a:pt x="18056" y="9156"/>
                    <a:pt x="17916" y="9079"/>
                  </a:cubicBezTo>
                  <a:cubicBezTo>
                    <a:pt x="17842" y="8935"/>
                    <a:pt x="17638" y="8859"/>
                    <a:pt x="17638" y="8715"/>
                  </a:cubicBezTo>
                  <a:cubicBezTo>
                    <a:pt x="17564" y="8638"/>
                    <a:pt x="17490" y="8571"/>
                    <a:pt x="17490" y="8571"/>
                  </a:cubicBezTo>
                  <a:cubicBezTo>
                    <a:pt x="17425" y="8494"/>
                    <a:pt x="17276" y="8053"/>
                    <a:pt x="17276" y="7977"/>
                  </a:cubicBezTo>
                  <a:cubicBezTo>
                    <a:pt x="17351" y="7977"/>
                    <a:pt x="17351" y="7977"/>
                    <a:pt x="17351" y="7977"/>
                  </a:cubicBezTo>
                  <a:cubicBezTo>
                    <a:pt x="17703" y="7977"/>
                    <a:pt x="18130" y="8053"/>
                    <a:pt x="18482" y="8053"/>
                  </a:cubicBezTo>
                  <a:cubicBezTo>
                    <a:pt x="18696" y="7756"/>
                    <a:pt x="18835" y="7248"/>
                    <a:pt x="19123" y="6884"/>
                  </a:cubicBezTo>
                  <a:cubicBezTo>
                    <a:pt x="19262" y="6730"/>
                    <a:pt x="19475" y="6663"/>
                    <a:pt x="19624" y="6519"/>
                  </a:cubicBezTo>
                  <a:cubicBezTo>
                    <a:pt x="19763" y="6222"/>
                    <a:pt x="19763" y="6222"/>
                    <a:pt x="19763" y="5934"/>
                  </a:cubicBezTo>
                  <a:lnTo>
                    <a:pt x="19763" y="5858"/>
                  </a:lnTo>
                  <a:cubicBezTo>
                    <a:pt x="19828" y="5858"/>
                    <a:pt x="19902" y="5781"/>
                    <a:pt x="19902" y="5781"/>
                  </a:cubicBezTo>
                  <a:cubicBezTo>
                    <a:pt x="19976" y="5714"/>
                    <a:pt x="20115" y="5493"/>
                    <a:pt x="20115" y="5417"/>
                  </a:cubicBezTo>
                  <a:cubicBezTo>
                    <a:pt x="20756" y="5417"/>
                    <a:pt x="20394" y="4909"/>
                    <a:pt x="20821" y="4832"/>
                  </a:cubicBezTo>
                  <a:cubicBezTo>
                    <a:pt x="20895" y="4688"/>
                    <a:pt x="20895" y="4391"/>
                    <a:pt x="20969" y="4314"/>
                  </a:cubicBezTo>
                  <a:cubicBezTo>
                    <a:pt x="20969" y="4247"/>
                    <a:pt x="20969" y="4170"/>
                    <a:pt x="20969" y="4094"/>
                  </a:cubicBezTo>
                  <a:lnTo>
                    <a:pt x="21034" y="4027"/>
                  </a:lnTo>
                  <a:cubicBezTo>
                    <a:pt x="21108" y="3950"/>
                    <a:pt x="21173" y="3883"/>
                    <a:pt x="21247" y="3883"/>
                  </a:cubicBezTo>
                  <a:cubicBezTo>
                    <a:pt x="21247" y="3806"/>
                    <a:pt x="21322" y="3806"/>
                    <a:pt x="21322" y="3806"/>
                  </a:cubicBezTo>
                  <a:cubicBezTo>
                    <a:pt x="21387" y="3806"/>
                    <a:pt x="21461" y="3729"/>
                    <a:pt x="21461" y="3729"/>
                  </a:cubicBezTo>
                  <a:cubicBezTo>
                    <a:pt x="21600" y="3586"/>
                    <a:pt x="21600" y="3586"/>
                    <a:pt x="21600" y="3586"/>
                  </a:cubicBezTo>
                  <a:cubicBezTo>
                    <a:pt x="21387" y="3221"/>
                    <a:pt x="21173" y="2857"/>
                    <a:pt x="21108" y="2560"/>
                  </a:cubicBezTo>
                  <a:cubicBezTo>
                    <a:pt x="21108" y="1611"/>
                    <a:pt x="20329" y="1754"/>
                    <a:pt x="20115" y="949"/>
                  </a:cubicBezTo>
                  <a:cubicBezTo>
                    <a:pt x="20041" y="729"/>
                    <a:pt x="18631" y="364"/>
                    <a:pt x="18418" y="441"/>
                  </a:cubicBezTo>
                  <a:cubicBezTo>
                    <a:pt x="17777" y="585"/>
                    <a:pt x="17137" y="441"/>
                    <a:pt x="16710" y="0"/>
                  </a:cubicBezTo>
                  <a:cubicBezTo>
                    <a:pt x="16358" y="441"/>
                    <a:pt x="16293" y="585"/>
                    <a:pt x="15931" y="949"/>
                  </a:cubicBezTo>
                  <a:cubicBezTo>
                    <a:pt x="15718" y="1093"/>
                    <a:pt x="15578" y="1390"/>
                    <a:pt x="15365" y="1313"/>
                  </a:cubicBezTo>
                  <a:cubicBezTo>
                    <a:pt x="15152" y="1246"/>
                    <a:pt x="15152" y="872"/>
                    <a:pt x="14938" y="729"/>
                  </a:cubicBezTo>
                  <a:cubicBezTo>
                    <a:pt x="14725" y="662"/>
                    <a:pt x="14521" y="585"/>
                    <a:pt x="14307" y="662"/>
                  </a:cubicBezTo>
                  <a:cubicBezTo>
                    <a:pt x="14159" y="662"/>
                    <a:pt x="14307" y="872"/>
                    <a:pt x="14233" y="949"/>
                  </a:cubicBezTo>
                  <a:cubicBezTo>
                    <a:pt x="14159" y="1093"/>
                    <a:pt x="13806" y="1093"/>
                    <a:pt x="13880" y="1246"/>
                  </a:cubicBezTo>
                  <a:cubicBezTo>
                    <a:pt x="13880" y="1534"/>
                    <a:pt x="14307" y="1611"/>
                    <a:pt x="14446" y="1831"/>
                  </a:cubicBezTo>
                  <a:cubicBezTo>
                    <a:pt x="14521" y="2052"/>
                    <a:pt x="14521" y="2416"/>
                    <a:pt x="14372" y="2560"/>
                  </a:cubicBezTo>
                  <a:cubicBezTo>
                    <a:pt x="14233" y="2704"/>
                    <a:pt x="14020" y="2339"/>
                    <a:pt x="13880" y="2416"/>
                  </a:cubicBezTo>
                  <a:cubicBezTo>
                    <a:pt x="13741" y="2493"/>
                    <a:pt x="13880" y="2857"/>
                    <a:pt x="13741" y="2924"/>
                  </a:cubicBezTo>
                  <a:cubicBezTo>
                    <a:pt x="13528" y="3001"/>
                    <a:pt x="13240" y="2857"/>
                    <a:pt x="13027" y="2780"/>
                  </a:cubicBezTo>
                  <a:cubicBezTo>
                    <a:pt x="12888" y="2780"/>
                    <a:pt x="12888" y="2636"/>
                    <a:pt x="12813" y="2560"/>
                  </a:cubicBezTo>
                  <a:cubicBezTo>
                    <a:pt x="12739" y="2560"/>
                    <a:pt x="12600" y="2493"/>
                    <a:pt x="12535" y="2493"/>
                  </a:cubicBezTo>
                  <a:cubicBezTo>
                    <a:pt x="12173" y="2560"/>
                    <a:pt x="11821" y="2857"/>
                    <a:pt x="11468" y="2857"/>
                  </a:cubicBezTo>
                  <a:cubicBezTo>
                    <a:pt x="11329" y="2857"/>
                    <a:pt x="11190" y="2560"/>
                    <a:pt x="10976" y="2560"/>
                  </a:cubicBezTo>
                  <a:cubicBezTo>
                    <a:pt x="10763" y="2560"/>
                    <a:pt x="10549" y="2704"/>
                    <a:pt x="10336" y="2857"/>
                  </a:cubicBezTo>
                  <a:cubicBezTo>
                    <a:pt x="10197" y="2924"/>
                    <a:pt x="10262" y="3221"/>
                    <a:pt x="10123" y="3221"/>
                  </a:cubicBezTo>
                  <a:cubicBezTo>
                    <a:pt x="9984" y="3298"/>
                    <a:pt x="9909" y="3077"/>
                    <a:pt x="9835" y="3001"/>
                  </a:cubicBezTo>
                  <a:cubicBezTo>
                    <a:pt x="9696" y="3145"/>
                    <a:pt x="9622" y="3365"/>
                    <a:pt x="9418" y="3509"/>
                  </a:cubicBezTo>
                  <a:cubicBezTo>
                    <a:pt x="9204" y="3662"/>
                    <a:pt x="8991" y="3883"/>
                    <a:pt x="8703" y="3806"/>
                  </a:cubicBezTo>
                  <a:cubicBezTo>
                    <a:pt x="8564" y="3806"/>
                    <a:pt x="8777" y="3145"/>
                    <a:pt x="8564" y="3221"/>
                  </a:cubicBezTo>
                  <a:cubicBezTo>
                    <a:pt x="7785" y="3662"/>
                    <a:pt x="7070" y="4314"/>
                    <a:pt x="6504" y="5052"/>
                  </a:cubicBezTo>
                  <a:cubicBezTo>
                    <a:pt x="6365" y="5196"/>
                    <a:pt x="6653" y="5561"/>
                    <a:pt x="6578" y="5714"/>
                  </a:cubicBezTo>
                  <a:cubicBezTo>
                    <a:pt x="6439" y="5934"/>
                    <a:pt x="6152" y="6002"/>
                    <a:pt x="5938" y="6002"/>
                  </a:cubicBezTo>
                  <a:cubicBezTo>
                    <a:pt x="5799" y="5934"/>
                    <a:pt x="5660" y="5714"/>
                    <a:pt x="5660" y="5561"/>
                  </a:cubicBezTo>
                  <a:cubicBezTo>
                    <a:pt x="5660" y="5417"/>
                    <a:pt x="5799" y="5340"/>
                    <a:pt x="5799" y="5196"/>
                  </a:cubicBezTo>
                  <a:cubicBezTo>
                    <a:pt x="5725" y="5052"/>
                    <a:pt x="5521" y="5052"/>
                    <a:pt x="5521" y="4909"/>
                  </a:cubicBezTo>
                  <a:cubicBezTo>
                    <a:pt x="5446" y="4832"/>
                    <a:pt x="5586" y="4688"/>
                    <a:pt x="5521" y="4611"/>
                  </a:cubicBezTo>
                  <a:cubicBezTo>
                    <a:pt x="5446" y="4314"/>
                    <a:pt x="5446" y="3729"/>
                    <a:pt x="5159" y="3662"/>
                  </a:cubicBezTo>
                  <a:cubicBezTo>
                    <a:pt x="4667" y="3586"/>
                    <a:pt x="4389" y="4314"/>
                    <a:pt x="3897" y="4314"/>
                  </a:cubicBezTo>
                  <a:cubicBezTo>
                    <a:pt x="3758" y="4391"/>
                    <a:pt x="3758" y="3950"/>
                    <a:pt x="3609" y="3883"/>
                  </a:cubicBezTo>
                  <a:cubicBezTo>
                    <a:pt x="3470" y="3729"/>
                    <a:pt x="3192" y="3883"/>
                    <a:pt x="3043" y="3806"/>
                  </a:cubicBezTo>
                  <a:cubicBezTo>
                    <a:pt x="2830" y="3662"/>
                    <a:pt x="2691" y="3365"/>
                    <a:pt x="2552" y="314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2" name="Shape 2467">
              <a:extLst>
                <a:ext uri="{FF2B5EF4-FFF2-40B4-BE49-F238E27FC236}">
                  <a16:creationId xmlns:a16="http://schemas.microsoft.com/office/drawing/2014/main" id="{D44B9D71-252C-A96F-B6EB-697A2ACF94A6}"/>
                </a:ext>
              </a:extLst>
            </p:cNvPr>
            <p:cNvSpPr/>
            <p:nvPr/>
          </p:nvSpPr>
          <p:spPr>
            <a:xfrm>
              <a:off x="2561193" y="3430990"/>
              <a:ext cx="264257" cy="200353"/>
            </a:xfrm>
            <a:custGeom>
              <a:avLst/>
              <a:gdLst/>
              <a:ahLst/>
              <a:cxnLst>
                <a:cxn ang="0">
                  <a:pos x="wd2" y="hd2"/>
                </a:cxn>
                <a:cxn ang="5400000">
                  <a:pos x="wd2" y="hd2"/>
                </a:cxn>
                <a:cxn ang="10800000">
                  <a:pos x="wd2" y="hd2"/>
                </a:cxn>
                <a:cxn ang="16200000">
                  <a:pos x="wd2" y="hd2"/>
                </a:cxn>
              </a:cxnLst>
              <a:rect l="0" t="0" r="r" b="b"/>
              <a:pathLst>
                <a:path w="21600" h="21600" extrusionOk="0">
                  <a:moveTo>
                    <a:pt x="21600" y="10256"/>
                  </a:moveTo>
                  <a:cubicBezTo>
                    <a:pt x="21187" y="10800"/>
                    <a:pt x="20967" y="11634"/>
                    <a:pt x="20362" y="12177"/>
                  </a:cubicBezTo>
                  <a:cubicBezTo>
                    <a:pt x="19729" y="12757"/>
                    <a:pt x="19096" y="13591"/>
                    <a:pt x="18243" y="13301"/>
                  </a:cubicBezTo>
                  <a:cubicBezTo>
                    <a:pt x="17830" y="13301"/>
                    <a:pt x="18463" y="10800"/>
                    <a:pt x="17830" y="11090"/>
                  </a:cubicBezTo>
                  <a:cubicBezTo>
                    <a:pt x="15519" y="12757"/>
                    <a:pt x="13400" y="15221"/>
                    <a:pt x="11722" y="18012"/>
                  </a:cubicBezTo>
                  <a:cubicBezTo>
                    <a:pt x="11309" y="18556"/>
                    <a:pt x="12162" y="19933"/>
                    <a:pt x="11942" y="20513"/>
                  </a:cubicBezTo>
                  <a:cubicBezTo>
                    <a:pt x="11529" y="21346"/>
                    <a:pt x="10676" y="21600"/>
                    <a:pt x="10043" y="21600"/>
                  </a:cubicBezTo>
                  <a:cubicBezTo>
                    <a:pt x="9631" y="21346"/>
                    <a:pt x="9218" y="20513"/>
                    <a:pt x="9218" y="19933"/>
                  </a:cubicBezTo>
                  <a:cubicBezTo>
                    <a:pt x="9218" y="19389"/>
                    <a:pt x="9631" y="19099"/>
                    <a:pt x="9631" y="18556"/>
                  </a:cubicBezTo>
                  <a:cubicBezTo>
                    <a:pt x="9410" y="18012"/>
                    <a:pt x="8805" y="18012"/>
                    <a:pt x="8805" y="17468"/>
                  </a:cubicBezTo>
                  <a:cubicBezTo>
                    <a:pt x="8585" y="17179"/>
                    <a:pt x="8998" y="16635"/>
                    <a:pt x="8805" y="16345"/>
                  </a:cubicBezTo>
                  <a:cubicBezTo>
                    <a:pt x="8585" y="15221"/>
                    <a:pt x="8585" y="13011"/>
                    <a:pt x="7732" y="12757"/>
                  </a:cubicBezTo>
                  <a:cubicBezTo>
                    <a:pt x="6274" y="12467"/>
                    <a:pt x="5448" y="15221"/>
                    <a:pt x="3990" y="15221"/>
                  </a:cubicBezTo>
                  <a:cubicBezTo>
                    <a:pt x="3577" y="15511"/>
                    <a:pt x="3577" y="13844"/>
                    <a:pt x="3137" y="13591"/>
                  </a:cubicBezTo>
                  <a:cubicBezTo>
                    <a:pt x="2724" y="13011"/>
                    <a:pt x="1899" y="13591"/>
                    <a:pt x="1458" y="13301"/>
                  </a:cubicBezTo>
                  <a:cubicBezTo>
                    <a:pt x="825" y="12757"/>
                    <a:pt x="413" y="11634"/>
                    <a:pt x="0" y="10800"/>
                  </a:cubicBezTo>
                  <a:cubicBezTo>
                    <a:pt x="1046" y="9133"/>
                    <a:pt x="2091" y="7756"/>
                    <a:pt x="3137" y="6379"/>
                  </a:cubicBezTo>
                  <a:cubicBezTo>
                    <a:pt x="3357" y="6089"/>
                    <a:pt x="3577" y="5835"/>
                    <a:pt x="3990" y="5545"/>
                  </a:cubicBezTo>
                  <a:cubicBezTo>
                    <a:pt x="4182" y="5545"/>
                    <a:pt x="4623" y="5835"/>
                    <a:pt x="5035" y="5545"/>
                  </a:cubicBezTo>
                  <a:cubicBezTo>
                    <a:pt x="5448" y="5545"/>
                    <a:pt x="5833" y="5255"/>
                    <a:pt x="6274" y="4711"/>
                  </a:cubicBezTo>
                  <a:cubicBezTo>
                    <a:pt x="6466" y="4711"/>
                    <a:pt x="6466" y="4168"/>
                    <a:pt x="6686" y="4168"/>
                  </a:cubicBezTo>
                  <a:cubicBezTo>
                    <a:pt x="7952" y="3624"/>
                    <a:pt x="9410" y="4168"/>
                    <a:pt x="10484" y="3624"/>
                  </a:cubicBezTo>
                  <a:cubicBezTo>
                    <a:pt x="10896" y="3044"/>
                    <a:pt x="10263" y="1957"/>
                    <a:pt x="10484" y="1413"/>
                  </a:cubicBezTo>
                  <a:cubicBezTo>
                    <a:pt x="10896" y="580"/>
                    <a:pt x="11529" y="580"/>
                    <a:pt x="11942" y="0"/>
                  </a:cubicBezTo>
                  <a:cubicBezTo>
                    <a:pt x="12988" y="1123"/>
                    <a:pt x="13841" y="2501"/>
                    <a:pt x="15106" y="3044"/>
                  </a:cubicBezTo>
                  <a:cubicBezTo>
                    <a:pt x="15299" y="3334"/>
                    <a:pt x="15106" y="2211"/>
                    <a:pt x="15299" y="1957"/>
                  </a:cubicBezTo>
                  <a:cubicBezTo>
                    <a:pt x="15739" y="1667"/>
                    <a:pt x="16344" y="1123"/>
                    <a:pt x="16565" y="1667"/>
                  </a:cubicBezTo>
                  <a:cubicBezTo>
                    <a:pt x="17418" y="2501"/>
                    <a:pt x="17418" y="4168"/>
                    <a:pt x="18050" y="5545"/>
                  </a:cubicBezTo>
                  <a:cubicBezTo>
                    <a:pt x="18243" y="5835"/>
                    <a:pt x="18683" y="6089"/>
                    <a:pt x="19096" y="6379"/>
                  </a:cubicBezTo>
                  <a:cubicBezTo>
                    <a:pt x="19729" y="6922"/>
                    <a:pt x="20362" y="7502"/>
                    <a:pt x="20967" y="8046"/>
                  </a:cubicBezTo>
                  <a:cubicBezTo>
                    <a:pt x="21407" y="8589"/>
                    <a:pt x="21407" y="9423"/>
                    <a:pt x="21600" y="1025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3" name="Shape 2468">
              <a:extLst>
                <a:ext uri="{FF2B5EF4-FFF2-40B4-BE49-F238E27FC236}">
                  <a16:creationId xmlns:a16="http://schemas.microsoft.com/office/drawing/2014/main" id="{6221A280-AB04-4022-3F0C-B1EBD445CE0F}"/>
                </a:ext>
              </a:extLst>
            </p:cNvPr>
            <p:cNvSpPr/>
            <p:nvPr/>
          </p:nvSpPr>
          <p:spPr>
            <a:xfrm>
              <a:off x="2708354" y="3307145"/>
              <a:ext cx="368309" cy="226924"/>
            </a:xfrm>
            <a:custGeom>
              <a:avLst/>
              <a:gdLst/>
              <a:ahLst/>
              <a:cxnLst>
                <a:cxn ang="0">
                  <a:pos x="wd2" y="hd2"/>
                </a:cxn>
                <a:cxn ang="5400000">
                  <a:pos x="wd2" y="hd2"/>
                </a:cxn>
                <a:cxn ang="10800000">
                  <a:pos x="wd2" y="hd2"/>
                </a:cxn>
                <a:cxn ang="16200000">
                  <a:pos x="wd2" y="hd2"/>
                </a:cxn>
              </a:cxnLst>
              <a:rect l="0" t="0" r="r" b="b"/>
              <a:pathLst>
                <a:path w="21600" h="21167" extrusionOk="0">
                  <a:moveTo>
                    <a:pt x="158" y="10315"/>
                  </a:moveTo>
                  <a:cubicBezTo>
                    <a:pt x="0" y="11508"/>
                    <a:pt x="0" y="11508"/>
                    <a:pt x="0" y="11508"/>
                  </a:cubicBezTo>
                  <a:cubicBezTo>
                    <a:pt x="752" y="12481"/>
                    <a:pt x="1365" y="13674"/>
                    <a:pt x="2275" y="14145"/>
                  </a:cubicBezTo>
                  <a:cubicBezTo>
                    <a:pt x="2413" y="14396"/>
                    <a:pt x="2275" y="13423"/>
                    <a:pt x="2413" y="13203"/>
                  </a:cubicBezTo>
                  <a:cubicBezTo>
                    <a:pt x="2730" y="12952"/>
                    <a:pt x="3165" y="12481"/>
                    <a:pt x="3323" y="12952"/>
                  </a:cubicBezTo>
                  <a:cubicBezTo>
                    <a:pt x="3936" y="13674"/>
                    <a:pt x="3936" y="15118"/>
                    <a:pt x="4391" y="16311"/>
                  </a:cubicBezTo>
                  <a:cubicBezTo>
                    <a:pt x="4530" y="16563"/>
                    <a:pt x="4846" y="16782"/>
                    <a:pt x="5143" y="17033"/>
                  </a:cubicBezTo>
                  <a:cubicBezTo>
                    <a:pt x="5598" y="17504"/>
                    <a:pt x="6053" y="18007"/>
                    <a:pt x="6488" y="18478"/>
                  </a:cubicBezTo>
                  <a:cubicBezTo>
                    <a:pt x="6804" y="18949"/>
                    <a:pt x="6804" y="19671"/>
                    <a:pt x="6943" y="20393"/>
                  </a:cubicBezTo>
                  <a:cubicBezTo>
                    <a:pt x="7101" y="20644"/>
                    <a:pt x="7259" y="21366"/>
                    <a:pt x="7556" y="21115"/>
                  </a:cubicBezTo>
                  <a:cubicBezTo>
                    <a:pt x="7853" y="21115"/>
                    <a:pt x="7714" y="20142"/>
                    <a:pt x="8011" y="19922"/>
                  </a:cubicBezTo>
                  <a:cubicBezTo>
                    <a:pt x="8466" y="19419"/>
                    <a:pt x="8921" y="18949"/>
                    <a:pt x="9376" y="18949"/>
                  </a:cubicBezTo>
                  <a:cubicBezTo>
                    <a:pt x="9831" y="18949"/>
                    <a:pt x="10127" y="19922"/>
                    <a:pt x="10424" y="19922"/>
                  </a:cubicBezTo>
                  <a:cubicBezTo>
                    <a:pt x="11176" y="19922"/>
                    <a:pt x="11927" y="18949"/>
                    <a:pt x="12699" y="18729"/>
                  </a:cubicBezTo>
                  <a:cubicBezTo>
                    <a:pt x="12837" y="18729"/>
                    <a:pt x="13134" y="18949"/>
                    <a:pt x="13292" y="18949"/>
                  </a:cubicBezTo>
                  <a:cubicBezTo>
                    <a:pt x="13451" y="19200"/>
                    <a:pt x="13451" y="19671"/>
                    <a:pt x="13747" y="19671"/>
                  </a:cubicBezTo>
                  <a:cubicBezTo>
                    <a:pt x="14202" y="19922"/>
                    <a:pt x="14815" y="20393"/>
                    <a:pt x="15270" y="20142"/>
                  </a:cubicBezTo>
                  <a:cubicBezTo>
                    <a:pt x="15567" y="19922"/>
                    <a:pt x="15270" y="18729"/>
                    <a:pt x="15567" y="18478"/>
                  </a:cubicBezTo>
                  <a:cubicBezTo>
                    <a:pt x="15864" y="18226"/>
                    <a:pt x="16319" y="19419"/>
                    <a:pt x="16615" y="18949"/>
                  </a:cubicBezTo>
                  <a:cubicBezTo>
                    <a:pt x="16932" y="18478"/>
                    <a:pt x="16932" y="17285"/>
                    <a:pt x="16774" y="16563"/>
                  </a:cubicBezTo>
                  <a:cubicBezTo>
                    <a:pt x="16477" y="15840"/>
                    <a:pt x="15567" y="15589"/>
                    <a:pt x="15567" y="14647"/>
                  </a:cubicBezTo>
                  <a:cubicBezTo>
                    <a:pt x="15409" y="14145"/>
                    <a:pt x="16160" y="14145"/>
                    <a:pt x="16319" y="13674"/>
                  </a:cubicBezTo>
                  <a:cubicBezTo>
                    <a:pt x="16477" y="13423"/>
                    <a:pt x="16160" y="12732"/>
                    <a:pt x="16477" y="12732"/>
                  </a:cubicBezTo>
                  <a:cubicBezTo>
                    <a:pt x="16932" y="12481"/>
                    <a:pt x="17367" y="12732"/>
                    <a:pt x="17822" y="12952"/>
                  </a:cubicBezTo>
                  <a:cubicBezTo>
                    <a:pt x="18277" y="13423"/>
                    <a:pt x="18277" y="14647"/>
                    <a:pt x="18732" y="14867"/>
                  </a:cubicBezTo>
                  <a:cubicBezTo>
                    <a:pt x="19187" y="15118"/>
                    <a:pt x="19484" y="14145"/>
                    <a:pt x="19938" y="13674"/>
                  </a:cubicBezTo>
                  <a:cubicBezTo>
                    <a:pt x="20710" y="12481"/>
                    <a:pt x="20848" y="12010"/>
                    <a:pt x="21600" y="10566"/>
                  </a:cubicBezTo>
                  <a:cubicBezTo>
                    <a:pt x="21462" y="10315"/>
                    <a:pt x="21303" y="10095"/>
                    <a:pt x="21145" y="9844"/>
                  </a:cubicBezTo>
                  <a:cubicBezTo>
                    <a:pt x="19800" y="7207"/>
                    <a:pt x="18890" y="7207"/>
                    <a:pt x="17070" y="6233"/>
                  </a:cubicBezTo>
                  <a:cubicBezTo>
                    <a:pt x="14499" y="4789"/>
                    <a:pt x="14815" y="488"/>
                    <a:pt x="12541" y="237"/>
                  </a:cubicBezTo>
                  <a:cubicBezTo>
                    <a:pt x="8604" y="17"/>
                    <a:pt x="8604" y="17"/>
                    <a:pt x="8604" y="17"/>
                  </a:cubicBezTo>
                  <a:cubicBezTo>
                    <a:pt x="6804" y="-234"/>
                    <a:pt x="7259" y="2403"/>
                    <a:pt x="5895" y="3376"/>
                  </a:cubicBezTo>
                  <a:cubicBezTo>
                    <a:pt x="4391" y="5040"/>
                    <a:pt x="6349" y="7426"/>
                    <a:pt x="3481" y="7678"/>
                  </a:cubicBezTo>
                  <a:cubicBezTo>
                    <a:pt x="3165" y="7678"/>
                    <a:pt x="2413" y="9373"/>
                    <a:pt x="1958" y="9593"/>
                  </a:cubicBezTo>
                  <a:cubicBezTo>
                    <a:pt x="1365" y="10315"/>
                    <a:pt x="752" y="10566"/>
                    <a:pt x="158" y="1031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4" name="Shape 2469">
              <a:extLst>
                <a:ext uri="{FF2B5EF4-FFF2-40B4-BE49-F238E27FC236}">
                  <a16:creationId xmlns:a16="http://schemas.microsoft.com/office/drawing/2014/main" id="{14BF064D-53BD-B1E6-BA47-7CFF21BE306D}"/>
                </a:ext>
              </a:extLst>
            </p:cNvPr>
            <p:cNvSpPr/>
            <p:nvPr/>
          </p:nvSpPr>
          <p:spPr>
            <a:xfrm>
              <a:off x="2221040" y="3274900"/>
              <a:ext cx="264007" cy="188457"/>
            </a:xfrm>
            <a:custGeom>
              <a:avLst/>
              <a:gdLst/>
              <a:ahLst/>
              <a:cxnLst>
                <a:cxn ang="0">
                  <a:pos x="wd2" y="hd2"/>
                </a:cxn>
                <a:cxn ang="5400000">
                  <a:pos x="wd2" y="hd2"/>
                </a:cxn>
                <a:cxn ang="10800000">
                  <a:pos x="wd2" y="hd2"/>
                </a:cxn>
                <a:cxn ang="16200000">
                  <a:pos x="wd2" y="hd2"/>
                </a:cxn>
              </a:cxnLst>
              <a:rect l="0" t="0" r="r" b="b"/>
              <a:pathLst>
                <a:path w="21459" h="21600" extrusionOk="0">
                  <a:moveTo>
                    <a:pt x="10124" y="2981"/>
                  </a:moveTo>
                  <a:cubicBezTo>
                    <a:pt x="7187" y="0"/>
                    <a:pt x="7187" y="0"/>
                    <a:pt x="7187" y="0"/>
                  </a:cubicBezTo>
                  <a:cubicBezTo>
                    <a:pt x="6775" y="890"/>
                    <a:pt x="6144" y="1781"/>
                    <a:pt x="6144" y="2981"/>
                  </a:cubicBezTo>
                  <a:cubicBezTo>
                    <a:pt x="6364" y="3871"/>
                    <a:pt x="7187" y="4142"/>
                    <a:pt x="7187" y="4761"/>
                  </a:cubicBezTo>
                  <a:cubicBezTo>
                    <a:pt x="7407" y="5032"/>
                    <a:pt x="7187" y="5652"/>
                    <a:pt x="6775" y="5652"/>
                  </a:cubicBezTo>
                  <a:cubicBezTo>
                    <a:pt x="6144" y="6232"/>
                    <a:pt x="5293" y="6232"/>
                    <a:pt x="4689" y="6232"/>
                  </a:cubicBezTo>
                  <a:cubicBezTo>
                    <a:pt x="3427" y="6232"/>
                    <a:pt x="2164" y="5652"/>
                    <a:pt x="1122" y="5923"/>
                  </a:cubicBezTo>
                  <a:cubicBezTo>
                    <a:pt x="682" y="5923"/>
                    <a:pt x="490" y="6813"/>
                    <a:pt x="271" y="7394"/>
                  </a:cubicBezTo>
                  <a:cubicBezTo>
                    <a:pt x="271" y="8284"/>
                    <a:pt x="-141" y="8903"/>
                    <a:pt x="51" y="9484"/>
                  </a:cubicBezTo>
                  <a:cubicBezTo>
                    <a:pt x="271" y="10065"/>
                    <a:pt x="902" y="9484"/>
                    <a:pt x="1314" y="10065"/>
                  </a:cubicBezTo>
                  <a:cubicBezTo>
                    <a:pt x="1725" y="10065"/>
                    <a:pt x="1945" y="10645"/>
                    <a:pt x="1945" y="10955"/>
                  </a:cubicBezTo>
                  <a:cubicBezTo>
                    <a:pt x="1945" y="11535"/>
                    <a:pt x="1533" y="12116"/>
                    <a:pt x="1725" y="12116"/>
                  </a:cubicBezTo>
                  <a:cubicBezTo>
                    <a:pt x="2164" y="12735"/>
                    <a:pt x="2796" y="11845"/>
                    <a:pt x="3207" y="12426"/>
                  </a:cubicBezTo>
                  <a:cubicBezTo>
                    <a:pt x="3619" y="12735"/>
                    <a:pt x="3207" y="14206"/>
                    <a:pt x="3839" y="14516"/>
                  </a:cubicBezTo>
                  <a:cubicBezTo>
                    <a:pt x="4689" y="15097"/>
                    <a:pt x="6364" y="13626"/>
                    <a:pt x="6995" y="14787"/>
                  </a:cubicBezTo>
                  <a:cubicBezTo>
                    <a:pt x="7407" y="15677"/>
                    <a:pt x="4882" y="15987"/>
                    <a:pt x="5101" y="17187"/>
                  </a:cubicBezTo>
                  <a:cubicBezTo>
                    <a:pt x="5101" y="18658"/>
                    <a:pt x="6556" y="18929"/>
                    <a:pt x="7187" y="20129"/>
                  </a:cubicBezTo>
                  <a:cubicBezTo>
                    <a:pt x="7599" y="20400"/>
                    <a:pt x="7599" y="21019"/>
                    <a:pt x="7818" y="21290"/>
                  </a:cubicBezTo>
                  <a:cubicBezTo>
                    <a:pt x="8038" y="21600"/>
                    <a:pt x="8230" y="21600"/>
                    <a:pt x="8450" y="21600"/>
                  </a:cubicBezTo>
                  <a:cubicBezTo>
                    <a:pt x="9273" y="21290"/>
                    <a:pt x="10343" y="21600"/>
                    <a:pt x="10975" y="21019"/>
                  </a:cubicBezTo>
                  <a:cubicBezTo>
                    <a:pt x="11606" y="20129"/>
                    <a:pt x="11606" y="18658"/>
                    <a:pt x="12210" y="18039"/>
                  </a:cubicBezTo>
                  <a:cubicBezTo>
                    <a:pt x="13061" y="17187"/>
                    <a:pt x="14103" y="17187"/>
                    <a:pt x="14954" y="16568"/>
                  </a:cubicBezTo>
                  <a:cubicBezTo>
                    <a:pt x="15146" y="16568"/>
                    <a:pt x="14954" y="15987"/>
                    <a:pt x="14954" y="15677"/>
                  </a:cubicBezTo>
                  <a:cubicBezTo>
                    <a:pt x="15146" y="15097"/>
                    <a:pt x="15586" y="14516"/>
                    <a:pt x="15778" y="14206"/>
                  </a:cubicBezTo>
                  <a:cubicBezTo>
                    <a:pt x="16629" y="13006"/>
                    <a:pt x="17040" y="11535"/>
                    <a:pt x="18083" y="11265"/>
                  </a:cubicBezTo>
                  <a:cubicBezTo>
                    <a:pt x="18934" y="10955"/>
                    <a:pt x="19757" y="12735"/>
                    <a:pt x="20608" y="12426"/>
                  </a:cubicBezTo>
                  <a:cubicBezTo>
                    <a:pt x="21459" y="12116"/>
                    <a:pt x="21239" y="11265"/>
                    <a:pt x="21459" y="10374"/>
                  </a:cubicBezTo>
                  <a:cubicBezTo>
                    <a:pt x="20196" y="9755"/>
                    <a:pt x="18714" y="9174"/>
                    <a:pt x="17040" y="8903"/>
                  </a:cubicBezTo>
                  <a:cubicBezTo>
                    <a:pt x="14735" y="8594"/>
                    <a:pt x="13472" y="6542"/>
                    <a:pt x="11386" y="5923"/>
                  </a:cubicBezTo>
                  <a:cubicBezTo>
                    <a:pt x="10124" y="2981"/>
                    <a:pt x="10124" y="2981"/>
                    <a:pt x="10124" y="298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5" name="Shape 2470">
              <a:extLst>
                <a:ext uri="{FF2B5EF4-FFF2-40B4-BE49-F238E27FC236}">
                  <a16:creationId xmlns:a16="http://schemas.microsoft.com/office/drawing/2014/main" id="{B7DFCF02-4641-051C-4419-C9EAD9CB5FF8}"/>
                </a:ext>
              </a:extLst>
            </p:cNvPr>
            <p:cNvSpPr/>
            <p:nvPr/>
          </p:nvSpPr>
          <p:spPr>
            <a:xfrm>
              <a:off x="2324845" y="3364094"/>
              <a:ext cx="224952" cy="213730"/>
            </a:xfrm>
            <a:custGeom>
              <a:avLst/>
              <a:gdLst/>
              <a:ahLst/>
              <a:cxnLst>
                <a:cxn ang="0">
                  <a:pos x="wd2" y="hd2"/>
                </a:cxn>
                <a:cxn ang="5400000">
                  <a:pos x="wd2" y="hd2"/>
                </a:cxn>
                <a:cxn ang="10800000">
                  <a:pos x="wd2" y="hd2"/>
                </a:cxn>
                <a:cxn ang="16200000">
                  <a:pos x="wd2" y="hd2"/>
                </a:cxn>
              </a:cxnLst>
              <a:rect l="0" t="0" r="r" b="b"/>
              <a:pathLst>
                <a:path w="21396" h="21600" extrusionOk="0">
                  <a:moveTo>
                    <a:pt x="19639" y="784"/>
                  </a:moveTo>
                  <a:cubicBezTo>
                    <a:pt x="18161" y="784"/>
                    <a:pt x="16682" y="511"/>
                    <a:pt x="15236" y="0"/>
                  </a:cubicBezTo>
                  <a:cubicBezTo>
                    <a:pt x="14979" y="784"/>
                    <a:pt x="15236" y="1533"/>
                    <a:pt x="14239" y="1806"/>
                  </a:cubicBezTo>
                  <a:cubicBezTo>
                    <a:pt x="13243" y="2078"/>
                    <a:pt x="12279" y="511"/>
                    <a:pt x="11282" y="784"/>
                  </a:cubicBezTo>
                  <a:cubicBezTo>
                    <a:pt x="10061" y="1022"/>
                    <a:pt x="9579" y="2317"/>
                    <a:pt x="8582" y="3373"/>
                  </a:cubicBezTo>
                  <a:cubicBezTo>
                    <a:pt x="8357" y="3645"/>
                    <a:pt x="7843" y="4156"/>
                    <a:pt x="7618" y="4668"/>
                  </a:cubicBezTo>
                  <a:cubicBezTo>
                    <a:pt x="7618" y="4940"/>
                    <a:pt x="7843" y="5451"/>
                    <a:pt x="7618" y="5451"/>
                  </a:cubicBezTo>
                  <a:cubicBezTo>
                    <a:pt x="6621" y="5996"/>
                    <a:pt x="5400" y="5996"/>
                    <a:pt x="4404" y="6746"/>
                  </a:cubicBezTo>
                  <a:cubicBezTo>
                    <a:pt x="3696" y="7291"/>
                    <a:pt x="3696" y="8585"/>
                    <a:pt x="2957" y="9369"/>
                  </a:cubicBezTo>
                  <a:cubicBezTo>
                    <a:pt x="2218" y="9880"/>
                    <a:pt x="964" y="9608"/>
                    <a:pt x="0" y="9880"/>
                  </a:cubicBezTo>
                  <a:cubicBezTo>
                    <a:pt x="482" y="10664"/>
                    <a:pt x="739" y="11958"/>
                    <a:pt x="1479" y="11958"/>
                  </a:cubicBezTo>
                  <a:cubicBezTo>
                    <a:pt x="2700" y="12231"/>
                    <a:pt x="3921" y="10902"/>
                    <a:pt x="5143" y="10664"/>
                  </a:cubicBezTo>
                  <a:cubicBezTo>
                    <a:pt x="5400" y="10664"/>
                    <a:pt x="5657" y="11447"/>
                    <a:pt x="5400" y="11686"/>
                  </a:cubicBezTo>
                  <a:cubicBezTo>
                    <a:pt x="4918" y="12231"/>
                    <a:pt x="3696" y="12469"/>
                    <a:pt x="3439" y="13253"/>
                  </a:cubicBezTo>
                  <a:cubicBezTo>
                    <a:pt x="3182" y="14037"/>
                    <a:pt x="3921" y="15093"/>
                    <a:pt x="4179" y="16115"/>
                  </a:cubicBezTo>
                  <a:cubicBezTo>
                    <a:pt x="4404" y="16660"/>
                    <a:pt x="5143" y="16660"/>
                    <a:pt x="5400" y="17444"/>
                  </a:cubicBezTo>
                  <a:cubicBezTo>
                    <a:pt x="5400" y="17682"/>
                    <a:pt x="4661" y="17955"/>
                    <a:pt x="4404" y="18466"/>
                  </a:cubicBezTo>
                  <a:cubicBezTo>
                    <a:pt x="4179" y="19249"/>
                    <a:pt x="4179" y="20033"/>
                    <a:pt x="3921" y="20816"/>
                  </a:cubicBezTo>
                  <a:cubicBezTo>
                    <a:pt x="4404" y="20544"/>
                    <a:pt x="4918" y="20816"/>
                    <a:pt x="5143" y="20544"/>
                  </a:cubicBezTo>
                  <a:cubicBezTo>
                    <a:pt x="5882" y="20271"/>
                    <a:pt x="6396" y="19522"/>
                    <a:pt x="7136" y="19249"/>
                  </a:cubicBezTo>
                  <a:cubicBezTo>
                    <a:pt x="8582" y="18738"/>
                    <a:pt x="10061" y="18193"/>
                    <a:pt x="11539" y="18193"/>
                  </a:cubicBezTo>
                  <a:cubicBezTo>
                    <a:pt x="12279" y="18466"/>
                    <a:pt x="12761" y="19522"/>
                    <a:pt x="13500" y="19760"/>
                  </a:cubicBezTo>
                  <a:cubicBezTo>
                    <a:pt x="14721" y="20544"/>
                    <a:pt x="16200" y="21055"/>
                    <a:pt x="17421" y="21600"/>
                  </a:cubicBezTo>
                  <a:cubicBezTo>
                    <a:pt x="17936" y="21055"/>
                    <a:pt x="18643" y="20544"/>
                    <a:pt x="18900" y="20033"/>
                  </a:cubicBezTo>
                  <a:cubicBezTo>
                    <a:pt x="19382" y="19522"/>
                    <a:pt x="18900" y="18738"/>
                    <a:pt x="19382" y="18193"/>
                  </a:cubicBezTo>
                  <a:cubicBezTo>
                    <a:pt x="19896" y="17682"/>
                    <a:pt x="20604" y="17444"/>
                    <a:pt x="21343" y="17171"/>
                  </a:cubicBezTo>
                  <a:cubicBezTo>
                    <a:pt x="20861" y="16387"/>
                    <a:pt x="20379" y="15604"/>
                    <a:pt x="20121" y="14820"/>
                  </a:cubicBezTo>
                  <a:cubicBezTo>
                    <a:pt x="20121" y="14037"/>
                    <a:pt x="20379" y="13526"/>
                    <a:pt x="20604" y="12742"/>
                  </a:cubicBezTo>
                  <a:cubicBezTo>
                    <a:pt x="20861" y="11686"/>
                    <a:pt x="21600" y="10391"/>
                    <a:pt x="21343" y="9608"/>
                  </a:cubicBezTo>
                  <a:cubicBezTo>
                    <a:pt x="20861" y="8824"/>
                    <a:pt x="19382" y="9608"/>
                    <a:pt x="19157" y="9097"/>
                  </a:cubicBezTo>
                  <a:cubicBezTo>
                    <a:pt x="18643" y="8313"/>
                    <a:pt x="19639" y="7291"/>
                    <a:pt x="19639" y="6235"/>
                  </a:cubicBezTo>
                  <a:cubicBezTo>
                    <a:pt x="19639" y="5724"/>
                    <a:pt x="18643" y="5724"/>
                    <a:pt x="18643" y="5213"/>
                  </a:cubicBezTo>
                  <a:cubicBezTo>
                    <a:pt x="18418" y="4940"/>
                    <a:pt x="19157" y="4668"/>
                    <a:pt x="19157" y="4156"/>
                  </a:cubicBezTo>
                  <a:cubicBezTo>
                    <a:pt x="19157" y="3884"/>
                    <a:pt x="18643" y="3373"/>
                    <a:pt x="18643" y="3100"/>
                  </a:cubicBezTo>
                  <a:cubicBezTo>
                    <a:pt x="18900" y="2078"/>
                    <a:pt x="19157" y="1533"/>
                    <a:pt x="19639" y="78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6" name="Shape 2471">
              <a:extLst>
                <a:ext uri="{FF2B5EF4-FFF2-40B4-BE49-F238E27FC236}">
                  <a16:creationId xmlns:a16="http://schemas.microsoft.com/office/drawing/2014/main" id="{9CD6AD3B-E464-7064-5E98-439ACC496D5E}"/>
                </a:ext>
              </a:extLst>
            </p:cNvPr>
            <p:cNvSpPr/>
            <p:nvPr/>
          </p:nvSpPr>
          <p:spPr>
            <a:xfrm>
              <a:off x="2121197" y="3338823"/>
              <a:ext cx="261190" cy="276165"/>
            </a:xfrm>
            <a:custGeom>
              <a:avLst/>
              <a:gdLst/>
              <a:ahLst/>
              <a:cxnLst>
                <a:cxn ang="0">
                  <a:pos x="wd2" y="hd2"/>
                </a:cxn>
                <a:cxn ang="5400000">
                  <a:pos x="wd2" y="hd2"/>
                </a:cxn>
                <a:cxn ang="10800000">
                  <a:pos x="wd2" y="hd2"/>
                </a:cxn>
                <a:cxn ang="16200000">
                  <a:pos x="wd2" y="hd2"/>
                </a:cxn>
              </a:cxnLst>
              <a:rect l="0" t="0" r="r" b="b"/>
              <a:pathLst>
                <a:path w="21470" h="21600" extrusionOk="0">
                  <a:moveTo>
                    <a:pt x="8457" y="0"/>
                  </a:moveTo>
                  <a:cubicBezTo>
                    <a:pt x="8457" y="607"/>
                    <a:pt x="8041" y="1030"/>
                    <a:pt x="8235" y="1426"/>
                  </a:cubicBezTo>
                  <a:cubicBezTo>
                    <a:pt x="8457" y="1822"/>
                    <a:pt x="9095" y="1426"/>
                    <a:pt x="9511" y="1822"/>
                  </a:cubicBezTo>
                  <a:cubicBezTo>
                    <a:pt x="9927" y="1822"/>
                    <a:pt x="10148" y="2218"/>
                    <a:pt x="10148" y="2429"/>
                  </a:cubicBezTo>
                  <a:cubicBezTo>
                    <a:pt x="10148" y="2825"/>
                    <a:pt x="9732" y="3222"/>
                    <a:pt x="9927" y="3222"/>
                  </a:cubicBezTo>
                  <a:cubicBezTo>
                    <a:pt x="10370" y="3644"/>
                    <a:pt x="11008" y="3037"/>
                    <a:pt x="11424" y="3433"/>
                  </a:cubicBezTo>
                  <a:cubicBezTo>
                    <a:pt x="11840" y="3644"/>
                    <a:pt x="11424" y="4647"/>
                    <a:pt x="12062" y="4859"/>
                  </a:cubicBezTo>
                  <a:cubicBezTo>
                    <a:pt x="12921" y="5255"/>
                    <a:pt x="14613" y="4251"/>
                    <a:pt x="15250" y="5044"/>
                  </a:cubicBezTo>
                  <a:cubicBezTo>
                    <a:pt x="15666" y="5651"/>
                    <a:pt x="13115" y="5862"/>
                    <a:pt x="13337" y="6681"/>
                  </a:cubicBezTo>
                  <a:cubicBezTo>
                    <a:pt x="13337" y="7684"/>
                    <a:pt x="14807" y="7869"/>
                    <a:pt x="15444" y="8688"/>
                  </a:cubicBezTo>
                  <a:cubicBezTo>
                    <a:pt x="15860" y="8872"/>
                    <a:pt x="15860" y="9295"/>
                    <a:pt x="16082" y="9480"/>
                  </a:cubicBezTo>
                  <a:cubicBezTo>
                    <a:pt x="16304" y="9691"/>
                    <a:pt x="16498" y="9691"/>
                    <a:pt x="16720" y="9691"/>
                  </a:cubicBezTo>
                  <a:cubicBezTo>
                    <a:pt x="17136" y="10298"/>
                    <a:pt x="17358" y="11302"/>
                    <a:pt x="17995" y="11302"/>
                  </a:cubicBezTo>
                  <a:cubicBezTo>
                    <a:pt x="19049" y="11513"/>
                    <a:pt x="20103" y="10483"/>
                    <a:pt x="21156" y="10298"/>
                  </a:cubicBezTo>
                  <a:cubicBezTo>
                    <a:pt x="21378" y="10298"/>
                    <a:pt x="21600" y="10906"/>
                    <a:pt x="21378" y="11090"/>
                  </a:cubicBezTo>
                  <a:cubicBezTo>
                    <a:pt x="20962" y="11513"/>
                    <a:pt x="19909" y="11698"/>
                    <a:pt x="19687" y="12305"/>
                  </a:cubicBezTo>
                  <a:cubicBezTo>
                    <a:pt x="19465" y="12912"/>
                    <a:pt x="20103" y="13731"/>
                    <a:pt x="20325" y="14523"/>
                  </a:cubicBezTo>
                  <a:cubicBezTo>
                    <a:pt x="20519" y="14946"/>
                    <a:pt x="21156" y="14946"/>
                    <a:pt x="21378" y="15553"/>
                  </a:cubicBezTo>
                  <a:cubicBezTo>
                    <a:pt x="21378" y="15738"/>
                    <a:pt x="20740" y="15949"/>
                    <a:pt x="20519" y="16345"/>
                  </a:cubicBezTo>
                  <a:cubicBezTo>
                    <a:pt x="20325" y="16953"/>
                    <a:pt x="20325" y="17560"/>
                    <a:pt x="20103" y="18167"/>
                  </a:cubicBezTo>
                  <a:cubicBezTo>
                    <a:pt x="18827" y="18563"/>
                    <a:pt x="17552" y="18959"/>
                    <a:pt x="16304" y="19382"/>
                  </a:cubicBezTo>
                  <a:cubicBezTo>
                    <a:pt x="15444" y="19567"/>
                    <a:pt x="14613" y="19382"/>
                    <a:pt x="13753" y="19989"/>
                  </a:cubicBezTo>
                  <a:cubicBezTo>
                    <a:pt x="13337" y="20174"/>
                    <a:pt x="13531" y="21389"/>
                    <a:pt x="12921" y="21600"/>
                  </a:cubicBezTo>
                  <a:cubicBezTo>
                    <a:pt x="12283" y="21600"/>
                    <a:pt x="12283" y="20597"/>
                    <a:pt x="11840" y="20385"/>
                  </a:cubicBezTo>
                  <a:cubicBezTo>
                    <a:pt x="10370" y="18959"/>
                    <a:pt x="8679" y="18167"/>
                    <a:pt x="7182" y="16741"/>
                  </a:cubicBezTo>
                  <a:cubicBezTo>
                    <a:pt x="6987" y="16556"/>
                    <a:pt x="7625" y="16134"/>
                    <a:pt x="7403" y="15949"/>
                  </a:cubicBezTo>
                  <a:cubicBezTo>
                    <a:pt x="6544" y="15131"/>
                    <a:pt x="5490" y="14734"/>
                    <a:pt x="4436" y="13916"/>
                  </a:cubicBezTo>
                  <a:cubicBezTo>
                    <a:pt x="2523" y="12516"/>
                    <a:pt x="2523" y="12516"/>
                    <a:pt x="2523" y="12516"/>
                  </a:cubicBezTo>
                  <a:cubicBezTo>
                    <a:pt x="1885" y="11302"/>
                    <a:pt x="1885" y="11302"/>
                    <a:pt x="1885" y="11302"/>
                  </a:cubicBezTo>
                  <a:cubicBezTo>
                    <a:pt x="0" y="10906"/>
                    <a:pt x="0" y="10906"/>
                    <a:pt x="0" y="10906"/>
                  </a:cubicBezTo>
                  <a:cubicBezTo>
                    <a:pt x="0" y="9480"/>
                    <a:pt x="0" y="9480"/>
                    <a:pt x="0" y="9480"/>
                  </a:cubicBezTo>
                  <a:cubicBezTo>
                    <a:pt x="610" y="9480"/>
                    <a:pt x="1248" y="9295"/>
                    <a:pt x="1691" y="9295"/>
                  </a:cubicBezTo>
                  <a:cubicBezTo>
                    <a:pt x="1470" y="8872"/>
                    <a:pt x="610" y="8291"/>
                    <a:pt x="1054" y="8291"/>
                  </a:cubicBezTo>
                  <a:cubicBezTo>
                    <a:pt x="2107" y="7869"/>
                    <a:pt x="3161" y="8688"/>
                    <a:pt x="4021" y="8476"/>
                  </a:cubicBezTo>
                  <a:cubicBezTo>
                    <a:pt x="4436" y="8476"/>
                    <a:pt x="4215" y="7869"/>
                    <a:pt x="4436" y="7684"/>
                  </a:cubicBezTo>
                  <a:cubicBezTo>
                    <a:pt x="5074" y="7473"/>
                    <a:pt x="6128" y="7869"/>
                    <a:pt x="6766" y="7262"/>
                  </a:cubicBezTo>
                  <a:cubicBezTo>
                    <a:pt x="7182" y="7077"/>
                    <a:pt x="6350" y="6469"/>
                    <a:pt x="6350" y="5862"/>
                  </a:cubicBezTo>
                  <a:cubicBezTo>
                    <a:pt x="6544" y="5651"/>
                    <a:pt x="6987" y="5466"/>
                    <a:pt x="7182" y="5255"/>
                  </a:cubicBezTo>
                  <a:cubicBezTo>
                    <a:pt x="7182" y="4859"/>
                    <a:pt x="7182" y="4251"/>
                    <a:pt x="6987" y="4436"/>
                  </a:cubicBezTo>
                  <a:cubicBezTo>
                    <a:pt x="5934" y="4436"/>
                    <a:pt x="5074" y="5466"/>
                    <a:pt x="4021" y="5651"/>
                  </a:cubicBezTo>
                  <a:cubicBezTo>
                    <a:pt x="3799" y="5651"/>
                    <a:pt x="4436" y="5044"/>
                    <a:pt x="4436" y="4647"/>
                  </a:cubicBezTo>
                  <a:cubicBezTo>
                    <a:pt x="4436" y="4251"/>
                    <a:pt x="4436" y="3829"/>
                    <a:pt x="4215" y="3644"/>
                  </a:cubicBezTo>
                  <a:cubicBezTo>
                    <a:pt x="4021" y="3037"/>
                    <a:pt x="3383" y="2825"/>
                    <a:pt x="3161" y="2218"/>
                  </a:cubicBezTo>
                  <a:cubicBezTo>
                    <a:pt x="2939" y="2033"/>
                    <a:pt x="2939" y="1822"/>
                    <a:pt x="2939" y="1426"/>
                  </a:cubicBezTo>
                  <a:cubicBezTo>
                    <a:pt x="3577" y="1215"/>
                    <a:pt x="4215" y="1215"/>
                    <a:pt x="4852" y="819"/>
                  </a:cubicBezTo>
                  <a:cubicBezTo>
                    <a:pt x="5074" y="819"/>
                    <a:pt x="5074" y="211"/>
                    <a:pt x="5296" y="211"/>
                  </a:cubicBezTo>
                  <a:cubicBezTo>
                    <a:pt x="6350" y="0"/>
                    <a:pt x="7403" y="211"/>
                    <a:pt x="845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7" name="Shape 2472">
              <a:extLst>
                <a:ext uri="{FF2B5EF4-FFF2-40B4-BE49-F238E27FC236}">
                  <a16:creationId xmlns:a16="http://schemas.microsoft.com/office/drawing/2014/main" id="{514DA13B-4336-7075-446E-4B10DA43938B}"/>
                </a:ext>
              </a:extLst>
            </p:cNvPr>
            <p:cNvSpPr/>
            <p:nvPr/>
          </p:nvSpPr>
          <p:spPr>
            <a:xfrm>
              <a:off x="1896740" y="3289766"/>
              <a:ext cx="140880" cy="178051"/>
            </a:xfrm>
            <a:custGeom>
              <a:avLst/>
              <a:gdLst/>
              <a:ahLst/>
              <a:cxnLst>
                <a:cxn ang="0">
                  <a:pos x="wd2" y="hd2"/>
                </a:cxn>
                <a:cxn ang="5400000">
                  <a:pos x="wd2" y="hd2"/>
                </a:cxn>
                <a:cxn ang="10800000">
                  <a:pos x="wd2" y="hd2"/>
                </a:cxn>
                <a:cxn ang="16200000">
                  <a:pos x="wd2" y="hd2"/>
                </a:cxn>
              </a:cxnLst>
              <a:rect l="0" t="0" r="r" b="b"/>
              <a:pathLst>
                <a:path w="21600" h="21600" extrusionOk="0">
                  <a:moveTo>
                    <a:pt x="4320" y="0"/>
                  </a:moveTo>
                  <a:cubicBezTo>
                    <a:pt x="5503" y="328"/>
                    <a:pt x="6686" y="615"/>
                    <a:pt x="8229" y="943"/>
                  </a:cubicBezTo>
                  <a:cubicBezTo>
                    <a:pt x="8640" y="943"/>
                    <a:pt x="9411" y="615"/>
                    <a:pt x="9823" y="943"/>
                  </a:cubicBezTo>
                  <a:cubicBezTo>
                    <a:pt x="10594" y="943"/>
                    <a:pt x="10594" y="1557"/>
                    <a:pt x="11417" y="1885"/>
                  </a:cubicBezTo>
                  <a:cubicBezTo>
                    <a:pt x="12189" y="2213"/>
                    <a:pt x="13731" y="1557"/>
                    <a:pt x="14143" y="2500"/>
                  </a:cubicBezTo>
                  <a:cubicBezTo>
                    <a:pt x="14554" y="2828"/>
                    <a:pt x="12549" y="2828"/>
                    <a:pt x="12189" y="3443"/>
                  </a:cubicBezTo>
                  <a:cubicBezTo>
                    <a:pt x="12189" y="5328"/>
                    <a:pt x="12960" y="6886"/>
                    <a:pt x="13731" y="8443"/>
                  </a:cubicBezTo>
                  <a:cubicBezTo>
                    <a:pt x="14143" y="8771"/>
                    <a:pt x="14914" y="8156"/>
                    <a:pt x="15326" y="8443"/>
                  </a:cubicBezTo>
                  <a:cubicBezTo>
                    <a:pt x="16509" y="9386"/>
                    <a:pt x="16509" y="10657"/>
                    <a:pt x="17691" y="11599"/>
                  </a:cubicBezTo>
                  <a:cubicBezTo>
                    <a:pt x="18051" y="11886"/>
                    <a:pt x="18874" y="11886"/>
                    <a:pt x="19234" y="12214"/>
                  </a:cubicBezTo>
                  <a:cubicBezTo>
                    <a:pt x="20829" y="14714"/>
                    <a:pt x="20829" y="14714"/>
                    <a:pt x="20829" y="14714"/>
                  </a:cubicBezTo>
                  <a:cubicBezTo>
                    <a:pt x="21189" y="17870"/>
                    <a:pt x="21189" y="17870"/>
                    <a:pt x="21189" y="17870"/>
                  </a:cubicBezTo>
                  <a:cubicBezTo>
                    <a:pt x="21189" y="18813"/>
                    <a:pt x="21600" y="19428"/>
                    <a:pt x="21600" y="20370"/>
                  </a:cubicBezTo>
                  <a:cubicBezTo>
                    <a:pt x="21600" y="20657"/>
                    <a:pt x="20829" y="20985"/>
                    <a:pt x="20417" y="21600"/>
                  </a:cubicBezTo>
                  <a:cubicBezTo>
                    <a:pt x="19234" y="20985"/>
                    <a:pt x="18051" y="20370"/>
                    <a:pt x="16920" y="19715"/>
                  </a:cubicBezTo>
                  <a:cubicBezTo>
                    <a:pt x="15326" y="18813"/>
                    <a:pt x="14554" y="17542"/>
                    <a:pt x="12960" y="16928"/>
                  </a:cubicBezTo>
                  <a:cubicBezTo>
                    <a:pt x="9051" y="15985"/>
                    <a:pt x="5091" y="16313"/>
                    <a:pt x="1183" y="15985"/>
                  </a:cubicBezTo>
                  <a:cubicBezTo>
                    <a:pt x="1954" y="15042"/>
                    <a:pt x="3137" y="14099"/>
                    <a:pt x="3137" y="13157"/>
                  </a:cubicBezTo>
                  <a:cubicBezTo>
                    <a:pt x="3549" y="12542"/>
                    <a:pt x="3137" y="11599"/>
                    <a:pt x="2777" y="10943"/>
                  </a:cubicBezTo>
                  <a:cubicBezTo>
                    <a:pt x="1954" y="10042"/>
                    <a:pt x="0" y="9386"/>
                    <a:pt x="0" y="8443"/>
                  </a:cubicBezTo>
                  <a:cubicBezTo>
                    <a:pt x="0" y="7828"/>
                    <a:pt x="1954" y="8443"/>
                    <a:pt x="2777" y="8156"/>
                  </a:cubicBezTo>
                  <a:cubicBezTo>
                    <a:pt x="3549" y="7828"/>
                    <a:pt x="4320" y="7214"/>
                    <a:pt x="4320" y="6599"/>
                  </a:cubicBezTo>
                  <a:cubicBezTo>
                    <a:pt x="4731" y="5656"/>
                    <a:pt x="3549" y="4713"/>
                    <a:pt x="3137" y="3771"/>
                  </a:cubicBezTo>
                  <a:cubicBezTo>
                    <a:pt x="3137" y="2500"/>
                    <a:pt x="3909" y="1271"/>
                    <a:pt x="4320"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8" name="Shape 2473">
              <a:extLst>
                <a:ext uri="{FF2B5EF4-FFF2-40B4-BE49-F238E27FC236}">
                  <a16:creationId xmlns:a16="http://schemas.microsoft.com/office/drawing/2014/main" id="{0C839A4B-EE3B-E15F-9BFF-86A96372C6BA}"/>
                </a:ext>
              </a:extLst>
            </p:cNvPr>
            <p:cNvSpPr/>
            <p:nvPr/>
          </p:nvSpPr>
          <p:spPr>
            <a:xfrm>
              <a:off x="2030524" y="3430092"/>
              <a:ext cx="143852" cy="132868"/>
            </a:xfrm>
            <a:custGeom>
              <a:avLst/>
              <a:gdLst/>
              <a:ahLst/>
              <a:cxnLst>
                <a:cxn ang="0">
                  <a:pos x="wd2" y="hd2"/>
                </a:cxn>
                <a:cxn ang="5400000">
                  <a:pos x="wd2" y="hd2"/>
                </a:cxn>
                <a:cxn ang="10800000">
                  <a:pos x="wd2" y="hd2"/>
                </a:cxn>
                <a:cxn ang="16200000">
                  <a:pos x="wd2" y="hd2"/>
                </a:cxn>
              </a:cxnLst>
              <a:rect l="0" t="0" r="r" b="b"/>
              <a:pathLst>
                <a:path w="21600" h="21505" extrusionOk="0">
                  <a:moveTo>
                    <a:pt x="757" y="1156"/>
                  </a:moveTo>
                  <a:cubicBezTo>
                    <a:pt x="1564" y="1537"/>
                    <a:pt x="2725" y="1156"/>
                    <a:pt x="3482" y="1973"/>
                  </a:cubicBezTo>
                  <a:cubicBezTo>
                    <a:pt x="3886" y="1973"/>
                    <a:pt x="3079" y="2789"/>
                    <a:pt x="3482" y="3605"/>
                  </a:cubicBezTo>
                  <a:cubicBezTo>
                    <a:pt x="3482" y="4040"/>
                    <a:pt x="4239" y="4040"/>
                    <a:pt x="4643" y="4040"/>
                  </a:cubicBezTo>
                  <a:cubicBezTo>
                    <a:pt x="5804" y="4040"/>
                    <a:pt x="6964" y="3605"/>
                    <a:pt x="7318" y="2789"/>
                  </a:cubicBezTo>
                  <a:cubicBezTo>
                    <a:pt x="7721" y="2408"/>
                    <a:pt x="6964" y="1156"/>
                    <a:pt x="7721" y="286"/>
                  </a:cubicBezTo>
                  <a:cubicBezTo>
                    <a:pt x="7721" y="-95"/>
                    <a:pt x="8479" y="-95"/>
                    <a:pt x="8882" y="286"/>
                  </a:cubicBezTo>
                  <a:cubicBezTo>
                    <a:pt x="10043" y="1156"/>
                    <a:pt x="10447" y="2408"/>
                    <a:pt x="11204" y="3605"/>
                  </a:cubicBezTo>
                  <a:cubicBezTo>
                    <a:pt x="11557" y="4040"/>
                    <a:pt x="11557" y="4856"/>
                    <a:pt x="11961" y="4856"/>
                  </a:cubicBezTo>
                  <a:cubicBezTo>
                    <a:pt x="12364" y="4856"/>
                    <a:pt x="13121" y="4856"/>
                    <a:pt x="13525" y="4856"/>
                  </a:cubicBezTo>
                  <a:cubicBezTo>
                    <a:pt x="13525" y="7794"/>
                    <a:pt x="13525" y="7794"/>
                    <a:pt x="13525" y="7794"/>
                  </a:cubicBezTo>
                  <a:cubicBezTo>
                    <a:pt x="16957" y="8610"/>
                    <a:pt x="16957" y="8610"/>
                    <a:pt x="16957" y="8610"/>
                  </a:cubicBezTo>
                  <a:cubicBezTo>
                    <a:pt x="18118" y="11113"/>
                    <a:pt x="18118" y="11113"/>
                    <a:pt x="18118" y="11113"/>
                  </a:cubicBezTo>
                  <a:cubicBezTo>
                    <a:pt x="21600" y="13997"/>
                    <a:pt x="21600" y="13997"/>
                    <a:pt x="21600" y="13997"/>
                  </a:cubicBezTo>
                  <a:cubicBezTo>
                    <a:pt x="21600" y="14432"/>
                    <a:pt x="21600" y="14432"/>
                    <a:pt x="21600" y="14432"/>
                  </a:cubicBezTo>
                  <a:cubicBezTo>
                    <a:pt x="21196" y="14867"/>
                    <a:pt x="20843" y="15683"/>
                    <a:pt x="20439" y="16119"/>
                  </a:cubicBezTo>
                  <a:cubicBezTo>
                    <a:pt x="19279" y="16499"/>
                    <a:pt x="18118" y="16499"/>
                    <a:pt x="16957" y="15683"/>
                  </a:cubicBezTo>
                  <a:cubicBezTo>
                    <a:pt x="16200" y="15683"/>
                    <a:pt x="16200" y="13997"/>
                    <a:pt x="15443" y="13616"/>
                  </a:cubicBezTo>
                  <a:cubicBezTo>
                    <a:pt x="14636" y="13181"/>
                    <a:pt x="13525" y="13181"/>
                    <a:pt x="12364" y="13616"/>
                  </a:cubicBezTo>
                  <a:cubicBezTo>
                    <a:pt x="11961" y="13997"/>
                    <a:pt x="11557" y="15248"/>
                    <a:pt x="11961" y="16119"/>
                  </a:cubicBezTo>
                  <a:cubicBezTo>
                    <a:pt x="12364" y="17370"/>
                    <a:pt x="14282" y="18186"/>
                    <a:pt x="13879" y="19437"/>
                  </a:cubicBezTo>
                  <a:cubicBezTo>
                    <a:pt x="13525" y="20689"/>
                    <a:pt x="11961" y="21070"/>
                    <a:pt x="10800" y="21505"/>
                  </a:cubicBezTo>
                  <a:cubicBezTo>
                    <a:pt x="10447" y="21505"/>
                    <a:pt x="9639" y="21505"/>
                    <a:pt x="9286" y="21070"/>
                  </a:cubicBezTo>
                  <a:cubicBezTo>
                    <a:pt x="8882" y="20254"/>
                    <a:pt x="9639" y="18186"/>
                    <a:pt x="8479" y="17751"/>
                  </a:cubicBezTo>
                  <a:cubicBezTo>
                    <a:pt x="7721" y="16935"/>
                    <a:pt x="6157" y="17370"/>
                    <a:pt x="5400" y="17751"/>
                  </a:cubicBezTo>
                  <a:cubicBezTo>
                    <a:pt x="4239" y="18186"/>
                    <a:pt x="4239" y="19818"/>
                    <a:pt x="3482" y="20254"/>
                  </a:cubicBezTo>
                  <a:cubicBezTo>
                    <a:pt x="2725" y="20689"/>
                    <a:pt x="1564" y="20689"/>
                    <a:pt x="1161" y="20254"/>
                  </a:cubicBezTo>
                  <a:cubicBezTo>
                    <a:pt x="404" y="19002"/>
                    <a:pt x="757" y="17370"/>
                    <a:pt x="757" y="16119"/>
                  </a:cubicBezTo>
                  <a:cubicBezTo>
                    <a:pt x="757" y="14867"/>
                    <a:pt x="1161" y="13616"/>
                    <a:pt x="1161" y="12364"/>
                  </a:cubicBezTo>
                  <a:cubicBezTo>
                    <a:pt x="1161" y="11929"/>
                    <a:pt x="757" y="11548"/>
                    <a:pt x="757" y="11113"/>
                  </a:cubicBezTo>
                  <a:cubicBezTo>
                    <a:pt x="757" y="10678"/>
                    <a:pt x="1564" y="10678"/>
                    <a:pt x="1918" y="10297"/>
                  </a:cubicBezTo>
                  <a:cubicBezTo>
                    <a:pt x="1918" y="9426"/>
                    <a:pt x="1918" y="8610"/>
                    <a:pt x="1564" y="7794"/>
                  </a:cubicBezTo>
                  <a:cubicBezTo>
                    <a:pt x="1161" y="6924"/>
                    <a:pt x="404" y="6543"/>
                    <a:pt x="0" y="6108"/>
                  </a:cubicBezTo>
                  <a:cubicBezTo>
                    <a:pt x="404" y="5291"/>
                    <a:pt x="1161" y="4856"/>
                    <a:pt x="1161" y="4475"/>
                  </a:cubicBezTo>
                  <a:cubicBezTo>
                    <a:pt x="1161" y="3224"/>
                    <a:pt x="757" y="2408"/>
                    <a:pt x="757" y="115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9" name="Shape 2474">
              <a:extLst>
                <a:ext uri="{FF2B5EF4-FFF2-40B4-BE49-F238E27FC236}">
                  <a16:creationId xmlns:a16="http://schemas.microsoft.com/office/drawing/2014/main" id="{91926AC3-4ABF-D884-C2AC-290BC40C398C}"/>
                </a:ext>
              </a:extLst>
            </p:cNvPr>
            <p:cNvSpPr/>
            <p:nvPr/>
          </p:nvSpPr>
          <p:spPr>
            <a:xfrm>
              <a:off x="2023090" y="3338823"/>
              <a:ext cx="185474" cy="121157"/>
            </a:xfrm>
            <a:custGeom>
              <a:avLst/>
              <a:gdLst/>
              <a:ahLst/>
              <a:cxnLst>
                <a:cxn ang="0">
                  <a:pos x="wd2" y="hd2"/>
                </a:cxn>
                <a:cxn ang="5400000">
                  <a:pos x="wd2" y="hd2"/>
                </a:cxn>
                <a:cxn ang="10800000">
                  <a:pos x="wd2" y="hd2"/>
                </a:cxn>
                <a:cxn ang="16200000">
                  <a:pos x="wd2" y="hd2"/>
                </a:cxn>
              </a:cxnLst>
              <a:rect l="0" t="0" r="r" b="b"/>
              <a:pathLst>
                <a:path w="21600" h="21267" extrusionOk="0">
                  <a:moveTo>
                    <a:pt x="13824" y="20717"/>
                  </a:moveTo>
                  <a:cubicBezTo>
                    <a:pt x="13510" y="19775"/>
                    <a:pt x="12292" y="18481"/>
                    <a:pt x="12921" y="18481"/>
                  </a:cubicBezTo>
                  <a:cubicBezTo>
                    <a:pt x="14413" y="17539"/>
                    <a:pt x="15905" y="19363"/>
                    <a:pt x="17123" y="18893"/>
                  </a:cubicBezTo>
                  <a:cubicBezTo>
                    <a:pt x="17712" y="18893"/>
                    <a:pt x="17398" y="17539"/>
                    <a:pt x="17712" y="17127"/>
                  </a:cubicBezTo>
                  <a:cubicBezTo>
                    <a:pt x="18615" y="16656"/>
                    <a:pt x="20108" y="17539"/>
                    <a:pt x="21011" y="16185"/>
                  </a:cubicBezTo>
                  <a:cubicBezTo>
                    <a:pt x="21600" y="15773"/>
                    <a:pt x="20422" y="14420"/>
                    <a:pt x="20422" y="13066"/>
                  </a:cubicBezTo>
                  <a:cubicBezTo>
                    <a:pt x="20697" y="12595"/>
                    <a:pt x="21325" y="12183"/>
                    <a:pt x="21600" y="11712"/>
                  </a:cubicBezTo>
                  <a:cubicBezTo>
                    <a:pt x="21600" y="10829"/>
                    <a:pt x="21600" y="9476"/>
                    <a:pt x="21325" y="9888"/>
                  </a:cubicBezTo>
                  <a:cubicBezTo>
                    <a:pt x="19833" y="9888"/>
                    <a:pt x="18615" y="12183"/>
                    <a:pt x="17123" y="12595"/>
                  </a:cubicBezTo>
                  <a:cubicBezTo>
                    <a:pt x="16809" y="12595"/>
                    <a:pt x="17712" y="11241"/>
                    <a:pt x="17712" y="10359"/>
                  </a:cubicBezTo>
                  <a:cubicBezTo>
                    <a:pt x="17712" y="9476"/>
                    <a:pt x="17712" y="8534"/>
                    <a:pt x="17398" y="8122"/>
                  </a:cubicBezTo>
                  <a:cubicBezTo>
                    <a:pt x="17123" y="6768"/>
                    <a:pt x="16220" y="6298"/>
                    <a:pt x="15905" y="4944"/>
                  </a:cubicBezTo>
                  <a:cubicBezTo>
                    <a:pt x="15591" y="4532"/>
                    <a:pt x="15591" y="4061"/>
                    <a:pt x="15591" y="3178"/>
                  </a:cubicBezTo>
                  <a:cubicBezTo>
                    <a:pt x="15316" y="2295"/>
                    <a:pt x="15591" y="0"/>
                    <a:pt x="15002" y="0"/>
                  </a:cubicBezTo>
                  <a:cubicBezTo>
                    <a:pt x="14099" y="0"/>
                    <a:pt x="13824" y="2295"/>
                    <a:pt x="12921" y="2707"/>
                  </a:cubicBezTo>
                  <a:cubicBezTo>
                    <a:pt x="12292" y="3178"/>
                    <a:pt x="11703" y="1825"/>
                    <a:pt x="11428" y="1354"/>
                  </a:cubicBezTo>
                  <a:cubicBezTo>
                    <a:pt x="10800" y="1354"/>
                    <a:pt x="9897" y="1825"/>
                    <a:pt x="9622" y="1354"/>
                  </a:cubicBezTo>
                  <a:cubicBezTo>
                    <a:pt x="8719" y="1354"/>
                    <a:pt x="8129" y="471"/>
                    <a:pt x="7501" y="0"/>
                  </a:cubicBezTo>
                  <a:cubicBezTo>
                    <a:pt x="7226" y="0"/>
                    <a:pt x="6912" y="471"/>
                    <a:pt x="6912" y="942"/>
                  </a:cubicBezTo>
                  <a:cubicBezTo>
                    <a:pt x="6912" y="2295"/>
                    <a:pt x="7815" y="4061"/>
                    <a:pt x="7815" y="5415"/>
                  </a:cubicBezTo>
                  <a:cubicBezTo>
                    <a:pt x="8129" y="6298"/>
                    <a:pt x="8129" y="7651"/>
                    <a:pt x="8129" y="8122"/>
                  </a:cubicBezTo>
                  <a:cubicBezTo>
                    <a:pt x="7501" y="9476"/>
                    <a:pt x="7226" y="10829"/>
                    <a:pt x="6323" y="11241"/>
                  </a:cubicBezTo>
                  <a:cubicBezTo>
                    <a:pt x="5695" y="11712"/>
                    <a:pt x="4791" y="11712"/>
                    <a:pt x="4516" y="10829"/>
                  </a:cubicBezTo>
                  <a:cubicBezTo>
                    <a:pt x="3613" y="10359"/>
                    <a:pt x="3299" y="8122"/>
                    <a:pt x="2396" y="7651"/>
                  </a:cubicBezTo>
                  <a:cubicBezTo>
                    <a:pt x="1492" y="7180"/>
                    <a:pt x="903" y="8534"/>
                    <a:pt x="0" y="9005"/>
                  </a:cubicBezTo>
                  <a:cubicBezTo>
                    <a:pt x="1217" y="12595"/>
                    <a:pt x="1217" y="12595"/>
                    <a:pt x="1217" y="12595"/>
                  </a:cubicBezTo>
                  <a:cubicBezTo>
                    <a:pt x="1492" y="17127"/>
                    <a:pt x="1492" y="17127"/>
                    <a:pt x="1492" y="17127"/>
                  </a:cubicBezTo>
                  <a:cubicBezTo>
                    <a:pt x="2121" y="17539"/>
                    <a:pt x="3024" y="17127"/>
                    <a:pt x="3613" y="18010"/>
                  </a:cubicBezTo>
                  <a:cubicBezTo>
                    <a:pt x="3927" y="18010"/>
                    <a:pt x="3299" y="18893"/>
                    <a:pt x="3613" y="19775"/>
                  </a:cubicBezTo>
                  <a:cubicBezTo>
                    <a:pt x="3613" y="20246"/>
                    <a:pt x="4202" y="20246"/>
                    <a:pt x="4516" y="20246"/>
                  </a:cubicBezTo>
                  <a:cubicBezTo>
                    <a:pt x="5420" y="20246"/>
                    <a:pt x="6323" y="19775"/>
                    <a:pt x="6598" y="18893"/>
                  </a:cubicBezTo>
                  <a:cubicBezTo>
                    <a:pt x="6912" y="18481"/>
                    <a:pt x="6323" y="17127"/>
                    <a:pt x="6912" y="16185"/>
                  </a:cubicBezTo>
                  <a:cubicBezTo>
                    <a:pt x="6912" y="15773"/>
                    <a:pt x="7501" y="15773"/>
                    <a:pt x="7815" y="16185"/>
                  </a:cubicBezTo>
                  <a:cubicBezTo>
                    <a:pt x="8719" y="17127"/>
                    <a:pt x="9033" y="18481"/>
                    <a:pt x="9622" y="19775"/>
                  </a:cubicBezTo>
                  <a:cubicBezTo>
                    <a:pt x="9897" y="20246"/>
                    <a:pt x="9897" y="21129"/>
                    <a:pt x="10211" y="21129"/>
                  </a:cubicBezTo>
                  <a:cubicBezTo>
                    <a:pt x="11428" y="21600"/>
                    <a:pt x="12607" y="20717"/>
                    <a:pt x="13824" y="2071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0" name="Shape 2475">
              <a:extLst>
                <a:ext uri="{FF2B5EF4-FFF2-40B4-BE49-F238E27FC236}">
                  <a16:creationId xmlns:a16="http://schemas.microsoft.com/office/drawing/2014/main" id="{BA9E58C1-0CAD-CFFA-06A6-FDEA88E5BE81}"/>
                </a:ext>
              </a:extLst>
            </p:cNvPr>
            <p:cNvSpPr/>
            <p:nvPr/>
          </p:nvSpPr>
          <p:spPr>
            <a:xfrm>
              <a:off x="1745119" y="3406885"/>
              <a:ext cx="176141" cy="105380"/>
            </a:xfrm>
            <a:custGeom>
              <a:avLst/>
              <a:gdLst/>
              <a:ahLst/>
              <a:cxnLst>
                <a:cxn ang="0">
                  <a:pos x="wd2" y="hd2"/>
                </a:cxn>
                <a:cxn ang="5400000">
                  <a:pos x="wd2" y="hd2"/>
                </a:cxn>
                <a:cxn ang="10800000">
                  <a:pos x="wd2" y="hd2"/>
                </a:cxn>
                <a:cxn ang="16200000">
                  <a:pos x="wd2" y="hd2"/>
                </a:cxn>
              </a:cxnLst>
              <a:rect l="0" t="0" r="r" b="b"/>
              <a:pathLst>
                <a:path w="21369" h="20478" extrusionOk="0">
                  <a:moveTo>
                    <a:pt x="19428" y="5761"/>
                  </a:moveTo>
                  <a:cubicBezTo>
                    <a:pt x="19428" y="6221"/>
                    <a:pt x="19428" y="6221"/>
                    <a:pt x="19756" y="6746"/>
                  </a:cubicBezTo>
                  <a:cubicBezTo>
                    <a:pt x="19756" y="7731"/>
                    <a:pt x="20698" y="7271"/>
                    <a:pt x="20698" y="8256"/>
                  </a:cubicBezTo>
                  <a:cubicBezTo>
                    <a:pt x="20985" y="9241"/>
                    <a:pt x="20698" y="10751"/>
                    <a:pt x="20698" y="12261"/>
                  </a:cubicBezTo>
                  <a:cubicBezTo>
                    <a:pt x="20698" y="13246"/>
                    <a:pt x="21600" y="14231"/>
                    <a:pt x="21313" y="15281"/>
                  </a:cubicBezTo>
                  <a:cubicBezTo>
                    <a:pt x="20985" y="16266"/>
                    <a:pt x="20043" y="16266"/>
                    <a:pt x="19756" y="17251"/>
                  </a:cubicBezTo>
                  <a:cubicBezTo>
                    <a:pt x="19100" y="17776"/>
                    <a:pt x="19756" y="19811"/>
                    <a:pt x="18813" y="20271"/>
                  </a:cubicBezTo>
                  <a:cubicBezTo>
                    <a:pt x="17870" y="20796"/>
                    <a:pt x="16600" y="20271"/>
                    <a:pt x="15370" y="19286"/>
                  </a:cubicBezTo>
                  <a:cubicBezTo>
                    <a:pt x="14714" y="19286"/>
                    <a:pt x="14427" y="17776"/>
                    <a:pt x="13772" y="17776"/>
                  </a:cubicBezTo>
                  <a:cubicBezTo>
                    <a:pt x="13157" y="17251"/>
                    <a:pt x="12214" y="17776"/>
                    <a:pt x="11599" y="17776"/>
                  </a:cubicBezTo>
                  <a:cubicBezTo>
                    <a:pt x="11271" y="16791"/>
                    <a:pt x="10984" y="15741"/>
                    <a:pt x="10657" y="15281"/>
                  </a:cubicBezTo>
                  <a:cubicBezTo>
                    <a:pt x="10329" y="14756"/>
                    <a:pt x="9714" y="14756"/>
                    <a:pt x="9099" y="13771"/>
                  </a:cubicBezTo>
                  <a:cubicBezTo>
                    <a:pt x="8771" y="12721"/>
                    <a:pt x="9099" y="10751"/>
                    <a:pt x="8484" y="10226"/>
                  </a:cubicBezTo>
                  <a:cubicBezTo>
                    <a:pt x="7542" y="10226"/>
                    <a:pt x="7542" y="12261"/>
                    <a:pt x="6599" y="12721"/>
                  </a:cubicBezTo>
                  <a:cubicBezTo>
                    <a:pt x="5984" y="13246"/>
                    <a:pt x="5041" y="13771"/>
                    <a:pt x="4386" y="13771"/>
                  </a:cubicBezTo>
                  <a:cubicBezTo>
                    <a:pt x="2828" y="13771"/>
                    <a:pt x="1557" y="12721"/>
                    <a:pt x="0" y="12721"/>
                  </a:cubicBezTo>
                  <a:cubicBezTo>
                    <a:pt x="0" y="10751"/>
                    <a:pt x="0" y="9241"/>
                    <a:pt x="328" y="7271"/>
                  </a:cubicBezTo>
                  <a:cubicBezTo>
                    <a:pt x="943" y="5761"/>
                    <a:pt x="328" y="3267"/>
                    <a:pt x="1557" y="1756"/>
                  </a:cubicBezTo>
                  <a:cubicBezTo>
                    <a:pt x="2213" y="706"/>
                    <a:pt x="3156" y="706"/>
                    <a:pt x="4099" y="246"/>
                  </a:cubicBezTo>
                  <a:cubicBezTo>
                    <a:pt x="5984" y="-804"/>
                    <a:pt x="8484" y="1756"/>
                    <a:pt x="10329" y="3267"/>
                  </a:cubicBezTo>
                  <a:cubicBezTo>
                    <a:pt x="12829" y="4711"/>
                    <a:pt x="16313" y="5236"/>
                    <a:pt x="19428" y="57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1" name="Shape 2476">
              <a:extLst>
                <a:ext uri="{FF2B5EF4-FFF2-40B4-BE49-F238E27FC236}">
                  <a16:creationId xmlns:a16="http://schemas.microsoft.com/office/drawing/2014/main" id="{E00872A5-5AF2-83EE-5C67-84598C331C4A}"/>
                </a:ext>
              </a:extLst>
            </p:cNvPr>
            <p:cNvSpPr/>
            <p:nvPr/>
          </p:nvSpPr>
          <p:spPr>
            <a:xfrm>
              <a:off x="1824489" y="3420585"/>
              <a:ext cx="219075" cy="161700"/>
            </a:xfrm>
            <a:custGeom>
              <a:avLst/>
              <a:gdLst/>
              <a:ahLst/>
              <a:cxnLst>
                <a:cxn ang="0">
                  <a:pos x="wd2" y="hd2"/>
                </a:cxn>
                <a:cxn ang="5400000">
                  <a:pos x="wd2" y="hd2"/>
                </a:cxn>
                <a:cxn ang="10800000">
                  <a:pos x="wd2" y="hd2"/>
                </a:cxn>
                <a:cxn ang="16200000">
                  <a:pos x="wd2" y="hd2"/>
                </a:cxn>
              </a:cxnLst>
              <a:rect l="0" t="0" r="r" b="b"/>
              <a:pathLst>
                <a:path w="21398" h="21600" extrusionOk="0">
                  <a:moveTo>
                    <a:pt x="7832" y="359"/>
                  </a:moveTo>
                  <a:cubicBezTo>
                    <a:pt x="9577" y="674"/>
                    <a:pt x="11355" y="1347"/>
                    <a:pt x="12113" y="2066"/>
                  </a:cubicBezTo>
                  <a:cubicBezTo>
                    <a:pt x="10861" y="2066"/>
                    <a:pt x="9347" y="2066"/>
                    <a:pt x="7832" y="2066"/>
                  </a:cubicBezTo>
                  <a:cubicBezTo>
                    <a:pt x="7832" y="2380"/>
                    <a:pt x="7832" y="2380"/>
                    <a:pt x="8096" y="2739"/>
                  </a:cubicBezTo>
                  <a:cubicBezTo>
                    <a:pt x="8096" y="3413"/>
                    <a:pt x="8853" y="3099"/>
                    <a:pt x="8853" y="3772"/>
                  </a:cubicBezTo>
                  <a:cubicBezTo>
                    <a:pt x="9083" y="4446"/>
                    <a:pt x="8853" y="5479"/>
                    <a:pt x="8853" y="6511"/>
                  </a:cubicBezTo>
                  <a:cubicBezTo>
                    <a:pt x="8853" y="7185"/>
                    <a:pt x="9577" y="7859"/>
                    <a:pt x="9347" y="8577"/>
                  </a:cubicBezTo>
                  <a:cubicBezTo>
                    <a:pt x="9083" y="9251"/>
                    <a:pt x="8326" y="9251"/>
                    <a:pt x="8096" y="9924"/>
                  </a:cubicBezTo>
                  <a:cubicBezTo>
                    <a:pt x="7569" y="10284"/>
                    <a:pt x="8096" y="11676"/>
                    <a:pt x="7338" y="11990"/>
                  </a:cubicBezTo>
                  <a:cubicBezTo>
                    <a:pt x="6581" y="12349"/>
                    <a:pt x="5560" y="11990"/>
                    <a:pt x="4572" y="11316"/>
                  </a:cubicBezTo>
                  <a:cubicBezTo>
                    <a:pt x="4046" y="11316"/>
                    <a:pt x="3815" y="10284"/>
                    <a:pt x="3288" y="10284"/>
                  </a:cubicBezTo>
                  <a:cubicBezTo>
                    <a:pt x="2794" y="9924"/>
                    <a:pt x="2037" y="10284"/>
                    <a:pt x="1543" y="10284"/>
                  </a:cubicBezTo>
                  <a:cubicBezTo>
                    <a:pt x="1049" y="10643"/>
                    <a:pt x="-202" y="10957"/>
                    <a:pt x="28" y="11676"/>
                  </a:cubicBezTo>
                  <a:cubicBezTo>
                    <a:pt x="522" y="13023"/>
                    <a:pt x="2037" y="13382"/>
                    <a:pt x="2794" y="14415"/>
                  </a:cubicBezTo>
                  <a:cubicBezTo>
                    <a:pt x="3288" y="14729"/>
                    <a:pt x="2794" y="15448"/>
                    <a:pt x="3058" y="15762"/>
                  </a:cubicBezTo>
                  <a:cubicBezTo>
                    <a:pt x="3552" y="16436"/>
                    <a:pt x="4046" y="16121"/>
                    <a:pt x="4572" y="16436"/>
                  </a:cubicBezTo>
                  <a:cubicBezTo>
                    <a:pt x="5066" y="16795"/>
                    <a:pt x="5330" y="17469"/>
                    <a:pt x="5560" y="18187"/>
                  </a:cubicBezTo>
                  <a:cubicBezTo>
                    <a:pt x="6087" y="19175"/>
                    <a:pt x="5560" y="20567"/>
                    <a:pt x="6087" y="20926"/>
                  </a:cubicBezTo>
                  <a:cubicBezTo>
                    <a:pt x="6581" y="21241"/>
                    <a:pt x="6581" y="19894"/>
                    <a:pt x="7075" y="19894"/>
                  </a:cubicBezTo>
                  <a:cubicBezTo>
                    <a:pt x="7569" y="19894"/>
                    <a:pt x="7832" y="21600"/>
                    <a:pt x="8589" y="21600"/>
                  </a:cubicBezTo>
                  <a:cubicBezTo>
                    <a:pt x="9347" y="21241"/>
                    <a:pt x="9841" y="19534"/>
                    <a:pt x="10861" y="19534"/>
                  </a:cubicBezTo>
                  <a:cubicBezTo>
                    <a:pt x="11092" y="19534"/>
                    <a:pt x="11355" y="20208"/>
                    <a:pt x="11586" y="20926"/>
                  </a:cubicBezTo>
                  <a:cubicBezTo>
                    <a:pt x="12113" y="20208"/>
                    <a:pt x="12607" y="19894"/>
                    <a:pt x="13100" y="19534"/>
                  </a:cubicBezTo>
                  <a:cubicBezTo>
                    <a:pt x="13858" y="18501"/>
                    <a:pt x="14121" y="17469"/>
                    <a:pt x="14878" y="16795"/>
                  </a:cubicBezTo>
                  <a:cubicBezTo>
                    <a:pt x="15866" y="16436"/>
                    <a:pt x="16887" y="17154"/>
                    <a:pt x="17908" y="16795"/>
                  </a:cubicBezTo>
                  <a:cubicBezTo>
                    <a:pt x="18896" y="16436"/>
                    <a:pt x="19653" y="15089"/>
                    <a:pt x="20641" y="14415"/>
                  </a:cubicBezTo>
                  <a:cubicBezTo>
                    <a:pt x="20641" y="13382"/>
                    <a:pt x="20904" y="12349"/>
                    <a:pt x="20904" y="11316"/>
                  </a:cubicBezTo>
                  <a:cubicBezTo>
                    <a:pt x="20904" y="10957"/>
                    <a:pt x="20641" y="10643"/>
                    <a:pt x="20641" y="10284"/>
                  </a:cubicBezTo>
                  <a:cubicBezTo>
                    <a:pt x="20641" y="9924"/>
                    <a:pt x="21168" y="9924"/>
                    <a:pt x="21398" y="9610"/>
                  </a:cubicBezTo>
                  <a:cubicBezTo>
                    <a:pt x="21398" y="8891"/>
                    <a:pt x="21398" y="8218"/>
                    <a:pt x="21168" y="7544"/>
                  </a:cubicBezTo>
                  <a:cubicBezTo>
                    <a:pt x="20904" y="6826"/>
                    <a:pt x="20410" y="6511"/>
                    <a:pt x="20147" y="6152"/>
                  </a:cubicBezTo>
                  <a:cubicBezTo>
                    <a:pt x="19389" y="5479"/>
                    <a:pt x="18632" y="4805"/>
                    <a:pt x="17908" y="4086"/>
                  </a:cubicBezTo>
                  <a:cubicBezTo>
                    <a:pt x="16887" y="3099"/>
                    <a:pt x="16393" y="1706"/>
                    <a:pt x="15372" y="1033"/>
                  </a:cubicBezTo>
                  <a:cubicBezTo>
                    <a:pt x="12870" y="0"/>
                    <a:pt x="10335" y="359"/>
                    <a:pt x="7832" y="0"/>
                  </a:cubicBezTo>
                  <a:cubicBezTo>
                    <a:pt x="7832" y="0"/>
                    <a:pt x="7832" y="0"/>
                    <a:pt x="7832" y="35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2" name="Shape 2477">
              <a:extLst>
                <a:ext uri="{FF2B5EF4-FFF2-40B4-BE49-F238E27FC236}">
                  <a16:creationId xmlns:a16="http://schemas.microsoft.com/office/drawing/2014/main" id="{4E94AA9E-4741-86B9-25FB-212543A1F98D}"/>
                </a:ext>
              </a:extLst>
            </p:cNvPr>
            <p:cNvSpPr/>
            <p:nvPr/>
          </p:nvSpPr>
          <p:spPr>
            <a:xfrm>
              <a:off x="1825112" y="2478098"/>
              <a:ext cx="876961" cy="769708"/>
            </a:xfrm>
            <a:custGeom>
              <a:avLst/>
              <a:gdLst/>
              <a:ahLst/>
              <a:cxnLst>
                <a:cxn ang="0">
                  <a:pos x="wd2" y="hd2"/>
                </a:cxn>
                <a:cxn ang="5400000">
                  <a:pos x="wd2" y="hd2"/>
                </a:cxn>
                <a:cxn ang="10800000">
                  <a:pos x="wd2" y="hd2"/>
                </a:cxn>
                <a:cxn ang="16200000">
                  <a:pos x="wd2" y="hd2"/>
                </a:cxn>
              </a:cxnLst>
              <a:rect l="0" t="0" r="r" b="b"/>
              <a:pathLst>
                <a:path w="21534" h="21600" extrusionOk="0">
                  <a:moveTo>
                    <a:pt x="1382" y="8672"/>
                  </a:moveTo>
                  <a:cubicBezTo>
                    <a:pt x="1382" y="8379"/>
                    <a:pt x="1572" y="7944"/>
                    <a:pt x="1382" y="7660"/>
                  </a:cubicBezTo>
                  <a:cubicBezTo>
                    <a:pt x="1258" y="7518"/>
                    <a:pt x="1001" y="7944"/>
                    <a:pt x="811" y="8020"/>
                  </a:cubicBezTo>
                  <a:cubicBezTo>
                    <a:pt x="621" y="8020"/>
                    <a:pt x="306" y="8095"/>
                    <a:pt x="116" y="7878"/>
                  </a:cubicBezTo>
                  <a:cubicBezTo>
                    <a:pt x="-8" y="7660"/>
                    <a:pt x="-66" y="7225"/>
                    <a:pt x="116" y="7083"/>
                  </a:cubicBezTo>
                  <a:cubicBezTo>
                    <a:pt x="372" y="6866"/>
                    <a:pt x="753" y="7083"/>
                    <a:pt x="1067" y="7008"/>
                  </a:cubicBezTo>
                  <a:cubicBezTo>
                    <a:pt x="1382" y="6932"/>
                    <a:pt x="1638" y="6866"/>
                    <a:pt x="1886" y="6715"/>
                  </a:cubicBezTo>
                  <a:cubicBezTo>
                    <a:pt x="1953" y="6648"/>
                    <a:pt x="1886" y="6506"/>
                    <a:pt x="1886" y="6355"/>
                  </a:cubicBezTo>
                  <a:cubicBezTo>
                    <a:pt x="1828" y="6289"/>
                    <a:pt x="1638" y="6289"/>
                    <a:pt x="1696" y="6213"/>
                  </a:cubicBezTo>
                  <a:cubicBezTo>
                    <a:pt x="1696" y="5920"/>
                    <a:pt x="1886" y="5778"/>
                    <a:pt x="1953" y="5495"/>
                  </a:cubicBezTo>
                  <a:cubicBezTo>
                    <a:pt x="2019" y="5277"/>
                    <a:pt x="1886" y="5060"/>
                    <a:pt x="1953" y="4842"/>
                  </a:cubicBezTo>
                  <a:cubicBezTo>
                    <a:pt x="2077" y="4625"/>
                    <a:pt x="2333" y="4700"/>
                    <a:pt x="2457" y="4549"/>
                  </a:cubicBezTo>
                  <a:cubicBezTo>
                    <a:pt x="2647" y="4331"/>
                    <a:pt x="2581" y="3830"/>
                    <a:pt x="2838" y="3688"/>
                  </a:cubicBezTo>
                  <a:cubicBezTo>
                    <a:pt x="3028" y="3613"/>
                    <a:pt x="3152" y="3972"/>
                    <a:pt x="3276" y="4123"/>
                  </a:cubicBezTo>
                  <a:cubicBezTo>
                    <a:pt x="3466" y="4265"/>
                    <a:pt x="3599" y="4700"/>
                    <a:pt x="3781" y="4549"/>
                  </a:cubicBezTo>
                  <a:cubicBezTo>
                    <a:pt x="4294" y="4189"/>
                    <a:pt x="4352" y="3395"/>
                    <a:pt x="4798" y="3036"/>
                  </a:cubicBezTo>
                  <a:cubicBezTo>
                    <a:pt x="4922" y="2894"/>
                    <a:pt x="5113" y="3319"/>
                    <a:pt x="5237" y="3253"/>
                  </a:cubicBezTo>
                  <a:cubicBezTo>
                    <a:pt x="5427" y="3111"/>
                    <a:pt x="5427" y="2743"/>
                    <a:pt x="5617" y="2535"/>
                  </a:cubicBezTo>
                  <a:cubicBezTo>
                    <a:pt x="5741" y="2383"/>
                    <a:pt x="5998" y="2383"/>
                    <a:pt x="6122" y="2383"/>
                  </a:cubicBezTo>
                  <a:cubicBezTo>
                    <a:pt x="6312" y="2383"/>
                    <a:pt x="6436" y="2459"/>
                    <a:pt x="6569" y="2383"/>
                  </a:cubicBezTo>
                  <a:cubicBezTo>
                    <a:pt x="6693" y="2317"/>
                    <a:pt x="6759" y="2166"/>
                    <a:pt x="6883" y="2024"/>
                  </a:cubicBezTo>
                  <a:cubicBezTo>
                    <a:pt x="6941" y="1948"/>
                    <a:pt x="7073" y="1948"/>
                    <a:pt x="7131" y="1806"/>
                  </a:cubicBezTo>
                  <a:cubicBezTo>
                    <a:pt x="7131" y="1664"/>
                    <a:pt x="6941" y="1589"/>
                    <a:pt x="6941" y="1447"/>
                  </a:cubicBezTo>
                  <a:cubicBezTo>
                    <a:pt x="7007" y="1305"/>
                    <a:pt x="7073" y="1088"/>
                    <a:pt x="7197" y="1088"/>
                  </a:cubicBezTo>
                  <a:cubicBezTo>
                    <a:pt x="7636" y="1088"/>
                    <a:pt x="7950" y="1447"/>
                    <a:pt x="8331" y="1447"/>
                  </a:cubicBezTo>
                  <a:cubicBezTo>
                    <a:pt x="8587" y="1523"/>
                    <a:pt x="8844" y="1305"/>
                    <a:pt x="9092" y="1305"/>
                  </a:cubicBezTo>
                  <a:cubicBezTo>
                    <a:pt x="9216" y="1305"/>
                    <a:pt x="9216" y="1589"/>
                    <a:pt x="9282" y="1589"/>
                  </a:cubicBezTo>
                  <a:cubicBezTo>
                    <a:pt x="9406" y="1589"/>
                    <a:pt x="9472" y="1371"/>
                    <a:pt x="9597" y="1305"/>
                  </a:cubicBezTo>
                  <a:cubicBezTo>
                    <a:pt x="9663" y="1305"/>
                    <a:pt x="9721" y="1523"/>
                    <a:pt x="9853" y="1447"/>
                  </a:cubicBezTo>
                  <a:cubicBezTo>
                    <a:pt x="9977" y="1371"/>
                    <a:pt x="9977" y="1154"/>
                    <a:pt x="10043" y="936"/>
                  </a:cubicBezTo>
                  <a:cubicBezTo>
                    <a:pt x="10043" y="719"/>
                    <a:pt x="9911" y="511"/>
                    <a:pt x="9977" y="293"/>
                  </a:cubicBezTo>
                  <a:cubicBezTo>
                    <a:pt x="10043" y="142"/>
                    <a:pt x="10167" y="0"/>
                    <a:pt x="10291" y="0"/>
                  </a:cubicBezTo>
                  <a:cubicBezTo>
                    <a:pt x="10482" y="76"/>
                    <a:pt x="10606" y="293"/>
                    <a:pt x="10738" y="435"/>
                  </a:cubicBezTo>
                  <a:cubicBezTo>
                    <a:pt x="10862" y="511"/>
                    <a:pt x="10928" y="653"/>
                    <a:pt x="11052" y="719"/>
                  </a:cubicBezTo>
                  <a:cubicBezTo>
                    <a:pt x="11177" y="719"/>
                    <a:pt x="11301" y="719"/>
                    <a:pt x="11433" y="653"/>
                  </a:cubicBezTo>
                  <a:cubicBezTo>
                    <a:pt x="11557" y="577"/>
                    <a:pt x="11557" y="293"/>
                    <a:pt x="11681" y="293"/>
                  </a:cubicBezTo>
                  <a:cubicBezTo>
                    <a:pt x="11814" y="218"/>
                    <a:pt x="11938" y="359"/>
                    <a:pt x="12062" y="435"/>
                  </a:cubicBezTo>
                  <a:cubicBezTo>
                    <a:pt x="12186" y="511"/>
                    <a:pt x="12252" y="719"/>
                    <a:pt x="12376" y="719"/>
                  </a:cubicBezTo>
                  <a:cubicBezTo>
                    <a:pt x="12566" y="719"/>
                    <a:pt x="12690" y="359"/>
                    <a:pt x="12947" y="359"/>
                  </a:cubicBezTo>
                  <a:cubicBezTo>
                    <a:pt x="13071" y="435"/>
                    <a:pt x="13071" y="719"/>
                    <a:pt x="13203" y="870"/>
                  </a:cubicBezTo>
                  <a:cubicBezTo>
                    <a:pt x="13327" y="936"/>
                    <a:pt x="13518" y="936"/>
                    <a:pt x="13642" y="870"/>
                  </a:cubicBezTo>
                  <a:cubicBezTo>
                    <a:pt x="13766" y="794"/>
                    <a:pt x="13708" y="511"/>
                    <a:pt x="13832" y="435"/>
                  </a:cubicBezTo>
                  <a:cubicBezTo>
                    <a:pt x="13956" y="359"/>
                    <a:pt x="14089" y="577"/>
                    <a:pt x="14213" y="577"/>
                  </a:cubicBezTo>
                  <a:cubicBezTo>
                    <a:pt x="14461" y="577"/>
                    <a:pt x="14717" y="359"/>
                    <a:pt x="14908" y="511"/>
                  </a:cubicBezTo>
                  <a:cubicBezTo>
                    <a:pt x="15156" y="653"/>
                    <a:pt x="15156" y="1012"/>
                    <a:pt x="15156" y="1305"/>
                  </a:cubicBezTo>
                  <a:cubicBezTo>
                    <a:pt x="15222" y="1371"/>
                    <a:pt x="15156" y="1447"/>
                    <a:pt x="15156" y="1523"/>
                  </a:cubicBezTo>
                  <a:cubicBezTo>
                    <a:pt x="15156" y="1589"/>
                    <a:pt x="15098" y="1664"/>
                    <a:pt x="15156" y="1664"/>
                  </a:cubicBezTo>
                  <a:cubicBezTo>
                    <a:pt x="15288" y="1664"/>
                    <a:pt x="15412" y="1523"/>
                    <a:pt x="15536" y="1589"/>
                  </a:cubicBezTo>
                  <a:cubicBezTo>
                    <a:pt x="15793" y="1589"/>
                    <a:pt x="16041" y="1948"/>
                    <a:pt x="16364" y="1948"/>
                  </a:cubicBezTo>
                  <a:cubicBezTo>
                    <a:pt x="16488" y="1948"/>
                    <a:pt x="16546" y="1664"/>
                    <a:pt x="16736" y="1664"/>
                  </a:cubicBezTo>
                  <a:cubicBezTo>
                    <a:pt x="16992" y="1664"/>
                    <a:pt x="17240" y="1882"/>
                    <a:pt x="17497" y="2024"/>
                  </a:cubicBezTo>
                  <a:cubicBezTo>
                    <a:pt x="17497" y="2317"/>
                    <a:pt x="17373" y="2601"/>
                    <a:pt x="17431" y="2894"/>
                  </a:cubicBezTo>
                  <a:cubicBezTo>
                    <a:pt x="17431" y="3111"/>
                    <a:pt x="17687" y="3111"/>
                    <a:pt x="17745" y="3253"/>
                  </a:cubicBezTo>
                  <a:cubicBezTo>
                    <a:pt x="17877" y="3395"/>
                    <a:pt x="17877" y="3613"/>
                    <a:pt x="17877" y="3830"/>
                  </a:cubicBezTo>
                  <a:cubicBezTo>
                    <a:pt x="17745" y="4189"/>
                    <a:pt x="17497" y="4483"/>
                    <a:pt x="17431" y="4842"/>
                  </a:cubicBezTo>
                  <a:cubicBezTo>
                    <a:pt x="17431" y="5060"/>
                    <a:pt x="17687" y="5135"/>
                    <a:pt x="17745" y="5277"/>
                  </a:cubicBezTo>
                  <a:cubicBezTo>
                    <a:pt x="17877" y="5561"/>
                    <a:pt x="17877" y="5920"/>
                    <a:pt x="18068" y="6138"/>
                  </a:cubicBezTo>
                  <a:cubicBezTo>
                    <a:pt x="18126" y="6289"/>
                    <a:pt x="18258" y="6355"/>
                    <a:pt x="18382" y="6431"/>
                  </a:cubicBezTo>
                  <a:cubicBezTo>
                    <a:pt x="18382" y="6431"/>
                    <a:pt x="18316" y="7150"/>
                    <a:pt x="18821" y="7367"/>
                  </a:cubicBezTo>
                  <a:cubicBezTo>
                    <a:pt x="19391" y="7585"/>
                    <a:pt x="20012" y="7585"/>
                    <a:pt x="20459" y="7944"/>
                  </a:cubicBezTo>
                  <a:cubicBezTo>
                    <a:pt x="20583" y="8020"/>
                    <a:pt x="20334" y="8237"/>
                    <a:pt x="20334" y="8455"/>
                  </a:cubicBezTo>
                  <a:cubicBezTo>
                    <a:pt x="20268" y="8521"/>
                    <a:pt x="20268" y="8672"/>
                    <a:pt x="20268" y="8814"/>
                  </a:cubicBezTo>
                  <a:cubicBezTo>
                    <a:pt x="20268" y="8956"/>
                    <a:pt x="20202" y="9249"/>
                    <a:pt x="20334" y="9249"/>
                  </a:cubicBezTo>
                  <a:cubicBezTo>
                    <a:pt x="20583" y="9315"/>
                    <a:pt x="20897" y="8956"/>
                    <a:pt x="21153" y="8956"/>
                  </a:cubicBezTo>
                  <a:cubicBezTo>
                    <a:pt x="21278" y="9032"/>
                    <a:pt x="21153" y="9249"/>
                    <a:pt x="21087" y="9315"/>
                  </a:cubicBezTo>
                  <a:cubicBezTo>
                    <a:pt x="20773" y="9608"/>
                    <a:pt x="20268" y="9684"/>
                    <a:pt x="20078" y="10119"/>
                  </a:cubicBezTo>
                  <a:cubicBezTo>
                    <a:pt x="19954" y="10337"/>
                    <a:pt x="20202" y="10620"/>
                    <a:pt x="20268" y="10838"/>
                  </a:cubicBezTo>
                  <a:cubicBezTo>
                    <a:pt x="20268" y="10980"/>
                    <a:pt x="20268" y="11122"/>
                    <a:pt x="20202" y="11122"/>
                  </a:cubicBezTo>
                  <a:cubicBezTo>
                    <a:pt x="20078" y="11273"/>
                    <a:pt x="19822" y="11122"/>
                    <a:pt x="19822" y="11273"/>
                  </a:cubicBezTo>
                  <a:cubicBezTo>
                    <a:pt x="19706" y="11490"/>
                    <a:pt x="19772" y="11774"/>
                    <a:pt x="19954" y="11850"/>
                  </a:cubicBezTo>
                  <a:cubicBezTo>
                    <a:pt x="20268" y="12133"/>
                    <a:pt x="20715" y="12067"/>
                    <a:pt x="21087" y="12209"/>
                  </a:cubicBezTo>
                  <a:cubicBezTo>
                    <a:pt x="21534" y="13004"/>
                    <a:pt x="21534" y="13004"/>
                    <a:pt x="21534" y="13004"/>
                  </a:cubicBezTo>
                  <a:cubicBezTo>
                    <a:pt x="21220" y="13079"/>
                    <a:pt x="20963" y="13363"/>
                    <a:pt x="20583" y="13940"/>
                  </a:cubicBezTo>
                  <a:cubicBezTo>
                    <a:pt x="20459" y="14233"/>
                    <a:pt x="19458" y="15169"/>
                    <a:pt x="19391" y="15320"/>
                  </a:cubicBezTo>
                  <a:cubicBezTo>
                    <a:pt x="19011" y="15529"/>
                    <a:pt x="19143" y="15897"/>
                    <a:pt x="19077" y="16115"/>
                  </a:cubicBezTo>
                  <a:cubicBezTo>
                    <a:pt x="19011" y="16257"/>
                    <a:pt x="18821" y="16323"/>
                    <a:pt x="18763" y="16540"/>
                  </a:cubicBezTo>
                  <a:cubicBezTo>
                    <a:pt x="18639" y="16834"/>
                    <a:pt x="18696" y="17193"/>
                    <a:pt x="18572" y="17411"/>
                  </a:cubicBezTo>
                  <a:cubicBezTo>
                    <a:pt x="18506" y="17552"/>
                    <a:pt x="18382" y="17552"/>
                    <a:pt x="18258" y="17628"/>
                  </a:cubicBezTo>
                  <a:cubicBezTo>
                    <a:pt x="18126" y="17628"/>
                    <a:pt x="17935" y="17411"/>
                    <a:pt x="17811" y="17486"/>
                  </a:cubicBezTo>
                  <a:cubicBezTo>
                    <a:pt x="17687" y="17628"/>
                    <a:pt x="17497" y="17846"/>
                    <a:pt x="17497" y="18063"/>
                  </a:cubicBezTo>
                  <a:cubicBezTo>
                    <a:pt x="17497" y="18205"/>
                    <a:pt x="17745" y="18205"/>
                    <a:pt x="17811" y="18347"/>
                  </a:cubicBezTo>
                  <a:cubicBezTo>
                    <a:pt x="17811" y="18498"/>
                    <a:pt x="17687" y="18716"/>
                    <a:pt x="17811" y="18782"/>
                  </a:cubicBezTo>
                  <a:cubicBezTo>
                    <a:pt x="18068" y="18924"/>
                    <a:pt x="18382" y="18716"/>
                    <a:pt x="18639" y="18857"/>
                  </a:cubicBezTo>
                  <a:cubicBezTo>
                    <a:pt x="18763" y="18924"/>
                    <a:pt x="18887" y="19075"/>
                    <a:pt x="18953" y="19217"/>
                  </a:cubicBezTo>
                  <a:cubicBezTo>
                    <a:pt x="19011" y="19434"/>
                    <a:pt x="19143" y="19718"/>
                    <a:pt x="19011" y="19936"/>
                  </a:cubicBezTo>
                  <a:cubicBezTo>
                    <a:pt x="18953" y="20153"/>
                    <a:pt x="18572" y="20011"/>
                    <a:pt x="18506" y="20229"/>
                  </a:cubicBezTo>
                  <a:cubicBezTo>
                    <a:pt x="18448" y="20304"/>
                    <a:pt x="18639" y="20446"/>
                    <a:pt x="18639" y="20588"/>
                  </a:cubicBezTo>
                  <a:cubicBezTo>
                    <a:pt x="18639" y="20664"/>
                    <a:pt x="18506" y="20664"/>
                    <a:pt x="18448" y="20664"/>
                  </a:cubicBezTo>
                  <a:cubicBezTo>
                    <a:pt x="18316" y="20664"/>
                    <a:pt x="18126" y="20512"/>
                    <a:pt x="18002" y="20512"/>
                  </a:cubicBezTo>
                  <a:cubicBezTo>
                    <a:pt x="17877" y="20588"/>
                    <a:pt x="17687" y="20664"/>
                    <a:pt x="17621" y="20806"/>
                  </a:cubicBezTo>
                  <a:cubicBezTo>
                    <a:pt x="17555" y="20881"/>
                    <a:pt x="17687" y="21165"/>
                    <a:pt x="17555" y="21241"/>
                  </a:cubicBezTo>
                  <a:cubicBezTo>
                    <a:pt x="17431" y="21382"/>
                    <a:pt x="17183" y="21458"/>
                    <a:pt x="16992" y="21458"/>
                  </a:cubicBezTo>
                  <a:cubicBezTo>
                    <a:pt x="16868" y="21458"/>
                    <a:pt x="16736" y="21241"/>
                    <a:pt x="16546" y="21241"/>
                  </a:cubicBezTo>
                  <a:cubicBezTo>
                    <a:pt x="16173" y="21165"/>
                    <a:pt x="15793" y="21316"/>
                    <a:pt x="15412" y="21241"/>
                  </a:cubicBezTo>
                  <a:cubicBezTo>
                    <a:pt x="15346" y="21165"/>
                    <a:pt x="15346" y="20947"/>
                    <a:pt x="15288" y="20881"/>
                  </a:cubicBezTo>
                  <a:cubicBezTo>
                    <a:pt x="15156" y="20881"/>
                    <a:pt x="15032" y="20881"/>
                    <a:pt x="14965" y="20947"/>
                  </a:cubicBezTo>
                  <a:cubicBezTo>
                    <a:pt x="14841" y="21099"/>
                    <a:pt x="14965" y="21316"/>
                    <a:pt x="14841" y="21458"/>
                  </a:cubicBezTo>
                  <a:cubicBezTo>
                    <a:pt x="14651" y="21600"/>
                    <a:pt x="14403" y="21524"/>
                    <a:pt x="14146" y="21600"/>
                  </a:cubicBezTo>
                  <a:cubicBezTo>
                    <a:pt x="14146" y="21382"/>
                    <a:pt x="13956" y="21099"/>
                    <a:pt x="14089" y="20881"/>
                  </a:cubicBezTo>
                  <a:cubicBezTo>
                    <a:pt x="14146" y="20664"/>
                    <a:pt x="14527" y="20730"/>
                    <a:pt x="14651" y="20512"/>
                  </a:cubicBezTo>
                  <a:cubicBezTo>
                    <a:pt x="14775" y="20371"/>
                    <a:pt x="14965" y="20153"/>
                    <a:pt x="14908" y="19936"/>
                  </a:cubicBezTo>
                  <a:cubicBezTo>
                    <a:pt x="14908" y="19718"/>
                    <a:pt x="14651" y="19718"/>
                    <a:pt x="14461" y="19718"/>
                  </a:cubicBezTo>
                  <a:cubicBezTo>
                    <a:pt x="14337" y="19718"/>
                    <a:pt x="14337" y="19936"/>
                    <a:pt x="14213" y="19936"/>
                  </a:cubicBezTo>
                  <a:cubicBezTo>
                    <a:pt x="14089" y="19936"/>
                    <a:pt x="13956" y="19869"/>
                    <a:pt x="13898" y="19869"/>
                  </a:cubicBezTo>
                  <a:cubicBezTo>
                    <a:pt x="13766" y="19936"/>
                    <a:pt x="13766" y="20153"/>
                    <a:pt x="13642" y="20153"/>
                  </a:cubicBezTo>
                  <a:cubicBezTo>
                    <a:pt x="13385" y="20153"/>
                    <a:pt x="13137" y="20153"/>
                    <a:pt x="12881" y="20011"/>
                  </a:cubicBezTo>
                  <a:cubicBezTo>
                    <a:pt x="12757" y="19936"/>
                    <a:pt x="12757" y="19718"/>
                    <a:pt x="12633" y="19576"/>
                  </a:cubicBezTo>
                  <a:cubicBezTo>
                    <a:pt x="12566" y="19501"/>
                    <a:pt x="12500" y="19434"/>
                    <a:pt x="12442" y="19501"/>
                  </a:cubicBezTo>
                  <a:cubicBezTo>
                    <a:pt x="12128" y="19576"/>
                    <a:pt x="11871" y="19794"/>
                    <a:pt x="11557" y="19936"/>
                  </a:cubicBezTo>
                  <a:cubicBezTo>
                    <a:pt x="11491" y="19718"/>
                    <a:pt x="11557" y="19359"/>
                    <a:pt x="11367" y="19141"/>
                  </a:cubicBezTo>
                  <a:cubicBezTo>
                    <a:pt x="11301" y="19075"/>
                    <a:pt x="11177" y="19434"/>
                    <a:pt x="11052" y="19359"/>
                  </a:cubicBezTo>
                  <a:cubicBezTo>
                    <a:pt x="10928" y="19359"/>
                    <a:pt x="10928" y="19075"/>
                    <a:pt x="10796" y="18999"/>
                  </a:cubicBezTo>
                  <a:cubicBezTo>
                    <a:pt x="10606" y="18924"/>
                    <a:pt x="10416" y="19141"/>
                    <a:pt x="10225" y="18999"/>
                  </a:cubicBezTo>
                  <a:cubicBezTo>
                    <a:pt x="9911" y="18716"/>
                    <a:pt x="9787" y="18129"/>
                    <a:pt x="9406" y="17770"/>
                  </a:cubicBezTo>
                  <a:cubicBezTo>
                    <a:pt x="9282" y="17704"/>
                    <a:pt x="9034" y="17846"/>
                    <a:pt x="8844" y="17846"/>
                  </a:cubicBezTo>
                  <a:cubicBezTo>
                    <a:pt x="8653" y="17770"/>
                    <a:pt x="8587" y="17486"/>
                    <a:pt x="8463" y="17486"/>
                  </a:cubicBezTo>
                  <a:cubicBezTo>
                    <a:pt x="8273" y="17486"/>
                    <a:pt x="8207" y="17770"/>
                    <a:pt x="8083" y="17704"/>
                  </a:cubicBezTo>
                  <a:cubicBezTo>
                    <a:pt x="7636" y="17552"/>
                    <a:pt x="7264" y="17269"/>
                    <a:pt x="6883" y="16900"/>
                  </a:cubicBezTo>
                  <a:cubicBezTo>
                    <a:pt x="6693" y="16758"/>
                    <a:pt x="6503" y="16616"/>
                    <a:pt x="6378" y="16399"/>
                  </a:cubicBezTo>
                  <a:cubicBezTo>
                    <a:pt x="6312" y="16257"/>
                    <a:pt x="6569" y="16181"/>
                    <a:pt x="6569" y="16039"/>
                  </a:cubicBezTo>
                  <a:cubicBezTo>
                    <a:pt x="6569" y="15897"/>
                    <a:pt x="6312" y="15822"/>
                    <a:pt x="6312" y="15680"/>
                  </a:cubicBezTo>
                  <a:cubicBezTo>
                    <a:pt x="6246" y="15462"/>
                    <a:pt x="6188" y="15169"/>
                    <a:pt x="6312" y="14952"/>
                  </a:cubicBezTo>
                  <a:cubicBezTo>
                    <a:pt x="6436" y="14810"/>
                    <a:pt x="6817" y="15103"/>
                    <a:pt x="6883" y="14885"/>
                  </a:cubicBezTo>
                  <a:cubicBezTo>
                    <a:pt x="7073" y="14233"/>
                    <a:pt x="6693" y="13580"/>
                    <a:pt x="6883" y="12937"/>
                  </a:cubicBezTo>
                  <a:cubicBezTo>
                    <a:pt x="6941" y="12720"/>
                    <a:pt x="7197" y="13297"/>
                    <a:pt x="7388" y="13297"/>
                  </a:cubicBezTo>
                  <a:cubicBezTo>
                    <a:pt x="7512" y="13297"/>
                    <a:pt x="7512" y="13004"/>
                    <a:pt x="7702" y="12937"/>
                  </a:cubicBezTo>
                  <a:cubicBezTo>
                    <a:pt x="7768" y="12862"/>
                    <a:pt x="8016" y="12937"/>
                    <a:pt x="8083" y="12786"/>
                  </a:cubicBezTo>
                  <a:cubicBezTo>
                    <a:pt x="8141" y="12568"/>
                    <a:pt x="8083" y="12209"/>
                    <a:pt x="8016" y="11992"/>
                  </a:cubicBezTo>
                  <a:cubicBezTo>
                    <a:pt x="7892" y="11774"/>
                    <a:pt x="7702" y="11557"/>
                    <a:pt x="7512" y="11557"/>
                  </a:cubicBezTo>
                  <a:cubicBezTo>
                    <a:pt x="6817" y="11698"/>
                    <a:pt x="6246" y="12568"/>
                    <a:pt x="5551" y="12502"/>
                  </a:cubicBezTo>
                  <a:cubicBezTo>
                    <a:pt x="5237" y="12427"/>
                    <a:pt x="5617" y="11698"/>
                    <a:pt x="5493" y="11339"/>
                  </a:cubicBezTo>
                  <a:cubicBezTo>
                    <a:pt x="5427" y="11122"/>
                    <a:pt x="5237" y="10980"/>
                    <a:pt x="5113" y="10838"/>
                  </a:cubicBezTo>
                  <a:cubicBezTo>
                    <a:pt x="4989" y="10696"/>
                    <a:pt x="4856" y="10545"/>
                    <a:pt x="4732" y="10620"/>
                  </a:cubicBezTo>
                  <a:cubicBezTo>
                    <a:pt x="4608" y="10620"/>
                    <a:pt x="4608" y="10838"/>
                    <a:pt x="4484" y="10913"/>
                  </a:cubicBezTo>
                  <a:cubicBezTo>
                    <a:pt x="4037" y="11122"/>
                    <a:pt x="3657" y="11273"/>
                    <a:pt x="3152" y="11415"/>
                  </a:cubicBezTo>
                  <a:cubicBezTo>
                    <a:pt x="3086" y="11415"/>
                    <a:pt x="3028" y="11197"/>
                    <a:pt x="2962" y="11122"/>
                  </a:cubicBezTo>
                  <a:cubicBezTo>
                    <a:pt x="2772" y="11122"/>
                    <a:pt x="2581" y="11122"/>
                    <a:pt x="2523" y="11273"/>
                  </a:cubicBezTo>
                  <a:cubicBezTo>
                    <a:pt x="2457" y="11415"/>
                    <a:pt x="2772" y="11632"/>
                    <a:pt x="2647" y="11698"/>
                  </a:cubicBezTo>
                  <a:cubicBezTo>
                    <a:pt x="2391" y="11850"/>
                    <a:pt x="2077" y="11632"/>
                    <a:pt x="1828" y="11698"/>
                  </a:cubicBezTo>
                  <a:cubicBezTo>
                    <a:pt x="1696" y="11774"/>
                    <a:pt x="1572" y="11850"/>
                    <a:pt x="1448" y="11992"/>
                  </a:cubicBezTo>
                  <a:cubicBezTo>
                    <a:pt x="1382" y="12067"/>
                    <a:pt x="1448" y="12209"/>
                    <a:pt x="1382" y="12351"/>
                  </a:cubicBezTo>
                  <a:cubicBezTo>
                    <a:pt x="1324" y="12427"/>
                    <a:pt x="1191" y="12351"/>
                    <a:pt x="1067" y="12351"/>
                  </a:cubicBezTo>
                  <a:cubicBezTo>
                    <a:pt x="877" y="12285"/>
                    <a:pt x="563" y="12285"/>
                    <a:pt x="563" y="11992"/>
                  </a:cubicBezTo>
                  <a:cubicBezTo>
                    <a:pt x="497" y="11632"/>
                    <a:pt x="1001" y="11339"/>
                    <a:pt x="943" y="10913"/>
                  </a:cubicBezTo>
                  <a:cubicBezTo>
                    <a:pt x="943" y="10696"/>
                    <a:pt x="563" y="10762"/>
                    <a:pt x="439" y="10545"/>
                  </a:cubicBezTo>
                  <a:cubicBezTo>
                    <a:pt x="372" y="10478"/>
                    <a:pt x="372" y="10337"/>
                    <a:pt x="497" y="10261"/>
                  </a:cubicBezTo>
                  <a:cubicBezTo>
                    <a:pt x="877" y="10119"/>
                    <a:pt x="1258" y="9968"/>
                    <a:pt x="1696" y="9826"/>
                  </a:cubicBezTo>
                  <a:cubicBezTo>
                    <a:pt x="1886" y="9826"/>
                    <a:pt x="2267" y="10119"/>
                    <a:pt x="2267" y="9826"/>
                  </a:cubicBezTo>
                  <a:cubicBezTo>
                    <a:pt x="2333" y="9533"/>
                    <a:pt x="2019" y="9249"/>
                    <a:pt x="1828" y="9032"/>
                  </a:cubicBezTo>
                  <a:cubicBezTo>
                    <a:pt x="1696" y="8890"/>
                    <a:pt x="1514" y="8814"/>
                    <a:pt x="1382" y="867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3" name="Shape 2478">
              <a:extLst>
                <a:ext uri="{FF2B5EF4-FFF2-40B4-BE49-F238E27FC236}">
                  <a16:creationId xmlns:a16="http://schemas.microsoft.com/office/drawing/2014/main" id="{D5E8F6B2-95E3-FBF3-95DA-39C359D1AB47}"/>
                </a:ext>
              </a:extLst>
            </p:cNvPr>
            <p:cNvSpPr/>
            <p:nvPr/>
          </p:nvSpPr>
          <p:spPr>
            <a:xfrm>
              <a:off x="2345656" y="2941775"/>
              <a:ext cx="612213" cy="414564"/>
            </a:xfrm>
            <a:custGeom>
              <a:avLst/>
              <a:gdLst/>
              <a:ahLst/>
              <a:cxnLst>
                <a:cxn ang="0">
                  <a:pos x="wd2" y="hd2"/>
                </a:cxn>
                <a:cxn ang="5400000">
                  <a:pos x="wd2" y="hd2"/>
                </a:cxn>
                <a:cxn ang="10800000">
                  <a:pos x="wd2" y="hd2"/>
                </a:cxn>
                <a:cxn ang="16200000">
                  <a:pos x="wd2" y="hd2"/>
                </a:cxn>
              </a:cxnLst>
              <a:rect l="0" t="0" r="r" b="b"/>
              <a:pathLst>
                <a:path w="20699" h="20716" extrusionOk="0">
                  <a:moveTo>
                    <a:pt x="0" y="17902"/>
                  </a:moveTo>
                  <a:cubicBezTo>
                    <a:pt x="171" y="17514"/>
                    <a:pt x="171" y="16875"/>
                    <a:pt x="434" y="16740"/>
                  </a:cubicBezTo>
                  <a:cubicBezTo>
                    <a:pt x="867" y="16353"/>
                    <a:pt x="1483" y="16875"/>
                    <a:pt x="1837" y="16605"/>
                  </a:cubicBezTo>
                  <a:cubicBezTo>
                    <a:pt x="2008" y="16487"/>
                    <a:pt x="1392" y="16353"/>
                    <a:pt x="1392" y="15965"/>
                  </a:cubicBezTo>
                  <a:cubicBezTo>
                    <a:pt x="1392" y="15713"/>
                    <a:pt x="1746" y="15578"/>
                    <a:pt x="1917" y="15326"/>
                  </a:cubicBezTo>
                  <a:cubicBezTo>
                    <a:pt x="2271" y="15191"/>
                    <a:pt x="2613" y="15326"/>
                    <a:pt x="2875" y="15073"/>
                  </a:cubicBezTo>
                  <a:cubicBezTo>
                    <a:pt x="3047" y="14821"/>
                    <a:pt x="2875" y="14433"/>
                    <a:pt x="3047" y="14164"/>
                  </a:cubicBezTo>
                  <a:cubicBezTo>
                    <a:pt x="3138" y="14046"/>
                    <a:pt x="3309" y="14046"/>
                    <a:pt x="3492" y="14046"/>
                  </a:cubicBezTo>
                  <a:cubicBezTo>
                    <a:pt x="3571" y="14164"/>
                    <a:pt x="3571" y="14551"/>
                    <a:pt x="3663" y="14686"/>
                  </a:cubicBezTo>
                  <a:cubicBezTo>
                    <a:pt x="4188" y="14821"/>
                    <a:pt x="4713" y="14551"/>
                    <a:pt x="5226" y="14686"/>
                  </a:cubicBezTo>
                  <a:cubicBezTo>
                    <a:pt x="5488" y="14686"/>
                    <a:pt x="5671" y="15073"/>
                    <a:pt x="5842" y="15073"/>
                  </a:cubicBezTo>
                  <a:cubicBezTo>
                    <a:pt x="6105" y="15073"/>
                    <a:pt x="6447" y="14939"/>
                    <a:pt x="6618" y="14686"/>
                  </a:cubicBezTo>
                  <a:cubicBezTo>
                    <a:pt x="6801" y="14551"/>
                    <a:pt x="6618" y="14046"/>
                    <a:pt x="6709" y="13912"/>
                  </a:cubicBezTo>
                  <a:cubicBezTo>
                    <a:pt x="6801" y="13659"/>
                    <a:pt x="7063" y="13524"/>
                    <a:pt x="7234" y="13390"/>
                  </a:cubicBezTo>
                  <a:cubicBezTo>
                    <a:pt x="7405" y="13390"/>
                    <a:pt x="7668" y="13659"/>
                    <a:pt x="7850" y="13659"/>
                  </a:cubicBezTo>
                  <a:cubicBezTo>
                    <a:pt x="7930" y="13659"/>
                    <a:pt x="8113" y="13659"/>
                    <a:pt x="8113" y="13524"/>
                  </a:cubicBezTo>
                  <a:cubicBezTo>
                    <a:pt x="8113" y="13272"/>
                    <a:pt x="7850" y="13019"/>
                    <a:pt x="7930" y="12885"/>
                  </a:cubicBezTo>
                  <a:cubicBezTo>
                    <a:pt x="8022" y="12497"/>
                    <a:pt x="8546" y="12750"/>
                    <a:pt x="8626" y="12363"/>
                  </a:cubicBezTo>
                  <a:cubicBezTo>
                    <a:pt x="8809" y="11975"/>
                    <a:pt x="8626" y="11470"/>
                    <a:pt x="8546" y="11083"/>
                  </a:cubicBezTo>
                  <a:cubicBezTo>
                    <a:pt x="8455" y="10831"/>
                    <a:pt x="8284" y="10561"/>
                    <a:pt x="8113" y="10443"/>
                  </a:cubicBezTo>
                  <a:cubicBezTo>
                    <a:pt x="7759" y="10191"/>
                    <a:pt x="7326" y="10561"/>
                    <a:pt x="6972" y="10309"/>
                  </a:cubicBezTo>
                  <a:cubicBezTo>
                    <a:pt x="6801" y="10191"/>
                    <a:pt x="6972" y="9804"/>
                    <a:pt x="6972" y="9534"/>
                  </a:cubicBezTo>
                  <a:cubicBezTo>
                    <a:pt x="6881" y="9282"/>
                    <a:pt x="6538" y="9282"/>
                    <a:pt x="6538" y="9029"/>
                  </a:cubicBezTo>
                  <a:cubicBezTo>
                    <a:pt x="6538" y="8642"/>
                    <a:pt x="6801" y="8255"/>
                    <a:pt x="6972" y="8002"/>
                  </a:cubicBezTo>
                  <a:cubicBezTo>
                    <a:pt x="7143" y="7868"/>
                    <a:pt x="7405" y="8255"/>
                    <a:pt x="7588" y="8255"/>
                  </a:cubicBezTo>
                  <a:cubicBezTo>
                    <a:pt x="7759" y="8120"/>
                    <a:pt x="7930" y="8120"/>
                    <a:pt x="8022" y="7868"/>
                  </a:cubicBezTo>
                  <a:cubicBezTo>
                    <a:pt x="8193" y="7480"/>
                    <a:pt x="8113" y="6841"/>
                    <a:pt x="8284" y="6319"/>
                  </a:cubicBezTo>
                  <a:cubicBezTo>
                    <a:pt x="8364" y="5931"/>
                    <a:pt x="8626" y="5814"/>
                    <a:pt x="8718" y="5561"/>
                  </a:cubicBezTo>
                  <a:cubicBezTo>
                    <a:pt x="8809" y="5174"/>
                    <a:pt x="8626" y="4517"/>
                    <a:pt x="9151" y="4147"/>
                  </a:cubicBezTo>
                  <a:cubicBezTo>
                    <a:pt x="11319" y="4147"/>
                    <a:pt x="13407" y="22"/>
                    <a:pt x="15507" y="22"/>
                  </a:cubicBezTo>
                  <a:cubicBezTo>
                    <a:pt x="16899" y="22"/>
                    <a:pt x="16979" y="-365"/>
                    <a:pt x="16808" y="2076"/>
                  </a:cubicBezTo>
                  <a:cubicBezTo>
                    <a:pt x="16728" y="3878"/>
                    <a:pt x="16899" y="5426"/>
                    <a:pt x="18291" y="5561"/>
                  </a:cubicBezTo>
                  <a:cubicBezTo>
                    <a:pt x="18987" y="5814"/>
                    <a:pt x="21600" y="8002"/>
                    <a:pt x="20379" y="8895"/>
                  </a:cubicBezTo>
                  <a:cubicBezTo>
                    <a:pt x="19945" y="9147"/>
                    <a:pt x="19512" y="10191"/>
                    <a:pt x="19078" y="10561"/>
                  </a:cubicBezTo>
                  <a:cubicBezTo>
                    <a:pt x="18645" y="11218"/>
                    <a:pt x="17161" y="12363"/>
                    <a:pt x="16636" y="12497"/>
                  </a:cubicBezTo>
                  <a:cubicBezTo>
                    <a:pt x="15507" y="12632"/>
                    <a:pt x="15678" y="11975"/>
                    <a:pt x="14891" y="11470"/>
                  </a:cubicBezTo>
                  <a:cubicBezTo>
                    <a:pt x="14286" y="11083"/>
                    <a:pt x="12449" y="13777"/>
                    <a:pt x="11935" y="14299"/>
                  </a:cubicBezTo>
                  <a:cubicBezTo>
                    <a:pt x="11582" y="14686"/>
                    <a:pt x="10977" y="15326"/>
                    <a:pt x="10794" y="15848"/>
                  </a:cubicBezTo>
                  <a:cubicBezTo>
                    <a:pt x="10532" y="16740"/>
                    <a:pt x="10886" y="17514"/>
                    <a:pt x="10269" y="18289"/>
                  </a:cubicBezTo>
                  <a:cubicBezTo>
                    <a:pt x="10007" y="18794"/>
                    <a:pt x="9414" y="19063"/>
                    <a:pt x="8980" y="18794"/>
                  </a:cubicBezTo>
                  <a:cubicBezTo>
                    <a:pt x="8455" y="18541"/>
                    <a:pt x="7326" y="19450"/>
                    <a:pt x="6881" y="19821"/>
                  </a:cubicBezTo>
                  <a:cubicBezTo>
                    <a:pt x="6447" y="19955"/>
                    <a:pt x="6709" y="21235"/>
                    <a:pt x="5922" y="20477"/>
                  </a:cubicBezTo>
                  <a:cubicBezTo>
                    <a:pt x="5580" y="20090"/>
                    <a:pt x="4884" y="19821"/>
                    <a:pt x="4450" y="19821"/>
                  </a:cubicBezTo>
                  <a:cubicBezTo>
                    <a:pt x="3663" y="19703"/>
                    <a:pt x="3309" y="18929"/>
                    <a:pt x="2442" y="18929"/>
                  </a:cubicBezTo>
                  <a:cubicBezTo>
                    <a:pt x="1837" y="18929"/>
                    <a:pt x="1130" y="19181"/>
                    <a:pt x="525" y="19181"/>
                  </a:cubicBezTo>
                  <a:cubicBezTo>
                    <a:pt x="0" y="17902"/>
                    <a:pt x="0" y="17902"/>
                    <a:pt x="0" y="1790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4" name="Shape 2479">
              <a:extLst>
                <a:ext uri="{FF2B5EF4-FFF2-40B4-BE49-F238E27FC236}">
                  <a16:creationId xmlns:a16="http://schemas.microsoft.com/office/drawing/2014/main" id="{000AA472-7199-1886-CF89-484A43291CA5}"/>
                </a:ext>
              </a:extLst>
            </p:cNvPr>
            <p:cNvSpPr/>
            <p:nvPr/>
          </p:nvSpPr>
          <p:spPr>
            <a:xfrm>
              <a:off x="2272817" y="3172233"/>
              <a:ext cx="159773" cy="127601"/>
            </a:xfrm>
            <a:custGeom>
              <a:avLst/>
              <a:gdLst/>
              <a:ahLst/>
              <a:cxnLst>
                <a:cxn ang="0">
                  <a:pos x="wd2" y="hd2"/>
                </a:cxn>
                <a:cxn ang="5400000">
                  <a:pos x="wd2" y="hd2"/>
                </a:cxn>
                <a:cxn ang="10800000">
                  <a:pos x="wd2" y="hd2"/>
                </a:cxn>
                <a:cxn ang="16200000">
                  <a:pos x="wd2" y="hd2"/>
                </a:cxn>
              </a:cxnLst>
              <a:rect l="0" t="0" r="r" b="b"/>
              <a:pathLst>
                <a:path w="21344" h="21367" extrusionOk="0">
                  <a:moveTo>
                    <a:pt x="9610" y="21367"/>
                  </a:moveTo>
                  <a:cubicBezTo>
                    <a:pt x="10284" y="20066"/>
                    <a:pt x="10284" y="17918"/>
                    <a:pt x="11316" y="17465"/>
                  </a:cubicBezTo>
                  <a:cubicBezTo>
                    <a:pt x="13023" y="16165"/>
                    <a:pt x="15448" y="17918"/>
                    <a:pt x="16840" y="17013"/>
                  </a:cubicBezTo>
                  <a:cubicBezTo>
                    <a:pt x="17514" y="16617"/>
                    <a:pt x="15089" y="16165"/>
                    <a:pt x="15089" y="14864"/>
                  </a:cubicBezTo>
                  <a:cubicBezTo>
                    <a:pt x="15089" y="14016"/>
                    <a:pt x="16481" y="13564"/>
                    <a:pt x="17154" y="12716"/>
                  </a:cubicBezTo>
                  <a:cubicBezTo>
                    <a:pt x="17154" y="11415"/>
                    <a:pt x="16121" y="9719"/>
                    <a:pt x="16840" y="8418"/>
                  </a:cubicBezTo>
                  <a:cubicBezTo>
                    <a:pt x="17154" y="7118"/>
                    <a:pt x="19220" y="7514"/>
                    <a:pt x="19894" y="6213"/>
                  </a:cubicBezTo>
                  <a:cubicBezTo>
                    <a:pt x="20567" y="5365"/>
                    <a:pt x="21600" y="4064"/>
                    <a:pt x="21286" y="2764"/>
                  </a:cubicBezTo>
                  <a:cubicBezTo>
                    <a:pt x="21286" y="1463"/>
                    <a:pt x="19894" y="1463"/>
                    <a:pt x="18861" y="1463"/>
                  </a:cubicBezTo>
                  <a:cubicBezTo>
                    <a:pt x="18187" y="1463"/>
                    <a:pt x="18187" y="2764"/>
                    <a:pt x="17514" y="2764"/>
                  </a:cubicBezTo>
                  <a:cubicBezTo>
                    <a:pt x="16840" y="2764"/>
                    <a:pt x="16121" y="2368"/>
                    <a:pt x="15807" y="2368"/>
                  </a:cubicBezTo>
                  <a:cubicBezTo>
                    <a:pt x="15089" y="2764"/>
                    <a:pt x="15089" y="4064"/>
                    <a:pt x="14415" y="4064"/>
                  </a:cubicBezTo>
                  <a:cubicBezTo>
                    <a:pt x="13023" y="4064"/>
                    <a:pt x="11676" y="4064"/>
                    <a:pt x="10284" y="3216"/>
                  </a:cubicBezTo>
                  <a:cubicBezTo>
                    <a:pt x="9610" y="2764"/>
                    <a:pt x="9610" y="1463"/>
                    <a:pt x="8936" y="615"/>
                  </a:cubicBezTo>
                  <a:cubicBezTo>
                    <a:pt x="8577" y="163"/>
                    <a:pt x="8218" y="-233"/>
                    <a:pt x="7904" y="163"/>
                  </a:cubicBezTo>
                  <a:cubicBezTo>
                    <a:pt x="6197" y="615"/>
                    <a:pt x="4805" y="1916"/>
                    <a:pt x="3099" y="2764"/>
                  </a:cubicBezTo>
                  <a:cubicBezTo>
                    <a:pt x="2739" y="3669"/>
                    <a:pt x="1706" y="4064"/>
                    <a:pt x="1392" y="4969"/>
                  </a:cubicBezTo>
                  <a:cubicBezTo>
                    <a:pt x="1033" y="6665"/>
                    <a:pt x="1392" y="7966"/>
                    <a:pt x="1392" y="9719"/>
                  </a:cubicBezTo>
                  <a:cubicBezTo>
                    <a:pt x="1392" y="10567"/>
                    <a:pt x="1392" y="11415"/>
                    <a:pt x="1392" y="11868"/>
                  </a:cubicBezTo>
                  <a:cubicBezTo>
                    <a:pt x="1033" y="12716"/>
                    <a:pt x="359" y="12263"/>
                    <a:pt x="0" y="12716"/>
                  </a:cubicBezTo>
                  <a:cubicBezTo>
                    <a:pt x="0" y="13564"/>
                    <a:pt x="359" y="14469"/>
                    <a:pt x="719" y="14864"/>
                  </a:cubicBezTo>
                  <a:cubicBezTo>
                    <a:pt x="1706" y="15713"/>
                    <a:pt x="3458" y="16165"/>
                    <a:pt x="4805" y="17013"/>
                  </a:cubicBezTo>
                  <a:cubicBezTo>
                    <a:pt x="9610" y="21367"/>
                    <a:pt x="9610" y="21367"/>
                    <a:pt x="9610" y="2136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5" name="Shape 2480">
              <a:extLst>
                <a:ext uri="{FF2B5EF4-FFF2-40B4-BE49-F238E27FC236}">
                  <a16:creationId xmlns:a16="http://schemas.microsoft.com/office/drawing/2014/main" id="{45E9DE7F-E337-61EC-D3E5-F599B03417D3}"/>
                </a:ext>
              </a:extLst>
            </p:cNvPr>
            <p:cNvSpPr/>
            <p:nvPr/>
          </p:nvSpPr>
          <p:spPr>
            <a:xfrm>
              <a:off x="1763725" y="2856178"/>
              <a:ext cx="547259" cy="548304"/>
            </a:xfrm>
            <a:custGeom>
              <a:avLst/>
              <a:gdLst/>
              <a:ahLst/>
              <a:cxnLst>
                <a:cxn ang="0">
                  <a:pos x="wd2" y="hd2"/>
                </a:cxn>
                <a:cxn ang="5400000">
                  <a:pos x="wd2" y="hd2"/>
                </a:cxn>
                <a:cxn ang="10800000">
                  <a:pos x="wd2" y="hd2"/>
                </a:cxn>
                <a:cxn ang="16200000">
                  <a:pos x="wd2" y="hd2"/>
                </a:cxn>
              </a:cxnLst>
              <a:rect l="0" t="0" r="r" b="b"/>
              <a:pathLst>
                <a:path w="21448" h="21487" extrusionOk="0">
                  <a:moveTo>
                    <a:pt x="6372" y="16978"/>
                  </a:moveTo>
                  <a:cubicBezTo>
                    <a:pt x="6676" y="17084"/>
                    <a:pt x="6980" y="17177"/>
                    <a:pt x="7376" y="17282"/>
                  </a:cubicBezTo>
                  <a:cubicBezTo>
                    <a:pt x="7482" y="17282"/>
                    <a:pt x="7680" y="17177"/>
                    <a:pt x="7786" y="17282"/>
                  </a:cubicBezTo>
                  <a:cubicBezTo>
                    <a:pt x="7984" y="17282"/>
                    <a:pt x="7984" y="17480"/>
                    <a:pt x="8195" y="17586"/>
                  </a:cubicBezTo>
                  <a:cubicBezTo>
                    <a:pt x="8393" y="17692"/>
                    <a:pt x="8790" y="17480"/>
                    <a:pt x="8895" y="17784"/>
                  </a:cubicBezTo>
                  <a:cubicBezTo>
                    <a:pt x="9001" y="17890"/>
                    <a:pt x="8486" y="17890"/>
                    <a:pt x="8393" y="18088"/>
                  </a:cubicBezTo>
                  <a:cubicBezTo>
                    <a:pt x="8393" y="18696"/>
                    <a:pt x="8592" y="19198"/>
                    <a:pt x="8790" y="19700"/>
                  </a:cubicBezTo>
                  <a:cubicBezTo>
                    <a:pt x="8895" y="19806"/>
                    <a:pt x="9094" y="19607"/>
                    <a:pt x="9199" y="19700"/>
                  </a:cubicBezTo>
                  <a:cubicBezTo>
                    <a:pt x="9503" y="20004"/>
                    <a:pt x="9503" y="20413"/>
                    <a:pt x="9807" y="20717"/>
                  </a:cubicBezTo>
                  <a:cubicBezTo>
                    <a:pt x="9900" y="20810"/>
                    <a:pt x="10111" y="20810"/>
                    <a:pt x="10203" y="20915"/>
                  </a:cubicBezTo>
                  <a:cubicBezTo>
                    <a:pt x="10507" y="20810"/>
                    <a:pt x="10705" y="20506"/>
                    <a:pt x="11009" y="20611"/>
                  </a:cubicBezTo>
                  <a:cubicBezTo>
                    <a:pt x="11313" y="20717"/>
                    <a:pt x="11419" y="21219"/>
                    <a:pt x="11723" y="21325"/>
                  </a:cubicBezTo>
                  <a:cubicBezTo>
                    <a:pt x="11815" y="21523"/>
                    <a:pt x="12119" y="21523"/>
                    <a:pt x="12330" y="21417"/>
                  </a:cubicBezTo>
                  <a:cubicBezTo>
                    <a:pt x="12634" y="21325"/>
                    <a:pt x="12727" y="21021"/>
                    <a:pt x="12938" y="20717"/>
                  </a:cubicBezTo>
                  <a:cubicBezTo>
                    <a:pt x="12938" y="20611"/>
                    <a:pt x="12938" y="20308"/>
                    <a:pt x="12832" y="20109"/>
                  </a:cubicBezTo>
                  <a:cubicBezTo>
                    <a:pt x="12832" y="19806"/>
                    <a:pt x="12529" y="19409"/>
                    <a:pt x="12529" y="19105"/>
                  </a:cubicBezTo>
                  <a:cubicBezTo>
                    <a:pt x="12529" y="19000"/>
                    <a:pt x="12634" y="18894"/>
                    <a:pt x="12727" y="18894"/>
                  </a:cubicBezTo>
                  <a:cubicBezTo>
                    <a:pt x="12938" y="19000"/>
                    <a:pt x="13136" y="19198"/>
                    <a:pt x="13440" y="19198"/>
                  </a:cubicBezTo>
                  <a:cubicBezTo>
                    <a:pt x="13533" y="19304"/>
                    <a:pt x="13836" y="19198"/>
                    <a:pt x="14048" y="19198"/>
                  </a:cubicBezTo>
                  <a:cubicBezTo>
                    <a:pt x="14140" y="19304"/>
                    <a:pt x="14338" y="19607"/>
                    <a:pt x="14550" y="19502"/>
                  </a:cubicBezTo>
                  <a:cubicBezTo>
                    <a:pt x="14854" y="19409"/>
                    <a:pt x="14946" y="18894"/>
                    <a:pt x="15250" y="18894"/>
                  </a:cubicBezTo>
                  <a:cubicBezTo>
                    <a:pt x="15448" y="18894"/>
                    <a:pt x="15356" y="19409"/>
                    <a:pt x="15448" y="19607"/>
                  </a:cubicBezTo>
                  <a:cubicBezTo>
                    <a:pt x="15752" y="19502"/>
                    <a:pt x="16056" y="19502"/>
                    <a:pt x="16360" y="19304"/>
                  </a:cubicBezTo>
                  <a:cubicBezTo>
                    <a:pt x="16465" y="19304"/>
                    <a:pt x="16465" y="19000"/>
                    <a:pt x="16571" y="19000"/>
                  </a:cubicBezTo>
                  <a:cubicBezTo>
                    <a:pt x="17073" y="18894"/>
                    <a:pt x="17575" y="19000"/>
                    <a:pt x="18077" y="18894"/>
                  </a:cubicBezTo>
                  <a:cubicBezTo>
                    <a:pt x="18183" y="18696"/>
                    <a:pt x="18275" y="18392"/>
                    <a:pt x="18487" y="18392"/>
                  </a:cubicBezTo>
                  <a:cubicBezTo>
                    <a:pt x="18989" y="18300"/>
                    <a:pt x="19596" y="18498"/>
                    <a:pt x="20204" y="18498"/>
                  </a:cubicBezTo>
                  <a:cubicBezTo>
                    <a:pt x="20495" y="18498"/>
                    <a:pt x="20904" y="18498"/>
                    <a:pt x="21208" y="18300"/>
                  </a:cubicBezTo>
                  <a:cubicBezTo>
                    <a:pt x="21406" y="18300"/>
                    <a:pt x="21512" y="18088"/>
                    <a:pt x="21406" y="17996"/>
                  </a:cubicBezTo>
                  <a:cubicBezTo>
                    <a:pt x="21406" y="17784"/>
                    <a:pt x="21010" y="17692"/>
                    <a:pt x="20904" y="17388"/>
                  </a:cubicBezTo>
                  <a:cubicBezTo>
                    <a:pt x="20904" y="16978"/>
                    <a:pt x="21208" y="16675"/>
                    <a:pt x="21406" y="16371"/>
                  </a:cubicBezTo>
                  <a:cubicBezTo>
                    <a:pt x="21010" y="16173"/>
                    <a:pt x="20495" y="16067"/>
                    <a:pt x="20204" y="15869"/>
                  </a:cubicBezTo>
                  <a:cubicBezTo>
                    <a:pt x="20098" y="15776"/>
                    <a:pt x="19993" y="15565"/>
                    <a:pt x="19993" y="15367"/>
                  </a:cubicBezTo>
                  <a:cubicBezTo>
                    <a:pt x="20098" y="15261"/>
                    <a:pt x="20297" y="15367"/>
                    <a:pt x="20402" y="15169"/>
                  </a:cubicBezTo>
                  <a:cubicBezTo>
                    <a:pt x="20402" y="15063"/>
                    <a:pt x="20402" y="14865"/>
                    <a:pt x="20402" y="14666"/>
                  </a:cubicBezTo>
                  <a:cubicBezTo>
                    <a:pt x="20402" y="14257"/>
                    <a:pt x="20297" y="13953"/>
                    <a:pt x="20402" y="13557"/>
                  </a:cubicBezTo>
                  <a:cubicBezTo>
                    <a:pt x="20495" y="13345"/>
                    <a:pt x="20799" y="13253"/>
                    <a:pt x="20904" y="13042"/>
                  </a:cubicBezTo>
                  <a:cubicBezTo>
                    <a:pt x="20799" y="12738"/>
                    <a:pt x="20904" y="12236"/>
                    <a:pt x="20600" y="11932"/>
                  </a:cubicBezTo>
                  <a:cubicBezTo>
                    <a:pt x="20495" y="11839"/>
                    <a:pt x="20297" y="12341"/>
                    <a:pt x="20098" y="12236"/>
                  </a:cubicBezTo>
                  <a:cubicBezTo>
                    <a:pt x="19900" y="12236"/>
                    <a:pt x="19900" y="11839"/>
                    <a:pt x="19689" y="11734"/>
                  </a:cubicBezTo>
                  <a:cubicBezTo>
                    <a:pt x="19385" y="11628"/>
                    <a:pt x="19081" y="11932"/>
                    <a:pt x="18777" y="11734"/>
                  </a:cubicBezTo>
                  <a:cubicBezTo>
                    <a:pt x="18275" y="11337"/>
                    <a:pt x="18077" y="10518"/>
                    <a:pt x="17469" y="10016"/>
                  </a:cubicBezTo>
                  <a:cubicBezTo>
                    <a:pt x="17271" y="9924"/>
                    <a:pt x="16875" y="10122"/>
                    <a:pt x="16571" y="10122"/>
                  </a:cubicBezTo>
                  <a:cubicBezTo>
                    <a:pt x="16267" y="10016"/>
                    <a:pt x="16162" y="9620"/>
                    <a:pt x="15963" y="9620"/>
                  </a:cubicBezTo>
                  <a:cubicBezTo>
                    <a:pt x="15660" y="9620"/>
                    <a:pt x="15554" y="10016"/>
                    <a:pt x="15356" y="9924"/>
                  </a:cubicBezTo>
                  <a:cubicBezTo>
                    <a:pt x="14642" y="9712"/>
                    <a:pt x="14048" y="9316"/>
                    <a:pt x="13440" y="8801"/>
                  </a:cubicBezTo>
                  <a:cubicBezTo>
                    <a:pt x="13136" y="8603"/>
                    <a:pt x="12832" y="8404"/>
                    <a:pt x="12634" y="8101"/>
                  </a:cubicBezTo>
                  <a:cubicBezTo>
                    <a:pt x="12529" y="7902"/>
                    <a:pt x="12938" y="7797"/>
                    <a:pt x="12938" y="7599"/>
                  </a:cubicBezTo>
                  <a:cubicBezTo>
                    <a:pt x="12938" y="7400"/>
                    <a:pt x="12529" y="7295"/>
                    <a:pt x="12529" y="7097"/>
                  </a:cubicBezTo>
                  <a:cubicBezTo>
                    <a:pt x="12423" y="6793"/>
                    <a:pt x="12330" y="6383"/>
                    <a:pt x="12529" y="6079"/>
                  </a:cubicBezTo>
                  <a:cubicBezTo>
                    <a:pt x="12727" y="5881"/>
                    <a:pt x="13334" y="6291"/>
                    <a:pt x="13440" y="5987"/>
                  </a:cubicBezTo>
                  <a:cubicBezTo>
                    <a:pt x="13744" y="5075"/>
                    <a:pt x="13136" y="4164"/>
                    <a:pt x="13440" y="3265"/>
                  </a:cubicBezTo>
                  <a:cubicBezTo>
                    <a:pt x="13533" y="2962"/>
                    <a:pt x="13942" y="3767"/>
                    <a:pt x="14246" y="3767"/>
                  </a:cubicBezTo>
                  <a:cubicBezTo>
                    <a:pt x="14444" y="3767"/>
                    <a:pt x="14444" y="3358"/>
                    <a:pt x="14748" y="3265"/>
                  </a:cubicBezTo>
                  <a:cubicBezTo>
                    <a:pt x="14854" y="3160"/>
                    <a:pt x="15250" y="3265"/>
                    <a:pt x="15356" y="3054"/>
                  </a:cubicBezTo>
                  <a:cubicBezTo>
                    <a:pt x="15448" y="2750"/>
                    <a:pt x="15356" y="2248"/>
                    <a:pt x="15250" y="1944"/>
                  </a:cubicBezTo>
                  <a:cubicBezTo>
                    <a:pt x="15052" y="1640"/>
                    <a:pt x="14748" y="1337"/>
                    <a:pt x="14444" y="1337"/>
                  </a:cubicBezTo>
                  <a:cubicBezTo>
                    <a:pt x="13334" y="1535"/>
                    <a:pt x="12423" y="2750"/>
                    <a:pt x="11313" y="2658"/>
                  </a:cubicBezTo>
                  <a:cubicBezTo>
                    <a:pt x="10811" y="2552"/>
                    <a:pt x="11419" y="1535"/>
                    <a:pt x="11221" y="1033"/>
                  </a:cubicBezTo>
                  <a:cubicBezTo>
                    <a:pt x="11115" y="729"/>
                    <a:pt x="10811" y="531"/>
                    <a:pt x="10613" y="333"/>
                  </a:cubicBezTo>
                  <a:cubicBezTo>
                    <a:pt x="10415" y="134"/>
                    <a:pt x="10203" y="-77"/>
                    <a:pt x="10005" y="29"/>
                  </a:cubicBezTo>
                  <a:cubicBezTo>
                    <a:pt x="9807" y="29"/>
                    <a:pt x="9807" y="333"/>
                    <a:pt x="9609" y="438"/>
                  </a:cubicBezTo>
                  <a:cubicBezTo>
                    <a:pt x="8895" y="729"/>
                    <a:pt x="8288" y="940"/>
                    <a:pt x="7482" y="1138"/>
                  </a:cubicBezTo>
                  <a:cubicBezTo>
                    <a:pt x="7376" y="1138"/>
                    <a:pt x="7284" y="835"/>
                    <a:pt x="7178" y="729"/>
                  </a:cubicBezTo>
                  <a:cubicBezTo>
                    <a:pt x="6874" y="729"/>
                    <a:pt x="6570" y="729"/>
                    <a:pt x="6478" y="940"/>
                  </a:cubicBezTo>
                  <a:cubicBezTo>
                    <a:pt x="6372" y="1138"/>
                    <a:pt x="6874" y="1442"/>
                    <a:pt x="6676" y="1535"/>
                  </a:cubicBezTo>
                  <a:cubicBezTo>
                    <a:pt x="6266" y="1746"/>
                    <a:pt x="5764" y="1442"/>
                    <a:pt x="5368" y="1535"/>
                  </a:cubicBezTo>
                  <a:cubicBezTo>
                    <a:pt x="5157" y="1640"/>
                    <a:pt x="4959" y="1746"/>
                    <a:pt x="4760" y="1944"/>
                  </a:cubicBezTo>
                  <a:cubicBezTo>
                    <a:pt x="4655" y="2050"/>
                    <a:pt x="4760" y="2248"/>
                    <a:pt x="4655" y="2446"/>
                  </a:cubicBezTo>
                  <a:cubicBezTo>
                    <a:pt x="4562" y="2552"/>
                    <a:pt x="4351" y="2446"/>
                    <a:pt x="4153" y="2446"/>
                  </a:cubicBezTo>
                  <a:cubicBezTo>
                    <a:pt x="3955" y="2658"/>
                    <a:pt x="3849" y="3054"/>
                    <a:pt x="3545" y="3054"/>
                  </a:cubicBezTo>
                  <a:cubicBezTo>
                    <a:pt x="3347" y="3160"/>
                    <a:pt x="3149" y="2856"/>
                    <a:pt x="2845" y="2856"/>
                  </a:cubicBezTo>
                  <a:cubicBezTo>
                    <a:pt x="2633" y="2856"/>
                    <a:pt x="2541" y="2962"/>
                    <a:pt x="2435" y="3054"/>
                  </a:cubicBezTo>
                  <a:cubicBezTo>
                    <a:pt x="2237" y="3265"/>
                    <a:pt x="2435" y="3662"/>
                    <a:pt x="2237" y="3860"/>
                  </a:cubicBezTo>
                  <a:cubicBezTo>
                    <a:pt x="2131" y="4071"/>
                    <a:pt x="1828" y="3767"/>
                    <a:pt x="1735" y="3860"/>
                  </a:cubicBezTo>
                  <a:cubicBezTo>
                    <a:pt x="1233" y="4269"/>
                    <a:pt x="824" y="4877"/>
                    <a:pt x="414" y="5379"/>
                  </a:cubicBezTo>
                  <a:cubicBezTo>
                    <a:pt x="322" y="5577"/>
                    <a:pt x="-88" y="5881"/>
                    <a:pt x="18" y="6185"/>
                  </a:cubicBezTo>
                  <a:cubicBezTo>
                    <a:pt x="216" y="6687"/>
                    <a:pt x="929" y="6885"/>
                    <a:pt x="1233" y="7400"/>
                  </a:cubicBezTo>
                  <a:cubicBezTo>
                    <a:pt x="1326" y="7493"/>
                    <a:pt x="1022" y="7797"/>
                    <a:pt x="1233" y="7902"/>
                  </a:cubicBezTo>
                  <a:cubicBezTo>
                    <a:pt x="1537" y="7995"/>
                    <a:pt x="1933" y="7704"/>
                    <a:pt x="2343" y="7797"/>
                  </a:cubicBezTo>
                  <a:cubicBezTo>
                    <a:pt x="2739" y="7797"/>
                    <a:pt x="3347" y="7704"/>
                    <a:pt x="3743" y="7995"/>
                  </a:cubicBezTo>
                  <a:cubicBezTo>
                    <a:pt x="3955" y="8206"/>
                    <a:pt x="3439" y="8510"/>
                    <a:pt x="3439" y="8801"/>
                  </a:cubicBezTo>
                  <a:cubicBezTo>
                    <a:pt x="3439" y="9105"/>
                    <a:pt x="3849" y="9409"/>
                    <a:pt x="3651" y="9712"/>
                  </a:cubicBezTo>
                  <a:cubicBezTo>
                    <a:pt x="3651" y="9924"/>
                    <a:pt x="3043" y="9514"/>
                    <a:pt x="3043" y="9712"/>
                  </a:cubicBezTo>
                  <a:cubicBezTo>
                    <a:pt x="2845" y="10320"/>
                    <a:pt x="3241" y="10928"/>
                    <a:pt x="3241" y="11535"/>
                  </a:cubicBezTo>
                  <a:cubicBezTo>
                    <a:pt x="3241" y="11932"/>
                    <a:pt x="3043" y="12341"/>
                    <a:pt x="3149" y="12645"/>
                  </a:cubicBezTo>
                  <a:cubicBezTo>
                    <a:pt x="3149" y="13147"/>
                    <a:pt x="3439" y="13557"/>
                    <a:pt x="3651" y="13953"/>
                  </a:cubicBezTo>
                  <a:cubicBezTo>
                    <a:pt x="3849" y="14455"/>
                    <a:pt x="3849" y="15169"/>
                    <a:pt x="4258" y="15565"/>
                  </a:cubicBezTo>
                  <a:cubicBezTo>
                    <a:pt x="4655" y="15974"/>
                    <a:pt x="5368" y="15565"/>
                    <a:pt x="5764" y="15869"/>
                  </a:cubicBezTo>
                  <a:cubicBezTo>
                    <a:pt x="6068" y="16067"/>
                    <a:pt x="6174" y="16582"/>
                    <a:pt x="6372" y="1697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6" name="Shape 2481">
              <a:extLst>
                <a:ext uri="{FF2B5EF4-FFF2-40B4-BE49-F238E27FC236}">
                  <a16:creationId xmlns:a16="http://schemas.microsoft.com/office/drawing/2014/main" id="{801A28E0-0590-BD14-E49A-BB23871B2599}"/>
                </a:ext>
              </a:extLst>
            </p:cNvPr>
            <p:cNvSpPr/>
            <p:nvPr/>
          </p:nvSpPr>
          <p:spPr>
            <a:xfrm>
              <a:off x="4213727" y="7917894"/>
              <a:ext cx="119008" cy="85450"/>
            </a:xfrm>
            <a:custGeom>
              <a:avLst/>
              <a:gdLst/>
              <a:ahLst/>
              <a:cxnLst>
                <a:cxn ang="0">
                  <a:pos x="wd2" y="hd2"/>
                </a:cxn>
                <a:cxn ang="5400000">
                  <a:pos x="wd2" y="hd2"/>
                </a:cxn>
                <a:cxn ang="10800000">
                  <a:pos x="wd2" y="hd2"/>
                </a:cxn>
                <a:cxn ang="16200000">
                  <a:pos x="wd2" y="hd2"/>
                </a:cxn>
              </a:cxnLst>
              <a:rect l="0" t="0" r="r" b="b"/>
              <a:pathLst>
                <a:path w="20892" h="21125" extrusionOk="0">
                  <a:moveTo>
                    <a:pt x="18185" y="21125"/>
                  </a:moveTo>
                  <a:cubicBezTo>
                    <a:pt x="19067" y="19214"/>
                    <a:pt x="20892" y="16057"/>
                    <a:pt x="20892" y="14147"/>
                  </a:cubicBezTo>
                  <a:cubicBezTo>
                    <a:pt x="20892" y="12236"/>
                    <a:pt x="20421" y="10325"/>
                    <a:pt x="19067" y="9743"/>
                  </a:cubicBezTo>
                  <a:cubicBezTo>
                    <a:pt x="18185" y="9079"/>
                    <a:pt x="16360" y="10990"/>
                    <a:pt x="15477" y="9743"/>
                  </a:cubicBezTo>
                  <a:cubicBezTo>
                    <a:pt x="14594" y="8414"/>
                    <a:pt x="15477" y="5257"/>
                    <a:pt x="14594" y="4011"/>
                  </a:cubicBezTo>
                  <a:cubicBezTo>
                    <a:pt x="13653" y="2100"/>
                    <a:pt x="11416" y="2100"/>
                    <a:pt x="10063" y="1436"/>
                  </a:cubicBezTo>
                  <a:cubicBezTo>
                    <a:pt x="8768" y="771"/>
                    <a:pt x="7414" y="-475"/>
                    <a:pt x="6060" y="190"/>
                  </a:cubicBezTo>
                  <a:cubicBezTo>
                    <a:pt x="5119" y="190"/>
                    <a:pt x="5590" y="3347"/>
                    <a:pt x="4707" y="4011"/>
                  </a:cubicBezTo>
                  <a:cubicBezTo>
                    <a:pt x="3353" y="5257"/>
                    <a:pt x="646" y="2100"/>
                    <a:pt x="175" y="4011"/>
                  </a:cubicBezTo>
                  <a:cubicBezTo>
                    <a:pt x="-708" y="7168"/>
                    <a:pt x="1999" y="12900"/>
                    <a:pt x="2882" y="16057"/>
                  </a:cubicBezTo>
                  <a:cubicBezTo>
                    <a:pt x="8297" y="16722"/>
                    <a:pt x="13241" y="18550"/>
                    <a:pt x="18185" y="2112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7" name="Shape 2482">
              <a:extLst>
                <a:ext uri="{FF2B5EF4-FFF2-40B4-BE49-F238E27FC236}">
                  <a16:creationId xmlns:a16="http://schemas.microsoft.com/office/drawing/2014/main" id="{F97D7665-7C4F-B4EF-053C-99EE85E0C5DB}"/>
                </a:ext>
              </a:extLst>
            </p:cNvPr>
            <p:cNvSpPr/>
            <p:nvPr/>
          </p:nvSpPr>
          <p:spPr>
            <a:xfrm>
              <a:off x="4270637" y="7697954"/>
              <a:ext cx="528085" cy="354120"/>
            </a:xfrm>
            <a:custGeom>
              <a:avLst/>
              <a:gdLst/>
              <a:ahLst/>
              <a:cxnLst>
                <a:cxn ang="0">
                  <a:pos x="wd2" y="hd2"/>
                </a:cxn>
                <a:cxn ang="5400000">
                  <a:pos x="wd2" y="hd2"/>
                </a:cxn>
                <a:cxn ang="10800000">
                  <a:pos x="wd2" y="hd2"/>
                </a:cxn>
                <a:cxn ang="16200000">
                  <a:pos x="wd2" y="hd2"/>
                </a:cxn>
              </a:cxnLst>
              <a:rect l="0" t="0" r="r" b="b"/>
              <a:pathLst>
                <a:path w="21508" h="20356" extrusionOk="0">
                  <a:moveTo>
                    <a:pt x="3362" y="555"/>
                  </a:moveTo>
                  <a:cubicBezTo>
                    <a:pt x="3993" y="245"/>
                    <a:pt x="3993" y="245"/>
                    <a:pt x="3993" y="245"/>
                  </a:cubicBezTo>
                  <a:cubicBezTo>
                    <a:pt x="4721" y="245"/>
                    <a:pt x="5558" y="-200"/>
                    <a:pt x="6189" y="110"/>
                  </a:cubicBezTo>
                  <a:cubicBezTo>
                    <a:pt x="6505" y="400"/>
                    <a:pt x="6079" y="1426"/>
                    <a:pt x="6395" y="1581"/>
                  </a:cubicBezTo>
                  <a:cubicBezTo>
                    <a:pt x="7026" y="1871"/>
                    <a:pt x="7767" y="1581"/>
                    <a:pt x="8385" y="1426"/>
                  </a:cubicBezTo>
                  <a:cubicBezTo>
                    <a:pt x="8920" y="1426"/>
                    <a:pt x="9441" y="1135"/>
                    <a:pt x="9963" y="1426"/>
                  </a:cubicBezTo>
                  <a:cubicBezTo>
                    <a:pt x="10388" y="1735"/>
                    <a:pt x="10594" y="2471"/>
                    <a:pt x="10910" y="2916"/>
                  </a:cubicBezTo>
                  <a:cubicBezTo>
                    <a:pt x="11431" y="3497"/>
                    <a:pt x="11953" y="3806"/>
                    <a:pt x="12474" y="4252"/>
                  </a:cubicBezTo>
                  <a:cubicBezTo>
                    <a:pt x="12790" y="4697"/>
                    <a:pt x="12900" y="5277"/>
                    <a:pt x="13215" y="5568"/>
                  </a:cubicBezTo>
                  <a:cubicBezTo>
                    <a:pt x="13737" y="6168"/>
                    <a:pt x="14368" y="6748"/>
                    <a:pt x="15095" y="7058"/>
                  </a:cubicBezTo>
                  <a:cubicBezTo>
                    <a:pt x="15630" y="7058"/>
                    <a:pt x="16042" y="6303"/>
                    <a:pt x="16564" y="6303"/>
                  </a:cubicBezTo>
                  <a:cubicBezTo>
                    <a:pt x="16989" y="6303"/>
                    <a:pt x="17305" y="6903"/>
                    <a:pt x="17716" y="7058"/>
                  </a:cubicBezTo>
                  <a:cubicBezTo>
                    <a:pt x="18142" y="7058"/>
                    <a:pt x="18663" y="6458"/>
                    <a:pt x="19089" y="6748"/>
                  </a:cubicBezTo>
                  <a:cubicBezTo>
                    <a:pt x="19706" y="7348"/>
                    <a:pt x="19926" y="8819"/>
                    <a:pt x="20543" y="9574"/>
                  </a:cubicBezTo>
                  <a:cubicBezTo>
                    <a:pt x="20763" y="9865"/>
                    <a:pt x="21284" y="9129"/>
                    <a:pt x="21490" y="9574"/>
                  </a:cubicBezTo>
                  <a:cubicBezTo>
                    <a:pt x="21600" y="10019"/>
                    <a:pt x="21175" y="11200"/>
                    <a:pt x="21175" y="11626"/>
                  </a:cubicBezTo>
                  <a:cubicBezTo>
                    <a:pt x="20447" y="11490"/>
                    <a:pt x="19610" y="11200"/>
                    <a:pt x="19089" y="11490"/>
                  </a:cubicBezTo>
                  <a:cubicBezTo>
                    <a:pt x="17922" y="12071"/>
                    <a:pt x="17401" y="14006"/>
                    <a:pt x="16358" y="14897"/>
                  </a:cubicBezTo>
                  <a:cubicBezTo>
                    <a:pt x="15932" y="15187"/>
                    <a:pt x="15932" y="15187"/>
                    <a:pt x="15932" y="15187"/>
                  </a:cubicBezTo>
                  <a:cubicBezTo>
                    <a:pt x="12790" y="15923"/>
                    <a:pt x="11431" y="15768"/>
                    <a:pt x="9016" y="19174"/>
                  </a:cubicBezTo>
                  <a:cubicBezTo>
                    <a:pt x="7452" y="21400"/>
                    <a:pt x="6079" y="20065"/>
                    <a:pt x="4405" y="18574"/>
                  </a:cubicBezTo>
                  <a:cubicBezTo>
                    <a:pt x="3993" y="18129"/>
                    <a:pt x="3252" y="18439"/>
                    <a:pt x="2731" y="18129"/>
                  </a:cubicBezTo>
                  <a:cubicBezTo>
                    <a:pt x="2415" y="17839"/>
                    <a:pt x="2209" y="17703"/>
                    <a:pt x="1894" y="17548"/>
                  </a:cubicBezTo>
                  <a:cubicBezTo>
                    <a:pt x="2100" y="17103"/>
                    <a:pt x="2525" y="16368"/>
                    <a:pt x="2525" y="15923"/>
                  </a:cubicBezTo>
                  <a:cubicBezTo>
                    <a:pt x="2525" y="15477"/>
                    <a:pt x="2415" y="15032"/>
                    <a:pt x="2100" y="14897"/>
                  </a:cubicBezTo>
                  <a:cubicBezTo>
                    <a:pt x="1894" y="14742"/>
                    <a:pt x="1468" y="15187"/>
                    <a:pt x="1263" y="14897"/>
                  </a:cubicBezTo>
                  <a:cubicBezTo>
                    <a:pt x="1057" y="14587"/>
                    <a:pt x="1263" y="13852"/>
                    <a:pt x="1057" y="13561"/>
                  </a:cubicBezTo>
                  <a:cubicBezTo>
                    <a:pt x="837" y="13116"/>
                    <a:pt x="316" y="13116"/>
                    <a:pt x="0" y="12961"/>
                  </a:cubicBezTo>
                  <a:cubicBezTo>
                    <a:pt x="110" y="11935"/>
                    <a:pt x="425" y="10890"/>
                    <a:pt x="535" y="9865"/>
                  </a:cubicBezTo>
                  <a:cubicBezTo>
                    <a:pt x="631" y="9419"/>
                    <a:pt x="316" y="8819"/>
                    <a:pt x="425" y="8374"/>
                  </a:cubicBezTo>
                  <a:cubicBezTo>
                    <a:pt x="535" y="8084"/>
                    <a:pt x="741" y="7639"/>
                    <a:pt x="1057" y="7639"/>
                  </a:cubicBezTo>
                  <a:cubicBezTo>
                    <a:pt x="1578" y="7503"/>
                    <a:pt x="2209" y="8684"/>
                    <a:pt x="2621" y="8239"/>
                  </a:cubicBezTo>
                  <a:cubicBezTo>
                    <a:pt x="3156" y="7503"/>
                    <a:pt x="3047" y="6013"/>
                    <a:pt x="3047" y="4987"/>
                  </a:cubicBezTo>
                  <a:cubicBezTo>
                    <a:pt x="2937" y="4252"/>
                    <a:pt x="2100" y="3652"/>
                    <a:pt x="2209" y="2916"/>
                  </a:cubicBezTo>
                  <a:cubicBezTo>
                    <a:pt x="2415" y="2181"/>
                    <a:pt x="3472" y="2626"/>
                    <a:pt x="3774" y="2026"/>
                  </a:cubicBezTo>
                  <a:cubicBezTo>
                    <a:pt x="3993" y="1581"/>
                    <a:pt x="3568" y="981"/>
                    <a:pt x="3362" y="5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8" name="Shape 2483">
              <a:extLst>
                <a:ext uri="{FF2B5EF4-FFF2-40B4-BE49-F238E27FC236}">
                  <a16:creationId xmlns:a16="http://schemas.microsoft.com/office/drawing/2014/main" id="{B37CDEB3-BE67-0845-EA42-151205F0F00D}"/>
                </a:ext>
              </a:extLst>
            </p:cNvPr>
            <p:cNvSpPr/>
            <p:nvPr/>
          </p:nvSpPr>
          <p:spPr>
            <a:xfrm>
              <a:off x="3836588" y="7685554"/>
              <a:ext cx="529417" cy="392117"/>
            </a:xfrm>
            <a:custGeom>
              <a:avLst/>
              <a:gdLst/>
              <a:ahLst/>
              <a:cxnLst>
                <a:cxn ang="0">
                  <a:pos x="wd2" y="hd2"/>
                </a:cxn>
                <a:cxn ang="5400000">
                  <a:pos x="wd2" y="hd2"/>
                </a:cxn>
                <a:cxn ang="10800000">
                  <a:pos x="wd2" y="hd2"/>
                </a:cxn>
                <a:cxn ang="16200000">
                  <a:pos x="wd2" y="hd2"/>
                </a:cxn>
              </a:cxnLst>
              <a:rect l="0" t="0" r="r" b="b"/>
              <a:pathLst>
                <a:path w="21442" h="21600" extrusionOk="0">
                  <a:moveTo>
                    <a:pt x="17624" y="13209"/>
                  </a:moveTo>
                  <a:cubicBezTo>
                    <a:pt x="17734" y="12223"/>
                    <a:pt x="18048" y="11219"/>
                    <a:pt x="18157" y="10233"/>
                  </a:cubicBezTo>
                  <a:cubicBezTo>
                    <a:pt x="18253" y="9805"/>
                    <a:pt x="17939" y="9228"/>
                    <a:pt x="18048" y="8800"/>
                  </a:cubicBezTo>
                  <a:cubicBezTo>
                    <a:pt x="18157" y="8521"/>
                    <a:pt x="18362" y="8093"/>
                    <a:pt x="18676" y="8093"/>
                  </a:cubicBezTo>
                  <a:cubicBezTo>
                    <a:pt x="19195" y="7963"/>
                    <a:pt x="19824" y="9098"/>
                    <a:pt x="20234" y="8670"/>
                  </a:cubicBezTo>
                  <a:cubicBezTo>
                    <a:pt x="20767" y="7963"/>
                    <a:pt x="20657" y="6530"/>
                    <a:pt x="20657" y="5544"/>
                  </a:cubicBezTo>
                  <a:cubicBezTo>
                    <a:pt x="20548" y="4837"/>
                    <a:pt x="19715" y="4260"/>
                    <a:pt x="19824" y="3553"/>
                  </a:cubicBezTo>
                  <a:cubicBezTo>
                    <a:pt x="20029" y="2847"/>
                    <a:pt x="21081" y="3274"/>
                    <a:pt x="21381" y="2698"/>
                  </a:cubicBezTo>
                  <a:cubicBezTo>
                    <a:pt x="21600" y="2270"/>
                    <a:pt x="21176" y="1693"/>
                    <a:pt x="20972" y="1284"/>
                  </a:cubicBezTo>
                  <a:cubicBezTo>
                    <a:pt x="20343" y="1284"/>
                    <a:pt x="19715" y="1135"/>
                    <a:pt x="18991" y="1135"/>
                  </a:cubicBezTo>
                  <a:cubicBezTo>
                    <a:pt x="18567" y="1284"/>
                    <a:pt x="18157" y="1563"/>
                    <a:pt x="17734" y="1284"/>
                  </a:cubicBezTo>
                  <a:cubicBezTo>
                    <a:pt x="17419" y="1135"/>
                    <a:pt x="17419" y="558"/>
                    <a:pt x="17214" y="149"/>
                  </a:cubicBezTo>
                  <a:cubicBezTo>
                    <a:pt x="17214" y="149"/>
                    <a:pt x="16477" y="0"/>
                    <a:pt x="16381" y="0"/>
                  </a:cubicBezTo>
                  <a:cubicBezTo>
                    <a:pt x="16272" y="0"/>
                    <a:pt x="15015" y="1284"/>
                    <a:pt x="15015" y="1284"/>
                  </a:cubicBezTo>
                  <a:cubicBezTo>
                    <a:pt x="13772" y="1842"/>
                    <a:pt x="12624" y="2419"/>
                    <a:pt x="11367" y="2977"/>
                  </a:cubicBezTo>
                  <a:cubicBezTo>
                    <a:pt x="10424" y="3274"/>
                    <a:pt x="9495" y="3684"/>
                    <a:pt x="8553" y="3833"/>
                  </a:cubicBezTo>
                  <a:cubicBezTo>
                    <a:pt x="8129" y="3833"/>
                    <a:pt x="7610" y="3553"/>
                    <a:pt x="7186" y="3684"/>
                  </a:cubicBezTo>
                  <a:cubicBezTo>
                    <a:pt x="6667" y="3684"/>
                    <a:pt x="6257" y="4112"/>
                    <a:pt x="5738" y="4112"/>
                  </a:cubicBezTo>
                  <a:cubicBezTo>
                    <a:pt x="5219" y="4112"/>
                    <a:pt x="4795" y="3833"/>
                    <a:pt x="4372" y="3684"/>
                  </a:cubicBezTo>
                  <a:cubicBezTo>
                    <a:pt x="3962" y="3981"/>
                    <a:pt x="3539" y="4540"/>
                    <a:pt x="3129" y="4837"/>
                  </a:cubicBezTo>
                  <a:cubicBezTo>
                    <a:pt x="2910" y="4967"/>
                    <a:pt x="2596" y="4540"/>
                    <a:pt x="2391" y="4688"/>
                  </a:cubicBezTo>
                  <a:cubicBezTo>
                    <a:pt x="1981" y="5116"/>
                    <a:pt x="1667" y="5823"/>
                    <a:pt x="1462" y="6400"/>
                  </a:cubicBezTo>
                  <a:cubicBezTo>
                    <a:pt x="1148" y="7386"/>
                    <a:pt x="929" y="8372"/>
                    <a:pt x="615" y="9377"/>
                  </a:cubicBezTo>
                  <a:cubicBezTo>
                    <a:pt x="410" y="10381"/>
                    <a:pt x="96" y="11367"/>
                    <a:pt x="0" y="12502"/>
                  </a:cubicBezTo>
                  <a:cubicBezTo>
                    <a:pt x="0" y="12930"/>
                    <a:pt x="519" y="13209"/>
                    <a:pt x="519" y="13786"/>
                  </a:cubicBezTo>
                  <a:cubicBezTo>
                    <a:pt x="519" y="14344"/>
                    <a:pt x="0" y="14772"/>
                    <a:pt x="0" y="15349"/>
                  </a:cubicBezTo>
                  <a:cubicBezTo>
                    <a:pt x="0" y="16205"/>
                    <a:pt x="410" y="18326"/>
                    <a:pt x="519" y="19033"/>
                  </a:cubicBezTo>
                  <a:cubicBezTo>
                    <a:pt x="724" y="19033"/>
                    <a:pt x="833" y="19181"/>
                    <a:pt x="1038" y="19181"/>
                  </a:cubicBezTo>
                  <a:cubicBezTo>
                    <a:pt x="1762" y="19460"/>
                    <a:pt x="2705" y="21600"/>
                    <a:pt x="3224" y="21600"/>
                  </a:cubicBezTo>
                  <a:cubicBezTo>
                    <a:pt x="3224" y="18605"/>
                    <a:pt x="6572" y="18047"/>
                    <a:pt x="8129" y="17619"/>
                  </a:cubicBezTo>
                  <a:cubicBezTo>
                    <a:pt x="10424" y="16912"/>
                    <a:pt x="12310" y="17898"/>
                    <a:pt x="14605" y="16335"/>
                  </a:cubicBezTo>
                  <a:cubicBezTo>
                    <a:pt x="15015" y="16335"/>
                    <a:pt x="15548" y="16335"/>
                    <a:pt x="15957" y="16484"/>
                  </a:cubicBezTo>
                  <a:cubicBezTo>
                    <a:pt x="15753" y="15777"/>
                    <a:pt x="15124" y="14493"/>
                    <a:pt x="15329" y="13786"/>
                  </a:cubicBezTo>
                  <a:cubicBezTo>
                    <a:pt x="15438" y="13358"/>
                    <a:pt x="16067" y="14065"/>
                    <a:pt x="16381" y="13786"/>
                  </a:cubicBezTo>
                  <a:cubicBezTo>
                    <a:pt x="16586" y="13637"/>
                    <a:pt x="16477" y="12930"/>
                    <a:pt x="16695" y="12930"/>
                  </a:cubicBezTo>
                  <a:cubicBezTo>
                    <a:pt x="17009" y="12781"/>
                    <a:pt x="17324" y="13060"/>
                    <a:pt x="17624" y="1320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9" name="Shape 2484">
              <a:extLst>
                <a:ext uri="{FF2B5EF4-FFF2-40B4-BE49-F238E27FC236}">
                  <a16:creationId xmlns:a16="http://schemas.microsoft.com/office/drawing/2014/main" id="{7E821C4A-BD70-FEF7-30BF-E9D4F60855CA}"/>
                </a:ext>
              </a:extLst>
            </p:cNvPr>
            <p:cNvSpPr/>
            <p:nvPr/>
          </p:nvSpPr>
          <p:spPr>
            <a:xfrm>
              <a:off x="2309392" y="7545818"/>
              <a:ext cx="830751" cy="432257"/>
            </a:xfrm>
            <a:custGeom>
              <a:avLst/>
              <a:gdLst/>
              <a:ahLst/>
              <a:cxnLst>
                <a:cxn ang="0">
                  <a:pos x="wd2" y="hd2"/>
                </a:cxn>
                <a:cxn ang="5400000">
                  <a:pos x="wd2" y="hd2"/>
                </a:cxn>
                <a:cxn ang="10800000">
                  <a:pos x="wd2" y="hd2"/>
                </a:cxn>
                <a:cxn ang="16200000">
                  <a:pos x="wd2" y="hd2"/>
                </a:cxn>
              </a:cxnLst>
              <a:rect l="0" t="0" r="r" b="b"/>
              <a:pathLst>
                <a:path w="21450" h="21600" extrusionOk="0">
                  <a:moveTo>
                    <a:pt x="20807" y="387"/>
                  </a:moveTo>
                  <a:cubicBezTo>
                    <a:pt x="20937" y="774"/>
                    <a:pt x="21138" y="1161"/>
                    <a:pt x="21207" y="1682"/>
                  </a:cubicBezTo>
                  <a:cubicBezTo>
                    <a:pt x="21338" y="2321"/>
                    <a:pt x="21538" y="3213"/>
                    <a:pt x="21407" y="3852"/>
                  </a:cubicBezTo>
                  <a:cubicBezTo>
                    <a:pt x="21138" y="5400"/>
                    <a:pt x="20606" y="6695"/>
                    <a:pt x="20206" y="8108"/>
                  </a:cubicBezTo>
                  <a:cubicBezTo>
                    <a:pt x="20075" y="8479"/>
                    <a:pt x="19805" y="8748"/>
                    <a:pt x="19805" y="9252"/>
                  </a:cubicBezTo>
                  <a:cubicBezTo>
                    <a:pt x="19805" y="9774"/>
                    <a:pt x="20145" y="10161"/>
                    <a:pt x="20276" y="10548"/>
                  </a:cubicBezTo>
                  <a:cubicBezTo>
                    <a:pt x="20206" y="10665"/>
                    <a:pt x="20075" y="10800"/>
                    <a:pt x="20006" y="10935"/>
                  </a:cubicBezTo>
                  <a:cubicBezTo>
                    <a:pt x="20006" y="11439"/>
                    <a:pt x="20276" y="11826"/>
                    <a:pt x="20206" y="12213"/>
                  </a:cubicBezTo>
                  <a:cubicBezTo>
                    <a:pt x="20075" y="12987"/>
                    <a:pt x="19544" y="13374"/>
                    <a:pt x="19544" y="14013"/>
                  </a:cubicBezTo>
                  <a:cubicBezTo>
                    <a:pt x="19544" y="14518"/>
                    <a:pt x="20337" y="14652"/>
                    <a:pt x="20206" y="14905"/>
                  </a:cubicBezTo>
                  <a:cubicBezTo>
                    <a:pt x="19875" y="15561"/>
                    <a:pt x="19274" y="15039"/>
                    <a:pt x="18874" y="15292"/>
                  </a:cubicBezTo>
                  <a:cubicBezTo>
                    <a:pt x="18743" y="15426"/>
                    <a:pt x="18674" y="16335"/>
                    <a:pt x="18543" y="16200"/>
                  </a:cubicBezTo>
                  <a:cubicBezTo>
                    <a:pt x="18143" y="15813"/>
                    <a:pt x="18212" y="14518"/>
                    <a:pt x="17812" y="14265"/>
                  </a:cubicBezTo>
                  <a:cubicBezTo>
                    <a:pt x="17411" y="14013"/>
                    <a:pt x="16950" y="14400"/>
                    <a:pt x="16619" y="14905"/>
                  </a:cubicBezTo>
                  <a:cubicBezTo>
                    <a:pt x="16480" y="15174"/>
                    <a:pt x="16549" y="15813"/>
                    <a:pt x="16549" y="16335"/>
                  </a:cubicBezTo>
                  <a:cubicBezTo>
                    <a:pt x="16480" y="17092"/>
                    <a:pt x="16680" y="18000"/>
                    <a:pt x="16480" y="18757"/>
                  </a:cubicBezTo>
                  <a:cubicBezTo>
                    <a:pt x="16419" y="19144"/>
                    <a:pt x="16079" y="18892"/>
                    <a:pt x="15949" y="18892"/>
                  </a:cubicBezTo>
                  <a:cubicBezTo>
                    <a:pt x="15217" y="19279"/>
                    <a:pt x="14425" y="19531"/>
                    <a:pt x="13694" y="19918"/>
                  </a:cubicBezTo>
                  <a:cubicBezTo>
                    <a:pt x="13494" y="20052"/>
                    <a:pt x="13354" y="20187"/>
                    <a:pt x="13154" y="20305"/>
                  </a:cubicBezTo>
                  <a:cubicBezTo>
                    <a:pt x="12893" y="20439"/>
                    <a:pt x="12562" y="20439"/>
                    <a:pt x="12362" y="20692"/>
                  </a:cubicBezTo>
                  <a:cubicBezTo>
                    <a:pt x="12161" y="20826"/>
                    <a:pt x="12092" y="21331"/>
                    <a:pt x="11892" y="21600"/>
                  </a:cubicBezTo>
                  <a:cubicBezTo>
                    <a:pt x="11761" y="21079"/>
                    <a:pt x="11761" y="20439"/>
                    <a:pt x="11500" y="20052"/>
                  </a:cubicBezTo>
                  <a:cubicBezTo>
                    <a:pt x="11300" y="19800"/>
                    <a:pt x="10960" y="20305"/>
                    <a:pt x="10760" y="20187"/>
                  </a:cubicBezTo>
                  <a:cubicBezTo>
                    <a:pt x="10568" y="19918"/>
                    <a:pt x="10499" y="19413"/>
                    <a:pt x="10499" y="19026"/>
                  </a:cubicBezTo>
                  <a:cubicBezTo>
                    <a:pt x="10429" y="18639"/>
                    <a:pt x="10699" y="18252"/>
                    <a:pt x="10629" y="18000"/>
                  </a:cubicBezTo>
                  <a:cubicBezTo>
                    <a:pt x="10568" y="17731"/>
                    <a:pt x="10368" y="17865"/>
                    <a:pt x="10229" y="17865"/>
                  </a:cubicBezTo>
                  <a:cubicBezTo>
                    <a:pt x="9898" y="18000"/>
                    <a:pt x="9567" y="18387"/>
                    <a:pt x="9236" y="18387"/>
                  </a:cubicBezTo>
                  <a:cubicBezTo>
                    <a:pt x="9036" y="18252"/>
                    <a:pt x="8836" y="18000"/>
                    <a:pt x="8836" y="17613"/>
                  </a:cubicBezTo>
                  <a:cubicBezTo>
                    <a:pt x="8766" y="17092"/>
                    <a:pt x="9167" y="16452"/>
                    <a:pt x="8966" y="16065"/>
                  </a:cubicBezTo>
                  <a:cubicBezTo>
                    <a:pt x="8635" y="15679"/>
                    <a:pt x="8183" y="16452"/>
                    <a:pt x="7843" y="16200"/>
                  </a:cubicBezTo>
                  <a:cubicBezTo>
                    <a:pt x="7451" y="15948"/>
                    <a:pt x="7251" y="15039"/>
                    <a:pt x="6851" y="14652"/>
                  </a:cubicBezTo>
                  <a:cubicBezTo>
                    <a:pt x="6650" y="14400"/>
                    <a:pt x="6320" y="15039"/>
                    <a:pt x="6180" y="14652"/>
                  </a:cubicBezTo>
                  <a:cubicBezTo>
                    <a:pt x="5980" y="14265"/>
                    <a:pt x="6250" y="13492"/>
                    <a:pt x="6119" y="12987"/>
                  </a:cubicBezTo>
                  <a:cubicBezTo>
                    <a:pt x="6050" y="12735"/>
                    <a:pt x="5849" y="12600"/>
                    <a:pt x="5649" y="12600"/>
                  </a:cubicBezTo>
                  <a:cubicBezTo>
                    <a:pt x="5519" y="12600"/>
                    <a:pt x="5318" y="12852"/>
                    <a:pt x="5118" y="12852"/>
                  </a:cubicBezTo>
                  <a:cubicBezTo>
                    <a:pt x="5057" y="12852"/>
                    <a:pt x="4988" y="12465"/>
                    <a:pt x="4918" y="12465"/>
                  </a:cubicBezTo>
                  <a:cubicBezTo>
                    <a:pt x="4726" y="12348"/>
                    <a:pt x="4526" y="12213"/>
                    <a:pt x="4387" y="12465"/>
                  </a:cubicBezTo>
                  <a:cubicBezTo>
                    <a:pt x="4256" y="12735"/>
                    <a:pt x="4256" y="13492"/>
                    <a:pt x="4056" y="13626"/>
                  </a:cubicBezTo>
                  <a:cubicBezTo>
                    <a:pt x="3725" y="13879"/>
                    <a:pt x="3255" y="13761"/>
                    <a:pt x="2994" y="13374"/>
                  </a:cubicBezTo>
                  <a:cubicBezTo>
                    <a:pt x="2863" y="13105"/>
                    <a:pt x="3124" y="12735"/>
                    <a:pt x="3124" y="12348"/>
                  </a:cubicBezTo>
                  <a:cubicBezTo>
                    <a:pt x="3194" y="12079"/>
                    <a:pt x="3255" y="11708"/>
                    <a:pt x="3124" y="11439"/>
                  </a:cubicBezTo>
                  <a:cubicBezTo>
                    <a:pt x="3055" y="11187"/>
                    <a:pt x="2863" y="11439"/>
                    <a:pt x="2724" y="11439"/>
                  </a:cubicBezTo>
                  <a:cubicBezTo>
                    <a:pt x="2332" y="11187"/>
                    <a:pt x="1993" y="10800"/>
                    <a:pt x="1662" y="10413"/>
                  </a:cubicBezTo>
                  <a:cubicBezTo>
                    <a:pt x="1131" y="9639"/>
                    <a:pt x="530" y="9000"/>
                    <a:pt x="199" y="8108"/>
                  </a:cubicBezTo>
                  <a:cubicBezTo>
                    <a:pt x="-1" y="7587"/>
                    <a:pt x="-62" y="6813"/>
                    <a:pt x="69" y="6308"/>
                  </a:cubicBezTo>
                  <a:cubicBezTo>
                    <a:pt x="130" y="6039"/>
                    <a:pt x="399" y="6174"/>
                    <a:pt x="530" y="6174"/>
                  </a:cubicBezTo>
                  <a:cubicBezTo>
                    <a:pt x="861" y="6039"/>
                    <a:pt x="1261" y="6308"/>
                    <a:pt x="1531" y="6039"/>
                  </a:cubicBezTo>
                  <a:cubicBezTo>
                    <a:pt x="1662" y="5787"/>
                    <a:pt x="1531" y="5787"/>
                    <a:pt x="1531" y="5400"/>
                  </a:cubicBezTo>
                  <a:cubicBezTo>
                    <a:pt x="2663" y="5535"/>
                    <a:pt x="4126" y="4508"/>
                    <a:pt x="4918" y="5148"/>
                  </a:cubicBezTo>
                  <a:cubicBezTo>
                    <a:pt x="5188" y="5535"/>
                    <a:pt x="5649" y="6426"/>
                    <a:pt x="6050" y="6308"/>
                  </a:cubicBezTo>
                  <a:cubicBezTo>
                    <a:pt x="6981" y="6695"/>
                    <a:pt x="7312" y="6426"/>
                    <a:pt x="8113" y="6039"/>
                  </a:cubicBezTo>
                  <a:cubicBezTo>
                    <a:pt x="8766" y="5669"/>
                    <a:pt x="8966" y="4626"/>
                    <a:pt x="9637" y="5282"/>
                  </a:cubicBezTo>
                  <a:cubicBezTo>
                    <a:pt x="9968" y="5535"/>
                    <a:pt x="10229" y="5787"/>
                    <a:pt x="10568" y="5148"/>
                  </a:cubicBezTo>
                  <a:cubicBezTo>
                    <a:pt x="10960" y="4508"/>
                    <a:pt x="10899" y="3735"/>
                    <a:pt x="10899" y="2826"/>
                  </a:cubicBezTo>
                  <a:cubicBezTo>
                    <a:pt x="10899" y="1800"/>
                    <a:pt x="10960" y="908"/>
                    <a:pt x="11099" y="0"/>
                  </a:cubicBezTo>
                  <a:cubicBezTo>
                    <a:pt x="11160" y="135"/>
                    <a:pt x="11360" y="521"/>
                    <a:pt x="11500" y="656"/>
                  </a:cubicBezTo>
                  <a:cubicBezTo>
                    <a:pt x="11561" y="908"/>
                    <a:pt x="11630" y="1161"/>
                    <a:pt x="11761" y="1295"/>
                  </a:cubicBezTo>
                  <a:cubicBezTo>
                    <a:pt x="12031" y="1548"/>
                    <a:pt x="12292" y="1548"/>
                    <a:pt x="12562" y="1548"/>
                  </a:cubicBezTo>
                  <a:cubicBezTo>
                    <a:pt x="12623" y="1548"/>
                    <a:pt x="12623" y="1295"/>
                    <a:pt x="12762" y="1295"/>
                  </a:cubicBezTo>
                  <a:cubicBezTo>
                    <a:pt x="13093" y="1161"/>
                    <a:pt x="13554" y="1548"/>
                    <a:pt x="13885" y="1161"/>
                  </a:cubicBezTo>
                  <a:cubicBezTo>
                    <a:pt x="14025" y="1043"/>
                    <a:pt x="13624" y="387"/>
                    <a:pt x="13755" y="269"/>
                  </a:cubicBezTo>
                  <a:cubicBezTo>
                    <a:pt x="14355" y="135"/>
                    <a:pt x="14886" y="521"/>
                    <a:pt x="15487" y="656"/>
                  </a:cubicBezTo>
                  <a:cubicBezTo>
                    <a:pt x="15748" y="1043"/>
                    <a:pt x="16079" y="1548"/>
                    <a:pt x="16349" y="1935"/>
                  </a:cubicBezTo>
                  <a:cubicBezTo>
                    <a:pt x="16349" y="1935"/>
                    <a:pt x="17281" y="1430"/>
                    <a:pt x="17350" y="1430"/>
                  </a:cubicBezTo>
                  <a:cubicBezTo>
                    <a:pt x="17411" y="1430"/>
                    <a:pt x="18012" y="1800"/>
                    <a:pt x="18012" y="1800"/>
                  </a:cubicBezTo>
                  <a:cubicBezTo>
                    <a:pt x="18212" y="2069"/>
                    <a:pt x="18343" y="2574"/>
                    <a:pt x="18473" y="2456"/>
                  </a:cubicBezTo>
                  <a:cubicBezTo>
                    <a:pt x="18813" y="2321"/>
                    <a:pt x="18944" y="1548"/>
                    <a:pt x="19274" y="1295"/>
                  </a:cubicBezTo>
                  <a:cubicBezTo>
                    <a:pt x="19745" y="774"/>
                    <a:pt x="20276" y="656"/>
                    <a:pt x="20807" y="38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0" name="Shape 2485">
              <a:extLst>
                <a:ext uri="{FF2B5EF4-FFF2-40B4-BE49-F238E27FC236}">
                  <a16:creationId xmlns:a16="http://schemas.microsoft.com/office/drawing/2014/main" id="{50D7A161-CA29-095D-5F99-2065EECAC66D}"/>
                </a:ext>
              </a:extLst>
            </p:cNvPr>
            <p:cNvSpPr/>
            <p:nvPr/>
          </p:nvSpPr>
          <p:spPr>
            <a:xfrm>
              <a:off x="3075514" y="7229178"/>
              <a:ext cx="481355" cy="640923"/>
            </a:xfrm>
            <a:custGeom>
              <a:avLst/>
              <a:gdLst/>
              <a:ahLst/>
              <a:cxnLst>
                <a:cxn ang="0">
                  <a:pos x="wd2" y="hd2"/>
                </a:cxn>
                <a:cxn ang="5400000">
                  <a:pos x="wd2" y="hd2"/>
                </a:cxn>
                <a:cxn ang="10800000">
                  <a:pos x="wd2" y="hd2"/>
                </a:cxn>
                <a:cxn ang="16200000">
                  <a:pos x="wd2" y="hd2"/>
                </a:cxn>
              </a:cxnLst>
              <a:rect l="0" t="0" r="r" b="b"/>
              <a:pathLst>
                <a:path w="21471" h="21519" extrusionOk="0">
                  <a:moveTo>
                    <a:pt x="1730" y="10879"/>
                  </a:moveTo>
                  <a:cubicBezTo>
                    <a:pt x="1955" y="11139"/>
                    <a:pt x="2301" y="11399"/>
                    <a:pt x="2422" y="11750"/>
                  </a:cubicBezTo>
                  <a:cubicBezTo>
                    <a:pt x="2647" y="12180"/>
                    <a:pt x="2993" y="12779"/>
                    <a:pt x="2768" y="13209"/>
                  </a:cubicBezTo>
                  <a:cubicBezTo>
                    <a:pt x="2301" y="14249"/>
                    <a:pt x="1384" y="15120"/>
                    <a:pt x="692" y="16070"/>
                  </a:cubicBezTo>
                  <a:cubicBezTo>
                    <a:pt x="466" y="16319"/>
                    <a:pt x="0" y="16500"/>
                    <a:pt x="0" y="16839"/>
                  </a:cubicBezTo>
                  <a:cubicBezTo>
                    <a:pt x="0" y="17190"/>
                    <a:pt x="587" y="17450"/>
                    <a:pt x="812" y="17710"/>
                  </a:cubicBezTo>
                  <a:cubicBezTo>
                    <a:pt x="1609" y="17879"/>
                    <a:pt x="2422" y="17789"/>
                    <a:pt x="2993" y="18049"/>
                  </a:cubicBezTo>
                  <a:cubicBezTo>
                    <a:pt x="3565" y="18230"/>
                    <a:pt x="3791" y="18739"/>
                    <a:pt x="4136" y="19089"/>
                  </a:cubicBezTo>
                  <a:cubicBezTo>
                    <a:pt x="4482" y="19519"/>
                    <a:pt x="4723" y="19949"/>
                    <a:pt x="5054" y="20379"/>
                  </a:cubicBezTo>
                  <a:cubicBezTo>
                    <a:pt x="5174" y="20560"/>
                    <a:pt x="5520" y="20560"/>
                    <a:pt x="5746" y="20639"/>
                  </a:cubicBezTo>
                  <a:cubicBezTo>
                    <a:pt x="5972" y="20899"/>
                    <a:pt x="5972" y="21510"/>
                    <a:pt x="6438" y="21510"/>
                  </a:cubicBezTo>
                  <a:cubicBezTo>
                    <a:pt x="7009" y="21510"/>
                    <a:pt x="7476" y="20989"/>
                    <a:pt x="8047" y="20820"/>
                  </a:cubicBezTo>
                  <a:cubicBezTo>
                    <a:pt x="8514" y="20639"/>
                    <a:pt x="9085" y="20560"/>
                    <a:pt x="9536" y="20379"/>
                  </a:cubicBezTo>
                  <a:cubicBezTo>
                    <a:pt x="10228" y="20209"/>
                    <a:pt x="10695" y="20039"/>
                    <a:pt x="11372" y="19949"/>
                  </a:cubicBezTo>
                  <a:cubicBezTo>
                    <a:pt x="11612" y="19870"/>
                    <a:pt x="11958" y="19779"/>
                    <a:pt x="12304" y="19870"/>
                  </a:cubicBezTo>
                  <a:cubicBezTo>
                    <a:pt x="13673" y="20379"/>
                    <a:pt x="14831" y="21249"/>
                    <a:pt x="16320" y="21510"/>
                  </a:cubicBezTo>
                  <a:cubicBezTo>
                    <a:pt x="16787" y="21600"/>
                    <a:pt x="17012" y="20989"/>
                    <a:pt x="17238" y="20639"/>
                  </a:cubicBezTo>
                  <a:cubicBezTo>
                    <a:pt x="17464" y="20209"/>
                    <a:pt x="17930" y="19689"/>
                    <a:pt x="17809" y="19259"/>
                  </a:cubicBezTo>
                  <a:cubicBezTo>
                    <a:pt x="17704" y="18829"/>
                    <a:pt x="16787" y="18829"/>
                    <a:pt x="16787" y="18490"/>
                  </a:cubicBezTo>
                  <a:cubicBezTo>
                    <a:pt x="16546" y="17879"/>
                    <a:pt x="17118" y="17190"/>
                    <a:pt x="17118" y="16579"/>
                  </a:cubicBezTo>
                  <a:cubicBezTo>
                    <a:pt x="17118" y="16319"/>
                    <a:pt x="16666" y="16149"/>
                    <a:pt x="16546" y="15889"/>
                  </a:cubicBezTo>
                  <a:cubicBezTo>
                    <a:pt x="16200" y="15120"/>
                    <a:pt x="15282" y="14249"/>
                    <a:pt x="15749" y="13559"/>
                  </a:cubicBezTo>
                  <a:cubicBezTo>
                    <a:pt x="16095" y="12960"/>
                    <a:pt x="17464" y="13209"/>
                    <a:pt x="18276" y="13039"/>
                  </a:cubicBezTo>
                  <a:cubicBezTo>
                    <a:pt x="18727" y="12870"/>
                    <a:pt x="19299" y="12960"/>
                    <a:pt x="19539" y="12609"/>
                  </a:cubicBezTo>
                  <a:cubicBezTo>
                    <a:pt x="19765" y="12270"/>
                    <a:pt x="19419" y="11829"/>
                    <a:pt x="19419" y="11490"/>
                  </a:cubicBezTo>
                  <a:cubicBezTo>
                    <a:pt x="19299" y="11230"/>
                    <a:pt x="19193" y="10970"/>
                    <a:pt x="19299" y="10800"/>
                  </a:cubicBezTo>
                  <a:cubicBezTo>
                    <a:pt x="19419" y="10619"/>
                    <a:pt x="21028" y="10449"/>
                    <a:pt x="21254" y="10359"/>
                  </a:cubicBezTo>
                  <a:cubicBezTo>
                    <a:pt x="21374" y="10020"/>
                    <a:pt x="21600" y="9669"/>
                    <a:pt x="21374" y="9330"/>
                  </a:cubicBezTo>
                  <a:cubicBezTo>
                    <a:pt x="21254" y="9070"/>
                    <a:pt x="20682" y="8979"/>
                    <a:pt x="20457" y="8719"/>
                  </a:cubicBezTo>
                  <a:cubicBezTo>
                    <a:pt x="20231" y="8470"/>
                    <a:pt x="19765" y="8210"/>
                    <a:pt x="19765" y="7950"/>
                  </a:cubicBezTo>
                  <a:cubicBezTo>
                    <a:pt x="19885" y="7690"/>
                    <a:pt x="20577" y="7860"/>
                    <a:pt x="20682" y="7690"/>
                  </a:cubicBezTo>
                  <a:cubicBezTo>
                    <a:pt x="20908" y="7509"/>
                    <a:pt x="20908" y="7249"/>
                    <a:pt x="20803" y="6989"/>
                  </a:cubicBezTo>
                  <a:cubicBezTo>
                    <a:pt x="20577" y="6740"/>
                    <a:pt x="20111" y="6559"/>
                    <a:pt x="19991" y="6299"/>
                  </a:cubicBezTo>
                  <a:cubicBezTo>
                    <a:pt x="19765" y="5869"/>
                    <a:pt x="19645" y="5360"/>
                    <a:pt x="19539" y="4919"/>
                  </a:cubicBezTo>
                  <a:cubicBezTo>
                    <a:pt x="18968" y="5100"/>
                    <a:pt x="18968" y="5100"/>
                    <a:pt x="18968" y="5100"/>
                  </a:cubicBezTo>
                  <a:cubicBezTo>
                    <a:pt x="17930" y="5360"/>
                    <a:pt x="17012" y="5790"/>
                    <a:pt x="15854" y="5960"/>
                  </a:cubicBezTo>
                  <a:cubicBezTo>
                    <a:pt x="15403" y="6050"/>
                    <a:pt x="14711" y="6050"/>
                    <a:pt x="14245" y="5790"/>
                  </a:cubicBezTo>
                  <a:cubicBezTo>
                    <a:pt x="13914" y="5530"/>
                    <a:pt x="13793" y="5100"/>
                    <a:pt x="13673" y="4750"/>
                  </a:cubicBezTo>
                  <a:cubicBezTo>
                    <a:pt x="13447" y="4399"/>
                    <a:pt x="13327" y="3969"/>
                    <a:pt x="13447" y="3630"/>
                  </a:cubicBezTo>
                  <a:cubicBezTo>
                    <a:pt x="13447" y="3449"/>
                    <a:pt x="13793" y="3370"/>
                    <a:pt x="13793" y="3189"/>
                  </a:cubicBezTo>
                  <a:cubicBezTo>
                    <a:pt x="13914" y="2759"/>
                    <a:pt x="13447" y="2420"/>
                    <a:pt x="13673" y="2070"/>
                  </a:cubicBezTo>
                  <a:cubicBezTo>
                    <a:pt x="13914" y="1809"/>
                    <a:pt x="14591" y="1990"/>
                    <a:pt x="14831" y="1809"/>
                  </a:cubicBezTo>
                  <a:cubicBezTo>
                    <a:pt x="15057" y="1640"/>
                    <a:pt x="14591" y="1470"/>
                    <a:pt x="14591" y="1289"/>
                  </a:cubicBezTo>
                  <a:cubicBezTo>
                    <a:pt x="14711" y="1120"/>
                    <a:pt x="14831" y="950"/>
                    <a:pt x="14936" y="780"/>
                  </a:cubicBezTo>
                  <a:cubicBezTo>
                    <a:pt x="14711" y="520"/>
                    <a:pt x="14591" y="0"/>
                    <a:pt x="14139" y="0"/>
                  </a:cubicBezTo>
                  <a:cubicBezTo>
                    <a:pt x="13568" y="0"/>
                    <a:pt x="13327" y="690"/>
                    <a:pt x="12650" y="780"/>
                  </a:cubicBezTo>
                  <a:cubicBezTo>
                    <a:pt x="12304" y="859"/>
                    <a:pt x="11958" y="260"/>
                    <a:pt x="11492" y="430"/>
                  </a:cubicBezTo>
                  <a:cubicBezTo>
                    <a:pt x="11266" y="520"/>
                    <a:pt x="11718" y="1120"/>
                    <a:pt x="11372" y="1120"/>
                  </a:cubicBezTo>
                  <a:cubicBezTo>
                    <a:pt x="10920" y="1210"/>
                    <a:pt x="10454" y="599"/>
                    <a:pt x="10003" y="690"/>
                  </a:cubicBezTo>
                  <a:cubicBezTo>
                    <a:pt x="9657" y="780"/>
                    <a:pt x="10003" y="1470"/>
                    <a:pt x="9657" y="1470"/>
                  </a:cubicBezTo>
                  <a:cubicBezTo>
                    <a:pt x="8860" y="1380"/>
                    <a:pt x="8168" y="260"/>
                    <a:pt x="7355" y="520"/>
                  </a:cubicBezTo>
                  <a:cubicBezTo>
                    <a:pt x="6212" y="859"/>
                    <a:pt x="6092" y="2250"/>
                    <a:pt x="5054" y="2850"/>
                  </a:cubicBezTo>
                  <a:cubicBezTo>
                    <a:pt x="4828" y="3019"/>
                    <a:pt x="4377" y="2590"/>
                    <a:pt x="4031" y="2680"/>
                  </a:cubicBezTo>
                  <a:cubicBezTo>
                    <a:pt x="3339" y="2850"/>
                    <a:pt x="2768" y="3280"/>
                    <a:pt x="2181" y="3630"/>
                  </a:cubicBezTo>
                  <a:cubicBezTo>
                    <a:pt x="2301" y="4139"/>
                    <a:pt x="2768" y="4580"/>
                    <a:pt x="2422" y="5100"/>
                  </a:cubicBezTo>
                  <a:cubicBezTo>
                    <a:pt x="2181" y="5530"/>
                    <a:pt x="1158" y="5440"/>
                    <a:pt x="918" y="5869"/>
                  </a:cubicBezTo>
                  <a:cubicBezTo>
                    <a:pt x="812" y="6129"/>
                    <a:pt x="1609" y="6220"/>
                    <a:pt x="1730" y="6559"/>
                  </a:cubicBezTo>
                  <a:cubicBezTo>
                    <a:pt x="1835" y="6989"/>
                    <a:pt x="1609" y="7509"/>
                    <a:pt x="1609" y="7950"/>
                  </a:cubicBezTo>
                  <a:cubicBezTo>
                    <a:pt x="1730" y="8120"/>
                    <a:pt x="1835" y="8210"/>
                    <a:pt x="1835" y="8380"/>
                  </a:cubicBezTo>
                  <a:cubicBezTo>
                    <a:pt x="1835" y="8810"/>
                    <a:pt x="1955" y="9239"/>
                    <a:pt x="1730" y="9590"/>
                  </a:cubicBezTo>
                  <a:cubicBezTo>
                    <a:pt x="1504" y="9850"/>
                    <a:pt x="587" y="9760"/>
                    <a:pt x="587" y="10099"/>
                  </a:cubicBezTo>
                  <a:cubicBezTo>
                    <a:pt x="587" y="10449"/>
                    <a:pt x="1384" y="10619"/>
                    <a:pt x="1730" y="1087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1" name="Shape 2486">
              <a:extLst>
                <a:ext uri="{FF2B5EF4-FFF2-40B4-BE49-F238E27FC236}">
                  <a16:creationId xmlns:a16="http://schemas.microsoft.com/office/drawing/2014/main" id="{506C5A2E-F50E-B5F9-7D6F-1A64EFD2B914}"/>
                </a:ext>
              </a:extLst>
            </p:cNvPr>
            <p:cNvSpPr/>
            <p:nvPr/>
          </p:nvSpPr>
          <p:spPr>
            <a:xfrm>
              <a:off x="2903082" y="7458110"/>
              <a:ext cx="214704" cy="137384"/>
            </a:xfrm>
            <a:custGeom>
              <a:avLst/>
              <a:gdLst/>
              <a:ahLst/>
              <a:cxnLst>
                <a:cxn ang="0">
                  <a:pos x="wd2" y="hd2"/>
                </a:cxn>
                <a:cxn ang="5400000">
                  <a:pos x="wd2" y="hd2"/>
                </a:cxn>
                <a:cxn ang="10800000">
                  <a:pos x="wd2" y="hd2"/>
                </a:cxn>
                <a:cxn ang="16200000">
                  <a:pos x="wd2" y="hd2"/>
                </a:cxn>
              </a:cxnLst>
              <a:rect l="0" t="0" r="r" b="b"/>
              <a:pathLst>
                <a:path w="21402" h="21288" extrusionOk="0">
                  <a:moveTo>
                    <a:pt x="505" y="15623"/>
                  </a:moveTo>
                  <a:cubicBezTo>
                    <a:pt x="1516" y="16829"/>
                    <a:pt x="2797" y="18402"/>
                    <a:pt x="3841" y="19608"/>
                  </a:cubicBezTo>
                  <a:cubicBezTo>
                    <a:pt x="3841" y="19608"/>
                    <a:pt x="7447" y="18035"/>
                    <a:pt x="7717" y="18035"/>
                  </a:cubicBezTo>
                  <a:cubicBezTo>
                    <a:pt x="7953" y="18035"/>
                    <a:pt x="10278" y="19188"/>
                    <a:pt x="10278" y="19188"/>
                  </a:cubicBezTo>
                  <a:cubicBezTo>
                    <a:pt x="11053" y="20027"/>
                    <a:pt x="11558" y="21600"/>
                    <a:pt x="12064" y="21233"/>
                  </a:cubicBezTo>
                  <a:cubicBezTo>
                    <a:pt x="13378" y="20814"/>
                    <a:pt x="13883" y="18402"/>
                    <a:pt x="15164" y="17616"/>
                  </a:cubicBezTo>
                  <a:cubicBezTo>
                    <a:pt x="16983" y="15990"/>
                    <a:pt x="19039" y="15623"/>
                    <a:pt x="21095" y="14784"/>
                  </a:cubicBezTo>
                  <a:cubicBezTo>
                    <a:pt x="20320" y="13579"/>
                    <a:pt x="18534" y="12792"/>
                    <a:pt x="18534" y="11167"/>
                  </a:cubicBezTo>
                  <a:cubicBezTo>
                    <a:pt x="18534" y="9594"/>
                    <a:pt x="20589" y="10014"/>
                    <a:pt x="21095" y="8808"/>
                  </a:cubicBezTo>
                  <a:cubicBezTo>
                    <a:pt x="21600" y="7183"/>
                    <a:pt x="21330" y="5190"/>
                    <a:pt x="21330" y="3198"/>
                  </a:cubicBezTo>
                  <a:cubicBezTo>
                    <a:pt x="21330" y="2412"/>
                    <a:pt x="21095" y="1992"/>
                    <a:pt x="20825" y="1206"/>
                  </a:cubicBezTo>
                  <a:cubicBezTo>
                    <a:pt x="19814" y="786"/>
                    <a:pt x="18769" y="0"/>
                    <a:pt x="17759" y="0"/>
                  </a:cubicBezTo>
                  <a:cubicBezTo>
                    <a:pt x="15939" y="0"/>
                    <a:pt x="14389" y="1992"/>
                    <a:pt x="12839" y="1992"/>
                  </a:cubicBezTo>
                  <a:cubicBezTo>
                    <a:pt x="11322" y="1992"/>
                    <a:pt x="10278" y="1206"/>
                    <a:pt x="8997" y="786"/>
                  </a:cubicBezTo>
                  <a:cubicBezTo>
                    <a:pt x="8728" y="1573"/>
                    <a:pt x="8728" y="2779"/>
                    <a:pt x="8222" y="3198"/>
                  </a:cubicBezTo>
                  <a:cubicBezTo>
                    <a:pt x="7953" y="3617"/>
                    <a:pt x="7447" y="2779"/>
                    <a:pt x="6942" y="3198"/>
                  </a:cubicBezTo>
                  <a:cubicBezTo>
                    <a:pt x="6436" y="3198"/>
                    <a:pt x="6167" y="3984"/>
                    <a:pt x="5897" y="4771"/>
                  </a:cubicBezTo>
                  <a:cubicBezTo>
                    <a:pt x="4886" y="5610"/>
                    <a:pt x="3572" y="6396"/>
                    <a:pt x="2797" y="7602"/>
                  </a:cubicBezTo>
                  <a:cubicBezTo>
                    <a:pt x="2291" y="9175"/>
                    <a:pt x="3336" y="12006"/>
                    <a:pt x="2291" y="12792"/>
                  </a:cubicBezTo>
                  <a:cubicBezTo>
                    <a:pt x="1516" y="13212"/>
                    <a:pt x="1280" y="10014"/>
                    <a:pt x="505" y="9175"/>
                  </a:cubicBezTo>
                  <a:cubicBezTo>
                    <a:pt x="236" y="8808"/>
                    <a:pt x="0" y="10014"/>
                    <a:pt x="0" y="10381"/>
                  </a:cubicBezTo>
                  <a:cubicBezTo>
                    <a:pt x="0" y="12006"/>
                    <a:pt x="236" y="13998"/>
                    <a:pt x="505" y="1562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2" name="Shape 2487">
              <a:extLst>
                <a:ext uri="{FF2B5EF4-FFF2-40B4-BE49-F238E27FC236}">
                  <a16:creationId xmlns:a16="http://schemas.microsoft.com/office/drawing/2014/main" id="{87C3835B-877E-4251-4D65-DDC3F29E46FA}"/>
                </a:ext>
              </a:extLst>
            </p:cNvPr>
            <p:cNvSpPr/>
            <p:nvPr/>
          </p:nvSpPr>
          <p:spPr>
            <a:xfrm>
              <a:off x="2739571" y="7404593"/>
              <a:ext cx="224121" cy="172107"/>
            </a:xfrm>
            <a:custGeom>
              <a:avLst/>
              <a:gdLst/>
              <a:ahLst/>
              <a:cxnLst>
                <a:cxn ang="0">
                  <a:pos x="wd2" y="hd2"/>
                </a:cxn>
                <a:cxn ang="5400000">
                  <a:pos x="wd2" y="hd2"/>
                </a:cxn>
                <a:cxn ang="10800000">
                  <a:pos x="wd2" y="hd2"/>
                </a:cxn>
                <a:cxn ang="16200000">
                  <a:pos x="wd2" y="hd2"/>
                </a:cxn>
              </a:cxnLst>
              <a:rect l="0" t="0" r="r" b="b"/>
              <a:pathLst>
                <a:path w="21600" h="21600" extrusionOk="0">
                  <a:moveTo>
                    <a:pt x="15647" y="0"/>
                  </a:moveTo>
                  <a:cubicBezTo>
                    <a:pt x="16395" y="1308"/>
                    <a:pt x="16135" y="970"/>
                    <a:pt x="17143" y="1941"/>
                  </a:cubicBezTo>
                  <a:cubicBezTo>
                    <a:pt x="17631" y="2573"/>
                    <a:pt x="18607" y="2573"/>
                    <a:pt x="18867" y="3248"/>
                  </a:cubicBezTo>
                  <a:cubicBezTo>
                    <a:pt x="19355" y="4177"/>
                    <a:pt x="19128" y="5484"/>
                    <a:pt x="19128" y="6455"/>
                  </a:cubicBezTo>
                  <a:cubicBezTo>
                    <a:pt x="19128" y="7425"/>
                    <a:pt x="18380" y="8395"/>
                    <a:pt x="18867" y="9028"/>
                  </a:cubicBezTo>
                  <a:cubicBezTo>
                    <a:pt x="19355" y="10336"/>
                    <a:pt x="20624" y="9998"/>
                    <a:pt x="21600" y="10631"/>
                  </a:cubicBezTo>
                  <a:cubicBezTo>
                    <a:pt x="20624" y="11306"/>
                    <a:pt x="19355" y="11939"/>
                    <a:pt x="18607" y="12909"/>
                  </a:cubicBezTo>
                  <a:cubicBezTo>
                    <a:pt x="18119" y="14175"/>
                    <a:pt x="19128" y="16453"/>
                    <a:pt x="18119" y="17086"/>
                  </a:cubicBezTo>
                  <a:cubicBezTo>
                    <a:pt x="17371" y="17423"/>
                    <a:pt x="17143" y="14850"/>
                    <a:pt x="16395" y="14175"/>
                  </a:cubicBezTo>
                  <a:cubicBezTo>
                    <a:pt x="16135" y="13880"/>
                    <a:pt x="15907" y="14850"/>
                    <a:pt x="15907" y="15145"/>
                  </a:cubicBezTo>
                  <a:cubicBezTo>
                    <a:pt x="15907" y="16453"/>
                    <a:pt x="16135" y="18056"/>
                    <a:pt x="16395" y="19364"/>
                  </a:cubicBezTo>
                  <a:cubicBezTo>
                    <a:pt x="14151" y="19027"/>
                    <a:pt x="12166" y="18056"/>
                    <a:pt x="9922" y="18394"/>
                  </a:cubicBezTo>
                  <a:cubicBezTo>
                    <a:pt x="9434" y="18689"/>
                    <a:pt x="10930" y="20334"/>
                    <a:pt x="10410" y="20630"/>
                  </a:cubicBezTo>
                  <a:cubicBezTo>
                    <a:pt x="9173" y="21600"/>
                    <a:pt x="7449" y="20630"/>
                    <a:pt x="6213" y="20967"/>
                  </a:cubicBezTo>
                  <a:cubicBezTo>
                    <a:pt x="5693" y="20967"/>
                    <a:pt x="5693" y="21600"/>
                    <a:pt x="5465" y="21600"/>
                  </a:cubicBezTo>
                  <a:cubicBezTo>
                    <a:pt x="4457" y="21600"/>
                    <a:pt x="3481" y="21600"/>
                    <a:pt x="2472" y="20967"/>
                  </a:cubicBezTo>
                  <a:cubicBezTo>
                    <a:pt x="1984" y="20630"/>
                    <a:pt x="1724" y="19997"/>
                    <a:pt x="1496" y="19364"/>
                  </a:cubicBezTo>
                  <a:cubicBezTo>
                    <a:pt x="976" y="19027"/>
                    <a:pt x="228" y="18056"/>
                    <a:pt x="0" y="17719"/>
                  </a:cubicBezTo>
                  <a:cubicBezTo>
                    <a:pt x="228" y="16748"/>
                    <a:pt x="488" y="15778"/>
                    <a:pt x="748" y="14850"/>
                  </a:cubicBezTo>
                  <a:cubicBezTo>
                    <a:pt x="1724" y="11939"/>
                    <a:pt x="5953" y="11602"/>
                    <a:pt x="7189" y="7763"/>
                  </a:cubicBezTo>
                  <a:cubicBezTo>
                    <a:pt x="9434" y="3544"/>
                    <a:pt x="11678" y="2573"/>
                    <a:pt x="14899" y="675"/>
                  </a:cubicBezTo>
                  <a:cubicBezTo>
                    <a:pt x="15159" y="338"/>
                    <a:pt x="15387" y="338"/>
                    <a:pt x="1564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3" name="Shape 2488">
              <a:extLst>
                <a:ext uri="{FF2B5EF4-FFF2-40B4-BE49-F238E27FC236}">
                  <a16:creationId xmlns:a16="http://schemas.microsoft.com/office/drawing/2014/main" id="{0A027A4B-405B-CF49-74BD-D99AED258835}"/>
                </a:ext>
              </a:extLst>
            </p:cNvPr>
            <p:cNvSpPr/>
            <p:nvPr/>
          </p:nvSpPr>
          <p:spPr>
            <a:xfrm>
              <a:off x="3289565" y="7498392"/>
              <a:ext cx="667092" cy="580767"/>
            </a:xfrm>
            <a:custGeom>
              <a:avLst/>
              <a:gdLst/>
              <a:ahLst/>
              <a:cxnLst>
                <a:cxn ang="0">
                  <a:pos x="wd2" y="hd2"/>
                </a:cxn>
                <a:cxn ang="5400000">
                  <a:pos x="wd2" y="hd2"/>
                </a:cxn>
                <a:cxn ang="10800000">
                  <a:pos x="wd2" y="hd2"/>
                </a:cxn>
                <a:cxn ang="16200000">
                  <a:pos x="wd2" y="hd2"/>
                </a:cxn>
              </a:cxnLst>
              <a:rect l="0" t="0" r="r" b="b"/>
              <a:pathLst>
                <a:path w="21600" h="21539" extrusionOk="0">
                  <a:moveTo>
                    <a:pt x="16514" y="19525"/>
                  </a:moveTo>
                  <a:cubicBezTo>
                    <a:pt x="17092" y="19525"/>
                    <a:pt x="17594" y="19525"/>
                    <a:pt x="18096" y="19713"/>
                  </a:cubicBezTo>
                  <a:cubicBezTo>
                    <a:pt x="18009" y="19238"/>
                    <a:pt x="17682" y="17812"/>
                    <a:pt x="17682" y="17237"/>
                  </a:cubicBezTo>
                  <a:cubicBezTo>
                    <a:pt x="17682" y="16849"/>
                    <a:pt x="18096" y="16561"/>
                    <a:pt x="18096" y="16186"/>
                  </a:cubicBezTo>
                  <a:cubicBezTo>
                    <a:pt x="18096" y="15798"/>
                    <a:pt x="17682" y="15611"/>
                    <a:pt x="17682" y="15323"/>
                  </a:cubicBezTo>
                  <a:cubicBezTo>
                    <a:pt x="17758" y="14560"/>
                    <a:pt x="18009" y="13897"/>
                    <a:pt x="18173" y="13222"/>
                  </a:cubicBezTo>
                  <a:cubicBezTo>
                    <a:pt x="18424" y="12546"/>
                    <a:pt x="18598" y="11883"/>
                    <a:pt x="18850" y="11221"/>
                  </a:cubicBezTo>
                  <a:cubicBezTo>
                    <a:pt x="19013" y="10833"/>
                    <a:pt x="19264" y="10358"/>
                    <a:pt x="19592" y="10070"/>
                  </a:cubicBezTo>
                  <a:cubicBezTo>
                    <a:pt x="19755" y="9970"/>
                    <a:pt x="20006" y="10257"/>
                    <a:pt x="20181" y="10170"/>
                  </a:cubicBezTo>
                  <a:cubicBezTo>
                    <a:pt x="20509" y="9970"/>
                    <a:pt x="20847" y="9595"/>
                    <a:pt x="21174" y="9394"/>
                  </a:cubicBezTo>
                  <a:cubicBezTo>
                    <a:pt x="21174" y="9119"/>
                    <a:pt x="21425" y="8832"/>
                    <a:pt x="21349" y="8544"/>
                  </a:cubicBezTo>
                  <a:cubicBezTo>
                    <a:pt x="21098" y="8056"/>
                    <a:pt x="20760" y="7581"/>
                    <a:pt x="20345" y="7293"/>
                  </a:cubicBezTo>
                  <a:cubicBezTo>
                    <a:pt x="20181" y="7206"/>
                    <a:pt x="19930" y="7681"/>
                    <a:pt x="19843" y="7493"/>
                  </a:cubicBezTo>
                  <a:cubicBezTo>
                    <a:pt x="19679" y="7106"/>
                    <a:pt x="19930" y="6630"/>
                    <a:pt x="19930" y="6243"/>
                  </a:cubicBezTo>
                  <a:cubicBezTo>
                    <a:pt x="19930" y="5967"/>
                    <a:pt x="19679" y="5767"/>
                    <a:pt x="19679" y="5480"/>
                  </a:cubicBezTo>
                  <a:cubicBezTo>
                    <a:pt x="19679" y="5192"/>
                    <a:pt x="19755" y="4904"/>
                    <a:pt x="19930" y="4617"/>
                  </a:cubicBezTo>
                  <a:cubicBezTo>
                    <a:pt x="20094" y="4429"/>
                    <a:pt x="20345" y="4241"/>
                    <a:pt x="20596" y="4342"/>
                  </a:cubicBezTo>
                  <a:cubicBezTo>
                    <a:pt x="20847" y="4342"/>
                    <a:pt x="21098" y="4717"/>
                    <a:pt x="21425" y="4717"/>
                  </a:cubicBezTo>
                  <a:cubicBezTo>
                    <a:pt x="21600" y="4717"/>
                    <a:pt x="21513" y="4429"/>
                    <a:pt x="21600" y="4241"/>
                  </a:cubicBezTo>
                  <a:cubicBezTo>
                    <a:pt x="21600" y="3854"/>
                    <a:pt x="21600" y="3378"/>
                    <a:pt x="21513" y="3003"/>
                  </a:cubicBezTo>
                  <a:cubicBezTo>
                    <a:pt x="21349" y="2528"/>
                    <a:pt x="21098" y="2040"/>
                    <a:pt x="20847" y="1665"/>
                  </a:cubicBezTo>
                  <a:cubicBezTo>
                    <a:pt x="19930" y="990"/>
                    <a:pt x="19930" y="990"/>
                    <a:pt x="19930" y="990"/>
                  </a:cubicBezTo>
                  <a:cubicBezTo>
                    <a:pt x="19264" y="802"/>
                    <a:pt x="18675" y="614"/>
                    <a:pt x="18096" y="514"/>
                  </a:cubicBezTo>
                  <a:cubicBezTo>
                    <a:pt x="17933" y="514"/>
                    <a:pt x="17845" y="702"/>
                    <a:pt x="17758" y="702"/>
                  </a:cubicBezTo>
                  <a:cubicBezTo>
                    <a:pt x="17507" y="702"/>
                    <a:pt x="17343" y="702"/>
                    <a:pt x="17092" y="702"/>
                  </a:cubicBezTo>
                  <a:cubicBezTo>
                    <a:pt x="16841" y="702"/>
                    <a:pt x="16590" y="902"/>
                    <a:pt x="16339" y="802"/>
                  </a:cubicBezTo>
                  <a:cubicBezTo>
                    <a:pt x="16012" y="702"/>
                    <a:pt x="15848" y="139"/>
                    <a:pt x="15510" y="39"/>
                  </a:cubicBezTo>
                  <a:cubicBezTo>
                    <a:pt x="15422" y="-61"/>
                    <a:pt x="15259" y="39"/>
                    <a:pt x="15095" y="227"/>
                  </a:cubicBezTo>
                  <a:cubicBezTo>
                    <a:pt x="15008" y="327"/>
                    <a:pt x="15095" y="702"/>
                    <a:pt x="15008" y="702"/>
                  </a:cubicBezTo>
                  <a:cubicBezTo>
                    <a:pt x="14680" y="802"/>
                    <a:pt x="14429" y="614"/>
                    <a:pt x="14091" y="514"/>
                  </a:cubicBezTo>
                  <a:cubicBezTo>
                    <a:pt x="12759" y="414"/>
                    <a:pt x="11504" y="139"/>
                    <a:pt x="10172" y="227"/>
                  </a:cubicBezTo>
                  <a:cubicBezTo>
                    <a:pt x="9921" y="227"/>
                    <a:pt x="9670" y="614"/>
                    <a:pt x="9594" y="902"/>
                  </a:cubicBezTo>
                  <a:cubicBezTo>
                    <a:pt x="9594" y="1090"/>
                    <a:pt x="9921" y="1377"/>
                    <a:pt x="9758" y="1465"/>
                  </a:cubicBezTo>
                  <a:cubicBezTo>
                    <a:pt x="9419" y="1665"/>
                    <a:pt x="8928" y="1465"/>
                    <a:pt x="8502" y="1465"/>
                  </a:cubicBezTo>
                  <a:cubicBezTo>
                    <a:pt x="8339" y="1565"/>
                    <a:pt x="7171" y="1753"/>
                    <a:pt x="7084" y="1953"/>
                  </a:cubicBezTo>
                  <a:cubicBezTo>
                    <a:pt x="7007" y="2140"/>
                    <a:pt x="7084" y="2428"/>
                    <a:pt x="7171" y="2716"/>
                  </a:cubicBezTo>
                  <a:cubicBezTo>
                    <a:pt x="7171" y="3091"/>
                    <a:pt x="7422" y="3579"/>
                    <a:pt x="7258" y="3954"/>
                  </a:cubicBezTo>
                  <a:cubicBezTo>
                    <a:pt x="7084" y="4342"/>
                    <a:pt x="6669" y="4241"/>
                    <a:pt x="6341" y="4429"/>
                  </a:cubicBezTo>
                  <a:cubicBezTo>
                    <a:pt x="5752" y="4617"/>
                    <a:pt x="4759" y="4342"/>
                    <a:pt x="4508" y="5004"/>
                  </a:cubicBezTo>
                  <a:cubicBezTo>
                    <a:pt x="4169" y="5767"/>
                    <a:pt x="4835" y="6730"/>
                    <a:pt x="5086" y="7581"/>
                  </a:cubicBezTo>
                  <a:cubicBezTo>
                    <a:pt x="5174" y="7869"/>
                    <a:pt x="5501" y="8056"/>
                    <a:pt x="5501" y="8344"/>
                  </a:cubicBezTo>
                  <a:cubicBezTo>
                    <a:pt x="5501" y="9019"/>
                    <a:pt x="5086" y="9782"/>
                    <a:pt x="5261" y="10458"/>
                  </a:cubicBezTo>
                  <a:cubicBezTo>
                    <a:pt x="5261" y="10833"/>
                    <a:pt x="5927" y="10833"/>
                    <a:pt x="6003" y="11308"/>
                  </a:cubicBezTo>
                  <a:cubicBezTo>
                    <a:pt x="6090" y="11783"/>
                    <a:pt x="5752" y="12359"/>
                    <a:pt x="5588" y="12834"/>
                  </a:cubicBezTo>
                  <a:cubicBezTo>
                    <a:pt x="5425" y="13222"/>
                    <a:pt x="5261" y="13897"/>
                    <a:pt x="4922" y="13797"/>
                  </a:cubicBezTo>
                  <a:cubicBezTo>
                    <a:pt x="3842" y="13509"/>
                    <a:pt x="3002" y="12546"/>
                    <a:pt x="2008" y="11983"/>
                  </a:cubicBezTo>
                  <a:cubicBezTo>
                    <a:pt x="1757" y="11883"/>
                    <a:pt x="1506" y="11983"/>
                    <a:pt x="1332" y="12071"/>
                  </a:cubicBezTo>
                  <a:cubicBezTo>
                    <a:pt x="840" y="12171"/>
                    <a:pt x="502" y="12359"/>
                    <a:pt x="0" y="12546"/>
                  </a:cubicBezTo>
                  <a:cubicBezTo>
                    <a:pt x="415" y="13322"/>
                    <a:pt x="589" y="14172"/>
                    <a:pt x="1168" y="14660"/>
                  </a:cubicBezTo>
                  <a:cubicBezTo>
                    <a:pt x="1506" y="14935"/>
                    <a:pt x="1757" y="14272"/>
                    <a:pt x="2085" y="14172"/>
                  </a:cubicBezTo>
                  <a:cubicBezTo>
                    <a:pt x="2172" y="14172"/>
                    <a:pt x="2510" y="14172"/>
                    <a:pt x="2510" y="14372"/>
                  </a:cubicBezTo>
                  <a:cubicBezTo>
                    <a:pt x="2587" y="14660"/>
                    <a:pt x="2336" y="14935"/>
                    <a:pt x="2172" y="15223"/>
                  </a:cubicBezTo>
                  <a:cubicBezTo>
                    <a:pt x="2085" y="15323"/>
                    <a:pt x="2008" y="15423"/>
                    <a:pt x="1921" y="15511"/>
                  </a:cubicBezTo>
                  <a:cubicBezTo>
                    <a:pt x="1834" y="15898"/>
                    <a:pt x="1757" y="16273"/>
                    <a:pt x="1921" y="16474"/>
                  </a:cubicBezTo>
                  <a:cubicBezTo>
                    <a:pt x="2085" y="16761"/>
                    <a:pt x="2510" y="16273"/>
                    <a:pt x="2674" y="16474"/>
                  </a:cubicBezTo>
                  <a:cubicBezTo>
                    <a:pt x="2838" y="16661"/>
                    <a:pt x="2674" y="17136"/>
                    <a:pt x="2674" y="17424"/>
                  </a:cubicBezTo>
                  <a:cubicBezTo>
                    <a:pt x="2750" y="17999"/>
                    <a:pt x="2587" y="18662"/>
                    <a:pt x="2838" y="19138"/>
                  </a:cubicBezTo>
                  <a:cubicBezTo>
                    <a:pt x="3002" y="19338"/>
                    <a:pt x="3340" y="18762"/>
                    <a:pt x="3591" y="18950"/>
                  </a:cubicBezTo>
                  <a:cubicBezTo>
                    <a:pt x="3755" y="19050"/>
                    <a:pt x="3504" y="19713"/>
                    <a:pt x="3755" y="19813"/>
                  </a:cubicBezTo>
                  <a:cubicBezTo>
                    <a:pt x="4082" y="20001"/>
                    <a:pt x="4508" y="19338"/>
                    <a:pt x="4759" y="19625"/>
                  </a:cubicBezTo>
                  <a:cubicBezTo>
                    <a:pt x="5010" y="19813"/>
                    <a:pt x="4671" y="20576"/>
                    <a:pt x="4584" y="20864"/>
                  </a:cubicBezTo>
                  <a:cubicBezTo>
                    <a:pt x="4835" y="20864"/>
                    <a:pt x="5174" y="20864"/>
                    <a:pt x="5425" y="20964"/>
                  </a:cubicBezTo>
                  <a:cubicBezTo>
                    <a:pt x="6178" y="20776"/>
                    <a:pt x="6418" y="21339"/>
                    <a:pt x="6843" y="21539"/>
                  </a:cubicBezTo>
                  <a:cubicBezTo>
                    <a:pt x="6843" y="20964"/>
                    <a:pt x="8928" y="19813"/>
                    <a:pt x="9419" y="19713"/>
                  </a:cubicBezTo>
                  <a:cubicBezTo>
                    <a:pt x="10085" y="19525"/>
                    <a:pt x="10423" y="19338"/>
                    <a:pt x="11002" y="18762"/>
                  </a:cubicBezTo>
                  <a:cubicBezTo>
                    <a:pt x="11930" y="17812"/>
                    <a:pt x="9507" y="16474"/>
                    <a:pt x="9092" y="15611"/>
                  </a:cubicBezTo>
                  <a:cubicBezTo>
                    <a:pt x="9005" y="15611"/>
                    <a:pt x="8928" y="15511"/>
                    <a:pt x="8928" y="15511"/>
                  </a:cubicBezTo>
                  <a:cubicBezTo>
                    <a:pt x="8502" y="15223"/>
                    <a:pt x="8088" y="15035"/>
                    <a:pt x="8251" y="14560"/>
                  </a:cubicBezTo>
                  <a:cubicBezTo>
                    <a:pt x="8502" y="13322"/>
                    <a:pt x="9670" y="13322"/>
                    <a:pt x="10260" y="13409"/>
                  </a:cubicBezTo>
                  <a:cubicBezTo>
                    <a:pt x="10423" y="13509"/>
                    <a:pt x="10511" y="13697"/>
                    <a:pt x="10511" y="13897"/>
                  </a:cubicBezTo>
                  <a:cubicBezTo>
                    <a:pt x="10762" y="14272"/>
                    <a:pt x="11177" y="14748"/>
                    <a:pt x="10926" y="15135"/>
                  </a:cubicBezTo>
                  <a:cubicBezTo>
                    <a:pt x="10674" y="15611"/>
                    <a:pt x="10009" y="15698"/>
                    <a:pt x="9507" y="15798"/>
                  </a:cubicBezTo>
                  <a:cubicBezTo>
                    <a:pt x="10009" y="16086"/>
                    <a:pt x="10587" y="16661"/>
                    <a:pt x="10762" y="16849"/>
                  </a:cubicBezTo>
                  <a:cubicBezTo>
                    <a:pt x="11253" y="17237"/>
                    <a:pt x="11679" y="17712"/>
                    <a:pt x="12093" y="18100"/>
                  </a:cubicBezTo>
                  <a:cubicBezTo>
                    <a:pt x="12421" y="18375"/>
                    <a:pt x="12923" y="18475"/>
                    <a:pt x="13174" y="18762"/>
                  </a:cubicBezTo>
                  <a:cubicBezTo>
                    <a:pt x="13425" y="19138"/>
                    <a:pt x="13927" y="20001"/>
                    <a:pt x="14342" y="19425"/>
                  </a:cubicBezTo>
                  <a:cubicBezTo>
                    <a:pt x="14680" y="19050"/>
                    <a:pt x="14757" y="19238"/>
                    <a:pt x="14931" y="19338"/>
                  </a:cubicBezTo>
                  <a:cubicBezTo>
                    <a:pt x="14757" y="18862"/>
                    <a:pt x="14429" y="17812"/>
                    <a:pt x="14254" y="17424"/>
                  </a:cubicBezTo>
                  <a:cubicBezTo>
                    <a:pt x="14254" y="17237"/>
                    <a:pt x="14003" y="17049"/>
                    <a:pt x="14178" y="16949"/>
                  </a:cubicBezTo>
                  <a:cubicBezTo>
                    <a:pt x="14342" y="16761"/>
                    <a:pt x="14680" y="17049"/>
                    <a:pt x="14844" y="16849"/>
                  </a:cubicBezTo>
                  <a:cubicBezTo>
                    <a:pt x="15008" y="16761"/>
                    <a:pt x="14931" y="16273"/>
                    <a:pt x="15095" y="16273"/>
                  </a:cubicBezTo>
                  <a:cubicBezTo>
                    <a:pt x="15597" y="16186"/>
                    <a:pt x="16263" y="16186"/>
                    <a:pt x="16590" y="16661"/>
                  </a:cubicBezTo>
                  <a:cubicBezTo>
                    <a:pt x="16841" y="16949"/>
                    <a:pt x="16426" y="17524"/>
                    <a:pt x="16426" y="17899"/>
                  </a:cubicBezTo>
                  <a:cubicBezTo>
                    <a:pt x="16426" y="18187"/>
                    <a:pt x="16514" y="19238"/>
                    <a:pt x="16514" y="19525"/>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4" name="Shape 2489">
              <a:extLst>
                <a:ext uri="{FF2B5EF4-FFF2-40B4-BE49-F238E27FC236}">
                  <a16:creationId xmlns:a16="http://schemas.microsoft.com/office/drawing/2014/main" id="{AFF93F61-441B-A716-8FF7-09BC23590505}"/>
                </a:ext>
              </a:extLst>
            </p:cNvPr>
            <p:cNvSpPr/>
            <p:nvPr/>
          </p:nvSpPr>
          <p:spPr>
            <a:xfrm>
              <a:off x="3725604" y="7936457"/>
              <a:ext cx="78649" cy="89184"/>
            </a:xfrm>
            <a:custGeom>
              <a:avLst/>
              <a:gdLst/>
              <a:ahLst/>
              <a:cxnLst>
                <a:cxn ang="0">
                  <a:pos x="wd2" y="hd2"/>
                </a:cxn>
                <a:cxn ang="5400000">
                  <a:pos x="wd2" y="hd2"/>
                </a:cxn>
                <a:cxn ang="10800000">
                  <a:pos x="wd2" y="hd2"/>
                </a:cxn>
                <a:cxn ang="16200000">
                  <a:pos x="wd2" y="hd2"/>
                </a:cxn>
              </a:cxnLst>
              <a:rect l="0" t="0" r="r" b="b"/>
              <a:pathLst>
                <a:path w="19445" h="21323" extrusionOk="0">
                  <a:moveTo>
                    <a:pt x="6203" y="20110"/>
                  </a:moveTo>
                  <a:cubicBezTo>
                    <a:pt x="6784" y="20676"/>
                    <a:pt x="8113" y="20676"/>
                    <a:pt x="10606" y="20110"/>
                  </a:cubicBezTo>
                  <a:cubicBezTo>
                    <a:pt x="13181" y="20676"/>
                    <a:pt x="15673" y="21323"/>
                    <a:pt x="18249" y="21323"/>
                  </a:cubicBezTo>
                  <a:cubicBezTo>
                    <a:pt x="18249" y="19462"/>
                    <a:pt x="17584" y="12667"/>
                    <a:pt x="17584" y="10806"/>
                  </a:cubicBezTo>
                  <a:cubicBezTo>
                    <a:pt x="17584" y="8379"/>
                    <a:pt x="20741" y="4658"/>
                    <a:pt x="18830" y="2797"/>
                  </a:cubicBezTo>
                  <a:cubicBezTo>
                    <a:pt x="16338" y="-277"/>
                    <a:pt x="11270" y="-277"/>
                    <a:pt x="7449" y="289"/>
                  </a:cubicBezTo>
                  <a:cubicBezTo>
                    <a:pt x="6203" y="289"/>
                    <a:pt x="6784" y="3444"/>
                    <a:pt x="5538" y="4011"/>
                  </a:cubicBezTo>
                  <a:cubicBezTo>
                    <a:pt x="4292" y="5305"/>
                    <a:pt x="1716" y="3444"/>
                    <a:pt x="470" y="4658"/>
                  </a:cubicBezTo>
                  <a:cubicBezTo>
                    <a:pt x="-859" y="5305"/>
                    <a:pt x="1052" y="6519"/>
                    <a:pt x="1052" y="7732"/>
                  </a:cubicBezTo>
                  <a:cubicBezTo>
                    <a:pt x="2381" y="10240"/>
                    <a:pt x="4873" y="17035"/>
                    <a:pt x="6203" y="2011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5" name="Shape 2490">
              <a:extLst>
                <a:ext uri="{FF2B5EF4-FFF2-40B4-BE49-F238E27FC236}">
                  <a16:creationId xmlns:a16="http://schemas.microsoft.com/office/drawing/2014/main" id="{043BCC56-91DB-BB9A-C8D4-039E4EFEA724}"/>
                </a:ext>
              </a:extLst>
            </p:cNvPr>
            <p:cNvSpPr/>
            <p:nvPr/>
          </p:nvSpPr>
          <p:spPr>
            <a:xfrm>
              <a:off x="3543196" y="7859464"/>
              <a:ext cx="85582" cy="65093"/>
            </a:xfrm>
            <a:custGeom>
              <a:avLst/>
              <a:gdLst/>
              <a:ahLst/>
              <a:cxnLst>
                <a:cxn ang="0">
                  <a:pos x="wd2" y="hd2"/>
                </a:cxn>
                <a:cxn ang="5400000">
                  <a:pos x="wd2" y="hd2"/>
                </a:cxn>
                <a:cxn ang="10800000">
                  <a:pos x="wd2" y="hd2"/>
                </a:cxn>
                <a:cxn ang="16200000">
                  <a:pos x="wd2" y="hd2"/>
                </a:cxn>
              </a:cxnLst>
              <a:rect l="0" t="0" r="r" b="b"/>
              <a:pathLst>
                <a:path w="19500" h="21123" extrusionOk="0">
                  <a:moveTo>
                    <a:pt x="6133" y="19487"/>
                  </a:moveTo>
                  <a:cubicBezTo>
                    <a:pt x="5522" y="19487"/>
                    <a:pt x="5522" y="18614"/>
                    <a:pt x="5522" y="18614"/>
                  </a:cubicBezTo>
                  <a:cubicBezTo>
                    <a:pt x="6133" y="18614"/>
                    <a:pt x="7888" y="19487"/>
                    <a:pt x="9033" y="21123"/>
                  </a:cubicBezTo>
                  <a:cubicBezTo>
                    <a:pt x="12544" y="20250"/>
                    <a:pt x="17200" y="19487"/>
                    <a:pt x="18956" y="15341"/>
                  </a:cubicBezTo>
                  <a:cubicBezTo>
                    <a:pt x="20711" y="11959"/>
                    <a:pt x="17811" y="7814"/>
                    <a:pt x="16055" y="4541"/>
                  </a:cubicBezTo>
                  <a:cubicBezTo>
                    <a:pt x="16055" y="2796"/>
                    <a:pt x="15445" y="1159"/>
                    <a:pt x="14300" y="287"/>
                  </a:cubicBezTo>
                  <a:cubicBezTo>
                    <a:pt x="10178" y="-477"/>
                    <a:pt x="2011" y="-477"/>
                    <a:pt x="256" y="10323"/>
                  </a:cubicBezTo>
                  <a:cubicBezTo>
                    <a:pt x="-889" y="14468"/>
                    <a:pt x="2011" y="16105"/>
                    <a:pt x="4988" y="18614"/>
                  </a:cubicBezTo>
                  <a:cubicBezTo>
                    <a:pt x="4988" y="18614"/>
                    <a:pt x="5522" y="19487"/>
                    <a:pt x="6133" y="1948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6" name="Shape 2491">
              <a:extLst>
                <a:ext uri="{FF2B5EF4-FFF2-40B4-BE49-F238E27FC236}">
                  <a16:creationId xmlns:a16="http://schemas.microsoft.com/office/drawing/2014/main" id="{62013B54-CDEE-2A80-EC0C-C2B9D45FC509}"/>
                </a:ext>
              </a:extLst>
            </p:cNvPr>
            <p:cNvSpPr/>
            <p:nvPr/>
          </p:nvSpPr>
          <p:spPr>
            <a:xfrm>
              <a:off x="2769820" y="7756911"/>
              <a:ext cx="670546" cy="478339"/>
            </a:xfrm>
            <a:custGeom>
              <a:avLst/>
              <a:gdLst/>
              <a:ahLst/>
              <a:cxnLst>
                <a:cxn ang="0">
                  <a:pos x="wd2" y="hd2"/>
                </a:cxn>
                <a:cxn ang="5400000">
                  <a:pos x="wd2" y="hd2"/>
                </a:cxn>
                <a:cxn ang="10800000">
                  <a:pos x="wd2" y="hd2"/>
                </a:cxn>
                <a:cxn ang="16200000">
                  <a:pos x="wd2" y="hd2"/>
                </a:cxn>
              </a:cxnLst>
              <a:rect l="0" t="0" r="r" b="b"/>
              <a:pathLst>
                <a:path w="21378" h="21600" extrusionOk="0">
                  <a:moveTo>
                    <a:pt x="11" y="9994"/>
                  </a:moveTo>
                  <a:cubicBezTo>
                    <a:pt x="259" y="9750"/>
                    <a:pt x="345" y="9294"/>
                    <a:pt x="592" y="9172"/>
                  </a:cubicBezTo>
                  <a:cubicBezTo>
                    <a:pt x="839" y="8944"/>
                    <a:pt x="1248" y="8944"/>
                    <a:pt x="1570" y="8823"/>
                  </a:cubicBezTo>
                  <a:cubicBezTo>
                    <a:pt x="1818" y="8716"/>
                    <a:pt x="1990" y="8594"/>
                    <a:pt x="2237" y="8473"/>
                  </a:cubicBezTo>
                  <a:cubicBezTo>
                    <a:pt x="3140" y="8123"/>
                    <a:pt x="4118" y="7895"/>
                    <a:pt x="5022" y="7545"/>
                  </a:cubicBezTo>
                  <a:cubicBezTo>
                    <a:pt x="5183" y="7545"/>
                    <a:pt x="5602" y="7773"/>
                    <a:pt x="5677" y="7423"/>
                  </a:cubicBezTo>
                  <a:cubicBezTo>
                    <a:pt x="5925" y="6739"/>
                    <a:pt x="5677" y="5917"/>
                    <a:pt x="5763" y="5233"/>
                  </a:cubicBezTo>
                  <a:cubicBezTo>
                    <a:pt x="5763" y="4761"/>
                    <a:pt x="5677" y="4183"/>
                    <a:pt x="5849" y="3940"/>
                  </a:cubicBezTo>
                  <a:cubicBezTo>
                    <a:pt x="6258" y="3483"/>
                    <a:pt x="6828" y="3134"/>
                    <a:pt x="7322" y="3362"/>
                  </a:cubicBezTo>
                  <a:cubicBezTo>
                    <a:pt x="7817" y="3590"/>
                    <a:pt x="7731" y="4761"/>
                    <a:pt x="8225" y="5111"/>
                  </a:cubicBezTo>
                  <a:cubicBezTo>
                    <a:pt x="8387" y="5233"/>
                    <a:pt x="8473" y="4411"/>
                    <a:pt x="8634" y="4290"/>
                  </a:cubicBezTo>
                  <a:cubicBezTo>
                    <a:pt x="9129" y="4061"/>
                    <a:pt x="9870" y="4533"/>
                    <a:pt x="10279" y="3940"/>
                  </a:cubicBezTo>
                  <a:cubicBezTo>
                    <a:pt x="10440" y="3712"/>
                    <a:pt x="9462" y="3590"/>
                    <a:pt x="9462" y="3134"/>
                  </a:cubicBezTo>
                  <a:cubicBezTo>
                    <a:pt x="9462" y="2555"/>
                    <a:pt x="10118" y="2206"/>
                    <a:pt x="10279" y="1506"/>
                  </a:cubicBezTo>
                  <a:cubicBezTo>
                    <a:pt x="10365" y="1156"/>
                    <a:pt x="10032" y="806"/>
                    <a:pt x="10032" y="350"/>
                  </a:cubicBezTo>
                  <a:cubicBezTo>
                    <a:pt x="10118" y="228"/>
                    <a:pt x="10279" y="106"/>
                    <a:pt x="10365" y="0"/>
                  </a:cubicBezTo>
                  <a:cubicBezTo>
                    <a:pt x="10935" y="228"/>
                    <a:pt x="11515" y="106"/>
                    <a:pt x="11924" y="456"/>
                  </a:cubicBezTo>
                  <a:cubicBezTo>
                    <a:pt x="12333" y="700"/>
                    <a:pt x="12494" y="1384"/>
                    <a:pt x="12741" y="1856"/>
                  </a:cubicBezTo>
                  <a:cubicBezTo>
                    <a:pt x="12988" y="2434"/>
                    <a:pt x="13160" y="3012"/>
                    <a:pt x="13397" y="3590"/>
                  </a:cubicBezTo>
                  <a:cubicBezTo>
                    <a:pt x="13483" y="3833"/>
                    <a:pt x="13730" y="3833"/>
                    <a:pt x="13892" y="3940"/>
                  </a:cubicBezTo>
                  <a:cubicBezTo>
                    <a:pt x="14053" y="4290"/>
                    <a:pt x="14053" y="5111"/>
                    <a:pt x="14386" y="5111"/>
                  </a:cubicBezTo>
                  <a:cubicBezTo>
                    <a:pt x="14795" y="5111"/>
                    <a:pt x="15128" y="4411"/>
                    <a:pt x="15537" y="4183"/>
                  </a:cubicBezTo>
                  <a:cubicBezTo>
                    <a:pt x="15870" y="3940"/>
                    <a:pt x="16278" y="3833"/>
                    <a:pt x="16601" y="3590"/>
                  </a:cubicBezTo>
                  <a:cubicBezTo>
                    <a:pt x="17010" y="4533"/>
                    <a:pt x="17182" y="5567"/>
                    <a:pt x="17751" y="6161"/>
                  </a:cubicBezTo>
                  <a:cubicBezTo>
                    <a:pt x="18085" y="6495"/>
                    <a:pt x="18332" y="5689"/>
                    <a:pt x="18655" y="5567"/>
                  </a:cubicBezTo>
                  <a:cubicBezTo>
                    <a:pt x="18741" y="5567"/>
                    <a:pt x="19074" y="5567"/>
                    <a:pt x="19074" y="5811"/>
                  </a:cubicBezTo>
                  <a:cubicBezTo>
                    <a:pt x="19149" y="6161"/>
                    <a:pt x="18902" y="6495"/>
                    <a:pt x="18741" y="6845"/>
                  </a:cubicBezTo>
                  <a:cubicBezTo>
                    <a:pt x="18655" y="6967"/>
                    <a:pt x="18579" y="7088"/>
                    <a:pt x="18493" y="7195"/>
                  </a:cubicBezTo>
                  <a:cubicBezTo>
                    <a:pt x="18407" y="7666"/>
                    <a:pt x="18332" y="8123"/>
                    <a:pt x="18493" y="8366"/>
                  </a:cubicBezTo>
                  <a:cubicBezTo>
                    <a:pt x="18655" y="8716"/>
                    <a:pt x="19074" y="8123"/>
                    <a:pt x="19235" y="8366"/>
                  </a:cubicBezTo>
                  <a:cubicBezTo>
                    <a:pt x="19396" y="8594"/>
                    <a:pt x="19235" y="9172"/>
                    <a:pt x="19235" y="9522"/>
                  </a:cubicBezTo>
                  <a:cubicBezTo>
                    <a:pt x="19310" y="10222"/>
                    <a:pt x="19149" y="11028"/>
                    <a:pt x="19396" y="11606"/>
                  </a:cubicBezTo>
                  <a:cubicBezTo>
                    <a:pt x="19558" y="11850"/>
                    <a:pt x="19891" y="11150"/>
                    <a:pt x="20138" y="11378"/>
                  </a:cubicBezTo>
                  <a:cubicBezTo>
                    <a:pt x="20300" y="11500"/>
                    <a:pt x="20052" y="12306"/>
                    <a:pt x="20300" y="12428"/>
                  </a:cubicBezTo>
                  <a:cubicBezTo>
                    <a:pt x="20622" y="12656"/>
                    <a:pt x="21041" y="11850"/>
                    <a:pt x="21289" y="12199"/>
                  </a:cubicBezTo>
                  <a:cubicBezTo>
                    <a:pt x="21536" y="12428"/>
                    <a:pt x="21203" y="13355"/>
                    <a:pt x="21117" y="13705"/>
                  </a:cubicBezTo>
                  <a:cubicBezTo>
                    <a:pt x="20869" y="13827"/>
                    <a:pt x="20547" y="13934"/>
                    <a:pt x="20300" y="14405"/>
                  </a:cubicBezTo>
                  <a:cubicBezTo>
                    <a:pt x="20214" y="14527"/>
                    <a:pt x="20052" y="14527"/>
                    <a:pt x="19805" y="14527"/>
                  </a:cubicBezTo>
                  <a:cubicBezTo>
                    <a:pt x="19558" y="14055"/>
                    <a:pt x="19149" y="13006"/>
                    <a:pt x="18902" y="12549"/>
                  </a:cubicBezTo>
                  <a:cubicBezTo>
                    <a:pt x="18741" y="12428"/>
                    <a:pt x="18741" y="12078"/>
                    <a:pt x="18579" y="11956"/>
                  </a:cubicBezTo>
                  <a:cubicBezTo>
                    <a:pt x="18493" y="11850"/>
                    <a:pt x="18246" y="11956"/>
                    <a:pt x="18160" y="11956"/>
                  </a:cubicBezTo>
                  <a:cubicBezTo>
                    <a:pt x="17837" y="11850"/>
                    <a:pt x="17590" y="11728"/>
                    <a:pt x="17343" y="11606"/>
                  </a:cubicBezTo>
                  <a:cubicBezTo>
                    <a:pt x="17096" y="11378"/>
                    <a:pt x="16934" y="10800"/>
                    <a:pt x="16601" y="10800"/>
                  </a:cubicBezTo>
                  <a:cubicBezTo>
                    <a:pt x="16354" y="10678"/>
                    <a:pt x="16031" y="10922"/>
                    <a:pt x="15870" y="11272"/>
                  </a:cubicBezTo>
                  <a:cubicBezTo>
                    <a:pt x="15698" y="11606"/>
                    <a:pt x="15784" y="12199"/>
                    <a:pt x="15698" y="12656"/>
                  </a:cubicBezTo>
                  <a:cubicBezTo>
                    <a:pt x="15623" y="13006"/>
                    <a:pt x="15128" y="14527"/>
                    <a:pt x="15042" y="14861"/>
                  </a:cubicBezTo>
                  <a:cubicBezTo>
                    <a:pt x="15042" y="15333"/>
                    <a:pt x="16601" y="16383"/>
                    <a:pt x="16934" y="16261"/>
                  </a:cubicBezTo>
                  <a:cubicBezTo>
                    <a:pt x="17182" y="16139"/>
                    <a:pt x="17010" y="16611"/>
                    <a:pt x="17010" y="16839"/>
                  </a:cubicBezTo>
                  <a:cubicBezTo>
                    <a:pt x="17096" y="17539"/>
                    <a:pt x="17590" y="17432"/>
                    <a:pt x="16773" y="17888"/>
                  </a:cubicBezTo>
                  <a:cubicBezTo>
                    <a:pt x="16440" y="18010"/>
                    <a:pt x="16934" y="19166"/>
                    <a:pt x="16687" y="19166"/>
                  </a:cubicBezTo>
                  <a:cubicBezTo>
                    <a:pt x="16278" y="19166"/>
                    <a:pt x="15375" y="18938"/>
                    <a:pt x="15289" y="19638"/>
                  </a:cubicBezTo>
                  <a:cubicBezTo>
                    <a:pt x="15042" y="19744"/>
                    <a:pt x="14956" y="19394"/>
                    <a:pt x="14881" y="19045"/>
                  </a:cubicBezTo>
                  <a:cubicBezTo>
                    <a:pt x="14386" y="19045"/>
                    <a:pt x="14139" y="18588"/>
                    <a:pt x="13644" y="18360"/>
                  </a:cubicBezTo>
                  <a:cubicBezTo>
                    <a:pt x="13160" y="18117"/>
                    <a:pt x="12580" y="18360"/>
                    <a:pt x="12085" y="18117"/>
                  </a:cubicBezTo>
                  <a:cubicBezTo>
                    <a:pt x="10935" y="17888"/>
                    <a:pt x="9957" y="17432"/>
                    <a:pt x="8806" y="17432"/>
                  </a:cubicBezTo>
                  <a:cubicBezTo>
                    <a:pt x="8806" y="17767"/>
                    <a:pt x="8473" y="18360"/>
                    <a:pt x="8312" y="18695"/>
                  </a:cubicBezTo>
                  <a:cubicBezTo>
                    <a:pt x="8312" y="18938"/>
                    <a:pt x="8312" y="18938"/>
                    <a:pt x="8312" y="18938"/>
                  </a:cubicBezTo>
                  <a:cubicBezTo>
                    <a:pt x="8312" y="19288"/>
                    <a:pt x="8473" y="19516"/>
                    <a:pt x="8634" y="19744"/>
                  </a:cubicBezTo>
                  <a:cubicBezTo>
                    <a:pt x="8720" y="19972"/>
                    <a:pt x="8967" y="20322"/>
                    <a:pt x="8967" y="20566"/>
                  </a:cubicBezTo>
                  <a:cubicBezTo>
                    <a:pt x="8967" y="20794"/>
                    <a:pt x="8806" y="21022"/>
                    <a:pt x="8720" y="21265"/>
                  </a:cubicBezTo>
                  <a:cubicBezTo>
                    <a:pt x="8634" y="21372"/>
                    <a:pt x="8634" y="21600"/>
                    <a:pt x="8634" y="21600"/>
                  </a:cubicBezTo>
                  <a:cubicBezTo>
                    <a:pt x="8559" y="21265"/>
                    <a:pt x="8473" y="21144"/>
                    <a:pt x="8473" y="20794"/>
                  </a:cubicBezTo>
                  <a:cubicBezTo>
                    <a:pt x="8473" y="20566"/>
                    <a:pt x="8559" y="20216"/>
                    <a:pt x="8473" y="19972"/>
                  </a:cubicBezTo>
                  <a:cubicBezTo>
                    <a:pt x="8387" y="19866"/>
                    <a:pt x="8312" y="19744"/>
                    <a:pt x="8225" y="19516"/>
                  </a:cubicBezTo>
                  <a:cubicBezTo>
                    <a:pt x="8139" y="19394"/>
                    <a:pt x="8139" y="19166"/>
                    <a:pt x="8064" y="18938"/>
                  </a:cubicBezTo>
                  <a:cubicBezTo>
                    <a:pt x="7075" y="17310"/>
                    <a:pt x="3710" y="15683"/>
                    <a:pt x="2968" y="14755"/>
                  </a:cubicBezTo>
                  <a:cubicBezTo>
                    <a:pt x="2473" y="14527"/>
                    <a:pt x="1334" y="13705"/>
                    <a:pt x="839" y="13827"/>
                  </a:cubicBezTo>
                  <a:cubicBezTo>
                    <a:pt x="592" y="13934"/>
                    <a:pt x="345" y="14055"/>
                    <a:pt x="97" y="14283"/>
                  </a:cubicBezTo>
                  <a:cubicBezTo>
                    <a:pt x="97" y="13934"/>
                    <a:pt x="97" y="13127"/>
                    <a:pt x="183" y="12777"/>
                  </a:cubicBezTo>
                  <a:cubicBezTo>
                    <a:pt x="183" y="12549"/>
                    <a:pt x="345" y="12428"/>
                    <a:pt x="345" y="12306"/>
                  </a:cubicBezTo>
                  <a:cubicBezTo>
                    <a:pt x="259" y="12078"/>
                    <a:pt x="-64" y="12078"/>
                    <a:pt x="11" y="11956"/>
                  </a:cubicBezTo>
                  <a:cubicBezTo>
                    <a:pt x="259" y="11378"/>
                    <a:pt x="1086" y="11500"/>
                    <a:pt x="1086" y="10922"/>
                  </a:cubicBezTo>
                  <a:cubicBezTo>
                    <a:pt x="1086" y="10344"/>
                    <a:pt x="431" y="10344"/>
                    <a:pt x="11" y="999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7" name="Shape 2492">
              <a:extLst>
                <a:ext uri="{FF2B5EF4-FFF2-40B4-BE49-F238E27FC236}">
                  <a16:creationId xmlns:a16="http://schemas.microsoft.com/office/drawing/2014/main" id="{BCE27B79-E012-C932-4BAD-4553E8C63E0D}"/>
                </a:ext>
              </a:extLst>
            </p:cNvPr>
            <p:cNvSpPr/>
            <p:nvPr/>
          </p:nvSpPr>
          <p:spPr>
            <a:xfrm>
              <a:off x="3301985" y="8014086"/>
              <a:ext cx="88324" cy="69533"/>
            </a:xfrm>
            <a:custGeom>
              <a:avLst/>
              <a:gdLst/>
              <a:ahLst/>
              <a:cxnLst>
                <a:cxn ang="0">
                  <a:pos x="wd2" y="hd2"/>
                </a:cxn>
                <a:cxn ang="5400000">
                  <a:pos x="wd2" y="hd2"/>
                </a:cxn>
                <a:cxn ang="10800000">
                  <a:pos x="wd2" y="hd2"/>
                </a:cxn>
                <a:cxn ang="16200000">
                  <a:pos x="wd2" y="hd2"/>
                </a:cxn>
              </a:cxnLst>
              <a:rect l="0" t="0" r="r" b="b"/>
              <a:pathLst>
                <a:path w="21119" h="21600" extrusionOk="0">
                  <a:moveTo>
                    <a:pt x="21119" y="20035"/>
                  </a:moveTo>
                  <a:cubicBezTo>
                    <a:pt x="19258" y="16800"/>
                    <a:pt x="16184" y="9600"/>
                    <a:pt x="14323" y="6470"/>
                  </a:cubicBezTo>
                  <a:cubicBezTo>
                    <a:pt x="13110" y="5635"/>
                    <a:pt x="13110" y="3235"/>
                    <a:pt x="11897" y="2400"/>
                  </a:cubicBezTo>
                  <a:cubicBezTo>
                    <a:pt x="11249" y="1670"/>
                    <a:pt x="9389" y="2400"/>
                    <a:pt x="8741" y="2400"/>
                  </a:cubicBezTo>
                  <a:cubicBezTo>
                    <a:pt x="6315" y="1670"/>
                    <a:pt x="4454" y="835"/>
                    <a:pt x="2593" y="0"/>
                  </a:cubicBezTo>
                  <a:cubicBezTo>
                    <a:pt x="1946" y="1670"/>
                    <a:pt x="-481" y="3235"/>
                    <a:pt x="85" y="5635"/>
                  </a:cubicBezTo>
                  <a:cubicBezTo>
                    <a:pt x="732" y="7200"/>
                    <a:pt x="4454" y="6470"/>
                    <a:pt x="5020" y="8870"/>
                  </a:cubicBezTo>
                  <a:cubicBezTo>
                    <a:pt x="6315" y="12000"/>
                    <a:pt x="5020" y="18365"/>
                    <a:pt x="4454" y="21600"/>
                  </a:cubicBezTo>
                  <a:cubicBezTo>
                    <a:pt x="7528" y="18365"/>
                    <a:pt x="11897" y="16800"/>
                    <a:pt x="16831" y="18365"/>
                  </a:cubicBezTo>
                  <a:cubicBezTo>
                    <a:pt x="18045" y="18365"/>
                    <a:pt x="19906" y="19200"/>
                    <a:pt x="21119" y="2003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8" name="Shape 2493">
              <a:extLst>
                <a:ext uri="{FF2B5EF4-FFF2-40B4-BE49-F238E27FC236}">
                  <a16:creationId xmlns:a16="http://schemas.microsoft.com/office/drawing/2014/main" id="{50C7E928-0668-1926-0DF3-20980D8E16D1}"/>
                </a:ext>
              </a:extLst>
            </p:cNvPr>
            <p:cNvSpPr/>
            <p:nvPr/>
          </p:nvSpPr>
          <p:spPr>
            <a:xfrm>
              <a:off x="3501093" y="8028816"/>
              <a:ext cx="263830" cy="165998"/>
            </a:xfrm>
            <a:custGeom>
              <a:avLst/>
              <a:gdLst/>
              <a:ahLst/>
              <a:cxnLst>
                <a:cxn ang="0">
                  <a:pos x="wd2" y="hd2"/>
                </a:cxn>
                <a:cxn ang="5400000">
                  <a:pos x="wd2" y="hd2"/>
                </a:cxn>
                <a:cxn ang="10800000">
                  <a:pos x="wd2" y="hd2"/>
                </a:cxn>
                <a:cxn ang="16200000">
                  <a:pos x="wd2" y="hd2"/>
                </a:cxn>
              </a:cxnLst>
              <a:rect l="0" t="0" r="r" b="b"/>
              <a:pathLst>
                <a:path w="18906" h="18586" extrusionOk="0">
                  <a:moveTo>
                    <a:pt x="6831" y="14253"/>
                  </a:moveTo>
                  <a:cubicBezTo>
                    <a:pt x="6106" y="13649"/>
                    <a:pt x="5550" y="13386"/>
                    <a:pt x="4801" y="12519"/>
                  </a:cubicBezTo>
                  <a:cubicBezTo>
                    <a:pt x="4246" y="11953"/>
                    <a:pt x="3690" y="9616"/>
                    <a:pt x="2965" y="9918"/>
                  </a:cubicBezTo>
                  <a:cubicBezTo>
                    <a:pt x="-1843" y="11953"/>
                    <a:pt x="549" y="10219"/>
                    <a:pt x="936" y="7618"/>
                  </a:cubicBezTo>
                  <a:cubicBezTo>
                    <a:pt x="1298" y="5017"/>
                    <a:pt x="4801" y="5884"/>
                    <a:pt x="6106" y="4753"/>
                  </a:cubicBezTo>
                  <a:cubicBezTo>
                    <a:pt x="7580" y="3585"/>
                    <a:pt x="8691" y="3019"/>
                    <a:pt x="9778" y="983"/>
                  </a:cubicBezTo>
                  <a:cubicBezTo>
                    <a:pt x="11083" y="-1316"/>
                    <a:pt x="11276" y="983"/>
                    <a:pt x="12750" y="2152"/>
                  </a:cubicBezTo>
                  <a:cubicBezTo>
                    <a:pt x="13838" y="3019"/>
                    <a:pt x="14587" y="3019"/>
                    <a:pt x="15867" y="3019"/>
                  </a:cubicBezTo>
                  <a:cubicBezTo>
                    <a:pt x="16616" y="3019"/>
                    <a:pt x="18090" y="7053"/>
                    <a:pt x="18646" y="8183"/>
                  </a:cubicBezTo>
                  <a:cubicBezTo>
                    <a:pt x="19757" y="9918"/>
                    <a:pt x="16978" y="10483"/>
                    <a:pt x="16616" y="10785"/>
                  </a:cubicBezTo>
                  <a:cubicBezTo>
                    <a:pt x="15142" y="11350"/>
                    <a:pt x="15698" y="12217"/>
                    <a:pt x="15311" y="13649"/>
                  </a:cubicBezTo>
                  <a:cubicBezTo>
                    <a:pt x="14780" y="16552"/>
                    <a:pt x="13475" y="15383"/>
                    <a:pt x="12195" y="17419"/>
                  </a:cubicBezTo>
                  <a:cubicBezTo>
                    <a:pt x="10165" y="20284"/>
                    <a:pt x="9972" y="17118"/>
                    <a:pt x="8136" y="15949"/>
                  </a:cubicBezTo>
                  <a:lnTo>
                    <a:pt x="6831" y="14253"/>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9" name="Shape 2494">
              <a:extLst>
                <a:ext uri="{FF2B5EF4-FFF2-40B4-BE49-F238E27FC236}">
                  <a16:creationId xmlns:a16="http://schemas.microsoft.com/office/drawing/2014/main" id="{C13E516A-15D5-00BA-8F9B-A969A8A91307}"/>
                </a:ext>
              </a:extLst>
            </p:cNvPr>
            <p:cNvSpPr/>
            <p:nvPr/>
          </p:nvSpPr>
          <p:spPr>
            <a:xfrm>
              <a:off x="3240512" y="7995266"/>
              <a:ext cx="84301" cy="116597"/>
            </a:xfrm>
            <a:custGeom>
              <a:avLst/>
              <a:gdLst/>
              <a:ahLst/>
              <a:cxnLst>
                <a:cxn ang="0">
                  <a:pos x="wd2" y="hd2"/>
                </a:cxn>
                <a:cxn ang="5400000">
                  <a:pos x="wd2" y="hd2"/>
                </a:cxn>
                <a:cxn ang="10800000">
                  <a:pos x="wd2" y="hd2"/>
                </a:cxn>
                <a:cxn ang="16200000">
                  <a:pos x="wd2" y="hd2"/>
                </a:cxn>
              </a:cxnLst>
              <a:rect l="0" t="0" r="r" b="b"/>
              <a:pathLst>
                <a:path w="20842" h="21237" extrusionOk="0">
                  <a:moveTo>
                    <a:pt x="0" y="16512"/>
                  </a:moveTo>
                  <a:cubicBezTo>
                    <a:pt x="2575" y="16512"/>
                    <a:pt x="4486" y="17003"/>
                    <a:pt x="6978" y="17003"/>
                  </a:cubicBezTo>
                  <a:cubicBezTo>
                    <a:pt x="9554" y="16512"/>
                    <a:pt x="11465" y="16082"/>
                    <a:pt x="13375" y="16512"/>
                  </a:cubicBezTo>
                  <a:cubicBezTo>
                    <a:pt x="13957" y="17923"/>
                    <a:pt x="12711" y="18414"/>
                    <a:pt x="12711" y="19826"/>
                  </a:cubicBezTo>
                  <a:cubicBezTo>
                    <a:pt x="12711" y="20255"/>
                    <a:pt x="15203" y="21237"/>
                    <a:pt x="15203" y="21237"/>
                  </a:cubicBezTo>
                  <a:cubicBezTo>
                    <a:pt x="15868" y="19335"/>
                    <a:pt x="17778" y="17494"/>
                    <a:pt x="19689" y="16082"/>
                  </a:cubicBezTo>
                  <a:cubicBezTo>
                    <a:pt x="20271" y="14180"/>
                    <a:pt x="21600" y="10437"/>
                    <a:pt x="20271" y="8596"/>
                  </a:cubicBezTo>
                  <a:cubicBezTo>
                    <a:pt x="19689" y="7185"/>
                    <a:pt x="15868" y="7614"/>
                    <a:pt x="15203" y="6694"/>
                  </a:cubicBezTo>
                  <a:cubicBezTo>
                    <a:pt x="14622" y="5282"/>
                    <a:pt x="17114" y="4362"/>
                    <a:pt x="17778" y="3380"/>
                  </a:cubicBezTo>
                  <a:cubicBezTo>
                    <a:pt x="15868" y="2460"/>
                    <a:pt x="14622" y="128"/>
                    <a:pt x="12046" y="128"/>
                  </a:cubicBezTo>
                  <a:cubicBezTo>
                    <a:pt x="10135" y="-363"/>
                    <a:pt x="7643" y="619"/>
                    <a:pt x="6397" y="2030"/>
                  </a:cubicBezTo>
                  <a:cubicBezTo>
                    <a:pt x="5068" y="3380"/>
                    <a:pt x="5732" y="5773"/>
                    <a:pt x="5068" y="7614"/>
                  </a:cubicBezTo>
                  <a:cubicBezTo>
                    <a:pt x="4486" y="9026"/>
                    <a:pt x="665" y="15162"/>
                    <a:pt x="0" y="1651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0" name="Shape 2495">
              <a:extLst>
                <a:ext uri="{FF2B5EF4-FFF2-40B4-BE49-F238E27FC236}">
                  <a16:creationId xmlns:a16="http://schemas.microsoft.com/office/drawing/2014/main" id="{407E5F49-E63C-5A30-CE28-7C73407730E3}"/>
                </a:ext>
              </a:extLst>
            </p:cNvPr>
            <p:cNvSpPr/>
            <p:nvPr/>
          </p:nvSpPr>
          <p:spPr>
            <a:xfrm>
              <a:off x="2414708" y="8234098"/>
              <a:ext cx="74199" cy="115685"/>
            </a:xfrm>
            <a:custGeom>
              <a:avLst/>
              <a:gdLst/>
              <a:ahLst/>
              <a:cxnLst>
                <a:cxn ang="0">
                  <a:pos x="wd2" y="hd2"/>
                </a:cxn>
                <a:cxn ang="5400000">
                  <a:pos x="wd2" y="hd2"/>
                </a:cxn>
                <a:cxn ang="10800000">
                  <a:pos x="wd2" y="hd2"/>
                </a:cxn>
                <a:cxn ang="16200000">
                  <a:pos x="wd2" y="hd2"/>
                </a:cxn>
              </a:cxnLst>
              <a:rect l="0" t="0" r="r" b="b"/>
              <a:pathLst>
                <a:path w="20051" h="21071" extrusionOk="0">
                  <a:moveTo>
                    <a:pt x="16588" y="0"/>
                  </a:moveTo>
                  <a:cubicBezTo>
                    <a:pt x="13762" y="1415"/>
                    <a:pt x="8932" y="2338"/>
                    <a:pt x="6836" y="3754"/>
                  </a:cubicBezTo>
                  <a:cubicBezTo>
                    <a:pt x="5377" y="4677"/>
                    <a:pt x="6107" y="6585"/>
                    <a:pt x="5377" y="7508"/>
                  </a:cubicBezTo>
                  <a:cubicBezTo>
                    <a:pt x="4010" y="8923"/>
                    <a:pt x="1276" y="9415"/>
                    <a:pt x="547" y="10338"/>
                  </a:cubicBezTo>
                  <a:cubicBezTo>
                    <a:pt x="-182" y="11262"/>
                    <a:pt x="-182" y="12677"/>
                    <a:pt x="547" y="13600"/>
                  </a:cubicBezTo>
                  <a:cubicBezTo>
                    <a:pt x="1914" y="15015"/>
                    <a:pt x="5377" y="15938"/>
                    <a:pt x="6836" y="17354"/>
                  </a:cubicBezTo>
                  <a:cubicBezTo>
                    <a:pt x="8203" y="18338"/>
                    <a:pt x="6836" y="20185"/>
                    <a:pt x="8203" y="20677"/>
                  </a:cubicBezTo>
                  <a:cubicBezTo>
                    <a:pt x="11666" y="21600"/>
                    <a:pt x="15129" y="20677"/>
                    <a:pt x="19322" y="20185"/>
                  </a:cubicBezTo>
                  <a:cubicBezTo>
                    <a:pt x="19322" y="19754"/>
                    <a:pt x="19322" y="19262"/>
                    <a:pt x="20051" y="18769"/>
                  </a:cubicBezTo>
                  <a:cubicBezTo>
                    <a:pt x="9570" y="18769"/>
                    <a:pt x="2643" y="11754"/>
                    <a:pt x="14491" y="11754"/>
                  </a:cubicBezTo>
                  <a:cubicBezTo>
                    <a:pt x="18684" y="11754"/>
                    <a:pt x="21418" y="11262"/>
                    <a:pt x="17955" y="8431"/>
                  </a:cubicBezTo>
                  <a:cubicBezTo>
                    <a:pt x="14491" y="6585"/>
                    <a:pt x="15129" y="2831"/>
                    <a:pt x="16588"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1" name="Shape 2496">
              <a:extLst>
                <a:ext uri="{FF2B5EF4-FFF2-40B4-BE49-F238E27FC236}">
                  <a16:creationId xmlns:a16="http://schemas.microsoft.com/office/drawing/2014/main" id="{D2D9CF5B-0F44-06FE-1F00-1316178E2D64}"/>
                </a:ext>
              </a:extLst>
            </p:cNvPr>
            <p:cNvSpPr/>
            <p:nvPr/>
          </p:nvSpPr>
          <p:spPr>
            <a:xfrm>
              <a:off x="1849496" y="7630552"/>
              <a:ext cx="953657" cy="875254"/>
            </a:xfrm>
            <a:custGeom>
              <a:avLst/>
              <a:gdLst/>
              <a:ahLst/>
              <a:cxnLst>
                <a:cxn ang="0">
                  <a:pos x="wd2" y="hd2"/>
                </a:cxn>
                <a:cxn ang="5400000">
                  <a:pos x="wd2" y="hd2"/>
                </a:cxn>
                <a:cxn ang="10800000">
                  <a:pos x="wd2" y="hd2"/>
                </a:cxn>
                <a:cxn ang="16200000">
                  <a:pos x="wd2" y="hd2"/>
                </a:cxn>
              </a:cxnLst>
              <a:rect l="0" t="0" r="r" b="b"/>
              <a:pathLst>
                <a:path w="21559" h="21600" extrusionOk="0">
                  <a:moveTo>
                    <a:pt x="73" y="1589"/>
                  </a:moveTo>
                  <a:cubicBezTo>
                    <a:pt x="73" y="1530"/>
                    <a:pt x="12" y="1464"/>
                    <a:pt x="12" y="1406"/>
                  </a:cubicBezTo>
                  <a:cubicBezTo>
                    <a:pt x="12" y="1339"/>
                    <a:pt x="12" y="1273"/>
                    <a:pt x="12" y="1214"/>
                  </a:cubicBezTo>
                  <a:cubicBezTo>
                    <a:pt x="12" y="1148"/>
                    <a:pt x="-41" y="956"/>
                    <a:pt x="73" y="890"/>
                  </a:cubicBezTo>
                  <a:cubicBezTo>
                    <a:pt x="134" y="890"/>
                    <a:pt x="134" y="1023"/>
                    <a:pt x="134" y="1081"/>
                  </a:cubicBezTo>
                  <a:cubicBezTo>
                    <a:pt x="134" y="1148"/>
                    <a:pt x="188" y="1339"/>
                    <a:pt x="249" y="1406"/>
                  </a:cubicBezTo>
                  <a:cubicBezTo>
                    <a:pt x="249" y="1464"/>
                    <a:pt x="249" y="1530"/>
                    <a:pt x="249" y="1530"/>
                  </a:cubicBezTo>
                  <a:cubicBezTo>
                    <a:pt x="249" y="1589"/>
                    <a:pt x="188" y="1655"/>
                    <a:pt x="73" y="1722"/>
                  </a:cubicBezTo>
                  <a:cubicBezTo>
                    <a:pt x="73" y="1589"/>
                    <a:pt x="73" y="1589"/>
                    <a:pt x="73" y="1589"/>
                  </a:cubicBezTo>
                  <a:close/>
                  <a:moveTo>
                    <a:pt x="6714" y="18365"/>
                  </a:moveTo>
                  <a:cubicBezTo>
                    <a:pt x="6714" y="19887"/>
                    <a:pt x="7820" y="19571"/>
                    <a:pt x="8864" y="19571"/>
                  </a:cubicBezTo>
                  <a:cubicBezTo>
                    <a:pt x="9215" y="19762"/>
                    <a:pt x="9688" y="19953"/>
                    <a:pt x="9741" y="20394"/>
                  </a:cubicBezTo>
                  <a:cubicBezTo>
                    <a:pt x="9741" y="20901"/>
                    <a:pt x="10092" y="21226"/>
                    <a:pt x="10496" y="21475"/>
                  </a:cubicBezTo>
                  <a:cubicBezTo>
                    <a:pt x="10671" y="21542"/>
                    <a:pt x="11373" y="20901"/>
                    <a:pt x="11609" y="21600"/>
                  </a:cubicBezTo>
                  <a:cubicBezTo>
                    <a:pt x="11723" y="21600"/>
                    <a:pt x="11777" y="21350"/>
                    <a:pt x="11952" y="21284"/>
                  </a:cubicBezTo>
                  <a:cubicBezTo>
                    <a:pt x="12074" y="21284"/>
                    <a:pt x="12250" y="21226"/>
                    <a:pt x="12425" y="21226"/>
                  </a:cubicBezTo>
                  <a:cubicBezTo>
                    <a:pt x="12425" y="20585"/>
                    <a:pt x="12303" y="20211"/>
                    <a:pt x="12715" y="19571"/>
                  </a:cubicBezTo>
                  <a:cubicBezTo>
                    <a:pt x="13058" y="18938"/>
                    <a:pt x="13233" y="18747"/>
                    <a:pt x="13935" y="18747"/>
                  </a:cubicBezTo>
                  <a:cubicBezTo>
                    <a:pt x="13935" y="18240"/>
                    <a:pt x="14224" y="17982"/>
                    <a:pt x="14400" y="17599"/>
                  </a:cubicBezTo>
                  <a:cubicBezTo>
                    <a:pt x="14049" y="17666"/>
                    <a:pt x="13759" y="17791"/>
                    <a:pt x="13469" y="17666"/>
                  </a:cubicBezTo>
                  <a:cubicBezTo>
                    <a:pt x="13355" y="17599"/>
                    <a:pt x="13469" y="17350"/>
                    <a:pt x="13355" y="17217"/>
                  </a:cubicBezTo>
                  <a:cubicBezTo>
                    <a:pt x="13233" y="17025"/>
                    <a:pt x="12943" y="16901"/>
                    <a:pt x="12829" y="16709"/>
                  </a:cubicBezTo>
                  <a:cubicBezTo>
                    <a:pt x="12768" y="16585"/>
                    <a:pt x="12768" y="16393"/>
                    <a:pt x="12829" y="16269"/>
                  </a:cubicBezTo>
                  <a:cubicBezTo>
                    <a:pt x="12890" y="16144"/>
                    <a:pt x="13119" y="16077"/>
                    <a:pt x="13233" y="15886"/>
                  </a:cubicBezTo>
                  <a:cubicBezTo>
                    <a:pt x="13294" y="15761"/>
                    <a:pt x="13233" y="15503"/>
                    <a:pt x="13355" y="15379"/>
                  </a:cubicBezTo>
                  <a:cubicBezTo>
                    <a:pt x="13530" y="15187"/>
                    <a:pt x="13935" y="15063"/>
                    <a:pt x="14171" y="14871"/>
                  </a:cubicBezTo>
                  <a:cubicBezTo>
                    <a:pt x="14171" y="14680"/>
                    <a:pt x="14750" y="13665"/>
                    <a:pt x="14865" y="13407"/>
                  </a:cubicBezTo>
                  <a:cubicBezTo>
                    <a:pt x="15101" y="13091"/>
                    <a:pt x="16031" y="13283"/>
                    <a:pt x="16496" y="12834"/>
                  </a:cubicBezTo>
                  <a:cubicBezTo>
                    <a:pt x="16961" y="12326"/>
                    <a:pt x="17198" y="11885"/>
                    <a:pt x="17884" y="11752"/>
                  </a:cubicBezTo>
                  <a:cubicBezTo>
                    <a:pt x="18235" y="11694"/>
                    <a:pt x="18822" y="11819"/>
                    <a:pt x="18997" y="11569"/>
                  </a:cubicBezTo>
                  <a:cubicBezTo>
                    <a:pt x="19226" y="11312"/>
                    <a:pt x="19516" y="11312"/>
                    <a:pt x="19805" y="11378"/>
                  </a:cubicBezTo>
                  <a:cubicBezTo>
                    <a:pt x="20217" y="11436"/>
                    <a:pt x="20507" y="11187"/>
                    <a:pt x="20858" y="10929"/>
                  </a:cubicBezTo>
                  <a:cubicBezTo>
                    <a:pt x="20858" y="10738"/>
                    <a:pt x="20858" y="10297"/>
                    <a:pt x="20919" y="10106"/>
                  </a:cubicBezTo>
                  <a:cubicBezTo>
                    <a:pt x="20919" y="9981"/>
                    <a:pt x="21033" y="9914"/>
                    <a:pt x="21033" y="9848"/>
                  </a:cubicBezTo>
                  <a:cubicBezTo>
                    <a:pt x="20972" y="9723"/>
                    <a:pt x="20743" y="9723"/>
                    <a:pt x="20797" y="9656"/>
                  </a:cubicBezTo>
                  <a:cubicBezTo>
                    <a:pt x="20972" y="9340"/>
                    <a:pt x="21559" y="9407"/>
                    <a:pt x="21559" y="9091"/>
                  </a:cubicBezTo>
                  <a:cubicBezTo>
                    <a:pt x="21559" y="8775"/>
                    <a:pt x="21094" y="8775"/>
                    <a:pt x="20797" y="8583"/>
                  </a:cubicBezTo>
                  <a:cubicBezTo>
                    <a:pt x="20682" y="8326"/>
                    <a:pt x="20682" y="8010"/>
                    <a:pt x="20453" y="7818"/>
                  </a:cubicBezTo>
                  <a:cubicBezTo>
                    <a:pt x="20278" y="7693"/>
                    <a:pt x="19981" y="7943"/>
                    <a:pt x="19805" y="7885"/>
                  </a:cubicBezTo>
                  <a:cubicBezTo>
                    <a:pt x="19638" y="7752"/>
                    <a:pt x="19577" y="7502"/>
                    <a:pt x="19577" y="7311"/>
                  </a:cubicBezTo>
                  <a:cubicBezTo>
                    <a:pt x="19516" y="7120"/>
                    <a:pt x="19752" y="6928"/>
                    <a:pt x="19691" y="6804"/>
                  </a:cubicBezTo>
                  <a:cubicBezTo>
                    <a:pt x="19638" y="6670"/>
                    <a:pt x="19462" y="6737"/>
                    <a:pt x="19340" y="6737"/>
                  </a:cubicBezTo>
                  <a:cubicBezTo>
                    <a:pt x="19051" y="6804"/>
                    <a:pt x="18761" y="6995"/>
                    <a:pt x="18471" y="6995"/>
                  </a:cubicBezTo>
                  <a:cubicBezTo>
                    <a:pt x="18296" y="6928"/>
                    <a:pt x="18120" y="6804"/>
                    <a:pt x="18120" y="6612"/>
                  </a:cubicBezTo>
                  <a:cubicBezTo>
                    <a:pt x="18059" y="6354"/>
                    <a:pt x="18410" y="6038"/>
                    <a:pt x="18235" y="5847"/>
                  </a:cubicBezTo>
                  <a:cubicBezTo>
                    <a:pt x="17945" y="5656"/>
                    <a:pt x="17549" y="6038"/>
                    <a:pt x="17251" y="5914"/>
                  </a:cubicBezTo>
                  <a:cubicBezTo>
                    <a:pt x="16908" y="5789"/>
                    <a:pt x="16733" y="5340"/>
                    <a:pt x="16382" y="5148"/>
                  </a:cubicBezTo>
                  <a:cubicBezTo>
                    <a:pt x="16207" y="5024"/>
                    <a:pt x="15917" y="5340"/>
                    <a:pt x="15795" y="5148"/>
                  </a:cubicBezTo>
                  <a:cubicBezTo>
                    <a:pt x="15620" y="4957"/>
                    <a:pt x="15856" y="4575"/>
                    <a:pt x="15742" y="4325"/>
                  </a:cubicBezTo>
                  <a:cubicBezTo>
                    <a:pt x="15681" y="4200"/>
                    <a:pt x="15505" y="4134"/>
                    <a:pt x="15330" y="4134"/>
                  </a:cubicBezTo>
                  <a:cubicBezTo>
                    <a:pt x="15215" y="4134"/>
                    <a:pt x="15040" y="4258"/>
                    <a:pt x="14865" y="4258"/>
                  </a:cubicBezTo>
                  <a:cubicBezTo>
                    <a:pt x="14811" y="4258"/>
                    <a:pt x="14750" y="4067"/>
                    <a:pt x="14689" y="4067"/>
                  </a:cubicBezTo>
                  <a:cubicBezTo>
                    <a:pt x="14522" y="4009"/>
                    <a:pt x="14346" y="3942"/>
                    <a:pt x="14224" y="4067"/>
                  </a:cubicBezTo>
                  <a:cubicBezTo>
                    <a:pt x="14110" y="4200"/>
                    <a:pt x="14110" y="4575"/>
                    <a:pt x="13935" y="4641"/>
                  </a:cubicBezTo>
                  <a:cubicBezTo>
                    <a:pt x="13645" y="4766"/>
                    <a:pt x="13233" y="4708"/>
                    <a:pt x="13004" y="4516"/>
                  </a:cubicBezTo>
                  <a:cubicBezTo>
                    <a:pt x="12890" y="4383"/>
                    <a:pt x="13119" y="4200"/>
                    <a:pt x="13119" y="4009"/>
                  </a:cubicBezTo>
                  <a:cubicBezTo>
                    <a:pt x="13180" y="3876"/>
                    <a:pt x="13233" y="3693"/>
                    <a:pt x="13119" y="3560"/>
                  </a:cubicBezTo>
                  <a:cubicBezTo>
                    <a:pt x="13058" y="3435"/>
                    <a:pt x="12890" y="3560"/>
                    <a:pt x="12768" y="3560"/>
                  </a:cubicBezTo>
                  <a:cubicBezTo>
                    <a:pt x="12425" y="3435"/>
                    <a:pt x="12128" y="3244"/>
                    <a:pt x="11838" y="3052"/>
                  </a:cubicBezTo>
                  <a:cubicBezTo>
                    <a:pt x="11373" y="2670"/>
                    <a:pt x="10847" y="2354"/>
                    <a:pt x="10557" y="1913"/>
                  </a:cubicBezTo>
                  <a:cubicBezTo>
                    <a:pt x="10382" y="1655"/>
                    <a:pt x="10328" y="1273"/>
                    <a:pt x="10443" y="1023"/>
                  </a:cubicBezTo>
                  <a:cubicBezTo>
                    <a:pt x="10496" y="890"/>
                    <a:pt x="10732" y="956"/>
                    <a:pt x="10847" y="956"/>
                  </a:cubicBezTo>
                  <a:cubicBezTo>
                    <a:pt x="11136" y="890"/>
                    <a:pt x="11487" y="1023"/>
                    <a:pt x="11723" y="890"/>
                  </a:cubicBezTo>
                  <a:cubicBezTo>
                    <a:pt x="11838" y="765"/>
                    <a:pt x="11723" y="765"/>
                    <a:pt x="11723" y="574"/>
                  </a:cubicBezTo>
                  <a:cubicBezTo>
                    <a:pt x="11312" y="516"/>
                    <a:pt x="10908" y="383"/>
                    <a:pt x="10671" y="0"/>
                  </a:cubicBezTo>
                  <a:cubicBezTo>
                    <a:pt x="10618" y="67"/>
                    <a:pt x="10618" y="67"/>
                    <a:pt x="10618" y="67"/>
                  </a:cubicBezTo>
                  <a:cubicBezTo>
                    <a:pt x="10092" y="449"/>
                    <a:pt x="9040" y="383"/>
                    <a:pt x="8399" y="640"/>
                  </a:cubicBezTo>
                  <a:cubicBezTo>
                    <a:pt x="7820" y="832"/>
                    <a:pt x="7004" y="832"/>
                    <a:pt x="6425" y="890"/>
                  </a:cubicBezTo>
                  <a:cubicBezTo>
                    <a:pt x="6135" y="956"/>
                    <a:pt x="5609" y="956"/>
                    <a:pt x="5670" y="1273"/>
                  </a:cubicBezTo>
                  <a:cubicBezTo>
                    <a:pt x="5784" y="1589"/>
                    <a:pt x="5548" y="1780"/>
                    <a:pt x="5372" y="1971"/>
                  </a:cubicBezTo>
                  <a:cubicBezTo>
                    <a:pt x="5197" y="2229"/>
                    <a:pt x="5372" y="3052"/>
                    <a:pt x="5319" y="3435"/>
                  </a:cubicBezTo>
                  <a:cubicBezTo>
                    <a:pt x="5197" y="4067"/>
                    <a:pt x="4907" y="4516"/>
                    <a:pt x="4618" y="5024"/>
                  </a:cubicBezTo>
                  <a:cubicBezTo>
                    <a:pt x="4091" y="5340"/>
                    <a:pt x="3573" y="5598"/>
                    <a:pt x="3161" y="4899"/>
                  </a:cubicBezTo>
                  <a:cubicBezTo>
                    <a:pt x="3047" y="4641"/>
                    <a:pt x="2170" y="4641"/>
                    <a:pt x="1880" y="4641"/>
                  </a:cubicBezTo>
                  <a:cubicBezTo>
                    <a:pt x="1880" y="5215"/>
                    <a:pt x="1705" y="5722"/>
                    <a:pt x="1530" y="6230"/>
                  </a:cubicBezTo>
                  <a:cubicBezTo>
                    <a:pt x="1766" y="6230"/>
                    <a:pt x="1880" y="6230"/>
                    <a:pt x="2109" y="6230"/>
                  </a:cubicBezTo>
                  <a:cubicBezTo>
                    <a:pt x="2345" y="6230"/>
                    <a:pt x="2635" y="6105"/>
                    <a:pt x="2872" y="6230"/>
                  </a:cubicBezTo>
                  <a:cubicBezTo>
                    <a:pt x="2986" y="6296"/>
                    <a:pt x="2925" y="6487"/>
                    <a:pt x="2986" y="6612"/>
                  </a:cubicBezTo>
                  <a:cubicBezTo>
                    <a:pt x="3100" y="6928"/>
                    <a:pt x="3276" y="7178"/>
                    <a:pt x="3337" y="7436"/>
                  </a:cubicBezTo>
                  <a:cubicBezTo>
                    <a:pt x="3398" y="7502"/>
                    <a:pt x="3276" y="7560"/>
                    <a:pt x="3222" y="7627"/>
                  </a:cubicBezTo>
                  <a:cubicBezTo>
                    <a:pt x="3161" y="7943"/>
                    <a:pt x="3222" y="8392"/>
                    <a:pt x="3100" y="8708"/>
                  </a:cubicBezTo>
                  <a:cubicBezTo>
                    <a:pt x="2986" y="8899"/>
                    <a:pt x="2757" y="8833"/>
                    <a:pt x="2582" y="8958"/>
                  </a:cubicBezTo>
                  <a:cubicBezTo>
                    <a:pt x="2521" y="8958"/>
                    <a:pt x="2460" y="9024"/>
                    <a:pt x="2460" y="9091"/>
                  </a:cubicBezTo>
                  <a:cubicBezTo>
                    <a:pt x="2521" y="9216"/>
                    <a:pt x="2635" y="9149"/>
                    <a:pt x="2696" y="9216"/>
                  </a:cubicBezTo>
                  <a:cubicBezTo>
                    <a:pt x="2986" y="9340"/>
                    <a:pt x="3161" y="9598"/>
                    <a:pt x="3451" y="9656"/>
                  </a:cubicBezTo>
                  <a:cubicBezTo>
                    <a:pt x="3573" y="9723"/>
                    <a:pt x="3687" y="9282"/>
                    <a:pt x="3741" y="9407"/>
                  </a:cubicBezTo>
                  <a:cubicBezTo>
                    <a:pt x="3977" y="9789"/>
                    <a:pt x="3916" y="10297"/>
                    <a:pt x="3977" y="10738"/>
                  </a:cubicBezTo>
                  <a:cubicBezTo>
                    <a:pt x="4038" y="10804"/>
                    <a:pt x="3977" y="10929"/>
                    <a:pt x="4038" y="10995"/>
                  </a:cubicBezTo>
                  <a:cubicBezTo>
                    <a:pt x="4091" y="11120"/>
                    <a:pt x="4206" y="11245"/>
                    <a:pt x="4267" y="11378"/>
                  </a:cubicBezTo>
                  <a:cubicBezTo>
                    <a:pt x="4381" y="11628"/>
                    <a:pt x="4328" y="11944"/>
                    <a:pt x="4442" y="12201"/>
                  </a:cubicBezTo>
                  <a:cubicBezTo>
                    <a:pt x="4503" y="12326"/>
                    <a:pt x="4679" y="12201"/>
                    <a:pt x="4679" y="12326"/>
                  </a:cubicBezTo>
                  <a:cubicBezTo>
                    <a:pt x="4732" y="12651"/>
                    <a:pt x="4557" y="13025"/>
                    <a:pt x="4679" y="13341"/>
                  </a:cubicBezTo>
                  <a:cubicBezTo>
                    <a:pt x="4679" y="13532"/>
                    <a:pt x="4968" y="13341"/>
                    <a:pt x="5022" y="13407"/>
                  </a:cubicBezTo>
                  <a:cubicBezTo>
                    <a:pt x="5144" y="13532"/>
                    <a:pt x="5144" y="13665"/>
                    <a:pt x="5144" y="13790"/>
                  </a:cubicBezTo>
                  <a:cubicBezTo>
                    <a:pt x="5144" y="13981"/>
                    <a:pt x="5022" y="14173"/>
                    <a:pt x="5083" y="14231"/>
                  </a:cubicBezTo>
                  <a:cubicBezTo>
                    <a:pt x="5258" y="14422"/>
                    <a:pt x="5548" y="14297"/>
                    <a:pt x="5723" y="14422"/>
                  </a:cubicBezTo>
                  <a:cubicBezTo>
                    <a:pt x="5898" y="14555"/>
                    <a:pt x="6188" y="14805"/>
                    <a:pt x="6188" y="15063"/>
                  </a:cubicBezTo>
                  <a:cubicBezTo>
                    <a:pt x="6135" y="15312"/>
                    <a:pt x="5784" y="15254"/>
                    <a:pt x="5670" y="15445"/>
                  </a:cubicBezTo>
                  <a:cubicBezTo>
                    <a:pt x="5548" y="15570"/>
                    <a:pt x="5433" y="15761"/>
                    <a:pt x="5494" y="15953"/>
                  </a:cubicBezTo>
                  <a:cubicBezTo>
                    <a:pt x="5548" y="16077"/>
                    <a:pt x="5784" y="15953"/>
                    <a:pt x="5837" y="16077"/>
                  </a:cubicBezTo>
                  <a:cubicBezTo>
                    <a:pt x="5959" y="16202"/>
                    <a:pt x="5898" y="16460"/>
                    <a:pt x="5959" y="16585"/>
                  </a:cubicBezTo>
                  <a:cubicBezTo>
                    <a:pt x="6135" y="16585"/>
                    <a:pt x="6249" y="16518"/>
                    <a:pt x="6425" y="16460"/>
                  </a:cubicBezTo>
                  <a:cubicBezTo>
                    <a:pt x="6600" y="16393"/>
                    <a:pt x="6829" y="16269"/>
                    <a:pt x="7004" y="16327"/>
                  </a:cubicBezTo>
                  <a:cubicBezTo>
                    <a:pt x="7179" y="16460"/>
                    <a:pt x="7240" y="16776"/>
                    <a:pt x="7416" y="16967"/>
                  </a:cubicBezTo>
                  <a:cubicBezTo>
                    <a:pt x="7591" y="17092"/>
                    <a:pt x="7995" y="17025"/>
                    <a:pt x="8056" y="17283"/>
                  </a:cubicBezTo>
                  <a:cubicBezTo>
                    <a:pt x="8110" y="17475"/>
                    <a:pt x="7766" y="17541"/>
                    <a:pt x="7644" y="17732"/>
                  </a:cubicBezTo>
                  <a:cubicBezTo>
                    <a:pt x="7591" y="17791"/>
                    <a:pt x="7705" y="17924"/>
                    <a:pt x="7644" y="18049"/>
                  </a:cubicBezTo>
                  <a:cubicBezTo>
                    <a:pt x="7530" y="18173"/>
                    <a:pt x="7355" y="18240"/>
                    <a:pt x="7179" y="18298"/>
                  </a:cubicBezTo>
                  <a:cubicBezTo>
                    <a:pt x="7065" y="18365"/>
                    <a:pt x="6890" y="18365"/>
                    <a:pt x="6714" y="18365"/>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2" name="Shape 2497">
              <a:extLst>
                <a:ext uri="{FF2B5EF4-FFF2-40B4-BE49-F238E27FC236}">
                  <a16:creationId xmlns:a16="http://schemas.microsoft.com/office/drawing/2014/main" id="{601DB3CB-E1EB-4F71-2E9F-F1E7B8135826}"/>
                </a:ext>
              </a:extLst>
            </p:cNvPr>
            <p:cNvSpPr/>
            <p:nvPr/>
          </p:nvSpPr>
          <p:spPr>
            <a:xfrm>
              <a:off x="2105490" y="8292327"/>
              <a:ext cx="100970" cy="82663"/>
            </a:xfrm>
            <a:custGeom>
              <a:avLst/>
              <a:gdLst/>
              <a:ahLst/>
              <a:cxnLst>
                <a:cxn ang="0">
                  <a:pos x="wd2" y="hd2"/>
                </a:cxn>
                <a:cxn ang="5400000">
                  <a:pos x="wd2" y="hd2"/>
                </a:cxn>
                <a:cxn ang="10800000">
                  <a:pos x="wd2" y="hd2"/>
                </a:cxn>
                <a:cxn ang="16200000">
                  <a:pos x="wd2" y="hd2"/>
                </a:cxn>
              </a:cxnLst>
              <a:rect l="0" t="0" r="r" b="b"/>
              <a:pathLst>
                <a:path w="20730" h="21155" extrusionOk="0">
                  <a:moveTo>
                    <a:pt x="8534" y="21155"/>
                  </a:moveTo>
                  <a:cubicBezTo>
                    <a:pt x="10121" y="21155"/>
                    <a:pt x="11709" y="21155"/>
                    <a:pt x="12744" y="20469"/>
                  </a:cubicBezTo>
                  <a:cubicBezTo>
                    <a:pt x="14331" y="19869"/>
                    <a:pt x="15918" y="19184"/>
                    <a:pt x="16953" y="17898"/>
                  </a:cubicBezTo>
                  <a:cubicBezTo>
                    <a:pt x="17505" y="16612"/>
                    <a:pt x="16470" y="15241"/>
                    <a:pt x="16953" y="14641"/>
                  </a:cubicBezTo>
                  <a:cubicBezTo>
                    <a:pt x="18058" y="12669"/>
                    <a:pt x="21163" y="11984"/>
                    <a:pt x="20680" y="10012"/>
                  </a:cubicBezTo>
                  <a:cubicBezTo>
                    <a:pt x="20128" y="7355"/>
                    <a:pt x="16470" y="8041"/>
                    <a:pt x="14883" y="6755"/>
                  </a:cubicBezTo>
                  <a:cubicBezTo>
                    <a:pt x="13296" y="4784"/>
                    <a:pt x="12744" y="1526"/>
                    <a:pt x="11157" y="155"/>
                  </a:cubicBezTo>
                  <a:cubicBezTo>
                    <a:pt x="9569" y="-445"/>
                    <a:pt x="7499" y="841"/>
                    <a:pt x="5912" y="1526"/>
                  </a:cubicBezTo>
                  <a:cubicBezTo>
                    <a:pt x="4325" y="2126"/>
                    <a:pt x="3290" y="2812"/>
                    <a:pt x="1702" y="2812"/>
                  </a:cubicBezTo>
                  <a:cubicBezTo>
                    <a:pt x="1150" y="5469"/>
                    <a:pt x="-437" y="8041"/>
                    <a:pt x="115" y="10012"/>
                  </a:cubicBezTo>
                  <a:cubicBezTo>
                    <a:pt x="598" y="12669"/>
                    <a:pt x="2737" y="19184"/>
                    <a:pt x="3773" y="21155"/>
                  </a:cubicBezTo>
                  <a:cubicBezTo>
                    <a:pt x="5360" y="20469"/>
                    <a:pt x="6395" y="19869"/>
                    <a:pt x="8534" y="20469"/>
                  </a:cubicBezTo>
                  <a:cubicBezTo>
                    <a:pt x="8534" y="21155"/>
                    <a:pt x="8534" y="21155"/>
                    <a:pt x="8534" y="211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3" name="Shape 2498">
              <a:extLst>
                <a:ext uri="{FF2B5EF4-FFF2-40B4-BE49-F238E27FC236}">
                  <a16:creationId xmlns:a16="http://schemas.microsoft.com/office/drawing/2014/main" id="{C2C399DE-137F-E457-0101-7F237B92C4A3}"/>
                </a:ext>
              </a:extLst>
            </p:cNvPr>
            <p:cNvSpPr/>
            <p:nvPr/>
          </p:nvSpPr>
          <p:spPr>
            <a:xfrm>
              <a:off x="982557" y="7881618"/>
              <a:ext cx="1141276" cy="863513"/>
            </a:xfrm>
            <a:custGeom>
              <a:avLst/>
              <a:gdLst/>
              <a:ahLst/>
              <a:cxnLst>
                <a:cxn ang="0">
                  <a:pos x="wd2" y="hd2"/>
                </a:cxn>
                <a:cxn ang="5400000">
                  <a:pos x="wd2" y="hd2"/>
                </a:cxn>
                <a:cxn ang="10800000">
                  <a:pos x="wd2" y="hd2"/>
                </a:cxn>
                <a:cxn ang="16200000">
                  <a:pos x="wd2" y="hd2"/>
                </a:cxn>
              </a:cxnLst>
              <a:rect l="0" t="0" r="r" b="b"/>
              <a:pathLst>
                <a:path w="21600" h="21493" extrusionOk="0">
                  <a:moveTo>
                    <a:pt x="51" y="21337"/>
                  </a:moveTo>
                  <a:cubicBezTo>
                    <a:pt x="147" y="21337"/>
                    <a:pt x="147" y="21018"/>
                    <a:pt x="147" y="20951"/>
                  </a:cubicBezTo>
                  <a:cubicBezTo>
                    <a:pt x="198" y="20884"/>
                    <a:pt x="587" y="21018"/>
                    <a:pt x="440" y="21211"/>
                  </a:cubicBezTo>
                  <a:cubicBezTo>
                    <a:pt x="396" y="21270"/>
                    <a:pt x="345" y="21337"/>
                    <a:pt x="294" y="21463"/>
                  </a:cubicBezTo>
                  <a:cubicBezTo>
                    <a:pt x="249" y="21530"/>
                    <a:pt x="51" y="21463"/>
                    <a:pt x="0" y="21463"/>
                  </a:cubicBezTo>
                  <a:cubicBezTo>
                    <a:pt x="51" y="21337"/>
                    <a:pt x="51" y="21337"/>
                    <a:pt x="51" y="21337"/>
                  </a:cubicBezTo>
                  <a:close/>
                  <a:moveTo>
                    <a:pt x="21600" y="12299"/>
                  </a:moveTo>
                  <a:cubicBezTo>
                    <a:pt x="21504" y="12106"/>
                    <a:pt x="21306" y="11468"/>
                    <a:pt x="21262" y="11208"/>
                  </a:cubicBezTo>
                  <a:cubicBezTo>
                    <a:pt x="21211" y="11015"/>
                    <a:pt x="21357" y="10764"/>
                    <a:pt x="21409" y="10503"/>
                  </a:cubicBezTo>
                  <a:cubicBezTo>
                    <a:pt x="21357" y="10378"/>
                    <a:pt x="21409" y="10117"/>
                    <a:pt x="21306" y="9992"/>
                  </a:cubicBezTo>
                  <a:cubicBezTo>
                    <a:pt x="21262" y="9866"/>
                    <a:pt x="21064" y="9992"/>
                    <a:pt x="21019" y="9866"/>
                  </a:cubicBezTo>
                  <a:cubicBezTo>
                    <a:pt x="20968" y="9673"/>
                    <a:pt x="21064" y="9480"/>
                    <a:pt x="21166" y="9354"/>
                  </a:cubicBezTo>
                  <a:cubicBezTo>
                    <a:pt x="21262" y="9161"/>
                    <a:pt x="21555" y="9220"/>
                    <a:pt x="21600" y="8968"/>
                  </a:cubicBezTo>
                  <a:cubicBezTo>
                    <a:pt x="21600" y="8708"/>
                    <a:pt x="21357" y="8456"/>
                    <a:pt x="21211" y="8322"/>
                  </a:cubicBezTo>
                  <a:cubicBezTo>
                    <a:pt x="21064" y="8196"/>
                    <a:pt x="20821" y="8322"/>
                    <a:pt x="20674" y="8129"/>
                  </a:cubicBezTo>
                  <a:cubicBezTo>
                    <a:pt x="20623" y="8070"/>
                    <a:pt x="20726" y="7877"/>
                    <a:pt x="20726" y="7684"/>
                  </a:cubicBezTo>
                  <a:cubicBezTo>
                    <a:pt x="20726" y="7558"/>
                    <a:pt x="20726" y="7424"/>
                    <a:pt x="20623" y="7298"/>
                  </a:cubicBezTo>
                  <a:cubicBezTo>
                    <a:pt x="20579" y="7231"/>
                    <a:pt x="20336" y="7424"/>
                    <a:pt x="20336" y="7231"/>
                  </a:cubicBezTo>
                  <a:cubicBezTo>
                    <a:pt x="20234" y="6912"/>
                    <a:pt x="20381" y="6534"/>
                    <a:pt x="20336" y="6207"/>
                  </a:cubicBezTo>
                  <a:cubicBezTo>
                    <a:pt x="20336" y="6081"/>
                    <a:pt x="20189" y="6207"/>
                    <a:pt x="20138" y="6081"/>
                  </a:cubicBezTo>
                  <a:cubicBezTo>
                    <a:pt x="20043" y="5821"/>
                    <a:pt x="20087" y="5502"/>
                    <a:pt x="19991" y="5250"/>
                  </a:cubicBezTo>
                  <a:cubicBezTo>
                    <a:pt x="19940" y="5116"/>
                    <a:pt x="19845" y="4990"/>
                    <a:pt x="19800" y="4864"/>
                  </a:cubicBezTo>
                  <a:cubicBezTo>
                    <a:pt x="19749" y="4797"/>
                    <a:pt x="19800" y="4671"/>
                    <a:pt x="19749" y="4604"/>
                  </a:cubicBezTo>
                  <a:cubicBezTo>
                    <a:pt x="19698" y="4159"/>
                    <a:pt x="19749" y="3647"/>
                    <a:pt x="19551" y="3261"/>
                  </a:cubicBezTo>
                  <a:cubicBezTo>
                    <a:pt x="19506" y="3136"/>
                    <a:pt x="19411" y="3580"/>
                    <a:pt x="19309" y="3513"/>
                  </a:cubicBezTo>
                  <a:cubicBezTo>
                    <a:pt x="19066" y="3454"/>
                    <a:pt x="18919" y="3194"/>
                    <a:pt x="18677" y="3068"/>
                  </a:cubicBezTo>
                  <a:cubicBezTo>
                    <a:pt x="18626" y="3001"/>
                    <a:pt x="18530" y="3068"/>
                    <a:pt x="18479" y="2943"/>
                  </a:cubicBezTo>
                  <a:cubicBezTo>
                    <a:pt x="18479" y="2875"/>
                    <a:pt x="18530" y="2808"/>
                    <a:pt x="18581" y="2808"/>
                  </a:cubicBezTo>
                  <a:cubicBezTo>
                    <a:pt x="18728" y="2682"/>
                    <a:pt x="18919" y="2750"/>
                    <a:pt x="19015" y="2557"/>
                  </a:cubicBezTo>
                  <a:cubicBezTo>
                    <a:pt x="19117" y="2238"/>
                    <a:pt x="19066" y="1785"/>
                    <a:pt x="19117" y="1466"/>
                  </a:cubicBezTo>
                  <a:cubicBezTo>
                    <a:pt x="19162" y="1399"/>
                    <a:pt x="19264" y="1340"/>
                    <a:pt x="19213" y="1273"/>
                  </a:cubicBezTo>
                  <a:cubicBezTo>
                    <a:pt x="19162" y="1013"/>
                    <a:pt x="19015" y="761"/>
                    <a:pt x="18919" y="442"/>
                  </a:cubicBezTo>
                  <a:cubicBezTo>
                    <a:pt x="18868" y="316"/>
                    <a:pt x="18919" y="123"/>
                    <a:pt x="18823" y="56"/>
                  </a:cubicBezTo>
                  <a:cubicBezTo>
                    <a:pt x="18626" y="-70"/>
                    <a:pt x="18383" y="56"/>
                    <a:pt x="18185" y="56"/>
                  </a:cubicBezTo>
                  <a:cubicBezTo>
                    <a:pt x="17994" y="56"/>
                    <a:pt x="17898" y="56"/>
                    <a:pt x="17700" y="56"/>
                  </a:cubicBezTo>
                  <a:cubicBezTo>
                    <a:pt x="17655" y="316"/>
                    <a:pt x="17553" y="568"/>
                    <a:pt x="17553" y="887"/>
                  </a:cubicBezTo>
                  <a:cubicBezTo>
                    <a:pt x="17509" y="1592"/>
                    <a:pt x="17751" y="2296"/>
                    <a:pt x="17700" y="3068"/>
                  </a:cubicBezTo>
                  <a:cubicBezTo>
                    <a:pt x="17655" y="3773"/>
                    <a:pt x="17362" y="3580"/>
                    <a:pt x="17068" y="3899"/>
                  </a:cubicBezTo>
                  <a:cubicBezTo>
                    <a:pt x="16628" y="4420"/>
                    <a:pt x="16774" y="5057"/>
                    <a:pt x="16143" y="5502"/>
                  </a:cubicBezTo>
                  <a:cubicBezTo>
                    <a:pt x="15945" y="5628"/>
                    <a:pt x="15460" y="5569"/>
                    <a:pt x="15555" y="5888"/>
                  </a:cubicBezTo>
                  <a:cubicBezTo>
                    <a:pt x="15651" y="6207"/>
                    <a:pt x="15555" y="6719"/>
                    <a:pt x="15364" y="6979"/>
                  </a:cubicBezTo>
                  <a:cubicBezTo>
                    <a:pt x="14968" y="7558"/>
                    <a:pt x="14483" y="7491"/>
                    <a:pt x="13947" y="7491"/>
                  </a:cubicBezTo>
                  <a:cubicBezTo>
                    <a:pt x="13947" y="7936"/>
                    <a:pt x="13998" y="8003"/>
                    <a:pt x="13653" y="8003"/>
                  </a:cubicBezTo>
                  <a:cubicBezTo>
                    <a:pt x="13557" y="8456"/>
                    <a:pt x="13168" y="8322"/>
                    <a:pt x="12874" y="8322"/>
                  </a:cubicBezTo>
                  <a:cubicBezTo>
                    <a:pt x="12779" y="9027"/>
                    <a:pt x="12970" y="11141"/>
                    <a:pt x="12140" y="11082"/>
                  </a:cubicBezTo>
                  <a:cubicBezTo>
                    <a:pt x="11509" y="11015"/>
                    <a:pt x="11706" y="12173"/>
                    <a:pt x="11457" y="12685"/>
                  </a:cubicBezTo>
                  <a:cubicBezTo>
                    <a:pt x="11215" y="13256"/>
                    <a:pt x="10972" y="12878"/>
                    <a:pt x="10774" y="13516"/>
                  </a:cubicBezTo>
                  <a:cubicBezTo>
                    <a:pt x="10634" y="13902"/>
                    <a:pt x="10289" y="14162"/>
                    <a:pt x="10098" y="14414"/>
                  </a:cubicBezTo>
                  <a:cubicBezTo>
                    <a:pt x="9657" y="14993"/>
                    <a:pt x="9606" y="14540"/>
                    <a:pt x="9166" y="14993"/>
                  </a:cubicBezTo>
                  <a:cubicBezTo>
                    <a:pt x="8879" y="15371"/>
                    <a:pt x="8681" y="16017"/>
                    <a:pt x="8438" y="15119"/>
                  </a:cubicBezTo>
                  <a:cubicBezTo>
                    <a:pt x="8291" y="15119"/>
                    <a:pt x="8196" y="15052"/>
                    <a:pt x="7998" y="15186"/>
                  </a:cubicBezTo>
                  <a:cubicBezTo>
                    <a:pt x="7513" y="15438"/>
                    <a:pt x="7168" y="16084"/>
                    <a:pt x="6683" y="16210"/>
                  </a:cubicBezTo>
                  <a:cubicBezTo>
                    <a:pt x="6440" y="16277"/>
                    <a:pt x="6000" y="16722"/>
                    <a:pt x="6147" y="17166"/>
                  </a:cubicBezTo>
                  <a:cubicBezTo>
                    <a:pt x="6243" y="17552"/>
                    <a:pt x="5949" y="18199"/>
                    <a:pt x="6000" y="18257"/>
                  </a:cubicBezTo>
                  <a:cubicBezTo>
                    <a:pt x="6294" y="18517"/>
                    <a:pt x="6294" y="18962"/>
                    <a:pt x="6683" y="18710"/>
                  </a:cubicBezTo>
                  <a:cubicBezTo>
                    <a:pt x="6977" y="18517"/>
                    <a:pt x="7366" y="18324"/>
                    <a:pt x="7704" y="18257"/>
                  </a:cubicBezTo>
                  <a:cubicBezTo>
                    <a:pt x="7902" y="18199"/>
                    <a:pt x="7704" y="17813"/>
                    <a:pt x="7851" y="17552"/>
                  </a:cubicBezTo>
                  <a:cubicBezTo>
                    <a:pt x="8049" y="17108"/>
                    <a:pt x="8534" y="16982"/>
                    <a:pt x="8777" y="17359"/>
                  </a:cubicBezTo>
                  <a:cubicBezTo>
                    <a:pt x="9217" y="18064"/>
                    <a:pt x="10098" y="17813"/>
                    <a:pt x="10436" y="18769"/>
                  </a:cubicBezTo>
                  <a:cubicBezTo>
                    <a:pt x="10679" y="19348"/>
                    <a:pt x="10532" y="20313"/>
                    <a:pt x="11215" y="20506"/>
                  </a:cubicBezTo>
                  <a:cubicBezTo>
                    <a:pt x="11266" y="20053"/>
                    <a:pt x="11457" y="19986"/>
                    <a:pt x="11706" y="19734"/>
                  </a:cubicBezTo>
                  <a:cubicBezTo>
                    <a:pt x="11898" y="19541"/>
                    <a:pt x="12287" y="19608"/>
                    <a:pt x="12287" y="19541"/>
                  </a:cubicBezTo>
                  <a:cubicBezTo>
                    <a:pt x="12389" y="19222"/>
                    <a:pt x="12632" y="18836"/>
                    <a:pt x="12632" y="18517"/>
                  </a:cubicBezTo>
                  <a:cubicBezTo>
                    <a:pt x="12632" y="18257"/>
                    <a:pt x="12338" y="17938"/>
                    <a:pt x="12243" y="17745"/>
                  </a:cubicBezTo>
                  <a:cubicBezTo>
                    <a:pt x="12140" y="17552"/>
                    <a:pt x="12434" y="17494"/>
                    <a:pt x="12434" y="17233"/>
                  </a:cubicBezTo>
                  <a:cubicBezTo>
                    <a:pt x="12485" y="16847"/>
                    <a:pt x="12632" y="16654"/>
                    <a:pt x="12677" y="16403"/>
                  </a:cubicBezTo>
                  <a:cubicBezTo>
                    <a:pt x="12728" y="16084"/>
                    <a:pt x="12728" y="15757"/>
                    <a:pt x="12779" y="15438"/>
                  </a:cubicBezTo>
                  <a:cubicBezTo>
                    <a:pt x="13066" y="15505"/>
                    <a:pt x="12926" y="16654"/>
                    <a:pt x="13066" y="16847"/>
                  </a:cubicBezTo>
                  <a:cubicBezTo>
                    <a:pt x="13168" y="16654"/>
                    <a:pt x="13264" y="16654"/>
                    <a:pt x="13360" y="16596"/>
                  </a:cubicBezTo>
                  <a:cubicBezTo>
                    <a:pt x="13557" y="16336"/>
                    <a:pt x="13411" y="15698"/>
                    <a:pt x="13653" y="15505"/>
                  </a:cubicBezTo>
                  <a:cubicBezTo>
                    <a:pt x="13851" y="15312"/>
                    <a:pt x="13896" y="15631"/>
                    <a:pt x="14043" y="15631"/>
                  </a:cubicBezTo>
                  <a:cubicBezTo>
                    <a:pt x="14094" y="15631"/>
                    <a:pt x="14483" y="14993"/>
                    <a:pt x="14630" y="14926"/>
                  </a:cubicBezTo>
                  <a:cubicBezTo>
                    <a:pt x="15019" y="14733"/>
                    <a:pt x="15070" y="15119"/>
                    <a:pt x="15262" y="15186"/>
                  </a:cubicBezTo>
                  <a:cubicBezTo>
                    <a:pt x="15262" y="14993"/>
                    <a:pt x="15460" y="14800"/>
                    <a:pt x="15460" y="14540"/>
                  </a:cubicBezTo>
                  <a:cubicBezTo>
                    <a:pt x="15460" y="14221"/>
                    <a:pt x="15460" y="13969"/>
                    <a:pt x="15460" y="13642"/>
                  </a:cubicBezTo>
                  <a:cubicBezTo>
                    <a:pt x="15555" y="13583"/>
                    <a:pt x="15606" y="13516"/>
                    <a:pt x="15651" y="13516"/>
                  </a:cubicBezTo>
                  <a:cubicBezTo>
                    <a:pt x="15702" y="13449"/>
                    <a:pt x="15702" y="13323"/>
                    <a:pt x="15651" y="13256"/>
                  </a:cubicBezTo>
                  <a:cubicBezTo>
                    <a:pt x="15555" y="12685"/>
                    <a:pt x="16385" y="12232"/>
                    <a:pt x="16385" y="13130"/>
                  </a:cubicBezTo>
                  <a:cubicBezTo>
                    <a:pt x="16577" y="13256"/>
                    <a:pt x="17215" y="12744"/>
                    <a:pt x="17604" y="12878"/>
                  </a:cubicBezTo>
                  <a:cubicBezTo>
                    <a:pt x="18287" y="13063"/>
                    <a:pt x="18772" y="12492"/>
                    <a:pt x="19411" y="12299"/>
                  </a:cubicBezTo>
                  <a:cubicBezTo>
                    <a:pt x="19698" y="12232"/>
                    <a:pt x="20043" y="12299"/>
                    <a:pt x="20336" y="12366"/>
                  </a:cubicBezTo>
                  <a:cubicBezTo>
                    <a:pt x="20528" y="12425"/>
                    <a:pt x="20821" y="12878"/>
                    <a:pt x="20917" y="12878"/>
                  </a:cubicBezTo>
                  <a:cubicBezTo>
                    <a:pt x="20917" y="12937"/>
                    <a:pt x="21019" y="13004"/>
                    <a:pt x="21019" y="13063"/>
                  </a:cubicBezTo>
                  <a:cubicBezTo>
                    <a:pt x="21019" y="13063"/>
                    <a:pt x="21019" y="13063"/>
                    <a:pt x="21064" y="13063"/>
                  </a:cubicBezTo>
                  <a:cubicBezTo>
                    <a:pt x="21064" y="13130"/>
                    <a:pt x="21211" y="13130"/>
                    <a:pt x="21262" y="13130"/>
                  </a:cubicBezTo>
                  <a:cubicBezTo>
                    <a:pt x="21306" y="12811"/>
                    <a:pt x="21409" y="12425"/>
                    <a:pt x="21600" y="12299"/>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4" name="Shape 2499">
              <a:extLst>
                <a:ext uri="{FF2B5EF4-FFF2-40B4-BE49-F238E27FC236}">
                  <a16:creationId xmlns:a16="http://schemas.microsoft.com/office/drawing/2014/main" id="{6621CCE8-F7E9-74CE-834B-D5455F052B9E}"/>
                </a:ext>
              </a:extLst>
            </p:cNvPr>
            <p:cNvSpPr/>
            <p:nvPr/>
          </p:nvSpPr>
          <p:spPr>
            <a:xfrm>
              <a:off x="799722" y="4975538"/>
              <a:ext cx="415385" cy="219091"/>
            </a:xfrm>
            <a:custGeom>
              <a:avLst/>
              <a:gdLst/>
              <a:ahLst/>
              <a:cxnLst>
                <a:cxn ang="0">
                  <a:pos x="wd2" y="hd2"/>
                </a:cxn>
                <a:cxn ang="5400000">
                  <a:pos x="wd2" y="hd2"/>
                </a:cxn>
                <a:cxn ang="10800000">
                  <a:pos x="wd2" y="hd2"/>
                </a:cxn>
                <a:cxn ang="16200000">
                  <a:pos x="wd2" y="hd2"/>
                </a:cxn>
              </a:cxnLst>
              <a:rect l="0" t="0" r="r" b="b"/>
              <a:pathLst>
                <a:path w="21498" h="21398" extrusionOk="0">
                  <a:moveTo>
                    <a:pt x="541" y="8548"/>
                  </a:moveTo>
                  <a:cubicBezTo>
                    <a:pt x="942" y="7792"/>
                    <a:pt x="1605" y="6049"/>
                    <a:pt x="2006" y="5523"/>
                  </a:cubicBezTo>
                  <a:cubicBezTo>
                    <a:pt x="2268" y="5293"/>
                    <a:pt x="2530" y="5523"/>
                    <a:pt x="2669" y="5293"/>
                  </a:cubicBezTo>
                  <a:cubicBezTo>
                    <a:pt x="3193" y="5030"/>
                    <a:pt x="3594" y="4274"/>
                    <a:pt x="4135" y="3518"/>
                  </a:cubicBezTo>
                  <a:lnTo>
                    <a:pt x="4658" y="4011"/>
                  </a:lnTo>
                  <a:cubicBezTo>
                    <a:pt x="4798" y="4011"/>
                    <a:pt x="5740" y="2268"/>
                    <a:pt x="5740" y="2268"/>
                  </a:cubicBezTo>
                  <a:cubicBezTo>
                    <a:pt x="5862" y="2005"/>
                    <a:pt x="6002" y="2268"/>
                    <a:pt x="6142" y="2005"/>
                  </a:cubicBezTo>
                  <a:cubicBezTo>
                    <a:pt x="6264" y="1775"/>
                    <a:pt x="6264" y="1019"/>
                    <a:pt x="6543" y="756"/>
                  </a:cubicBezTo>
                  <a:cubicBezTo>
                    <a:pt x="6927" y="263"/>
                    <a:pt x="7328" y="0"/>
                    <a:pt x="7729" y="0"/>
                  </a:cubicBezTo>
                  <a:cubicBezTo>
                    <a:pt x="7991" y="263"/>
                    <a:pt x="7991" y="1019"/>
                    <a:pt x="8270" y="1019"/>
                  </a:cubicBezTo>
                  <a:cubicBezTo>
                    <a:pt x="8532" y="1019"/>
                    <a:pt x="8671" y="263"/>
                    <a:pt x="8794" y="0"/>
                  </a:cubicBezTo>
                  <a:cubicBezTo>
                    <a:pt x="9457" y="526"/>
                    <a:pt x="10137" y="1019"/>
                    <a:pt x="10660" y="1019"/>
                  </a:cubicBezTo>
                  <a:cubicBezTo>
                    <a:pt x="10800" y="1019"/>
                    <a:pt x="10800" y="263"/>
                    <a:pt x="10940" y="526"/>
                  </a:cubicBezTo>
                  <a:cubicBezTo>
                    <a:pt x="11463" y="526"/>
                    <a:pt x="11864" y="1282"/>
                    <a:pt x="12266" y="1512"/>
                  </a:cubicBezTo>
                  <a:cubicBezTo>
                    <a:pt x="12405" y="1512"/>
                    <a:pt x="12667" y="1512"/>
                    <a:pt x="12789" y="1512"/>
                  </a:cubicBezTo>
                  <a:cubicBezTo>
                    <a:pt x="13190" y="1775"/>
                    <a:pt x="13469" y="2005"/>
                    <a:pt x="13592" y="2532"/>
                  </a:cubicBezTo>
                  <a:cubicBezTo>
                    <a:pt x="13993" y="3025"/>
                    <a:pt x="13853" y="4537"/>
                    <a:pt x="14255" y="4537"/>
                  </a:cubicBezTo>
                  <a:cubicBezTo>
                    <a:pt x="14656" y="4767"/>
                    <a:pt x="14795" y="3288"/>
                    <a:pt x="15197" y="2762"/>
                  </a:cubicBezTo>
                  <a:cubicBezTo>
                    <a:pt x="15598" y="2268"/>
                    <a:pt x="16121" y="2005"/>
                    <a:pt x="16523" y="1775"/>
                  </a:cubicBezTo>
                  <a:cubicBezTo>
                    <a:pt x="16924" y="1775"/>
                    <a:pt x="17064" y="2268"/>
                    <a:pt x="17325" y="2532"/>
                  </a:cubicBezTo>
                  <a:cubicBezTo>
                    <a:pt x="17203" y="2762"/>
                    <a:pt x="16924" y="3025"/>
                    <a:pt x="16802" y="3518"/>
                  </a:cubicBezTo>
                  <a:cubicBezTo>
                    <a:pt x="16662" y="3781"/>
                    <a:pt x="16924" y="3781"/>
                    <a:pt x="16924" y="4011"/>
                  </a:cubicBezTo>
                  <a:cubicBezTo>
                    <a:pt x="17325" y="5786"/>
                    <a:pt x="17325" y="8055"/>
                    <a:pt x="17988" y="9304"/>
                  </a:cubicBezTo>
                  <a:cubicBezTo>
                    <a:pt x="18268" y="9797"/>
                    <a:pt x="18390" y="8055"/>
                    <a:pt x="18651" y="7792"/>
                  </a:cubicBezTo>
                  <a:cubicBezTo>
                    <a:pt x="18791" y="7562"/>
                    <a:pt x="19053" y="8055"/>
                    <a:pt x="19192" y="7792"/>
                  </a:cubicBezTo>
                  <a:cubicBezTo>
                    <a:pt x="19332" y="7792"/>
                    <a:pt x="19454" y="7299"/>
                    <a:pt x="19733" y="7299"/>
                  </a:cubicBezTo>
                  <a:cubicBezTo>
                    <a:pt x="20134" y="7562"/>
                    <a:pt x="21059" y="8285"/>
                    <a:pt x="21460" y="8285"/>
                  </a:cubicBezTo>
                  <a:cubicBezTo>
                    <a:pt x="21600" y="10323"/>
                    <a:pt x="21321" y="14071"/>
                    <a:pt x="21059" y="14564"/>
                  </a:cubicBezTo>
                  <a:cubicBezTo>
                    <a:pt x="20134" y="16077"/>
                    <a:pt x="19053" y="18608"/>
                    <a:pt x="17866" y="19595"/>
                  </a:cubicBezTo>
                  <a:cubicBezTo>
                    <a:pt x="17465" y="20351"/>
                    <a:pt x="16802" y="21600"/>
                    <a:pt x="16261" y="21370"/>
                  </a:cubicBezTo>
                  <a:cubicBezTo>
                    <a:pt x="14394" y="20088"/>
                    <a:pt x="17064" y="19364"/>
                    <a:pt x="14935" y="18608"/>
                  </a:cubicBezTo>
                  <a:cubicBezTo>
                    <a:pt x="14255" y="18608"/>
                    <a:pt x="14132" y="18608"/>
                    <a:pt x="13592" y="18082"/>
                  </a:cubicBezTo>
                  <a:cubicBezTo>
                    <a:pt x="12929" y="17096"/>
                    <a:pt x="13853" y="16077"/>
                    <a:pt x="12789" y="15584"/>
                  </a:cubicBezTo>
                  <a:cubicBezTo>
                    <a:pt x="12405" y="15584"/>
                    <a:pt x="11062" y="14564"/>
                    <a:pt x="10940" y="14827"/>
                  </a:cubicBezTo>
                  <a:cubicBezTo>
                    <a:pt x="10137" y="14827"/>
                    <a:pt x="9596" y="16077"/>
                    <a:pt x="9195" y="14827"/>
                  </a:cubicBezTo>
                  <a:cubicBezTo>
                    <a:pt x="8532" y="12822"/>
                    <a:pt x="8270" y="15090"/>
                    <a:pt x="8131" y="16340"/>
                  </a:cubicBezTo>
                  <a:cubicBezTo>
                    <a:pt x="7729" y="21107"/>
                    <a:pt x="6264" y="16570"/>
                    <a:pt x="5060" y="17852"/>
                  </a:cubicBezTo>
                  <a:cubicBezTo>
                    <a:pt x="3734" y="19101"/>
                    <a:pt x="3995" y="19364"/>
                    <a:pt x="2408" y="19364"/>
                  </a:cubicBezTo>
                  <a:cubicBezTo>
                    <a:pt x="1867" y="19364"/>
                    <a:pt x="1343" y="20351"/>
                    <a:pt x="1064" y="20088"/>
                  </a:cubicBezTo>
                  <a:cubicBezTo>
                    <a:pt x="942" y="19858"/>
                    <a:pt x="140" y="17589"/>
                    <a:pt x="0" y="17326"/>
                  </a:cubicBezTo>
                  <a:cubicBezTo>
                    <a:pt x="0" y="16340"/>
                    <a:pt x="541" y="16077"/>
                    <a:pt x="401" y="14564"/>
                  </a:cubicBezTo>
                  <a:cubicBezTo>
                    <a:pt x="262" y="13315"/>
                    <a:pt x="401" y="12822"/>
                    <a:pt x="541" y="11310"/>
                  </a:cubicBezTo>
                  <a:cubicBezTo>
                    <a:pt x="663" y="10060"/>
                    <a:pt x="663" y="9041"/>
                    <a:pt x="541" y="85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5" name="Shape 2500">
              <a:extLst>
                <a:ext uri="{FF2B5EF4-FFF2-40B4-BE49-F238E27FC236}">
                  <a16:creationId xmlns:a16="http://schemas.microsoft.com/office/drawing/2014/main" id="{D4EC5233-87EE-EA12-4289-68B4A995F474}"/>
                </a:ext>
              </a:extLst>
            </p:cNvPr>
            <p:cNvSpPr/>
            <p:nvPr/>
          </p:nvSpPr>
          <p:spPr>
            <a:xfrm>
              <a:off x="946882" y="4819446"/>
              <a:ext cx="244932" cy="204182"/>
            </a:xfrm>
            <a:custGeom>
              <a:avLst/>
              <a:gdLst/>
              <a:ahLst/>
              <a:cxnLst>
                <a:cxn ang="0">
                  <a:pos x="wd2" y="hd2"/>
                </a:cxn>
                <a:cxn ang="5400000">
                  <a:pos x="wd2" y="hd2"/>
                </a:cxn>
                <a:cxn ang="10800000">
                  <a:pos x="wd2" y="hd2"/>
                </a:cxn>
                <a:cxn ang="16200000">
                  <a:pos x="wd2" y="hd2"/>
                </a:cxn>
              </a:cxnLst>
              <a:rect l="0" t="0" r="r" b="b"/>
              <a:pathLst>
                <a:path w="21600" h="21378" extrusionOk="0">
                  <a:moveTo>
                    <a:pt x="2026" y="16474"/>
                  </a:moveTo>
                  <a:cubicBezTo>
                    <a:pt x="3158" y="17040"/>
                    <a:pt x="4320" y="17570"/>
                    <a:pt x="5214" y="17570"/>
                  </a:cubicBezTo>
                  <a:cubicBezTo>
                    <a:pt x="5452" y="17570"/>
                    <a:pt x="5452" y="16757"/>
                    <a:pt x="5690" y="17040"/>
                  </a:cubicBezTo>
                  <a:cubicBezTo>
                    <a:pt x="6584" y="17040"/>
                    <a:pt x="7270" y="17853"/>
                    <a:pt x="7955" y="18100"/>
                  </a:cubicBezTo>
                  <a:cubicBezTo>
                    <a:pt x="8193" y="18100"/>
                    <a:pt x="8640" y="18100"/>
                    <a:pt x="8849" y="18100"/>
                  </a:cubicBezTo>
                  <a:cubicBezTo>
                    <a:pt x="9534" y="18383"/>
                    <a:pt x="10010" y="18630"/>
                    <a:pt x="10219" y="19196"/>
                  </a:cubicBezTo>
                  <a:cubicBezTo>
                    <a:pt x="10904" y="19726"/>
                    <a:pt x="10666" y="21353"/>
                    <a:pt x="11351" y="21353"/>
                  </a:cubicBezTo>
                  <a:cubicBezTo>
                    <a:pt x="12036" y="21600"/>
                    <a:pt x="12275" y="20009"/>
                    <a:pt x="12960" y="19444"/>
                  </a:cubicBezTo>
                  <a:cubicBezTo>
                    <a:pt x="13645" y="18913"/>
                    <a:pt x="14539" y="18630"/>
                    <a:pt x="15224" y="18383"/>
                  </a:cubicBezTo>
                  <a:cubicBezTo>
                    <a:pt x="15910" y="18383"/>
                    <a:pt x="16148" y="18913"/>
                    <a:pt x="16595" y="19196"/>
                  </a:cubicBezTo>
                  <a:cubicBezTo>
                    <a:pt x="16595" y="19196"/>
                    <a:pt x="17042" y="17570"/>
                    <a:pt x="17042" y="17287"/>
                  </a:cubicBezTo>
                  <a:lnTo>
                    <a:pt x="19097" y="19444"/>
                  </a:lnTo>
                  <a:cubicBezTo>
                    <a:pt x="19783" y="19196"/>
                    <a:pt x="20468" y="19196"/>
                    <a:pt x="20706" y="18383"/>
                  </a:cubicBezTo>
                  <a:cubicBezTo>
                    <a:pt x="20915" y="18100"/>
                    <a:pt x="20021" y="17853"/>
                    <a:pt x="20021" y="17570"/>
                  </a:cubicBezTo>
                  <a:cubicBezTo>
                    <a:pt x="20021" y="17040"/>
                    <a:pt x="20468" y="17040"/>
                    <a:pt x="20706" y="16474"/>
                  </a:cubicBezTo>
                  <a:cubicBezTo>
                    <a:pt x="20706" y="16227"/>
                    <a:pt x="20230" y="15696"/>
                    <a:pt x="20468" y="15413"/>
                  </a:cubicBezTo>
                  <a:cubicBezTo>
                    <a:pt x="20706" y="15131"/>
                    <a:pt x="21153" y="15131"/>
                    <a:pt x="21391" y="14883"/>
                  </a:cubicBezTo>
                  <a:cubicBezTo>
                    <a:pt x="21391" y="14883"/>
                    <a:pt x="20230" y="11878"/>
                    <a:pt x="20230" y="11631"/>
                  </a:cubicBezTo>
                  <a:cubicBezTo>
                    <a:pt x="20230" y="11348"/>
                    <a:pt x="20230" y="9722"/>
                    <a:pt x="20230" y="9722"/>
                  </a:cubicBezTo>
                  <a:cubicBezTo>
                    <a:pt x="20706" y="9191"/>
                    <a:pt x="21391" y="8661"/>
                    <a:pt x="21600" y="7848"/>
                  </a:cubicBezTo>
                  <a:cubicBezTo>
                    <a:pt x="21600" y="7318"/>
                    <a:pt x="21391" y="6752"/>
                    <a:pt x="21153" y="6222"/>
                  </a:cubicBezTo>
                  <a:cubicBezTo>
                    <a:pt x="20706" y="5974"/>
                    <a:pt x="20468" y="5692"/>
                    <a:pt x="20021" y="5692"/>
                  </a:cubicBezTo>
                  <a:cubicBezTo>
                    <a:pt x="19336" y="5692"/>
                    <a:pt x="18650" y="6505"/>
                    <a:pt x="17965" y="6505"/>
                  </a:cubicBezTo>
                  <a:cubicBezTo>
                    <a:pt x="17518" y="6222"/>
                    <a:pt x="17280" y="5692"/>
                    <a:pt x="16833" y="5409"/>
                  </a:cubicBezTo>
                  <a:cubicBezTo>
                    <a:pt x="16595" y="5409"/>
                    <a:pt x="16148" y="5692"/>
                    <a:pt x="15910" y="5409"/>
                  </a:cubicBezTo>
                  <a:cubicBezTo>
                    <a:pt x="15701" y="5161"/>
                    <a:pt x="15701" y="4596"/>
                    <a:pt x="15910" y="4348"/>
                  </a:cubicBezTo>
                  <a:cubicBezTo>
                    <a:pt x="15910" y="4065"/>
                    <a:pt x="16595" y="3783"/>
                    <a:pt x="16386" y="3535"/>
                  </a:cubicBezTo>
                  <a:cubicBezTo>
                    <a:pt x="15910" y="2970"/>
                    <a:pt x="15224" y="3252"/>
                    <a:pt x="14777" y="2970"/>
                  </a:cubicBezTo>
                  <a:cubicBezTo>
                    <a:pt x="13884" y="2156"/>
                    <a:pt x="13407" y="1096"/>
                    <a:pt x="12513" y="566"/>
                  </a:cubicBezTo>
                  <a:cubicBezTo>
                    <a:pt x="12275" y="283"/>
                    <a:pt x="11828" y="813"/>
                    <a:pt x="11590" y="566"/>
                  </a:cubicBezTo>
                  <a:cubicBezTo>
                    <a:pt x="11351" y="566"/>
                    <a:pt x="11590" y="0"/>
                    <a:pt x="11351" y="0"/>
                  </a:cubicBezTo>
                  <a:cubicBezTo>
                    <a:pt x="10457" y="0"/>
                    <a:pt x="9772" y="566"/>
                    <a:pt x="8849" y="813"/>
                  </a:cubicBezTo>
                  <a:cubicBezTo>
                    <a:pt x="8402" y="1626"/>
                    <a:pt x="7955" y="2439"/>
                    <a:pt x="7716" y="3535"/>
                  </a:cubicBezTo>
                  <a:cubicBezTo>
                    <a:pt x="7716" y="3783"/>
                    <a:pt x="8193" y="4348"/>
                    <a:pt x="7955" y="4596"/>
                  </a:cubicBezTo>
                  <a:cubicBezTo>
                    <a:pt x="7031" y="5161"/>
                    <a:pt x="5899" y="5161"/>
                    <a:pt x="5005" y="4879"/>
                  </a:cubicBezTo>
                  <a:cubicBezTo>
                    <a:pt x="4529" y="4879"/>
                    <a:pt x="4529" y="4065"/>
                    <a:pt x="4320" y="4348"/>
                  </a:cubicBezTo>
                  <a:cubicBezTo>
                    <a:pt x="3843" y="4348"/>
                    <a:pt x="3843" y="4879"/>
                    <a:pt x="3635" y="5161"/>
                  </a:cubicBezTo>
                  <a:cubicBezTo>
                    <a:pt x="2950" y="5161"/>
                    <a:pt x="2264" y="5161"/>
                    <a:pt x="1817" y="4879"/>
                  </a:cubicBezTo>
                  <a:cubicBezTo>
                    <a:pt x="1341" y="4596"/>
                    <a:pt x="1132" y="4348"/>
                    <a:pt x="655" y="4348"/>
                  </a:cubicBezTo>
                  <a:cubicBezTo>
                    <a:pt x="447" y="4065"/>
                    <a:pt x="209" y="4348"/>
                    <a:pt x="0" y="4596"/>
                  </a:cubicBezTo>
                  <a:cubicBezTo>
                    <a:pt x="447" y="6222"/>
                    <a:pt x="1132" y="8131"/>
                    <a:pt x="1579" y="9722"/>
                  </a:cubicBezTo>
                  <a:cubicBezTo>
                    <a:pt x="1817" y="10818"/>
                    <a:pt x="1817" y="11878"/>
                    <a:pt x="1817" y="12691"/>
                  </a:cubicBezTo>
                  <a:cubicBezTo>
                    <a:pt x="1817" y="13504"/>
                    <a:pt x="1341" y="14070"/>
                    <a:pt x="1341" y="14600"/>
                  </a:cubicBezTo>
                  <a:cubicBezTo>
                    <a:pt x="1579" y="15413"/>
                    <a:pt x="1817" y="15944"/>
                    <a:pt x="2026" y="1647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6" name="Shape 2501">
              <a:extLst>
                <a:ext uri="{FF2B5EF4-FFF2-40B4-BE49-F238E27FC236}">
                  <a16:creationId xmlns:a16="http://schemas.microsoft.com/office/drawing/2014/main" id="{101CF9FB-BB94-019F-DD30-191F558F75E3}"/>
                </a:ext>
              </a:extLst>
            </p:cNvPr>
            <p:cNvSpPr/>
            <p:nvPr/>
          </p:nvSpPr>
          <p:spPr>
            <a:xfrm>
              <a:off x="692397" y="4798635"/>
              <a:ext cx="277933" cy="265760"/>
            </a:xfrm>
            <a:custGeom>
              <a:avLst/>
              <a:gdLst/>
              <a:ahLst/>
              <a:cxnLst>
                <a:cxn ang="0">
                  <a:pos x="wd2" y="hd2"/>
                </a:cxn>
                <a:cxn ang="5400000">
                  <a:pos x="wd2" y="hd2"/>
                </a:cxn>
                <a:cxn ang="10800000">
                  <a:pos x="wd2" y="hd2"/>
                </a:cxn>
                <a:cxn ang="16200000">
                  <a:pos x="wd2" y="hd2"/>
                </a:cxn>
              </a:cxnLst>
              <a:rect l="0" t="0" r="r" b="b"/>
              <a:pathLst>
                <a:path w="20842" h="21600" extrusionOk="0">
                  <a:moveTo>
                    <a:pt x="19124" y="5242"/>
                  </a:moveTo>
                  <a:cubicBezTo>
                    <a:pt x="19503" y="6505"/>
                    <a:pt x="20084" y="7987"/>
                    <a:pt x="20463" y="9222"/>
                  </a:cubicBezTo>
                  <a:cubicBezTo>
                    <a:pt x="20665" y="10073"/>
                    <a:pt x="20665" y="10896"/>
                    <a:pt x="20665" y="11527"/>
                  </a:cubicBezTo>
                  <a:cubicBezTo>
                    <a:pt x="20665" y="12159"/>
                    <a:pt x="20261" y="12598"/>
                    <a:pt x="20261" y="13009"/>
                  </a:cubicBezTo>
                  <a:cubicBezTo>
                    <a:pt x="20463" y="13641"/>
                    <a:pt x="20665" y="14052"/>
                    <a:pt x="20842" y="14464"/>
                  </a:cubicBezTo>
                  <a:cubicBezTo>
                    <a:pt x="20665" y="14684"/>
                    <a:pt x="20463" y="15315"/>
                    <a:pt x="20084" y="15315"/>
                  </a:cubicBezTo>
                  <a:cubicBezTo>
                    <a:pt x="19680" y="15315"/>
                    <a:pt x="19680" y="14684"/>
                    <a:pt x="19301" y="14464"/>
                  </a:cubicBezTo>
                  <a:cubicBezTo>
                    <a:pt x="18720" y="14464"/>
                    <a:pt x="18139" y="14684"/>
                    <a:pt x="17583" y="15095"/>
                  </a:cubicBezTo>
                  <a:cubicBezTo>
                    <a:pt x="17179" y="15315"/>
                    <a:pt x="17179" y="15946"/>
                    <a:pt x="17002" y="16138"/>
                  </a:cubicBezTo>
                  <a:cubicBezTo>
                    <a:pt x="16800" y="16358"/>
                    <a:pt x="16598" y="16138"/>
                    <a:pt x="16421" y="16358"/>
                  </a:cubicBezTo>
                  <a:cubicBezTo>
                    <a:pt x="16421" y="16358"/>
                    <a:pt x="15057" y="17812"/>
                    <a:pt x="14855" y="17812"/>
                  </a:cubicBezTo>
                  <a:lnTo>
                    <a:pt x="14097" y="17401"/>
                  </a:lnTo>
                  <a:cubicBezTo>
                    <a:pt x="13314" y="18032"/>
                    <a:pt x="12733" y="18663"/>
                    <a:pt x="11975" y="18883"/>
                  </a:cubicBezTo>
                  <a:cubicBezTo>
                    <a:pt x="11773" y="19075"/>
                    <a:pt x="11394" y="18883"/>
                    <a:pt x="11015" y="19075"/>
                  </a:cubicBezTo>
                  <a:cubicBezTo>
                    <a:pt x="10434" y="19514"/>
                    <a:pt x="9474" y="20969"/>
                    <a:pt x="8893" y="21600"/>
                  </a:cubicBezTo>
                  <a:cubicBezTo>
                    <a:pt x="8690" y="20557"/>
                    <a:pt x="7730" y="20557"/>
                    <a:pt x="6366" y="19295"/>
                  </a:cubicBezTo>
                  <a:cubicBezTo>
                    <a:pt x="5608" y="19926"/>
                    <a:pt x="5987" y="21380"/>
                    <a:pt x="4446" y="20145"/>
                  </a:cubicBezTo>
                  <a:cubicBezTo>
                    <a:pt x="3688" y="19514"/>
                    <a:pt x="2905" y="18444"/>
                    <a:pt x="2324" y="17812"/>
                  </a:cubicBezTo>
                  <a:cubicBezTo>
                    <a:pt x="1743" y="16358"/>
                    <a:pt x="2147" y="15315"/>
                    <a:pt x="985" y="14464"/>
                  </a:cubicBezTo>
                  <a:cubicBezTo>
                    <a:pt x="-758" y="13229"/>
                    <a:pt x="581" y="13009"/>
                    <a:pt x="202" y="11527"/>
                  </a:cubicBezTo>
                  <a:cubicBezTo>
                    <a:pt x="0" y="10704"/>
                    <a:pt x="0" y="10704"/>
                    <a:pt x="0" y="10704"/>
                  </a:cubicBezTo>
                  <a:cubicBezTo>
                    <a:pt x="404" y="10073"/>
                    <a:pt x="1743" y="9441"/>
                    <a:pt x="2147" y="8810"/>
                  </a:cubicBezTo>
                  <a:cubicBezTo>
                    <a:pt x="2526" y="8179"/>
                    <a:pt x="2703" y="7356"/>
                    <a:pt x="2905" y="6724"/>
                  </a:cubicBezTo>
                  <a:cubicBezTo>
                    <a:pt x="3107" y="5681"/>
                    <a:pt x="2703" y="4419"/>
                    <a:pt x="3284" y="3980"/>
                  </a:cubicBezTo>
                  <a:cubicBezTo>
                    <a:pt x="3865" y="3348"/>
                    <a:pt x="4825" y="3980"/>
                    <a:pt x="5608" y="4199"/>
                  </a:cubicBezTo>
                  <a:cubicBezTo>
                    <a:pt x="5987" y="4419"/>
                    <a:pt x="5987" y="4830"/>
                    <a:pt x="6366" y="4830"/>
                  </a:cubicBezTo>
                  <a:cubicBezTo>
                    <a:pt x="6568" y="4830"/>
                    <a:pt x="7149" y="4830"/>
                    <a:pt x="7149" y="4419"/>
                  </a:cubicBezTo>
                  <a:cubicBezTo>
                    <a:pt x="7351" y="3980"/>
                    <a:pt x="6947" y="3348"/>
                    <a:pt x="6947" y="2717"/>
                  </a:cubicBezTo>
                  <a:cubicBezTo>
                    <a:pt x="6947" y="2525"/>
                    <a:pt x="6947" y="2113"/>
                    <a:pt x="7149" y="1894"/>
                  </a:cubicBezTo>
                  <a:cubicBezTo>
                    <a:pt x="7528" y="1482"/>
                    <a:pt x="7933" y="1674"/>
                    <a:pt x="8311" y="1263"/>
                  </a:cubicBezTo>
                  <a:cubicBezTo>
                    <a:pt x="8488" y="1043"/>
                    <a:pt x="8311" y="220"/>
                    <a:pt x="8690" y="0"/>
                  </a:cubicBezTo>
                  <a:cubicBezTo>
                    <a:pt x="9271" y="0"/>
                    <a:pt x="9650" y="851"/>
                    <a:pt x="10231" y="851"/>
                  </a:cubicBezTo>
                  <a:cubicBezTo>
                    <a:pt x="10636" y="851"/>
                    <a:pt x="11015" y="631"/>
                    <a:pt x="11394" y="439"/>
                  </a:cubicBezTo>
                  <a:cubicBezTo>
                    <a:pt x="11773" y="439"/>
                    <a:pt x="11975" y="220"/>
                    <a:pt x="12354" y="220"/>
                  </a:cubicBezTo>
                  <a:cubicBezTo>
                    <a:pt x="12935" y="851"/>
                    <a:pt x="13314" y="1674"/>
                    <a:pt x="13895" y="2305"/>
                  </a:cubicBezTo>
                  <a:cubicBezTo>
                    <a:pt x="14097" y="2717"/>
                    <a:pt x="14476" y="3156"/>
                    <a:pt x="14855" y="3568"/>
                  </a:cubicBezTo>
                  <a:cubicBezTo>
                    <a:pt x="15057" y="3568"/>
                    <a:pt x="15436" y="3156"/>
                    <a:pt x="15638" y="3348"/>
                  </a:cubicBezTo>
                  <a:cubicBezTo>
                    <a:pt x="15840" y="3568"/>
                    <a:pt x="15638" y="4199"/>
                    <a:pt x="15638" y="4419"/>
                  </a:cubicBezTo>
                  <a:cubicBezTo>
                    <a:pt x="15840" y="5050"/>
                    <a:pt x="15638" y="5462"/>
                    <a:pt x="16017" y="5873"/>
                  </a:cubicBezTo>
                  <a:cubicBezTo>
                    <a:pt x="16219" y="6313"/>
                    <a:pt x="16800" y="6505"/>
                    <a:pt x="17179" y="6505"/>
                  </a:cubicBezTo>
                  <a:cubicBezTo>
                    <a:pt x="17583" y="6724"/>
                    <a:pt x="17962" y="6505"/>
                    <a:pt x="18139" y="6313"/>
                  </a:cubicBezTo>
                  <a:cubicBezTo>
                    <a:pt x="18543" y="6093"/>
                    <a:pt x="18720" y="5681"/>
                    <a:pt x="19124" y="524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7" name="Shape 2502">
              <a:extLst>
                <a:ext uri="{FF2B5EF4-FFF2-40B4-BE49-F238E27FC236}">
                  <a16:creationId xmlns:a16="http://schemas.microsoft.com/office/drawing/2014/main" id="{2B82713E-FE27-99B0-F5AB-BC7B6FF911F7}"/>
                </a:ext>
              </a:extLst>
            </p:cNvPr>
            <p:cNvSpPr/>
            <p:nvPr/>
          </p:nvSpPr>
          <p:spPr>
            <a:xfrm>
              <a:off x="849204" y="4682031"/>
              <a:ext cx="198422" cy="196464"/>
            </a:xfrm>
            <a:custGeom>
              <a:avLst/>
              <a:gdLst/>
              <a:ahLst/>
              <a:cxnLst>
                <a:cxn ang="0">
                  <a:pos x="wd2" y="hd2"/>
                </a:cxn>
                <a:cxn ang="5400000">
                  <a:pos x="wd2" y="hd2"/>
                </a:cxn>
                <a:cxn ang="10800000">
                  <a:pos x="wd2" y="hd2"/>
                </a:cxn>
                <a:cxn ang="16200000">
                  <a:pos x="wd2" y="hd2"/>
                </a:cxn>
              </a:cxnLst>
              <a:rect l="0" t="0" r="r" b="b"/>
              <a:pathLst>
                <a:path w="21393" h="21181" extrusionOk="0">
                  <a:moveTo>
                    <a:pt x="882" y="12761"/>
                  </a:moveTo>
                  <a:cubicBezTo>
                    <a:pt x="1717" y="13594"/>
                    <a:pt x="2262" y="14682"/>
                    <a:pt x="3097" y="15515"/>
                  </a:cubicBezTo>
                  <a:cubicBezTo>
                    <a:pt x="3387" y="16059"/>
                    <a:pt x="3931" y="16639"/>
                    <a:pt x="4476" y="17182"/>
                  </a:cubicBezTo>
                  <a:cubicBezTo>
                    <a:pt x="4766" y="17182"/>
                    <a:pt x="5311" y="16639"/>
                    <a:pt x="5601" y="16892"/>
                  </a:cubicBezTo>
                  <a:cubicBezTo>
                    <a:pt x="5892" y="17182"/>
                    <a:pt x="5601" y="18016"/>
                    <a:pt x="5601" y="18306"/>
                  </a:cubicBezTo>
                  <a:cubicBezTo>
                    <a:pt x="5892" y="19139"/>
                    <a:pt x="5601" y="19683"/>
                    <a:pt x="6146" y="20227"/>
                  </a:cubicBezTo>
                  <a:cubicBezTo>
                    <a:pt x="6436" y="20806"/>
                    <a:pt x="7271" y="21060"/>
                    <a:pt x="7816" y="21060"/>
                  </a:cubicBezTo>
                  <a:cubicBezTo>
                    <a:pt x="8397" y="21350"/>
                    <a:pt x="8941" y="21060"/>
                    <a:pt x="9195" y="20806"/>
                  </a:cubicBezTo>
                  <a:cubicBezTo>
                    <a:pt x="9776" y="20516"/>
                    <a:pt x="10030" y="19973"/>
                    <a:pt x="10611" y="19393"/>
                  </a:cubicBezTo>
                  <a:cubicBezTo>
                    <a:pt x="10865" y="19139"/>
                    <a:pt x="11156" y="18849"/>
                    <a:pt x="11410" y="19139"/>
                  </a:cubicBezTo>
                  <a:cubicBezTo>
                    <a:pt x="11991" y="19139"/>
                    <a:pt x="12245" y="19393"/>
                    <a:pt x="12826" y="19683"/>
                  </a:cubicBezTo>
                  <a:cubicBezTo>
                    <a:pt x="13370" y="19973"/>
                    <a:pt x="14205" y="19973"/>
                    <a:pt x="15040" y="19973"/>
                  </a:cubicBezTo>
                  <a:cubicBezTo>
                    <a:pt x="15294" y="19683"/>
                    <a:pt x="15294" y="19139"/>
                    <a:pt x="15875" y="19139"/>
                  </a:cubicBezTo>
                  <a:cubicBezTo>
                    <a:pt x="16129" y="18849"/>
                    <a:pt x="16129" y="19683"/>
                    <a:pt x="16710" y="19683"/>
                  </a:cubicBezTo>
                  <a:cubicBezTo>
                    <a:pt x="17799" y="19973"/>
                    <a:pt x="19179" y="19973"/>
                    <a:pt x="20304" y="19393"/>
                  </a:cubicBezTo>
                  <a:cubicBezTo>
                    <a:pt x="20594" y="19139"/>
                    <a:pt x="20014" y="18559"/>
                    <a:pt x="20014" y="18306"/>
                  </a:cubicBezTo>
                  <a:cubicBezTo>
                    <a:pt x="20304" y="17182"/>
                    <a:pt x="20848" y="16349"/>
                    <a:pt x="21393" y="15515"/>
                  </a:cubicBezTo>
                  <a:cubicBezTo>
                    <a:pt x="20848" y="14682"/>
                    <a:pt x="20304" y="13848"/>
                    <a:pt x="19759" y="13051"/>
                  </a:cubicBezTo>
                  <a:cubicBezTo>
                    <a:pt x="19469" y="12471"/>
                    <a:pt x="18924" y="11637"/>
                    <a:pt x="18924" y="10840"/>
                  </a:cubicBezTo>
                  <a:cubicBezTo>
                    <a:pt x="18924" y="10260"/>
                    <a:pt x="20014" y="10006"/>
                    <a:pt x="19759" y="9427"/>
                  </a:cubicBezTo>
                  <a:cubicBezTo>
                    <a:pt x="19469" y="8339"/>
                    <a:pt x="18089" y="8049"/>
                    <a:pt x="17799" y="7216"/>
                  </a:cubicBezTo>
                  <a:cubicBezTo>
                    <a:pt x="17545" y="6129"/>
                    <a:pt x="18089" y="4715"/>
                    <a:pt x="17545" y="3628"/>
                  </a:cubicBezTo>
                  <a:cubicBezTo>
                    <a:pt x="17255" y="2794"/>
                    <a:pt x="16420" y="2251"/>
                    <a:pt x="15875" y="1671"/>
                  </a:cubicBezTo>
                  <a:cubicBezTo>
                    <a:pt x="15294" y="1127"/>
                    <a:pt x="15294" y="-250"/>
                    <a:pt x="14750" y="40"/>
                  </a:cubicBezTo>
                  <a:cubicBezTo>
                    <a:pt x="12826" y="40"/>
                    <a:pt x="10865" y="1417"/>
                    <a:pt x="8941" y="2251"/>
                  </a:cubicBezTo>
                  <a:cubicBezTo>
                    <a:pt x="2262" y="5005"/>
                    <a:pt x="2262" y="5005"/>
                    <a:pt x="2262" y="5005"/>
                  </a:cubicBezTo>
                  <a:cubicBezTo>
                    <a:pt x="1427" y="6129"/>
                    <a:pt x="338" y="6926"/>
                    <a:pt x="47" y="8049"/>
                  </a:cubicBezTo>
                  <a:cubicBezTo>
                    <a:pt x="-207" y="9716"/>
                    <a:pt x="628" y="11094"/>
                    <a:pt x="882" y="127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8" name="Shape 2503">
              <a:extLst>
                <a:ext uri="{FF2B5EF4-FFF2-40B4-BE49-F238E27FC236}">
                  <a16:creationId xmlns:a16="http://schemas.microsoft.com/office/drawing/2014/main" id="{9EE67931-5F8E-4F7E-667E-5C8884B49A4A}"/>
                </a:ext>
              </a:extLst>
            </p:cNvPr>
            <p:cNvSpPr/>
            <p:nvPr/>
          </p:nvSpPr>
          <p:spPr>
            <a:xfrm>
              <a:off x="1124186" y="4770391"/>
              <a:ext cx="272763" cy="301745"/>
            </a:xfrm>
            <a:custGeom>
              <a:avLst/>
              <a:gdLst/>
              <a:ahLst/>
              <a:cxnLst>
                <a:cxn ang="0">
                  <a:pos x="wd2" y="hd2"/>
                </a:cxn>
                <a:cxn ang="5400000">
                  <a:pos x="wd2" y="hd2"/>
                </a:cxn>
                <a:cxn ang="10800000">
                  <a:pos x="wd2" y="hd2"/>
                </a:cxn>
                <a:cxn ang="16200000">
                  <a:pos x="wd2" y="hd2"/>
                </a:cxn>
              </a:cxnLst>
              <a:rect l="0" t="0" r="r" b="b"/>
              <a:pathLst>
                <a:path w="21451" h="21307" extrusionOk="0">
                  <a:moveTo>
                    <a:pt x="4901" y="7628"/>
                  </a:moveTo>
                  <a:cubicBezTo>
                    <a:pt x="5112" y="7984"/>
                    <a:pt x="5297" y="8364"/>
                    <a:pt x="5297" y="8721"/>
                  </a:cubicBezTo>
                  <a:cubicBezTo>
                    <a:pt x="5112" y="9267"/>
                    <a:pt x="4504" y="9624"/>
                    <a:pt x="4081" y="9980"/>
                  </a:cubicBezTo>
                  <a:cubicBezTo>
                    <a:pt x="4081" y="9980"/>
                    <a:pt x="4081" y="11073"/>
                    <a:pt x="4081" y="11263"/>
                  </a:cubicBezTo>
                  <a:cubicBezTo>
                    <a:pt x="4081" y="11430"/>
                    <a:pt x="5112" y="13450"/>
                    <a:pt x="5112" y="13450"/>
                  </a:cubicBezTo>
                  <a:cubicBezTo>
                    <a:pt x="4901" y="13616"/>
                    <a:pt x="4504" y="13616"/>
                    <a:pt x="4293" y="13806"/>
                  </a:cubicBezTo>
                  <a:cubicBezTo>
                    <a:pt x="4081" y="13996"/>
                    <a:pt x="4504" y="14352"/>
                    <a:pt x="4504" y="14519"/>
                  </a:cubicBezTo>
                  <a:cubicBezTo>
                    <a:pt x="4293" y="14899"/>
                    <a:pt x="3896" y="14899"/>
                    <a:pt x="3896" y="15255"/>
                  </a:cubicBezTo>
                  <a:cubicBezTo>
                    <a:pt x="3896" y="15446"/>
                    <a:pt x="4689" y="15612"/>
                    <a:pt x="4504" y="15802"/>
                  </a:cubicBezTo>
                  <a:cubicBezTo>
                    <a:pt x="4293" y="16349"/>
                    <a:pt x="3685" y="16349"/>
                    <a:pt x="3076" y="16515"/>
                  </a:cubicBezTo>
                  <a:lnTo>
                    <a:pt x="1252" y="15065"/>
                  </a:lnTo>
                  <a:cubicBezTo>
                    <a:pt x="1252" y="15255"/>
                    <a:pt x="856" y="16349"/>
                    <a:pt x="856" y="16349"/>
                  </a:cubicBezTo>
                  <a:cubicBezTo>
                    <a:pt x="671" y="16515"/>
                    <a:pt x="248" y="16705"/>
                    <a:pt x="63" y="17061"/>
                  </a:cubicBezTo>
                  <a:cubicBezTo>
                    <a:pt x="-149" y="17251"/>
                    <a:pt x="248" y="17251"/>
                    <a:pt x="248" y="17418"/>
                  </a:cubicBezTo>
                  <a:cubicBezTo>
                    <a:pt x="856" y="18701"/>
                    <a:pt x="856" y="20341"/>
                    <a:pt x="1860" y="21244"/>
                  </a:cubicBezTo>
                  <a:cubicBezTo>
                    <a:pt x="2283" y="21600"/>
                    <a:pt x="2468" y="20341"/>
                    <a:pt x="2865" y="20150"/>
                  </a:cubicBezTo>
                  <a:cubicBezTo>
                    <a:pt x="3076" y="19984"/>
                    <a:pt x="3473" y="20341"/>
                    <a:pt x="3685" y="20150"/>
                  </a:cubicBezTo>
                  <a:cubicBezTo>
                    <a:pt x="3896" y="20150"/>
                    <a:pt x="4081" y="19794"/>
                    <a:pt x="4504" y="19794"/>
                  </a:cubicBezTo>
                  <a:cubicBezTo>
                    <a:pt x="5112" y="19984"/>
                    <a:pt x="6513" y="20507"/>
                    <a:pt x="7122" y="20507"/>
                  </a:cubicBezTo>
                  <a:cubicBezTo>
                    <a:pt x="7122" y="19984"/>
                    <a:pt x="7122" y="19604"/>
                    <a:pt x="6910" y="19438"/>
                  </a:cubicBezTo>
                  <a:cubicBezTo>
                    <a:pt x="5694" y="18154"/>
                    <a:pt x="7730" y="17061"/>
                    <a:pt x="9131" y="16705"/>
                  </a:cubicBezTo>
                  <a:cubicBezTo>
                    <a:pt x="10347" y="16515"/>
                    <a:pt x="15212" y="14899"/>
                    <a:pt x="15793" y="16705"/>
                  </a:cubicBezTo>
                  <a:cubicBezTo>
                    <a:pt x="16216" y="18345"/>
                    <a:pt x="16824" y="17251"/>
                    <a:pt x="17221" y="16515"/>
                  </a:cubicBezTo>
                  <a:cubicBezTo>
                    <a:pt x="17406" y="16349"/>
                    <a:pt x="17406" y="15446"/>
                    <a:pt x="17406" y="15446"/>
                  </a:cubicBezTo>
                  <a:cubicBezTo>
                    <a:pt x="18014" y="17251"/>
                    <a:pt x="21266" y="12166"/>
                    <a:pt x="21451" y="11073"/>
                  </a:cubicBezTo>
                  <a:cubicBezTo>
                    <a:pt x="21451" y="9814"/>
                    <a:pt x="21451" y="8721"/>
                    <a:pt x="20446" y="7818"/>
                  </a:cubicBezTo>
                  <a:cubicBezTo>
                    <a:pt x="19230" y="6535"/>
                    <a:pt x="17617" y="8174"/>
                    <a:pt x="16401" y="8364"/>
                  </a:cubicBezTo>
                  <a:cubicBezTo>
                    <a:pt x="15000" y="8721"/>
                    <a:pt x="16005" y="7271"/>
                    <a:pt x="16613" y="6915"/>
                  </a:cubicBezTo>
                  <a:cubicBezTo>
                    <a:pt x="17221" y="6368"/>
                    <a:pt x="17221" y="4349"/>
                    <a:pt x="17221" y="3446"/>
                  </a:cubicBezTo>
                  <a:cubicBezTo>
                    <a:pt x="17221" y="3279"/>
                    <a:pt x="17009" y="2733"/>
                    <a:pt x="17009" y="2186"/>
                  </a:cubicBezTo>
                  <a:cubicBezTo>
                    <a:pt x="16613" y="2376"/>
                    <a:pt x="14789" y="3089"/>
                    <a:pt x="14392" y="2899"/>
                  </a:cubicBezTo>
                  <a:cubicBezTo>
                    <a:pt x="13995" y="2733"/>
                    <a:pt x="14392" y="1996"/>
                    <a:pt x="13995" y="1830"/>
                  </a:cubicBezTo>
                  <a:cubicBezTo>
                    <a:pt x="13176" y="1640"/>
                    <a:pt x="12356" y="2186"/>
                    <a:pt x="11563" y="1830"/>
                  </a:cubicBezTo>
                  <a:cubicBezTo>
                    <a:pt x="11167" y="1640"/>
                    <a:pt x="10955" y="1283"/>
                    <a:pt x="10744" y="927"/>
                  </a:cubicBezTo>
                  <a:cubicBezTo>
                    <a:pt x="10558" y="547"/>
                    <a:pt x="10347" y="190"/>
                    <a:pt x="10135" y="0"/>
                  </a:cubicBezTo>
                  <a:cubicBezTo>
                    <a:pt x="8126" y="927"/>
                    <a:pt x="8126" y="927"/>
                    <a:pt x="8126" y="927"/>
                  </a:cubicBezTo>
                  <a:cubicBezTo>
                    <a:pt x="7730" y="1283"/>
                    <a:pt x="7122" y="1640"/>
                    <a:pt x="6725" y="2186"/>
                  </a:cubicBezTo>
                  <a:cubicBezTo>
                    <a:pt x="6513" y="2376"/>
                    <a:pt x="6513" y="2733"/>
                    <a:pt x="6302" y="3089"/>
                  </a:cubicBezTo>
                  <a:cubicBezTo>
                    <a:pt x="6302" y="3279"/>
                    <a:pt x="6302" y="3636"/>
                    <a:pt x="6117" y="3826"/>
                  </a:cubicBezTo>
                  <a:cubicBezTo>
                    <a:pt x="6117" y="3992"/>
                    <a:pt x="5905" y="3992"/>
                    <a:pt x="5694" y="4182"/>
                  </a:cubicBezTo>
                  <a:cubicBezTo>
                    <a:pt x="5509" y="4539"/>
                    <a:pt x="5297" y="4895"/>
                    <a:pt x="5297" y="5275"/>
                  </a:cubicBezTo>
                  <a:cubicBezTo>
                    <a:pt x="5112" y="5442"/>
                    <a:pt x="5112" y="5822"/>
                    <a:pt x="5297" y="5988"/>
                  </a:cubicBezTo>
                  <a:cubicBezTo>
                    <a:pt x="5297" y="6178"/>
                    <a:pt x="5509" y="6368"/>
                    <a:pt x="5509" y="6535"/>
                  </a:cubicBezTo>
                  <a:cubicBezTo>
                    <a:pt x="5297" y="6915"/>
                    <a:pt x="5112" y="7271"/>
                    <a:pt x="4901" y="762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9" name="Shape 2504">
              <a:extLst>
                <a:ext uri="{FF2B5EF4-FFF2-40B4-BE49-F238E27FC236}">
                  <a16:creationId xmlns:a16="http://schemas.microsoft.com/office/drawing/2014/main" id="{6659493D-4A3E-4961-1F2D-C404A096E294}"/>
                </a:ext>
              </a:extLst>
            </p:cNvPr>
            <p:cNvSpPr/>
            <p:nvPr/>
          </p:nvSpPr>
          <p:spPr>
            <a:xfrm>
              <a:off x="995936" y="4648491"/>
              <a:ext cx="231554" cy="231570"/>
            </a:xfrm>
            <a:custGeom>
              <a:avLst/>
              <a:gdLst/>
              <a:ahLst/>
              <a:cxnLst>
                <a:cxn ang="0">
                  <a:pos x="wd2" y="hd2"/>
                </a:cxn>
                <a:cxn ang="5400000">
                  <a:pos x="wd2" y="hd2"/>
                </a:cxn>
                <a:cxn ang="10800000">
                  <a:pos x="wd2" y="hd2"/>
                </a:cxn>
                <a:cxn ang="16200000">
                  <a:pos x="wd2" y="hd2"/>
                </a:cxn>
              </a:cxnLst>
              <a:rect l="0" t="0" r="r" b="b"/>
              <a:pathLst>
                <a:path w="21600" h="21600" extrusionOk="0">
                  <a:moveTo>
                    <a:pt x="0" y="4552"/>
                  </a:moveTo>
                  <a:cubicBezTo>
                    <a:pt x="472" y="5055"/>
                    <a:pt x="1195" y="5526"/>
                    <a:pt x="1446" y="6248"/>
                  </a:cubicBezTo>
                  <a:cubicBezTo>
                    <a:pt x="1918" y="7190"/>
                    <a:pt x="1446" y="8414"/>
                    <a:pt x="1666" y="9356"/>
                  </a:cubicBezTo>
                  <a:cubicBezTo>
                    <a:pt x="1918" y="10078"/>
                    <a:pt x="3113" y="10329"/>
                    <a:pt x="3364" y="11271"/>
                  </a:cubicBezTo>
                  <a:cubicBezTo>
                    <a:pt x="3584" y="11773"/>
                    <a:pt x="2641" y="11993"/>
                    <a:pt x="2641" y="12495"/>
                  </a:cubicBezTo>
                  <a:cubicBezTo>
                    <a:pt x="2641" y="13186"/>
                    <a:pt x="3113" y="13908"/>
                    <a:pt x="3364" y="14410"/>
                  </a:cubicBezTo>
                  <a:cubicBezTo>
                    <a:pt x="3836" y="15101"/>
                    <a:pt x="4307" y="15823"/>
                    <a:pt x="4779" y="16545"/>
                  </a:cubicBezTo>
                  <a:cubicBezTo>
                    <a:pt x="5754" y="16326"/>
                    <a:pt x="6477" y="15823"/>
                    <a:pt x="7420" y="15823"/>
                  </a:cubicBezTo>
                  <a:cubicBezTo>
                    <a:pt x="7672" y="15823"/>
                    <a:pt x="7420" y="16326"/>
                    <a:pt x="7672" y="16326"/>
                  </a:cubicBezTo>
                  <a:cubicBezTo>
                    <a:pt x="7923" y="16545"/>
                    <a:pt x="8395" y="16074"/>
                    <a:pt x="8646" y="16326"/>
                  </a:cubicBezTo>
                  <a:cubicBezTo>
                    <a:pt x="9590" y="16797"/>
                    <a:pt x="10093" y="17738"/>
                    <a:pt x="11036" y="18460"/>
                  </a:cubicBezTo>
                  <a:cubicBezTo>
                    <a:pt x="11507" y="18712"/>
                    <a:pt x="12231" y="18460"/>
                    <a:pt x="12734" y="18963"/>
                  </a:cubicBezTo>
                  <a:cubicBezTo>
                    <a:pt x="12954" y="19183"/>
                    <a:pt x="12231" y="19434"/>
                    <a:pt x="12231" y="19685"/>
                  </a:cubicBezTo>
                  <a:cubicBezTo>
                    <a:pt x="12010" y="19905"/>
                    <a:pt x="12010" y="20407"/>
                    <a:pt x="12231" y="20627"/>
                  </a:cubicBezTo>
                  <a:cubicBezTo>
                    <a:pt x="12482" y="20878"/>
                    <a:pt x="12954" y="20627"/>
                    <a:pt x="13205" y="20627"/>
                  </a:cubicBezTo>
                  <a:cubicBezTo>
                    <a:pt x="13677" y="20878"/>
                    <a:pt x="13928" y="21349"/>
                    <a:pt x="14400" y="21600"/>
                  </a:cubicBezTo>
                  <a:cubicBezTo>
                    <a:pt x="15123" y="21600"/>
                    <a:pt x="15846" y="20878"/>
                    <a:pt x="16569" y="20878"/>
                  </a:cubicBezTo>
                  <a:cubicBezTo>
                    <a:pt x="17041" y="20878"/>
                    <a:pt x="17293" y="21129"/>
                    <a:pt x="17764" y="21349"/>
                  </a:cubicBezTo>
                  <a:cubicBezTo>
                    <a:pt x="18016" y="20878"/>
                    <a:pt x="18236" y="20407"/>
                    <a:pt x="18487" y="19905"/>
                  </a:cubicBezTo>
                  <a:cubicBezTo>
                    <a:pt x="18487" y="19685"/>
                    <a:pt x="18236" y="19434"/>
                    <a:pt x="18236" y="19183"/>
                  </a:cubicBezTo>
                  <a:cubicBezTo>
                    <a:pt x="18016" y="18963"/>
                    <a:pt x="18016" y="18460"/>
                    <a:pt x="18236" y="18241"/>
                  </a:cubicBezTo>
                  <a:cubicBezTo>
                    <a:pt x="18236" y="17738"/>
                    <a:pt x="18487" y="17267"/>
                    <a:pt x="18707" y="16797"/>
                  </a:cubicBezTo>
                  <a:cubicBezTo>
                    <a:pt x="18959" y="16545"/>
                    <a:pt x="19210" y="16545"/>
                    <a:pt x="19210" y="16326"/>
                  </a:cubicBezTo>
                  <a:cubicBezTo>
                    <a:pt x="19431" y="16074"/>
                    <a:pt x="19431" y="15603"/>
                    <a:pt x="19431" y="15352"/>
                  </a:cubicBezTo>
                  <a:cubicBezTo>
                    <a:pt x="19682" y="14881"/>
                    <a:pt x="19682" y="14410"/>
                    <a:pt x="19934" y="14159"/>
                  </a:cubicBezTo>
                  <a:cubicBezTo>
                    <a:pt x="20405" y="13437"/>
                    <a:pt x="21128" y="12966"/>
                    <a:pt x="21600" y="12495"/>
                  </a:cubicBezTo>
                  <a:cubicBezTo>
                    <a:pt x="21380" y="12495"/>
                    <a:pt x="21128" y="12495"/>
                    <a:pt x="20877" y="12244"/>
                  </a:cubicBezTo>
                  <a:cubicBezTo>
                    <a:pt x="20877" y="11773"/>
                    <a:pt x="20877" y="11271"/>
                    <a:pt x="20657" y="11051"/>
                  </a:cubicBezTo>
                  <a:cubicBezTo>
                    <a:pt x="20657" y="10800"/>
                    <a:pt x="20154" y="11051"/>
                    <a:pt x="20154" y="10800"/>
                  </a:cubicBezTo>
                  <a:cubicBezTo>
                    <a:pt x="20154" y="10549"/>
                    <a:pt x="20405" y="10329"/>
                    <a:pt x="20405" y="10078"/>
                  </a:cubicBezTo>
                  <a:cubicBezTo>
                    <a:pt x="20154" y="9827"/>
                    <a:pt x="19431" y="9607"/>
                    <a:pt x="19431" y="9356"/>
                  </a:cubicBezTo>
                  <a:cubicBezTo>
                    <a:pt x="19210" y="8885"/>
                    <a:pt x="19431" y="8163"/>
                    <a:pt x="19210" y="7692"/>
                  </a:cubicBezTo>
                  <a:cubicBezTo>
                    <a:pt x="18707" y="6970"/>
                    <a:pt x="18016" y="6970"/>
                    <a:pt x="17513" y="6467"/>
                  </a:cubicBezTo>
                  <a:cubicBezTo>
                    <a:pt x="17293" y="6970"/>
                    <a:pt x="17293" y="7692"/>
                    <a:pt x="16569" y="7912"/>
                  </a:cubicBezTo>
                  <a:cubicBezTo>
                    <a:pt x="16318" y="8163"/>
                    <a:pt x="15846" y="7441"/>
                    <a:pt x="15595" y="7190"/>
                  </a:cubicBezTo>
                  <a:cubicBezTo>
                    <a:pt x="15343" y="6467"/>
                    <a:pt x="15343" y="5777"/>
                    <a:pt x="15123" y="5274"/>
                  </a:cubicBezTo>
                  <a:cubicBezTo>
                    <a:pt x="14652" y="4552"/>
                    <a:pt x="13677" y="4552"/>
                    <a:pt x="13425" y="4081"/>
                  </a:cubicBezTo>
                  <a:cubicBezTo>
                    <a:pt x="12954" y="3359"/>
                    <a:pt x="12954" y="2417"/>
                    <a:pt x="12954" y="1444"/>
                  </a:cubicBezTo>
                  <a:cubicBezTo>
                    <a:pt x="12010" y="973"/>
                    <a:pt x="11507" y="251"/>
                    <a:pt x="10564" y="0"/>
                  </a:cubicBezTo>
                  <a:cubicBezTo>
                    <a:pt x="9590" y="0"/>
                    <a:pt x="8866" y="251"/>
                    <a:pt x="7923" y="722"/>
                  </a:cubicBezTo>
                  <a:cubicBezTo>
                    <a:pt x="7672" y="722"/>
                    <a:pt x="8395" y="1193"/>
                    <a:pt x="8143" y="1193"/>
                  </a:cubicBezTo>
                  <a:cubicBezTo>
                    <a:pt x="6948" y="1915"/>
                    <a:pt x="5502" y="1695"/>
                    <a:pt x="4307" y="2166"/>
                  </a:cubicBezTo>
                  <a:cubicBezTo>
                    <a:pt x="3836" y="2417"/>
                    <a:pt x="3836" y="3140"/>
                    <a:pt x="3364" y="3359"/>
                  </a:cubicBezTo>
                  <a:cubicBezTo>
                    <a:pt x="2861" y="3359"/>
                    <a:pt x="2390" y="2637"/>
                    <a:pt x="1918" y="2637"/>
                  </a:cubicBezTo>
                  <a:cubicBezTo>
                    <a:pt x="1666" y="2637"/>
                    <a:pt x="943" y="2637"/>
                    <a:pt x="943" y="2888"/>
                  </a:cubicBezTo>
                  <a:cubicBezTo>
                    <a:pt x="723" y="3140"/>
                    <a:pt x="1446" y="3610"/>
                    <a:pt x="1195" y="4081"/>
                  </a:cubicBezTo>
                  <a:cubicBezTo>
                    <a:pt x="943" y="4333"/>
                    <a:pt x="472" y="4333"/>
                    <a:pt x="0" y="455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0" name="Shape 2505">
              <a:extLst>
                <a:ext uri="{FF2B5EF4-FFF2-40B4-BE49-F238E27FC236}">
                  <a16:creationId xmlns:a16="http://schemas.microsoft.com/office/drawing/2014/main" id="{CCFBE111-043A-F87E-609F-DF06AF1F836E}"/>
                </a:ext>
              </a:extLst>
            </p:cNvPr>
            <p:cNvSpPr/>
            <p:nvPr/>
          </p:nvSpPr>
          <p:spPr>
            <a:xfrm>
              <a:off x="1248637" y="4605380"/>
              <a:ext cx="201277" cy="315373"/>
            </a:xfrm>
            <a:custGeom>
              <a:avLst/>
              <a:gdLst/>
              <a:ahLst/>
              <a:cxnLst>
                <a:cxn ang="0">
                  <a:pos x="wd2" y="hd2"/>
                </a:cxn>
                <a:cxn ang="5400000">
                  <a:pos x="wd2" y="hd2"/>
                </a:cxn>
                <a:cxn ang="10800000">
                  <a:pos x="wd2" y="hd2"/>
                </a:cxn>
                <a:cxn ang="16200000">
                  <a:pos x="wd2" y="hd2"/>
                </a:cxn>
              </a:cxnLst>
              <a:rect l="0" t="0" r="r" b="b"/>
              <a:pathLst>
                <a:path w="20064" h="20387" extrusionOk="0">
                  <a:moveTo>
                    <a:pt x="9252" y="12638"/>
                  </a:moveTo>
                  <a:cubicBezTo>
                    <a:pt x="8748" y="12812"/>
                    <a:pt x="6426" y="13465"/>
                    <a:pt x="5921" y="13291"/>
                  </a:cubicBezTo>
                  <a:cubicBezTo>
                    <a:pt x="5417" y="13138"/>
                    <a:pt x="5921" y="12464"/>
                    <a:pt x="5417" y="12312"/>
                  </a:cubicBezTo>
                  <a:cubicBezTo>
                    <a:pt x="4374" y="12138"/>
                    <a:pt x="3331" y="12638"/>
                    <a:pt x="2321" y="12312"/>
                  </a:cubicBezTo>
                  <a:cubicBezTo>
                    <a:pt x="1817" y="12138"/>
                    <a:pt x="1548" y="11811"/>
                    <a:pt x="1279" y="11485"/>
                  </a:cubicBezTo>
                  <a:cubicBezTo>
                    <a:pt x="1043" y="11137"/>
                    <a:pt x="774" y="10811"/>
                    <a:pt x="505" y="10637"/>
                  </a:cubicBezTo>
                  <a:cubicBezTo>
                    <a:pt x="505" y="10311"/>
                    <a:pt x="269" y="10137"/>
                    <a:pt x="0" y="9984"/>
                  </a:cubicBezTo>
                  <a:cubicBezTo>
                    <a:pt x="0" y="9636"/>
                    <a:pt x="0" y="9136"/>
                    <a:pt x="269" y="8984"/>
                  </a:cubicBezTo>
                  <a:cubicBezTo>
                    <a:pt x="774" y="8309"/>
                    <a:pt x="1548" y="7809"/>
                    <a:pt x="2052" y="7156"/>
                  </a:cubicBezTo>
                  <a:cubicBezTo>
                    <a:pt x="2321" y="6982"/>
                    <a:pt x="1817" y="6656"/>
                    <a:pt x="2052" y="6330"/>
                  </a:cubicBezTo>
                  <a:cubicBezTo>
                    <a:pt x="2321" y="5830"/>
                    <a:pt x="3331" y="5656"/>
                    <a:pt x="3869" y="5155"/>
                  </a:cubicBezTo>
                  <a:cubicBezTo>
                    <a:pt x="3869" y="5003"/>
                    <a:pt x="3331" y="4829"/>
                    <a:pt x="3331" y="4655"/>
                  </a:cubicBezTo>
                  <a:cubicBezTo>
                    <a:pt x="3095" y="4155"/>
                    <a:pt x="3095" y="3828"/>
                    <a:pt x="3095" y="3328"/>
                  </a:cubicBezTo>
                  <a:cubicBezTo>
                    <a:pt x="3600" y="3176"/>
                    <a:pt x="3869" y="3002"/>
                    <a:pt x="4374" y="2828"/>
                  </a:cubicBezTo>
                  <a:cubicBezTo>
                    <a:pt x="4643" y="2676"/>
                    <a:pt x="4879" y="2327"/>
                    <a:pt x="5417" y="2327"/>
                  </a:cubicBezTo>
                  <a:cubicBezTo>
                    <a:pt x="6191" y="2502"/>
                    <a:pt x="6695" y="2828"/>
                    <a:pt x="7469" y="3002"/>
                  </a:cubicBezTo>
                  <a:cubicBezTo>
                    <a:pt x="7705" y="3002"/>
                    <a:pt x="7974" y="2676"/>
                    <a:pt x="8243" y="2676"/>
                  </a:cubicBezTo>
                  <a:cubicBezTo>
                    <a:pt x="8479" y="2676"/>
                    <a:pt x="8748" y="3176"/>
                    <a:pt x="9017" y="3002"/>
                  </a:cubicBezTo>
                  <a:cubicBezTo>
                    <a:pt x="9757" y="3002"/>
                    <a:pt x="10531" y="2676"/>
                    <a:pt x="11069" y="2327"/>
                  </a:cubicBezTo>
                  <a:cubicBezTo>
                    <a:pt x="11305" y="2001"/>
                    <a:pt x="11069" y="1501"/>
                    <a:pt x="11305" y="1175"/>
                  </a:cubicBezTo>
                  <a:cubicBezTo>
                    <a:pt x="11574" y="1001"/>
                    <a:pt x="12079" y="1175"/>
                    <a:pt x="12348" y="1001"/>
                  </a:cubicBezTo>
                  <a:cubicBezTo>
                    <a:pt x="12852" y="674"/>
                    <a:pt x="12852" y="500"/>
                    <a:pt x="13121" y="0"/>
                  </a:cubicBezTo>
                  <a:cubicBezTo>
                    <a:pt x="15174" y="674"/>
                    <a:pt x="14400" y="2001"/>
                    <a:pt x="15174" y="3328"/>
                  </a:cubicBezTo>
                  <a:cubicBezTo>
                    <a:pt x="15948" y="4655"/>
                    <a:pt x="17731" y="5503"/>
                    <a:pt x="18269" y="6982"/>
                  </a:cubicBezTo>
                  <a:cubicBezTo>
                    <a:pt x="19009" y="9484"/>
                    <a:pt x="21600" y="11637"/>
                    <a:pt x="18774" y="13791"/>
                  </a:cubicBezTo>
                  <a:cubicBezTo>
                    <a:pt x="17731" y="14465"/>
                    <a:pt x="19279" y="15118"/>
                    <a:pt x="19279" y="15966"/>
                  </a:cubicBezTo>
                  <a:cubicBezTo>
                    <a:pt x="19279" y="16619"/>
                    <a:pt x="17731" y="19120"/>
                    <a:pt x="17495" y="19947"/>
                  </a:cubicBezTo>
                  <a:cubicBezTo>
                    <a:pt x="16721" y="21600"/>
                    <a:pt x="15443" y="18120"/>
                    <a:pt x="14400" y="17293"/>
                  </a:cubicBezTo>
                  <a:cubicBezTo>
                    <a:pt x="13121" y="16292"/>
                    <a:pt x="15443" y="14792"/>
                    <a:pt x="15443" y="13465"/>
                  </a:cubicBezTo>
                  <a:cubicBezTo>
                    <a:pt x="15443" y="9810"/>
                    <a:pt x="13626" y="8157"/>
                    <a:pt x="9252" y="6482"/>
                  </a:cubicBezTo>
                  <a:cubicBezTo>
                    <a:pt x="7200" y="5656"/>
                    <a:pt x="7974" y="6330"/>
                    <a:pt x="6426" y="7309"/>
                  </a:cubicBezTo>
                  <a:cubicBezTo>
                    <a:pt x="4879" y="8483"/>
                    <a:pt x="5921" y="8157"/>
                    <a:pt x="7705" y="8984"/>
                  </a:cubicBezTo>
                  <a:cubicBezTo>
                    <a:pt x="8479" y="9484"/>
                    <a:pt x="9017" y="11311"/>
                    <a:pt x="9252" y="1263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1" name="Shape 2506">
              <a:extLst>
                <a:ext uri="{FF2B5EF4-FFF2-40B4-BE49-F238E27FC236}">
                  <a16:creationId xmlns:a16="http://schemas.microsoft.com/office/drawing/2014/main" id="{9E11BC0B-3F66-8156-3574-1FF30E7F2067}"/>
                </a:ext>
              </a:extLst>
            </p:cNvPr>
            <p:cNvSpPr/>
            <p:nvPr/>
          </p:nvSpPr>
          <p:spPr>
            <a:xfrm>
              <a:off x="1181746" y="4657411"/>
              <a:ext cx="105205" cy="126023"/>
            </a:xfrm>
            <a:custGeom>
              <a:avLst/>
              <a:gdLst/>
              <a:ahLst/>
              <a:cxnLst>
                <a:cxn ang="0">
                  <a:pos x="wd2" y="hd2"/>
                </a:cxn>
                <a:cxn ang="5400000">
                  <a:pos x="wd2" y="hd2"/>
                </a:cxn>
                <a:cxn ang="10800000">
                  <a:pos x="wd2" y="hd2"/>
                </a:cxn>
                <a:cxn ang="16200000">
                  <a:pos x="wd2" y="hd2"/>
                </a:cxn>
              </a:cxnLst>
              <a:rect l="0" t="0" r="r" b="b"/>
              <a:pathLst>
                <a:path w="21600" h="21600" extrusionOk="0">
                  <a:moveTo>
                    <a:pt x="16286" y="0"/>
                  </a:moveTo>
                  <a:cubicBezTo>
                    <a:pt x="20013" y="0"/>
                    <a:pt x="20013" y="0"/>
                    <a:pt x="20013" y="0"/>
                  </a:cubicBezTo>
                  <a:cubicBezTo>
                    <a:pt x="20013" y="1325"/>
                    <a:pt x="20013" y="2189"/>
                    <a:pt x="20496" y="3514"/>
                  </a:cubicBezTo>
                  <a:cubicBezTo>
                    <a:pt x="20496" y="3974"/>
                    <a:pt x="21600" y="4435"/>
                    <a:pt x="21600" y="4838"/>
                  </a:cubicBezTo>
                  <a:cubicBezTo>
                    <a:pt x="20496" y="6163"/>
                    <a:pt x="18426" y="6624"/>
                    <a:pt x="17873" y="7949"/>
                  </a:cubicBezTo>
                  <a:cubicBezTo>
                    <a:pt x="17390" y="8813"/>
                    <a:pt x="18426" y="9677"/>
                    <a:pt x="17873" y="10138"/>
                  </a:cubicBezTo>
                  <a:cubicBezTo>
                    <a:pt x="16838" y="11866"/>
                    <a:pt x="15251" y="13190"/>
                    <a:pt x="14216" y="14976"/>
                  </a:cubicBezTo>
                  <a:cubicBezTo>
                    <a:pt x="13664" y="15379"/>
                    <a:pt x="13664" y="16704"/>
                    <a:pt x="13664" y="17626"/>
                  </a:cubicBezTo>
                  <a:cubicBezTo>
                    <a:pt x="14216" y="18029"/>
                    <a:pt x="14699" y="18490"/>
                    <a:pt x="14699" y="19354"/>
                  </a:cubicBezTo>
                  <a:cubicBezTo>
                    <a:pt x="9454" y="21600"/>
                    <a:pt x="9454" y="21600"/>
                    <a:pt x="9454" y="21600"/>
                  </a:cubicBezTo>
                  <a:cubicBezTo>
                    <a:pt x="8971" y="21600"/>
                    <a:pt x="8419" y="21600"/>
                    <a:pt x="7867" y="21139"/>
                  </a:cubicBezTo>
                  <a:cubicBezTo>
                    <a:pt x="7867" y="20275"/>
                    <a:pt x="7867" y="19354"/>
                    <a:pt x="7384" y="18950"/>
                  </a:cubicBezTo>
                  <a:cubicBezTo>
                    <a:pt x="7384" y="18490"/>
                    <a:pt x="6280" y="18950"/>
                    <a:pt x="6280" y="18490"/>
                  </a:cubicBezTo>
                  <a:cubicBezTo>
                    <a:pt x="6280" y="18029"/>
                    <a:pt x="6832" y="17626"/>
                    <a:pt x="6832" y="17165"/>
                  </a:cubicBezTo>
                  <a:cubicBezTo>
                    <a:pt x="6280" y="16704"/>
                    <a:pt x="4693" y="16301"/>
                    <a:pt x="4693" y="15840"/>
                  </a:cubicBezTo>
                  <a:cubicBezTo>
                    <a:pt x="4210" y="14976"/>
                    <a:pt x="4693" y="13651"/>
                    <a:pt x="4210" y="12787"/>
                  </a:cubicBezTo>
                  <a:cubicBezTo>
                    <a:pt x="3105" y="11462"/>
                    <a:pt x="1587" y="11462"/>
                    <a:pt x="483" y="10541"/>
                  </a:cubicBezTo>
                  <a:cubicBezTo>
                    <a:pt x="483" y="10138"/>
                    <a:pt x="0" y="9677"/>
                    <a:pt x="0" y="9274"/>
                  </a:cubicBezTo>
                  <a:cubicBezTo>
                    <a:pt x="1587" y="8352"/>
                    <a:pt x="3658" y="8352"/>
                    <a:pt x="4693" y="7488"/>
                  </a:cubicBezTo>
                  <a:cubicBezTo>
                    <a:pt x="5797" y="7027"/>
                    <a:pt x="5245" y="5760"/>
                    <a:pt x="6280" y="5760"/>
                  </a:cubicBezTo>
                  <a:cubicBezTo>
                    <a:pt x="7867" y="4838"/>
                    <a:pt x="9454" y="5760"/>
                    <a:pt x="10489" y="5299"/>
                  </a:cubicBezTo>
                  <a:cubicBezTo>
                    <a:pt x="11594" y="5299"/>
                    <a:pt x="11594" y="3974"/>
                    <a:pt x="12629" y="3514"/>
                  </a:cubicBezTo>
                  <a:cubicBezTo>
                    <a:pt x="13181" y="3514"/>
                    <a:pt x="14216" y="3974"/>
                    <a:pt x="14699" y="3514"/>
                  </a:cubicBezTo>
                  <a:cubicBezTo>
                    <a:pt x="15803" y="2650"/>
                    <a:pt x="15803" y="1325"/>
                    <a:pt x="16286"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2" name="Shape 2507">
              <a:extLst>
                <a:ext uri="{FF2B5EF4-FFF2-40B4-BE49-F238E27FC236}">
                  <a16:creationId xmlns:a16="http://schemas.microsoft.com/office/drawing/2014/main" id="{B3DFA439-F521-652A-462D-24F15A3A4D9A}"/>
                </a:ext>
              </a:extLst>
            </p:cNvPr>
            <p:cNvSpPr/>
            <p:nvPr/>
          </p:nvSpPr>
          <p:spPr>
            <a:xfrm>
              <a:off x="1235259" y="4600450"/>
              <a:ext cx="143853" cy="56624"/>
            </a:xfrm>
            <a:custGeom>
              <a:avLst/>
              <a:gdLst/>
              <a:ahLst/>
              <a:cxnLst>
                <a:cxn ang="0">
                  <a:pos x="wd2" y="hd2"/>
                </a:cxn>
                <a:cxn ang="5400000">
                  <a:pos x="wd2" y="hd2"/>
                </a:cxn>
                <a:cxn ang="10800000">
                  <a:pos x="wd2" y="hd2"/>
                </a:cxn>
                <a:cxn ang="16200000">
                  <a:pos x="wd2" y="hd2"/>
                </a:cxn>
              </a:cxnLst>
              <a:rect l="0" t="0" r="r" b="b"/>
              <a:pathLst>
                <a:path w="21600" h="20686" extrusionOk="0">
                  <a:moveTo>
                    <a:pt x="3836" y="20686"/>
                  </a:moveTo>
                  <a:cubicBezTo>
                    <a:pt x="6561" y="20686"/>
                    <a:pt x="6561" y="20686"/>
                    <a:pt x="6561" y="20686"/>
                  </a:cubicBezTo>
                  <a:cubicBezTo>
                    <a:pt x="7318" y="19822"/>
                    <a:pt x="7721" y="18835"/>
                    <a:pt x="8479" y="17847"/>
                  </a:cubicBezTo>
                  <a:cubicBezTo>
                    <a:pt x="8882" y="16983"/>
                    <a:pt x="9236" y="15008"/>
                    <a:pt x="10043" y="15008"/>
                  </a:cubicBezTo>
                  <a:cubicBezTo>
                    <a:pt x="11204" y="15996"/>
                    <a:pt x="11961" y="17847"/>
                    <a:pt x="13121" y="18835"/>
                  </a:cubicBezTo>
                  <a:cubicBezTo>
                    <a:pt x="13475" y="18835"/>
                    <a:pt x="13879" y="16983"/>
                    <a:pt x="14282" y="16983"/>
                  </a:cubicBezTo>
                  <a:cubicBezTo>
                    <a:pt x="14636" y="16983"/>
                    <a:pt x="15039" y="19822"/>
                    <a:pt x="15443" y="18835"/>
                  </a:cubicBezTo>
                  <a:cubicBezTo>
                    <a:pt x="16553" y="18835"/>
                    <a:pt x="17714" y="16983"/>
                    <a:pt x="18521" y="15008"/>
                  </a:cubicBezTo>
                  <a:cubicBezTo>
                    <a:pt x="18875" y="13157"/>
                    <a:pt x="18521" y="10318"/>
                    <a:pt x="18875" y="8467"/>
                  </a:cubicBezTo>
                  <a:cubicBezTo>
                    <a:pt x="19279" y="7479"/>
                    <a:pt x="20036" y="8467"/>
                    <a:pt x="20439" y="7479"/>
                  </a:cubicBezTo>
                  <a:cubicBezTo>
                    <a:pt x="21196" y="5628"/>
                    <a:pt x="21196" y="4640"/>
                    <a:pt x="21600" y="1801"/>
                  </a:cubicBezTo>
                  <a:cubicBezTo>
                    <a:pt x="21196" y="1801"/>
                    <a:pt x="20439" y="937"/>
                    <a:pt x="19632" y="937"/>
                  </a:cubicBezTo>
                  <a:cubicBezTo>
                    <a:pt x="15796" y="-914"/>
                    <a:pt x="9639" y="-50"/>
                    <a:pt x="6157" y="3776"/>
                  </a:cubicBezTo>
                  <a:cubicBezTo>
                    <a:pt x="4996" y="5628"/>
                    <a:pt x="2321" y="10318"/>
                    <a:pt x="0" y="14144"/>
                  </a:cubicBezTo>
                  <a:cubicBezTo>
                    <a:pt x="0" y="15996"/>
                    <a:pt x="0" y="16983"/>
                    <a:pt x="0" y="17847"/>
                  </a:cubicBezTo>
                  <a:cubicBezTo>
                    <a:pt x="404" y="19822"/>
                    <a:pt x="757" y="20686"/>
                    <a:pt x="1564" y="20686"/>
                  </a:cubicBezTo>
                  <a:cubicBezTo>
                    <a:pt x="1918" y="20686"/>
                    <a:pt x="2675" y="19822"/>
                    <a:pt x="3079" y="19822"/>
                  </a:cubicBezTo>
                  <a:cubicBezTo>
                    <a:pt x="3482" y="19822"/>
                    <a:pt x="3482" y="20686"/>
                    <a:pt x="3836" y="206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3" name="Shape 2508">
              <a:extLst>
                <a:ext uri="{FF2B5EF4-FFF2-40B4-BE49-F238E27FC236}">
                  <a16:creationId xmlns:a16="http://schemas.microsoft.com/office/drawing/2014/main" id="{88C08CBF-82C2-D409-1804-A9EE780639E3}"/>
                </a:ext>
              </a:extLst>
            </p:cNvPr>
            <p:cNvSpPr/>
            <p:nvPr/>
          </p:nvSpPr>
          <p:spPr>
            <a:xfrm>
              <a:off x="1135666" y="4610617"/>
              <a:ext cx="126013" cy="124593"/>
            </a:xfrm>
            <a:custGeom>
              <a:avLst/>
              <a:gdLst/>
              <a:ahLst/>
              <a:cxnLst>
                <a:cxn ang="0">
                  <a:pos x="wd2" y="hd2"/>
                </a:cxn>
                <a:cxn ang="5400000">
                  <a:pos x="wd2" y="hd2"/>
                </a:cxn>
                <a:cxn ang="10800000">
                  <a:pos x="wd2" y="hd2"/>
                </a:cxn>
                <a:cxn ang="16200000">
                  <a:pos x="wd2" y="hd2"/>
                </a:cxn>
              </a:cxnLst>
              <a:rect l="0" t="0" r="r" b="b"/>
              <a:pathLst>
                <a:path w="21600" h="20863" extrusionOk="0">
                  <a:moveTo>
                    <a:pt x="17211" y="4823"/>
                  </a:moveTo>
                  <a:cubicBezTo>
                    <a:pt x="17211" y="5671"/>
                    <a:pt x="17211" y="6124"/>
                    <a:pt x="17211" y="6519"/>
                  </a:cubicBezTo>
                  <a:cubicBezTo>
                    <a:pt x="17673" y="7424"/>
                    <a:pt x="18077" y="7820"/>
                    <a:pt x="19001" y="7820"/>
                  </a:cubicBezTo>
                  <a:cubicBezTo>
                    <a:pt x="19405" y="7820"/>
                    <a:pt x="20272" y="7424"/>
                    <a:pt x="20734" y="7424"/>
                  </a:cubicBezTo>
                  <a:cubicBezTo>
                    <a:pt x="21196" y="7424"/>
                    <a:pt x="21196" y="7820"/>
                    <a:pt x="21600" y="7820"/>
                  </a:cubicBezTo>
                  <a:cubicBezTo>
                    <a:pt x="21196" y="9120"/>
                    <a:pt x="21196" y="10421"/>
                    <a:pt x="20272" y="11269"/>
                  </a:cubicBezTo>
                  <a:cubicBezTo>
                    <a:pt x="19867" y="11722"/>
                    <a:pt x="19001" y="11269"/>
                    <a:pt x="18539" y="11269"/>
                  </a:cubicBezTo>
                  <a:cubicBezTo>
                    <a:pt x="17673" y="11722"/>
                    <a:pt x="17673" y="13022"/>
                    <a:pt x="16749" y="13022"/>
                  </a:cubicBezTo>
                  <a:cubicBezTo>
                    <a:pt x="15882" y="13474"/>
                    <a:pt x="14554" y="12570"/>
                    <a:pt x="13226" y="13474"/>
                  </a:cubicBezTo>
                  <a:cubicBezTo>
                    <a:pt x="12359" y="13474"/>
                    <a:pt x="12821" y="14718"/>
                    <a:pt x="11897" y="15171"/>
                  </a:cubicBezTo>
                  <a:cubicBezTo>
                    <a:pt x="11031" y="16019"/>
                    <a:pt x="9298" y="16019"/>
                    <a:pt x="7970" y="16924"/>
                  </a:cubicBezTo>
                  <a:cubicBezTo>
                    <a:pt x="7970" y="17319"/>
                    <a:pt x="8374" y="17772"/>
                    <a:pt x="8374" y="18168"/>
                  </a:cubicBezTo>
                  <a:cubicBezTo>
                    <a:pt x="7970" y="19072"/>
                    <a:pt x="7970" y="20373"/>
                    <a:pt x="6642" y="20769"/>
                  </a:cubicBezTo>
                  <a:cubicBezTo>
                    <a:pt x="6180" y="21221"/>
                    <a:pt x="5313" y="19920"/>
                    <a:pt x="4851" y="19468"/>
                  </a:cubicBezTo>
                  <a:cubicBezTo>
                    <a:pt x="4389" y="18168"/>
                    <a:pt x="4389" y="16924"/>
                    <a:pt x="3985" y="16019"/>
                  </a:cubicBezTo>
                  <a:cubicBezTo>
                    <a:pt x="3119" y="14718"/>
                    <a:pt x="1328" y="14718"/>
                    <a:pt x="866" y="13870"/>
                  </a:cubicBezTo>
                  <a:cubicBezTo>
                    <a:pt x="0" y="12570"/>
                    <a:pt x="0" y="10873"/>
                    <a:pt x="0" y="9120"/>
                  </a:cubicBezTo>
                  <a:cubicBezTo>
                    <a:pt x="866" y="9120"/>
                    <a:pt x="2195" y="9120"/>
                    <a:pt x="3119" y="8272"/>
                  </a:cubicBezTo>
                  <a:cubicBezTo>
                    <a:pt x="3523" y="7424"/>
                    <a:pt x="2195" y="6519"/>
                    <a:pt x="2195" y="5671"/>
                  </a:cubicBezTo>
                  <a:cubicBezTo>
                    <a:pt x="2657" y="3918"/>
                    <a:pt x="3985" y="2618"/>
                    <a:pt x="4851" y="1374"/>
                  </a:cubicBezTo>
                  <a:cubicBezTo>
                    <a:pt x="5718" y="1770"/>
                    <a:pt x="6180" y="2618"/>
                    <a:pt x="7046" y="3070"/>
                  </a:cubicBezTo>
                  <a:cubicBezTo>
                    <a:pt x="7508" y="3070"/>
                    <a:pt x="7970" y="2618"/>
                    <a:pt x="8374" y="2222"/>
                  </a:cubicBezTo>
                  <a:cubicBezTo>
                    <a:pt x="8836" y="1374"/>
                    <a:pt x="7970" y="-379"/>
                    <a:pt x="8374" y="73"/>
                  </a:cubicBezTo>
                  <a:cubicBezTo>
                    <a:pt x="10165" y="469"/>
                    <a:pt x="10569" y="1770"/>
                    <a:pt x="11897" y="3070"/>
                  </a:cubicBezTo>
                  <a:cubicBezTo>
                    <a:pt x="11493" y="4371"/>
                    <a:pt x="11031" y="6519"/>
                    <a:pt x="11031" y="8668"/>
                  </a:cubicBezTo>
                  <a:cubicBezTo>
                    <a:pt x="11897" y="8668"/>
                    <a:pt x="14554" y="6972"/>
                    <a:pt x="17211" y="482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4" name="Shape 2509">
              <a:extLst>
                <a:ext uri="{FF2B5EF4-FFF2-40B4-BE49-F238E27FC236}">
                  <a16:creationId xmlns:a16="http://schemas.microsoft.com/office/drawing/2014/main" id="{71328FC2-DC23-A65C-2C9E-7F0D1D9D7F05}"/>
                </a:ext>
              </a:extLst>
            </p:cNvPr>
            <p:cNvSpPr/>
            <p:nvPr/>
          </p:nvSpPr>
          <p:spPr>
            <a:xfrm>
              <a:off x="893370" y="4473608"/>
              <a:ext cx="270202" cy="229550"/>
            </a:xfrm>
            <a:custGeom>
              <a:avLst/>
              <a:gdLst/>
              <a:ahLst/>
              <a:cxnLst>
                <a:cxn ang="0">
                  <a:pos x="wd2" y="hd2"/>
                </a:cxn>
                <a:cxn ang="5400000">
                  <a:pos x="wd2" y="hd2"/>
                </a:cxn>
                <a:cxn ang="10800000">
                  <a:pos x="wd2" y="hd2"/>
                </a:cxn>
                <a:cxn ang="16200000">
                  <a:pos x="wd2" y="hd2"/>
                </a:cxn>
              </a:cxnLst>
              <a:rect l="0" t="0" r="r" b="b"/>
              <a:pathLst>
                <a:path w="21600" h="21412" extrusionOk="0">
                  <a:moveTo>
                    <a:pt x="8241" y="20910"/>
                  </a:moveTo>
                  <a:cubicBezTo>
                    <a:pt x="8645" y="20690"/>
                    <a:pt x="9049" y="20690"/>
                    <a:pt x="9265" y="20439"/>
                  </a:cubicBezTo>
                  <a:cubicBezTo>
                    <a:pt x="9480" y="19968"/>
                    <a:pt x="8861" y="19497"/>
                    <a:pt x="9049" y="19246"/>
                  </a:cubicBezTo>
                  <a:cubicBezTo>
                    <a:pt x="9049" y="18995"/>
                    <a:pt x="9669" y="18995"/>
                    <a:pt x="9884" y="18995"/>
                  </a:cubicBezTo>
                  <a:cubicBezTo>
                    <a:pt x="10288" y="18995"/>
                    <a:pt x="10692" y="19717"/>
                    <a:pt x="11123" y="19717"/>
                  </a:cubicBezTo>
                  <a:cubicBezTo>
                    <a:pt x="11527" y="19497"/>
                    <a:pt x="11527" y="18775"/>
                    <a:pt x="11931" y="18524"/>
                  </a:cubicBezTo>
                  <a:cubicBezTo>
                    <a:pt x="12955" y="18053"/>
                    <a:pt x="14194" y="18272"/>
                    <a:pt x="15217" y="17550"/>
                  </a:cubicBezTo>
                  <a:cubicBezTo>
                    <a:pt x="15432" y="17550"/>
                    <a:pt x="14813" y="17079"/>
                    <a:pt x="15028" y="17079"/>
                  </a:cubicBezTo>
                  <a:cubicBezTo>
                    <a:pt x="15836" y="16609"/>
                    <a:pt x="16456" y="16357"/>
                    <a:pt x="17291" y="16357"/>
                  </a:cubicBezTo>
                  <a:cubicBezTo>
                    <a:pt x="18099" y="16609"/>
                    <a:pt x="18530" y="17331"/>
                    <a:pt x="19338" y="17802"/>
                  </a:cubicBezTo>
                  <a:cubicBezTo>
                    <a:pt x="19742" y="17802"/>
                    <a:pt x="20361" y="17802"/>
                    <a:pt x="20792" y="17331"/>
                  </a:cubicBezTo>
                  <a:cubicBezTo>
                    <a:pt x="20981" y="16860"/>
                    <a:pt x="20361" y="16357"/>
                    <a:pt x="20361" y="15886"/>
                  </a:cubicBezTo>
                  <a:cubicBezTo>
                    <a:pt x="20577" y="14913"/>
                    <a:pt x="21196" y="14191"/>
                    <a:pt x="21600" y="13500"/>
                  </a:cubicBezTo>
                  <a:cubicBezTo>
                    <a:pt x="21385" y="13249"/>
                    <a:pt x="21385" y="12998"/>
                    <a:pt x="21196" y="12778"/>
                  </a:cubicBezTo>
                  <a:cubicBezTo>
                    <a:pt x="20361" y="12527"/>
                    <a:pt x="19338" y="13249"/>
                    <a:pt x="18718" y="12527"/>
                  </a:cubicBezTo>
                  <a:cubicBezTo>
                    <a:pt x="18099" y="12276"/>
                    <a:pt x="18099" y="11334"/>
                    <a:pt x="18099" y="10863"/>
                  </a:cubicBezTo>
                  <a:cubicBezTo>
                    <a:pt x="18314" y="9890"/>
                    <a:pt x="19553" y="9168"/>
                    <a:pt x="19338" y="7975"/>
                  </a:cubicBezTo>
                  <a:cubicBezTo>
                    <a:pt x="19338" y="6782"/>
                    <a:pt x="18314" y="5809"/>
                    <a:pt x="17910" y="4615"/>
                  </a:cubicBezTo>
                  <a:cubicBezTo>
                    <a:pt x="17695" y="4145"/>
                    <a:pt x="17695" y="3422"/>
                    <a:pt x="17479" y="2920"/>
                  </a:cubicBezTo>
                  <a:cubicBezTo>
                    <a:pt x="17291" y="2449"/>
                    <a:pt x="17075" y="2229"/>
                    <a:pt x="16887" y="1727"/>
                  </a:cubicBezTo>
                  <a:cubicBezTo>
                    <a:pt x="16671" y="1256"/>
                    <a:pt x="16671" y="534"/>
                    <a:pt x="16267" y="314"/>
                  </a:cubicBezTo>
                  <a:cubicBezTo>
                    <a:pt x="15836" y="-188"/>
                    <a:pt x="15432" y="63"/>
                    <a:pt x="15028" y="63"/>
                  </a:cubicBezTo>
                  <a:cubicBezTo>
                    <a:pt x="14409" y="314"/>
                    <a:pt x="13790" y="314"/>
                    <a:pt x="13170" y="534"/>
                  </a:cubicBezTo>
                  <a:lnTo>
                    <a:pt x="11527" y="1978"/>
                  </a:lnTo>
                  <a:cubicBezTo>
                    <a:pt x="11312" y="1978"/>
                    <a:pt x="9884" y="1507"/>
                    <a:pt x="9884" y="1507"/>
                  </a:cubicBezTo>
                  <a:cubicBezTo>
                    <a:pt x="9884" y="1727"/>
                    <a:pt x="10288" y="1978"/>
                    <a:pt x="10100" y="1978"/>
                  </a:cubicBezTo>
                  <a:cubicBezTo>
                    <a:pt x="9480" y="2229"/>
                    <a:pt x="8861" y="1978"/>
                    <a:pt x="8026" y="1978"/>
                  </a:cubicBezTo>
                  <a:cubicBezTo>
                    <a:pt x="7622" y="1727"/>
                    <a:pt x="7002" y="1036"/>
                    <a:pt x="6383" y="1256"/>
                  </a:cubicBezTo>
                  <a:cubicBezTo>
                    <a:pt x="5764" y="1507"/>
                    <a:pt x="5764" y="2700"/>
                    <a:pt x="5144" y="2920"/>
                  </a:cubicBezTo>
                  <a:cubicBezTo>
                    <a:pt x="4525" y="3171"/>
                    <a:pt x="4121" y="2700"/>
                    <a:pt x="3501" y="2700"/>
                  </a:cubicBezTo>
                  <a:cubicBezTo>
                    <a:pt x="2693" y="2449"/>
                    <a:pt x="1643" y="2700"/>
                    <a:pt x="835" y="2700"/>
                  </a:cubicBezTo>
                  <a:cubicBezTo>
                    <a:pt x="1023" y="3422"/>
                    <a:pt x="1239" y="4145"/>
                    <a:pt x="1239" y="4615"/>
                  </a:cubicBezTo>
                  <a:cubicBezTo>
                    <a:pt x="1239" y="5086"/>
                    <a:pt x="1023" y="5809"/>
                    <a:pt x="1023" y="6279"/>
                  </a:cubicBezTo>
                  <a:cubicBezTo>
                    <a:pt x="619" y="7002"/>
                    <a:pt x="404" y="7975"/>
                    <a:pt x="0" y="8697"/>
                  </a:cubicBezTo>
                  <a:cubicBezTo>
                    <a:pt x="404" y="9419"/>
                    <a:pt x="619" y="10361"/>
                    <a:pt x="1023" y="11083"/>
                  </a:cubicBezTo>
                  <a:cubicBezTo>
                    <a:pt x="1858" y="12276"/>
                    <a:pt x="3501" y="12778"/>
                    <a:pt x="3905" y="14191"/>
                  </a:cubicBezTo>
                  <a:cubicBezTo>
                    <a:pt x="4336" y="16609"/>
                    <a:pt x="3286" y="18995"/>
                    <a:pt x="3097" y="21412"/>
                  </a:cubicBezTo>
                  <a:cubicBezTo>
                    <a:pt x="4525" y="20690"/>
                    <a:pt x="5979" y="19497"/>
                    <a:pt x="7406" y="19497"/>
                  </a:cubicBezTo>
                  <a:cubicBezTo>
                    <a:pt x="7810" y="19246"/>
                    <a:pt x="7810" y="20439"/>
                    <a:pt x="8241" y="2091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5" name="Shape 2510">
              <a:extLst>
                <a:ext uri="{FF2B5EF4-FFF2-40B4-BE49-F238E27FC236}">
                  <a16:creationId xmlns:a16="http://schemas.microsoft.com/office/drawing/2014/main" id="{05F81C43-611D-140D-9ADE-F4516B7DE490}"/>
                </a:ext>
              </a:extLst>
            </p:cNvPr>
            <p:cNvSpPr/>
            <p:nvPr/>
          </p:nvSpPr>
          <p:spPr>
            <a:xfrm>
              <a:off x="1104448" y="4484969"/>
              <a:ext cx="121554" cy="143861"/>
            </a:xfrm>
            <a:custGeom>
              <a:avLst/>
              <a:gdLst/>
              <a:ahLst/>
              <a:cxnLst>
                <a:cxn ang="0">
                  <a:pos x="wd2" y="hd2"/>
                </a:cxn>
                <a:cxn ang="5400000">
                  <a:pos x="wd2" y="hd2"/>
                </a:cxn>
                <a:cxn ang="10800000">
                  <a:pos x="wd2" y="hd2"/>
                </a:cxn>
                <a:cxn ang="16200000">
                  <a:pos x="wd2" y="hd2"/>
                </a:cxn>
              </a:cxnLst>
              <a:rect l="0" t="0" r="r" b="b"/>
              <a:pathLst>
                <a:path w="21600" h="21600" extrusionOk="0">
                  <a:moveTo>
                    <a:pt x="17870" y="21600"/>
                  </a:moveTo>
                  <a:cubicBezTo>
                    <a:pt x="16486" y="20437"/>
                    <a:pt x="16065" y="19273"/>
                    <a:pt x="14199" y="18919"/>
                  </a:cubicBezTo>
                  <a:cubicBezTo>
                    <a:pt x="13778" y="18514"/>
                    <a:pt x="14681" y="20082"/>
                    <a:pt x="14199" y="20841"/>
                  </a:cubicBezTo>
                  <a:cubicBezTo>
                    <a:pt x="13778" y="21195"/>
                    <a:pt x="13297" y="21600"/>
                    <a:pt x="12816" y="21600"/>
                  </a:cubicBezTo>
                  <a:cubicBezTo>
                    <a:pt x="11913" y="21195"/>
                    <a:pt x="11432" y="20437"/>
                    <a:pt x="10529" y="20082"/>
                  </a:cubicBezTo>
                  <a:cubicBezTo>
                    <a:pt x="10048" y="19678"/>
                    <a:pt x="10048" y="19273"/>
                    <a:pt x="9627" y="18919"/>
                  </a:cubicBezTo>
                  <a:cubicBezTo>
                    <a:pt x="7762" y="18514"/>
                    <a:pt x="5475" y="19678"/>
                    <a:pt x="4091" y="18514"/>
                  </a:cubicBezTo>
                  <a:cubicBezTo>
                    <a:pt x="2708" y="18110"/>
                    <a:pt x="2708" y="16592"/>
                    <a:pt x="2708" y="15833"/>
                  </a:cubicBezTo>
                  <a:cubicBezTo>
                    <a:pt x="3189" y="14265"/>
                    <a:pt x="5957" y="13102"/>
                    <a:pt x="5475" y="11179"/>
                  </a:cubicBezTo>
                  <a:cubicBezTo>
                    <a:pt x="5475" y="9257"/>
                    <a:pt x="3189" y="7689"/>
                    <a:pt x="2286" y="5767"/>
                  </a:cubicBezTo>
                  <a:cubicBezTo>
                    <a:pt x="1805" y="5008"/>
                    <a:pt x="1805" y="3844"/>
                    <a:pt x="1324" y="3035"/>
                  </a:cubicBezTo>
                  <a:cubicBezTo>
                    <a:pt x="903" y="2276"/>
                    <a:pt x="421" y="1922"/>
                    <a:pt x="0" y="1113"/>
                  </a:cubicBezTo>
                  <a:cubicBezTo>
                    <a:pt x="1324" y="759"/>
                    <a:pt x="2286" y="354"/>
                    <a:pt x="3670" y="759"/>
                  </a:cubicBezTo>
                  <a:cubicBezTo>
                    <a:pt x="4091" y="759"/>
                    <a:pt x="4091" y="1518"/>
                    <a:pt x="4573" y="1113"/>
                  </a:cubicBezTo>
                  <a:cubicBezTo>
                    <a:pt x="5054" y="1113"/>
                    <a:pt x="5054" y="354"/>
                    <a:pt x="5475" y="354"/>
                  </a:cubicBezTo>
                  <a:cubicBezTo>
                    <a:pt x="6378" y="0"/>
                    <a:pt x="7340" y="0"/>
                    <a:pt x="8243" y="0"/>
                  </a:cubicBezTo>
                  <a:cubicBezTo>
                    <a:pt x="8243" y="354"/>
                    <a:pt x="8243" y="1113"/>
                    <a:pt x="8724" y="1922"/>
                  </a:cubicBezTo>
                  <a:cubicBezTo>
                    <a:pt x="9145" y="2681"/>
                    <a:pt x="9627" y="3440"/>
                    <a:pt x="10529" y="3440"/>
                  </a:cubicBezTo>
                  <a:cubicBezTo>
                    <a:pt x="11011" y="3440"/>
                    <a:pt x="11432" y="2681"/>
                    <a:pt x="11913" y="2276"/>
                  </a:cubicBezTo>
                  <a:cubicBezTo>
                    <a:pt x="11913" y="2276"/>
                    <a:pt x="11913" y="3844"/>
                    <a:pt x="12394" y="3844"/>
                  </a:cubicBezTo>
                  <a:cubicBezTo>
                    <a:pt x="12394" y="3440"/>
                    <a:pt x="14199" y="2681"/>
                    <a:pt x="14199" y="2681"/>
                  </a:cubicBezTo>
                  <a:cubicBezTo>
                    <a:pt x="14681" y="3035"/>
                    <a:pt x="15162" y="3440"/>
                    <a:pt x="15583" y="3440"/>
                  </a:cubicBezTo>
                  <a:cubicBezTo>
                    <a:pt x="16486" y="3440"/>
                    <a:pt x="17448" y="2276"/>
                    <a:pt x="17870" y="2681"/>
                  </a:cubicBezTo>
                  <a:cubicBezTo>
                    <a:pt x="18832" y="2681"/>
                    <a:pt x="19253" y="3440"/>
                    <a:pt x="20216" y="3844"/>
                  </a:cubicBezTo>
                  <a:cubicBezTo>
                    <a:pt x="19253" y="4199"/>
                    <a:pt x="18832" y="4603"/>
                    <a:pt x="18351" y="5008"/>
                  </a:cubicBezTo>
                  <a:cubicBezTo>
                    <a:pt x="17870" y="5362"/>
                    <a:pt x="18351" y="5767"/>
                    <a:pt x="18351" y="6171"/>
                  </a:cubicBezTo>
                  <a:cubicBezTo>
                    <a:pt x="18351" y="6526"/>
                    <a:pt x="19253" y="6930"/>
                    <a:pt x="19253" y="7284"/>
                  </a:cubicBezTo>
                  <a:cubicBezTo>
                    <a:pt x="18832" y="8852"/>
                    <a:pt x="17870" y="10016"/>
                    <a:pt x="17870" y="11584"/>
                  </a:cubicBezTo>
                  <a:cubicBezTo>
                    <a:pt x="17870" y="11938"/>
                    <a:pt x="19253" y="11938"/>
                    <a:pt x="19253" y="12343"/>
                  </a:cubicBezTo>
                  <a:cubicBezTo>
                    <a:pt x="20216" y="13506"/>
                    <a:pt x="20637" y="15024"/>
                    <a:pt x="21600" y="16187"/>
                  </a:cubicBezTo>
                  <a:cubicBezTo>
                    <a:pt x="19735" y="17756"/>
                    <a:pt x="18351" y="19273"/>
                    <a:pt x="17870"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6" name="Shape 2511">
              <a:extLst>
                <a:ext uri="{FF2B5EF4-FFF2-40B4-BE49-F238E27FC236}">
                  <a16:creationId xmlns:a16="http://schemas.microsoft.com/office/drawing/2014/main" id="{548C6A90-64E3-23C4-530F-C4CF4D2DA01C}"/>
                </a:ext>
              </a:extLst>
            </p:cNvPr>
            <p:cNvSpPr/>
            <p:nvPr/>
          </p:nvSpPr>
          <p:spPr>
            <a:xfrm>
              <a:off x="621754" y="4536186"/>
              <a:ext cx="322173" cy="192245"/>
            </a:xfrm>
            <a:custGeom>
              <a:avLst/>
              <a:gdLst/>
              <a:ahLst/>
              <a:cxnLst>
                <a:cxn ang="0">
                  <a:pos x="wd2" y="hd2"/>
                </a:cxn>
                <a:cxn ang="5400000">
                  <a:pos x="wd2" y="hd2"/>
                </a:cxn>
                <a:cxn ang="10800000">
                  <a:pos x="wd2" y="hd2"/>
                </a:cxn>
                <a:cxn ang="16200000">
                  <a:pos x="wd2" y="hd2"/>
                </a:cxn>
              </a:cxnLst>
              <a:rect l="0" t="0" r="r" b="b"/>
              <a:pathLst>
                <a:path w="21109" h="21525" extrusionOk="0">
                  <a:moveTo>
                    <a:pt x="17822" y="3393"/>
                  </a:moveTo>
                  <a:cubicBezTo>
                    <a:pt x="18153" y="4260"/>
                    <a:pt x="18330" y="5391"/>
                    <a:pt x="18661" y="6258"/>
                  </a:cubicBezTo>
                  <a:cubicBezTo>
                    <a:pt x="19346" y="7690"/>
                    <a:pt x="20693" y="8294"/>
                    <a:pt x="21025" y="9990"/>
                  </a:cubicBezTo>
                  <a:cubicBezTo>
                    <a:pt x="21378" y="12893"/>
                    <a:pt x="20517" y="15757"/>
                    <a:pt x="20362" y="18660"/>
                  </a:cubicBezTo>
                  <a:cubicBezTo>
                    <a:pt x="16298" y="21525"/>
                    <a:pt x="16298" y="21525"/>
                    <a:pt x="16298" y="21525"/>
                  </a:cubicBezTo>
                  <a:cubicBezTo>
                    <a:pt x="15636" y="20658"/>
                    <a:pt x="14796" y="19527"/>
                    <a:pt x="13957" y="18924"/>
                  </a:cubicBezTo>
                  <a:cubicBezTo>
                    <a:pt x="13604" y="18660"/>
                    <a:pt x="13272" y="18359"/>
                    <a:pt x="13096" y="18359"/>
                  </a:cubicBezTo>
                  <a:cubicBezTo>
                    <a:pt x="12941" y="18660"/>
                    <a:pt x="13096" y="18924"/>
                    <a:pt x="12941" y="19226"/>
                  </a:cubicBezTo>
                  <a:cubicBezTo>
                    <a:pt x="12588" y="19226"/>
                    <a:pt x="12257" y="19226"/>
                    <a:pt x="11925" y="19226"/>
                  </a:cubicBezTo>
                  <a:cubicBezTo>
                    <a:pt x="11594" y="19226"/>
                    <a:pt x="11417" y="18359"/>
                    <a:pt x="11086" y="18660"/>
                  </a:cubicBezTo>
                  <a:cubicBezTo>
                    <a:pt x="10733" y="18924"/>
                    <a:pt x="10909" y="20356"/>
                    <a:pt x="10401" y="20356"/>
                  </a:cubicBezTo>
                  <a:cubicBezTo>
                    <a:pt x="9893" y="20093"/>
                    <a:pt x="10070" y="18359"/>
                    <a:pt x="9562" y="18057"/>
                  </a:cubicBezTo>
                  <a:cubicBezTo>
                    <a:pt x="9054" y="17793"/>
                    <a:pt x="8546" y="18660"/>
                    <a:pt x="8038" y="18660"/>
                  </a:cubicBezTo>
                  <a:cubicBezTo>
                    <a:pt x="7884" y="18660"/>
                    <a:pt x="7530" y="18660"/>
                    <a:pt x="7376" y="18359"/>
                  </a:cubicBezTo>
                  <a:cubicBezTo>
                    <a:pt x="7022" y="18057"/>
                    <a:pt x="7022" y="17491"/>
                    <a:pt x="6691" y="17491"/>
                  </a:cubicBezTo>
                  <a:cubicBezTo>
                    <a:pt x="6183" y="17491"/>
                    <a:pt x="5520" y="18057"/>
                    <a:pt x="5012" y="18359"/>
                  </a:cubicBezTo>
                  <a:cubicBezTo>
                    <a:pt x="4504" y="18660"/>
                    <a:pt x="4151" y="18924"/>
                    <a:pt x="3643" y="18660"/>
                  </a:cubicBezTo>
                  <a:cubicBezTo>
                    <a:pt x="3157" y="18660"/>
                    <a:pt x="2649" y="18359"/>
                    <a:pt x="2141" y="18057"/>
                  </a:cubicBezTo>
                  <a:cubicBezTo>
                    <a:pt x="1965" y="18057"/>
                    <a:pt x="1810" y="17793"/>
                    <a:pt x="1457" y="17491"/>
                  </a:cubicBezTo>
                  <a:cubicBezTo>
                    <a:pt x="1633" y="16624"/>
                    <a:pt x="2141" y="15757"/>
                    <a:pt x="1965" y="14627"/>
                  </a:cubicBezTo>
                  <a:cubicBezTo>
                    <a:pt x="1810" y="13194"/>
                    <a:pt x="949" y="11724"/>
                    <a:pt x="617" y="10291"/>
                  </a:cubicBezTo>
                  <a:cubicBezTo>
                    <a:pt x="617" y="9726"/>
                    <a:pt x="1302" y="9424"/>
                    <a:pt x="1302" y="8859"/>
                  </a:cubicBezTo>
                  <a:cubicBezTo>
                    <a:pt x="1125" y="8294"/>
                    <a:pt x="463" y="7992"/>
                    <a:pt x="286" y="7125"/>
                  </a:cubicBezTo>
                  <a:cubicBezTo>
                    <a:pt x="109" y="6258"/>
                    <a:pt x="463" y="5391"/>
                    <a:pt x="463" y="4524"/>
                  </a:cubicBezTo>
                  <a:cubicBezTo>
                    <a:pt x="286" y="3695"/>
                    <a:pt x="-222" y="2526"/>
                    <a:pt x="109" y="1659"/>
                  </a:cubicBezTo>
                  <a:cubicBezTo>
                    <a:pt x="286" y="1094"/>
                    <a:pt x="794" y="792"/>
                    <a:pt x="1302" y="490"/>
                  </a:cubicBezTo>
                  <a:cubicBezTo>
                    <a:pt x="1810" y="1094"/>
                    <a:pt x="2472" y="1659"/>
                    <a:pt x="2980" y="1961"/>
                  </a:cubicBezTo>
                  <a:cubicBezTo>
                    <a:pt x="3488" y="2224"/>
                    <a:pt x="3996" y="2526"/>
                    <a:pt x="4504" y="2224"/>
                  </a:cubicBezTo>
                  <a:cubicBezTo>
                    <a:pt x="5167" y="1961"/>
                    <a:pt x="5675" y="227"/>
                    <a:pt x="6536" y="227"/>
                  </a:cubicBezTo>
                  <a:cubicBezTo>
                    <a:pt x="7022" y="-75"/>
                    <a:pt x="7376" y="1659"/>
                    <a:pt x="8038" y="1659"/>
                  </a:cubicBezTo>
                  <a:cubicBezTo>
                    <a:pt x="8215" y="1659"/>
                    <a:pt x="8038" y="490"/>
                    <a:pt x="8215" y="227"/>
                  </a:cubicBezTo>
                  <a:cubicBezTo>
                    <a:pt x="8215" y="-75"/>
                    <a:pt x="8546" y="-75"/>
                    <a:pt x="8723" y="227"/>
                  </a:cubicBezTo>
                  <a:cubicBezTo>
                    <a:pt x="9231" y="1357"/>
                    <a:pt x="9562" y="2828"/>
                    <a:pt x="10070" y="3959"/>
                  </a:cubicBezTo>
                  <a:cubicBezTo>
                    <a:pt x="10401" y="4524"/>
                    <a:pt x="10909" y="5391"/>
                    <a:pt x="11417" y="5391"/>
                  </a:cubicBezTo>
                  <a:cubicBezTo>
                    <a:pt x="11925" y="5391"/>
                    <a:pt x="12433" y="4826"/>
                    <a:pt x="12765" y="4260"/>
                  </a:cubicBezTo>
                  <a:cubicBezTo>
                    <a:pt x="13449" y="3959"/>
                    <a:pt x="13957" y="3091"/>
                    <a:pt x="14443" y="2828"/>
                  </a:cubicBezTo>
                  <a:cubicBezTo>
                    <a:pt x="14796" y="2828"/>
                    <a:pt x="15128" y="3393"/>
                    <a:pt x="15459" y="3393"/>
                  </a:cubicBezTo>
                  <a:cubicBezTo>
                    <a:pt x="15636" y="3393"/>
                    <a:pt x="15790" y="2828"/>
                    <a:pt x="15967" y="2828"/>
                  </a:cubicBezTo>
                  <a:cubicBezTo>
                    <a:pt x="16652" y="2828"/>
                    <a:pt x="17314" y="3091"/>
                    <a:pt x="17822" y="339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7" name="Shape 2512">
              <a:extLst>
                <a:ext uri="{FF2B5EF4-FFF2-40B4-BE49-F238E27FC236}">
                  <a16:creationId xmlns:a16="http://schemas.microsoft.com/office/drawing/2014/main" id="{6F2D5248-78EA-74E5-7B71-4A67A4E635F9}"/>
                </a:ext>
              </a:extLst>
            </p:cNvPr>
            <p:cNvSpPr/>
            <p:nvPr/>
          </p:nvSpPr>
          <p:spPr>
            <a:xfrm>
              <a:off x="640668" y="4348204"/>
              <a:ext cx="273175" cy="236029"/>
            </a:xfrm>
            <a:custGeom>
              <a:avLst/>
              <a:gdLst/>
              <a:ahLst/>
              <a:cxnLst>
                <a:cxn ang="0">
                  <a:pos x="wd2" y="hd2"/>
                </a:cxn>
                <a:cxn ang="5400000">
                  <a:pos x="wd2" y="hd2"/>
                </a:cxn>
                <a:cxn ang="10800000">
                  <a:pos x="wd2" y="hd2"/>
                </a:cxn>
                <a:cxn ang="16200000">
                  <a:pos x="wd2" y="hd2"/>
                </a:cxn>
              </a:cxnLst>
              <a:rect l="0" t="0" r="r" b="b"/>
              <a:pathLst>
                <a:path w="21600" h="21600" extrusionOk="0">
                  <a:moveTo>
                    <a:pt x="0" y="17600"/>
                  </a:moveTo>
                  <a:cubicBezTo>
                    <a:pt x="614" y="18092"/>
                    <a:pt x="1415" y="18554"/>
                    <a:pt x="2029" y="18800"/>
                  </a:cubicBezTo>
                  <a:cubicBezTo>
                    <a:pt x="2643" y="19015"/>
                    <a:pt x="3257" y="19262"/>
                    <a:pt x="3871" y="19015"/>
                  </a:cubicBezTo>
                  <a:cubicBezTo>
                    <a:pt x="4672" y="18800"/>
                    <a:pt x="5287" y="17385"/>
                    <a:pt x="6328" y="17385"/>
                  </a:cubicBezTo>
                  <a:cubicBezTo>
                    <a:pt x="6915" y="17138"/>
                    <a:pt x="7342" y="18554"/>
                    <a:pt x="8143" y="18554"/>
                  </a:cubicBezTo>
                  <a:cubicBezTo>
                    <a:pt x="8357" y="18554"/>
                    <a:pt x="8143" y="17600"/>
                    <a:pt x="8357" y="17385"/>
                  </a:cubicBezTo>
                  <a:cubicBezTo>
                    <a:pt x="8357" y="17138"/>
                    <a:pt x="8757" y="17138"/>
                    <a:pt x="8971" y="17385"/>
                  </a:cubicBezTo>
                  <a:cubicBezTo>
                    <a:pt x="9585" y="18308"/>
                    <a:pt x="9986" y="19508"/>
                    <a:pt x="10600" y="20431"/>
                  </a:cubicBezTo>
                  <a:cubicBezTo>
                    <a:pt x="11000" y="20892"/>
                    <a:pt x="11614" y="21600"/>
                    <a:pt x="12228" y="21600"/>
                  </a:cubicBezTo>
                  <a:cubicBezTo>
                    <a:pt x="12843" y="21600"/>
                    <a:pt x="13457" y="21138"/>
                    <a:pt x="13857" y="20677"/>
                  </a:cubicBezTo>
                  <a:cubicBezTo>
                    <a:pt x="14685" y="20431"/>
                    <a:pt x="15299" y="19723"/>
                    <a:pt x="15886" y="19508"/>
                  </a:cubicBezTo>
                  <a:cubicBezTo>
                    <a:pt x="16313" y="19508"/>
                    <a:pt x="16714" y="19969"/>
                    <a:pt x="17114" y="19969"/>
                  </a:cubicBezTo>
                  <a:cubicBezTo>
                    <a:pt x="17328" y="19969"/>
                    <a:pt x="17515" y="19508"/>
                    <a:pt x="17729" y="19508"/>
                  </a:cubicBezTo>
                  <a:cubicBezTo>
                    <a:pt x="18556" y="19508"/>
                    <a:pt x="19357" y="19723"/>
                    <a:pt x="19971" y="19969"/>
                  </a:cubicBezTo>
                  <a:cubicBezTo>
                    <a:pt x="20372" y="19262"/>
                    <a:pt x="20585" y="18308"/>
                    <a:pt x="20986" y="17600"/>
                  </a:cubicBezTo>
                  <a:cubicBezTo>
                    <a:pt x="20986" y="17138"/>
                    <a:pt x="21200" y="16431"/>
                    <a:pt x="21200" y="15969"/>
                  </a:cubicBezTo>
                  <a:cubicBezTo>
                    <a:pt x="21200" y="15508"/>
                    <a:pt x="20986" y="14800"/>
                    <a:pt x="20799" y="14092"/>
                  </a:cubicBezTo>
                  <a:cubicBezTo>
                    <a:pt x="20986" y="13385"/>
                    <a:pt x="20986" y="12462"/>
                    <a:pt x="21200" y="11508"/>
                  </a:cubicBezTo>
                  <a:cubicBezTo>
                    <a:pt x="21200" y="11262"/>
                    <a:pt x="21600" y="11046"/>
                    <a:pt x="21600" y="10554"/>
                  </a:cubicBezTo>
                  <a:cubicBezTo>
                    <a:pt x="21413" y="9385"/>
                    <a:pt x="20986" y="8215"/>
                    <a:pt x="20799" y="7262"/>
                  </a:cubicBezTo>
                  <a:cubicBezTo>
                    <a:pt x="20372" y="6338"/>
                    <a:pt x="19971" y="5877"/>
                    <a:pt x="19758" y="5169"/>
                  </a:cubicBezTo>
                  <a:cubicBezTo>
                    <a:pt x="19571" y="4215"/>
                    <a:pt x="19758" y="3508"/>
                    <a:pt x="19758" y="2585"/>
                  </a:cubicBezTo>
                  <a:cubicBezTo>
                    <a:pt x="18343" y="0"/>
                    <a:pt x="18343" y="0"/>
                    <a:pt x="18343" y="0"/>
                  </a:cubicBezTo>
                  <a:cubicBezTo>
                    <a:pt x="18129" y="492"/>
                    <a:pt x="17942" y="954"/>
                    <a:pt x="17515" y="1200"/>
                  </a:cubicBezTo>
                  <a:cubicBezTo>
                    <a:pt x="17114" y="1415"/>
                    <a:pt x="16500" y="1415"/>
                    <a:pt x="15886" y="1415"/>
                  </a:cubicBezTo>
                  <a:cubicBezTo>
                    <a:pt x="15486" y="1415"/>
                    <a:pt x="15299" y="1200"/>
                    <a:pt x="14872" y="954"/>
                  </a:cubicBezTo>
                  <a:cubicBezTo>
                    <a:pt x="14471" y="954"/>
                    <a:pt x="14258" y="954"/>
                    <a:pt x="14071" y="1200"/>
                  </a:cubicBezTo>
                  <a:cubicBezTo>
                    <a:pt x="13644" y="1415"/>
                    <a:pt x="13644" y="2123"/>
                    <a:pt x="13457" y="2369"/>
                  </a:cubicBezTo>
                  <a:cubicBezTo>
                    <a:pt x="13029" y="2585"/>
                    <a:pt x="12629" y="2800"/>
                    <a:pt x="12228" y="2800"/>
                  </a:cubicBezTo>
                  <a:cubicBezTo>
                    <a:pt x="11828" y="2585"/>
                    <a:pt x="11614" y="1662"/>
                    <a:pt x="11214" y="1662"/>
                  </a:cubicBezTo>
                  <a:cubicBezTo>
                    <a:pt x="10173" y="1662"/>
                    <a:pt x="9158" y="2369"/>
                    <a:pt x="8357" y="2800"/>
                  </a:cubicBezTo>
                  <a:cubicBezTo>
                    <a:pt x="8544" y="3292"/>
                    <a:pt x="8757" y="3754"/>
                    <a:pt x="8971" y="4215"/>
                  </a:cubicBezTo>
                  <a:cubicBezTo>
                    <a:pt x="9158" y="4923"/>
                    <a:pt x="9158" y="5631"/>
                    <a:pt x="8971" y="6338"/>
                  </a:cubicBezTo>
                  <a:cubicBezTo>
                    <a:pt x="8757" y="6800"/>
                    <a:pt x="8143" y="6338"/>
                    <a:pt x="8143" y="6554"/>
                  </a:cubicBezTo>
                  <a:cubicBezTo>
                    <a:pt x="7529" y="7262"/>
                    <a:pt x="7956" y="8677"/>
                    <a:pt x="7342" y="8923"/>
                  </a:cubicBezTo>
                  <a:cubicBezTo>
                    <a:pt x="6328" y="9138"/>
                    <a:pt x="5500" y="7969"/>
                    <a:pt x="4672" y="7754"/>
                  </a:cubicBezTo>
                  <a:cubicBezTo>
                    <a:pt x="4272" y="7754"/>
                    <a:pt x="4058" y="7754"/>
                    <a:pt x="3871" y="7969"/>
                  </a:cubicBezTo>
                  <a:cubicBezTo>
                    <a:pt x="3658" y="8431"/>
                    <a:pt x="4058" y="9138"/>
                    <a:pt x="3871" y="9631"/>
                  </a:cubicBezTo>
                  <a:cubicBezTo>
                    <a:pt x="3658" y="10338"/>
                    <a:pt x="3257" y="10554"/>
                    <a:pt x="2830" y="11046"/>
                  </a:cubicBezTo>
                  <a:cubicBezTo>
                    <a:pt x="2643" y="11508"/>
                    <a:pt x="2243" y="11969"/>
                    <a:pt x="2243" y="12677"/>
                  </a:cubicBezTo>
                  <a:cubicBezTo>
                    <a:pt x="2243" y="13138"/>
                    <a:pt x="3044" y="13385"/>
                    <a:pt x="3257" y="14092"/>
                  </a:cubicBezTo>
                  <a:cubicBezTo>
                    <a:pt x="3257" y="14308"/>
                    <a:pt x="3044" y="14800"/>
                    <a:pt x="2643" y="15015"/>
                  </a:cubicBezTo>
                  <a:cubicBezTo>
                    <a:pt x="2430" y="15015"/>
                    <a:pt x="2029" y="15015"/>
                    <a:pt x="1629" y="15015"/>
                  </a:cubicBezTo>
                  <a:cubicBezTo>
                    <a:pt x="1415" y="15723"/>
                    <a:pt x="1629" y="16431"/>
                    <a:pt x="1415" y="16892"/>
                  </a:cubicBezTo>
                  <a:cubicBezTo>
                    <a:pt x="1015" y="17385"/>
                    <a:pt x="400" y="17385"/>
                    <a:pt x="0" y="17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8" name="Shape 2513">
              <a:extLst>
                <a:ext uri="{FF2B5EF4-FFF2-40B4-BE49-F238E27FC236}">
                  <a16:creationId xmlns:a16="http://schemas.microsoft.com/office/drawing/2014/main" id="{59BB8D6F-3C8E-41DC-E826-78AA649624FB}"/>
                </a:ext>
              </a:extLst>
            </p:cNvPr>
            <p:cNvSpPr/>
            <p:nvPr/>
          </p:nvSpPr>
          <p:spPr>
            <a:xfrm>
              <a:off x="888732" y="4267942"/>
              <a:ext cx="294164" cy="238568"/>
            </a:xfrm>
            <a:custGeom>
              <a:avLst/>
              <a:gdLst/>
              <a:ahLst/>
              <a:cxnLst>
                <a:cxn ang="0">
                  <a:pos x="wd2" y="hd2"/>
                </a:cxn>
                <a:cxn ang="5400000">
                  <a:pos x="wd2" y="hd2"/>
                </a:cxn>
                <a:cxn ang="10800000">
                  <a:pos x="wd2" y="hd2"/>
                </a:cxn>
                <a:cxn ang="16200000">
                  <a:pos x="wd2" y="hd2"/>
                </a:cxn>
              </a:cxnLst>
              <a:rect l="0" t="0" r="r" b="b"/>
              <a:pathLst>
                <a:path w="21504" h="21296" extrusionOk="0">
                  <a:moveTo>
                    <a:pt x="15698" y="20080"/>
                  </a:moveTo>
                  <a:cubicBezTo>
                    <a:pt x="16239" y="19869"/>
                    <a:pt x="16633" y="19628"/>
                    <a:pt x="17199" y="19869"/>
                  </a:cubicBezTo>
                  <a:cubicBezTo>
                    <a:pt x="17371" y="19869"/>
                    <a:pt x="17371" y="20321"/>
                    <a:pt x="17568" y="20080"/>
                  </a:cubicBezTo>
                  <a:cubicBezTo>
                    <a:pt x="17765" y="20080"/>
                    <a:pt x="17765" y="19628"/>
                    <a:pt x="17937" y="19628"/>
                  </a:cubicBezTo>
                  <a:cubicBezTo>
                    <a:pt x="18306" y="19417"/>
                    <a:pt x="18699" y="19417"/>
                    <a:pt x="19068" y="19417"/>
                  </a:cubicBezTo>
                  <a:cubicBezTo>
                    <a:pt x="18872" y="18725"/>
                    <a:pt x="18134" y="17791"/>
                    <a:pt x="18503" y="17339"/>
                  </a:cubicBezTo>
                  <a:cubicBezTo>
                    <a:pt x="19265" y="16646"/>
                    <a:pt x="20200" y="17339"/>
                    <a:pt x="20938" y="17098"/>
                  </a:cubicBezTo>
                  <a:cubicBezTo>
                    <a:pt x="21332" y="17098"/>
                    <a:pt x="21504" y="16857"/>
                    <a:pt x="21504" y="16646"/>
                  </a:cubicBezTo>
                  <a:cubicBezTo>
                    <a:pt x="21504" y="15953"/>
                    <a:pt x="21135" y="15260"/>
                    <a:pt x="20766" y="14808"/>
                  </a:cubicBezTo>
                  <a:cubicBezTo>
                    <a:pt x="20569" y="14567"/>
                    <a:pt x="20200" y="15019"/>
                    <a:pt x="20003" y="14808"/>
                  </a:cubicBezTo>
                  <a:cubicBezTo>
                    <a:pt x="19807" y="14808"/>
                    <a:pt x="19807" y="14326"/>
                    <a:pt x="19634" y="14326"/>
                  </a:cubicBezTo>
                  <a:cubicBezTo>
                    <a:pt x="19265" y="14115"/>
                    <a:pt x="18872" y="14567"/>
                    <a:pt x="18699" y="14326"/>
                  </a:cubicBezTo>
                  <a:cubicBezTo>
                    <a:pt x="18306" y="13633"/>
                    <a:pt x="18306" y="12489"/>
                    <a:pt x="17937" y="11585"/>
                  </a:cubicBezTo>
                  <a:lnTo>
                    <a:pt x="17765" y="11344"/>
                  </a:lnTo>
                  <a:cubicBezTo>
                    <a:pt x="17765" y="10892"/>
                    <a:pt x="17937" y="10651"/>
                    <a:pt x="18134" y="10199"/>
                  </a:cubicBezTo>
                  <a:cubicBezTo>
                    <a:pt x="18306" y="9536"/>
                    <a:pt x="18503" y="8602"/>
                    <a:pt x="18503" y="7910"/>
                  </a:cubicBezTo>
                  <a:cubicBezTo>
                    <a:pt x="18503" y="7458"/>
                    <a:pt x="18134" y="7458"/>
                    <a:pt x="17937" y="7217"/>
                  </a:cubicBezTo>
                  <a:cubicBezTo>
                    <a:pt x="17199" y="6313"/>
                    <a:pt x="16436" y="5168"/>
                    <a:pt x="15698" y="4234"/>
                  </a:cubicBezTo>
                  <a:cubicBezTo>
                    <a:pt x="15132" y="4023"/>
                    <a:pt x="14566" y="4023"/>
                    <a:pt x="14173" y="3541"/>
                  </a:cubicBezTo>
                  <a:cubicBezTo>
                    <a:pt x="13607" y="2638"/>
                    <a:pt x="13804" y="1011"/>
                    <a:pt x="13238" y="107"/>
                  </a:cubicBezTo>
                  <a:cubicBezTo>
                    <a:pt x="13041" y="-134"/>
                    <a:pt x="12500" y="107"/>
                    <a:pt x="12303" y="107"/>
                  </a:cubicBezTo>
                  <a:cubicBezTo>
                    <a:pt x="11540" y="800"/>
                    <a:pt x="10802" y="1252"/>
                    <a:pt x="9868" y="1704"/>
                  </a:cubicBezTo>
                  <a:cubicBezTo>
                    <a:pt x="9499" y="2186"/>
                    <a:pt x="9105" y="2397"/>
                    <a:pt x="8539" y="2397"/>
                  </a:cubicBezTo>
                  <a:cubicBezTo>
                    <a:pt x="7973" y="2638"/>
                    <a:pt x="7407" y="1945"/>
                    <a:pt x="7038" y="2186"/>
                  </a:cubicBezTo>
                  <a:cubicBezTo>
                    <a:pt x="6669" y="2879"/>
                    <a:pt x="7235" y="3782"/>
                    <a:pt x="7038" y="4475"/>
                  </a:cubicBezTo>
                  <a:cubicBezTo>
                    <a:pt x="6842" y="4716"/>
                    <a:pt x="6276" y="4234"/>
                    <a:pt x="6104" y="4234"/>
                  </a:cubicBezTo>
                  <a:cubicBezTo>
                    <a:pt x="5735" y="4475"/>
                    <a:pt x="5735" y="4927"/>
                    <a:pt x="5538" y="4927"/>
                  </a:cubicBezTo>
                  <a:cubicBezTo>
                    <a:pt x="5169" y="4927"/>
                    <a:pt x="4775" y="4716"/>
                    <a:pt x="4406" y="4716"/>
                  </a:cubicBezTo>
                  <a:cubicBezTo>
                    <a:pt x="4037" y="4927"/>
                    <a:pt x="3840" y="5379"/>
                    <a:pt x="3471" y="5620"/>
                  </a:cubicBezTo>
                  <a:cubicBezTo>
                    <a:pt x="3102" y="5861"/>
                    <a:pt x="2167" y="5620"/>
                    <a:pt x="2167" y="6072"/>
                  </a:cubicBezTo>
                  <a:cubicBezTo>
                    <a:pt x="2340" y="7006"/>
                    <a:pt x="3471" y="7006"/>
                    <a:pt x="3668" y="7910"/>
                  </a:cubicBezTo>
                  <a:cubicBezTo>
                    <a:pt x="3840" y="8151"/>
                    <a:pt x="3274" y="8151"/>
                    <a:pt x="3102" y="8392"/>
                  </a:cubicBezTo>
                  <a:cubicBezTo>
                    <a:pt x="2905" y="8843"/>
                    <a:pt x="3471" y="9747"/>
                    <a:pt x="3102" y="9958"/>
                  </a:cubicBezTo>
                  <a:cubicBezTo>
                    <a:pt x="2536" y="10199"/>
                    <a:pt x="1774" y="9536"/>
                    <a:pt x="1208" y="9536"/>
                  </a:cubicBezTo>
                  <a:cubicBezTo>
                    <a:pt x="839" y="9536"/>
                    <a:pt x="470" y="9747"/>
                    <a:pt x="76" y="9747"/>
                  </a:cubicBezTo>
                  <a:cubicBezTo>
                    <a:pt x="76" y="10651"/>
                    <a:pt x="-96" y="11344"/>
                    <a:pt x="76" y="12278"/>
                  </a:cubicBezTo>
                  <a:cubicBezTo>
                    <a:pt x="273" y="12971"/>
                    <a:pt x="642" y="13422"/>
                    <a:pt x="1036" y="14326"/>
                  </a:cubicBezTo>
                  <a:cubicBezTo>
                    <a:pt x="1208" y="15260"/>
                    <a:pt x="1601" y="16405"/>
                    <a:pt x="1774" y="17550"/>
                  </a:cubicBezTo>
                  <a:cubicBezTo>
                    <a:pt x="1774" y="18032"/>
                    <a:pt x="1405" y="18243"/>
                    <a:pt x="1405" y="18484"/>
                  </a:cubicBezTo>
                  <a:cubicBezTo>
                    <a:pt x="1208" y="19417"/>
                    <a:pt x="1208" y="20321"/>
                    <a:pt x="1036" y="21014"/>
                  </a:cubicBezTo>
                  <a:cubicBezTo>
                    <a:pt x="1774" y="21014"/>
                    <a:pt x="2733" y="20773"/>
                    <a:pt x="3471" y="21014"/>
                  </a:cubicBezTo>
                  <a:cubicBezTo>
                    <a:pt x="4037" y="21014"/>
                    <a:pt x="4406" y="21466"/>
                    <a:pt x="4972" y="21225"/>
                  </a:cubicBezTo>
                  <a:cubicBezTo>
                    <a:pt x="5538" y="21014"/>
                    <a:pt x="5538" y="19869"/>
                    <a:pt x="6104" y="19628"/>
                  </a:cubicBezTo>
                  <a:cubicBezTo>
                    <a:pt x="6669" y="19417"/>
                    <a:pt x="7235" y="20080"/>
                    <a:pt x="7604" y="20321"/>
                  </a:cubicBezTo>
                  <a:cubicBezTo>
                    <a:pt x="8367" y="20321"/>
                    <a:pt x="8933" y="20562"/>
                    <a:pt x="9499" y="20321"/>
                  </a:cubicBezTo>
                  <a:cubicBezTo>
                    <a:pt x="9671" y="20321"/>
                    <a:pt x="9302" y="20080"/>
                    <a:pt x="9302" y="19869"/>
                  </a:cubicBezTo>
                  <a:cubicBezTo>
                    <a:pt x="9302" y="19869"/>
                    <a:pt x="10606" y="20321"/>
                    <a:pt x="10802" y="20321"/>
                  </a:cubicBezTo>
                  <a:lnTo>
                    <a:pt x="12303" y="18935"/>
                  </a:lnTo>
                  <a:cubicBezTo>
                    <a:pt x="12869" y="18725"/>
                    <a:pt x="13435" y="18725"/>
                    <a:pt x="14001" y="18484"/>
                  </a:cubicBezTo>
                  <a:cubicBezTo>
                    <a:pt x="14370" y="18484"/>
                    <a:pt x="14739" y="18243"/>
                    <a:pt x="15132" y="18725"/>
                  </a:cubicBezTo>
                  <a:cubicBezTo>
                    <a:pt x="15501" y="18935"/>
                    <a:pt x="15501" y="19628"/>
                    <a:pt x="15698" y="2008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9" name="Shape 2514">
              <a:extLst>
                <a:ext uri="{FF2B5EF4-FFF2-40B4-BE49-F238E27FC236}">
                  <a16:creationId xmlns:a16="http://schemas.microsoft.com/office/drawing/2014/main" id="{37E5D079-226C-431D-9494-B391D4B4CB95}"/>
                </a:ext>
              </a:extLst>
            </p:cNvPr>
            <p:cNvSpPr/>
            <p:nvPr/>
          </p:nvSpPr>
          <p:spPr>
            <a:xfrm>
              <a:off x="1204042" y="4502808"/>
              <a:ext cx="114121" cy="90343"/>
            </a:xfrm>
            <a:custGeom>
              <a:avLst/>
              <a:gdLst/>
              <a:ahLst/>
              <a:cxnLst>
                <a:cxn ang="0">
                  <a:pos x="wd2" y="hd2"/>
                </a:cxn>
                <a:cxn ang="5400000">
                  <a:pos x="wd2" y="hd2"/>
                </a:cxn>
                <a:cxn ang="10800000">
                  <a:pos x="wd2" y="hd2"/>
                </a:cxn>
                <a:cxn ang="16200000">
                  <a:pos x="wd2" y="hd2"/>
                </a:cxn>
              </a:cxnLst>
              <a:rect l="0" t="0" r="r" b="b"/>
              <a:pathLst>
                <a:path w="21600" h="21600" extrusionOk="0">
                  <a:moveTo>
                    <a:pt x="3974" y="21600"/>
                  </a:moveTo>
                  <a:cubicBezTo>
                    <a:pt x="2948" y="19739"/>
                    <a:pt x="2500" y="17312"/>
                    <a:pt x="1474" y="15452"/>
                  </a:cubicBezTo>
                  <a:cubicBezTo>
                    <a:pt x="1474" y="14804"/>
                    <a:pt x="0" y="14804"/>
                    <a:pt x="0" y="14238"/>
                  </a:cubicBezTo>
                  <a:cubicBezTo>
                    <a:pt x="0" y="11730"/>
                    <a:pt x="1026" y="9870"/>
                    <a:pt x="1474" y="7362"/>
                  </a:cubicBezTo>
                  <a:cubicBezTo>
                    <a:pt x="1474" y="6796"/>
                    <a:pt x="513" y="6148"/>
                    <a:pt x="513" y="5582"/>
                  </a:cubicBezTo>
                  <a:cubicBezTo>
                    <a:pt x="513" y="4935"/>
                    <a:pt x="0" y="4288"/>
                    <a:pt x="513" y="3721"/>
                  </a:cubicBezTo>
                  <a:cubicBezTo>
                    <a:pt x="1026" y="3074"/>
                    <a:pt x="1474" y="2427"/>
                    <a:pt x="2500" y="1861"/>
                  </a:cubicBezTo>
                  <a:cubicBezTo>
                    <a:pt x="3461" y="1213"/>
                    <a:pt x="4423" y="0"/>
                    <a:pt x="5384" y="0"/>
                  </a:cubicBezTo>
                  <a:cubicBezTo>
                    <a:pt x="6858" y="0"/>
                    <a:pt x="8332" y="0"/>
                    <a:pt x="9807" y="0"/>
                  </a:cubicBezTo>
                  <a:cubicBezTo>
                    <a:pt x="11281" y="566"/>
                    <a:pt x="13268" y="566"/>
                    <a:pt x="14229" y="1861"/>
                  </a:cubicBezTo>
                  <a:cubicBezTo>
                    <a:pt x="15191" y="2427"/>
                    <a:pt x="14678" y="4935"/>
                    <a:pt x="15703" y="4935"/>
                  </a:cubicBezTo>
                  <a:cubicBezTo>
                    <a:pt x="16665" y="4935"/>
                    <a:pt x="16665" y="2427"/>
                    <a:pt x="17626" y="1861"/>
                  </a:cubicBezTo>
                  <a:cubicBezTo>
                    <a:pt x="19100" y="1213"/>
                    <a:pt x="20126" y="1861"/>
                    <a:pt x="21600" y="1861"/>
                  </a:cubicBezTo>
                  <a:cubicBezTo>
                    <a:pt x="21600" y="2427"/>
                    <a:pt x="21600" y="3074"/>
                    <a:pt x="21600" y="3721"/>
                  </a:cubicBezTo>
                  <a:cubicBezTo>
                    <a:pt x="21600" y="5582"/>
                    <a:pt x="18652" y="9870"/>
                    <a:pt x="17626" y="11083"/>
                  </a:cubicBezTo>
                  <a:cubicBezTo>
                    <a:pt x="16665" y="12378"/>
                    <a:pt x="15191" y="12944"/>
                    <a:pt x="14229" y="13591"/>
                  </a:cubicBezTo>
                  <a:cubicBezTo>
                    <a:pt x="13716" y="14238"/>
                    <a:pt x="13268" y="14238"/>
                    <a:pt x="12755" y="14238"/>
                  </a:cubicBezTo>
                  <a:cubicBezTo>
                    <a:pt x="11281" y="14804"/>
                    <a:pt x="10319" y="16099"/>
                    <a:pt x="9294" y="16665"/>
                  </a:cubicBezTo>
                  <a:cubicBezTo>
                    <a:pt x="6858" y="18526"/>
                    <a:pt x="5384" y="19739"/>
                    <a:pt x="3974"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0" name="Shape 2515">
              <a:extLst>
                <a:ext uri="{FF2B5EF4-FFF2-40B4-BE49-F238E27FC236}">
                  <a16:creationId xmlns:a16="http://schemas.microsoft.com/office/drawing/2014/main" id="{63C8393F-E6FE-22CC-B93F-9DE97E3CD53D}"/>
                </a:ext>
              </a:extLst>
            </p:cNvPr>
            <p:cNvSpPr/>
            <p:nvPr/>
          </p:nvSpPr>
          <p:spPr>
            <a:xfrm>
              <a:off x="1104448" y="4256036"/>
              <a:ext cx="213716" cy="267247"/>
            </a:xfrm>
            <a:custGeom>
              <a:avLst/>
              <a:gdLst/>
              <a:ahLst/>
              <a:cxnLst>
                <a:cxn ang="0">
                  <a:pos x="wd2" y="hd2"/>
                </a:cxn>
                <a:cxn ang="5400000">
                  <a:pos x="wd2" y="hd2"/>
                </a:cxn>
                <a:cxn ang="10800000">
                  <a:pos x="wd2" y="hd2"/>
                </a:cxn>
                <a:cxn ang="16200000">
                  <a:pos x="wd2" y="hd2"/>
                </a:cxn>
              </a:cxnLst>
              <a:rect l="0" t="0" r="r" b="b"/>
              <a:pathLst>
                <a:path w="21600" h="21600" extrusionOk="0">
                  <a:moveTo>
                    <a:pt x="4668" y="18495"/>
                  </a:moveTo>
                  <a:cubicBezTo>
                    <a:pt x="4668" y="18685"/>
                    <a:pt x="4668" y="19094"/>
                    <a:pt x="4940" y="19530"/>
                  </a:cubicBezTo>
                  <a:cubicBezTo>
                    <a:pt x="5179" y="19938"/>
                    <a:pt x="5451" y="20347"/>
                    <a:pt x="5962" y="20347"/>
                  </a:cubicBezTo>
                  <a:cubicBezTo>
                    <a:pt x="6235" y="20347"/>
                    <a:pt x="6473" y="19938"/>
                    <a:pt x="6746" y="19721"/>
                  </a:cubicBezTo>
                  <a:cubicBezTo>
                    <a:pt x="6746" y="19721"/>
                    <a:pt x="6746" y="20565"/>
                    <a:pt x="7018" y="20565"/>
                  </a:cubicBezTo>
                  <a:cubicBezTo>
                    <a:pt x="7018" y="20347"/>
                    <a:pt x="8040" y="19938"/>
                    <a:pt x="8040" y="19938"/>
                  </a:cubicBezTo>
                  <a:cubicBezTo>
                    <a:pt x="8313" y="20129"/>
                    <a:pt x="8585" y="20347"/>
                    <a:pt x="8824" y="20347"/>
                  </a:cubicBezTo>
                  <a:cubicBezTo>
                    <a:pt x="9335" y="20347"/>
                    <a:pt x="9880" y="19721"/>
                    <a:pt x="10119" y="19938"/>
                  </a:cubicBezTo>
                  <a:cubicBezTo>
                    <a:pt x="10664" y="19938"/>
                    <a:pt x="10902" y="20347"/>
                    <a:pt x="11447" y="20565"/>
                  </a:cubicBezTo>
                  <a:cubicBezTo>
                    <a:pt x="11958" y="20347"/>
                    <a:pt x="12469" y="19938"/>
                    <a:pt x="12980" y="19938"/>
                  </a:cubicBezTo>
                  <a:cubicBezTo>
                    <a:pt x="13764" y="19938"/>
                    <a:pt x="14548" y="19938"/>
                    <a:pt x="15331" y="19938"/>
                  </a:cubicBezTo>
                  <a:cubicBezTo>
                    <a:pt x="16115" y="20129"/>
                    <a:pt x="17171" y="20129"/>
                    <a:pt x="17682" y="20565"/>
                  </a:cubicBezTo>
                  <a:cubicBezTo>
                    <a:pt x="18193" y="20756"/>
                    <a:pt x="17921" y="21600"/>
                    <a:pt x="18466" y="21600"/>
                  </a:cubicBezTo>
                  <a:cubicBezTo>
                    <a:pt x="18977" y="21600"/>
                    <a:pt x="18977" y="20756"/>
                    <a:pt x="19488" y="20565"/>
                  </a:cubicBezTo>
                  <a:cubicBezTo>
                    <a:pt x="20271" y="20347"/>
                    <a:pt x="20816" y="20565"/>
                    <a:pt x="21600" y="20565"/>
                  </a:cubicBezTo>
                  <a:cubicBezTo>
                    <a:pt x="21327" y="19938"/>
                    <a:pt x="21055" y="19312"/>
                    <a:pt x="21055" y="18685"/>
                  </a:cubicBezTo>
                  <a:cubicBezTo>
                    <a:pt x="21055" y="18059"/>
                    <a:pt x="20544" y="17650"/>
                    <a:pt x="20544" y="17024"/>
                  </a:cubicBezTo>
                  <a:cubicBezTo>
                    <a:pt x="20033" y="15362"/>
                    <a:pt x="18466" y="14736"/>
                    <a:pt x="16626" y="14736"/>
                  </a:cubicBezTo>
                  <a:cubicBezTo>
                    <a:pt x="16626" y="16397"/>
                    <a:pt x="18704" y="17433"/>
                    <a:pt x="18466" y="19094"/>
                  </a:cubicBezTo>
                  <a:cubicBezTo>
                    <a:pt x="17921" y="18685"/>
                    <a:pt x="17682" y="17868"/>
                    <a:pt x="17171" y="17242"/>
                  </a:cubicBezTo>
                  <a:cubicBezTo>
                    <a:pt x="16115" y="16615"/>
                    <a:pt x="15331" y="16615"/>
                    <a:pt x="14820" y="15553"/>
                  </a:cubicBezTo>
                  <a:cubicBezTo>
                    <a:pt x="14037" y="13701"/>
                    <a:pt x="15059" y="12230"/>
                    <a:pt x="12231" y="11004"/>
                  </a:cubicBezTo>
                  <a:cubicBezTo>
                    <a:pt x="10119" y="9942"/>
                    <a:pt x="10902" y="8090"/>
                    <a:pt x="9335" y="6864"/>
                  </a:cubicBezTo>
                  <a:cubicBezTo>
                    <a:pt x="7018" y="5203"/>
                    <a:pt x="4668" y="5611"/>
                    <a:pt x="6235" y="2288"/>
                  </a:cubicBezTo>
                  <a:cubicBezTo>
                    <a:pt x="7802" y="1035"/>
                    <a:pt x="6746" y="409"/>
                    <a:pt x="5690" y="0"/>
                  </a:cubicBezTo>
                  <a:cubicBezTo>
                    <a:pt x="4668" y="817"/>
                    <a:pt x="4940" y="409"/>
                    <a:pt x="3884" y="1035"/>
                  </a:cubicBezTo>
                  <a:cubicBezTo>
                    <a:pt x="3100" y="1662"/>
                    <a:pt x="2317" y="2070"/>
                    <a:pt x="1806" y="2697"/>
                  </a:cubicBezTo>
                  <a:cubicBezTo>
                    <a:pt x="1022" y="3323"/>
                    <a:pt x="511" y="4140"/>
                    <a:pt x="0" y="4767"/>
                  </a:cubicBezTo>
                  <a:cubicBezTo>
                    <a:pt x="1022" y="5611"/>
                    <a:pt x="2078" y="6646"/>
                    <a:pt x="3100" y="7463"/>
                  </a:cubicBezTo>
                  <a:cubicBezTo>
                    <a:pt x="3373" y="7681"/>
                    <a:pt x="3884" y="7681"/>
                    <a:pt x="3884" y="8090"/>
                  </a:cubicBezTo>
                  <a:cubicBezTo>
                    <a:pt x="3884" y="8716"/>
                    <a:pt x="3611" y="9561"/>
                    <a:pt x="3373" y="10160"/>
                  </a:cubicBezTo>
                  <a:cubicBezTo>
                    <a:pt x="3100" y="10568"/>
                    <a:pt x="2862" y="10786"/>
                    <a:pt x="2862" y="11195"/>
                  </a:cubicBezTo>
                  <a:lnTo>
                    <a:pt x="3100" y="11413"/>
                  </a:lnTo>
                  <a:cubicBezTo>
                    <a:pt x="3611" y="12230"/>
                    <a:pt x="3611" y="13265"/>
                    <a:pt x="4156" y="13892"/>
                  </a:cubicBezTo>
                  <a:cubicBezTo>
                    <a:pt x="4395" y="14109"/>
                    <a:pt x="4940" y="13701"/>
                    <a:pt x="5451" y="13892"/>
                  </a:cubicBezTo>
                  <a:cubicBezTo>
                    <a:pt x="5690" y="13892"/>
                    <a:pt x="5690" y="14327"/>
                    <a:pt x="5962" y="14327"/>
                  </a:cubicBezTo>
                  <a:cubicBezTo>
                    <a:pt x="6235" y="14518"/>
                    <a:pt x="6746" y="14109"/>
                    <a:pt x="7018" y="14327"/>
                  </a:cubicBezTo>
                  <a:cubicBezTo>
                    <a:pt x="7529" y="14736"/>
                    <a:pt x="8040" y="15362"/>
                    <a:pt x="8040" y="15989"/>
                  </a:cubicBezTo>
                  <a:cubicBezTo>
                    <a:pt x="8040" y="16180"/>
                    <a:pt x="7802" y="16397"/>
                    <a:pt x="7257" y="16397"/>
                  </a:cubicBezTo>
                  <a:cubicBezTo>
                    <a:pt x="6235" y="16615"/>
                    <a:pt x="4940" y="15989"/>
                    <a:pt x="3884" y="16615"/>
                  </a:cubicBezTo>
                  <a:cubicBezTo>
                    <a:pt x="3373" y="17024"/>
                    <a:pt x="4395" y="17868"/>
                    <a:pt x="4668" y="1849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1" name="Shape 2516">
              <a:extLst>
                <a:ext uri="{FF2B5EF4-FFF2-40B4-BE49-F238E27FC236}">
                  <a16:creationId xmlns:a16="http://schemas.microsoft.com/office/drawing/2014/main" id="{1F9C0D05-BB44-D391-2683-4B91E2E4B948}"/>
                </a:ext>
              </a:extLst>
            </p:cNvPr>
            <p:cNvSpPr/>
            <p:nvPr/>
          </p:nvSpPr>
          <p:spPr>
            <a:xfrm>
              <a:off x="835919" y="4151977"/>
              <a:ext cx="222113" cy="226493"/>
            </a:xfrm>
            <a:custGeom>
              <a:avLst/>
              <a:gdLst/>
              <a:ahLst/>
              <a:cxnLst>
                <a:cxn ang="0">
                  <a:pos x="wd2" y="hd2"/>
                </a:cxn>
                <a:cxn ang="5400000">
                  <a:pos x="wd2" y="hd2"/>
                </a:cxn>
                <a:cxn ang="10800000">
                  <a:pos x="wd2" y="hd2"/>
                </a:cxn>
                <a:cxn ang="16200000">
                  <a:pos x="wd2" y="hd2"/>
                </a:cxn>
              </a:cxnLst>
              <a:rect l="0" t="0" r="r" b="b"/>
              <a:pathLst>
                <a:path w="21406" h="21401" extrusionOk="0">
                  <a:moveTo>
                    <a:pt x="3514" y="18451"/>
                  </a:moveTo>
                  <a:cubicBezTo>
                    <a:pt x="3254" y="17751"/>
                    <a:pt x="3254" y="16765"/>
                    <a:pt x="2766" y="15810"/>
                  </a:cubicBezTo>
                  <a:cubicBezTo>
                    <a:pt x="2506" y="15556"/>
                    <a:pt x="2018" y="15556"/>
                    <a:pt x="1790" y="15301"/>
                  </a:cubicBezTo>
                  <a:cubicBezTo>
                    <a:pt x="1270" y="14824"/>
                    <a:pt x="1042" y="14092"/>
                    <a:pt x="1042" y="13361"/>
                  </a:cubicBezTo>
                  <a:cubicBezTo>
                    <a:pt x="782" y="11897"/>
                    <a:pt x="1270" y="10434"/>
                    <a:pt x="1042" y="8748"/>
                  </a:cubicBezTo>
                  <a:cubicBezTo>
                    <a:pt x="782" y="8016"/>
                    <a:pt x="-194" y="7539"/>
                    <a:pt x="34" y="6808"/>
                  </a:cubicBezTo>
                  <a:cubicBezTo>
                    <a:pt x="34" y="6330"/>
                    <a:pt x="1042" y="6808"/>
                    <a:pt x="1270" y="6330"/>
                  </a:cubicBezTo>
                  <a:cubicBezTo>
                    <a:pt x="1790" y="5122"/>
                    <a:pt x="1530" y="3658"/>
                    <a:pt x="2018" y="2418"/>
                  </a:cubicBezTo>
                  <a:cubicBezTo>
                    <a:pt x="2018" y="2195"/>
                    <a:pt x="2278" y="1718"/>
                    <a:pt x="2506" y="1718"/>
                  </a:cubicBezTo>
                  <a:cubicBezTo>
                    <a:pt x="3254" y="1463"/>
                    <a:pt x="3775" y="1463"/>
                    <a:pt x="4523" y="1463"/>
                  </a:cubicBezTo>
                  <a:cubicBezTo>
                    <a:pt x="5239" y="986"/>
                    <a:pt x="5987" y="0"/>
                    <a:pt x="6995" y="0"/>
                  </a:cubicBezTo>
                  <a:cubicBezTo>
                    <a:pt x="7483" y="0"/>
                    <a:pt x="7483" y="986"/>
                    <a:pt x="7743" y="1209"/>
                  </a:cubicBezTo>
                  <a:cubicBezTo>
                    <a:pt x="8004" y="1463"/>
                    <a:pt x="8492" y="986"/>
                    <a:pt x="8752" y="986"/>
                  </a:cubicBezTo>
                  <a:cubicBezTo>
                    <a:pt x="8979" y="1463"/>
                    <a:pt x="8979" y="2195"/>
                    <a:pt x="9467" y="2418"/>
                  </a:cubicBezTo>
                  <a:cubicBezTo>
                    <a:pt x="10216" y="2418"/>
                    <a:pt x="10964" y="1463"/>
                    <a:pt x="11712" y="1718"/>
                  </a:cubicBezTo>
                  <a:cubicBezTo>
                    <a:pt x="12460" y="1941"/>
                    <a:pt x="13208" y="2672"/>
                    <a:pt x="13696" y="3149"/>
                  </a:cubicBezTo>
                  <a:cubicBezTo>
                    <a:pt x="13957" y="3404"/>
                    <a:pt x="13696" y="4135"/>
                    <a:pt x="14184" y="4390"/>
                  </a:cubicBezTo>
                  <a:cubicBezTo>
                    <a:pt x="14933" y="4613"/>
                    <a:pt x="15681" y="4390"/>
                    <a:pt x="16689" y="4135"/>
                  </a:cubicBezTo>
                  <a:cubicBezTo>
                    <a:pt x="17177" y="3881"/>
                    <a:pt x="17698" y="3658"/>
                    <a:pt x="18186" y="3404"/>
                  </a:cubicBezTo>
                  <a:cubicBezTo>
                    <a:pt x="18413" y="3404"/>
                    <a:pt x="19161" y="2672"/>
                    <a:pt x="19161" y="3149"/>
                  </a:cubicBezTo>
                  <a:cubicBezTo>
                    <a:pt x="19682" y="4390"/>
                    <a:pt x="19161" y="5599"/>
                    <a:pt x="19161" y="6808"/>
                  </a:cubicBezTo>
                  <a:cubicBezTo>
                    <a:pt x="19422" y="7539"/>
                    <a:pt x="19910" y="8271"/>
                    <a:pt x="20170" y="9003"/>
                  </a:cubicBezTo>
                  <a:cubicBezTo>
                    <a:pt x="20398" y="9734"/>
                    <a:pt x="20918" y="10211"/>
                    <a:pt x="21406" y="10943"/>
                  </a:cubicBezTo>
                  <a:cubicBezTo>
                    <a:pt x="20398" y="11675"/>
                    <a:pt x="19422" y="12152"/>
                    <a:pt x="18186" y="12629"/>
                  </a:cubicBezTo>
                  <a:cubicBezTo>
                    <a:pt x="17698" y="13138"/>
                    <a:pt x="17177" y="13361"/>
                    <a:pt x="16429" y="13361"/>
                  </a:cubicBezTo>
                  <a:cubicBezTo>
                    <a:pt x="15681" y="13615"/>
                    <a:pt x="14933" y="12884"/>
                    <a:pt x="14445" y="13138"/>
                  </a:cubicBezTo>
                  <a:cubicBezTo>
                    <a:pt x="13957" y="13870"/>
                    <a:pt x="14705" y="14824"/>
                    <a:pt x="14445" y="15556"/>
                  </a:cubicBezTo>
                  <a:cubicBezTo>
                    <a:pt x="14184" y="15810"/>
                    <a:pt x="13436" y="15301"/>
                    <a:pt x="13208" y="15301"/>
                  </a:cubicBezTo>
                  <a:cubicBezTo>
                    <a:pt x="12720" y="15556"/>
                    <a:pt x="12720" y="16033"/>
                    <a:pt x="12460" y="16033"/>
                  </a:cubicBezTo>
                  <a:cubicBezTo>
                    <a:pt x="11972" y="16033"/>
                    <a:pt x="11452" y="15810"/>
                    <a:pt x="10964" y="15810"/>
                  </a:cubicBezTo>
                  <a:cubicBezTo>
                    <a:pt x="10476" y="16033"/>
                    <a:pt x="10216" y="16510"/>
                    <a:pt x="9728" y="16765"/>
                  </a:cubicBezTo>
                  <a:cubicBezTo>
                    <a:pt x="9240" y="17019"/>
                    <a:pt x="8004" y="16765"/>
                    <a:pt x="8004" y="17242"/>
                  </a:cubicBezTo>
                  <a:cubicBezTo>
                    <a:pt x="8231" y="18228"/>
                    <a:pt x="9728" y="18228"/>
                    <a:pt x="9988" y="19182"/>
                  </a:cubicBezTo>
                  <a:cubicBezTo>
                    <a:pt x="10216" y="19437"/>
                    <a:pt x="9467" y="19437"/>
                    <a:pt x="9240" y="19691"/>
                  </a:cubicBezTo>
                  <a:cubicBezTo>
                    <a:pt x="8979" y="20168"/>
                    <a:pt x="9728" y="21123"/>
                    <a:pt x="9240" y="21346"/>
                  </a:cubicBezTo>
                  <a:cubicBezTo>
                    <a:pt x="8492" y="21600"/>
                    <a:pt x="7483" y="20900"/>
                    <a:pt x="6735" y="20900"/>
                  </a:cubicBezTo>
                  <a:cubicBezTo>
                    <a:pt x="6247" y="20900"/>
                    <a:pt x="5759" y="21123"/>
                    <a:pt x="5239" y="21123"/>
                  </a:cubicBezTo>
                  <a:cubicBezTo>
                    <a:pt x="3514" y="18451"/>
                    <a:pt x="3514" y="18451"/>
                    <a:pt x="3514" y="1845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2" name="Shape 2517">
              <a:extLst>
                <a:ext uri="{FF2B5EF4-FFF2-40B4-BE49-F238E27FC236}">
                  <a16:creationId xmlns:a16="http://schemas.microsoft.com/office/drawing/2014/main" id="{9FD7C765-69CD-0B48-7FA0-FF8B6D8F1957}"/>
                </a:ext>
              </a:extLst>
            </p:cNvPr>
            <p:cNvSpPr/>
            <p:nvPr/>
          </p:nvSpPr>
          <p:spPr>
            <a:xfrm>
              <a:off x="435535" y="4693088"/>
              <a:ext cx="435201" cy="237514"/>
            </a:xfrm>
            <a:custGeom>
              <a:avLst/>
              <a:gdLst/>
              <a:ahLst/>
              <a:cxnLst>
                <a:cxn ang="0">
                  <a:pos x="wd2" y="hd2"/>
                </a:cxn>
                <a:cxn ang="5400000">
                  <a:pos x="wd2" y="hd2"/>
                </a:cxn>
                <a:cxn ang="10800000">
                  <a:pos x="wd2" y="hd2"/>
                </a:cxn>
                <a:cxn ang="16200000">
                  <a:pos x="wd2" y="hd2"/>
                </a:cxn>
              </a:cxnLst>
              <a:rect l="0" t="0" r="r" b="b"/>
              <a:pathLst>
                <a:path w="21600" h="21600" extrusionOk="0">
                  <a:moveTo>
                    <a:pt x="20964" y="9863"/>
                  </a:moveTo>
                  <a:cubicBezTo>
                    <a:pt x="20847" y="8450"/>
                    <a:pt x="20461" y="7282"/>
                    <a:pt x="20579" y="5869"/>
                  </a:cubicBezTo>
                  <a:cubicBezTo>
                    <a:pt x="20713" y="4916"/>
                    <a:pt x="21215" y="4240"/>
                    <a:pt x="21600" y="3288"/>
                  </a:cubicBezTo>
                  <a:cubicBezTo>
                    <a:pt x="21098" y="2581"/>
                    <a:pt x="20461" y="1659"/>
                    <a:pt x="19825" y="1168"/>
                  </a:cubicBezTo>
                  <a:cubicBezTo>
                    <a:pt x="19557" y="952"/>
                    <a:pt x="19306" y="707"/>
                    <a:pt x="19172" y="707"/>
                  </a:cubicBezTo>
                  <a:cubicBezTo>
                    <a:pt x="19055" y="952"/>
                    <a:pt x="19172" y="1168"/>
                    <a:pt x="19055" y="1413"/>
                  </a:cubicBezTo>
                  <a:cubicBezTo>
                    <a:pt x="18787" y="1413"/>
                    <a:pt x="18536" y="1413"/>
                    <a:pt x="18285" y="1413"/>
                  </a:cubicBezTo>
                  <a:cubicBezTo>
                    <a:pt x="18033" y="1413"/>
                    <a:pt x="17900" y="707"/>
                    <a:pt x="17648" y="952"/>
                  </a:cubicBezTo>
                  <a:cubicBezTo>
                    <a:pt x="17380" y="1168"/>
                    <a:pt x="17514" y="2335"/>
                    <a:pt x="17129" y="2335"/>
                  </a:cubicBezTo>
                  <a:cubicBezTo>
                    <a:pt x="16744" y="2120"/>
                    <a:pt x="16878" y="707"/>
                    <a:pt x="16493" y="461"/>
                  </a:cubicBezTo>
                  <a:cubicBezTo>
                    <a:pt x="16108" y="246"/>
                    <a:pt x="15723" y="952"/>
                    <a:pt x="15338" y="952"/>
                  </a:cubicBezTo>
                  <a:cubicBezTo>
                    <a:pt x="15220" y="952"/>
                    <a:pt x="14953" y="952"/>
                    <a:pt x="14835" y="707"/>
                  </a:cubicBezTo>
                  <a:cubicBezTo>
                    <a:pt x="14567" y="461"/>
                    <a:pt x="14567" y="0"/>
                    <a:pt x="14316" y="0"/>
                  </a:cubicBezTo>
                  <a:cubicBezTo>
                    <a:pt x="13931" y="0"/>
                    <a:pt x="13429" y="461"/>
                    <a:pt x="13044" y="707"/>
                  </a:cubicBezTo>
                  <a:cubicBezTo>
                    <a:pt x="12659" y="952"/>
                    <a:pt x="12391" y="1168"/>
                    <a:pt x="12006" y="952"/>
                  </a:cubicBezTo>
                  <a:cubicBezTo>
                    <a:pt x="11637" y="952"/>
                    <a:pt x="11252" y="707"/>
                    <a:pt x="10867" y="461"/>
                  </a:cubicBezTo>
                  <a:cubicBezTo>
                    <a:pt x="10733" y="461"/>
                    <a:pt x="10616" y="246"/>
                    <a:pt x="10348" y="0"/>
                  </a:cubicBezTo>
                  <a:cubicBezTo>
                    <a:pt x="10231" y="461"/>
                    <a:pt x="10097" y="952"/>
                    <a:pt x="10097" y="1659"/>
                  </a:cubicBezTo>
                  <a:cubicBezTo>
                    <a:pt x="9963" y="2120"/>
                    <a:pt x="10231" y="2827"/>
                    <a:pt x="10097" y="3288"/>
                  </a:cubicBezTo>
                  <a:cubicBezTo>
                    <a:pt x="9846" y="3994"/>
                    <a:pt x="9209" y="3994"/>
                    <a:pt x="8824" y="4701"/>
                  </a:cubicBezTo>
                  <a:cubicBezTo>
                    <a:pt x="8690" y="5162"/>
                    <a:pt x="8824" y="6114"/>
                    <a:pt x="8556" y="6329"/>
                  </a:cubicBezTo>
                  <a:cubicBezTo>
                    <a:pt x="8171" y="6821"/>
                    <a:pt x="7786" y="6114"/>
                    <a:pt x="7401" y="6329"/>
                  </a:cubicBezTo>
                  <a:cubicBezTo>
                    <a:pt x="6899" y="6821"/>
                    <a:pt x="6765" y="7989"/>
                    <a:pt x="6262" y="8450"/>
                  </a:cubicBezTo>
                  <a:cubicBezTo>
                    <a:pt x="5626" y="8910"/>
                    <a:pt x="4856" y="8450"/>
                    <a:pt x="4086" y="8910"/>
                  </a:cubicBezTo>
                  <a:cubicBezTo>
                    <a:pt x="3952" y="8910"/>
                    <a:pt x="3952" y="9617"/>
                    <a:pt x="3834" y="9617"/>
                  </a:cubicBezTo>
                  <a:cubicBezTo>
                    <a:pt x="3567" y="9863"/>
                    <a:pt x="3315" y="9402"/>
                    <a:pt x="3064" y="9617"/>
                  </a:cubicBezTo>
                  <a:cubicBezTo>
                    <a:pt x="2679" y="10109"/>
                    <a:pt x="2294" y="10785"/>
                    <a:pt x="1775" y="11276"/>
                  </a:cubicBezTo>
                  <a:cubicBezTo>
                    <a:pt x="1273" y="11491"/>
                    <a:pt x="636" y="11737"/>
                    <a:pt x="0" y="11983"/>
                  </a:cubicBezTo>
                  <a:cubicBezTo>
                    <a:pt x="0" y="12444"/>
                    <a:pt x="0" y="12905"/>
                    <a:pt x="0" y="13366"/>
                  </a:cubicBezTo>
                  <a:cubicBezTo>
                    <a:pt x="117" y="13857"/>
                    <a:pt x="385" y="13857"/>
                    <a:pt x="502" y="14318"/>
                  </a:cubicBezTo>
                  <a:cubicBezTo>
                    <a:pt x="636" y="14779"/>
                    <a:pt x="502" y="15271"/>
                    <a:pt x="502" y="15977"/>
                  </a:cubicBezTo>
                  <a:cubicBezTo>
                    <a:pt x="636" y="16438"/>
                    <a:pt x="502" y="17145"/>
                    <a:pt x="753" y="17606"/>
                  </a:cubicBezTo>
                  <a:cubicBezTo>
                    <a:pt x="1021" y="17851"/>
                    <a:pt x="1524" y="17145"/>
                    <a:pt x="1775" y="17606"/>
                  </a:cubicBezTo>
                  <a:cubicBezTo>
                    <a:pt x="2160" y="18067"/>
                    <a:pt x="2160" y="19019"/>
                    <a:pt x="2428" y="19726"/>
                  </a:cubicBezTo>
                  <a:cubicBezTo>
                    <a:pt x="2679" y="20187"/>
                    <a:pt x="2930" y="21108"/>
                    <a:pt x="3315" y="21354"/>
                  </a:cubicBezTo>
                  <a:cubicBezTo>
                    <a:pt x="3834" y="21354"/>
                    <a:pt x="3952" y="20187"/>
                    <a:pt x="4471" y="19726"/>
                  </a:cubicBezTo>
                  <a:cubicBezTo>
                    <a:pt x="6647" y="19726"/>
                    <a:pt x="6128" y="19019"/>
                    <a:pt x="7401" y="16192"/>
                  </a:cubicBezTo>
                  <a:cubicBezTo>
                    <a:pt x="7535" y="15731"/>
                    <a:pt x="8054" y="12659"/>
                    <a:pt x="8439" y="13150"/>
                  </a:cubicBezTo>
                  <a:cubicBezTo>
                    <a:pt x="8941" y="13611"/>
                    <a:pt x="9327" y="14072"/>
                    <a:pt x="9846" y="14564"/>
                  </a:cubicBezTo>
                  <a:cubicBezTo>
                    <a:pt x="10616" y="15025"/>
                    <a:pt x="11369" y="16684"/>
                    <a:pt x="11369" y="18067"/>
                  </a:cubicBezTo>
                  <a:cubicBezTo>
                    <a:pt x="11369" y="19019"/>
                    <a:pt x="12391" y="18558"/>
                    <a:pt x="12525" y="19941"/>
                  </a:cubicBezTo>
                  <a:cubicBezTo>
                    <a:pt x="12776" y="21600"/>
                    <a:pt x="12776" y="21600"/>
                    <a:pt x="12776" y="21600"/>
                  </a:cubicBezTo>
                  <a:cubicBezTo>
                    <a:pt x="13044" y="20893"/>
                    <a:pt x="13931" y="20187"/>
                    <a:pt x="14199" y="19480"/>
                  </a:cubicBezTo>
                  <a:cubicBezTo>
                    <a:pt x="14450" y="18773"/>
                    <a:pt x="14567" y="17851"/>
                    <a:pt x="14701" y="17145"/>
                  </a:cubicBezTo>
                  <a:cubicBezTo>
                    <a:pt x="14835" y="15977"/>
                    <a:pt x="14567" y="14564"/>
                    <a:pt x="14953" y="14072"/>
                  </a:cubicBezTo>
                  <a:cubicBezTo>
                    <a:pt x="15338" y="13366"/>
                    <a:pt x="15974" y="14072"/>
                    <a:pt x="16493" y="14318"/>
                  </a:cubicBezTo>
                  <a:cubicBezTo>
                    <a:pt x="16744" y="14564"/>
                    <a:pt x="16744" y="15025"/>
                    <a:pt x="16995" y="15025"/>
                  </a:cubicBezTo>
                  <a:cubicBezTo>
                    <a:pt x="17129" y="15025"/>
                    <a:pt x="17514" y="15025"/>
                    <a:pt x="17514" y="14564"/>
                  </a:cubicBezTo>
                  <a:cubicBezTo>
                    <a:pt x="17648" y="14072"/>
                    <a:pt x="17380" y="13366"/>
                    <a:pt x="17380" y="12659"/>
                  </a:cubicBezTo>
                  <a:cubicBezTo>
                    <a:pt x="17380" y="12444"/>
                    <a:pt x="17380" y="11983"/>
                    <a:pt x="17514" y="11737"/>
                  </a:cubicBezTo>
                  <a:cubicBezTo>
                    <a:pt x="17766" y="11276"/>
                    <a:pt x="18033" y="11491"/>
                    <a:pt x="18285" y="11030"/>
                  </a:cubicBezTo>
                  <a:cubicBezTo>
                    <a:pt x="18402" y="10785"/>
                    <a:pt x="18285" y="9863"/>
                    <a:pt x="18536" y="9617"/>
                  </a:cubicBezTo>
                  <a:cubicBezTo>
                    <a:pt x="18921" y="9617"/>
                    <a:pt x="19172" y="10570"/>
                    <a:pt x="19557" y="10570"/>
                  </a:cubicBezTo>
                  <a:cubicBezTo>
                    <a:pt x="19825" y="10570"/>
                    <a:pt x="20076" y="10324"/>
                    <a:pt x="20327" y="10109"/>
                  </a:cubicBezTo>
                  <a:cubicBezTo>
                    <a:pt x="20579" y="10109"/>
                    <a:pt x="20713" y="9863"/>
                    <a:pt x="20964" y="986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3" name="Shape 2518">
              <a:extLst>
                <a:ext uri="{FF2B5EF4-FFF2-40B4-BE49-F238E27FC236}">
                  <a16:creationId xmlns:a16="http://schemas.microsoft.com/office/drawing/2014/main" id="{73D8157E-2E86-5096-2514-B31F975A1D28}"/>
                </a:ext>
              </a:extLst>
            </p:cNvPr>
            <p:cNvSpPr/>
            <p:nvPr/>
          </p:nvSpPr>
          <p:spPr>
            <a:xfrm>
              <a:off x="249728" y="4506252"/>
              <a:ext cx="411416" cy="345564"/>
            </a:xfrm>
            <a:custGeom>
              <a:avLst/>
              <a:gdLst/>
              <a:ahLst/>
              <a:cxnLst>
                <a:cxn ang="0">
                  <a:pos x="wd2" y="hd2"/>
                </a:cxn>
                <a:cxn ang="5400000">
                  <a:pos x="wd2" y="hd2"/>
                </a:cxn>
                <a:cxn ang="10800000">
                  <a:pos x="wd2" y="hd2"/>
                </a:cxn>
                <a:cxn ang="16200000">
                  <a:pos x="wd2" y="hd2"/>
                </a:cxn>
              </a:cxnLst>
              <a:rect l="0" t="0" r="r" b="b"/>
              <a:pathLst>
                <a:path w="21600" h="21478" extrusionOk="0">
                  <a:moveTo>
                    <a:pt x="21600" y="359"/>
                  </a:moveTo>
                  <a:cubicBezTo>
                    <a:pt x="21459" y="841"/>
                    <a:pt x="21600" y="1322"/>
                    <a:pt x="21459" y="1636"/>
                  </a:cubicBezTo>
                  <a:cubicBezTo>
                    <a:pt x="21193" y="1971"/>
                    <a:pt x="20787" y="1971"/>
                    <a:pt x="20522" y="2118"/>
                  </a:cubicBezTo>
                  <a:cubicBezTo>
                    <a:pt x="20115" y="2285"/>
                    <a:pt x="19709" y="2452"/>
                    <a:pt x="19567" y="2766"/>
                  </a:cubicBezTo>
                  <a:cubicBezTo>
                    <a:pt x="19302" y="3248"/>
                    <a:pt x="19709" y="3897"/>
                    <a:pt x="19850" y="4357"/>
                  </a:cubicBezTo>
                  <a:cubicBezTo>
                    <a:pt x="19850" y="4838"/>
                    <a:pt x="19567" y="5320"/>
                    <a:pt x="19709" y="5801"/>
                  </a:cubicBezTo>
                  <a:cubicBezTo>
                    <a:pt x="19850" y="6283"/>
                    <a:pt x="20380" y="6450"/>
                    <a:pt x="20522" y="6764"/>
                  </a:cubicBezTo>
                  <a:cubicBezTo>
                    <a:pt x="20522" y="7078"/>
                    <a:pt x="19974" y="7245"/>
                    <a:pt x="19974" y="7559"/>
                  </a:cubicBezTo>
                  <a:cubicBezTo>
                    <a:pt x="20239" y="8355"/>
                    <a:pt x="20928" y="9171"/>
                    <a:pt x="21052" y="9966"/>
                  </a:cubicBezTo>
                  <a:cubicBezTo>
                    <a:pt x="21193" y="10594"/>
                    <a:pt x="20787" y="11076"/>
                    <a:pt x="20646" y="11557"/>
                  </a:cubicBezTo>
                  <a:cubicBezTo>
                    <a:pt x="20522" y="11871"/>
                    <a:pt x="20380" y="12206"/>
                    <a:pt x="20380" y="12687"/>
                  </a:cubicBezTo>
                  <a:cubicBezTo>
                    <a:pt x="20239" y="13001"/>
                    <a:pt x="20522" y="13483"/>
                    <a:pt x="20380" y="13797"/>
                  </a:cubicBezTo>
                  <a:cubicBezTo>
                    <a:pt x="20115" y="14278"/>
                    <a:pt x="19444" y="14278"/>
                    <a:pt x="19037" y="14759"/>
                  </a:cubicBezTo>
                  <a:cubicBezTo>
                    <a:pt x="18896" y="15073"/>
                    <a:pt x="19037" y="15722"/>
                    <a:pt x="18754" y="15869"/>
                  </a:cubicBezTo>
                  <a:cubicBezTo>
                    <a:pt x="18348" y="16204"/>
                    <a:pt x="17941" y="15722"/>
                    <a:pt x="17535" y="15869"/>
                  </a:cubicBezTo>
                  <a:cubicBezTo>
                    <a:pt x="17004" y="16204"/>
                    <a:pt x="16863" y="16999"/>
                    <a:pt x="16333" y="17313"/>
                  </a:cubicBezTo>
                  <a:cubicBezTo>
                    <a:pt x="15661" y="17627"/>
                    <a:pt x="14848" y="17313"/>
                    <a:pt x="14035" y="17627"/>
                  </a:cubicBezTo>
                  <a:cubicBezTo>
                    <a:pt x="13893" y="17627"/>
                    <a:pt x="13893" y="18108"/>
                    <a:pt x="13770" y="18108"/>
                  </a:cubicBezTo>
                  <a:cubicBezTo>
                    <a:pt x="13487" y="18276"/>
                    <a:pt x="13222" y="17962"/>
                    <a:pt x="12956" y="18108"/>
                  </a:cubicBezTo>
                  <a:cubicBezTo>
                    <a:pt x="12550" y="18443"/>
                    <a:pt x="12143" y="18904"/>
                    <a:pt x="11595" y="19238"/>
                  </a:cubicBezTo>
                  <a:cubicBezTo>
                    <a:pt x="11065" y="19385"/>
                    <a:pt x="10393" y="19552"/>
                    <a:pt x="9722" y="19720"/>
                  </a:cubicBezTo>
                  <a:cubicBezTo>
                    <a:pt x="9174" y="19552"/>
                    <a:pt x="8502" y="19238"/>
                    <a:pt x="7954" y="19385"/>
                  </a:cubicBezTo>
                  <a:cubicBezTo>
                    <a:pt x="7830" y="19552"/>
                    <a:pt x="7830" y="20034"/>
                    <a:pt x="7689" y="20180"/>
                  </a:cubicBezTo>
                  <a:cubicBezTo>
                    <a:pt x="7017" y="20662"/>
                    <a:pt x="6346" y="21478"/>
                    <a:pt x="5533" y="21478"/>
                  </a:cubicBezTo>
                  <a:cubicBezTo>
                    <a:pt x="4985" y="21478"/>
                    <a:pt x="4578" y="20662"/>
                    <a:pt x="4313" y="20034"/>
                  </a:cubicBezTo>
                  <a:cubicBezTo>
                    <a:pt x="4048" y="19385"/>
                    <a:pt x="3906" y="18443"/>
                    <a:pt x="3783" y="17627"/>
                  </a:cubicBezTo>
                  <a:cubicBezTo>
                    <a:pt x="3783" y="16999"/>
                    <a:pt x="3783" y="16518"/>
                    <a:pt x="3783" y="15869"/>
                  </a:cubicBezTo>
                  <a:cubicBezTo>
                    <a:pt x="3906" y="15073"/>
                    <a:pt x="4189" y="14445"/>
                    <a:pt x="4454" y="13629"/>
                  </a:cubicBezTo>
                  <a:cubicBezTo>
                    <a:pt x="4578" y="13315"/>
                    <a:pt x="4985" y="13148"/>
                    <a:pt x="5126" y="12687"/>
                  </a:cubicBezTo>
                  <a:cubicBezTo>
                    <a:pt x="5126" y="12352"/>
                    <a:pt x="4861" y="12206"/>
                    <a:pt x="4861" y="11871"/>
                  </a:cubicBezTo>
                  <a:cubicBezTo>
                    <a:pt x="4861" y="11871"/>
                    <a:pt x="3500" y="12206"/>
                    <a:pt x="3376" y="12206"/>
                  </a:cubicBezTo>
                  <a:lnTo>
                    <a:pt x="2563" y="11243"/>
                  </a:lnTo>
                  <a:cubicBezTo>
                    <a:pt x="2156" y="11243"/>
                    <a:pt x="1750" y="11411"/>
                    <a:pt x="1485" y="11243"/>
                  </a:cubicBezTo>
                  <a:cubicBezTo>
                    <a:pt x="1078" y="10929"/>
                    <a:pt x="937" y="10448"/>
                    <a:pt x="795" y="9966"/>
                  </a:cubicBezTo>
                  <a:cubicBezTo>
                    <a:pt x="672" y="9799"/>
                    <a:pt x="124" y="9631"/>
                    <a:pt x="0" y="9485"/>
                  </a:cubicBezTo>
                  <a:cubicBezTo>
                    <a:pt x="407" y="9171"/>
                    <a:pt x="1202" y="8836"/>
                    <a:pt x="1485" y="8690"/>
                  </a:cubicBezTo>
                  <a:cubicBezTo>
                    <a:pt x="2156" y="8522"/>
                    <a:pt x="2828" y="8690"/>
                    <a:pt x="3500" y="8355"/>
                  </a:cubicBezTo>
                  <a:cubicBezTo>
                    <a:pt x="3783" y="8208"/>
                    <a:pt x="4048" y="7727"/>
                    <a:pt x="4313" y="7727"/>
                  </a:cubicBezTo>
                  <a:cubicBezTo>
                    <a:pt x="4454" y="7559"/>
                    <a:pt x="4719" y="7873"/>
                    <a:pt x="4861" y="7727"/>
                  </a:cubicBezTo>
                  <a:cubicBezTo>
                    <a:pt x="5391" y="7727"/>
                    <a:pt x="5656" y="7245"/>
                    <a:pt x="6204" y="7245"/>
                  </a:cubicBezTo>
                  <a:cubicBezTo>
                    <a:pt x="6611" y="7245"/>
                    <a:pt x="7141" y="7873"/>
                    <a:pt x="7548" y="7727"/>
                  </a:cubicBezTo>
                  <a:cubicBezTo>
                    <a:pt x="7954" y="7392"/>
                    <a:pt x="8096" y="6597"/>
                    <a:pt x="8361" y="6115"/>
                  </a:cubicBezTo>
                  <a:cubicBezTo>
                    <a:pt x="8502" y="5801"/>
                    <a:pt x="8502" y="5320"/>
                    <a:pt x="8767" y="5006"/>
                  </a:cubicBezTo>
                  <a:cubicBezTo>
                    <a:pt x="9174" y="4692"/>
                    <a:pt x="9580" y="4692"/>
                    <a:pt x="9987" y="4357"/>
                  </a:cubicBezTo>
                  <a:cubicBezTo>
                    <a:pt x="10393" y="4211"/>
                    <a:pt x="10800" y="4043"/>
                    <a:pt x="10924" y="3729"/>
                  </a:cubicBezTo>
                  <a:cubicBezTo>
                    <a:pt x="11207" y="3415"/>
                    <a:pt x="10800" y="2766"/>
                    <a:pt x="11065" y="2452"/>
                  </a:cubicBezTo>
                  <a:cubicBezTo>
                    <a:pt x="11330" y="2285"/>
                    <a:pt x="11737" y="2285"/>
                    <a:pt x="12002" y="2285"/>
                  </a:cubicBezTo>
                  <a:cubicBezTo>
                    <a:pt x="12143" y="2285"/>
                    <a:pt x="12285" y="2599"/>
                    <a:pt x="12409" y="2599"/>
                  </a:cubicBezTo>
                  <a:cubicBezTo>
                    <a:pt x="12815" y="2452"/>
                    <a:pt x="13080" y="1636"/>
                    <a:pt x="13628" y="1636"/>
                  </a:cubicBezTo>
                  <a:cubicBezTo>
                    <a:pt x="14583" y="1322"/>
                    <a:pt x="15519" y="1971"/>
                    <a:pt x="16456" y="1804"/>
                  </a:cubicBezTo>
                  <a:cubicBezTo>
                    <a:pt x="16863" y="1636"/>
                    <a:pt x="17146" y="1008"/>
                    <a:pt x="17535" y="841"/>
                  </a:cubicBezTo>
                  <a:cubicBezTo>
                    <a:pt x="18348" y="359"/>
                    <a:pt x="19161" y="45"/>
                    <a:pt x="19974" y="45"/>
                  </a:cubicBezTo>
                  <a:cubicBezTo>
                    <a:pt x="20522" y="-122"/>
                    <a:pt x="21052" y="213"/>
                    <a:pt x="21600" y="35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4" name="Shape 2519">
              <a:extLst>
                <a:ext uri="{FF2B5EF4-FFF2-40B4-BE49-F238E27FC236}">
                  <a16:creationId xmlns:a16="http://schemas.microsoft.com/office/drawing/2014/main" id="{917C5B93-616E-7290-F76F-96570FB7D507}"/>
                </a:ext>
              </a:extLst>
            </p:cNvPr>
            <p:cNvSpPr/>
            <p:nvPr/>
          </p:nvSpPr>
          <p:spPr>
            <a:xfrm>
              <a:off x="0" y="4658897"/>
              <a:ext cx="547703" cy="452477"/>
            </a:xfrm>
            <a:custGeom>
              <a:avLst/>
              <a:gdLst/>
              <a:ahLst/>
              <a:cxnLst>
                <a:cxn ang="0">
                  <a:pos x="wd2" y="hd2"/>
                </a:cxn>
                <a:cxn ang="5400000">
                  <a:pos x="wd2" y="hd2"/>
                </a:cxn>
                <a:cxn ang="10800000">
                  <a:pos x="wd2" y="hd2"/>
                </a:cxn>
                <a:cxn ang="16200000">
                  <a:pos x="wd2" y="hd2"/>
                </a:cxn>
              </a:cxnLst>
              <a:rect l="0" t="0" r="r" b="b"/>
              <a:pathLst>
                <a:path w="21293" h="21362" extrusionOk="0">
                  <a:moveTo>
                    <a:pt x="9700" y="0"/>
                  </a:moveTo>
                  <a:cubicBezTo>
                    <a:pt x="9792" y="111"/>
                    <a:pt x="10198" y="238"/>
                    <a:pt x="10289" y="366"/>
                  </a:cubicBezTo>
                  <a:cubicBezTo>
                    <a:pt x="10394" y="731"/>
                    <a:pt x="10499" y="1097"/>
                    <a:pt x="10800" y="1335"/>
                  </a:cubicBezTo>
                  <a:cubicBezTo>
                    <a:pt x="10996" y="1462"/>
                    <a:pt x="11297" y="1335"/>
                    <a:pt x="11599" y="1335"/>
                  </a:cubicBezTo>
                  <a:lnTo>
                    <a:pt x="12201" y="2066"/>
                  </a:lnTo>
                  <a:cubicBezTo>
                    <a:pt x="12292" y="2066"/>
                    <a:pt x="13300" y="1812"/>
                    <a:pt x="13300" y="1812"/>
                  </a:cubicBezTo>
                  <a:cubicBezTo>
                    <a:pt x="13300" y="2066"/>
                    <a:pt x="13497" y="2177"/>
                    <a:pt x="13497" y="2432"/>
                  </a:cubicBezTo>
                  <a:cubicBezTo>
                    <a:pt x="13392" y="2781"/>
                    <a:pt x="13091" y="2909"/>
                    <a:pt x="12999" y="3147"/>
                  </a:cubicBezTo>
                  <a:cubicBezTo>
                    <a:pt x="12803" y="3767"/>
                    <a:pt x="12593" y="4244"/>
                    <a:pt x="12502" y="4848"/>
                  </a:cubicBezTo>
                  <a:cubicBezTo>
                    <a:pt x="12502" y="5340"/>
                    <a:pt x="12502" y="5706"/>
                    <a:pt x="12502" y="6183"/>
                  </a:cubicBezTo>
                  <a:cubicBezTo>
                    <a:pt x="12593" y="6803"/>
                    <a:pt x="12698" y="7518"/>
                    <a:pt x="12895" y="8011"/>
                  </a:cubicBezTo>
                  <a:cubicBezTo>
                    <a:pt x="13091" y="8487"/>
                    <a:pt x="13392" y="9107"/>
                    <a:pt x="13798" y="9107"/>
                  </a:cubicBezTo>
                  <a:cubicBezTo>
                    <a:pt x="14400" y="9107"/>
                    <a:pt x="14897" y="8487"/>
                    <a:pt x="15395" y="8122"/>
                  </a:cubicBezTo>
                  <a:cubicBezTo>
                    <a:pt x="15500" y="8011"/>
                    <a:pt x="15500" y="7645"/>
                    <a:pt x="15591" y="7518"/>
                  </a:cubicBezTo>
                  <a:cubicBezTo>
                    <a:pt x="15997" y="7407"/>
                    <a:pt x="16495" y="7645"/>
                    <a:pt x="16900" y="7772"/>
                  </a:cubicBezTo>
                  <a:cubicBezTo>
                    <a:pt x="16900" y="8011"/>
                    <a:pt x="16900" y="8249"/>
                    <a:pt x="16900" y="8487"/>
                  </a:cubicBezTo>
                  <a:cubicBezTo>
                    <a:pt x="16992" y="8742"/>
                    <a:pt x="17201" y="8742"/>
                    <a:pt x="17293" y="8980"/>
                  </a:cubicBezTo>
                  <a:cubicBezTo>
                    <a:pt x="17398" y="9219"/>
                    <a:pt x="17293" y="9473"/>
                    <a:pt x="17293" y="9838"/>
                  </a:cubicBezTo>
                  <a:cubicBezTo>
                    <a:pt x="17398" y="10077"/>
                    <a:pt x="17293" y="10442"/>
                    <a:pt x="17489" y="10681"/>
                  </a:cubicBezTo>
                  <a:cubicBezTo>
                    <a:pt x="17699" y="10808"/>
                    <a:pt x="18092" y="10442"/>
                    <a:pt x="18288" y="10681"/>
                  </a:cubicBezTo>
                  <a:cubicBezTo>
                    <a:pt x="18589" y="10919"/>
                    <a:pt x="18589" y="11412"/>
                    <a:pt x="18799" y="11777"/>
                  </a:cubicBezTo>
                  <a:cubicBezTo>
                    <a:pt x="18995" y="12016"/>
                    <a:pt x="19191" y="12493"/>
                    <a:pt x="19492" y="12620"/>
                  </a:cubicBezTo>
                  <a:cubicBezTo>
                    <a:pt x="19898" y="12620"/>
                    <a:pt x="19990" y="12016"/>
                    <a:pt x="20396" y="11777"/>
                  </a:cubicBezTo>
                  <a:cubicBezTo>
                    <a:pt x="20396" y="12016"/>
                    <a:pt x="20500" y="12381"/>
                    <a:pt x="20500" y="12747"/>
                  </a:cubicBezTo>
                  <a:cubicBezTo>
                    <a:pt x="20500" y="13224"/>
                    <a:pt x="20199" y="12985"/>
                    <a:pt x="20095" y="13224"/>
                  </a:cubicBezTo>
                  <a:cubicBezTo>
                    <a:pt x="19990" y="13478"/>
                    <a:pt x="20697" y="14448"/>
                    <a:pt x="20893" y="14686"/>
                  </a:cubicBezTo>
                  <a:cubicBezTo>
                    <a:pt x="21600" y="15783"/>
                    <a:pt x="21391" y="17118"/>
                    <a:pt x="20095" y="17118"/>
                  </a:cubicBezTo>
                  <a:cubicBezTo>
                    <a:pt x="19191" y="17229"/>
                    <a:pt x="19296" y="19184"/>
                    <a:pt x="19100" y="19915"/>
                  </a:cubicBezTo>
                  <a:cubicBezTo>
                    <a:pt x="18890" y="20392"/>
                    <a:pt x="18393" y="20885"/>
                    <a:pt x="18288" y="21362"/>
                  </a:cubicBezTo>
                  <a:cubicBezTo>
                    <a:pt x="17699" y="21362"/>
                    <a:pt x="18196" y="19788"/>
                    <a:pt x="18196" y="19550"/>
                  </a:cubicBezTo>
                  <a:cubicBezTo>
                    <a:pt x="18196" y="18819"/>
                    <a:pt x="16900" y="19423"/>
                    <a:pt x="17594" y="20630"/>
                  </a:cubicBezTo>
                  <a:cubicBezTo>
                    <a:pt x="17594" y="20758"/>
                    <a:pt x="17895" y="21123"/>
                    <a:pt x="17791" y="21123"/>
                  </a:cubicBezTo>
                  <a:cubicBezTo>
                    <a:pt x="17699" y="21123"/>
                    <a:pt x="17489" y="21362"/>
                    <a:pt x="17398" y="21362"/>
                  </a:cubicBezTo>
                  <a:cubicBezTo>
                    <a:pt x="16900" y="21362"/>
                    <a:pt x="16691" y="21123"/>
                    <a:pt x="16390" y="20758"/>
                  </a:cubicBezTo>
                  <a:cubicBezTo>
                    <a:pt x="16193" y="20519"/>
                    <a:pt x="15500" y="20392"/>
                    <a:pt x="15500" y="20154"/>
                  </a:cubicBezTo>
                  <a:cubicBezTo>
                    <a:pt x="15500" y="18930"/>
                    <a:pt x="13497" y="21600"/>
                    <a:pt x="12803" y="21123"/>
                  </a:cubicBezTo>
                  <a:cubicBezTo>
                    <a:pt x="12292" y="20758"/>
                    <a:pt x="11991" y="20154"/>
                    <a:pt x="11494" y="20026"/>
                  </a:cubicBezTo>
                  <a:cubicBezTo>
                    <a:pt x="10695" y="19788"/>
                    <a:pt x="11599" y="18691"/>
                    <a:pt x="10394" y="18691"/>
                  </a:cubicBezTo>
                  <a:cubicBezTo>
                    <a:pt x="9792" y="18691"/>
                    <a:pt x="10499" y="17849"/>
                    <a:pt x="9897" y="17722"/>
                  </a:cubicBezTo>
                  <a:cubicBezTo>
                    <a:pt x="9399" y="17722"/>
                    <a:pt x="8692" y="17483"/>
                    <a:pt x="8300" y="17483"/>
                  </a:cubicBezTo>
                  <a:cubicBezTo>
                    <a:pt x="7095" y="17483"/>
                    <a:pt x="7488" y="17849"/>
                    <a:pt x="6493" y="17118"/>
                  </a:cubicBezTo>
                  <a:cubicBezTo>
                    <a:pt x="6297" y="16991"/>
                    <a:pt x="6297" y="15179"/>
                    <a:pt x="6192" y="14813"/>
                  </a:cubicBezTo>
                  <a:cubicBezTo>
                    <a:pt x="5891" y="13113"/>
                    <a:pt x="5996" y="14082"/>
                    <a:pt x="4791" y="13351"/>
                  </a:cubicBezTo>
                  <a:cubicBezTo>
                    <a:pt x="4202" y="12985"/>
                    <a:pt x="3391" y="10808"/>
                    <a:pt x="3194" y="10808"/>
                  </a:cubicBezTo>
                  <a:cubicBezTo>
                    <a:pt x="2592" y="10681"/>
                    <a:pt x="2500" y="11046"/>
                    <a:pt x="2291" y="10077"/>
                  </a:cubicBezTo>
                  <a:cubicBezTo>
                    <a:pt x="2291" y="10077"/>
                    <a:pt x="2291" y="10077"/>
                    <a:pt x="2291" y="10204"/>
                  </a:cubicBezTo>
                  <a:cubicBezTo>
                    <a:pt x="2095" y="9346"/>
                    <a:pt x="92" y="7772"/>
                    <a:pt x="393" y="7041"/>
                  </a:cubicBezTo>
                  <a:cubicBezTo>
                    <a:pt x="602" y="6548"/>
                    <a:pt x="196" y="6803"/>
                    <a:pt x="0" y="6437"/>
                  </a:cubicBezTo>
                  <a:cubicBezTo>
                    <a:pt x="196" y="6310"/>
                    <a:pt x="903" y="6310"/>
                    <a:pt x="1296" y="6183"/>
                  </a:cubicBezTo>
                  <a:cubicBezTo>
                    <a:pt x="1597" y="5944"/>
                    <a:pt x="1793" y="5340"/>
                    <a:pt x="2199" y="5340"/>
                  </a:cubicBezTo>
                  <a:cubicBezTo>
                    <a:pt x="2893" y="5340"/>
                    <a:pt x="3194" y="3878"/>
                    <a:pt x="3391" y="3147"/>
                  </a:cubicBezTo>
                  <a:cubicBezTo>
                    <a:pt x="3692" y="2432"/>
                    <a:pt x="4490" y="3513"/>
                    <a:pt x="4896" y="3513"/>
                  </a:cubicBezTo>
                  <a:cubicBezTo>
                    <a:pt x="5302" y="3513"/>
                    <a:pt x="7095" y="3401"/>
                    <a:pt x="7200" y="3036"/>
                  </a:cubicBezTo>
                  <a:cubicBezTo>
                    <a:pt x="7292" y="2543"/>
                    <a:pt x="7396" y="1939"/>
                    <a:pt x="7697" y="1462"/>
                  </a:cubicBezTo>
                  <a:cubicBezTo>
                    <a:pt x="7999" y="1208"/>
                    <a:pt x="8692" y="842"/>
                    <a:pt x="9098" y="477"/>
                  </a:cubicBezTo>
                  <a:cubicBezTo>
                    <a:pt x="9596" y="111"/>
                    <a:pt x="9700" y="111"/>
                    <a:pt x="9700" y="0"/>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5" name="Shape 2520">
              <a:extLst>
                <a:ext uri="{FF2B5EF4-FFF2-40B4-BE49-F238E27FC236}">
                  <a16:creationId xmlns:a16="http://schemas.microsoft.com/office/drawing/2014/main" id="{A724AF4F-252A-0D66-B794-87D368BD1FBE}"/>
                </a:ext>
              </a:extLst>
            </p:cNvPr>
            <p:cNvSpPr/>
            <p:nvPr/>
          </p:nvSpPr>
          <p:spPr>
            <a:xfrm>
              <a:off x="135597" y="4345232"/>
              <a:ext cx="546356" cy="314479"/>
            </a:xfrm>
            <a:custGeom>
              <a:avLst/>
              <a:gdLst/>
              <a:ahLst/>
              <a:cxnLst>
                <a:cxn ang="0">
                  <a:pos x="wd2" y="hd2"/>
                </a:cxn>
                <a:cxn ang="5400000">
                  <a:pos x="wd2" y="hd2"/>
                </a:cxn>
                <a:cxn ang="10800000">
                  <a:pos x="wd2" y="hd2"/>
                </a:cxn>
                <a:cxn ang="16200000">
                  <a:pos x="wd2" y="hd2"/>
                </a:cxn>
              </a:cxnLst>
              <a:rect l="0" t="0" r="r" b="b"/>
              <a:pathLst>
                <a:path w="21297" h="21079" extrusionOk="0">
                  <a:moveTo>
                    <a:pt x="10642" y="0"/>
                  </a:moveTo>
                  <a:cubicBezTo>
                    <a:pt x="10642" y="340"/>
                    <a:pt x="10642" y="521"/>
                    <a:pt x="10247" y="679"/>
                  </a:cubicBezTo>
                  <a:cubicBezTo>
                    <a:pt x="9642" y="1042"/>
                    <a:pt x="9642" y="2581"/>
                    <a:pt x="9734" y="3600"/>
                  </a:cubicBezTo>
                  <a:cubicBezTo>
                    <a:pt x="9945" y="5683"/>
                    <a:pt x="9234" y="7585"/>
                    <a:pt x="8432" y="8966"/>
                  </a:cubicBezTo>
                  <a:cubicBezTo>
                    <a:pt x="7932" y="9826"/>
                    <a:pt x="7537" y="9826"/>
                    <a:pt x="7537" y="11208"/>
                  </a:cubicBezTo>
                  <a:cubicBezTo>
                    <a:pt x="7537" y="11570"/>
                    <a:pt x="7932" y="13472"/>
                    <a:pt x="7432" y="13472"/>
                  </a:cubicBezTo>
                  <a:lnTo>
                    <a:pt x="7129" y="13109"/>
                  </a:lnTo>
                  <a:lnTo>
                    <a:pt x="7024" y="13291"/>
                  </a:lnTo>
                  <a:cubicBezTo>
                    <a:pt x="6419" y="13630"/>
                    <a:pt x="6024" y="12951"/>
                    <a:pt x="5525" y="13109"/>
                  </a:cubicBezTo>
                  <a:cubicBezTo>
                    <a:pt x="5525" y="13472"/>
                    <a:pt x="4722" y="14151"/>
                    <a:pt x="4617" y="14151"/>
                  </a:cubicBezTo>
                  <a:cubicBezTo>
                    <a:pt x="3617" y="14672"/>
                    <a:pt x="3012" y="16415"/>
                    <a:pt x="2104" y="13992"/>
                  </a:cubicBezTo>
                  <a:cubicBezTo>
                    <a:pt x="1697" y="12951"/>
                    <a:pt x="1499" y="14151"/>
                    <a:pt x="1197" y="15034"/>
                  </a:cubicBezTo>
                  <a:cubicBezTo>
                    <a:pt x="894" y="15894"/>
                    <a:pt x="394" y="15532"/>
                    <a:pt x="0" y="15713"/>
                  </a:cubicBezTo>
                  <a:cubicBezTo>
                    <a:pt x="0" y="16053"/>
                    <a:pt x="499" y="16234"/>
                    <a:pt x="197" y="16755"/>
                  </a:cubicBezTo>
                  <a:cubicBezTo>
                    <a:pt x="-303" y="17955"/>
                    <a:pt x="394" y="18136"/>
                    <a:pt x="894" y="18475"/>
                  </a:cubicBezTo>
                  <a:cubicBezTo>
                    <a:pt x="1302" y="18996"/>
                    <a:pt x="999" y="19698"/>
                    <a:pt x="1302" y="20038"/>
                  </a:cubicBezTo>
                  <a:cubicBezTo>
                    <a:pt x="1604" y="20377"/>
                    <a:pt x="2407" y="18815"/>
                    <a:pt x="2907" y="20219"/>
                  </a:cubicBezTo>
                  <a:cubicBezTo>
                    <a:pt x="3407" y="21600"/>
                    <a:pt x="3814" y="20219"/>
                    <a:pt x="4420" y="20038"/>
                  </a:cubicBezTo>
                  <a:cubicBezTo>
                    <a:pt x="4420" y="20558"/>
                    <a:pt x="4420" y="20898"/>
                    <a:pt x="4420" y="21079"/>
                  </a:cubicBezTo>
                  <a:cubicBezTo>
                    <a:pt x="4722" y="20740"/>
                    <a:pt x="5314" y="20377"/>
                    <a:pt x="5525" y="20219"/>
                  </a:cubicBezTo>
                  <a:cubicBezTo>
                    <a:pt x="6024" y="20038"/>
                    <a:pt x="6524" y="20219"/>
                    <a:pt x="7024" y="19857"/>
                  </a:cubicBezTo>
                  <a:cubicBezTo>
                    <a:pt x="7235" y="19698"/>
                    <a:pt x="7432" y="19177"/>
                    <a:pt x="7629" y="19177"/>
                  </a:cubicBezTo>
                  <a:cubicBezTo>
                    <a:pt x="7735" y="18996"/>
                    <a:pt x="7932" y="19336"/>
                    <a:pt x="8037" y="19177"/>
                  </a:cubicBezTo>
                  <a:cubicBezTo>
                    <a:pt x="8432" y="19177"/>
                    <a:pt x="8629" y="18657"/>
                    <a:pt x="9037" y="18657"/>
                  </a:cubicBezTo>
                  <a:cubicBezTo>
                    <a:pt x="9339" y="18657"/>
                    <a:pt x="9734" y="19336"/>
                    <a:pt x="10037" y="19177"/>
                  </a:cubicBezTo>
                  <a:cubicBezTo>
                    <a:pt x="10339" y="18815"/>
                    <a:pt x="10444" y="17955"/>
                    <a:pt x="10642" y="17434"/>
                  </a:cubicBezTo>
                  <a:cubicBezTo>
                    <a:pt x="10747" y="17094"/>
                    <a:pt x="10747" y="16574"/>
                    <a:pt x="10944" y="16234"/>
                  </a:cubicBezTo>
                  <a:cubicBezTo>
                    <a:pt x="11247" y="15894"/>
                    <a:pt x="11549" y="15894"/>
                    <a:pt x="11852" y="15532"/>
                  </a:cubicBezTo>
                  <a:cubicBezTo>
                    <a:pt x="12154" y="15374"/>
                    <a:pt x="12457" y="15192"/>
                    <a:pt x="12549" y="14853"/>
                  </a:cubicBezTo>
                  <a:cubicBezTo>
                    <a:pt x="12760" y="14513"/>
                    <a:pt x="12457" y="13811"/>
                    <a:pt x="12654" y="13472"/>
                  </a:cubicBezTo>
                  <a:cubicBezTo>
                    <a:pt x="12852" y="13291"/>
                    <a:pt x="13154" y="13291"/>
                    <a:pt x="13352" y="13291"/>
                  </a:cubicBezTo>
                  <a:cubicBezTo>
                    <a:pt x="13457" y="13291"/>
                    <a:pt x="13562" y="13630"/>
                    <a:pt x="13654" y="13630"/>
                  </a:cubicBezTo>
                  <a:cubicBezTo>
                    <a:pt x="13957" y="13472"/>
                    <a:pt x="14154" y="12589"/>
                    <a:pt x="14562" y="12589"/>
                  </a:cubicBezTo>
                  <a:cubicBezTo>
                    <a:pt x="15272" y="12249"/>
                    <a:pt x="15969" y="12951"/>
                    <a:pt x="16667" y="12770"/>
                  </a:cubicBezTo>
                  <a:cubicBezTo>
                    <a:pt x="16969" y="12589"/>
                    <a:pt x="17180" y="11909"/>
                    <a:pt x="17469" y="11728"/>
                  </a:cubicBezTo>
                  <a:cubicBezTo>
                    <a:pt x="18074" y="11208"/>
                    <a:pt x="18679" y="10868"/>
                    <a:pt x="19284" y="10868"/>
                  </a:cubicBezTo>
                  <a:cubicBezTo>
                    <a:pt x="19692" y="10687"/>
                    <a:pt x="20087" y="11049"/>
                    <a:pt x="20495" y="11208"/>
                  </a:cubicBezTo>
                  <a:cubicBezTo>
                    <a:pt x="20692" y="11208"/>
                    <a:pt x="20889" y="11208"/>
                    <a:pt x="20994" y="11208"/>
                  </a:cubicBezTo>
                  <a:cubicBezTo>
                    <a:pt x="21192" y="11049"/>
                    <a:pt x="21297" y="10687"/>
                    <a:pt x="21297" y="10528"/>
                  </a:cubicBezTo>
                  <a:cubicBezTo>
                    <a:pt x="21192" y="10008"/>
                    <a:pt x="20797" y="9826"/>
                    <a:pt x="20797" y="9487"/>
                  </a:cubicBezTo>
                  <a:cubicBezTo>
                    <a:pt x="20797" y="8966"/>
                    <a:pt x="20994" y="8626"/>
                    <a:pt x="21087" y="8287"/>
                  </a:cubicBezTo>
                  <a:cubicBezTo>
                    <a:pt x="20889" y="7925"/>
                    <a:pt x="20692" y="7585"/>
                    <a:pt x="20495" y="7404"/>
                  </a:cubicBezTo>
                  <a:cubicBezTo>
                    <a:pt x="20192" y="7404"/>
                    <a:pt x="19889" y="7404"/>
                    <a:pt x="19587" y="7585"/>
                  </a:cubicBezTo>
                  <a:cubicBezTo>
                    <a:pt x="19390" y="7766"/>
                    <a:pt x="19284" y="7925"/>
                    <a:pt x="19087" y="8106"/>
                  </a:cubicBezTo>
                  <a:cubicBezTo>
                    <a:pt x="18890" y="8287"/>
                    <a:pt x="18679" y="8106"/>
                    <a:pt x="18482" y="8287"/>
                  </a:cubicBezTo>
                  <a:cubicBezTo>
                    <a:pt x="18377" y="8287"/>
                    <a:pt x="18285" y="8626"/>
                    <a:pt x="18179" y="8626"/>
                  </a:cubicBezTo>
                  <a:cubicBezTo>
                    <a:pt x="17982" y="8626"/>
                    <a:pt x="17679" y="8445"/>
                    <a:pt x="17469" y="8445"/>
                  </a:cubicBezTo>
                  <a:cubicBezTo>
                    <a:pt x="17377" y="8445"/>
                    <a:pt x="17272" y="8808"/>
                    <a:pt x="17180" y="8808"/>
                  </a:cubicBezTo>
                  <a:cubicBezTo>
                    <a:pt x="17074" y="8626"/>
                    <a:pt x="17074" y="8106"/>
                    <a:pt x="16969" y="7925"/>
                  </a:cubicBezTo>
                  <a:cubicBezTo>
                    <a:pt x="16574" y="7245"/>
                    <a:pt x="16272" y="6362"/>
                    <a:pt x="15772" y="6023"/>
                  </a:cubicBezTo>
                  <a:cubicBezTo>
                    <a:pt x="15575" y="5864"/>
                    <a:pt x="15469" y="6362"/>
                    <a:pt x="15272" y="6543"/>
                  </a:cubicBezTo>
                  <a:cubicBezTo>
                    <a:pt x="15062" y="6543"/>
                    <a:pt x="14970" y="6204"/>
                    <a:pt x="14970" y="6023"/>
                  </a:cubicBezTo>
                  <a:cubicBezTo>
                    <a:pt x="14970" y="5864"/>
                    <a:pt x="15364" y="6023"/>
                    <a:pt x="15364" y="5683"/>
                  </a:cubicBezTo>
                  <a:cubicBezTo>
                    <a:pt x="15364" y="5162"/>
                    <a:pt x="15364" y="4302"/>
                    <a:pt x="15062" y="3962"/>
                  </a:cubicBezTo>
                  <a:cubicBezTo>
                    <a:pt x="14667" y="3600"/>
                    <a:pt x="13957" y="4642"/>
                    <a:pt x="13654" y="4121"/>
                  </a:cubicBezTo>
                  <a:cubicBezTo>
                    <a:pt x="13457" y="3600"/>
                    <a:pt x="14154" y="2740"/>
                    <a:pt x="13957" y="2060"/>
                  </a:cubicBezTo>
                  <a:cubicBezTo>
                    <a:pt x="13759" y="1721"/>
                    <a:pt x="13352" y="1902"/>
                    <a:pt x="12957" y="1902"/>
                  </a:cubicBezTo>
                  <a:cubicBezTo>
                    <a:pt x="12760" y="1902"/>
                    <a:pt x="12654" y="2400"/>
                    <a:pt x="12457" y="2400"/>
                  </a:cubicBezTo>
                  <a:cubicBezTo>
                    <a:pt x="12247" y="2400"/>
                    <a:pt x="12049" y="2581"/>
                    <a:pt x="11852" y="2219"/>
                  </a:cubicBezTo>
                  <a:cubicBezTo>
                    <a:pt x="11655" y="1902"/>
                    <a:pt x="11655" y="1200"/>
                    <a:pt x="11444" y="860"/>
                  </a:cubicBezTo>
                  <a:cubicBezTo>
                    <a:pt x="11247" y="521"/>
                    <a:pt x="10852" y="340"/>
                    <a:pt x="10642"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6" name="Shape 2521">
              <a:extLst>
                <a:ext uri="{FF2B5EF4-FFF2-40B4-BE49-F238E27FC236}">
                  <a16:creationId xmlns:a16="http://schemas.microsoft.com/office/drawing/2014/main" id="{67D9934D-F34F-2639-691F-8F0D0F1E2C90}"/>
                </a:ext>
              </a:extLst>
            </p:cNvPr>
            <p:cNvSpPr/>
            <p:nvPr/>
          </p:nvSpPr>
          <p:spPr>
            <a:xfrm>
              <a:off x="549994" y="4131887"/>
              <a:ext cx="205692" cy="336392"/>
            </a:xfrm>
            <a:custGeom>
              <a:avLst/>
              <a:gdLst/>
              <a:ahLst/>
              <a:cxnLst>
                <a:cxn ang="0">
                  <a:pos x="wd2" y="hd2"/>
                </a:cxn>
                <a:cxn ang="5400000">
                  <a:pos x="wd2" y="hd2"/>
                </a:cxn>
                <a:cxn ang="10800000">
                  <a:pos x="wd2" y="hd2"/>
                </a:cxn>
                <a:cxn ang="16200000">
                  <a:pos x="wd2" y="hd2"/>
                </a:cxn>
              </a:cxnLst>
              <a:rect l="0" t="0" r="r" b="b"/>
              <a:pathLst>
                <a:path w="21538" h="21089" extrusionOk="0">
                  <a:moveTo>
                    <a:pt x="7848" y="20920"/>
                  </a:moveTo>
                  <a:cubicBezTo>
                    <a:pt x="8378" y="20751"/>
                    <a:pt x="8661" y="20603"/>
                    <a:pt x="9191" y="20434"/>
                  </a:cubicBezTo>
                  <a:cubicBezTo>
                    <a:pt x="10005" y="20266"/>
                    <a:pt x="10818" y="20266"/>
                    <a:pt x="11631" y="20266"/>
                  </a:cubicBezTo>
                  <a:cubicBezTo>
                    <a:pt x="12161" y="20434"/>
                    <a:pt x="12691" y="20751"/>
                    <a:pt x="13222" y="21089"/>
                  </a:cubicBezTo>
                  <a:cubicBezTo>
                    <a:pt x="13787" y="20751"/>
                    <a:pt x="14318" y="20603"/>
                    <a:pt x="14600" y="20118"/>
                  </a:cubicBezTo>
                  <a:cubicBezTo>
                    <a:pt x="14848" y="19780"/>
                    <a:pt x="14318" y="19294"/>
                    <a:pt x="14600" y="18978"/>
                  </a:cubicBezTo>
                  <a:cubicBezTo>
                    <a:pt x="14848" y="18830"/>
                    <a:pt x="15131" y="18830"/>
                    <a:pt x="15661" y="18830"/>
                  </a:cubicBezTo>
                  <a:cubicBezTo>
                    <a:pt x="16757" y="18978"/>
                    <a:pt x="17853" y="19780"/>
                    <a:pt x="19196" y="19632"/>
                  </a:cubicBezTo>
                  <a:cubicBezTo>
                    <a:pt x="20009" y="19463"/>
                    <a:pt x="19444" y="18492"/>
                    <a:pt x="20257" y="18006"/>
                  </a:cubicBezTo>
                  <a:cubicBezTo>
                    <a:pt x="20257" y="17859"/>
                    <a:pt x="21070" y="18175"/>
                    <a:pt x="21353" y="17859"/>
                  </a:cubicBezTo>
                  <a:cubicBezTo>
                    <a:pt x="21600" y="17373"/>
                    <a:pt x="21600" y="16887"/>
                    <a:pt x="21353" y="16402"/>
                  </a:cubicBezTo>
                  <a:cubicBezTo>
                    <a:pt x="21070" y="16085"/>
                    <a:pt x="20787" y="15768"/>
                    <a:pt x="20539" y="15430"/>
                  </a:cubicBezTo>
                  <a:cubicBezTo>
                    <a:pt x="20257" y="15283"/>
                    <a:pt x="20257" y="15135"/>
                    <a:pt x="20257" y="14966"/>
                  </a:cubicBezTo>
                  <a:cubicBezTo>
                    <a:pt x="20009" y="14332"/>
                    <a:pt x="20257" y="13678"/>
                    <a:pt x="20009" y="13044"/>
                  </a:cubicBezTo>
                  <a:cubicBezTo>
                    <a:pt x="19726" y="12707"/>
                    <a:pt x="18913" y="12707"/>
                    <a:pt x="18913" y="12390"/>
                  </a:cubicBezTo>
                  <a:cubicBezTo>
                    <a:pt x="18913" y="11904"/>
                    <a:pt x="19726" y="11271"/>
                    <a:pt x="19726" y="10785"/>
                  </a:cubicBezTo>
                  <a:cubicBezTo>
                    <a:pt x="19726" y="10468"/>
                    <a:pt x="18383" y="10785"/>
                    <a:pt x="18383" y="10468"/>
                  </a:cubicBezTo>
                  <a:cubicBezTo>
                    <a:pt x="18100" y="9159"/>
                    <a:pt x="18630" y="7871"/>
                    <a:pt x="18630" y="6583"/>
                  </a:cubicBezTo>
                  <a:cubicBezTo>
                    <a:pt x="18630" y="5929"/>
                    <a:pt x="18630" y="5127"/>
                    <a:pt x="18100" y="4493"/>
                  </a:cubicBezTo>
                  <a:cubicBezTo>
                    <a:pt x="17570" y="4007"/>
                    <a:pt x="15661" y="4007"/>
                    <a:pt x="15413" y="3353"/>
                  </a:cubicBezTo>
                  <a:cubicBezTo>
                    <a:pt x="15131" y="2403"/>
                    <a:pt x="16474" y="1579"/>
                    <a:pt x="16757" y="777"/>
                  </a:cubicBezTo>
                  <a:cubicBezTo>
                    <a:pt x="15131" y="777"/>
                    <a:pt x="13504" y="1094"/>
                    <a:pt x="11348" y="144"/>
                  </a:cubicBezTo>
                  <a:cubicBezTo>
                    <a:pt x="10005" y="-511"/>
                    <a:pt x="9722" y="1263"/>
                    <a:pt x="9191" y="1748"/>
                  </a:cubicBezTo>
                  <a:cubicBezTo>
                    <a:pt x="6222" y="5464"/>
                    <a:pt x="6222" y="5464"/>
                    <a:pt x="6222" y="5464"/>
                  </a:cubicBezTo>
                  <a:cubicBezTo>
                    <a:pt x="5692" y="6098"/>
                    <a:pt x="5409" y="7386"/>
                    <a:pt x="4596" y="7724"/>
                  </a:cubicBezTo>
                  <a:cubicBezTo>
                    <a:pt x="2970" y="8357"/>
                    <a:pt x="1343" y="8188"/>
                    <a:pt x="0" y="7871"/>
                  </a:cubicBezTo>
                  <a:cubicBezTo>
                    <a:pt x="283" y="8674"/>
                    <a:pt x="283" y="10616"/>
                    <a:pt x="1343" y="11271"/>
                  </a:cubicBezTo>
                  <a:cubicBezTo>
                    <a:pt x="1909" y="11588"/>
                    <a:pt x="3252" y="10933"/>
                    <a:pt x="3783" y="11419"/>
                  </a:cubicBezTo>
                  <a:cubicBezTo>
                    <a:pt x="4313" y="12390"/>
                    <a:pt x="2722" y="13678"/>
                    <a:pt x="3252" y="14649"/>
                  </a:cubicBezTo>
                  <a:cubicBezTo>
                    <a:pt x="3783" y="15283"/>
                    <a:pt x="5409" y="15135"/>
                    <a:pt x="5939" y="15599"/>
                  </a:cubicBezTo>
                  <a:cubicBezTo>
                    <a:pt x="6222" y="16085"/>
                    <a:pt x="5692" y="16571"/>
                    <a:pt x="5939" y="17056"/>
                  </a:cubicBezTo>
                  <a:cubicBezTo>
                    <a:pt x="5939" y="17056"/>
                    <a:pt x="6752" y="16887"/>
                    <a:pt x="6752" y="17056"/>
                  </a:cubicBezTo>
                  <a:cubicBezTo>
                    <a:pt x="6752" y="17859"/>
                    <a:pt x="6222" y="18492"/>
                    <a:pt x="6222" y="19146"/>
                  </a:cubicBezTo>
                  <a:cubicBezTo>
                    <a:pt x="6505" y="19632"/>
                    <a:pt x="7035" y="19949"/>
                    <a:pt x="7565" y="20266"/>
                  </a:cubicBezTo>
                  <a:cubicBezTo>
                    <a:pt x="7565" y="20434"/>
                    <a:pt x="7565" y="20751"/>
                    <a:pt x="7848" y="209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7" name="Shape 2522">
              <a:extLst>
                <a:ext uri="{FF2B5EF4-FFF2-40B4-BE49-F238E27FC236}">
                  <a16:creationId xmlns:a16="http://schemas.microsoft.com/office/drawing/2014/main" id="{3E6433EE-17FF-BE26-06F9-957D0F15CB4F}"/>
                </a:ext>
              </a:extLst>
            </p:cNvPr>
            <p:cNvSpPr/>
            <p:nvPr/>
          </p:nvSpPr>
          <p:spPr>
            <a:xfrm>
              <a:off x="406146" y="4250091"/>
              <a:ext cx="219320" cy="227108"/>
            </a:xfrm>
            <a:custGeom>
              <a:avLst/>
              <a:gdLst/>
              <a:ahLst/>
              <a:cxnLst>
                <a:cxn ang="0">
                  <a:pos x="wd2" y="hd2"/>
                </a:cxn>
                <a:cxn ang="5400000">
                  <a:pos x="wd2" y="hd2"/>
                </a:cxn>
                <a:cxn ang="10800000">
                  <a:pos x="wd2" y="hd2"/>
                </a:cxn>
                <a:cxn ang="16200000">
                  <a:pos x="wd2" y="hd2"/>
                </a:cxn>
              </a:cxnLst>
              <a:rect l="0" t="0" r="r" b="b"/>
              <a:pathLst>
                <a:path w="20861" h="21600" extrusionOk="0">
                  <a:moveTo>
                    <a:pt x="13725" y="739"/>
                  </a:moveTo>
                  <a:cubicBezTo>
                    <a:pt x="12761" y="514"/>
                    <a:pt x="11765" y="0"/>
                    <a:pt x="11025" y="0"/>
                  </a:cubicBezTo>
                  <a:cubicBezTo>
                    <a:pt x="9322" y="0"/>
                    <a:pt x="9065" y="514"/>
                    <a:pt x="7843" y="996"/>
                  </a:cubicBezTo>
                  <a:cubicBezTo>
                    <a:pt x="5400" y="514"/>
                    <a:pt x="5400" y="514"/>
                    <a:pt x="5400" y="514"/>
                  </a:cubicBezTo>
                  <a:cubicBezTo>
                    <a:pt x="4147" y="1479"/>
                    <a:pt x="3665" y="514"/>
                    <a:pt x="2186" y="1479"/>
                  </a:cubicBezTo>
                  <a:cubicBezTo>
                    <a:pt x="1961" y="1961"/>
                    <a:pt x="-739" y="4693"/>
                    <a:pt x="482" y="4918"/>
                  </a:cubicBezTo>
                  <a:cubicBezTo>
                    <a:pt x="482" y="5914"/>
                    <a:pt x="0" y="6879"/>
                    <a:pt x="0" y="8100"/>
                  </a:cubicBezTo>
                  <a:cubicBezTo>
                    <a:pt x="0" y="8614"/>
                    <a:pt x="0" y="8839"/>
                    <a:pt x="225" y="9096"/>
                  </a:cubicBezTo>
                  <a:cubicBezTo>
                    <a:pt x="740" y="9579"/>
                    <a:pt x="1704" y="9836"/>
                    <a:pt x="2186" y="10318"/>
                  </a:cubicBezTo>
                  <a:cubicBezTo>
                    <a:pt x="2700" y="10800"/>
                    <a:pt x="2700" y="11796"/>
                    <a:pt x="3182" y="12246"/>
                  </a:cubicBezTo>
                  <a:cubicBezTo>
                    <a:pt x="3665" y="12761"/>
                    <a:pt x="4147" y="12504"/>
                    <a:pt x="4661" y="12504"/>
                  </a:cubicBezTo>
                  <a:cubicBezTo>
                    <a:pt x="5143" y="12504"/>
                    <a:pt x="5400" y="11796"/>
                    <a:pt x="5882" y="11796"/>
                  </a:cubicBezTo>
                  <a:cubicBezTo>
                    <a:pt x="6847" y="11796"/>
                    <a:pt x="7843" y="11539"/>
                    <a:pt x="8325" y="12021"/>
                  </a:cubicBezTo>
                  <a:cubicBezTo>
                    <a:pt x="8807" y="12986"/>
                    <a:pt x="7104" y="14207"/>
                    <a:pt x="7586" y="14946"/>
                  </a:cubicBezTo>
                  <a:cubicBezTo>
                    <a:pt x="8325" y="15686"/>
                    <a:pt x="10061" y="14207"/>
                    <a:pt x="11025" y="14721"/>
                  </a:cubicBezTo>
                  <a:cubicBezTo>
                    <a:pt x="11765" y="15204"/>
                    <a:pt x="11765" y="16425"/>
                    <a:pt x="11765" y="17164"/>
                  </a:cubicBezTo>
                  <a:cubicBezTo>
                    <a:pt x="11765" y="17646"/>
                    <a:pt x="10800" y="17421"/>
                    <a:pt x="10800" y="17646"/>
                  </a:cubicBezTo>
                  <a:cubicBezTo>
                    <a:pt x="10800" y="17904"/>
                    <a:pt x="11025" y="18386"/>
                    <a:pt x="11540" y="18386"/>
                  </a:cubicBezTo>
                  <a:cubicBezTo>
                    <a:pt x="12022" y="18129"/>
                    <a:pt x="12279" y="17421"/>
                    <a:pt x="12761" y="17646"/>
                  </a:cubicBezTo>
                  <a:cubicBezTo>
                    <a:pt x="13982" y="18129"/>
                    <a:pt x="14722" y="19382"/>
                    <a:pt x="15686" y="20346"/>
                  </a:cubicBezTo>
                  <a:cubicBezTo>
                    <a:pt x="15943" y="20604"/>
                    <a:pt x="15943" y="21343"/>
                    <a:pt x="16200" y="21600"/>
                  </a:cubicBezTo>
                  <a:cubicBezTo>
                    <a:pt x="16425" y="21600"/>
                    <a:pt x="16682" y="21086"/>
                    <a:pt x="16907" y="21086"/>
                  </a:cubicBezTo>
                  <a:cubicBezTo>
                    <a:pt x="17422" y="21086"/>
                    <a:pt x="18161" y="21343"/>
                    <a:pt x="18643" y="21343"/>
                  </a:cubicBezTo>
                  <a:cubicBezTo>
                    <a:pt x="18900" y="21343"/>
                    <a:pt x="19125" y="20861"/>
                    <a:pt x="19382" y="20861"/>
                  </a:cubicBezTo>
                  <a:cubicBezTo>
                    <a:pt x="19865" y="20604"/>
                    <a:pt x="20379" y="20861"/>
                    <a:pt x="20861" y="20604"/>
                  </a:cubicBezTo>
                  <a:cubicBezTo>
                    <a:pt x="20604" y="20346"/>
                    <a:pt x="20604" y="19864"/>
                    <a:pt x="20604" y="19607"/>
                  </a:cubicBezTo>
                  <a:cubicBezTo>
                    <a:pt x="20122" y="19125"/>
                    <a:pt x="19640" y="18643"/>
                    <a:pt x="19382" y="17904"/>
                  </a:cubicBezTo>
                  <a:cubicBezTo>
                    <a:pt x="19382" y="16907"/>
                    <a:pt x="19865" y="15943"/>
                    <a:pt x="19865" y="14721"/>
                  </a:cubicBezTo>
                  <a:cubicBezTo>
                    <a:pt x="19865" y="14464"/>
                    <a:pt x="19125" y="14721"/>
                    <a:pt x="19125" y="14721"/>
                  </a:cubicBezTo>
                  <a:cubicBezTo>
                    <a:pt x="18900" y="13982"/>
                    <a:pt x="19382" y="13243"/>
                    <a:pt x="19125" y="12504"/>
                  </a:cubicBezTo>
                  <a:cubicBezTo>
                    <a:pt x="18643" y="11796"/>
                    <a:pt x="17165" y="12021"/>
                    <a:pt x="16682" y="11057"/>
                  </a:cubicBezTo>
                  <a:cubicBezTo>
                    <a:pt x="16200" y="9579"/>
                    <a:pt x="17647" y="7618"/>
                    <a:pt x="17165" y="6139"/>
                  </a:cubicBezTo>
                  <a:cubicBezTo>
                    <a:pt x="16682" y="5400"/>
                    <a:pt x="15461" y="6396"/>
                    <a:pt x="14947" y="5914"/>
                  </a:cubicBezTo>
                  <a:cubicBezTo>
                    <a:pt x="13982" y="4918"/>
                    <a:pt x="13982" y="1961"/>
                    <a:pt x="13725" y="73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8" name="Shape 2523">
              <a:extLst>
                <a:ext uri="{FF2B5EF4-FFF2-40B4-BE49-F238E27FC236}">
                  <a16:creationId xmlns:a16="http://schemas.microsoft.com/office/drawing/2014/main" id="{81B9E0BE-5EED-E059-DB5C-3039A77D6E7C}"/>
                </a:ext>
              </a:extLst>
            </p:cNvPr>
            <p:cNvSpPr/>
            <p:nvPr/>
          </p:nvSpPr>
          <p:spPr>
            <a:xfrm>
              <a:off x="696513" y="4098461"/>
              <a:ext cx="186116" cy="280624"/>
            </a:xfrm>
            <a:custGeom>
              <a:avLst/>
              <a:gdLst/>
              <a:ahLst/>
              <a:cxnLst>
                <a:cxn ang="0">
                  <a:pos x="wd2" y="hd2"/>
                </a:cxn>
                <a:cxn ang="5400000">
                  <a:pos x="wd2" y="hd2"/>
                </a:cxn>
                <a:cxn ang="10800000">
                  <a:pos x="wd2" y="hd2"/>
                </a:cxn>
                <a:cxn ang="16200000">
                  <a:pos x="wd2" y="hd2"/>
                </a:cxn>
              </a:cxnLst>
              <a:rect l="0" t="0" r="r" b="b"/>
              <a:pathLst>
                <a:path w="21333" h="21600" extrusionOk="0">
                  <a:moveTo>
                    <a:pt x="1514" y="3561"/>
                  </a:moveTo>
                  <a:cubicBezTo>
                    <a:pt x="1204" y="4549"/>
                    <a:pt x="-267" y="5562"/>
                    <a:pt x="43" y="6732"/>
                  </a:cubicBezTo>
                  <a:cubicBezTo>
                    <a:pt x="314" y="7538"/>
                    <a:pt x="2404" y="7538"/>
                    <a:pt x="2985" y="8136"/>
                  </a:cubicBezTo>
                  <a:cubicBezTo>
                    <a:pt x="3565" y="8916"/>
                    <a:pt x="3565" y="9903"/>
                    <a:pt x="3565" y="10709"/>
                  </a:cubicBezTo>
                  <a:cubicBezTo>
                    <a:pt x="3565" y="12295"/>
                    <a:pt x="2985" y="13880"/>
                    <a:pt x="3294" y="15492"/>
                  </a:cubicBezTo>
                  <a:cubicBezTo>
                    <a:pt x="3294" y="15882"/>
                    <a:pt x="4765" y="15492"/>
                    <a:pt x="4765" y="15882"/>
                  </a:cubicBezTo>
                  <a:cubicBezTo>
                    <a:pt x="4765" y="16479"/>
                    <a:pt x="3875" y="17259"/>
                    <a:pt x="3875" y="17857"/>
                  </a:cubicBezTo>
                  <a:cubicBezTo>
                    <a:pt x="3875" y="18247"/>
                    <a:pt x="4765" y="18247"/>
                    <a:pt x="5075" y="18663"/>
                  </a:cubicBezTo>
                  <a:cubicBezTo>
                    <a:pt x="5346" y="19443"/>
                    <a:pt x="5075" y="20248"/>
                    <a:pt x="5346" y="21028"/>
                  </a:cubicBezTo>
                  <a:cubicBezTo>
                    <a:pt x="5346" y="21236"/>
                    <a:pt x="5346" y="21418"/>
                    <a:pt x="5656" y="21600"/>
                  </a:cubicBezTo>
                  <a:cubicBezTo>
                    <a:pt x="6817" y="21236"/>
                    <a:pt x="8288" y="20638"/>
                    <a:pt x="9798" y="20638"/>
                  </a:cubicBezTo>
                  <a:cubicBezTo>
                    <a:pt x="10378" y="20638"/>
                    <a:pt x="10688" y="21418"/>
                    <a:pt x="11268" y="21600"/>
                  </a:cubicBezTo>
                  <a:cubicBezTo>
                    <a:pt x="11849" y="21600"/>
                    <a:pt x="12430" y="21418"/>
                    <a:pt x="13049" y="21236"/>
                  </a:cubicBezTo>
                  <a:cubicBezTo>
                    <a:pt x="13320" y="21028"/>
                    <a:pt x="13320" y="20430"/>
                    <a:pt x="13939" y="20248"/>
                  </a:cubicBezTo>
                  <a:cubicBezTo>
                    <a:pt x="14210" y="20040"/>
                    <a:pt x="14520" y="20040"/>
                    <a:pt x="15101" y="20040"/>
                  </a:cubicBezTo>
                  <a:cubicBezTo>
                    <a:pt x="15720" y="20248"/>
                    <a:pt x="15991" y="20430"/>
                    <a:pt x="16572" y="20430"/>
                  </a:cubicBezTo>
                  <a:cubicBezTo>
                    <a:pt x="17462" y="20430"/>
                    <a:pt x="18352" y="20430"/>
                    <a:pt x="18933" y="20248"/>
                  </a:cubicBezTo>
                  <a:cubicBezTo>
                    <a:pt x="19552" y="20040"/>
                    <a:pt x="19823" y="19651"/>
                    <a:pt x="20133" y="19235"/>
                  </a:cubicBezTo>
                  <a:cubicBezTo>
                    <a:pt x="19823" y="18663"/>
                    <a:pt x="19823" y="17857"/>
                    <a:pt x="19243" y="17077"/>
                  </a:cubicBezTo>
                  <a:cubicBezTo>
                    <a:pt x="18933" y="16869"/>
                    <a:pt x="18352" y="16869"/>
                    <a:pt x="18081" y="16661"/>
                  </a:cubicBezTo>
                  <a:cubicBezTo>
                    <a:pt x="17462" y="16271"/>
                    <a:pt x="17191" y="15674"/>
                    <a:pt x="17191" y="15076"/>
                  </a:cubicBezTo>
                  <a:cubicBezTo>
                    <a:pt x="16881" y="13880"/>
                    <a:pt x="17462" y="12684"/>
                    <a:pt x="17191" y="11307"/>
                  </a:cubicBezTo>
                  <a:cubicBezTo>
                    <a:pt x="16881" y="10709"/>
                    <a:pt x="15720" y="10319"/>
                    <a:pt x="15991" y="9721"/>
                  </a:cubicBezTo>
                  <a:cubicBezTo>
                    <a:pt x="15991" y="9331"/>
                    <a:pt x="17191" y="9721"/>
                    <a:pt x="17462" y="9331"/>
                  </a:cubicBezTo>
                  <a:cubicBezTo>
                    <a:pt x="18081" y="8344"/>
                    <a:pt x="17772" y="7148"/>
                    <a:pt x="18352" y="6134"/>
                  </a:cubicBezTo>
                  <a:cubicBezTo>
                    <a:pt x="18352" y="5952"/>
                    <a:pt x="18662" y="5562"/>
                    <a:pt x="18933" y="5562"/>
                  </a:cubicBezTo>
                  <a:cubicBezTo>
                    <a:pt x="19823" y="5355"/>
                    <a:pt x="20443" y="5355"/>
                    <a:pt x="21333" y="5355"/>
                  </a:cubicBezTo>
                  <a:cubicBezTo>
                    <a:pt x="21023" y="4367"/>
                    <a:pt x="21023" y="3561"/>
                    <a:pt x="20714" y="2573"/>
                  </a:cubicBezTo>
                  <a:cubicBezTo>
                    <a:pt x="20714" y="2183"/>
                    <a:pt x="20443" y="1586"/>
                    <a:pt x="20443" y="1170"/>
                  </a:cubicBezTo>
                  <a:cubicBezTo>
                    <a:pt x="20133" y="598"/>
                    <a:pt x="20443" y="598"/>
                    <a:pt x="20443" y="0"/>
                  </a:cubicBezTo>
                  <a:cubicBezTo>
                    <a:pt x="10959" y="1768"/>
                    <a:pt x="10959" y="1768"/>
                    <a:pt x="10959" y="1768"/>
                  </a:cubicBezTo>
                  <a:cubicBezTo>
                    <a:pt x="7707" y="2781"/>
                    <a:pt x="7436" y="4159"/>
                    <a:pt x="4456" y="3769"/>
                  </a:cubicBezTo>
                  <a:cubicBezTo>
                    <a:pt x="3294" y="3561"/>
                    <a:pt x="2404" y="3561"/>
                    <a:pt x="1514" y="35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9" name="Shape 2524">
              <a:extLst>
                <a:ext uri="{FF2B5EF4-FFF2-40B4-BE49-F238E27FC236}">
                  <a16:creationId xmlns:a16="http://schemas.microsoft.com/office/drawing/2014/main" id="{7E3F205F-FBAD-BF60-3BD3-FE637BC69B18}"/>
                </a:ext>
              </a:extLst>
            </p:cNvPr>
            <p:cNvSpPr/>
            <p:nvPr/>
          </p:nvSpPr>
          <p:spPr>
            <a:xfrm>
              <a:off x="874055" y="4015647"/>
              <a:ext cx="286543" cy="299517"/>
            </a:xfrm>
            <a:custGeom>
              <a:avLst/>
              <a:gdLst/>
              <a:ahLst/>
              <a:cxnLst>
                <a:cxn ang="0">
                  <a:pos x="wd2" y="hd2"/>
                </a:cxn>
                <a:cxn ang="5400000">
                  <a:pos x="wd2" y="hd2"/>
                </a:cxn>
                <a:cxn ang="10800000">
                  <a:pos x="wd2" y="hd2"/>
                </a:cxn>
                <a:cxn ang="16200000">
                  <a:pos x="wd2" y="hd2"/>
                </a:cxn>
              </a:cxnLst>
              <a:rect l="0" t="0" r="r" b="b"/>
              <a:pathLst>
                <a:path w="21488" h="21462" extrusionOk="0">
                  <a:moveTo>
                    <a:pt x="12621" y="1507"/>
                  </a:moveTo>
                  <a:cubicBezTo>
                    <a:pt x="11459" y="1144"/>
                    <a:pt x="10499" y="1507"/>
                    <a:pt x="9336" y="1507"/>
                  </a:cubicBezTo>
                  <a:cubicBezTo>
                    <a:pt x="9336" y="1144"/>
                    <a:pt x="9917" y="781"/>
                    <a:pt x="10120" y="588"/>
                  </a:cubicBezTo>
                  <a:cubicBezTo>
                    <a:pt x="10322" y="418"/>
                    <a:pt x="10499" y="-138"/>
                    <a:pt x="10903" y="31"/>
                  </a:cubicBezTo>
                  <a:cubicBezTo>
                    <a:pt x="11863" y="418"/>
                    <a:pt x="12823" y="781"/>
                    <a:pt x="13985" y="781"/>
                  </a:cubicBezTo>
                  <a:cubicBezTo>
                    <a:pt x="13985" y="1144"/>
                    <a:pt x="13581" y="1507"/>
                    <a:pt x="13581" y="2063"/>
                  </a:cubicBezTo>
                  <a:cubicBezTo>
                    <a:pt x="13404" y="2426"/>
                    <a:pt x="13404" y="2982"/>
                    <a:pt x="13202" y="3369"/>
                  </a:cubicBezTo>
                  <a:cubicBezTo>
                    <a:pt x="13000" y="3732"/>
                    <a:pt x="12823" y="3732"/>
                    <a:pt x="12823" y="3369"/>
                  </a:cubicBezTo>
                  <a:cubicBezTo>
                    <a:pt x="12621" y="2982"/>
                    <a:pt x="12823" y="2426"/>
                    <a:pt x="13000" y="2063"/>
                  </a:cubicBezTo>
                  <a:cubicBezTo>
                    <a:pt x="12621" y="1507"/>
                    <a:pt x="12621" y="1507"/>
                    <a:pt x="12621" y="1507"/>
                  </a:cubicBezTo>
                  <a:close/>
                  <a:moveTo>
                    <a:pt x="21488" y="17229"/>
                  </a:moveTo>
                  <a:cubicBezTo>
                    <a:pt x="20932" y="17036"/>
                    <a:pt x="20149" y="17036"/>
                    <a:pt x="19770" y="16842"/>
                  </a:cubicBezTo>
                  <a:cubicBezTo>
                    <a:pt x="17825" y="16673"/>
                    <a:pt x="18810" y="15560"/>
                    <a:pt x="19189" y="14085"/>
                  </a:cubicBezTo>
                  <a:cubicBezTo>
                    <a:pt x="20528" y="10021"/>
                    <a:pt x="19189" y="9078"/>
                    <a:pt x="15905" y="6683"/>
                  </a:cubicBezTo>
                  <a:cubicBezTo>
                    <a:pt x="13783" y="5208"/>
                    <a:pt x="12823" y="5570"/>
                    <a:pt x="10120" y="5570"/>
                  </a:cubicBezTo>
                  <a:cubicBezTo>
                    <a:pt x="9160" y="5570"/>
                    <a:pt x="7997" y="4845"/>
                    <a:pt x="7037" y="4845"/>
                  </a:cubicBezTo>
                  <a:cubicBezTo>
                    <a:pt x="5673" y="4845"/>
                    <a:pt x="4132" y="5764"/>
                    <a:pt x="2970" y="4482"/>
                  </a:cubicBezTo>
                  <a:cubicBezTo>
                    <a:pt x="2212" y="3732"/>
                    <a:pt x="90" y="4845"/>
                    <a:pt x="90" y="5957"/>
                  </a:cubicBezTo>
                  <a:cubicBezTo>
                    <a:pt x="90" y="6514"/>
                    <a:pt x="-112" y="6514"/>
                    <a:pt x="90" y="7046"/>
                  </a:cubicBezTo>
                  <a:cubicBezTo>
                    <a:pt x="90" y="7433"/>
                    <a:pt x="267" y="7989"/>
                    <a:pt x="267" y="8352"/>
                  </a:cubicBezTo>
                  <a:cubicBezTo>
                    <a:pt x="469" y="9271"/>
                    <a:pt x="469" y="10021"/>
                    <a:pt x="671" y="10940"/>
                  </a:cubicBezTo>
                  <a:cubicBezTo>
                    <a:pt x="1227" y="10577"/>
                    <a:pt x="1808" y="9828"/>
                    <a:pt x="2591" y="9828"/>
                  </a:cubicBezTo>
                  <a:cubicBezTo>
                    <a:pt x="2970" y="9828"/>
                    <a:pt x="2970" y="10577"/>
                    <a:pt x="3172" y="10747"/>
                  </a:cubicBezTo>
                  <a:cubicBezTo>
                    <a:pt x="3374" y="10940"/>
                    <a:pt x="3753" y="10577"/>
                    <a:pt x="3955" y="10577"/>
                  </a:cubicBezTo>
                  <a:cubicBezTo>
                    <a:pt x="4132" y="10940"/>
                    <a:pt x="4132" y="11496"/>
                    <a:pt x="4511" y="11666"/>
                  </a:cubicBezTo>
                  <a:cubicBezTo>
                    <a:pt x="5092" y="11666"/>
                    <a:pt x="5673" y="10940"/>
                    <a:pt x="6254" y="11134"/>
                  </a:cubicBezTo>
                  <a:cubicBezTo>
                    <a:pt x="6835" y="11303"/>
                    <a:pt x="7416" y="11859"/>
                    <a:pt x="7795" y="12222"/>
                  </a:cubicBezTo>
                  <a:cubicBezTo>
                    <a:pt x="7997" y="12416"/>
                    <a:pt x="7795" y="12972"/>
                    <a:pt x="8174" y="13165"/>
                  </a:cubicBezTo>
                  <a:cubicBezTo>
                    <a:pt x="8755" y="13335"/>
                    <a:pt x="9336" y="13165"/>
                    <a:pt x="10120" y="12972"/>
                  </a:cubicBezTo>
                  <a:cubicBezTo>
                    <a:pt x="10499" y="12778"/>
                    <a:pt x="10903" y="12609"/>
                    <a:pt x="11282" y="12416"/>
                  </a:cubicBezTo>
                  <a:cubicBezTo>
                    <a:pt x="11459" y="12416"/>
                    <a:pt x="12040" y="11859"/>
                    <a:pt x="12040" y="12222"/>
                  </a:cubicBezTo>
                  <a:cubicBezTo>
                    <a:pt x="12444" y="13165"/>
                    <a:pt x="12040" y="14085"/>
                    <a:pt x="12040" y="15004"/>
                  </a:cubicBezTo>
                  <a:cubicBezTo>
                    <a:pt x="12242" y="15560"/>
                    <a:pt x="12621" y="16116"/>
                    <a:pt x="12823" y="16673"/>
                  </a:cubicBezTo>
                  <a:cubicBezTo>
                    <a:pt x="13000" y="17229"/>
                    <a:pt x="13404" y="17592"/>
                    <a:pt x="13783" y="18148"/>
                  </a:cubicBezTo>
                  <a:cubicBezTo>
                    <a:pt x="13985" y="18148"/>
                    <a:pt x="14541" y="17955"/>
                    <a:pt x="14743" y="18148"/>
                  </a:cubicBezTo>
                  <a:cubicBezTo>
                    <a:pt x="15324" y="18874"/>
                    <a:pt x="15122" y="20180"/>
                    <a:pt x="15703" y="20906"/>
                  </a:cubicBezTo>
                  <a:cubicBezTo>
                    <a:pt x="16107" y="21293"/>
                    <a:pt x="16688" y="21293"/>
                    <a:pt x="17269" y="21462"/>
                  </a:cubicBezTo>
                  <a:cubicBezTo>
                    <a:pt x="17648" y="20906"/>
                    <a:pt x="18027" y="20180"/>
                    <a:pt x="18608" y="19624"/>
                  </a:cubicBezTo>
                  <a:cubicBezTo>
                    <a:pt x="18987" y="19067"/>
                    <a:pt x="19568" y="18705"/>
                    <a:pt x="20149" y="18148"/>
                  </a:cubicBezTo>
                  <a:cubicBezTo>
                    <a:pt x="20932" y="17592"/>
                    <a:pt x="20730" y="17955"/>
                    <a:pt x="21488" y="17229"/>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0" name="Shape 2525">
              <a:extLst>
                <a:ext uri="{FF2B5EF4-FFF2-40B4-BE49-F238E27FC236}">
                  <a16:creationId xmlns:a16="http://schemas.microsoft.com/office/drawing/2014/main" id="{C3727ACA-6E5A-CAA3-DA0F-283857ABF9F3}"/>
                </a:ext>
              </a:extLst>
            </p:cNvPr>
            <p:cNvSpPr/>
            <p:nvPr/>
          </p:nvSpPr>
          <p:spPr>
            <a:xfrm>
              <a:off x="1478171" y="3459236"/>
              <a:ext cx="496427" cy="440853"/>
            </a:xfrm>
            <a:custGeom>
              <a:avLst/>
              <a:gdLst/>
              <a:ahLst/>
              <a:cxnLst>
                <a:cxn ang="0">
                  <a:pos x="wd2" y="hd2"/>
                </a:cxn>
                <a:cxn ang="5400000">
                  <a:pos x="wd2" y="hd2"/>
                </a:cxn>
                <a:cxn ang="10800000">
                  <a:pos x="wd2" y="hd2"/>
                </a:cxn>
                <a:cxn ang="16200000">
                  <a:pos x="wd2" y="hd2"/>
                </a:cxn>
              </a:cxnLst>
              <a:rect l="0" t="0" r="r" b="b"/>
              <a:pathLst>
                <a:path w="21356" h="21512" extrusionOk="0">
                  <a:moveTo>
                    <a:pt x="2553" y="20975"/>
                  </a:moveTo>
                  <a:cubicBezTo>
                    <a:pt x="2321" y="20844"/>
                    <a:pt x="1769" y="20466"/>
                    <a:pt x="1552" y="20351"/>
                  </a:cubicBezTo>
                  <a:cubicBezTo>
                    <a:pt x="1436" y="20219"/>
                    <a:pt x="1436" y="20351"/>
                    <a:pt x="1436" y="20219"/>
                  </a:cubicBezTo>
                  <a:cubicBezTo>
                    <a:pt x="1334" y="20088"/>
                    <a:pt x="1334" y="18970"/>
                    <a:pt x="1334" y="18707"/>
                  </a:cubicBezTo>
                  <a:cubicBezTo>
                    <a:pt x="551" y="18329"/>
                    <a:pt x="884" y="17458"/>
                    <a:pt x="884" y="16833"/>
                  </a:cubicBezTo>
                  <a:cubicBezTo>
                    <a:pt x="884" y="15945"/>
                    <a:pt x="884" y="15452"/>
                    <a:pt x="551" y="14696"/>
                  </a:cubicBezTo>
                  <a:cubicBezTo>
                    <a:pt x="-218" y="13184"/>
                    <a:pt x="-218" y="12559"/>
                    <a:pt x="783" y="11063"/>
                  </a:cubicBezTo>
                  <a:cubicBezTo>
                    <a:pt x="1334" y="10044"/>
                    <a:pt x="1885" y="9551"/>
                    <a:pt x="2437" y="8663"/>
                  </a:cubicBezTo>
                  <a:cubicBezTo>
                    <a:pt x="3655" y="7036"/>
                    <a:pt x="4322" y="9666"/>
                    <a:pt x="4990" y="10800"/>
                  </a:cubicBezTo>
                  <a:cubicBezTo>
                    <a:pt x="5759" y="12066"/>
                    <a:pt x="5091" y="13447"/>
                    <a:pt x="5323" y="14696"/>
                  </a:cubicBezTo>
                  <a:cubicBezTo>
                    <a:pt x="6310" y="15074"/>
                    <a:pt x="6644" y="15699"/>
                    <a:pt x="6092" y="16701"/>
                  </a:cubicBezTo>
                  <a:cubicBezTo>
                    <a:pt x="5323" y="17967"/>
                    <a:pt x="6208" y="17326"/>
                    <a:pt x="6644" y="18082"/>
                  </a:cubicBezTo>
                  <a:cubicBezTo>
                    <a:pt x="6760" y="18214"/>
                    <a:pt x="6426" y="18970"/>
                    <a:pt x="6542" y="19348"/>
                  </a:cubicBezTo>
                  <a:cubicBezTo>
                    <a:pt x="6644" y="19595"/>
                    <a:pt x="7195" y="21222"/>
                    <a:pt x="6310" y="20975"/>
                  </a:cubicBezTo>
                  <a:cubicBezTo>
                    <a:pt x="5657" y="20844"/>
                    <a:pt x="5759" y="21107"/>
                    <a:pt x="5207" y="21353"/>
                  </a:cubicBezTo>
                  <a:cubicBezTo>
                    <a:pt x="4439" y="21600"/>
                    <a:pt x="4540" y="21485"/>
                    <a:pt x="3771" y="21485"/>
                  </a:cubicBezTo>
                  <a:cubicBezTo>
                    <a:pt x="2553" y="20975"/>
                    <a:pt x="2553" y="20975"/>
                    <a:pt x="2553" y="20975"/>
                  </a:cubicBezTo>
                  <a:close/>
                  <a:moveTo>
                    <a:pt x="10082" y="6921"/>
                  </a:moveTo>
                  <a:cubicBezTo>
                    <a:pt x="10082" y="6658"/>
                    <a:pt x="10198" y="6411"/>
                    <a:pt x="10299" y="6279"/>
                  </a:cubicBezTo>
                  <a:cubicBezTo>
                    <a:pt x="10299" y="6033"/>
                    <a:pt x="10415" y="5786"/>
                    <a:pt x="10531" y="5655"/>
                  </a:cubicBezTo>
                  <a:cubicBezTo>
                    <a:pt x="10633" y="5408"/>
                    <a:pt x="10865" y="5030"/>
                    <a:pt x="11082" y="5277"/>
                  </a:cubicBezTo>
                  <a:cubicBezTo>
                    <a:pt x="11184" y="5523"/>
                    <a:pt x="11184" y="5786"/>
                    <a:pt x="11184" y="6033"/>
                  </a:cubicBezTo>
                  <a:cubicBezTo>
                    <a:pt x="11300" y="6164"/>
                    <a:pt x="11300" y="6411"/>
                    <a:pt x="11300" y="6542"/>
                  </a:cubicBezTo>
                  <a:cubicBezTo>
                    <a:pt x="11184" y="6542"/>
                    <a:pt x="11082" y="6658"/>
                    <a:pt x="10966" y="6658"/>
                  </a:cubicBezTo>
                  <a:cubicBezTo>
                    <a:pt x="10865" y="6789"/>
                    <a:pt x="10749" y="6921"/>
                    <a:pt x="10633" y="7036"/>
                  </a:cubicBezTo>
                  <a:cubicBezTo>
                    <a:pt x="10633" y="7167"/>
                    <a:pt x="10531" y="7167"/>
                    <a:pt x="10415" y="7167"/>
                  </a:cubicBezTo>
                  <a:cubicBezTo>
                    <a:pt x="10299" y="7282"/>
                    <a:pt x="10299" y="7414"/>
                    <a:pt x="10198" y="7545"/>
                  </a:cubicBezTo>
                  <a:cubicBezTo>
                    <a:pt x="10082" y="6921"/>
                    <a:pt x="10082" y="6921"/>
                    <a:pt x="10082" y="6921"/>
                  </a:cubicBezTo>
                  <a:close/>
                  <a:moveTo>
                    <a:pt x="11518" y="625"/>
                  </a:moveTo>
                  <a:cubicBezTo>
                    <a:pt x="11416" y="1512"/>
                    <a:pt x="11416" y="2400"/>
                    <a:pt x="11518" y="3271"/>
                  </a:cubicBezTo>
                  <a:cubicBezTo>
                    <a:pt x="11967" y="6411"/>
                    <a:pt x="11967" y="6411"/>
                    <a:pt x="11967" y="6411"/>
                  </a:cubicBezTo>
                  <a:cubicBezTo>
                    <a:pt x="12069" y="7036"/>
                    <a:pt x="11518" y="7414"/>
                    <a:pt x="11184" y="7792"/>
                  </a:cubicBezTo>
                  <a:cubicBezTo>
                    <a:pt x="10865" y="8301"/>
                    <a:pt x="11082" y="9666"/>
                    <a:pt x="11518" y="9929"/>
                  </a:cubicBezTo>
                  <a:cubicBezTo>
                    <a:pt x="12301" y="10422"/>
                    <a:pt x="12852" y="11556"/>
                    <a:pt x="12968" y="12444"/>
                  </a:cubicBezTo>
                  <a:cubicBezTo>
                    <a:pt x="14071" y="12690"/>
                    <a:pt x="15507" y="13315"/>
                    <a:pt x="16058" y="14564"/>
                  </a:cubicBezTo>
                  <a:cubicBezTo>
                    <a:pt x="16290" y="14696"/>
                    <a:pt x="16958" y="14827"/>
                    <a:pt x="17175" y="14827"/>
                  </a:cubicBezTo>
                  <a:cubicBezTo>
                    <a:pt x="17509" y="14827"/>
                    <a:pt x="17726" y="14696"/>
                    <a:pt x="18060" y="14564"/>
                  </a:cubicBezTo>
                  <a:cubicBezTo>
                    <a:pt x="18510" y="14186"/>
                    <a:pt x="18843" y="13693"/>
                    <a:pt x="19279" y="13184"/>
                  </a:cubicBezTo>
                  <a:cubicBezTo>
                    <a:pt x="19395" y="12444"/>
                    <a:pt x="19395" y="12444"/>
                    <a:pt x="19395" y="12444"/>
                  </a:cubicBezTo>
                  <a:cubicBezTo>
                    <a:pt x="19496" y="12312"/>
                    <a:pt x="19728" y="12181"/>
                    <a:pt x="19728" y="12066"/>
                  </a:cubicBezTo>
                  <a:cubicBezTo>
                    <a:pt x="19946" y="11803"/>
                    <a:pt x="19830" y="11425"/>
                    <a:pt x="20047" y="11178"/>
                  </a:cubicBezTo>
                  <a:cubicBezTo>
                    <a:pt x="20381" y="10932"/>
                    <a:pt x="20947" y="11063"/>
                    <a:pt x="21280" y="10800"/>
                  </a:cubicBezTo>
                  <a:cubicBezTo>
                    <a:pt x="21382" y="10685"/>
                    <a:pt x="21382" y="10422"/>
                    <a:pt x="21280" y="10422"/>
                  </a:cubicBezTo>
                  <a:cubicBezTo>
                    <a:pt x="21048" y="10307"/>
                    <a:pt x="20831" y="10553"/>
                    <a:pt x="20613" y="10553"/>
                  </a:cubicBezTo>
                  <a:cubicBezTo>
                    <a:pt x="20497" y="10422"/>
                    <a:pt x="20381" y="10175"/>
                    <a:pt x="20163" y="10307"/>
                  </a:cubicBezTo>
                  <a:cubicBezTo>
                    <a:pt x="19830" y="10422"/>
                    <a:pt x="19612" y="11178"/>
                    <a:pt x="19163" y="11178"/>
                  </a:cubicBezTo>
                  <a:cubicBezTo>
                    <a:pt x="18945" y="11178"/>
                    <a:pt x="18727" y="10685"/>
                    <a:pt x="18611" y="10553"/>
                  </a:cubicBezTo>
                  <a:cubicBezTo>
                    <a:pt x="18510" y="10307"/>
                    <a:pt x="18176" y="10175"/>
                    <a:pt x="18278" y="10044"/>
                  </a:cubicBezTo>
                  <a:cubicBezTo>
                    <a:pt x="18394" y="9797"/>
                    <a:pt x="18727" y="9666"/>
                    <a:pt x="18945" y="9419"/>
                  </a:cubicBezTo>
                  <a:cubicBezTo>
                    <a:pt x="19279" y="8926"/>
                    <a:pt x="19496" y="8170"/>
                    <a:pt x="19830" y="7660"/>
                  </a:cubicBezTo>
                  <a:cubicBezTo>
                    <a:pt x="20047" y="7282"/>
                    <a:pt x="20280" y="7036"/>
                    <a:pt x="20497" y="6789"/>
                  </a:cubicBezTo>
                  <a:cubicBezTo>
                    <a:pt x="20047" y="5786"/>
                    <a:pt x="20047" y="5786"/>
                    <a:pt x="20047" y="5786"/>
                  </a:cubicBezTo>
                  <a:cubicBezTo>
                    <a:pt x="19946" y="5523"/>
                    <a:pt x="19830" y="5277"/>
                    <a:pt x="19728" y="5277"/>
                  </a:cubicBezTo>
                  <a:cubicBezTo>
                    <a:pt x="19279" y="5277"/>
                    <a:pt x="19061" y="5901"/>
                    <a:pt x="18727" y="6033"/>
                  </a:cubicBezTo>
                  <a:cubicBezTo>
                    <a:pt x="18394" y="6033"/>
                    <a:pt x="18278" y="5408"/>
                    <a:pt x="18060" y="5408"/>
                  </a:cubicBezTo>
                  <a:cubicBezTo>
                    <a:pt x="17842" y="5408"/>
                    <a:pt x="17842" y="5901"/>
                    <a:pt x="17625" y="5786"/>
                  </a:cubicBezTo>
                  <a:cubicBezTo>
                    <a:pt x="17393" y="5655"/>
                    <a:pt x="17625" y="5145"/>
                    <a:pt x="17393" y="4784"/>
                  </a:cubicBezTo>
                  <a:cubicBezTo>
                    <a:pt x="17291" y="4521"/>
                    <a:pt x="17175" y="4274"/>
                    <a:pt x="16958" y="4142"/>
                  </a:cubicBezTo>
                  <a:cubicBezTo>
                    <a:pt x="16725" y="4027"/>
                    <a:pt x="16508" y="4142"/>
                    <a:pt x="16290" y="3896"/>
                  </a:cubicBezTo>
                  <a:cubicBezTo>
                    <a:pt x="16174" y="3781"/>
                    <a:pt x="16392" y="3518"/>
                    <a:pt x="16174" y="3403"/>
                  </a:cubicBezTo>
                  <a:cubicBezTo>
                    <a:pt x="15841" y="3025"/>
                    <a:pt x="15173" y="2893"/>
                    <a:pt x="14956" y="2400"/>
                  </a:cubicBezTo>
                  <a:cubicBezTo>
                    <a:pt x="14854" y="2137"/>
                    <a:pt x="15405" y="2022"/>
                    <a:pt x="15623" y="1890"/>
                  </a:cubicBezTo>
                  <a:cubicBezTo>
                    <a:pt x="15507" y="1644"/>
                    <a:pt x="15405" y="1381"/>
                    <a:pt x="15289" y="1266"/>
                  </a:cubicBezTo>
                  <a:cubicBezTo>
                    <a:pt x="15173" y="1134"/>
                    <a:pt x="14956" y="1134"/>
                    <a:pt x="14738" y="888"/>
                  </a:cubicBezTo>
                  <a:cubicBezTo>
                    <a:pt x="14622" y="625"/>
                    <a:pt x="14738" y="132"/>
                    <a:pt x="14520" y="0"/>
                  </a:cubicBezTo>
                  <a:cubicBezTo>
                    <a:pt x="14187" y="0"/>
                    <a:pt x="14187" y="510"/>
                    <a:pt x="13853" y="625"/>
                  </a:cubicBezTo>
                  <a:cubicBezTo>
                    <a:pt x="13636" y="756"/>
                    <a:pt x="13302" y="888"/>
                    <a:pt x="13070" y="888"/>
                  </a:cubicBezTo>
                  <a:cubicBezTo>
                    <a:pt x="12519" y="888"/>
                    <a:pt x="12069" y="625"/>
                    <a:pt x="11518" y="625"/>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1" name="Shape 2526">
              <a:extLst>
                <a:ext uri="{FF2B5EF4-FFF2-40B4-BE49-F238E27FC236}">
                  <a16:creationId xmlns:a16="http://schemas.microsoft.com/office/drawing/2014/main" id="{2972EB43-A07E-276E-0C67-99330416F94B}"/>
                </a:ext>
              </a:extLst>
            </p:cNvPr>
            <p:cNvSpPr/>
            <p:nvPr/>
          </p:nvSpPr>
          <p:spPr>
            <a:xfrm>
              <a:off x="625948" y="2705543"/>
              <a:ext cx="1301022" cy="1331630"/>
            </a:xfrm>
            <a:custGeom>
              <a:avLst/>
              <a:gdLst/>
              <a:ahLst/>
              <a:cxnLst>
                <a:cxn ang="0">
                  <a:pos x="wd2" y="hd2"/>
                </a:cxn>
                <a:cxn ang="5400000">
                  <a:pos x="wd2" y="hd2"/>
                </a:cxn>
                <a:cxn ang="10800000">
                  <a:pos x="wd2" y="hd2"/>
                </a:cxn>
                <a:cxn ang="16200000">
                  <a:pos x="wd2" y="hd2"/>
                </a:cxn>
              </a:cxnLst>
              <a:rect l="0" t="0" r="r" b="b"/>
              <a:pathLst>
                <a:path w="21513" h="21480" extrusionOk="0">
                  <a:moveTo>
                    <a:pt x="17031" y="14579"/>
                  </a:moveTo>
                  <a:cubicBezTo>
                    <a:pt x="16902" y="14460"/>
                    <a:pt x="16858" y="14248"/>
                    <a:pt x="16735" y="14123"/>
                  </a:cubicBezTo>
                  <a:cubicBezTo>
                    <a:pt x="16646" y="13998"/>
                    <a:pt x="16306" y="13666"/>
                    <a:pt x="16350" y="13503"/>
                  </a:cubicBezTo>
                  <a:cubicBezTo>
                    <a:pt x="16395" y="13084"/>
                    <a:pt x="16267" y="13046"/>
                    <a:pt x="16010" y="12752"/>
                  </a:cubicBezTo>
                  <a:cubicBezTo>
                    <a:pt x="15921" y="12671"/>
                    <a:pt x="15753" y="12464"/>
                    <a:pt x="15709" y="12377"/>
                  </a:cubicBezTo>
                  <a:cubicBezTo>
                    <a:pt x="15709" y="12339"/>
                    <a:pt x="15882" y="12007"/>
                    <a:pt x="15921" y="12007"/>
                  </a:cubicBezTo>
                  <a:cubicBezTo>
                    <a:pt x="16010" y="12007"/>
                    <a:pt x="16646" y="12589"/>
                    <a:pt x="16735" y="12714"/>
                  </a:cubicBezTo>
                  <a:cubicBezTo>
                    <a:pt x="16819" y="12796"/>
                    <a:pt x="16858" y="12921"/>
                    <a:pt x="16902" y="13002"/>
                  </a:cubicBezTo>
                  <a:cubicBezTo>
                    <a:pt x="16947" y="13084"/>
                    <a:pt x="17075" y="13084"/>
                    <a:pt x="17159" y="13171"/>
                  </a:cubicBezTo>
                  <a:cubicBezTo>
                    <a:pt x="17287" y="13253"/>
                    <a:pt x="17454" y="14123"/>
                    <a:pt x="17371" y="14248"/>
                  </a:cubicBezTo>
                  <a:cubicBezTo>
                    <a:pt x="17203" y="14416"/>
                    <a:pt x="17326" y="14460"/>
                    <a:pt x="17454" y="14579"/>
                  </a:cubicBezTo>
                  <a:cubicBezTo>
                    <a:pt x="17627" y="14830"/>
                    <a:pt x="17243" y="14830"/>
                    <a:pt x="17075" y="14792"/>
                  </a:cubicBezTo>
                  <a:cubicBezTo>
                    <a:pt x="17031" y="14579"/>
                    <a:pt x="17031" y="14579"/>
                    <a:pt x="17031" y="14579"/>
                  </a:cubicBezTo>
                  <a:close/>
                  <a:moveTo>
                    <a:pt x="10768" y="16118"/>
                  </a:moveTo>
                  <a:cubicBezTo>
                    <a:pt x="10639" y="15950"/>
                    <a:pt x="10639" y="15662"/>
                    <a:pt x="10768" y="15493"/>
                  </a:cubicBezTo>
                  <a:cubicBezTo>
                    <a:pt x="10812" y="15411"/>
                    <a:pt x="10851" y="15286"/>
                    <a:pt x="10896" y="15205"/>
                  </a:cubicBezTo>
                  <a:cubicBezTo>
                    <a:pt x="10896" y="15161"/>
                    <a:pt x="10896" y="15123"/>
                    <a:pt x="10940" y="15080"/>
                  </a:cubicBezTo>
                  <a:cubicBezTo>
                    <a:pt x="10940" y="15036"/>
                    <a:pt x="11024" y="14955"/>
                    <a:pt x="11024" y="14917"/>
                  </a:cubicBezTo>
                  <a:cubicBezTo>
                    <a:pt x="11108" y="15123"/>
                    <a:pt x="11024" y="15368"/>
                    <a:pt x="10940" y="15580"/>
                  </a:cubicBezTo>
                  <a:cubicBezTo>
                    <a:pt x="10940" y="15662"/>
                    <a:pt x="10940" y="15705"/>
                    <a:pt x="10940" y="15787"/>
                  </a:cubicBezTo>
                  <a:cubicBezTo>
                    <a:pt x="10940" y="15912"/>
                    <a:pt x="10896" y="15993"/>
                    <a:pt x="10896" y="16075"/>
                  </a:cubicBezTo>
                  <a:cubicBezTo>
                    <a:pt x="10768" y="16118"/>
                    <a:pt x="10768" y="16118"/>
                    <a:pt x="10768" y="16118"/>
                  </a:cubicBezTo>
                  <a:close/>
                  <a:moveTo>
                    <a:pt x="4125" y="15368"/>
                  </a:moveTo>
                  <a:cubicBezTo>
                    <a:pt x="4293" y="15248"/>
                    <a:pt x="4253" y="14792"/>
                    <a:pt x="4465" y="14541"/>
                  </a:cubicBezTo>
                  <a:cubicBezTo>
                    <a:pt x="4633" y="14373"/>
                    <a:pt x="4889" y="13960"/>
                    <a:pt x="4465" y="13916"/>
                  </a:cubicBezTo>
                  <a:cubicBezTo>
                    <a:pt x="4465" y="13873"/>
                    <a:pt x="4465" y="13873"/>
                    <a:pt x="4465" y="13873"/>
                  </a:cubicBezTo>
                  <a:cubicBezTo>
                    <a:pt x="4421" y="13873"/>
                    <a:pt x="4421" y="13873"/>
                    <a:pt x="4421" y="13834"/>
                  </a:cubicBezTo>
                  <a:cubicBezTo>
                    <a:pt x="4761" y="13709"/>
                    <a:pt x="4594" y="12964"/>
                    <a:pt x="4761" y="12921"/>
                  </a:cubicBezTo>
                  <a:cubicBezTo>
                    <a:pt x="5062" y="12839"/>
                    <a:pt x="5486" y="12839"/>
                    <a:pt x="5614" y="12464"/>
                  </a:cubicBezTo>
                  <a:cubicBezTo>
                    <a:pt x="5782" y="12464"/>
                    <a:pt x="6038" y="12752"/>
                    <a:pt x="6211" y="12589"/>
                  </a:cubicBezTo>
                  <a:cubicBezTo>
                    <a:pt x="6339" y="12464"/>
                    <a:pt x="6680" y="12007"/>
                    <a:pt x="6808" y="12007"/>
                  </a:cubicBezTo>
                  <a:cubicBezTo>
                    <a:pt x="6852" y="11882"/>
                    <a:pt x="7276" y="11757"/>
                    <a:pt x="7405" y="11714"/>
                  </a:cubicBezTo>
                  <a:cubicBezTo>
                    <a:pt x="7700" y="11550"/>
                    <a:pt x="7533" y="11882"/>
                    <a:pt x="7488" y="12089"/>
                  </a:cubicBezTo>
                  <a:cubicBezTo>
                    <a:pt x="7444" y="12214"/>
                    <a:pt x="7616" y="13046"/>
                    <a:pt x="7661" y="13209"/>
                  </a:cubicBezTo>
                  <a:cubicBezTo>
                    <a:pt x="7789" y="13666"/>
                    <a:pt x="7828" y="13873"/>
                    <a:pt x="8130" y="14210"/>
                  </a:cubicBezTo>
                  <a:cubicBezTo>
                    <a:pt x="8258" y="14373"/>
                    <a:pt x="8553" y="15455"/>
                    <a:pt x="8341" y="15618"/>
                  </a:cubicBezTo>
                  <a:cubicBezTo>
                    <a:pt x="7957" y="15993"/>
                    <a:pt x="7661" y="16532"/>
                    <a:pt x="7020" y="16325"/>
                  </a:cubicBezTo>
                  <a:cubicBezTo>
                    <a:pt x="6763" y="16244"/>
                    <a:pt x="6680" y="16782"/>
                    <a:pt x="6551" y="16950"/>
                  </a:cubicBezTo>
                  <a:cubicBezTo>
                    <a:pt x="6038" y="17532"/>
                    <a:pt x="5358" y="16619"/>
                    <a:pt x="5826" y="16287"/>
                  </a:cubicBezTo>
                  <a:cubicBezTo>
                    <a:pt x="5999" y="16162"/>
                    <a:pt x="6468" y="16075"/>
                    <a:pt x="6384" y="15830"/>
                  </a:cubicBezTo>
                  <a:cubicBezTo>
                    <a:pt x="6295" y="15618"/>
                    <a:pt x="6127" y="15368"/>
                    <a:pt x="6083" y="15161"/>
                  </a:cubicBezTo>
                  <a:cubicBezTo>
                    <a:pt x="5826" y="15080"/>
                    <a:pt x="5782" y="14873"/>
                    <a:pt x="5871" y="14666"/>
                  </a:cubicBezTo>
                  <a:cubicBezTo>
                    <a:pt x="6211" y="14666"/>
                    <a:pt x="6384" y="14373"/>
                    <a:pt x="6166" y="14085"/>
                  </a:cubicBezTo>
                  <a:cubicBezTo>
                    <a:pt x="5659" y="13421"/>
                    <a:pt x="4934" y="16450"/>
                    <a:pt x="4164" y="15537"/>
                  </a:cubicBezTo>
                  <a:cubicBezTo>
                    <a:pt x="4125" y="15368"/>
                    <a:pt x="4125" y="15368"/>
                    <a:pt x="4125" y="15368"/>
                  </a:cubicBezTo>
                  <a:close/>
                  <a:moveTo>
                    <a:pt x="7957" y="13296"/>
                  </a:moveTo>
                  <a:cubicBezTo>
                    <a:pt x="8130" y="13628"/>
                    <a:pt x="8130" y="13628"/>
                    <a:pt x="8130" y="13628"/>
                  </a:cubicBezTo>
                  <a:cubicBezTo>
                    <a:pt x="8297" y="13834"/>
                    <a:pt x="8894" y="13873"/>
                    <a:pt x="9067" y="13666"/>
                  </a:cubicBezTo>
                  <a:cubicBezTo>
                    <a:pt x="9278" y="13378"/>
                    <a:pt x="9278" y="12921"/>
                    <a:pt x="9446" y="12589"/>
                  </a:cubicBezTo>
                  <a:cubicBezTo>
                    <a:pt x="9574" y="12295"/>
                    <a:pt x="9831" y="12170"/>
                    <a:pt x="9959" y="11839"/>
                  </a:cubicBezTo>
                  <a:cubicBezTo>
                    <a:pt x="10171" y="11425"/>
                    <a:pt x="10260" y="10969"/>
                    <a:pt x="10472" y="10550"/>
                  </a:cubicBezTo>
                  <a:cubicBezTo>
                    <a:pt x="10728" y="10055"/>
                    <a:pt x="11197" y="9430"/>
                    <a:pt x="11364" y="8973"/>
                  </a:cubicBezTo>
                  <a:cubicBezTo>
                    <a:pt x="11409" y="8848"/>
                    <a:pt x="11281" y="8266"/>
                    <a:pt x="11152" y="8434"/>
                  </a:cubicBezTo>
                  <a:cubicBezTo>
                    <a:pt x="10427" y="9098"/>
                    <a:pt x="10427" y="9098"/>
                    <a:pt x="10427" y="9098"/>
                  </a:cubicBezTo>
                  <a:cubicBezTo>
                    <a:pt x="10171" y="9348"/>
                    <a:pt x="8169" y="10800"/>
                    <a:pt x="8637" y="11175"/>
                  </a:cubicBezTo>
                  <a:cubicBezTo>
                    <a:pt x="8810" y="11257"/>
                    <a:pt x="8977" y="11344"/>
                    <a:pt x="9150" y="11425"/>
                  </a:cubicBezTo>
                  <a:cubicBezTo>
                    <a:pt x="8849" y="11425"/>
                    <a:pt x="8213" y="11594"/>
                    <a:pt x="8085" y="11839"/>
                  </a:cubicBezTo>
                  <a:cubicBezTo>
                    <a:pt x="7957" y="12132"/>
                    <a:pt x="7745" y="13002"/>
                    <a:pt x="7957" y="13296"/>
                  </a:cubicBezTo>
                  <a:close/>
                  <a:moveTo>
                    <a:pt x="6256" y="10343"/>
                  </a:moveTo>
                  <a:cubicBezTo>
                    <a:pt x="6166" y="10055"/>
                    <a:pt x="6468" y="9511"/>
                    <a:pt x="6635" y="9348"/>
                  </a:cubicBezTo>
                  <a:cubicBezTo>
                    <a:pt x="6808" y="9179"/>
                    <a:pt x="7193" y="8685"/>
                    <a:pt x="7405" y="8685"/>
                  </a:cubicBezTo>
                  <a:cubicBezTo>
                    <a:pt x="7533" y="9098"/>
                    <a:pt x="7064" y="9511"/>
                    <a:pt x="6936" y="9930"/>
                  </a:cubicBezTo>
                  <a:cubicBezTo>
                    <a:pt x="6891" y="10137"/>
                    <a:pt x="6551" y="10969"/>
                    <a:pt x="6256" y="10593"/>
                  </a:cubicBezTo>
                  <a:cubicBezTo>
                    <a:pt x="6256" y="10343"/>
                    <a:pt x="6256" y="10343"/>
                    <a:pt x="6256" y="10343"/>
                  </a:cubicBezTo>
                  <a:close/>
                  <a:moveTo>
                    <a:pt x="10979" y="8059"/>
                  </a:moveTo>
                  <a:cubicBezTo>
                    <a:pt x="10896" y="7934"/>
                    <a:pt x="11152" y="7853"/>
                    <a:pt x="11197" y="7771"/>
                  </a:cubicBezTo>
                  <a:cubicBezTo>
                    <a:pt x="11281" y="7602"/>
                    <a:pt x="11281" y="7439"/>
                    <a:pt x="11325" y="7271"/>
                  </a:cubicBezTo>
                  <a:cubicBezTo>
                    <a:pt x="11409" y="7396"/>
                    <a:pt x="11453" y="7521"/>
                    <a:pt x="11493" y="7646"/>
                  </a:cubicBezTo>
                  <a:cubicBezTo>
                    <a:pt x="11576" y="7809"/>
                    <a:pt x="11665" y="7934"/>
                    <a:pt x="11493" y="8059"/>
                  </a:cubicBezTo>
                  <a:cubicBezTo>
                    <a:pt x="11453" y="8059"/>
                    <a:pt x="11409" y="8141"/>
                    <a:pt x="11364" y="8141"/>
                  </a:cubicBezTo>
                  <a:cubicBezTo>
                    <a:pt x="11364" y="8184"/>
                    <a:pt x="11281" y="8184"/>
                    <a:pt x="11281" y="8184"/>
                  </a:cubicBezTo>
                  <a:cubicBezTo>
                    <a:pt x="11197" y="8184"/>
                    <a:pt x="11152" y="8228"/>
                    <a:pt x="11069" y="8228"/>
                  </a:cubicBezTo>
                  <a:cubicBezTo>
                    <a:pt x="10979" y="8059"/>
                    <a:pt x="10979" y="8059"/>
                    <a:pt x="10979" y="8059"/>
                  </a:cubicBezTo>
                  <a:close/>
                  <a:moveTo>
                    <a:pt x="121" y="3491"/>
                  </a:moveTo>
                  <a:cubicBezTo>
                    <a:pt x="-7" y="3410"/>
                    <a:pt x="-52" y="2866"/>
                    <a:pt x="76" y="2784"/>
                  </a:cubicBezTo>
                  <a:cubicBezTo>
                    <a:pt x="249" y="2621"/>
                    <a:pt x="545" y="2703"/>
                    <a:pt x="757" y="2741"/>
                  </a:cubicBezTo>
                  <a:cubicBezTo>
                    <a:pt x="1097" y="2784"/>
                    <a:pt x="1186" y="2496"/>
                    <a:pt x="1443" y="2496"/>
                  </a:cubicBezTo>
                  <a:cubicBezTo>
                    <a:pt x="1694" y="2496"/>
                    <a:pt x="1911" y="2409"/>
                    <a:pt x="1995" y="2164"/>
                  </a:cubicBezTo>
                  <a:cubicBezTo>
                    <a:pt x="2034" y="2289"/>
                    <a:pt x="2162" y="2327"/>
                    <a:pt x="2207" y="2496"/>
                  </a:cubicBezTo>
                  <a:cubicBezTo>
                    <a:pt x="2078" y="2578"/>
                    <a:pt x="1353" y="2578"/>
                    <a:pt x="1610" y="2866"/>
                  </a:cubicBezTo>
                  <a:cubicBezTo>
                    <a:pt x="1694" y="2991"/>
                    <a:pt x="1526" y="3160"/>
                    <a:pt x="1398" y="3116"/>
                  </a:cubicBezTo>
                  <a:cubicBezTo>
                    <a:pt x="1314" y="3073"/>
                    <a:pt x="885" y="3198"/>
                    <a:pt x="969" y="3323"/>
                  </a:cubicBezTo>
                  <a:cubicBezTo>
                    <a:pt x="840" y="3535"/>
                    <a:pt x="1097" y="3785"/>
                    <a:pt x="801" y="3905"/>
                  </a:cubicBezTo>
                  <a:cubicBezTo>
                    <a:pt x="673" y="3948"/>
                    <a:pt x="589" y="3866"/>
                    <a:pt x="500" y="3785"/>
                  </a:cubicBezTo>
                  <a:cubicBezTo>
                    <a:pt x="416" y="3660"/>
                    <a:pt x="377" y="3698"/>
                    <a:pt x="249" y="3698"/>
                  </a:cubicBezTo>
                  <a:cubicBezTo>
                    <a:pt x="249" y="3741"/>
                    <a:pt x="121" y="3785"/>
                    <a:pt x="76" y="3785"/>
                  </a:cubicBezTo>
                  <a:cubicBezTo>
                    <a:pt x="121" y="3491"/>
                    <a:pt x="121" y="3491"/>
                    <a:pt x="121" y="3491"/>
                  </a:cubicBezTo>
                  <a:close/>
                  <a:moveTo>
                    <a:pt x="2547" y="1746"/>
                  </a:moveTo>
                  <a:cubicBezTo>
                    <a:pt x="2720" y="1539"/>
                    <a:pt x="2971" y="1577"/>
                    <a:pt x="3099" y="1332"/>
                  </a:cubicBezTo>
                  <a:cubicBezTo>
                    <a:pt x="3188" y="1164"/>
                    <a:pt x="3227" y="1039"/>
                    <a:pt x="3400" y="914"/>
                  </a:cubicBezTo>
                  <a:cubicBezTo>
                    <a:pt x="3612" y="707"/>
                    <a:pt x="3869" y="582"/>
                    <a:pt x="4081" y="332"/>
                  </a:cubicBezTo>
                  <a:cubicBezTo>
                    <a:pt x="4253" y="207"/>
                    <a:pt x="4465" y="125"/>
                    <a:pt x="4633" y="0"/>
                  </a:cubicBezTo>
                  <a:cubicBezTo>
                    <a:pt x="4722" y="207"/>
                    <a:pt x="4633" y="914"/>
                    <a:pt x="4376" y="1001"/>
                  </a:cubicBezTo>
                  <a:cubicBezTo>
                    <a:pt x="4253" y="1082"/>
                    <a:pt x="4253" y="1001"/>
                    <a:pt x="4125" y="1126"/>
                  </a:cubicBezTo>
                  <a:cubicBezTo>
                    <a:pt x="3908" y="1370"/>
                    <a:pt x="3696" y="1914"/>
                    <a:pt x="3272" y="1789"/>
                  </a:cubicBezTo>
                  <a:cubicBezTo>
                    <a:pt x="3144" y="1746"/>
                    <a:pt x="2971" y="1621"/>
                    <a:pt x="2848" y="1789"/>
                  </a:cubicBezTo>
                  <a:cubicBezTo>
                    <a:pt x="2759" y="1914"/>
                    <a:pt x="2848" y="2121"/>
                    <a:pt x="2547" y="1914"/>
                  </a:cubicBezTo>
                  <a:cubicBezTo>
                    <a:pt x="2547" y="1746"/>
                    <a:pt x="2547" y="1746"/>
                    <a:pt x="2547" y="1746"/>
                  </a:cubicBezTo>
                  <a:close/>
                  <a:moveTo>
                    <a:pt x="8598" y="5944"/>
                  </a:moveTo>
                  <a:cubicBezTo>
                    <a:pt x="8849" y="5819"/>
                    <a:pt x="9234" y="5900"/>
                    <a:pt x="9362" y="5732"/>
                  </a:cubicBezTo>
                  <a:cubicBezTo>
                    <a:pt x="9407" y="5650"/>
                    <a:pt x="9831" y="4987"/>
                    <a:pt x="9831" y="5362"/>
                  </a:cubicBezTo>
                  <a:cubicBezTo>
                    <a:pt x="9875" y="5612"/>
                    <a:pt x="9663" y="5775"/>
                    <a:pt x="9663" y="5857"/>
                  </a:cubicBezTo>
                  <a:cubicBezTo>
                    <a:pt x="10087" y="5857"/>
                    <a:pt x="10299" y="5944"/>
                    <a:pt x="10639" y="5694"/>
                  </a:cubicBezTo>
                  <a:cubicBezTo>
                    <a:pt x="10768" y="5612"/>
                    <a:pt x="11621" y="4905"/>
                    <a:pt x="11453" y="4862"/>
                  </a:cubicBezTo>
                  <a:cubicBezTo>
                    <a:pt x="11197" y="4862"/>
                    <a:pt x="11024" y="4987"/>
                    <a:pt x="10812" y="4987"/>
                  </a:cubicBezTo>
                  <a:cubicBezTo>
                    <a:pt x="10812" y="4780"/>
                    <a:pt x="11069" y="4198"/>
                    <a:pt x="11236" y="4611"/>
                  </a:cubicBezTo>
                  <a:cubicBezTo>
                    <a:pt x="11325" y="4943"/>
                    <a:pt x="11704" y="4568"/>
                    <a:pt x="11576" y="4280"/>
                  </a:cubicBezTo>
                  <a:cubicBezTo>
                    <a:pt x="11493" y="3992"/>
                    <a:pt x="11364" y="4117"/>
                    <a:pt x="11665" y="4236"/>
                  </a:cubicBezTo>
                  <a:cubicBezTo>
                    <a:pt x="11833" y="4280"/>
                    <a:pt x="11833" y="4198"/>
                    <a:pt x="11833" y="4073"/>
                  </a:cubicBezTo>
                  <a:cubicBezTo>
                    <a:pt x="11749" y="3198"/>
                    <a:pt x="10042" y="2784"/>
                    <a:pt x="9323" y="2621"/>
                  </a:cubicBezTo>
                  <a:cubicBezTo>
                    <a:pt x="8938" y="2578"/>
                    <a:pt x="8977" y="2202"/>
                    <a:pt x="8849" y="1871"/>
                  </a:cubicBezTo>
                  <a:cubicBezTo>
                    <a:pt x="8726" y="1539"/>
                    <a:pt x="8297" y="1414"/>
                    <a:pt x="8213" y="1039"/>
                  </a:cubicBezTo>
                  <a:cubicBezTo>
                    <a:pt x="8169" y="750"/>
                    <a:pt x="7533" y="625"/>
                    <a:pt x="7276" y="832"/>
                  </a:cubicBezTo>
                  <a:cubicBezTo>
                    <a:pt x="6852" y="1164"/>
                    <a:pt x="6423" y="832"/>
                    <a:pt x="6808" y="1539"/>
                  </a:cubicBezTo>
                  <a:cubicBezTo>
                    <a:pt x="6808" y="1539"/>
                    <a:pt x="6256" y="1245"/>
                    <a:pt x="5955" y="1370"/>
                  </a:cubicBezTo>
                  <a:cubicBezTo>
                    <a:pt x="5871" y="1414"/>
                    <a:pt x="5826" y="1664"/>
                    <a:pt x="5910" y="1702"/>
                  </a:cubicBezTo>
                  <a:cubicBezTo>
                    <a:pt x="5999" y="1789"/>
                    <a:pt x="6083" y="1746"/>
                    <a:pt x="6166" y="1746"/>
                  </a:cubicBezTo>
                  <a:cubicBezTo>
                    <a:pt x="6295" y="1827"/>
                    <a:pt x="5999" y="2121"/>
                    <a:pt x="5910" y="2164"/>
                  </a:cubicBezTo>
                  <a:cubicBezTo>
                    <a:pt x="5871" y="2202"/>
                    <a:pt x="5614" y="2246"/>
                    <a:pt x="5614" y="2327"/>
                  </a:cubicBezTo>
                  <a:cubicBezTo>
                    <a:pt x="5659" y="2453"/>
                    <a:pt x="5999" y="2496"/>
                    <a:pt x="6083" y="2534"/>
                  </a:cubicBezTo>
                  <a:cubicBezTo>
                    <a:pt x="6256" y="2621"/>
                    <a:pt x="6468" y="2621"/>
                    <a:pt x="6680" y="2621"/>
                  </a:cubicBezTo>
                  <a:cubicBezTo>
                    <a:pt x="6936" y="2621"/>
                    <a:pt x="7064" y="2828"/>
                    <a:pt x="7232" y="2953"/>
                  </a:cubicBezTo>
                  <a:cubicBezTo>
                    <a:pt x="7315" y="2991"/>
                    <a:pt x="7405" y="3073"/>
                    <a:pt x="7488" y="3073"/>
                  </a:cubicBezTo>
                  <a:cubicBezTo>
                    <a:pt x="7488" y="3116"/>
                    <a:pt x="7488" y="3116"/>
                    <a:pt x="7488" y="3116"/>
                  </a:cubicBezTo>
                  <a:cubicBezTo>
                    <a:pt x="7444" y="3116"/>
                    <a:pt x="7405" y="3160"/>
                    <a:pt x="7405" y="3160"/>
                  </a:cubicBezTo>
                  <a:cubicBezTo>
                    <a:pt x="7661" y="3241"/>
                    <a:pt x="7488" y="3491"/>
                    <a:pt x="7873" y="3323"/>
                  </a:cubicBezTo>
                  <a:cubicBezTo>
                    <a:pt x="8040" y="3241"/>
                    <a:pt x="8425" y="3034"/>
                    <a:pt x="8637" y="3034"/>
                  </a:cubicBezTo>
                  <a:cubicBezTo>
                    <a:pt x="8849" y="3992"/>
                    <a:pt x="7616" y="3698"/>
                    <a:pt x="7572" y="3948"/>
                  </a:cubicBezTo>
                  <a:cubicBezTo>
                    <a:pt x="7572" y="4405"/>
                    <a:pt x="6975" y="4568"/>
                    <a:pt x="7020" y="5030"/>
                  </a:cubicBezTo>
                  <a:cubicBezTo>
                    <a:pt x="7020" y="5400"/>
                    <a:pt x="7828" y="4943"/>
                    <a:pt x="8001" y="4862"/>
                  </a:cubicBezTo>
                  <a:cubicBezTo>
                    <a:pt x="8085" y="4818"/>
                    <a:pt x="8637" y="4611"/>
                    <a:pt x="8637" y="4693"/>
                  </a:cubicBezTo>
                  <a:cubicBezTo>
                    <a:pt x="8598" y="5112"/>
                    <a:pt x="8169" y="5318"/>
                    <a:pt x="7745" y="5318"/>
                  </a:cubicBezTo>
                  <a:cubicBezTo>
                    <a:pt x="7444" y="5362"/>
                    <a:pt x="7064" y="5944"/>
                    <a:pt x="6763" y="5400"/>
                  </a:cubicBezTo>
                  <a:cubicBezTo>
                    <a:pt x="6763" y="5857"/>
                    <a:pt x="6596" y="5857"/>
                    <a:pt x="6295" y="5569"/>
                  </a:cubicBezTo>
                  <a:cubicBezTo>
                    <a:pt x="5999" y="5275"/>
                    <a:pt x="5782" y="5318"/>
                    <a:pt x="5531" y="5569"/>
                  </a:cubicBezTo>
                  <a:cubicBezTo>
                    <a:pt x="5274" y="5982"/>
                    <a:pt x="5570" y="6063"/>
                    <a:pt x="5782" y="6357"/>
                  </a:cubicBezTo>
                  <a:cubicBezTo>
                    <a:pt x="5955" y="6607"/>
                    <a:pt x="5999" y="6645"/>
                    <a:pt x="6295" y="6526"/>
                  </a:cubicBezTo>
                  <a:cubicBezTo>
                    <a:pt x="6512" y="6439"/>
                    <a:pt x="6596" y="6314"/>
                    <a:pt x="6891" y="6276"/>
                  </a:cubicBezTo>
                  <a:cubicBezTo>
                    <a:pt x="7020" y="6276"/>
                    <a:pt x="7193" y="6276"/>
                    <a:pt x="7315" y="6314"/>
                  </a:cubicBezTo>
                  <a:cubicBezTo>
                    <a:pt x="7533" y="6357"/>
                    <a:pt x="7700" y="6107"/>
                    <a:pt x="7918" y="6107"/>
                  </a:cubicBezTo>
                  <a:cubicBezTo>
                    <a:pt x="8169" y="6107"/>
                    <a:pt x="8213" y="6314"/>
                    <a:pt x="8425" y="6063"/>
                  </a:cubicBezTo>
                  <a:cubicBezTo>
                    <a:pt x="8598" y="5944"/>
                    <a:pt x="8598" y="5944"/>
                    <a:pt x="8598" y="5944"/>
                  </a:cubicBezTo>
                  <a:close/>
                  <a:moveTo>
                    <a:pt x="5229" y="5362"/>
                  </a:moveTo>
                  <a:cubicBezTo>
                    <a:pt x="5274" y="5487"/>
                    <a:pt x="5274" y="5487"/>
                    <a:pt x="5274" y="5487"/>
                  </a:cubicBezTo>
                  <a:cubicBezTo>
                    <a:pt x="5274" y="5569"/>
                    <a:pt x="5229" y="5650"/>
                    <a:pt x="5190" y="5732"/>
                  </a:cubicBezTo>
                  <a:cubicBezTo>
                    <a:pt x="5190" y="5775"/>
                    <a:pt x="5190" y="5819"/>
                    <a:pt x="5146" y="5857"/>
                  </a:cubicBezTo>
                  <a:cubicBezTo>
                    <a:pt x="5146" y="5900"/>
                    <a:pt x="5101" y="5944"/>
                    <a:pt x="5062" y="5944"/>
                  </a:cubicBezTo>
                  <a:cubicBezTo>
                    <a:pt x="4850" y="6025"/>
                    <a:pt x="4806" y="5857"/>
                    <a:pt x="4979" y="5732"/>
                  </a:cubicBezTo>
                  <a:cubicBezTo>
                    <a:pt x="5018" y="5694"/>
                    <a:pt x="5062" y="5650"/>
                    <a:pt x="5062" y="5569"/>
                  </a:cubicBezTo>
                  <a:cubicBezTo>
                    <a:pt x="5062" y="5444"/>
                    <a:pt x="5190" y="5444"/>
                    <a:pt x="5229" y="5362"/>
                  </a:cubicBezTo>
                  <a:close/>
                  <a:moveTo>
                    <a:pt x="7020" y="3116"/>
                  </a:moveTo>
                  <a:cubicBezTo>
                    <a:pt x="7103" y="3198"/>
                    <a:pt x="7103" y="3198"/>
                    <a:pt x="7103" y="3198"/>
                  </a:cubicBezTo>
                  <a:cubicBezTo>
                    <a:pt x="7193" y="3241"/>
                    <a:pt x="7405" y="3410"/>
                    <a:pt x="7360" y="3491"/>
                  </a:cubicBezTo>
                  <a:cubicBezTo>
                    <a:pt x="7315" y="3491"/>
                    <a:pt x="7276" y="3535"/>
                    <a:pt x="7193" y="3491"/>
                  </a:cubicBezTo>
                  <a:cubicBezTo>
                    <a:pt x="7103" y="3491"/>
                    <a:pt x="6975" y="3491"/>
                    <a:pt x="6891" y="3448"/>
                  </a:cubicBezTo>
                  <a:cubicBezTo>
                    <a:pt x="6680" y="3448"/>
                    <a:pt x="6512" y="3366"/>
                    <a:pt x="6295" y="3323"/>
                  </a:cubicBezTo>
                  <a:cubicBezTo>
                    <a:pt x="6211" y="3285"/>
                    <a:pt x="5955" y="3241"/>
                    <a:pt x="5955" y="3160"/>
                  </a:cubicBezTo>
                  <a:cubicBezTo>
                    <a:pt x="5999" y="2953"/>
                    <a:pt x="6339" y="3116"/>
                    <a:pt x="6423" y="3116"/>
                  </a:cubicBezTo>
                  <a:cubicBezTo>
                    <a:pt x="6551" y="3116"/>
                    <a:pt x="6635" y="3073"/>
                    <a:pt x="6724" y="3034"/>
                  </a:cubicBezTo>
                  <a:cubicBezTo>
                    <a:pt x="6852" y="2991"/>
                    <a:pt x="6891" y="3160"/>
                    <a:pt x="7020" y="3116"/>
                  </a:cubicBezTo>
                  <a:close/>
                  <a:moveTo>
                    <a:pt x="12346" y="3535"/>
                  </a:moveTo>
                  <a:cubicBezTo>
                    <a:pt x="12346" y="3410"/>
                    <a:pt x="12385" y="3198"/>
                    <a:pt x="12513" y="3116"/>
                  </a:cubicBezTo>
                  <a:cubicBezTo>
                    <a:pt x="12602" y="3034"/>
                    <a:pt x="12731" y="2953"/>
                    <a:pt x="12814" y="2866"/>
                  </a:cubicBezTo>
                  <a:cubicBezTo>
                    <a:pt x="12943" y="2741"/>
                    <a:pt x="13026" y="2534"/>
                    <a:pt x="13155" y="2453"/>
                  </a:cubicBezTo>
                  <a:cubicBezTo>
                    <a:pt x="13238" y="2371"/>
                    <a:pt x="13495" y="2164"/>
                    <a:pt x="13623" y="2121"/>
                  </a:cubicBezTo>
                  <a:cubicBezTo>
                    <a:pt x="13623" y="2289"/>
                    <a:pt x="13411" y="2409"/>
                    <a:pt x="13327" y="2534"/>
                  </a:cubicBezTo>
                  <a:cubicBezTo>
                    <a:pt x="13199" y="2703"/>
                    <a:pt x="13026" y="2909"/>
                    <a:pt x="12859" y="3073"/>
                  </a:cubicBezTo>
                  <a:cubicBezTo>
                    <a:pt x="12731" y="3198"/>
                    <a:pt x="12686" y="3323"/>
                    <a:pt x="12558" y="3410"/>
                  </a:cubicBezTo>
                  <a:cubicBezTo>
                    <a:pt x="12346" y="3535"/>
                    <a:pt x="12346" y="3535"/>
                    <a:pt x="12346" y="3535"/>
                  </a:cubicBezTo>
                  <a:close/>
                  <a:moveTo>
                    <a:pt x="14688" y="1082"/>
                  </a:moveTo>
                  <a:cubicBezTo>
                    <a:pt x="14560" y="1207"/>
                    <a:pt x="14393" y="1332"/>
                    <a:pt x="14303" y="1370"/>
                  </a:cubicBezTo>
                  <a:cubicBezTo>
                    <a:pt x="14047" y="1495"/>
                    <a:pt x="14136" y="1702"/>
                    <a:pt x="13963" y="1914"/>
                  </a:cubicBezTo>
                  <a:cubicBezTo>
                    <a:pt x="13835" y="2246"/>
                    <a:pt x="13880" y="2703"/>
                    <a:pt x="14303" y="2496"/>
                  </a:cubicBezTo>
                  <a:cubicBezTo>
                    <a:pt x="14688" y="2327"/>
                    <a:pt x="14220" y="2953"/>
                    <a:pt x="13919" y="2621"/>
                  </a:cubicBezTo>
                  <a:cubicBezTo>
                    <a:pt x="13707" y="2409"/>
                    <a:pt x="13668" y="2659"/>
                    <a:pt x="13539" y="2953"/>
                  </a:cubicBezTo>
                  <a:cubicBezTo>
                    <a:pt x="13495" y="2991"/>
                    <a:pt x="13199" y="3323"/>
                    <a:pt x="13366" y="3323"/>
                  </a:cubicBezTo>
                  <a:cubicBezTo>
                    <a:pt x="13623" y="3323"/>
                    <a:pt x="13751" y="2991"/>
                    <a:pt x="13751" y="3410"/>
                  </a:cubicBezTo>
                  <a:cubicBezTo>
                    <a:pt x="13751" y="3660"/>
                    <a:pt x="14008" y="3616"/>
                    <a:pt x="14175" y="3573"/>
                  </a:cubicBezTo>
                  <a:cubicBezTo>
                    <a:pt x="14047" y="3698"/>
                    <a:pt x="13880" y="3741"/>
                    <a:pt x="13668" y="3741"/>
                  </a:cubicBezTo>
                  <a:cubicBezTo>
                    <a:pt x="13623" y="3741"/>
                    <a:pt x="12859" y="4361"/>
                    <a:pt x="12641" y="4448"/>
                  </a:cubicBezTo>
                  <a:cubicBezTo>
                    <a:pt x="12429" y="4530"/>
                    <a:pt x="12089" y="4862"/>
                    <a:pt x="12474" y="4905"/>
                  </a:cubicBezTo>
                  <a:cubicBezTo>
                    <a:pt x="12859" y="4987"/>
                    <a:pt x="12602" y="4943"/>
                    <a:pt x="12686" y="5193"/>
                  </a:cubicBezTo>
                  <a:cubicBezTo>
                    <a:pt x="12731" y="5362"/>
                    <a:pt x="12385" y="5819"/>
                    <a:pt x="12218" y="5857"/>
                  </a:cubicBezTo>
                  <a:cubicBezTo>
                    <a:pt x="11621" y="5944"/>
                    <a:pt x="11916" y="6107"/>
                    <a:pt x="11833" y="6526"/>
                  </a:cubicBezTo>
                  <a:cubicBezTo>
                    <a:pt x="11665" y="6814"/>
                    <a:pt x="11704" y="7108"/>
                    <a:pt x="11749" y="7352"/>
                  </a:cubicBezTo>
                  <a:cubicBezTo>
                    <a:pt x="11794" y="7439"/>
                    <a:pt x="11749" y="7896"/>
                    <a:pt x="11833" y="7771"/>
                  </a:cubicBezTo>
                  <a:cubicBezTo>
                    <a:pt x="12006" y="7559"/>
                    <a:pt x="11961" y="7021"/>
                    <a:pt x="12089" y="6770"/>
                  </a:cubicBezTo>
                  <a:cubicBezTo>
                    <a:pt x="12218" y="6439"/>
                    <a:pt x="12134" y="6814"/>
                    <a:pt x="12257" y="6857"/>
                  </a:cubicBezTo>
                  <a:cubicBezTo>
                    <a:pt x="12346" y="6895"/>
                    <a:pt x="12770" y="6770"/>
                    <a:pt x="12859" y="6689"/>
                  </a:cubicBezTo>
                  <a:cubicBezTo>
                    <a:pt x="12859" y="6895"/>
                    <a:pt x="12474" y="7227"/>
                    <a:pt x="12474" y="7477"/>
                  </a:cubicBezTo>
                  <a:cubicBezTo>
                    <a:pt x="12474" y="7771"/>
                    <a:pt x="12257" y="8228"/>
                    <a:pt x="12134" y="8478"/>
                  </a:cubicBezTo>
                  <a:cubicBezTo>
                    <a:pt x="12045" y="8603"/>
                    <a:pt x="11961" y="8848"/>
                    <a:pt x="12218" y="8685"/>
                  </a:cubicBezTo>
                  <a:cubicBezTo>
                    <a:pt x="12346" y="8560"/>
                    <a:pt x="12474" y="8184"/>
                    <a:pt x="12641" y="8184"/>
                  </a:cubicBezTo>
                  <a:cubicBezTo>
                    <a:pt x="12558" y="8353"/>
                    <a:pt x="12429" y="8641"/>
                    <a:pt x="12429" y="8848"/>
                  </a:cubicBezTo>
                  <a:cubicBezTo>
                    <a:pt x="12429" y="8973"/>
                    <a:pt x="12602" y="9179"/>
                    <a:pt x="12513" y="9305"/>
                  </a:cubicBezTo>
                  <a:cubicBezTo>
                    <a:pt x="12429" y="9392"/>
                    <a:pt x="12257" y="9392"/>
                    <a:pt x="12218" y="9511"/>
                  </a:cubicBezTo>
                  <a:cubicBezTo>
                    <a:pt x="11409" y="10969"/>
                    <a:pt x="11409" y="10969"/>
                    <a:pt x="11409" y="10969"/>
                  </a:cubicBezTo>
                  <a:cubicBezTo>
                    <a:pt x="11409" y="11132"/>
                    <a:pt x="11197" y="11507"/>
                    <a:pt x="11325" y="11632"/>
                  </a:cubicBezTo>
                  <a:cubicBezTo>
                    <a:pt x="11453" y="11757"/>
                    <a:pt x="11537" y="12546"/>
                    <a:pt x="11621" y="12421"/>
                  </a:cubicBezTo>
                  <a:cubicBezTo>
                    <a:pt x="11665" y="12339"/>
                    <a:pt x="12134" y="11676"/>
                    <a:pt x="12089" y="12045"/>
                  </a:cubicBezTo>
                  <a:cubicBezTo>
                    <a:pt x="12006" y="12339"/>
                    <a:pt x="11961" y="12502"/>
                    <a:pt x="11833" y="12752"/>
                  </a:cubicBezTo>
                  <a:cubicBezTo>
                    <a:pt x="11621" y="13171"/>
                    <a:pt x="11493" y="13421"/>
                    <a:pt x="11704" y="13834"/>
                  </a:cubicBezTo>
                  <a:cubicBezTo>
                    <a:pt x="11833" y="14085"/>
                    <a:pt x="11961" y="14335"/>
                    <a:pt x="12218" y="14335"/>
                  </a:cubicBezTo>
                  <a:cubicBezTo>
                    <a:pt x="12218" y="14541"/>
                    <a:pt x="12134" y="15248"/>
                    <a:pt x="11877" y="15286"/>
                  </a:cubicBezTo>
                  <a:cubicBezTo>
                    <a:pt x="11152" y="15411"/>
                    <a:pt x="11794" y="15787"/>
                    <a:pt x="11493" y="16200"/>
                  </a:cubicBezTo>
                  <a:cubicBezTo>
                    <a:pt x="11453" y="16369"/>
                    <a:pt x="11453" y="16494"/>
                    <a:pt x="11453" y="16657"/>
                  </a:cubicBezTo>
                  <a:cubicBezTo>
                    <a:pt x="10979" y="17239"/>
                    <a:pt x="11281" y="18196"/>
                    <a:pt x="11197" y="18903"/>
                  </a:cubicBezTo>
                  <a:cubicBezTo>
                    <a:pt x="11108" y="19485"/>
                    <a:pt x="10639" y="19441"/>
                    <a:pt x="10472" y="19898"/>
                  </a:cubicBezTo>
                  <a:cubicBezTo>
                    <a:pt x="10344" y="20230"/>
                    <a:pt x="10427" y="20898"/>
                    <a:pt x="10427" y="21230"/>
                  </a:cubicBezTo>
                  <a:cubicBezTo>
                    <a:pt x="10684" y="21393"/>
                    <a:pt x="11024" y="21600"/>
                    <a:pt x="11364" y="21393"/>
                  </a:cubicBezTo>
                  <a:cubicBezTo>
                    <a:pt x="11537" y="21268"/>
                    <a:pt x="11794" y="21187"/>
                    <a:pt x="11961" y="21230"/>
                  </a:cubicBezTo>
                  <a:cubicBezTo>
                    <a:pt x="12301" y="21230"/>
                    <a:pt x="12641" y="20855"/>
                    <a:pt x="12814" y="20648"/>
                  </a:cubicBezTo>
                  <a:cubicBezTo>
                    <a:pt x="13071" y="20398"/>
                    <a:pt x="12770" y="19979"/>
                    <a:pt x="12731" y="19691"/>
                  </a:cubicBezTo>
                  <a:cubicBezTo>
                    <a:pt x="12602" y="19566"/>
                    <a:pt x="12429" y="19523"/>
                    <a:pt x="12257" y="19523"/>
                  </a:cubicBezTo>
                  <a:cubicBezTo>
                    <a:pt x="12257" y="19403"/>
                    <a:pt x="12859" y="19441"/>
                    <a:pt x="12770" y="19066"/>
                  </a:cubicBezTo>
                  <a:cubicBezTo>
                    <a:pt x="12731" y="18816"/>
                    <a:pt x="12987" y="18691"/>
                    <a:pt x="13026" y="18446"/>
                  </a:cubicBezTo>
                  <a:cubicBezTo>
                    <a:pt x="13071" y="18027"/>
                    <a:pt x="13199" y="17657"/>
                    <a:pt x="13199" y="17239"/>
                  </a:cubicBezTo>
                  <a:cubicBezTo>
                    <a:pt x="13199" y="16907"/>
                    <a:pt x="13578" y="17407"/>
                    <a:pt x="13411" y="16863"/>
                  </a:cubicBezTo>
                  <a:cubicBezTo>
                    <a:pt x="13283" y="16369"/>
                    <a:pt x="13450" y="15705"/>
                    <a:pt x="13623" y="15248"/>
                  </a:cubicBezTo>
                  <a:cubicBezTo>
                    <a:pt x="13751" y="14955"/>
                    <a:pt x="13880" y="14666"/>
                    <a:pt x="14136" y="14498"/>
                  </a:cubicBezTo>
                  <a:cubicBezTo>
                    <a:pt x="14348" y="14335"/>
                    <a:pt x="14644" y="14335"/>
                    <a:pt x="14733" y="14041"/>
                  </a:cubicBezTo>
                  <a:cubicBezTo>
                    <a:pt x="14733" y="13503"/>
                    <a:pt x="13963" y="12714"/>
                    <a:pt x="13790" y="12214"/>
                  </a:cubicBezTo>
                  <a:cubicBezTo>
                    <a:pt x="13578" y="11550"/>
                    <a:pt x="13539" y="11007"/>
                    <a:pt x="13539" y="10343"/>
                  </a:cubicBezTo>
                  <a:cubicBezTo>
                    <a:pt x="14136" y="10675"/>
                    <a:pt x="14303" y="10593"/>
                    <a:pt x="14560" y="9973"/>
                  </a:cubicBezTo>
                  <a:cubicBezTo>
                    <a:pt x="14644" y="9761"/>
                    <a:pt x="14900" y="9723"/>
                    <a:pt x="14984" y="9430"/>
                  </a:cubicBezTo>
                  <a:cubicBezTo>
                    <a:pt x="15028" y="9266"/>
                    <a:pt x="15285" y="9054"/>
                    <a:pt x="15369" y="8848"/>
                  </a:cubicBezTo>
                  <a:cubicBezTo>
                    <a:pt x="15497" y="8560"/>
                    <a:pt x="15837" y="8434"/>
                    <a:pt x="16094" y="8353"/>
                  </a:cubicBezTo>
                  <a:cubicBezTo>
                    <a:pt x="16478" y="8184"/>
                    <a:pt x="16562" y="7521"/>
                    <a:pt x="16735" y="7227"/>
                  </a:cubicBezTo>
                  <a:cubicBezTo>
                    <a:pt x="16819" y="7064"/>
                    <a:pt x="17583" y="6857"/>
                    <a:pt x="17711" y="6857"/>
                  </a:cubicBezTo>
                  <a:cubicBezTo>
                    <a:pt x="17672" y="6857"/>
                    <a:pt x="17159" y="7271"/>
                    <a:pt x="17075" y="7352"/>
                  </a:cubicBezTo>
                  <a:cubicBezTo>
                    <a:pt x="16735" y="7809"/>
                    <a:pt x="16774" y="8266"/>
                    <a:pt x="16177" y="8560"/>
                  </a:cubicBezTo>
                  <a:cubicBezTo>
                    <a:pt x="16049" y="8603"/>
                    <a:pt x="15837" y="8603"/>
                    <a:pt x="15753" y="8766"/>
                  </a:cubicBezTo>
                  <a:cubicBezTo>
                    <a:pt x="15581" y="9098"/>
                    <a:pt x="15625" y="9179"/>
                    <a:pt x="15285" y="9392"/>
                  </a:cubicBezTo>
                  <a:cubicBezTo>
                    <a:pt x="15028" y="9555"/>
                    <a:pt x="14900" y="10218"/>
                    <a:pt x="14688" y="10468"/>
                  </a:cubicBezTo>
                  <a:cubicBezTo>
                    <a:pt x="14432" y="10800"/>
                    <a:pt x="14393" y="11344"/>
                    <a:pt x="14393" y="11757"/>
                  </a:cubicBezTo>
                  <a:cubicBezTo>
                    <a:pt x="14560" y="12377"/>
                    <a:pt x="14432" y="12752"/>
                    <a:pt x="15112" y="13046"/>
                  </a:cubicBezTo>
                  <a:cubicBezTo>
                    <a:pt x="15285" y="13127"/>
                    <a:pt x="15413" y="13296"/>
                    <a:pt x="15581" y="13334"/>
                  </a:cubicBezTo>
                  <a:cubicBezTo>
                    <a:pt x="15837" y="13421"/>
                    <a:pt x="15625" y="13127"/>
                    <a:pt x="15541" y="13002"/>
                  </a:cubicBezTo>
                  <a:cubicBezTo>
                    <a:pt x="15369" y="12627"/>
                    <a:pt x="15324" y="12377"/>
                    <a:pt x="15581" y="12089"/>
                  </a:cubicBezTo>
                  <a:cubicBezTo>
                    <a:pt x="15709" y="11882"/>
                    <a:pt x="15625" y="11300"/>
                    <a:pt x="15965" y="11714"/>
                  </a:cubicBezTo>
                  <a:cubicBezTo>
                    <a:pt x="16138" y="11882"/>
                    <a:pt x="16350" y="11964"/>
                    <a:pt x="16562" y="12132"/>
                  </a:cubicBezTo>
                  <a:cubicBezTo>
                    <a:pt x="16858" y="12464"/>
                    <a:pt x="16819" y="12007"/>
                    <a:pt x="16735" y="11801"/>
                  </a:cubicBezTo>
                  <a:cubicBezTo>
                    <a:pt x="16646" y="11632"/>
                    <a:pt x="16607" y="11425"/>
                    <a:pt x="16517" y="11257"/>
                  </a:cubicBezTo>
                  <a:cubicBezTo>
                    <a:pt x="16395" y="11050"/>
                    <a:pt x="16350" y="10800"/>
                    <a:pt x="16607" y="11175"/>
                  </a:cubicBezTo>
                  <a:cubicBezTo>
                    <a:pt x="16858" y="11425"/>
                    <a:pt x="16986" y="11882"/>
                    <a:pt x="17075" y="12214"/>
                  </a:cubicBezTo>
                  <a:cubicBezTo>
                    <a:pt x="17159" y="12421"/>
                    <a:pt x="16947" y="12714"/>
                    <a:pt x="17203" y="12714"/>
                  </a:cubicBezTo>
                  <a:cubicBezTo>
                    <a:pt x="17326" y="12714"/>
                    <a:pt x="17583" y="12839"/>
                    <a:pt x="17672" y="12752"/>
                  </a:cubicBezTo>
                  <a:cubicBezTo>
                    <a:pt x="17839" y="12546"/>
                    <a:pt x="17968" y="11926"/>
                    <a:pt x="18096" y="11632"/>
                  </a:cubicBezTo>
                  <a:cubicBezTo>
                    <a:pt x="18179" y="11507"/>
                    <a:pt x="18224" y="11344"/>
                    <a:pt x="18224" y="11175"/>
                  </a:cubicBezTo>
                  <a:cubicBezTo>
                    <a:pt x="18269" y="11050"/>
                    <a:pt x="18012" y="11094"/>
                    <a:pt x="17968" y="10969"/>
                  </a:cubicBezTo>
                  <a:cubicBezTo>
                    <a:pt x="18520" y="11094"/>
                    <a:pt x="18308" y="10800"/>
                    <a:pt x="18269" y="10430"/>
                  </a:cubicBezTo>
                  <a:cubicBezTo>
                    <a:pt x="18352" y="10011"/>
                    <a:pt x="18564" y="9636"/>
                    <a:pt x="18436" y="9266"/>
                  </a:cubicBezTo>
                  <a:cubicBezTo>
                    <a:pt x="18352" y="8973"/>
                    <a:pt x="18308" y="8848"/>
                    <a:pt x="18308" y="8560"/>
                  </a:cubicBezTo>
                  <a:cubicBezTo>
                    <a:pt x="18269" y="7853"/>
                    <a:pt x="18564" y="8935"/>
                    <a:pt x="18648" y="9098"/>
                  </a:cubicBezTo>
                  <a:cubicBezTo>
                    <a:pt x="18648" y="9179"/>
                    <a:pt x="19077" y="8266"/>
                    <a:pt x="19245" y="8103"/>
                  </a:cubicBezTo>
                  <a:cubicBezTo>
                    <a:pt x="19245" y="8434"/>
                    <a:pt x="18904" y="9098"/>
                    <a:pt x="18776" y="9392"/>
                  </a:cubicBezTo>
                  <a:cubicBezTo>
                    <a:pt x="18648" y="9680"/>
                    <a:pt x="18564" y="11050"/>
                    <a:pt x="18904" y="10969"/>
                  </a:cubicBezTo>
                  <a:cubicBezTo>
                    <a:pt x="19161" y="10925"/>
                    <a:pt x="19758" y="10925"/>
                    <a:pt x="19334" y="10637"/>
                  </a:cubicBezTo>
                  <a:cubicBezTo>
                    <a:pt x="19116" y="10468"/>
                    <a:pt x="18949" y="10098"/>
                    <a:pt x="18949" y="9848"/>
                  </a:cubicBezTo>
                  <a:cubicBezTo>
                    <a:pt x="19161" y="10011"/>
                    <a:pt x="19462" y="10512"/>
                    <a:pt x="19674" y="10593"/>
                  </a:cubicBezTo>
                  <a:cubicBezTo>
                    <a:pt x="19970" y="10675"/>
                    <a:pt x="19970" y="10762"/>
                    <a:pt x="20053" y="11007"/>
                  </a:cubicBezTo>
                  <a:cubicBezTo>
                    <a:pt x="20182" y="11344"/>
                    <a:pt x="20695" y="11469"/>
                    <a:pt x="21163" y="11594"/>
                  </a:cubicBezTo>
                  <a:cubicBezTo>
                    <a:pt x="21163" y="11550"/>
                    <a:pt x="21163" y="11550"/>
                    <a:pt x="21163" y="11550"/>
                  </a:cubicBezTo>
                  <a:cubicBezTo>
                    <a:pt x="21247" y="11425"/>
                    <a:pt x="21375" y="11300"/>
                    <a:pt x="21375" y="11175"/>
                  </a:cubicBezTo>
                  <a:cubicBezTo>
                    <a:pt x="21420" y="11094"/>
                    <a:pt x="21375" y="10969"/>
                    <a:pt x="21336" y="10882"/>
                  </a:cubicBezTo>
                  <a:cubicBezTo>
                    <a:pt x="21247" y="10762"/>
                    <a:pt x="21035" y="10675"/>
                    <a:pt x="21035" y="10550"/>
                  </a:cubicBezTo>
                  <a:cubicBezTo>
                    <a:pt x="21035" y="10468"/>
                    <a:pt x="21247" y="10550"/>
                    <a:pt x="21336" y="10512"/>
                  </a:cubicBezTo>
                  <a:cubicBezTo>
                    <a:pt x="21420" y="10468"/>
                    <a:pt x="21503" y="10387"/>
                    <a:pt x="21503" y="10305"/>
                  </a:cubicBezTo>
                  <a:cubicBezTo>
                    <a:pt x="21548" y="10180"/>
                    <a:pt x="21420" y="10055"/>
                    <a:pt x="21375" y="9930"/>
                  </a:cubicBezTo>
                  <a:cubicBezTo>
                    <a:pt x="21375" y="9761"/>
                    <a:pt x="21459" y="9598"/>
                    <a:pt x="21503" y="9430"/>
                  </a:cubicBezTo>
                  <a:cubicBezTo>
                    <a:pt x="21420" y="9266"/>
                    <a:pt x="21375" y="9054"/>
                    <a:pt x="21247" y="8973"/>
                  </a:cubicBezTo>
                  <a:cubicBezTo>
                    <a:pt x="21080" y="8848"/>
                    <a:pt x="20778" y="9016"/>
                    <a:pt x="20611" y="8848"/>
                  </a:cubicBezTo>
                  <a:cubicBezTo>
                    <a:pt x="20438" y="8685"/>
                    <a:pt x="20438" y="8391"/>
                    <a:pt x="20355" y="8184"/>
                  </a:cubicBezTo>
                  <a:cubicBezTo>
                    <a:pt x="20265" y="8021"/>
                    <a:pt x="20143" y="7853"/>
                    <a:pt x="20143" y="7646"/>
                  </a:cubicBezTo>
                  <a:cubicBezTo>
                    <a:pt x="20098" y="7521"/>
                    <a:pt x="20182" y="7352"/>
                    <a:pt x="20182" y="7189"/>
                  </a:cubicBezTo>
                  <a:cubicBezTo>
                    <a:pt x="20182" y="6939"/>
                    <a:pt x="20014" y="6689"/>
                    <a:pt x="20098" y="6439"/>
                  </a:cubicBezTo>
                  <a:cubicBezTo>
                    <a:pt x="20098" y="6357"/>
                    <a:pt x="20355" y="6526"/>
                    <a:pt x="20355" y="6439"/>
                  </a:cubicBezTo>
                  <a:cubicBezTo>
                    <a:pt x="20438" y="6314"/>
                    <a:pt x="20265" y="6189"/>
                    <a:pt x="20265" y="6063"/>
                  </a:cubicBezTo>
                  <a:cubicBezTo>
                    <a:pt x="20265" y="5944"/>
                    <a:pt x="20483" y="5819"/>
                    <a:pt x="20394" y="5732"/>
                  </a:cubicBezTo>
                  <a:cubicBezTo>
                    <a:pt x="20226" y="5612"/>
                    <a:pt x="19970" y="5650"/>
                    <a:pt x="19802" y="5650"/>
                  </a:cubicBezTo>
                  <a:cubicBezTo>
                    <a:pt x="19629" y="5612"/>
                    <a:pt x="19462" y="5732"/>
                    <a:pt x="19334" y="5694"/>
                  </a:cubicBezTo>
                  <a:cubicBezTo>
                    <a:pt x="19245" y="5650"/>
                    <a:pt x="19373" y="5525"/>
                    <a:pt x="19334" y="5487"/>
                  </a:cubicBezTo>
                  <a:cubicBezTo>
                    <a:pt x="19206" y="5275"/>
                    <a:pt x="18904" y="5193"/>
                    <a:pt x="18821" y="4987"/>
                  </a:cubicBezTo>
                  <a:cubicBezTo>
                    <a:pt x="18776" y="4862"/>
                    <a:pt x="18949" y="4737"/>
                    <a:pt x="18988" y="4655"/>
                  </a:cubicBezTo>
                  <a:cubicBezTo>
                    <a:pt x="19161" y="4448"/>
                    <a:pt x="19334" y="4198"/>
                    <a:pt x="19546" y="4030"/>
                  </a:cubicBezTo>
                  <a:cubicBezTo>
                    <a:pt x="19585" y="3992"/>
                    <a:pt x="19713" y="4117"/>
                    <a:pt x="19758" y="4030"/>
                  </a:cubicBezTo>
                  <a:cubicBezTo>
                    <a:pt x="19841" y="3948"/>
                    <a:pt x="19758" y="3785"/>
                    <a:pt x="19841" y="3698"/>
                  </a:cubicBezTo>
                  <a:cubicBezTo>
                    <a:pt x="19886" y="3660"/>
                    <a:pt x="19925" y="3616"/>
                    <a:pt x="20014" y="3616"/>
                  </a:cubicBezTo>
                  <a:cubicBezTo>
                    <a:pt x="20143" y="3616"/>
                    <a:pt x="20226" y="3741"/>
                    <a:pt x="20310" y="3698"/>
                  </a:cubicBezTo>
                  <a:cubicBezTo>
                    <a:pt x="20438" y="3698"/>
                    <a:pt x="20483" y="3535"/>
                    <a:pt x="20566" y="3448"/>
                  </a:cubicBezTo>
                  <a:cubicBezTo>
                    <a:pt x="20438" y="3410"/>
                    <a:pt x="20226" y="3410"/>
                    <a:pt x="20226" y="3241"/>
                  </a:cubicBezTo>
                  <a:cubicBezTo>
                    <a:pt x="20182" y="3034"/>
                    <a:pt x="20522" y="2866"/>
                    <a:pt x="20483" y="2621"/>
                  </a:cubicBezTo>
                  <a:cubicBezTo>
                    <a:pt x="20483" y="2496"/>
                    <a:pt x="20226" y="2534"/>
                    <a:pt x="20143" y="2409"/>
                  </a:cubicBezTo>
                  <a:cubicBezTo>
                    <a:pt x="20098" y="2371"/>
                    <a:pt x="20098" y="2289"/>
                    <a:pt x="20182" y="2246"/>
                  </a:cubicBezTo>
                  <a:cubicBezTo>
                    <a:pt x="20438" y="2164"/>
                    <a:pt x="20695" y="2077"/>
                    <a:pt x="20990" y="1996"/>
                  </a:cubicBezTo>
                  <a:cubicBezTo>
                    <a:pt x="21119" y="1996"/>
                    <a:pt x="21375" y="2164"/>
                    <a:pt x="21375" y="1996"/>
                  </a:cubicBezTo>
                  <a:cubicBezTo>
                    <a:pt x="21420" y="1827"/>
                    <a:pt x="21208" y="1664"/>
                    <a:pt x="21080" y="1539"/>
                  </a:cubicBezTo>
                  <a:cubicBezTo>
                    <a:pt x="20990" y="1457"/>
                    <a:pt x="20868" y="1414"/>
                    <a:pt x="20778" y="1332"/>
                  </a:cubicBezTo>
                  <a:cubicBezTo>
                    <a:pt x="20566" y="1370"/>
                    <a:pt x="20310" y="1370"/>
                    <a:pt x="20143" y="1457"/>
                  </a:cubicBezTo>
                  <a:cubicBezTo>
                    <a:pt x="20014" y="1495"/>
                    <a:pt x="19970" y="1702"/>
                    <a:pt x="19841" y="1746"/>
                  </a:cubicBezTo>
                  <a:cubicBezTo>
                    <a:pt x="19758" y="1789"/>
                    <a:pt x="19585" y="1702"/>
                    <a:pt x="19462" y="1746"/>
                  </a:cubicBezTo>
                  <a:cubicBezTo>
                    <a:pt x="19334" y="1789"/>
                    <a:pt x="19289" y="1914"/>
                    <a:pt x="19161" y="1952"/>
                  </a:cubicBezTo>
                  <a:cubicBezTo>
                    <a:pt x="18988" y="2039"/>
                    <a:pt x="18776" y="2039"/>
                    <a:pt x="18609" y="1996"/>
                  </a:cubicBezTo>
                  <a:cubicBezTo>
                    <a:pt x="18436" y="1996"/>
                    <a:pt x="18224" y="1827"/>
                    <a:pt x="18012" y="1871"/>
                  </a:cubicBezTo>
                  <a:cubicBezTo>
                    <a:pt x="17884" y="1914"/>
                    <a:pt x="17884" y="2039"/>
                    <a:pt x="17800" y="2121"/>
                  </a:cubicBezTo>
                  <a:cubicBezTo>
                    <a:pt x="17672" y="2246"/>
                    <a:pt x="17544" y="2409"/>
                    <a:pt x="17415" y="2453"/>
                  </a:cubicBezTo>
                  <a:cubicBezTo>
                    <a:pt x="17243" y="2534"/>
                    <a:pt x="17075" y="2578"/>
                    <a:pt x="16902" y="2578"/>
                  </a:cubicBezTo>
                  <a:cubicBezTo>
                    <a:pt x="16819" y="2578"/>
                    <a:pt x="16735" y="2578"/>
                    <a:pt x="16646" y="2534"/>
                  </a:cubicBezTo>
                  <a:cubicBezTo>
                    <a:pt x="16562" y="2496"/>
                    <a:pt x="16517" y="2371"/>
                    <a:pt x="16517" y="2289"/>
                  </a:cubicBezTo>
                  <a:cubicBezTo>
                    <a:pt x="16517" y="2202"/>
                    <a:pt x="16646" y="2202"/>
                    <a:pt x="16646" y="2121"/>
                  </a:cubicBezTo>
                  <a:cubicBezTo>
                    <a:pt x="16690" y="1996"/>
                    <a:pt x="16517" y="1914"/>
                    <a:pt x="16517" y="1789"/>
                  </a:cubicBezTo>
                  <a:cubicBezTo>
                    <a:pt x="16562" y="1621"/>
                    <a:pt x="16774" y="1539"/>
                    <a:pt x="16774" y="1370"/>
                  </a:cubicBezTo>
                  <a:cubicBezTo>
                    <a:pt x="16774" y="1289"/>
                    <a:pt x="16646" y="1289"/>
                    <a:pt x="16562" y="1289"/>
                  </a:cubicBezTo>
                  <a:cubicBezTo>
                    <a:pt x="16434" y="1245"/>
                    <a:pt x="16306" y="1332"/>
                    <a:pt x="16177" y="1245"/>
                  </a:cubicBezTo>
                  <a:cubicBezTo>
                    <a:pt x="16138" y="1207"/>
                    <a:pt x="16267" y="1082"/>
                    <a:pt x="16177" y="1082"/>
                  </a:cubicBezTo>
                  <a:cubicBezTo>
                    <a:pt x="16049" y="1001"/>
                    <a:pt x="15837" y="914"/>
                    <a:pt x="15670" y="1001"/>
                  </a:cubicBezTo>
                  <a:cubicBezTo>
                    <a:pt x="15581" y="1082"/>
                    <a:pt x="15709" y="1245"/>
                    <a:pt x="15670" y="1370"/>
                  </a:cubicBezTo>
                  <a:cubicBezTo>
                    <a:pt x="15670" y="1414"/>
                    <a:pt x="15670" y="1539"/>
                    <a:pt x="15581" y="1539"/>
                  </a:cubicBezTo>
                  <a:cubicBezTo>
                    <a:pt x="15452" y="1539"/>
                    <a:pt x="15324" y="1457"/>
                    <a:pt x="15157" y="1457"/>
                  </a:cubicBezTo>
                  <a:cubicBezTo>
                    <a:pt x="15112" y="1457"/>
                    <a:pt x="15028" y="1539"/>
                    <a:pt x="14945" y="1495"/>
                  </a:cubicBezTo>
                  <a:cubicBezTo>
                    <a:pt x="14816" y="1370"/>
                    <a:pt x="14772" y="1207"/>
                    <a:pt x="14688" y="1082"/>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2" name="Shape 2527">
              <a:extLst>
                <a:ext uri="{FF2B5EF4-FFF2-40B4-BE49-F238E27FC236}">
                  <a16:creationId xmlns:a16="http://schemas.microsoft.com/office/drawing/2014/main" id="{09BD8278-DC6B-723C-9DD3-66567412FAA6}"/>
                </a:ext>
              </a:extLst>
            </p:cNvPr>
            <p:cNvSpPr/>
            <p:nvPr/>
          </p:nvSpPr>
          <p:spPr>
            <a:xfrm>
              <a:off x="2534685" y="2445395"/>
              <a:ext cx="508376" cy="488248"/>
            </a:xfrm>
            <a:custGeom>
              <a:avLst/>
              <a:gdLst/>
              <a:ahLst/>
              <a:cxnLst>
                <a:cxn ang="0">
                  <a:pos x="wd2" y="hd2"/>
                </a:cxn>
                <a:cxn ang="5400000">
                  <a:pos x="wd2" y="hd2"/>
                </a:cxn>
                <a:cxn ang="10800000">
                  <a:pos x="wd2" y="hd2"/>
                </a:cxn>
                <a:cxn ang="16200000">
                  <a:pos x="wd2" y="hd2"/>
                </a:cxn>
              </a:cxnLst>
              <a:rect l="0" t="0" r="r" b="b"/>
              <a:pathLst>
                <a:path w="21426" h="21255" extrusionOk="0">
                  <a:moveTo>
                    <a:pt x="12284" y="21043"/>
                  </a:moveTo>
                  <a:cubicBezTo>
                    <a:pt x="12071" y="20706"/>
                    <a:pt x="11744" y="19695"/>
                    <a:pt x="11317" y="19578"/>
                  </a:cubicBezTo>
                  <a:cubicBezTo>
                    <a:pt x="10450" y="19358"/>
                    <a:pt x="9469" y="19578"/>
                    <a:pt x="8487" y="19695"/>
                  </a:cubicBezTo>
                  <a:cubicBezTo>
                    <a:pt x="8047" y="19695"/>
                    <a:pt x="7734" y="19812"/>
                    <a:pt x="7407" y="19915"/>
                  </a:cubicBezTo>
                  <a:cubicBezTo>
                    <a:pt x="7080" y="20032"/>
                    <a:pt x="6753" y="20149"/>
                    <a:pt x="6312" y="20369"/>
                  </a:cubicBezTo>
                  <a:cubicBezTo>
                    <a:pt x="5672" y="20149"/>
                    <a:pt x="4904" y="20252"/>
                    <a:pt x="4364" y="19812"/>
                  </a:cubicBezTo>
                  <a:cubicBezTo>
                    <a:pt x="4051" y="19695"/>
                    <a:pt x="3937" y="19255"/>
                    <a:pt x="4136" y="18918"/>
                  </a:cubicBezTo>
                  <a:cubicBezTo>
                    <a:pt x="4136" y="18684"/>
                    <a:pt x="4577" y="18918"/>
                    <a:pt x="4790" y="18684"/>
                  </a:cubicBezTo>
                  <a:cubicBezTo>
                    <a:pt x="4904" y="18684"/>
                    <a:pt x="4904" y="18464"/>
                    <a:pt x="4904" y="18244"/>
                  </a:cubicBezTo>
                  <a:cubicBezTo>
                    <a:pt x="4790" y="17907"/>
                    <a:pt x="4364" y="17468"/>
                    <a:pt x="4577" y="17131"/>
                  </a:cubicBezTo>
                  <a:cubicBezTo>
                    <a:pt x="4904" y="16456"/>
                    <a:pt x="5771" y="16339"/>
                    <a:pt x="6312" y="15885"/>
                  </a:cubicBezTo>
                  <a:cubicBezTo>
                    <a:pt x="6425" y="15782"/>
                    <a:pt x="6639" y="15445"/>
                    <a:pt x="6425" y="15328"/>
                  </a:cubicBezTo>
                  <a:cubicBezTo>
                    <a:pt x="5985" y="15328"/>
                    <a:pt x="5444" y="15885"/>
                    <a:pt x="5018" y="15782"/>
                  </a:cubicBezTo>
                  <a:cubicBezTo>
                    <a:pt x="4790" y="15782"/>
                    <a:pt x="4904" y="15328"/>
                    <a:pt x="4904" y="15108"/>
                  </a:cubicBezTo>
                  <a:cubicBezTo>
                    <a:pt x="4904" y="14888"/>
                    <a:pt x="4904" y="14654"/>
                    <a:pt x="5018" y="14551"/>
                  </a:cubicBezTo>
                  <a:cubicBezTo>
                    <a:pt x="5018" y="14214"/>
                    <a:pt x="5444" y="13877"/>
                    <a:pt x="5231" y="13760"/>
                  </a:cubicBezTo>
                  <a:cubicBezTo>
                    <a:pt x="4463" y="13203"/>
                    <a:pt x="3397" y="13203"/>
                    <a:pt x="2415" y="12866"/>
                  </a:cubicBezTo>
                  <a:cubicBezTo>
                    <a:pt x="1548" y="12529"/>
                    <a:pt x="1662" y="11415"/>
                    <a:pt x="1662" y="11415"/>
                  </a:cubicBezTo>
                  <a:cubicBezTo>
                    <a:pt x="1449" y="11298"/>
                    <a:pt x="1221" y="11196"/>
                    <a:pt x="1121" y="10961"/>
                  </a:cubicBezTo>
                  <a:cubicBezTo>
                    <a:pt x="794" y="10624"/>
                    <a:pt x="794" y="10067"/>
                    <a:pt x="567" y="9628"/>
                  </a:cubicBezTo>
                  <a:cubicBezTo>
                    <a:pt x="467" y="9408"/>
                    <a:pt x="27" y="9291"/>
                    <a:pt x="27" y="8954"/>
                  </a:cubicBezTo>
                  <a:cubicBezTo>
                    <a:pt x="140" y="8397"/>
                    <a:pt x="567" y="7942"/>
                    <a:pt x="794" y="7386"/>
                  </a:cubicBezTo>
                  <a:cubicBezTo>
                    <a:pt x="794" y="7049"/>
                    <a:pt x="794" y="6712"/>
                    <a:pt x="567" y="6492"/>
                  </a:cubicBezTo>
                  <a:cubicBezTo>
                    <a:pt x="467" y="6272"/>
                    <a:pt x="27" y="6272"/>
                    <a:pt x="27" y="5935"/>
                  </a:cubicBezTo>
                  <a:cubicBezTo>
                    <a:pt x="-73" y="5481"/>
                    <a:pt x="140" y="5041"/>
                    <a:pt x="140" y="4587"/>
                  </a:cubicBezTo>
                  <a:cubicBezTo>
                    <a:pt x="354" y="4250"/>
                    <a:pt x="567" y="3913"/>
                    <a:pt x="794" y="3693"/>
                  </a:cubicBezTo>
                  <a:cubicBezTo>
                    <a:pt x="1221" y="3473"/>
                    <a:pt x="1875" y="3576"/>
                    <a:pt x="2202" y="3136"/>
                  </a:cubicBezTo>
                  <a:cubicBezTo>
                    <a:pt x="2316" y="2901"/>
                    <a:pt x="1875" y="2462"/>
                    <a:pt x="2103" y="2345"/>
                  </a:cubicBezTo>
                  <a:cubicBezTo>
                    <a:pt x="2202" y="2125"/>
                    <a:pt x="2529" y="2564"/>
                    <a:pt x="2743" y="2564"/>
                  </a:cubicBezTo>
                  <a:cubicBezTo>
                    <a:pt x="3283" y="2799"/>
                    <a:pt x="3724" y="3019"/>
                    <a:pt x="4250" y="3136"/>
                  </a:cubicBezTo>
                  <a:cubicBezTo>
                    <a:pt x="4463" y="3136"/>
                    <a:pt x="4790" y="3019"/>
                    <a:pt x="5117" y="3136"/>
                  </a:cubicBezTo>
                  <a:cubicBezTo>
                    <a:pt x="5345" y="3356"/>
                    <a:pt x="5345" y="3810"/>
                    <a:pt x="5672" y="3913"/>
                  </a:cubicBezTo>
                  <a:cubicBezTo>
                    <a:pt x="5771" y="4030"/>
                    <a:pt x="5985" y="3810"/>
                    <a:pt x="6098" y="3693"/>
                  </a:cubicBezTo>
                  <a:cubicBezTo>
                    <a:pt x="6312" y="3136"/>
                    <a:pt x="6212" y="2564"/>
                    <a:pt x="6312" y="2125"/>
                  </a:cubicBezTo>
                  <a:cubicBezTo>
                    <a:pt x="6425" y="1788"/>
                    <a:pt x="6539" y="1451"/>
                    <a:pt x="6753" y="1114"/>
                  </a:cubicBezTo>
                  <a:cubicBezTo>
                    <a:pt x="6966" y="894"/>
                    <a:pt x="7179" y="777"/>
                    <a:pt x="7407" y="777"/>
                  </a:cubicBezTo>
                  <a:cubicBezTo>
                    <a:pt x="8274" y="557"/>
                    <a:pt x="9255" y="454"/>
                    <a:pt x="10123" y="337"/>
                  </a:cubicBezTo>
                  <a:cubicBezTo>
                    <a:pt x="10450" y="220"/>
                    <a:pt x="10663" y="0"/>
                    <a:pt x="10990" y="0"/>
                  </a:cubicBezTo>
                  <a:cubicBezTo>
                    <a:pt x="11417" y="0"/>
                    <a:pt x="11857" y="117"/>
                    <a:pt x="12185" y="337"/>
                  </a:cubicBezTo>
                  <a:cubicBezTo>
                    <a:pt x="12512" y="454"/>
                    <a:pt x="12611" y="894"/>
                    <a:pt x="12938" y="1011"/>
                  </a:cubicBezTo>
                  <a:cubicBezTo>
                    <a:pt x="13151" y="1114"/>
                    <a:pt x="13592" y="777"/>
                    <a:pt x="13919" y="1011"/>
                  </a:cubicBezTo>
                  <a:cubicBezTo>
                    <a:pt x="14360" y="1348"/>
                    <a:pt x="14360" y="2008"/>
                    <a:pt x="14687" y="2345"/>
                  </a:cubicBezTo>
                  <a:cubicBezTo>
                    <a:pt x="14787" y="2564"/>
                    <a:pt x="15228" y="2682"/>
                    <a:pt x="15327" y="2901"/>
                  </a:cubicBezTo>
                  <a:cubicBezTo>
                    <a:pt x="15441" y="3136"/>
                    <a:pt x="15327" y="3576"/>
                    <a:pt x="15555" y="3810"/>
                  </a:cubicBezTo>
                  <a:cubicBezTo>
                    <a:pt x="15555" y="4030"/>
                    <a:pt x="15981" y="3810"/>
                    <a:pt x="15981" y="3913"/>
                  </a:cubicBezTo>
                  <a:cubicBezTo>
                    <a:pt x="15981" y="4367"/>
                    <a:pt x="15654" y="4807"/>
                    <a:pt x="15654" y="5261"/>
                  </a:cubicBezTo>
                  <a:cubicBezTo>
                    <a:pt x="15654" y="5935"/>
                    <a:pt x="15867" y="6492"/>
                    <a:pt x="16195" y="7049"/>
                  </a:cubicBezTo>
                  <a:cubicBezTo>
                    <a:pt x="16308" y="7503"/>
                    <a:pt x="16522" y="7942"/>
                    <a:pt x="16849" y="8162"/>
                  </a:cubicBezTo>
                  <a:cubicBezTo>
                    <a:pt x="17617" y="8499"/>
                    <a:pt x="18598" y="8280"/>
                    <a:pt x="19351" y="8499"/>
                  </a:cubicBezTo>
                  <a:cubicBezTo>
                    <a:pt x="20105" y="8836"/>
                    <a:pt x="20759" y="9408"/>
                    <a:pt x="21413" y="9847"/>
                  </a:cubicBezTo>
                  <a:cubicBezTo>
                    <a:pt x="21413" y="10624"/>
                    <a:pt x="21527" y="11298"/>
                    <a:pt x="21086" y="11753"/>
                  </a:cubicBezTo>
                  <a:cubicBezTo>
                    <a:pt x="20645" y="12090"/>
                    <a:pt x="19238" y="13203"/>
                    <a:pt x="20005" y="13760"/>
                  </a:cubicBezTo>
                  <a:cubicBezTo>
                    <a:pt x="21200" y="14771"/>
                    <a:pt x="17617" y="17233"/>
                    <a:pt x="16735" y="18127"/>
                  </a:cubicBezTo>
                  <a:cubicBezTo>
                    <a:pt x="14460" y="20706"/>
                    <a:pt x="14460" y="20706"/>
                    <a:pt x="14460" y="20706"/>
                  </a:cubicBezTo>
                  <a:cubicBezTo>
                    <a:pt x="13592" y="21600"/>
                    <a:pt x="13052" y="21160"/>
                    <a:pt x="12284" y="2104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3" name="Shape 2528">
              <a:extLst>
                <a:ext uri="{FF2B5EF4-FFF2-40B4-BE49-F238E27FC236}">
                  <a16:creationId xmlns:a16="http://schemas.microsoft.com/office/drawing/2014/main" id="{C0AF7025-F5A0-C710-682F-DBAD3673BB63}"/>
                </a:ext>
              </a:extLst>
            </p:cNvPr>
            <p:cNvSpPr/>
            <p:nvPr/>
          </p:nvSpPr>
          <p:spPr>
            <a:xfrm>
              <a:off x="2684571" y="2894269"/>
              <a:ext cx="140880" cy="48789"/>
            </a:xfrm>
            <a:custGeom>
              <a:avLst/>
              <a:gdLst/>
              <a:ahLst/>
              <a:cxnLst>
                <a:cxn ang="0">
                  <a:pos x="wd2" y="hd2"/>
                </a:cxn>
                <a:cxn ang="5400000">
                  <a:pos x="wd2" y="hd2"/>
                </a:cxn>
                <a:cxn ang="10800000">
                  <a:pos x="wd2" y="hd2"/>
                </a:cxn>
                <a:cxn ang="16200000">
                  <a:pos x="wd2" y="hd2"/>
                </a:cxn>
              </a:cxnLst>
              <a:rect l="0" t="0" r="r" b="b"/>
              <a:pathLst>
                <a:path w="21600" h="20386" extrusionOk="0">
                  <a:moveTo>
                    <a:pt x="2777" y="20386"/>
                  </a:moveTo>
                  <a:cubicBezTo>
                    <a:pt x="3960" y="18268"/>
                    <a:pt x="5503" y="18268"/>
                    <a:pt x="7457" y="19398"/>
                  </a:cubicBezTo>
                  <a:cubicBezTo>
                    <a:pt x="10646" y="19398"/>
                    <a:pt x="12600" y="15021"/>
                    <a:pt x="15326" y="12904"/>
                  </a:cubicBezTo>
                  <a:cubicBezTo>
                    <a:pt x="16509" y="11774"/>
                    <a:pt x="18463" y="16151"/>
                    <a:pt x="19286" y="15021"/>
                  </a:cubicBezTo>
                  <a:cubicBezTo>
                    <a:pt x="20057" y="13892"/>
                    <a:pt x="20829" y="13892"/>
                    <a:pt x="21600" y="15021"/>
                  </a:cubicBezTo>
                  <a:cubicBezTo>
                    <a:pt x="20829" y="11774"/>
                    <a:pt x="19646" y="2033"/>
                    <a:pt x="18103" y="904"/>
                  </a:cubicBezTo>
                  <a:cubicBezTo>
                    <a:pt x="14966" y="-1214"/>
                    <a:pt x="11417" y="904"/>
                    <a:pt x="7869" y="2033"/>
                  </a:cubicBezTo>
                  <a:cubicBezTo>
                    <a:pt x="6274" y="2033"/>
                    <a:pt x="5143" y="3162"/>
                    <a:pt x="3960" y="4151"/>
                  </a:cubicBezTo>
                  <a:cubicBezTo>
                    <a:pt x="2777" y="5280"/>
                    <a:pt x="1594" y="6410"/>
                    <a:pt x="0" y="8527"/>
                  </a:cubicBezTo>
                  <a:cubicBezTo>
                    <a:pt x="2777" y="20386"/>
                    <a:pt x="2777" y="20386"/>
                    <a:pt x="2777" y="203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4" name="Shape 2529">
              <a:extLst>
                <a:ext uri="{FF2B5EF4-FFF2-40B4-BE49-F238E27FC236}">
                  <a16:creationId xmlns:a16="http://schemas.microsoft.com/office/drawing/2014/main" id="{08C26E21-BDA6-F7B1-8E59-AD03A5712A33}"/>
                </a:ext>
              </a:extLst>
            </p:cNvPr>
            <p:cNvSpPr/>
            <p:nvPr/>
          </p:nvSpPr>
          <p:spPr>
            <a:xfrm>
              <a:off x="2317411" y="1708055"/>
              <a:ext cx="1075553" cy="962962"/>
            </a:xfrm>
            <a:custGeom>
              <a:avLst/>
              <a:gdLst/>
              <a:ahLst/>
              <a:cxnLst>
                <a:cxn ang="0">
                  <a:pos x="wd2" y="hd2"/>
                </a:cxn>
                <a:cxn ang="5400000">
                  <a:pos x="wd2" y="hd2"/>
                </a:cxn>
                <a:cxn ang="10800000">
                  <a:pos x="wd2" y="hd2"/>
                </a:cxn>
                <a:cxn ang="16200000">
                  <a:pos x="wd2" y="hd2"/>
                </a:cxn>
              </a:cxnLst>
              <a:rect l="0" t="0" r="r" b="b"/>
              <a:pathLst>
                <a:path w="21387" h="21600" extrusionOk="0">
                  <a:moveTo>
                    <a:pt x="18476" y="10569"/>
                  </a:moveTo>
                  <a:cubicBezTo>
                    <a:pt x="18322" y="10516"/>
                    <a:pt x="18221" y="10456"/>
                    <a:pt x="18067" y="10516"/>
                  </a:cubicBezTo>
                  <a:cubicBezTo>
                    <a:pt x="17913" y="10516"/>
                    <a:pt x="17812" y="10857"/>
                    <a:pt x="17611" y="10857"/>
                  </a:cubicBezTo>
                  <a:cubicBezTo>
                    <a:pt x="17403" y="10804"/>
                    <a:pt x="17350" y="10516"/>
                    <a:pt x="17202" y="10396"/>
                  </a:cubicBezTo>
                  <a:cubicBezTo>
                    <a:pt x="16994" y="10343"/>
                    <a:pt x="16787" y="10222"/>
                    <a:pt x="16632" y="10343"/>
                  </a:cubicBezTo>
                  <a:cubicBezTo>
                    <a:pt x="16485" y="10456"/>
                    <a:pt x="16331" y="10743"/>
                    <a:pt x="16378" y="11031"/>
                  </a:cubicBezTo>
                  <a:cubicBezTo>
                    <a:pt x="16431" y="11378"/>
                    <a:pt x="16787" y="11613"/>
                    <a:pt x="16840" y="11953"/>
                  </a:cubicBezTo>
                  <a:cubicBezTo>
                    <a:pt x="16840" y="12187"/>
                    <a:pt x="16787" y="12422"/>
                    <a:pt x="16632" y="12535"/>
                  </a:cubicBezTo>
                  <a:cubicBezTo>
                    <a:pt x="16378" y="12649"/>
                    <a:pt x="16069" y="12301"/>
                    <a:pt x="15868" y="12475"/>
                  </a:cubicBezTo>
                  <a:cubicBezTo>
                    <a:pt x="15660" y="12709"/>
                    <a:pt x="15613" y="13170"/>
                    <a:pt x="15768" y="13397"/>
                  </a:cubicBezTo>
                  <a:cubicBezTo>
                    <a:pt x="15915" y="13631"/>
                    <a:pt x="16277" y="13170"/>
                    <a:pt x="16532" y="13344"/>
                  </a:cubicBezTo>
                  <a:cubicBezTo>
                    <a:pt x="16632" y="13397"/>
                    <a:pt x="16331" y="13631"/>
                    <a:pt x="16431" y="13745"/>
                  </a:cubicBezTo>
                  <a:cubicBezTo>
                    <a:pt x="16485" y="13858"/>
                    <a:pt x="16632" y="13805"/>
                    <a:pt x="16740" y="13745"/>
                  </a:cubicBezTo>
                  <a:cubicBezTo>
                    <a:pt x="16894" y="13684"/>
                    <a:pt x="16994" y="13518"/>
                    <a:pt x="17149" y="13397"/>
                  </a:cubicBezTo>
                  <a:cubicBezTo>
                    <a:pt x="17457" y="13223"/>
                    <a:pt x="17712" y="12883"/>
                    <a:pt x="18067" y="12936"/>
                  </a:cubicBezTo>
                  <a:cubicBezTo>
                    <a:pt x="18275" y="12936"/>
                    <a:pt x="18221" y="13223"/>
                    <a:pt x="18322" y="13397"/>
                  </a:cubicBezTo>
                  <a:cubicBezTo>
                    <a:pt x="18121" y="14093"/>
                    <a:pt x="17812" y="14841"/>
                    <a:pt x="17403" y="15423"/>
                  </a:cubicBezTo>
                  <a:cubicBezTo>
                    <a:pt x="17457" y="15650"/>
                    <a:pt x="17095" y="16406"/>
                    <a:pt x="16894" y="16459"/>
                  </a:cubicBezTo>
                  <a:cubicBezTo>
                    <a:pt x="16894" y="16459"/>
                    <a:pt x="16894" y="16459"/>
                    <a:pt x="16894" y="16519"/>
                  </a:cubicBezTo>
                  <a:cubicBezTo>
                    <a:pt x="17611" y="16693"/>
                    <a:pt x="16123" y="19294"/>
                    <a:pt x="15969" y="19634"/>
                  </a:cubicBezTo>
                  <a:cubicBezTo>
                    <a:pt x="15613" y="20156"/>
                    <a:pt x="15050" y="20330"/>
                    <a:pt x="14688" y="20791"/>
                  </a:cubicBezTo>
                  <a:cubicBezTo>
                    <a:pt x="14487" y="21025"/>
                    <a:pt x="14434" y="21313"/>
                    <a:pt x="14434" y="21600"/>
                  </a:cubicBezTo>
                  <a:cubicBezTo>
                    <a:pt x="14125" y="21373"/>
                    <a:pt x="13817" y="21078"/>
                    <a:pt x="13461" y="20904"/>
                  </a:cubicBezTo>
                  <a:cubicBezTo>
                    <a:pt x="13106" y="20791"/>
                    <a:pt x="12644" y="20904"/>
                    <a:pt x="12282" y="20731"/>
                  </a:cubicBezTo>
                  <a:cubicBezTo>
                    <a:pt x="12127" y="20617"/>
                    <a:pt x="12027" y="20390"/>
                    <a:pt x="11973" y="20156"/>
                  </a:cubicBezTo>
                  <a:cubicBezTo>
                    <a:pt x="11819" y="19869"/>
                    <a:pt x="11718" y="19581"/>
                    <a:pt x="11718" y="19234"/>
                  </a:cubicBezTo>
                  <a:cubicBezTo>
                    <a:pt x="11718" y="18999"/>
                    <a:pt x="11873" y="18772"/>
                    <a:pt x="11873" y="18538"/>
                  </a:cubicBezTo>
                  <a:cubicBezTo>
                    <a:pt x="11873" y="18485"/>
                    <a:pt x="11672" y="18599"/>
                    <a:pt x="11672" y="18485"/>
                  </a:cubicBezTo>
                  <a:cubicBezTo>
                    <a:pt x="11564" y="18364"/>
                    <a:pt x="11618" y="18137"/>
                    <a:pt x="11564" y="18016"/>
                  </a:cubicBezTo>
                  <a:cubicBezTo>
                    <a:pt x="11517" y="17903"/>
                    <a:pt x="11309" y="17842"/>
                    <a:pt x="11263" y="17729"/>
                  </a:cubicBezTo>
                  <a:cubicBezTo>
                    <a:pt x="11108" y="17555"/>
                    <a:pt x="11108" y="17215"/>
                    <a:pt x="10901" y="17041"/>
                  </a:cubicBezTo>
                  <a:cubicBezTo>
                    <a:pt x="10746" y="16920"/>
                    <a:pt x="10539" y="17094"/>
                    <a:pt x="10438" y="17041"/>
                  </a:cubicBezTo>
                  <a:cubicBezTo>
                    <a:pt x="10284" y="16981"/>
                    <a:pt x="10237" y="16754"/>
                    <a:pt x="10083" y="16693"/>
                  </a:cubicBezTo>
                  <a:cubicBezTo>
                    <a:pt x="9928" y="16580"/>
                    <a:pt x="9721" y="16519"/>
                    <a:pt x="9520" y="16519"/>
                  </a:cubicBezTo>
                  <a:cubicBezTo>
                    <a:pt x="9365" y="16519"/>
                    <a:pt x="9265" y="16633"/>
                    <a:pt x="9111" y="16693"/>
                  </a:cubicBezTo>
                  <a:cubicBezTo>
                    <a:pt x="8702" y="16754"/>
                    <a:pt x="8239" y="16807"/>
                    <a:pt x="7830" y="16920"/>
                  </a:cubicBezTo>
                  <a:cubicBezTo>
                    <a:pt x="7723" y="16920"/>
                    <a:pt x="7622" y="16981"/>
                    <a:pt x="7522" y="17094"/>
                  </a:cubicBezTo>
                  <a:cubicBezTo>
                    <a:pt x="7421" y="17268"/>
                    <a:pt x="7368" y="17442"/>
                    <a:pt x="7314" y="17616"/>
                  </a:cubicBezTo>
                  <a:cubicBezTo>
                    <a:pt x="7267" y="17842"/>
                    <a:pt x="7314" y="18137"/>
                    <a:pt x="7213" y="18425"/>
                  </a:cubicBezTo>
                  <a:cubicBezTo>
                    <a:pt x="7160" y="18485"/>
                    <a:pt x="7059" y="18599"/>
                    <a:pt x="7012" y="18538"/>
                  </a:cubicBezTo>
                  <a:cubicBezTo>
                    <a:pt x="6858" y="18485"/>
                    <a:pt x="6858" y="18251"/>
                    <a:pt x="6751" y="18137"/>
                  </a:cubicBezTo>
                  <a:cubicBezTo>
                    <a:pt x="6597" y="18077"/>
                    <a:pt x="6442" y="18137"/>
                    <a:pt x="6342" y="18137"/>
                  </a:cubicBezTo>
                  <a:cubicBezTo>
                    <a:pt x="6094" y="18077"/>
                    <a:pt x="5886" y="17963"/>
                    <a:pt x="5631" y="17842"/>
                  </a:cubicBezTo>
                  <a:cubicBezTo>
                    <a:pt x="5531" y="17842"/>
                    <a:pt x="5377" y="17616"/>
                    <a:pt x="5330" y="17729"/>
                  </a:cubicBezTo>
                  <a:cubicBezTo>
                    <a:pt x="5222" y="17790"/>
                    <a:pt x="5430" y="18016"/>
                    <a:pt x="5377" y="18137"/>
                  </a:cubicBezTo>
                  <a:cubicBezTo>
                    <a:pt x="5222" y="18364"/>
                    <a:pt x="4914" y="18311"/>
                    <a:pt x="4713" y="18425"/>
                  </a:cubicBezTo>
                  <a:cubicBezTo>
                    <a:pt x="4606" y="18538"/>
                    <a:pt x="4505" y="18712"/>
                    <a:pt x="4404" y="18886"/>
                  </a:cubicBezTo>
                  <a:cubicBezTo>
                    <a:pt x="4197" y="18772"/>
                    <a:pt x="3996" y="18599"/>
                    <a:pt x="3788" y="18599"/>
                  </a:cubicBezTo>
                  <a:cubicBezTo>
                    <a:pt x="3634" y="18599"/>
                    <a:pt x="3587" y="18825"/>
                    <a:pt x="3486" y="18825"/>
                  </a:cubicBezTo>
                  <a:cubicBezTo>
                    <a:pt x="3225" y="18825"/>
                    <a:pt x="3023" y="18538"/>
                    <a:pt x="2816" y="18538"/>
                  </a:cubicBezTo>
                  <a:cubicBezTo>
                    <a:pt x="2715" y="18485"/>
                    <a:pt x="2615" y="18599"/>
                    <a:pt x="2507" y="18599"/>
                  </a:cubicBezTo>
                  <a:cubicBezTo>
                    <a:pt x="2460" y="18599"/>
                    <a:pt x="2507" y="18538"/>
                    <a:pt x="2507" y="18485"/>
                  </a:cubicBezTo>
                  <a:cubicBezTo>
                    <a:pt x="2507" y="18425"/>
                    <a:pt x="2561" y="18364"/>
                    <a:pt x="2507" y="18311"/>
                  </a:cubicBezTo>
                  <a:cubicBezTo>
                    <a:pt x="2507" y="18077"/>
                    <a:pt x="2507" y="17790"/>
                    <a:pt x="2306" y="17676"/>
                  </a:cubicBezTo>
                  <a:cubicBezTo>
                    <a:pt x="2152" y="17555"/>
                    <a:pt x="1944" y="17729"/>
                    <a:pt x="1743" y="17729"/>
                  </a:cubicBezTo>
                  <a:cubicBezTo>
                    <a:pt x="1642" y="17729"/>
                    <a:pt x="1535" y="17555"/>
                    <a:pt x="1435" y="17616"/>
                  </a:cubicBezTo>
                  <a:cubicBezTo>
                    <a:pt x="1334" y="17676"/>
                    <a:pt x="1381" y="17903"/>
                    <a:pt x="1280" y="17963"/>
                  </a:cubicBezTo>
                  <a:cubicBezTo>
                    <a:pt x="1180" y="18016"/>
                    <a:pt x="1026" y="18016"/>
                    <a:pt x="925" y="17963"/>
                  </a:cubicBezTo>
                  <a:cubicBezTo>
                    <a:pt x="818" y="17842"/>
                    <a:pt x="818" y="17616"/>
                    <a:pt x="717" y="17555"/>
                  </a:cubicBezTo>
                  <a:cubicBezTo>
                    <a:pt x="509" y="17555"/>
                    <a:pt x="409" y="17842"/>
                    <a:pt x="255" y="17842"/>
                  </a:cubicBezTo>
                  <a:cubicBezTo>
                    <a:pt x="154" y="17842"/>
                    <a:pt x="101" y="17676"/>
                    <a:pt x="0" y="17616"/>
                  </a:cubicBezTo>
                  <a:cubicBezTo>
                    <a:pt x="154" y="17268"/>
                    <a:pt x="355" y="17041"/>
                    <a:pt x="463" y="16693"/>
                  </a:cubicBezTo>
                  <a:cubicBezTo>
                    <a:pt x="563" y="16406"/>
                    <a:pt x="563" y="16058"/>
                    <a:pt x="617" y="15763"/>
                  </a:cubicBezTo>
                  <a:cubicBezTo>
                    <a:pt x="617" y="15650"/>
                    <a:pt x="563" y="15537"/>
                    <a:pt x="563" y="15423"/>
                  </a:cubicBezTo>
                  <a:cubicBezTo>
                    <a:pt x="617" y="15302"/>
                    <a:pt x="717" y="15189"/>
                    <a:pt x="664" y="15136"/>
                  </a:cubicBezTo>
                  <a:cubicBezTo>
                    <a:pt x="664" y="14962"/>
                    <a:pt x="463" y="14788"/>
                    <a:pt x="563" y="14614"/>
                  </a:cubicBezTo>
                  <a:cubicBezTo>
                    <a:pt x="617" y="14440"/>
                    <a:pt x="872" y="14440"/>
                    <a:pt x="1026" y="14380"/>
                  </a:cubicBezTo>
                  <a:cubicBezTo>
                    <a:pt x="1073" y="14327"/>
                    <a:pt x="1126" y="14266"/>
                    <a:pt x="1180" y="14206"/>
                  </a:cubicBezTo>
                  <a:cubicBezTo>
                    <a:pt x="1435" y="14153"/>
                    <a:pt x="1642" y="13979"/>
                    <a:pt x="1897" y="13979"/>
                  </a:cubicBezTo>
                  <a:cubicBezTo>
                    <a:pt x="1944" y="13979"/>
                    <a:pt x="1998" y="14093"/>
                    <a:pt x="2051" y="14093"/>
                  </a:cubicBezTo>
                  <a:cubicBezTo>
                    <a:pt x="2407" y="14032"/>
                    <a:pt x="2661" y="13805"/>
                    <a:pt x="2970" y="13745"/>
                  </a:cubicBezTo>
                  <a:cubicBezTo>
                    <a:pt x="3070" y="13745"/>
                    <a:pt x="3070" y="13919"/>
                    <a:pt x="3178" y="13919"/>
                  </a:cubicBezTo>
                  <a:cubicBezTo>
                    <a:pt x="3432" y="13979"/>
                    <a:pt x="3687" y="13919"/>
                    <a:pt x="3942" y="13858"/>
                  </a:cubicBezTo>
                  <a:cubicBezTo>
                    <a:pt x="4150" y="13805"/>
                    <a:pt x="4351" y="13571"/>
                    <a:pt x="4606" y="13518"/>
                  </a:cubicBezTo>
                  <a:cubicBezTo>
                    <a:pt x="4760" y="13457"/>
                    <a:pt x="4968" y="13571"/>
                    <a:pt x="5122" y="13518"/>
                  </a:cubicBezTo>
                  <a:cubicBezTo>
                    <a:pt x="5276" y="13457"/>
                    <a:pt x="5477" y="13344"/>
                    <a:pt x="5531" y="13170"/>
                  </a:cubicBezTo>
                  <a:cubicBezTo>
                    <a:pt x="5631" y="12883"/>
                    <a:pt x="5430" y="12596"/>
                    <a:pt x="5377" y="12301"/>
                  </a:cubicBezTo>
                  <a:cubicBezTo>
                    <a:pt x="5377" y="12127"/>
                    <a:pt x="5222" y="11900"/>
                    <a:pt x="5330" y="11779"/>
                  </a:cubicBezTo>
                  <a:cubicBezTo>
                    <a:pt x="5631" y="11552"/>
                    <a:pt x="6094" y="11666"/>
                    <a:pt x="6342" y="11318"/>
                  </a:cubicBezTo>
                  <a:cubicBezTo>
                    <a:pt x="6650" y="10978"/>
                    <a:pt x="6442" y="10343"/>
                    <a:pt x="6751" y="9995"/>
                  </a:cubicBezTo>
                  <a:cubicBezTo>
                    <a:pt x="7059" y="9647"/>
                    <a:pt x="7575" y="9587"/>
                    <a:pt x="7984" y="9587"/>
                  </a:cubicBezTo>
                  <a:cubicBezTo>
                    <a:pt x="8239" y="9534"/>
                    <a:pt x="8494" y="9934"/>
                    <a:pt x="8702" y="9874"/>
                  </a:cubicBezTo>
                  <a:cubicBezTo>
                    <a:pt x="8956" y="9821"/>
                    <a:pt x="9057" y="9473"/>
                    <a:pt x="9211" y="9239"/>
                  </a:cubicBezTo>
                  <a:cubicBezTo>
                    <a:pt x="9211" y="9239"/>
                    <a:pt x="9211" y="8725"/>
                    <a:pt x="9211" y="8604"/>
                  </a:cubicBezTo>
                  <a:cubicBezTo>
                    <a:pt x="9211" y="8490"/>
                    <a:pt x="9211" y="7742"/>
                    <a:pt x="9211" y="7742"/>
                  </a:cubicBezTo>
                  <a:cubicBezTo>
                    <a:pt x="9265" y="7568"/>
                    <a:pt x="9466" y="7455"/>
                    <a:pt x="9419" y="7334"/>
                  </a:cubicBezTo>
                  <a:cubicBezTo>
                    <a:pt x="9265" y="7046"/>
                    <a:pt x="8702" y="7046"/>
                    <a:pt x="8702" y="6698"/>
                  </a:cubicBezTo>
                  <a:cubicBezTo>
                    <a:pt x="8648" y="6358"/>
                    <a:pt x="9312" y="6298"/>
                    <a:pt x="9365" y="5950"/>
                  </a:cubicBezTo>
                  <a:cubicBezTo>
                    <a:pt x="9365" y="5723"/>
                    <a:pt x="8802" y="5897"/>
                    <a:pt x="8749" y="5663"/>
                  </a:cubicBezTo>
                  <a:cubicBezTo>
                    <a:pt x="8702" y="5375"/>
                    <a:pt x="8956" y="5081"/>
                    <a:pt x="9158" y="4854"/>
                  </a:cubicBezTo>
                  <a:cubicBezTo>
                    <a:pt x="9312" y="4740"/>
                    <a:pt x="9566" y="4907"/>
                    <a:pt x="9721" y="4793"/>
                  </a:cubicBezTo>
                  <a:cubicBezTo>
                    <a:pt x="9928" y="4619"/>
                    <a:pt x="9928" y="4219"/>
                    <a:pt x="10130" y="4045"/>
                  </a:cubicBezTo>
                  <a:cubicBezTo>
                    <a:pt x="10284" y="3931"/>
                    <a:pt x="10492" y="3818"/>
                    <a:pt x="10646" y="3871"/>
                  </a:cubicBezTo>
                  <a:cubicBezTo>
                    <a:pt x="10847" y="3984"/>
                    <a:pt x="10847" y="4332"/>
                    <a:pt x="11055" y="4446"/>
                  </a:cubicBezTo>
                  <a:cubicBezTo>
                    <a:pt x="11155" y="4506"/>
                    <a:pt x="11155" y="4219"/>
                    <a:pt x="11209" y="4219"/>
                  </a:cubicBezTo>
                  <a:cubicBezTo>
                    <a:pt x="11464" y="4219"/>
                    <a:pt x="11618" y="4566"/>
                    <a:pt x="11819" y="4566"/>
                  </a:cubicBezTo>
                  <a:cubicBezTo>
                    <a:pt x="12027" y="4566"/>
                    <a:pt x="12127" y="4279"/>
                    <a:pt x="12282" y="4158"/>
                  </a:cubicBezTo>
                  <a:cubicBezTo>
                    <a:pt x="12335" y="4105"/>
                    <a:pt x="12489" y="4045"/>
                    <a:pt x="12489" y="3931"/>
                  </a:cubicBezTo>
                  <a:cubicBezTo>
                    <a:pt x="12489" y="3818"/>
                    <a:pt x="12335" y="3758"/>
                    <a:pt x="12228" y="3758"/>
                  </a:cubicBezTo>
                  <a:cubicBezTo>
                    <a:pt x="12127" y="3697"/>
                    <a:pt x="11973" y="3871"/>
                    <a:pt x="11873" y="3818"/>
                  </a:cubicBezTo>
                  <a:cubicBezTo>
                    <a:pt x="11718" y="3758"/>
                    <a:pt x="11517" y="3697"/>
                    <a:pt x="11410" y="3523"/>
                  </a:cubicBezTo>
                  <a:cubicBezTo>
                    <a:pt x="11309" y="3296"/>
                    <a:pt x="11564" y="3062"/>
                    <a:pt x="11464" y="2828"/>
                  </a:cubicBezTo>
                  <a:cubicBezTo>
                    <a:pt x="11309" y="2540"/>
                    <a:pt x="10901" y="2540"/>
                    <a:pt x="10847" y="2253"/>
                  </a:cubicBezTo>
                  <a:cubicBezTo>
                    <a:pt x="10746" y="1852"/>
                    <a:pt x="11055" y="1505"/>
                    <a:pt x="11108" y="1157"/>
                  </a:cubicBezTo>
                  <a:cubicBezTo>
                    <a:pt x="11108" y="809"/>
                    <a:pt x="11055" y="869"/>
                    <a:pt x="11001" y="522"/>
                  </a:cubicBezTo>
                  <a:cubicBezTo>
                    <a:pt x="11155" y="582"/>
                    <a:pt x="11309" y="582"/>
                    <a:pt x="11410" y="582"/>
                  </a:cubicBezTo>
                  <a:cubicBezTo>
                    <a:pt x="12181" y="408"/>
                    <a:pt x="15560" y="1618"/>
                    <a:pt x="15868" y="287"/>
                  </a:cubicBezTo>
                  <a:cubicBezTo>
                    <a:pt x="16123" y="287"/>
                    <a:pt x="16431" y="696"/>
                    <a:pt x="16740" y="696"/>
                  </a:cubicBezTo>
                  <a:cubicBezTo>
                    <a:pt x="17149" y="756"/>
                    <a:pt x="17457" y="696"/>
                    <a:pt x="17712" y="287"/>
                  </a:cubicBezTo>
                  <a:cubicBezTo>
                    <a:pt x="17913" y="0"/>
                    <a:pt x="17913" y="0"/>
                    <a:pt x="17913" y="0"/>
                  </a:cubicBezTo>
                  <a:cubicBezTo>
                    <a:pt x="18174" y="0"/>
                    <a:pt x="18476" y="461"/>
                    <a:pt x="18784" y="582"/>
                  </a:cubicBezTo>
                  <a:cubicBezTo>
                    <a:pt x="19193" y="696"/>
                    <a:pt x="19455" y="809"/>
                    <a:pt x="19911" y="809"/>
                  </a:cubicBezTo>
                  <a:cubicBezTo>
                    <a:pt x="19911" y="809"/>
                    <a:pt x="19911" y="809"/>
                    <a:pt x="19911" y="869"/>
                  </a:cubicBezTo>
                  <a:cubicBezTo>
                    <a:pt x="20065" y="1270"/>
                    <a:pt x="20065" y="1270"/>
                    <a:pt x="20065" y="1270"/>
                  </a:cubicBezTo>
                  <a:cubicBezTo>
                    <a:pt x="20165" y="1618"/>
                    <a:pt x="20581" y="2026"/>
                    <a:pt x="20889" y="2140"/>
                  </a:cubicBezTo>
                  <a:cubicBezTo>
                    <a:pt x="20889" y="2775"/>
                    <a:pt x="20936" y="2888"/>
                    <a:pt x="21091" y="3523"/>
                  </a:cubicBezTo>
                  <a:cubicBezTo>
                    <a:pt x="21245" y="4045"/>
                    <a:pt x="21191" y="4566"/>
                    <a:pt x="21298" y="5081"/>
                  </a:cubicBezTo>
                  <a:cubicBezTo>
                    <a:pt x="21600" y="5141"/>
                    <a:pt x="21037" y="6184"/>
                    <a:pt x="20990" y="6411"/>
                  </a:cubicBezTo>
                  <a:cubicBezTo>
                    <a:pt x="20889" y="6585"/>
                    <a:pt x="20682" y="6646"/>
                    <a:pt x="20527" y="6819"/>
                  </a:cubicBezTo>
                  <a:cubicBezTo>
                    <a:pt x="20373" y="7046"/>
                    <a:pt x="20527" y="7334"/>
                    <a:pt x="20165" y="7507"/>
                  </a:cubicBezTo>
                  <a:cubicBezTo>
                    <a:pt x="20118" y="7681"/>
                    <a:pt x="19709" y="8143"/>
                    <a:pt x="19602" y="8316"/>
                  </a:cubicBezTo>
                  <a:cubicBezTo>
                    <a:pt x="19193" y="8951"/>
                    <a:pt x="18784" y="9760"/>
                    <a:pt x="18476" y="1056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5" name="Shape 2530">
              <a:extLst>
                <a:ext uri="{FF2B5EF4-FFF2-40B4-BE49-F238E27FC236}">
                  <a16:creationId xmlns:a16="http://schemas.microsoft.com/office/drawing/2014/main" id="{56616603-A0E2-D82D-9E84-3279B7E6D593}"/>
                </a:ext>
              </a:extLst>
            </p:cNvPr>
            <p:cNvSpPr/>
            <p:nvPr/>
          </p:nvSpPr>
          <p:spPr>
            <a:xfrm>
              <a:off x="731343" y="744792"/>
              <a:ext cx="2000458" cy="2145088"/>
            </a:xfrm>
            <a:custGeom>
              <a:avLst/>
              <a:gdLst/>
              <a:ahLst/>
              <a:cxnLst>
                <a:cxn ang="0">
                  <a:pos x="wd2" y="hd2"/>
                </a:cxn>
                <a:cxn ang="5400000">
                  <a:pos x="wd2" y="hd2"/>
                </a:cxn>
                <a:cxn ang="10800000">
                  <a:pos x="wd2" y="hd2"/>
                </a:cxn>
                <a:cxn ang="16200000">
                  <a:pos x="wd2" y="hd2"/>
                </a:cxn>
              </a:cxnLst>
              <a:rect l="0" t="0" r="r" b="b"/>
              <a:pathLst>
                <a:path w="21600" h="21528" extrusionOk="0">
                  <a:moveTo>
                    <a:pt x="3476" y="17861"/>
                  </a:moveTo>
                  <a:cubicBezTo>
                    <a:pt x="3393" y="17861"/>
                    <a:pt x="3280" y="17706"/>
                    <a:pt x="3309" y="17628"/>
                  </a:cubicBezTo>
                  <a:cubicBezTo>
                    <a:pt x="3338" y="17577"/>
                    <a:pt x="3418" y="17550"/>
                    <a:pt x="3476" y="17550"/>
                  </a:cubicBezTo>
                  <a:cubicBezTo>
                    <a:pt x="3615" y="17550"/>
                    <a:pt x="3585" y="17445"/>
                    <a:pt x="3615" y="17344"/>
                  </a:cubicBezTo>
                  <a:cubicBezTo>
                    <a:pt x="3615" y="17317"/>
                    <a:pt x="3615" y="17239"/>
                    <a:pt x="3669" y="17239"/>
                  </a:cubicBezTo>
                  <a:cubicBezTo>
                    <a:pt x="3724" y="17239"/>
                    <a:pt x="3782" y="17215"/>
                    <a:pt x="3807" y="17215"/>
                  </a:cubicBezTo>
                  <a:cubicBezTo>
                    <a:pt x="3837" y="17344"/>
                    <a:pt x="3837" y="17577"/>
                    <a:pt x="3782" y="17679"/>
                  </a:cubicBezTo>
                  <a:cubicBezTo>
                    <a:pt x="3782" y="17706"/>
                    <a:pt x="3753" y="17730"/>
                    <a:pt x="3753" y="17784"/>
                  </a:cubicBezTo>
                  <a:cubicBezTo>
                    <a:pt x="3753" y="17834"/>
                    <a:pt x="3807" y="17861"/>
                    <a:pt x="3753" y="17885"/>
                  </a:cubicBezTo>
                  <a:cubicBezTo>
                    <a:pt x="3698" y="17939"/>
                    <a:pt x="3615" y="17939"/>
                    <a:pt x="3531" y="17912"/>
                  </a:cubicBezTo>
                  <a:cubicBezTo>
                    <a:pt x="3476" y="17861"/>
                    <a:pt x="3476" y="17861"/>
                    <a:pt x="3476" y="17861"/>
                  </a:cubicBezTo>
                  <a:close/>
                  <a:moveTo>
                    <a:pt x="3225" y="18196"/>
                  </a:moveTo>
                  <a:cubicBezTo>
                    <a:pt x="3196" y="18223"/>
                    <a:pt x="3170" y="18196"/>
                    <a:pt x="3141" y="18196"/>
                  </a:cubicBezTo>
                  <a:cubicBezTo>
                    <a:pt x="3116" y="18196"/>
                    <a:pt x="3087" y="18223"/>
                    <a:pt x="3058" y="18223"/>
                  </a:cubicBezTo>
                  <a:cubicBezTo>
                    <a:pt x="3032" y="18247"/>
                    <a:pt x="3058" y="18325"/>
                    <a:pt x="3087" y="18352"/>
                  </a:cubicBezTo>
                  <a:cubicBezTo>
                    <a:pt x="3141" y="18352"/>
                    <a:pt x="3141" y="18352"/>
                    <a:pt x="3196" y="18352"/>
                  </a:cubicBezTo>
                  <a:cubicBezTo>
                    <a:pt x="3254" y="18352"/>
                    <a:pt x="3280" y="18274"/>
                    <a:pt x="3309" y="18247"/>
                  </a:cubicBezTo>
                  <a:cubicBezTo>
                    <a:pt x="3225" y="18196"/>
                    <a:pt x="3225" y="18196"/>
                    <a:pt x="3225" y="18196"/>
                  </a:cubicBezTo>
                  <a:close/>
                  <a:moveTo>
                    <a:pt x="2002" y="16542"/>
                  </a:moveTo>
                  <a:cubicBezTo>
                    <a:pt x="2195" y="16492"/>
                    <a:pt x="2446" y="16025"/>
                    <a:pt x="2668" y="16130"/>
                  </a:cubicBezTo>
                  <a:cubicBezTo>
                    <a:pt x="2781" y="16157"/>
                    <a:pt x="2919" y="16234"/>
                    <a:pt x="2974" y="16309"/>
                  </a:cubicBezTo>
                  <a:cubicBezTo>
                    <a:pt x="3170" y="16492"/>
                    <a:pt x="2974" y="16387"/>
                    <a:pt x="2974" y="16542"/>
                  </a:cubicBezTo>
                  <a:cubicBezTo>
                    <a:pt x="3225" y="16593"/>
                    <a:pt x="3196" y="16671"/>
                    <a:pt x="3141" y="16877"/>
                  </a:cubicBezTo>
                  <a:cubicBezTo>
                    <a:pt x="3087" y="17033"/>
                    <a:pt x="3003" y="17060"/>
                    <a:pt x="2919" y="17188"/>
                  </a:cubicBezTo>
                  <a:cubicBezTo>
                    <a:pt x="2836" y="17293"/>
                    <a:pt x="2836" y="17395"/>
                    <a:pt x="2639" y="17317"/>
                  </a:cubicBezTo>
                  <a:cubicBezTo>
                    <a:pt x="2475" y="17239"/>
                    <a:pt x="2446" y="16982"/>
                    <a:pt x="2308" y="16904"/>
                  </a:cubicBezTo>
                  <a:cubicBezTo>
                    <a:pt x="2224" y="16826"/>
                    <a:pt x="2031" y="16698"/>
                    <a:pt x="1947" y="16620"/>
                  </a:cubicBezTo>
                  <a:cubicBezTo>
                    <a:pt x="2002" y="16542"/>
                    <a:pt x="2002" y="16542"/>
                    <a:pt x="2002" y="16542"/>
                  </a:cubicBezTo>
                  <a:close/>
                  <a:moveTo>
                    <a:pt x="1168" y="16079"/>
                  </a:moveTo>
                  <a:cubicBezTo>
                    <a:pt x="1278" y="16079"/>
                    <a:pt x="1416" y="16001"/>
                    <a:pt x="1529" y="16001"/>
                  </a:cubicBezTo>
                  <a:cubicBezTo>
                    <a:pt x="1583" y="16001"/>
                    <a:pt x="1642" y="16001"/>
                    <a:pt x="1667" y="16001"/>
                  </a:cubicBezTo>
                  <a:cubicBezTo>
                    <a:pt x="1722" y="16025"/>
                    <a:pt x="1864" y="16103"/>
                    <a:pt x="1696" y="16103"/>
                  </a:cubicBezTo>
                  <a:cubicBezTo>
                    <a:pt x="1642" y="16103"/>
                    <a:pt x="1558" y="16103"/>
                    <a:pt x="1500" y="16103"/>
                  </a:cubicBezTo>
                  <a:cubicBezTo>
                    <a:pt x="1416" y="16130"/>
                    <a:pt x="1361" y="16207"/>
                    <a:pt x="1307" y="16234"/>
                  </a:cubicBezTo>
                  <a:cubicBezTo>
                    <a:pt x="1278" y="16234"/>
                    <a:pt x="1223" y="16258"/>
                    <a:pt x="1168" y="16258"/>
                  </a:cubicBezTo>
                  <a:cubicBezTo>
                    <a:pt x="1114" y="16258"/>
                    <a:pt x="1114" y="16180"/>
                    <a:pt x="1114" y="16130"/>
                  </a:cubicBezTo>
                  <a:cubicBezTo>
                    <a:pt x="1168" y="16079"/>
                    <a:pt x="1168" y="16079"/>
                    <a:pt x="1168" y="16079"/>
                  </a:cubicBezTo>
                  <a:close/>
                  <a:moveTo>
                    <a:pt x="4699" y="14036"/>
                  </a:moveTo>
                  <a:cubicBezTo>
                    <a:pt x="4616" y="13985"/>
                    <a:pt x="4616" y="13985"/>
                    <a:pt x="4616" y="13985"/>
                  </a:cubicBezTo>
                  <a:cubicBezTo>
                    <a:pt x="4503" y="13958"/>
                    <a:pt x="4477" y="13907"/>
                    <a:pt x="4394" y="13907"/>
                  </a:cubicBezTo>
                  <a:cubicBezTo>
                    <a:pt x="4310" y="13907"/>
                    <a:pt x="4255" y="13985"/>
                    <a:pt x="4197" y="13985"/>
                  </a:cubicBezTo>
                  <a:cubicBezTo>
                    <a:pt x="4197" y="13857"/>
                    <a:pt x="4310" y="13518"/>
                    <a:pt x="4033" y="13573"/>
                  </a:cubicBezTo>
                  <a:cubicBezTo>
                    <a:pt x="3724" y="13623"/>
                    <a:pt x="4004" y="13366"/>
                    <a:pt x="3807" y="13211"/>
                  </a:cubicBezTo>
                  <a:cubicBezTo>
                    <a:pt x="3669" y="13055"/>
                    <a:pt x="3782" y="12977"/>
                    <a:pt x="3782" y="12822"/>
                  </a:cubicBezTo>
                  <a:cubicBezTo>
                    <a:pt x="3782" y="12666"/>
                    <a:pt x="3418" y="12642"/>
                    <a:pt x="3560" y="12565"/>
                  </a:cubicBezTo>
                  <a:cubicBezTo>
                    <a:pt x="3669" y="12514"/>
                    <a:pt x="3669" y="12487"/>
                    <a:pt x="3669" y="12382"/>
                  </a:cubicBezTo>
                  <a:cubicBezTo>
                    <a:pt x="3669" y="11841"/>
                    <a:pt x="3837" y="10961"/>
                    <a:pt x="3476" y="10498"/>
                  </a:cubicBezTo>
                  <a:cubicBezTo>
                    <a:pt x="3393" y="10369"/>
                    <a:pt x="3196" y="10522"/>
                    <a:pt x="3196" y="10342"/>
                  </a:cubicBezTo>
                  <a:cubicBezTo>
                    <a:pt x="3196" y="10058"/>
                    <a:pt x="2890" y="9980"/>
                    <a:pt x="2865" y="9747"/>
                  </a:cubicBezTo>
                  <a:cubicBezTo>
                    <a:pt x="2865" y="9646"/>
                    <a:pt x="2668" y="9798"/>
                    <a:pt x="2584" y="9798"/>
                  </a:cubicBezTo>
                  <a:cubicBezTo>
                    <a:pt x="2584" y="10109"/>
                    <a:pt x="2446" y="10214"/>
                    <a:pt x="2115" y="10292"/>
                  </a:cubicBezTo>
                  <a:cubicBezTo>
                    <a:pt x="2115" y="10369"/>
                    <a:pt x="2169" y="10447"/>
                    <a:pt x="2195" y="10498"/>
                  </a:cubicBezTo>
                  <a:cubicBezTo>
                    <a:pt x="2224" y="10599"/>
                    <a:pt x="2224" y="10833"/>
                    <a:pt x="2253" y="10884"/>
                  </a:cubicBezTo>
                  <a:cubicBezTo>
                    <a:pt x="2337" y="10988"/>
                    <a:pt x="2559" y="10934"/>
                    <a:pt x="2362" y="11090"/>
                  </a:cubicBezTo>
                  <a:cubicBezTo>
                    <a:pt x="2057" y="11323"/>
                    <a:pt x="2559" y="11584"/>
                    <a:pt x="2614" y="11864"/>
                  </a:cubicBezTo>
                  <a:cubicBezTo>
                    <a:pt x="2530" y="11864"/>
                    <a:pt x="2195" y="11634"/>
                    <a:pt x="2195" y="11530"/>
                  </a:cubicBezTo>
                  <a:cubicBezTo>
                    <a:pt x="2169" y="11557"/>
                    <a:pt x="2195" y="11736"/>
                    <a:pt x="2115" y="11763"/>
                  </a:cubicBezTo>
                  <a:cubicBezTo>
                    <a:pt x="2057" y="11790"/>
                    <a:pt x="1947" y="11864"/>
                    <a:pt x="1947" y="11814"/>
                  </a:cubicBezTo>
                  <a:cubicBezTo>
                    <a:pt x="1864" y="11634"/>
                    <a:pt x="1722" y="11479"/>
                    <a:pt x="1558" y="11377"/>
                  </a:cubicBezTo>
                  <a:cubicBezTo>
                    <a:pt x="1278" y="11245"/>
                    <a:pt x="1416" y="11222"/>
                    <a:pt x="1252" y="11012"/>
                  </a:cubicBezTo>
                  <a:cubicBezTo>
                    <a:pt x="1139" y="10860"/>
                    <a:pt x="972" y="10522"/>
                    <a:pt x="888" y="10833"/>
                  </a:cubicBezTo>
                  <a:cubicBezTo>
                    <a:pt x="863" y="10988"/>
                    <a:pt x="724" y="11300"/>
                    <a:pt x="946" y="11300"/>
                  </a:cubicBezTo>
                  <a:cubicBezTo>
                    <a:pt x="1056" y="11300"/>
                    <a:pt x="1085" y="11479"/>
                    <a:pt x="1168" y="11530"/>
                  </a:cubicBezTo>
                  <a:cubicBezTo>
                    <a:pt x="1361" y="11685"/>
                    <a:pt x="1278" y="11658"/>
                    <a:pt x="1278" y="11864"/>
                  </a:cubicBezTo>
                  <a:cubicBezTo>
                    <a:pt x="1252" y="11864"/>
                    <a:pt x="1139" y="11763"/>
                    <a:pt x="1114" y="11736"/>
                  </a:cubicBezTo>
                  <a:cubicBezTo>
                    <a:pt x="1030" y="11658"/>
                    <a:pt x="1001" y="11736"/>
                    <a:pt x="888" y="11736"/>
                  </a:cubicBezTo>
                  <a:cubicBezTo>
                    <a:pt x="888" y="12020"/>
                    <a:pt x="1168" y="12098"/>
                    <a:pt x="946" y="12409"/>
                  </a:cubicBezTo>
                  <a:cubicBezTo>
                    <a:pt x="834" y="12308"/>
                    <a:pt x="251" y="11144"/>
                    <a:pt x="251" y="11919"/>
                  </a:cubicBezTo>
                  <a:cubicBezTo>
                    <a:pt x="251" y="12047"/>
                    <a:pt x="360" y="12176"/>
                    <a:pt x="389" y="12280"/>
                  </a:cubicBezTo>
                  <a:cubicBezTo>
                    <a:pt x="277" y="12280"/>
                    <a:pt x="138" y="12176"/>
                    <a:pt x="29" y="12176"/>
                  </a:cubicBezTo>
                  <a:cubicBezTo>
                    <a:pt x="0" y="12176"/>
                    <a:pt x="0" y="12460"/>
                    <a:pt x="0" y="12538"/>
                  </a:cubicBezTo>
                  <a:cubicBezTo>
                    <a:pt x="222" y="12538"/>
                    <a:pt x="360" y="12358"/>
                    <a:pt x="360" y="12744"/>
                  </a:cubicBezTo>
                  <a:cubicBezTo>
                    <a:pt x="360" y="12977"/>
                    <a:pt x="528" y="13234"/>
                    <a:pt x="834" y="13184"/>
                  </a:cubicBezTo>
                  <a:cubicBezTo>
                    <a:pt x="1085" y="13339"/>
                    <a:pt x="1336" y="13596"/>
                    <a:pt x="1361" y="13234"/>
                  </a:cubicBezTo>
                  <a:cubicBezTo>
                    <a:pt x="1361" y="13082"/>
                    <a:pt x="1278" y="12744"/>
                    <a:pt x="1445" y="12744"/>
                  </a:cubicBezTo>
                  <a:cubicBezTo>
                    <a:pt x="1558" y="12744"/>
                    <a:pt x="1500" y="13055"/>
                    <a:pt x="1642" y="12977"/>
                  </a:cubicBezTo>
                  <a:cubicBezTo>
                    <a:pt x="1751" y="12926"/>
                    <a:pt x="1780" y="12771"/>
                    <a:pt x="1805" y="13028"/>
                  </a:cubicBezTo>
                  <a:cubicBezTo>
                    <a:pt x="1835" y="13211"/>
                    <a:pt x="1889" y="13366"/>
                    <a:pt x="2031" y="13261"/>
                  </a:cubicBezTo>
                  <a:cubicBezTo>
                    <a:pt x="2140" y="13211"/>
                    <a:pt x="2836" y="13880"/>
                    <a:pt x="2392" y="13573"/>
                  </a:cubicBezTo>
                  <a:cubicBezTo>
                    <a:pt x="1973" y="13288"/>
                    <a:pt x="1613" y="13623"/>
                    <a:pt x="1947" y="14036"/>
                  </a:cubicBezTo>
                  <a:cubicBezTo>
                    <a:pt x="2337" y="14580"/>
                    <a:pt x="2337" y="14580"/>
                    <a:pt x="2337" y="14580"/>
                  </a:cubicBezTo>
                  <a:cubicBezTo>
                    <a:pt x="2584" y="14888"/>
                    <a:pt x="2919" y="14709"/>
                    <a:pt x="2890" y="14810"/>
                  </a:cubicBezTo>
                  <a:cubicBezTo>
                    <a:pt x="2890" y="14865"/>
                    <a:pt x="2668" y="15227"/>
                    <a:pt x="2806" y="15122"/>
                  </a:cubicBezTo>
                  <a:cubicBezTo>
                    <a:pt x="2919" y="15044"/>
                    <a:pt x="3087" y="15017"/>
                    <a:pt x="3196" y="14966"/>
                  </a:cubicBezTo>
                  <a:cubicBezTo>
                    <a:pt x="3393" y="14865"/>
                    <a:pt x="3502" y="14993"/>
                    <a:pt x="3669" y="14915"/>
                  </a:cubicBezTo>
                  <a:cubicBezTo>
                    <a:pt x="3724" y="14888"/>
                    <a:pt x="3782" y="14655"/>
                    <a:pt x="3891" y="14915"/>
                  </a:cubicBezTo>
                  <a:cubicBezTo>
                    <a:pt x="3920" y="15044"/>
                    <a:pt x="3866" y="15511"/>
                    <a:pt x="4059" y="15457"/>
                  </a:cubicBezTo>
                  <a:cubicBezTo>
                    <a:pt x="4142" y="15406"/>
                    <a:pt x="4419" y="14526"/>
                    <a:pt x="4419" y="14553"/>
                  </a:cubicBezTo>
                  <a:cubicBezTo>
                    <a:pt x="4532" y="14709"/>
                    <a:pt x="4503" y="15017"/>
                    <a:pt x="4699" y="15017"/>
                  </a:cubicBezTo>
                  <a:cubicBezTo>
                    <a:pt x="4921" y="15017"/>
                    <a:pt x="5198" y="14939"/>
                    <a:pt x="5395" y="14939"/>
                  </a:cubicBezTo>
                  <a:cubicBezTo>
                    <a:pt x="4808" y="15227"/>
                    <a:pt x="4808" y="15227"/>
                    <a:pt x="4808" y="15227"/>
                  </a:cubicBezTo>
                  <a:cubicBezTo>
                    <a:pt x="4448" y="15379"/>
                    <a:pt x="4641" y="15690"/>
                    <a:pt x="4477" y="15947"/>
                  </a:cubicBezTo>
                  <a:cubicBezTo>
                    <a:pt x="4088" y="16515"/>
                    <a:pt x="4641" y="16593"/>
                    <a:pt x="4976" y="16207"/>
                  </a:cubicBezTo>
                  <a:cubicBezTo>
                    <a:pt x="5089" y="16079"/>
                    <a:pt x="5365" y="15585"/>
                    <a:pt x="5478" y="15585"/>
                  </a:cubicBezTo>
                  <a:cubicBezTo>
                    <a:pt x="5587" y="15585"/>
                    <a:pt x="5810" y="15304"/>
                    <a:pt x="5755" y="15199"/>
                  </a:cubicBezTo>
                  <a:cubicBezTo>
                    <a:pt x="5562" y="14865"/>
                    <a:pt x="5755" y="15071"/>
                    <a:pt x="5977" y="14966"/>
                  </a:cubicBezTo>
                  <a:cubicBezTo>
                    <a:pt x="6061" y="14939"/>
                    <a:pt x="6174" y="14810"/>
                    <a:pt x="6257" y="14760"/>
                  </a:cubicBezTo>
                  <a:cubicBezTo>
                    <a:pt x="6505" y="14604"/>
                    <a:pt x="6450" y="14398"/>
                    <a:pt x="6450" y="14141"/>
                  </a:cubicBezTo>
                  <a:cubicBezTo>
                    <a:pt x="6479" y="14063"/>
                    <a:pt x="5893" y="13958"/>
                    <a:pt x="5755" y="14012"/>
                  </a:cubicBezTo>
                  <a:cubicBezTo>
                    <a:pt x="5256" y="14269"/>
                    <a:pt x="5172" y="14374"/>
                    <a:pt x="4699" y="14036"/>
                  </a:cubicBezTo>
                  <a:close/>
                  <a:moveTo>
                    <a:pt x="4838" y="13573"/>
                  </a:moveTo>
                  <a:cubicBezTo>
                    <a:pt x="4950" y="13674"/>
                    <a:pt x="4950" y="13674"/>
                    <a:pt x="4950" y="13674"/>
                  </a:cubicBezTo>
                  <a:cubicBezTo>
                    <a:pt x="4950" y="13752"/>
                    <a:pt x="4976" y="13857"/>
                    <a:pt x="4950" y="13934"/>
                  </a:cubicBezTo>
                  <a:cubicBezTo>
                    <a:pt x="4892" y="13985"/>
                    <a:pt x="4808" y="13958"/>
                    <a:pt x="4754" y="13958"/>
                  </a:cubicBezTo>
                  <a:cubicBezTo>
                    <a:pt x="4754" y="13907"/>
                    <a:pt x="4616" y="13830"/>
                    <a:pt x="4586" y="13803"/>
                  </a:cubicBezTo>
                  <a:cubicBezTo>
                    <a:pt x="4532" y="13752"/>
                    <a:pt x="4394" y="13674"/>
                    <a:pt x="4419" y="13623"/>
                  </a:cubicBezTo>
                  <a:cubicBezTo>
                    <a:pt x="4419" y="13573"/>
                    <a:pt x="4448" y="13545"/>
                    <a:pt x="4503" y="13518"/>
                  </a:cubicBezTo>
                  <a:cubicBezTo>
                    <a:pt x="4561" y="13518"/>
                    <a:pt x="4670" y="13495"/>
                    <a:pt x="4725" y="13518"/>
                  </a:cubicBezTo>
                  <a:cubicBezTo>
                    <a:pt x="4754" y="13518"/>
                    <a:pt x="4808" y="13573"/>
                    <a:pt x="4838" y="13573"/>
                  </a:cubicBezTo>
                  <a:close/>
                  <a:moveTo>
                    <a:pt x="4561" y="11790"/>
                  </a:moveTo>
                  <a:cubicBezTo>
                    <a:pt x="4586" y="11685"/>
                    <a:pt x="4586" y="11685"/>
                    <a:pt x="4586" y="11685"/>
                  </a:cubicBezTo>
                  <a:cubicBezTo>
                    <a:pt x="4783" y="11712"/>
                    <a:pt x="4616" y="11841"/>
                    <a:pt x="4616" y="11969"/>
                  </a:cubicBezTo>
                  <a:cubicBezTo>
                    <a:pt x="4616" y="12176"/>
                    <a:pt x="4448" y="12253"/>
                    <a:pt x="4364" y="12436"/>
                  </a:cubicBezTo>
                  <a:cubicBezTo>
                    <a:pt x="4310" y="12588"/>
                    <a:pt x="4364" y="12720"/>
                    <a:pt x="4419" y="12849"/>
                  </a:cubicBezTo>
                  <a:cubicBezTo>
                    <a:pt x="4419" y="12926"/>
                    <a:pt x="4725" y="13261"/>
                    <a:pt x="4532" y="13339"/>
                  </a:cubicBezTo>
                  <a:cubicBezTo>
                    <a:pt x="4477" y="13339"/>
                    <a:pt x="4310" y="13468"/>
                    <a:pt x="4281" y="13468"/>
                  </a:cubicBezTo>
                  <a:cubicBezTo>
                    <a:pt x="4171" y="13468"/>
                    <a:pt x="4171" y="13339"/>
                    <a:pt x="4142" y="13288"/>
                  </a:cubicBezTo>
                  <a:cubicBezTo>
                    <a:pt x="4113" y="13234"/>
                    <a:pt x="4088" y="13211"/>
                    <a:pt x="4059" y="13184"/>
                  </a:cubicBezTo>
                  <a:cubicBezTo>
                    <a:pt x="4059" y="13133"/>
                    <a:pt x="4088" y="13106"/>
                    <a:pt x="4088" y="13055"/>
                  </a:cubicBezTo>
                  <a:cubicBezTo>
                    <a:pt x="4088" y="12899"/>
                    <a:pt x="4113" y="12744"/>
                    <a:pt x="4059" y="12615"/>
                  </a:cubicBezTo>
                  <a:cubicBezTo>
                    <a:pt x="4033" y="12436"/>
                    <a:pt x="4113" y="12308"/>
                    <a:pt x="4113" y="12176"/>
                  </a:cubicBezTo>
                  <a:cubicBezTo>
                    <a:pt x="4255" y="12152"/>
                    <a:pt x="4226" y="12253"/>
                    <a:pt x="4339" y="12253"/>
                  </a:cubicBezTo>
                  <a:cubicBezTo>
                    <a:pt x="4419" y="12253"/>
                    <a:pt x="4448" y="12074"/>
                    <a:pt x="4448" y="11996"/>
                  </a:cubicBezTo>
                  <a:cubicBezTo>
                    <a:pt x="4448" y="11891"/>
                    <a:pt x="4477" y="11919"/>
                    <a:pt x="4532" y="11864"/>
                  </a:cubicBezTo>
                  <a:cubicBezTo>
                    <a:pt x="4561" y="11841"/>
                    <a:pt x="4532" y="11814"/>
                    <a:pt x="4561" y="11790"/>
                  </a:cubicBezTo>
                  <a:close/>
                  <a:moveTo>
                    <a:pt x="4561" y="11452"/>
                  </a:moveTo>
                  <a:cubicBezTo>
                    <a:pt x="4586" y="11350"/>
                    <a:pt x="4616" y="11245"/>
                    <a:pt x="4616" y="11144"/>
                  </a:cubicBezTo>
                  <a:cubicBezTo>
                    <a:pt x="4641" y="11066"/>
                    <a:pt x="4616" y="10934"/>
                    <a:pt x="4725" y="10934"/>
                  </a:cubicBezTo>
                  <a:cubicBezTo>
                    <a:pt x="4754" y="10961"/>
                    <a:pt x="4754" y="10961"/>
                    <a:pt x="4754" y="10988"/>
                  </a:cubicBezTo>
                  <a:cubicBezTo>
                    <a:pt x="4754" y="11066"/>
                    <a:pt x="4754" y="11144"/>
                    <a:pt x="4754" y="11222"/>
                  </a:cubicBezTo>
                  <a:cubicBezTo>
                    <a:pt x="4725" y="11273"/>
                    <a:pt x="4725" y="11350"/>
                    <a:pt x="4725" y="11428"/>
                  </a:cubicBezTo>
                  <a:cubicBezTo>
                    <a:pt x="4699" y="11479"/>
                    <a:pt x="4699" y="11530"/>
                    <a:pt x="4699" y="11584"/>
                  </a:cubicBezTo>
                  <a:cubicBezTo>
                    <a:pt x="4641" y="11584"/>
                    <a:pt x="4586" y="11607"/>
                    <a:pt x="4561" y="11557"/>
                  </a:cubicBezTo>
                  <a:cubicBezTo>
                    <a:pt x="4561" y="11452"/>
                    <a:pt x="4561" y="11452"/>
                    <a:pt x="4561" y="11452"/>
                  </a:cubicBezTo>
                  <a:close/>
                  <a:moveTo>
                    <a:pt x="3170" y="15355"/>
                  </a:moveTo>
                  <a:cubicBezTo>
                    <a:pt x="3141" y="15304"/>
                    <a:pt x="3116" y="15250"/>
                    <a:pt x="3141" y="15199"/>
                  </a:cubicBezTo>
                  <a:cubicBezTo>
                    <a:pt x="3141" y="15172"/>
                    <a:pt x="3170" y="15199"/>
                    <a:pt x="3196" y="15199"/>
                  </a:cubicBezTo>
                  <a:cubicBezTo>
                    <a:pt x="3254" y="15172"/>
                    <a:pt x="3254" y="15149"/>
                    <a:pt x="3280" y="15122"/>
                  </a:cubicBezTo>
                  <a:cubicBezTo>
                    <a:pt x="3338" y="15071"/>
                    <a:pt x="3418" y="15044"/>
                    <a:pt x="3476" y="15095"/>
                  </a:cubicBezTo>
                  <a:cubicBezTo>
                    <a:pt x="3531" y="15149"/>
                    <a:pt x="3502" y="15149"/>
                    <a:pt x="3447" y="15149"/>
                  </a:cubicBezTo>
                  <a:cubicBezTo>
                    <a:pt x="3338" y="15172"/>
                    <a:pt x="3393" y="15250"/>
                    <a:pt x="3393" y="15304"/>
                  </a:cubicBezTo>
                  <a:cubicBezTo>
                    <a:pt x="3393" y="15328"/>
                    <a:pt x="3363" y="15379"/>
                    <a:pt x="3338" y="15379"/>
                  </a:cubicBezTo>
                  <a:cubicBezTo>
                    <a:pt x="3309" y="15406"/>
                    <a:pt x="3254" y="15406"/>
                    <a:pt x="3196" y="15379"/>
                  </a:cubicBezTo>
                  <a:cubicBezTo>
                    <a:pt x="3170" y="15355"/>
                    <a:pt x="3170" y="15355"/>
                    <a:pt x="3170" y="15355"/>
                  </a:cubicBezTo>
                  <a:close/>
                  <a:moveTo>
                    <a:pt x="17516" y="10292"/>
                  </a:moveTo>
                  <a:cubicBezTo>
                    <a:pt x="17348" y="10420"/>
                    <a:pt x="17210" y="10599"/>
                    <a:pt x="17043" y="10704"/>
                  </a:cubicBezTo>
                  <a:cubicBezTo>
                    <a:pt x="16569" y="10961"/>
                    <a:pt x="16486" y="10833"/>
                    <a:pt x="16042" y="10755"/>
                  </a:cubicBezTo>
                  <a:cubicBezTo>
                    <a:pt x="15874" y="10728"/>
                    <a:pt x="15765" y="10884"/>
                    <a:pt x="15543" y="10884"/>
                  </a:cubicBezTo>
                  <a:cubicBezTo>
                    <a:pt x="15543" y="11012"/>
                    <a:pt x="15874" y="11039"/>
                    <a:pt x="15736" y="11195"/>
                  </a:cubicBezTo>
                  <a:cubicBezTo>
                    <a:pt x="15317" y="11584"/>
                    <a:pt x="15317" y="11584"/>
                    <a:pt x="15317" y="11584"/>
                  </a:cubicBezTo>
                  <a:cubicBezTo>
                    <a:pt x="15208" y="11685"/>
                    <a:pt x="15095" y="11530"/>
                    <a:pt x="15095" y="11736"/>
                  </a:cubicBezTo>
                  <a:cubicBezTo>
                    <a:pt x="15070" y="11996"/>
                    <a:pt x="14848" y="11814"/>
                    <a:pt x="14735" y="11814"/>
                  </a:cubicBezTo>
                  <a:cubicBezTo>
                    <a:pt x="14484" y="11814"/>
                    <a:pt x="14236" y="11919"/>
                    <a:pt x="13956" y="11919"/>
                  </a:cubicBezTo>
                  <a:cubicBezTo>
                    <a:pt x="13792" y="11919"/>
                    <a:pt x="13763" y="11763"/>
                    <a:pt x="13625" y="11736"/>
                  </a:cubicBezTo>
                  <a:cubicBezTo>
                    <a:pt x="13679" y="11530"/>
                    <a:pt x="14484" y="11841"/>
                    <a:pt x="14709" y="11685"/>
                  </a:cubicBezTo>
                  <a:cubicBezTo>
                    <a:pt x="15015" y="11428"/>
                    <a:pt x="14764" y="11012"/>
                    <a:pt x="15401" y="11012"/>
                  </a:cubicBezTo>
                  <a:cubicBezTo>
                    <a:pt x="15292" y="10704"/>
                    <a:pt x="15627" y="10447"/>
                    <a:pt x="15849" y="10187"/>
                  </a:cubicBezTo>
                  <a:cubicBezTo>
                    <a:pt x="15932" y="10160"/>
                    <a:pt x="16125" y="10031"/>
                    <a:pt x="15987" y="9980"/>
                  </a:cubicBezTo>
                  <a:cubicBezTo>
                    <a:pt x="15820" y="9930"/>
                    <a:pt x="15820" y="9903"/>
                    <a:pt x="15652" y="9980"/>
                  </a:cubicBezTo>
                  <a:cubicBezTo>
                    <a:pt x="15485" y="10082"/>
                    <a:pt x="15237" y="10265"/>
                    <a:pt x="15015" y="10082"/>
                  </a:cubicBezTo>
                  <a:cubicBezTo>
                    <a:pt x="14848" y="9903"/>
                    <a:pt x="14236" y="10447"/>
                    <a:pt x="14094" y="10576"/>
                  </a:cubicBezTo>
                  <a:cubicBezTo>
                    <a:pt x="13930" y="10728"/>
                    <a:pt x="13734" y="10860"/>
                    <a:pt x="13566" y="11012"/>
                  </a:cubicBezTo>
                  <a:cubicBezTo>
                    <a:pt x="13596" y="10884"/>
                    <a:pt x="13625" y="10755"/>
                    <a:pt x="13708" y="10650"/>
                  </a:cubicBezTo>
                  <a:cubicBezTo>
                    <a:pt x="13792" y="10549"/>
                    <a:pt x="13930" y="10498"/>
                    <a:pt x="13985" y="10369"/>
                  </a:cubicBezTo>
                  <a:cubicBezTo>
                    <a:pt x="14040" y="10265"/>
                    <a:pt x="14094" y="10265"/>
                    <a:pt x="14207" y="10187"/>
                  </a:cubicBezTo>
                  <a:cubicBezTo>
                    <a:pt x="14345" y="10109"/>
                    <a:pt x="14291" y="10007"/>
                    <a:pt x="14513" y="9953"/>
                  </a:cubicBezTo>
                  <a:cubicBezTo>
                    <a:pt x="15124" y="9852"/>
                    <a:pt x="15124" y="9852"/>
                    <a:pt x="15124" y="9852"/>
                  </a:cubicBezTo>
                  <a:cubicBezTo>
                    <a:pt x="15376" y="9825"/>
                    <a:pt x="15376" y="9619"/>
                    <a:pt x="15543" y="9517"/>
                  </a:cubicBezTo>
                  <a:cubicBezTo>
                    <a:pt x="15627" y="9463"/>
                    <a:pt x="15736" y="9490"/>
                    <a:pt x="15849" y="9490"/>
                  </a:cubicBezTo>
                  <a:cubicBezTo>
                    <a:pt x="15849" y="9463"/>
                    <a:pt x="15958" y="9385"/>
                    <a:pt x="15958" y="9412"/>
                  </a:cubicBezTo>
                  <a:cubicBezTo>
                    <a:pt x="15958" y="9541"/>
                    <a:pt x="15849" y="9669"/>
                    <a:pt x="15849" y="9774"/>
                  </a:cubicBezTo>
                  <a:cubicBezTo>
                    <a:pt x="15849" y="9825"/>
                    <a:pt x="16154" y="10031"/>
                    <a:pt x="16154" y="9903"/>
                  </a:cubicBezTo>
                  <a:cubicBezTo>
                    <a:pt x="16154" y="9825"/>
                    <a:pt x="16264" y="9723"/>
                    <a:pt x="16293" y="9646"/>
                  </a:cubicBezTo>
                  <a:cubicBezTo>
                    <a:pt x="16431" y="9361"/>
                    <a:pt x="16682" y="9050"/>
                    <a:pt x="16875" y="8793"/>
                  </a:cubicBezTo>
                  <a:cubicBezTo>
                    <a:pt x="16988" y="8638"/>
                    <a:pt x="17629" y="7937"/>
                    <a:pt x="17072" y="8198"/>
                  </a:cubicBezTo>
                  <a:cubicBezTo>
                    <a:pt x="16850" y="8276"/>
                    <a:pt x="17017" y="8509"/>
                    <a:pt x="16628" y="8509"/>
                  </a:cubicBezTo>
                  <a:cubicBezTo>
                    <a:pt x="16293" y="8509"/>
                    <a:pt x="16377" y="8198"/>
                    <a:pt x="15987" y="8455"/>
                  </a:cubicBezTo>
                  <a:cubicBezTo>
                    <a:pt x="15765" y="8611"/>
                    <a:pt x="15765" y="8509"/>
                    <a:pt x="15543" y="8431"/>
                  </a:cubicBezTo>
                  <a:cubicBezTo>
                    <a:pt x="15376" y="8377"/>
                    <a:pt x="15095" y="8431"/>
                    <a:pt x="14986" y="8303"/>
                  </a:cubicBezTo>
                  <a:cubicBezTo>
                    <a:pt x="14819" y="8171"/>
                    <a:pt x="14735" y="8198"/>
                    <a:pt x="14542" y="8171"/>
                  </a:cubicBezTo>
                  <a:cubicBezTo>
                    <a:pt x="14400" y="8147"/>
                    <a:pt x="13985" y="8015"/>
                    <a:pt x="13985" y="7860"/>
                  </a:cubicBezTo>
                  <a:cubicBezTo>
                    <a:pt x="14040" y="7992"/>
                    <a:pt x="15041" y="8147"/>
                    <a:pt x="15237" y="8171"/>
                  </a:cubicBezTo>
                  <a:cubicBezTo>
                    <a:pt x="15401" y="8225"/>
                    <a:pt x="15485" y="8147"/>
                    <a:pt x="15627" y="8093"/>
                  </a:cubicBezTo>
                  <a:cubicBezTo>
                    <a:pt x="15903" y="8015"/>
                    <a:pt x="15932" y="8276"/>
                    <a:pt x="15932" y="7860"/>
                  </a:cubicBezTo>
                  <a:cubicBezTo>
                    <a:pt x="15932" y="7474"/>
                    <a:pt x="16180" y="7603"/>
                    <a:pt x="15765" y="7373"/>
                  </a:cubicBezTo>
                  <a:cubicBezTo>
                    <a:pt x="15514" y="7217"/>
                    <a:pt x="15903" y="7318"/>
                    <a:pt x="15932" y="7346"/>
                  </a:cubicBezTo>
                  <a:cubicBezTo>
                    <a:pt x="16042" y="7447"/>
                    <a:pt x="16071" y="7190"/>
                    <a:pt x="16125" y="7085"/>
                  </a:cubicBezTo>
                  <a:cubicBezTo>
                    <a:pt x="16515" y="6855"/>
                    <a:pt x="16766" y="6957"/>
                    <a:pt x="16904" y="6493"/>
                  </a:cubicBezTo>
                  <a:cubicBezTo>
                    <a:pt x="16959" y="6311"/>
                    <a:pt x="17793" y="5769"/>
                    <a:pt x="17989" y="5692"/>
                  </a:cubicBezTo>
                  <a:cubicBezTo>
                    <a:pt x="18182" y="5590"/>
                    <a:pt x="18462" y="5201"/>
                    <a:pt x="18626" y="5174"/>
                  </a:cubicBezTo>
                  <a:cubicBezTo>
                    <a:pt x="18655" y="5123"/>
                    <a:pt x="18906" y="4995"/>
                    <a:pt x="18961" y="4866"/>
                  </a:cubicBezTo>
                  <a:cubicBezTo>
                    <a:pt x="19158" y="4504"/>
                    <a:pt x="19158" y="4504"/>
                    <a:pt x="19158" y="4504"/>
                  </a:cubicBezTo>
                  <a:cubicBezTo>
                    <a:pt x="19212" y="4372"/>
                    <a:pt x="19711" y="4010"/>
                    <a:pt x="19711" y="3987"/>
                  </a:cubicBezTo>
                  <a:cubicBezTo>
                    <a:pt x="19769" y="3987"/>
                    <a:pt x="19878" y="3936"/>
                    <a:pt x="19937" y="3909"/>
                  </a:cubicBezTo>
                  <a:cubicBezTo>
                    <a:pt x="20075" y="3882"/>
                    <a:pt x="20268" y="3703"/>
                    <a:pt x="20435" y="3676"/>
                  </a:cubicBezTo>
                  <a:cubicBezTo>
                    <a:pt x="20541" y="3676"/>
                    <a:pt x="20599" y="3496"/>
                    <a:pt x="20654" y="3419"/>
                  </a:cubicBezTo>
                  <a:cubicBezTo>
                    <a:pt x="20792" y="3314"/>
                    <a:pt x="21127" y="3080"/>
                    <a:pt x="21181" y="2928"/>
                  </a:cubicBezTo>
                  <a:cubicBezTo>
                    <a:pt x="21211" y="2773"/>
                    <a:pt x="21265" y="2590"/>
                    <a:pt x="21320" y="2438"/>
                  </a:cubicBezTo>
                  <a:cubicBezTo>
                    <a:pt x="21403" y="2204"/>
                    <a:pt x="21294" y="2177"/>
                    <a:pt x="21211" y="2022"/>
                  </a:cubicBezTo>
                  <a:cubicBezTo>
                    <a:pt x="21043" y="1792"/>
                    <a:pt x="20905" y="1687"/>
                    <a:pt x="20959" y="1352"/>
                  </a:cubicBezTo>
                  <a:cubicBezTo>
                    <a:pt x="21320" y="1169"/>
                    <a:pt x="21600" y="577"/>
                    <a:pt x="21600" y="188"/>
                  </a:cubicBezTo>
                  <a:cubicBezTo>
                    <a:pt x="21127" y="138"/>
                    <a:pt x="21127" y="138"/>
                    <a:pt x="21127" y="138"/>
                  </a:cubicBezTo>
                  <a:cubicBezTo>
                    <a:pt x="21043" y="111"/>
                    <a:pt x="20959" y="188"/>
                    <a:pt x="20905" y="344"/>
                  </a:cubicBezTo>
                  <a:cubicBezTo>
                    <a:pt x="20737" y="344"/>
                    <a:pt x="20737" y="84"/>
                    <a:pt x="20464" y="138"/>
                  </a:cubicBezTo>
                  <a:cubicBezTo>
                    <a:pt x="20242" y="161"/>
                    <a:pt x="19991" y="239"/>
                    <a:pt x="19769" y="188"/>
                  </a:cubicBezTo>
                  <a:cubicBezTo>
                    <a:pt x="19685" y="161"/>
                    <a:pt x="19518" y="-45"/>
                    <a:pt x="19489" y="9"/>
                  </a:cubicBezTo>
                  <a:cubicBezTo>
                    <a:pt x="19405" y="111"/>
                    <a:pt x="19296" y="317"/>
                    <a:pt x="19463" y="368"/>
                  </a:cubicBezTo>
                  <a:cubicBezTo>
                    <a:pt x="19711" y="473"/>
                    <a:pt x="19656" y="628"/>
                    <a:pt x="19602" y="807"/>
                  </a:cubicBezTo>
                  <a:cubicBezTo>
                    <a:pt x="19434" y="784"/>
                    <a:pt x="19183" y="473"/>
                    <a:pt x="18877" y="550"/>
                  </a:cubicBezTo>
                  <a:cubicBezTo>
                    <a:pt x="18379" y="733"/>
                    <a:pt x="18877" y="368"/>
                    <a:pt x="18379" y="473"/>
                  </a:cubicBezTo>
                  <a:cubicBezTo>
                    <a:pt x="18211" y="523"/>
                    <a:pt x="17960" y="500"/>
                    <a:pt x="17822" y="601"/>
                  </a:cubicBezTo>
                  <a:cubicBezTo>
                    <a:pt x="17629" y="784"/>
                    <a:pt x="17319" y="990"/>
                    <a:pt x="17043" y="1014"/>
                  </a:cubicBezTo>
                  <a:cubicBezTo>
                    <a:pt x="16875" y="1014"/>
                    <a:pt x="15932" y="1068"/>
                    <a:pt x="15874" y="834"/>
                  </a:cubicBezTo>
                  <a:cubicBezTo>
                    <a:pt x="15820" y="422"/>
                    <a:pt x="15627" y="1220"/>
                    <a:pt x="15401" y="1119"/>
                  </a:cubicBezTo>
                  <a:cubicBezTo>
                    <a:pt x="15153" y="990"/>
                    <a:pt x="15124" y="1247"/>
                    <a:pt x="14873" y="1247"/>
                  </a:cubicBezTo>
                  <a:cubicBezTo>
                    <a:pt x="14680" y="1247"/>
                    <a:pt x="14764" y="1325"/>
                    <a:pt x="14651" y="1430"/>
                  </a:cubicBezTo>
                  <a:cubicBezTo>
                    <a:pt x="14542" y="1508"/>
                    <a:pt x="14320" y="1352"/>
                    <a:pt x="14236" y="1325"/>
                  </a:cubicBezTo>
                  <a:cubicBezTo>
                    <a:pt x="13956" y="1169"/>
                    <a:pt x="13374" y="2022"/>
                    <a:pt x="13319" y="2228"/>
                  </a:cubicBezTo>
                  <a:cubicBezTo>
                    <a:pt x="13319" y="2150"/>
                    <a:pt x="13374" y="1714"/>
                    <a:pt x="13403" y="1663"/>
                  </a:cubicBezTo>
                  <a:cubicBezTo>
                    <a:pt x="13566" y="1480"/>
                    <a:pt x="13596" y="1430"/>
                    <a:pt x="13512" y="1196"/>
                  </a:cubicBezTo>
                  <a:cubicBezTo>
                    <a:pt x="13428" y="990"/>
                    <a:pt x="13206" y="963"/>
                    <a:pt x="12984" y="939"/>
                  </a:cubicBezTo>
                  <a:cubicBezTo>
                    <a:pt x="12150" y="807"/>
                    <a:pt x="12846" y="1403"/>
                    <a:pt x="12372" y="1558"/>
                  </a:cubicBezTo>
                  <a:cubicBezTo>
                    <a:pt x="12092" y="1636"/>
                    <a:pt x="12012" y="2099"/>
                    <a:pt x="11706" y="2204"/>
                  </a:cubicBezTo>
                  <a:cubicBezTo>
                    <a:pt x="11623" y="2228"/>
                    <a:pt x="11706" y="2049"/>
                    <a:pt x="11732" y="2022"/>
                  </a:cubicBezTo>
                  <a:cubicBezTo>
                    <a:pt x="11845" y="1869"/>
                    <a:pt x="12092" y="1585"/>
                    <a:pt x="12150" y="1403"/>
                  </a:cubicBezTo>
                  <a:cubicBezTo>
                    <a:pt x="12289" y="1068"/>
                    <a:pt x="11648" y="1014"/>
                    <a:pt x="11539" y="706"/>
                  </a:cubicBezTo>
                  <a:cubicBezTo>
                    <a:pt x="11510" y="706"/>
                    <a:pt x="11510" y="939"/>
                    <a:pt x="11484" y="990"/>
                  </a:cubicBezTo>
                  <a:cubicBezTo>
                    <a:pt x="11288" y="1480"/>
                    <a:pt x="11288" y="1480"/>
                    <a:pt x="11288" y="1480"/>
                  </a:cubicBezTo>
                  <a:cubicBezTo>
                    <a:pt x="11317" y="1376"/>
                    <a:pt x="11342" y="1247"/>
                    <a:pt x="11342" y="1146"/>
                  </a:cubicBezTo>
                  <a:cubicBezTo>
                    <a:pt x="11342" y="1091"/>
                    <a:pt x="11233" y="1014"/>
                    <a:pt x="11204" y="912"/>
                  </a:cubicBezTo>
                  <a:cubicBezTo>
                    <a:pt x="11175" y="601"/>
                    <a:pt x="10982" y="500"/>
                    <a:pt x="10647" y="500"/>
                  </a:cubicBezTo>
                  <a:cubicBezTo>
                    <a:pt x="10483" y="500"/>
                    <a:pt x="10232" y="317"/>
                    <a:pt x="10232" y="523"/>
                  </a:cubicBezTo>
                  <a:cubicBezTo>
                    <a:pt x="10232" y="733"/>
                    <a:pt x="10203" y="1041"/>
                    <a:pt x="10065" y="1196"/>
                  </a:cubicBezTo>
                  <a:cubicBezTo>
                    <a:pt x="9981" y="1325"/>
                    <a:pt x="9814" y="1274"/>
                    <a:pt x="9730" y="1376"/>
                  </a:cubicBezTo>
                  <a:cubicBezTo>
                    <a:pt x="9621" y="1508"/>
                    <a:pt x="9646" y="1663"/>
                    <a:pt x="9566" y="1815"/>
                  </a:cubicBezTo>
                  <a:cubicBezTo>
                    <a:pt x="9508" y="1893"/>
                    <a:pt x="9759" y="1998"/>
                    <a:pt x="9843" y="2049"/>
                  </a:cubicBezTo>
                  <a:cubicBezTo>
                    <a:pt x="10148" y="2204"/>
                    <a:pt x="9788" y="2228"/>
                    <a:pt x="9646" y="2333"/>
                  </a:cubicBezTo>
                  <a:cubicBezTo>
                    <a:pt x="9399" y="2617"/>
                    <a:pt x="9843" y="2644"/>
                    <a:pt x="9897" y="2773"/>
                  </a:cubicBezTo>
                  <a:cubicBezTo>
                    <a:pt x="9646" y="2773"/>
                    <a:pt x="9621" y="2617"/>
                    <a:pt x="9482" y="2617"/>
                  </a:cubicBezTo>
                  <a:cubicBezTo>
                    <a:pt x="9340" y="2590"/>
                    <a:pt x="9508" y="2901"/>
                    <a:pt x="9202" y="2874"/>
                  </a:cubicBezTo>
                  <a:cubicBezTo>
                    <a:pt x="9035" y="2874"/>
                    <a:pt x="9064" y="3006"/>
                    <a:pt x="9202" y="3006"/>
                  </a:cubicBezTo>
                  <a:cubicBezTo>
                    <a:pt x="9369" y="3006"/>
                    <a:pt x="9257" y="3107"/>
                    <a:pt x="9257" y="3212"/>
                  </a:cubicBezTo>
                  <a:cubicBezTo>
                    <a:pt x="9257" y="3419"/>
                    <a:pt x="9399" y="3469"/>
                    <a:pt x="9399" y="3652"/>
                  </a:cubicBezTo>
                  <a:cubicBezTo>
                    <a:pt x="9399" y="3987"/>
                    <a:pt x="9730" y="4010"/>
                    <a:pt x="9814" y="4193"/>
                  </a:cubicBezTo>
                  <a:cubicBezTo>
                    <a:pt x="9621" y="4193"/>
                    <a:pt x="9592" y="4038"/>
                    <a:pt x="9399" y="4115"/>
                  </a:cubicBezTo>
                  <a:cubicBezTo>
                    <a:pt x="9257" y="4193"/>
                    <a:pt x="9064" y="4244"/>
                    <a:pt x="8896" y="4166"/>
                  </a:cubicBezTo>
                  <a:cubicBezTo>
                    <a:pt x="8758" y="4115"/>
                    <a:pt x="8645" y="4038"/>
                    <a:pt x="8787" y="4220"/>
                  </a:cubicBezTo>
                  <a:cubicBezTo>
                    <a:pt x="8842" y="4295"/>
                    <a:pt x="8536" y="4399"/>
                    <a:pt x="8452" y="4372"/>
                  </a:cubicBezTo>
                  <a:cubicBezTo>
                    <a:pt x="8201" y="4271"/>
                    <a:pt x="8201" y="4038"/>
                    <a:pt x="8008" y="4271"/>
                  </a:cubicBezTo>
                  <a:cubicBezTo>
                    <a:pt x="7895" y="4427"/>
                    <a:pt x="7979" y="4372"/>
                    <a:pt x="8092" y="4450"/>
                  </a:cubicBezTo>
                  <a:cubicBezTo>
                    <a:pt x="8368" y="4582"/>
                    <a:pt x="8314" y="5150"/>
                    <a:pt x="8536" y="5252"/>
                  </a:cubicBezTo>
                  <a:cubicBezTo>
                    <a:pt x="8867" y="5380"/>
                    <a:pt x="8481" y="5279"/>
                    <a:pt x="8620" y="5536"/>
                  </a:cubicBezTo>
                  <a:cubicBezTo>
                    <a:pt x="8674" y="5614"/>
                    <a:pt x="8729" y="6026"/>
                    <a:pt x="8590" y="6077"/>
                  </a:cubicBezTo>
                  <a:cubicBezTo>
                    <a:pt x="8536" y="6104"/>
                    <a:pt x="8146" y="6026"/>
                    <a:pt x="8092" y="5976"/>
                  </a:cubicBezTo>
                  <a:cubicBezTo>
                    <a:pt x="8008" y="5925"/>
                    <a:pt x="7866" y="5719"/>
                    <a:pt x="7786" y="5692"/>
                  </a:cubicBezTo>
                  <a:cubicBezTo>
                    <a:pt x="7786" y="5820"/>
                    <a:pt x="7564" y="5976"/>
                    <a:pt x="7702" y="6053"/>
                  </a:cubicBezTo>
                  <a:cubicBezTo>
                    <a:pt x="7895" y="6182"/>
                    <a:pt x="7786" y="6233"/>
                    <a:pt x="7786" y="6388"/>
                  </a:cubicBezTo>
                  <a:cubicBezTo>
                    <a:pt x="8092" y="6388"/>
                    <a:pt x="8285" y="6544"/>
                    <a:pt x="8398" y="6777"/>
                  </a:cubicBezTo>
                  <a:cubicBezTo>
                    <a:pt x="8565" y="7139"/>
                    <a:pt x="8813" y="7007"/>
                    <a:pt x="9118" y="7190"/>
                  </a:cubicBezTo>
                  <a:cubicBezTo>
                    <a:pt x="9340" y="7295"/>
                    <a:pt x="8980" y="7525"/>
                    <a:pt x="9009" y="7552"/>
                  </a:cubicBezTo>
                  <a:cubicBezTo>
                    <a:pt x="9257" y="7731"/>
                    <a:pt x="9257" y="7731"/>
                    <a:pt x="9257" y="7731"/>
                  </a:cubicBezTo>
                  <a:cubicBezTo>
                    <a:pt x="9424" y="7887"/>
                    <a:pt x="9814" y="8326"/>
                    <a:pt x="9814" y="8560"/>
                  </a:cubicBezTo>
                  <a:cubicBezTo>
                    <a:pt x="9704" y="8560"/>
                    <a:pt x="9566" y="8069"/>
                    <a:pt x="9424" y="7992"/>
                  </a:cubicBezTo>
                  <a:cubicBezTo>
                    <a:pt x="8787" y="7630"/>
                    <a:pt x="8787" y="7630"/>
                    <a:pt x="8787" y="7630"/>
                  </a:cubicBezTo>
                  <a:cubicBezTo>
                    <a:pt x="8590" y="7525"/>
                    <a:pt x="8398" y="7707"/>
                    <a:pt x="8230" y="7501"/>
                  </a:cubicBezTo>
                  <a:cubicBezTo>
                    <a:pt x="8146" y="7396"/>
                    <a:pt x="8117" y="7447"/>
                    <a:pt x="7979" y="7447"/>
                  </a:cubicBezTo>
                  <a:cubicBezTo>
                    <a:pt x="7979" y="7707"/>
                    <a:pt x="8259" y="7680"/>
                    <a:pt x="8398" y="7860"/>
                  </a:cubicBezTo>
                  <a:cubicBezTo>
                    <a:pt x="8452" y="7937"/>
                    <a:pt x="9064" y="8353"/>
                    <a:pt x="8867" y="8303"/>
                  </a:cubicBezTo>
                  <a:cubicBezTo>
                    <a:pt x="8703" y="8276"/>
                    <a:pt x="8620" y="8147"/>
                    <a:pt x="8452" y="8147"/>
                  </a:cubicBezTo>
                  <a:cubicBezTo>
                    <a:pt x="8339" y="8120"/>
                    <a:pt x="8201" y="7887"/>
                    <a:pt x="8034" y="7809"/>
                  </a:cubicBezTo>
                  <a:cubicBezTo>
                    <a:pt x="7564" y="7630"/>
                    <a:pt x="7924" y="8042"/>
                    <a:pt x="7564" y="8198"/>
                  </a:cubicBezTo>
                  <a:cubicBezTo>
                    <a:pt x="7116" y="8249"/>
                    <a:pt x="7033" y="7937"/>
                    <a:pt x="7033" y="7603"/>
                  </a:cubicBezTo>
                  <a:cubicBezTo>
                    <a:pt x="6894" y="7579"/>
                    <a:pt x="6643" y="7423"/>
                    <a:pt x="6618" y="7630"/>
                  </a:cubicBezTo>
                  <a:cubicBezTo>
                    <a:pt x="6618" y="7758"/>
                    <a:pt x="6479" y="7965"/>
                    <a:pt x="6588" y="8069"/>
                  </a:cubicBezTo>
                  <a:cubicBezTo>
                    <a:pt x="6894" y="8303"/>
                    <a:pt x="6894" y="8455"/>
                    <a:pt x="6785" y="8766"/>
                  </a:cubicBezTo>
                  <a:cubicBezTo>
                    <a:pt x="6756" y="8844"/>
                    <a:pt x="6785" y="8945"/>
                    <a:pt x="6811" y="9000"/>
                  </a:cubicBezTo>
                  <a:cubicBezTo>
                    <a:pt x="6894" y="9179"/>
                    <a:pt x="6505" y="9050"/>
                    <a:pt x="6450" y="8844"/>
                  </a:cubicBezTo>
                  <a:cubicBezTo>
                    <a:pt x="6421" y="8688"/>
                    <a:pt x="6421" y="8611"/>
                    <a:pt x="6366" y="8482"/>
                  </a:cubicBezTo>
                  <a:cubicBezTo>
                    <a:pt x="6312" y="8353"/>
                    <a:pt x="6366" y="8042"/>
                    <a:pt x="6174" y="8093"/>
                  </a:cubicBezTo>
                  <a:cubicBezTo>
                    <a:pt x="5948" y="8147"/>
                    <a:pt x="5839" y="8198"/>
                    <a:pt x="5617" y="8198"/>
                  </a:cubicBezTo>
                  <a:cubicBezTo>
                    <a:pt x="5617" y="8326"/>
                    <a:pt x="5642" y="9230"/>
                    <a:pt x="5700" y="9257"/>
                  </a:cubicBezTo>
                  <a:cubicBezTo>
                    <a:pt x="5977" y="9490"/>
                    <a:pt x="6341" y="9385"/>
                    <a:pt x="6341" y="9798"/>
                  </a:cubicBezTo>
                  <a:cubicBezTo>
                    <a:pt x="6283" y="9798"/>
                    <a:pt x="6199" y="9696"/>
                    <a:pt x="6090" y="9696"/>
                  </a:cubicBezTo>
                  <a:cubicBezTo>
                    <a:pt x="5671" y="9696"/>
                    <a:pt x="5784" y="9930"/>
                    <a:pt x="5587" y="10187"/>
                  </a:cubicBezTo>
                  <a:cubicBezTo>
                    <a:pt x="5420" y="10471"/>
                    <a:pt x="5839" y="10342"/>
                    <a:pt x="5922" y="10576"/>
                  </a:cubicBezTo>
                  <a:cubicBezTo>
                    <a:pt x="5948" y="10650"/>
                    <a:pt x="6032" y="10860"/>
                    <a:pt x="6115" y="10911"/>
                  </a:cubicBezTo>
                  <a:cubicBezTo>
                    <a:pt x="6341" y="11090"/>
                    <a:pt x="6228" y="11245"/>
                    <a:pt x="6563" y="11245"/>
                  </a:cubicBezTo>
                  <a:cubicBezTo>
                    <a:pt x="6894" y="11245"/>
                    <a:pt x="6923" y="11222"/>
                    <a:pt x="7200" y="11350"/>
                  </a:cubicBezTo>
                  <a:cubicBezTo>
                    <a:pt x="7200" y="11401"/>
                    <a:pt x="7200" y="11401"/>
                    <a:pt x="7200" y="11401"/>
                  </a:cubicBezTo>
                  <a:cubicBezTo>
                    <a:pt x="7062" y="11428"/>
                    <a:pt x="6949" y="11377"/>
                    <a:pt x="6785" y="11401"/>
                  </a:cubicBezTo>
                  <a:cubicBezTo>
                    <a:pt x="6727" y="11401"/>
                    <a:pt x="6727" y="11479"/>
                    <a:pt x="6643" y="11428"/>
                  </a:cubicBezTo>
                  <a:cubicBezTo>
                    <a:pt x="6588" y="11377"/>
                    <a:pt x="6505" y="11377"/>
                    <a:pt x="6450" y="11401"/>
                  </a:cubicBezTo>
                  <a:cubicBezTo>
                    <a:pt x="6450" y="11479"/>
                    <a:pt x="6505" y="11506"/>
                    <a:pt x="6505" y="11584"/>
                  </a:cubicBezTo>
                  <a:cubicBezTo>
                    <a:pt x="6505" y="11712"/>
                    <a:pt x="6283" y="11479"/>
                    <a:pt x="6283" y="11452"/>
                  </a:cubicBezTo>
                  <a:cubicBezTo>
                    <a:pt x="6174" y="11377"/>
                    <a:pt x="6257" y="11323"/>
                    <a:pt x="6174" y="11245"/>
                  </a:cubicBezTo>
                  <a:cubicBezTo>
                    <a:pt x="6115" y="11479"/>
                    <a:pt x="5617" y="10961"/>
                    <a:pt x="5504" y="10934"/>
                  </a:cubicBezTo>
                  <a:lnTo>
                    <a:pt x="5449" y="10934"/>
                  </a:lnTo>
                  <a:cubicBezTo>
                    <a:pt x="5449" y="10934"/>
                    <a:pt x="5449" y="10934"/>
                    <a:pt x="5420" y="10934"/>
                  </a:cubicBezTo>
                  <a:cubicBezTo>
                    <a:pt x="5311" y="11350"/>
                    <a:pt x="5256" y="11942"/>
                    <a:pt x="5340" y="12358"/>
                  </a:cubicBezTo>
                  <a:cubicBezTo>
                    <a:pt x="5395" y="12382"/>
                    <a:pt x="5504" y="12358"/>
                    <a:pt x="5533" y="12382"/>
                  </a:cubicBezTo>
                  <a:cubicBezTo>
                    <a:pt x="5562" y="12460"/>
                    <a:pt x="5504" y="12615"/>
                    <a:pt x="5533" y="12720"/>
                  </a:cubicBezTo>
                  <a:cubicBezTo>
                    <a:pt x="5533" y="12744"/>
                    <a:pt x="5671" y="13184"/>
                    <a:pt x="5700" y="13211"/>
                  </a:cubicBezTo>
                  <a:cubicBezTo>
                    <a:pt x="5810" y="13366"/>
                    <a:pt x="6061" y="13160"/>
                    <a:pt x="6174" y="13082"/>
                  </a:cubicBezTo>
                  <a:cubicBezTo>
                    <a:pt x="6283" y="13028"/>
                    <a:pt x="6534" y="12795"/>
                    <a:pt x="6643" y="12795"/>
                  </a:cubicBezTo>
                  <a:cubicBezTo>
                    <a:pt x="6672" y="12795"/>
                    <a:pt x="6618" y="12950"/>
                    <a:pt x="6727" y="13028"/>
                  </a:cubicBezTo>
                  <a:cubicBezTo>
                    <a:pt x="7175" y="13390"/>
                    <a:pt x="7258" y="12771"/>
                    <a:pt x="7564" y="12666"/>
                  </a:cubicBezTo>
                  <a:cubicBezTo>
                    <a:pt x="7422" y="12849"/>
                    <a:pt x="7422" y="13055"/>
                    <a:pt x="7200" y="13184"/>
                  </a:cubicBezTo>
                  <a:cubicBezTo>
                    <a:pt x="7091" y="13261"/>
                    <a:pt x="6756" y="13468"/>
                    <a:pt x="6618" y="13366"/>
                  </a:cubicBezTo>
                  <a:cubicBezTo>
                    <a:pt x="6396" y="13211"/>
                    <a:pt x="6312" y="13495"/>
                    <a:pt x="6199" y="13650"/>
                  </a:cubicBezTo>
                  <a:cubicBezTo>
                    <a:pt x="5977" y="13907"/>
                    <a:pt x="6257" y="13934"/>
                    <a:pt x="6479" y="13907"/>
                  </a:cubicBezTo>
                  <a:cubicBezTo>
                    <a:pt x="6865" y="13857"/>
                    <a:pt x="7200" y="13985"/>
                    <a:pt x="7480" y="14164"/>
                  </a:cubicBezTo>
                  <a:cubicBezTo>
                    <a:pt x="7589" y="14242"/>
                    <a:pt x="7673" y="14347"/>
                    <a:pt x="7786" y="14425"/>
                  </a:cubicBezTo>
                  <a:cubicBezTo>
                    <a:pt x="7950" y="14526"/>
                    <a:pt x="7673" y="14449"/>
                    <a:pt x="7589" y="14398"/>
                  </a:cubicBezTo>
                  <a:cubicBezTo>
                    <a:pt x="7422" y="14320"/>
                    <a:pt x="7258" y="13985"/>
                    <a:pt x="7062" y="14063"/>
                  </a:cubicBezTo>
                  <a:cubicBezTo>
                    <a:pt x="6894" y="14114"/>
                    <a:pt x="6643" y="14141"/>
                    <a:pt x="6563" y="14269"/>
                  </a:cubicBezTo>
                  <a:cubicBezTo>
                    <a:pt x="6450" y="14503"/>
                    <a:pt x="6785" y="14398"/>
                    <a:pt x="6643" y="14631"/>
                  </a:cubicBezTo>
                  <a:cubicBezTo>
                    <a:pt x="6421" y="14993"/>
                    <a:pt x="6032" y="15199"/>
                    <a:pt x="6785" y="15250"/>
                  </a:cubicBezTo>
                  <a:cubicBezTo>
                    <a:pt x="7033" y="15277"/>
                    <a:pt x="6923" y="15639"/>
                    <a:pt x="7367" y="15639"/>
                  </a:cubicBezTo>
                  <a:cubicBezTo>
                    <a:pt x="7619" y="15639"/>
                    <a:pt x="7313" y="15768"/>
                    <a:pt x="7175" y="15741"/>
                  </a:cubicBezTo>
                  <a:cubicBezTo>
                    <a:pt x="6978" y="15717"/>
                    <a:pt x="6923" y="15511"/>
                    <a:pt x="6701" y="15534"/>
                  </a:cubicBezTo>
                  <a:cubicBezTo>
                    <a:pt x="6672" y="15534"/>
                    <a:pt x="6144" y="15406"/>
                    <a:pt x="6115" y="15534"/>
                  </a:cubicBezTo>
                  <a:cubicBezTo>
                    <a:pt x="6115" y="15663"/>
                    <a:pt x="5810" y="15947"/>
                    <a:pt x="5726" y="16025"/>
                  </a:cubicBezTo>
                  <a:cubicBezTo>
                    <a:pt x="5726" y="16207"/>
                    <a:pt x="5977" y="16387"/>
                    <a:pt x="6144" y="16309"/>
                  </a:cubicBezTo>
                  <a:cubicBezTo>
                    <a:pt x="6366" y="16234"/>
                    <a:pt x="6312" y="16414"/>
                    <a:pt x="6366" y="16542"/>
                  </a:cubicBezTo>
                  <a:cubicBezTo>
                    <a:pt x="6396" y="16620"/>
                    <a:pt x="6811" y="16904"/>
                    <a:pt x="6701" y="16904"/>
                  </a:cubicBezTo>
                  <a:cubicBezTo>
                    <a:pt x="6421" y="16931"/>
                    <a:pt x="6174" y="16853"/>
                    <a:pt x="6090" y="16569"/>
                  </a:cubicBezTo>
                  <a:cubicBezTo>
                    <a:pt x="5977" y="16569"/>
                    <a:pt x="5755" y="16593"/>
                    <a:pt x="5642" y="16569"/>
                  </a:cubicBezTo>
                  <a:cubicBezTo>
                    <a:pt x="5449" y="16515"/>
                    <a:pt x="5478" y="17009"/>
                    <a:pt x="5395" y="17165"/>
                  </a:cubicBezTo>
                  <a:cubicBezTo>
                    <a:pt x="5340" y="17239"/>
                    <a:pt x="5282" y="17293"/>
                    <a:pt x="5227" y="17371"/>
                  </a:cubicBezTo>
                  <a:cubicBezTo>
                    <a:pt x="5143" y="17500"/>
                    <a:pt x="5504" y="17550"/>
                    <a:pt x="5198" y="17628"/>
                  </a:cubicBezTo>
                  <a:cubicBezTo>
                    <a:pt x="5060" y="17679"/>
                    <a:pt x="4867" y="17939"/>
                    <a:pt x="5172" y="17885"/>
                  </a:cubicBezTo>
                  <a:cubicBezTo>
                    <a:pt x="5478" y="17834"/>
                    <a:pt x="5700" y="17730"/>
                    <a:pt x="6006" y="17730"/>
                  </a:cubicBezTo>
                  <a:cubicBezTo>
                    <a:pt x="6006" y="17807"/>
                    <a:pt x="5671" y="17939"/>
                    <a:pt x="5755" y="18017"/>
                  </a:cubicBezTo>
                  <a:cubicBezTo>
                    <a:pt x="5784" y="18041"/>
                    <a:pt x="6174" y="18091"/>
                    <a:pt x="6032" y="18146"/>
                  </a:cubicBezTo>
                  <a:cubicBezTo>
                    <a:pt x="5893" y="18196"/>
                    <a:pt x="5365" y="18301"/>
                    <a:pt x="5340" y="18403"/>
                  </a:cubicBezTo>
                  <a:cubicBezTo>
                    <a:pt x="5311" y="18531"/>
                    <a:pt x="5143" y="18714"/>
                    <a:pt x="5172" y="18842"/>
                  </a:cubicBezTo>
                  <a:cubicBezTo>
                    <a:pt x="5172" y="18893"/>
                    <a:pt x="5172" y="19153"/>
                    <a:pt x="5114" y="19153"/>
                  </a:cubicBezTo>
                  <a:cubicBezTo>
                    <a:pt x="4921" y="19153"/>
                    <a:pt x="4921" y="18737"/>
                    <a:pt x="4699" y="18893"/>
                  </a:cubicBezTo>
                  <a:cubicBezTo>
                    <a:pt x="4477" y="19049"/>
                    <a:pt x="4142" y="18998"/>
                    <a:pt x="3866" y="18998"/>
                  </a:cubicBezTo>
                  <a:cubicBezTo>
                    <a:pt x="3502" y="19099"/>
                    <a:pt x="3058" y="19177"/>
                    <a:pt x="3393" y="19644"/>
                  </a:cubicBezTo>
                  <a:cubicBezTo>
                    <a:pt x="3531" y="19901"/>
                    <a:pt x="4113" y="19668"/>
                    <a:pt x="4419" y="19772"/>
                  </a:cubicBezTo>
                  <a:cubicBezTo>
                    <a:pt x="4670" y="19850"/>
                    <a:pt x="4892" y="19772"/>
                    <a:pt x="5143" y="19823"/>
                  </a:cubicBezTo>
                  <a:cubicBezTo>
                    <a:pt x="5504" y="19901"/>
                    <a:pt x="5671" y="19512"/>
                    <a:pt x="6090" y="19512"/>
                  </a:cubicBezTo>
                  <a:cubicBezTo>
                    <a:pt x="6341" y="19512"/>
                    <a:pt x="6618" y="19745"/>
                    <a:pt x="6949" y="19745"/>
                  </a:cubicBezTo>
                  <a:cubicBezTo>
                    <a:pt x="6643" y="19823"/>
                    <a:pt x="6505" y="19823"/>
                    <a:pt x="6199" y="19695"/>
                  </a:cubicBezTo>
                  <a:cubicBezTo>
                    <a:pt x="5810" y="19512"/>
                    <a:pt x="5587" y="20134"/>
                    <a:pt x="5256" y="19952"/>
                  </a:cubicBezTo>
                  <a:cubicBezTo>
                    <a:pt x="5031" y="19823"/>
                    <a:pt x="4699" y="20107"/>
                    <a:pt x="4477" y="20107"/>
                  </a:cubicBezTo>
                  <a:cubicBezTo>
                    <a:pt x="4477" y="20134"/>
                    <a:pt x="4477" y="20134"/>
                    <a:pt x="4477" y="20134"/>
                  </a:cubicBezTo>
                  <a:cubicBezTo>
                    <a:pt x="4670" y="20212"/>
                    <a:pt x="4921" y="20858"/>
                    <a:pt x="5172" y="21014"/>
                  </a:cubicBezTo>
                  <a:cubicBezTo>
                    <a:pt x="5395" y="21166"/>
                    <a:pt x="5700" y="21220"/>
                    <a:pt x="5977" y="21298"/>
                  </a:cubicBezTo>
                  <a:cubicBezTo>
                    <a:pt x="6090" y="21322"/>
                    <a:pt x="6283" y="21528"/>
                    <a:pt x="6312" y="21528"/>
                  </a:cubicBezTo>
                  <a:cubicBezTo>
                    <a:pt x="6865" y="21555"/>
                    <a:pt x="7342" y="20676"/>
                    <a:pt x="7619" y="20341"/>
                  </a:cubicBezTo>
                  <a:cubicBezTo>
                    <a:pt x="7812" y="20290"/>
                    <a:pt x="8034" y="20006"/>
                    <a:pt x="8201" y="19874"/>
                  </a:cubicBezTo>
                  <a:cubicBezTo>
                    <a:pt x="8314" y="19772"/>
                    <a:pt x="8339" y="19644"/>
                    <a:pt x="8452" y="19566"/>
                  </a:cubicBezTo>
                  <a:cubicBezTo>
                    <a:pt x="8507" y="19488"/>
                    <a:pt x="8565" y="19644"/>
                    <a:pt x="8703" y="19539"/>
                  </a:cubicBezTo>
                  <a:cubicBezTo>
                    <a:pt x="8758" y="19488"/>
                    <a:pt x="8787" y="19333"/>
                    <a:pt x="8842" y="19255"/>
                  </a:cubicBezTo>
                  <a:cubicBezTo>
                    <a:pt x="8925" y="19099"/>
                    <a:pt x="9675" y="18376"/>
                    <a:pt x="9453" y="18274"/>
                  </a:cubicBezTo>
                  <a:cubicBezTo>
                    <a:pt x="9147" y="18169"/>
                    <a:pt x="8729" y="18223"/>
                    <a:pt x="8368" y="18146"/>
                  </a:cubicBezTo>
                  <a:cubicBezTo>
                    <a:pt x="8536" y="18041"/>
                    <a:pt x="9730" y="18169"/>
                    <a:pt x="9646" y="18325"/>
                  </a:cubicBezTo>
                  <a:cubicBezTo>
                    <a:pt x="9508" y="18636"/>
                    <a:pt x="9286" y="18944"/>
                    <a:pt x="9093" y="19231"/>
                  </a:cubicBezTo>
                  <a:cubicBezTo>
                    <a:pt x="8951" y="19411"/>
                    <a:pt x="8703" y="19566"/>
                    <a:pt x="9035" y="19590"/>
                  </a:cubicBezTo>
                  <a:cubicBezTo>
                    <a:pt x="9177" y="19617"/>
                    <a:pt x="8813" y="19874"/>
                    <a:pt x="8787" y="19901"/>
                  </a:cubicBezTo>
                  <a:cubicBezTo>
                    <a:pt x="8452" y="20084"/>
                    <a:pt x="8452" y="20084"/>
                    <a:pt x="8452" y="20084"/>
                  </a:cubicBezTo>
                  <a:cubicBezTo>
                    <a:pt x="8285" y="20161"/>
                    <a:pt x="8507" y="20107"/>
                    <a:pt x="8536" y="20185"/>
                  </a:cubicBezTo>
                  <a:cubicBezTo>
                    <a:pt x="8536" y="20236"/>
                    <a:pt x="8481" y="20290"/>
                    <a:pt x="8452" y="20341"/>
                  </a:cubicBezTo>
                  <a:cubicBezTo>
                    <a:pt x="8507" y="20419"/>
                    <a:pt x="8536" y="20520"/>
                    <a:pt x="8620" y="20598"/>
                  </a:cubicBezTo>
                  <a:cubicBezTo>
                    <a:pt x="8674" y="20625"/>
                    <a:pt x="8729" y="20574"/>
                    <a:pt x="8758" y="20574"/>
                  </a:cubicBezTo>
                  <a:cubicBezTo>
                    <a:pt x="8867" y="20574"/>
                    <a:pt x="8951" y="20625"/>
                    <a:pt x="9035" y="20625"/>
                  </a:cubicBezTo>
                  <a:cubicBezTo>
                    <a:pt x="9093" y="20625"/>
                    <a:pt x="9093" y="20547"/>
                    <a:pt x="9093" y="20520"/>
                  </a:cubicBezTo>
                  <a:cubicBezTo>
                    <a:pt x="9118" y="20442"/>
                    <a:pt x="9035" y="20341"/>
                    <a:pt x="9093" y="20290"/>
                  </a:cubicBezTo>
                  <a:cubicBezTo>
                    <a:pt x="9202" y="20236"/>
                    <a:pt x="9340" y="20290"/>
                    <a:pt x="9424" y="20341"/>
                  </a:cubicBezTo>
                  <a:cubicBezTo>
                    <a:pt x="9482" y="20341"/>
                    <a:pt x="9399" y="20419"/>
                    <a:pt x="9424" y="20442"/>
                  </a:cubicBezTo>
                  <a:cubicBezTo>
                    <a:pt x="9508" y="20496"/>
                    <a:pt x="9592" y="20442"/>
                    <a:pt x="9675" y="20469"/>
                  </a:cubicBezTo>
                  <a:cubicBezTo>
                    <a:pt x="9730" y="20469"/>
                    <a:pt x="9814" y="20469"/>
                    <a:pt x="9814" y="20520"/>
                  </a:cubicBezTo>
                  <a:cubicBezTo>
                    <a:pt x="9814" y="20625"/>
                    <a:pt x="9675" y="20676"/>
                    <a:pt x="9646" y="20780"/>
                  </a:cubicBezTo>
                  <a:cubicBezTo>
                    <a:pt x="9646" y="20858"/>
                    <a:pt x="9759" y="20909"/>
                    <a:pt x="9730" y="20987"/>
                  </a:cubicBezTo>
                  <a:cubicBezTo>
                    <a:pt x="9730" y="21037"/>
                    <a:pt x="9646" y="21037"/>
                    <a:pt x="9646" y="21092"/>
                  </a:cubicBezTo>
                  <a:cubicBezTo>
                    <a:pt x="9646" y="21142"/>
                    <a:pt x="9675" y="21220"/>
                    <a:pt x="9730" y="21244"/>
                  </a:cubicBezTo>
                  <a:cubicBezTo>
                    <a:pt x="9788" y="21271"/>
                    <a:pt x="9843" y="21271"/>
                    <a:pt x="9897" y="21271"/>
                  </a:cubicBezTo>
                  <a:cubicBezTo>
                    <a:pt x="10010" y="21271"/>
                    <a:pt x="10119" y="21244"/>
                    <a:pt x="10232" y="21193"/>
                  </a:cubicBezTo>
                  <a:cubicBezTo>
                    <a:pt x="10316" y="21166"/>
                    <a:pt x="10400" y="21065"/>
                    <a:pt x="10483" y="20987"/>
                  </a:cubicBezTo>
                  <a:cubicBezTo>
                    <a:pt x="10538" y="20936"/>
                    <a:pt x="10538" y="20858"/>
                    <a:pt x="10622" y="20831"/>
                  </a:cubicBezTo>
                  <a:cubicBezTo>
                    <a:pt x="10760" y="20804"/>
                    <a:pt x="10898" y="20909"/>
                    <a:pt x="11011" y="20909"/>
                  </a:cubicBezTo>
                  <a:cubicBezTo>
                    <a:pt x="11120" y="20936"/>
                    <a:pt x="11259" y="20936"/>
                    <a:pt x="11371" y="20882"/>
                  </a:cubicBezTo>
                  <a:cubicBezTo>
                    <a:pt x="11455" y="20858"/>
                    <a:pt x="11484" y="20780"/>
                    <a:pt x="11568" y="20753"/>
                  </a:cubicBezTo>
                  <a:cubicBezTo>
                    <a:pt x="11648" y="20726"/>
                    <a:pt x="11761" y="20780"/>
                    <a:pt x="11816" y="20753"/>
                  </a:cubicBezTo>
                  <a:cubicBezTo>
                    <a:pt x="11899" y="20726"/>
                    <a:pt x="11928" y="20598"/>
                    <a:pt x="12012" y="20574"/>
                  </a:cubicBezTo>
                  <a:cubicBezTo>
                    <a:pt x="12121" y="20520"/>
                    <a:pt x="12289" y="20520"/>
                    <a:pt x="12427" y="20496"/>
                  </a:cubicBezTo>
                  <a:cubicBezTo>
                    <a:pt x="12427" y="20391"/>
                    <a:pt x="12511" y="20236"/>
                    <a:pt x="12427" y="20134"/>
                  </a:cubicBezTo>
                  <a:cubicBezTo>
                    <a:pt x="12372" y="20084"/>
                    <a:pt x="12260" y="20236"/>
                    <a:pt x="12176" y="20263"/>
                  </a:cubicBezTo>
                  <a:cubicBezTo>
                    <a:pt x="12092" y="20263"/>
                    <a:pt x="11954" y="20290"/>
                    <a:pt x="11870" y="20212"/>
                  </a:cubicBezTo>
                  <a:cubicBezTo>
                    <a:pt x="11816" y="20134"/>
                    <a:pt x="11790" y="19979"/>
                    <a:pt x="11870" y="19928"/>
                  </a:cubicBezTo>
                  <a:cubicBezTo>
                    <a:pt x="11983" y="19850"/>
                    <a:pt x="12150" y="19928"/>
                    <a:pt x="12289" y="19901"/>
                  </a:cubicBezTo>
                  <a:cubicBezTo>
                    <a:pt x="12427" y="19874"/>
                    <a:pt x="12540" y="19850"/>
                    <a:pt x="12649" y="19796"/>
                  </a:cubicBezTo>
                  <a:cubicBezTo>
                    <a:pt x="12678" y="19772"/>
                    <a:pt x="12649" y="19722"/>
                    <a:pt x="12649" y="19668"/>
                  </a:cubicBezTo>
                  <a:cubicBezTo>
                    <a:pt x="12624" y="19644"/>
                    <a:pt x="12540" y="19644"/>
                    <a:pt x="12565" y="19617"/>
                  </a:cubicBezTo>
                  <a:cubicBezTo>
                    <a:pt x="12565" y="19512"/>
                    <a:pt x="12649" y="19461"/>
                    <a:pt x="12678" y="19360"/>
                  </a:cubicBezTo>
                  <a:cubicBezTo>
                    <a:pt x="12707" y="19282"/>
                    <a:pt x="12649" y="19204"/>
                    <a:pt x="12678" y="19126"/>
                  </a:cubicBezTo>
                  <a:cubicBezTo>
                    <a:pt x="12733" y="19049"/>
                    <a:pt x="12846" y="19076"/>
                    <a:pt x="12900" y="19022"/>
                  </a:cubicBezTo>
                  <a:cubicBezTo>
                    <a:pt x="12984" y="18944"/>
                    <a:pt x="12955" y="18765"/>
                    <a:pt x="13068" y="18714"/>
                  </a:cubicBezTo>
                  <a:cubicBezTo>
                    <a:pt x="13151" y="18687"/>
                    <a:pt x="13206" y="18815"/>
                    <a:pt x="13261" y="18869"/>
                  </a:cubicBezTo>
                  <a:cubicBezTo>
                    <a:pt x="13344" y="18920"/>
                    <a:pt x="13403" y="19076"/>
                    <a:pt x="13483" y="19022"/>
                  </a:cubicBezTo>
                  <a:cubicBezTo>
                    <a:pt x="13708" y="18893"/>
                    <a:pt x="13734" y="18609"/>
                    <a:pt x="13930" y="18480"/>
                  </a:cubicBezTo>
                  <a:cubicBezTo>
                    <a:pt x="13985" y="18430"/>
                    <a:pt x="14069" y="18582"/>
                    <a:pt x="14123" y="18558"/>
                  </a:cubicBezTo>
                  <a:cubicBezTo>
                    <a:pt x="14207" y="18507"/>
                    <a:pt x="14207" y="18376"/>
                    <a:pt x="14291" y="18301"/>
                  </a:cubicBezTo>
                  <a:cubicBezTo>
                    <a:pt x="14345" y="18247"/>
                    <a:pt x="14458" y="18247"/>
                    <a:pt x="14513" y="18247"/>
                  </a:cubicBezTo>
                  <a:cubicBezTo>
                    <a:pt x="14597" y="18247"/>
                    <a:pt x="14651" y="18274"/>
                    <a:pt x="14709" y="18247"/>
                  </a:cubicBezTo>
                  <a:cubicBezTo>
                    <a:pt x="14764" y="18223"/>
                    <a:pt x="14793" y="18169"/>
                    <a:pt x="14848" y="18118"/>
                  </a:cubicBezTo>
                  <a:cubicBezTo>
                    <a:pt x="14873" y="18091"/>
                    <a:pt x="14931" y="18091"/>
                    <a:pt x="14957" y="18041"/>
                  </a:cubicBezTo>
                  <a:cubicBezTo>
                    <a:pt x="14957" y="17990"/>
                    <a:pt x="14873" y="17963"/>
                    <a:pt x="14873" y="17912"/>
                  </a:cubicBezTo>
                  <a:cubicBezTo>
                    <a:pt x="14902" y="17861"/>
                    <a:pt x="14931" y="17784"/>
                    <a:pt x="14986" y="17784"/>
                  </a:cubicBezTo>
                  <a:cubicBezTo>
                    <a:pt x="15179" y="17784"/>
                    <a:pt x="15317" y="17912"/>
                    <a:pt x="15485" y="17912"/>
                  </a:cubicBezTo>
                  <a:cubicBezTo>
                    <a:pt x="15598" y="17939"/>
                    <a:pt x="15710" y="17861"/>
                    <a:pt x="15820" y="17861"/>
                  </a:cubicBezTo>
                  <a:cubicBezTo>
                    <a:pt x="15874" y="17861"/>
                    <a:pt x="15874" y="17963"/>
                    <a:pt x="15903" y="17963"/>
                  </a:cubicBezTo>
                  <a:cubicBezTo>
                    <a:pt x="15958" y="17963"/>
                    <a:pt x="15987" y="17885"/>
                    <a:pt x="16042" y="17861"/>
                  </a:cubicBezTo>
                  <a:cubicBezTo>
                    <a:pt x="16071" y="17861"/>
                    <a:pt x="16096" y="17939"/>
                    <a:pt x="16154" y="17912"/>
                  </a:cubicBezTo>
                  <a:cubicBezTo>
                    <a:pt x="16209" y="17885"/>
                    <a:pt x="16209" y="17807"/>
                    <a:pt x="16238" y="17730"/>
                  </a:cubicBezTo>
                  <a:cubicBezTo>
                    <a:pt x="16238" y="17652"/>
                    <a:pt x="16180" y="17577"/>
                    <a:pt x="16209" y="17500"/>
                  </a:cubicBezTo>
                  <a:cubicBezTo>
                    <a:pt x="16238" y="17445"/>
                    <a:pt x="16293" y="17395"/>
                    <a:pt x="16347" y="17395"/>
                  </a:cubicBezTo>
                  <a:cubicBezTo>
                    <a:pt x="16431" y="17422"/>
                    <a:pt x="16486" y="17500"/>
                    <a:pt x="16544" y="17550"/>
                  </a:cubicBezTo>
                  <a:cubicBezTo>
                    <a:pt x="16599" y="17577"/>
                    <a:pt x="16628" y="17628"/>
                    <a:pt x="16682" y="17652"/>
                  </a:cubicBezTo>
                  <a:cubicBezTo>
                    <a:pt x="16737" y="17652"/>
                    <a:pt x="16792" y="17652"/>
                    <a:pt x="16850" y="17628"/>
                  </a:cubicBezTo>
                  <a:cubicBezTo>
                    <a:pt x="16904" y="17601"/>
                    <a:pt x="16904" y="17500"/>
                    <a:pt x="16959" y="17500"/>
                  </a:cubicBezTo>
                  <a:cubicBezTo>
                    <a:pt x="17017" y="17472"/>
                    <a:pt x="17072" y="17523"/>
                    <a:pt x="17126" y="17550"/>
                  </a:cubicBezTo>
                  <a:cubicBezTo>
                    <a:pt x="17210" y="17395"/>
                    <a:pt x="17319" y="17293"/>
                    <a:pt x="17378" y="17138"/>
                  </a:cubicBezTo>
                  <a:cubicBezTo>
                    <a:pt x="17432" y="17009"/>
                    <a:pt x="17432" y="16853"/>
                    <a:pt x="17461" y="16722"/>
                  </a:cubicBezTo>
                  <a:cubicBezTo>
                    <a:pt x="17461" y="16671"/>
                    <a:pt x="17432" y="16620"/>
                    <a:pt x="17432" y="16569"/>
                  </a:cubicBezTo>
                  <a:cubicBezTo>
                    <a:pt x="17461" y="16515"/>
                    <a:pt x="17516" y="16464"/>
                    <a:pt x="17487" y="16441"/>
                  </a:cubicBezTo>
                  <a:cubicBezTo>
                    <a:pt x="17487" y="16363"/>
                    <a:pt x="17378" y="16285"/>
                    <a:pt x="17432" y="16207"/>
                  </a:cubicBezTo>
                  <a:cubicBezTo>
                    <a:pt x="17461" y="16130"/>
                    <a:pt x="17600" y="16130"/>
                    <a:pt x="17683" y="16103"/>
                  </a:cubicBezTo>
                  <a:cubicBezTo>
                    <a:pt x="17709" y="16079"/>
                    <a:pt x="17738" y="16052"/>
                    <a:pt x="17767" y="16025"/>
                  </a:cubicBezTo>
                  <a:cubicBezTo>
                    <a:pt x="17905" y="15869"/>
                    <a:pt x="18044" y="15690"/>
                    <a:pt x="18211" y="15585"/>
                  </a:cubicBezTo>
                  <a:cubicBezTo>
                    <a:pt x="18295" y="15534"/>
                    <a:pt x="18404" y="15612"/>
                    <a:pt x="18517" y="15561"/>
                  </a:cubicBezTo>
                  <a:cubicBezTo>
                    <a:pt x="18626" y="15534"/>
                    <a:pt x="18739" y="15457"/>
                    <a:pt x="18852" y="15355"/>
                  </a:cubicBezTo>
                  <a:cubicBezTo>
                    <a:pt x="18906" y="15277"/>
                    <a:pt x="18852" y="15149"/>
                    <a:pt x="18935" y="15095"/>
                  </a:cubicBezTo>
                  <a:cubicBezTo>
                    <a:pt x="19074" y="14993"/>
                    <a:pt x="19267" y="15095"/>
                    <a:pt x="19380" y="15017"/>
                  </a:cubicBezTo>
                  <a:cubicBezTo>
                    <a:pt x="19463" y="14966"/>
                    <a:pt x="19434" y="14838"/>
                    <a:pt x="19463" y="14760"/>
                  </a:cubicBezTo>
                  <a:cubicBezTo>
                    <a:pt x="19489" y="14655"/>
                    <a:pt x="19543" y="14553"/>
                    <a:pt x="19518" y="14449"/>
                  </a:cubicBezTo>
                  <a:cubicBezTo>
                    <a:pt x="19518" y="14398"/>
                    <a:pt x="19380" y="14449"/>
                    <a:pt x="19350" y="14374"/>
                  </a:cubicBezTo>
                  <a:cubicBezTo>
                    <a:pt x="19321" y="14242"/>
                    <a:pt x="19463" y="14063"/>
                    <a:pt x="19405" y="13907"/>
                  </a:cubicBezTo>
                  <a:cubicBezTo>
                    <a:pt x="19380" y="13830"/>
                    <a:pt x="19158" y="13880"/>
                    <a:pt x="19158" y="13779"/>
                  </a:cubicBezTo>
                  <a:cubicBezTo>
                    <a:pt x="19158" y="13650"/>
                    <a:pt x="19321" y="13573"/>
                    <a:pt x="19405" y="13444"/>
                  </a:cubicBezTo>
                  <a:cubicBezTo>
                    <a:pt x="19518" y="13288"/>
                    <a:pt x="19711" y="13160"/>
                    <a:pt x="19740" y="12977"/>
                  </a:cubicBezTo>
                  <a:cubicBezTo>
                    <a:pt x="19769" y="12822"/>
                    <a:pt x="19685" y="12693"/>
                    <a:pt x="19572" y="12565"/>
                  </a:cubicBezTo>
                  <a:cubicBezTo>
                    <a:pt x="19518" y="12487"/>
                    <a:pt x="19380" y="12514"/>
                    <a:pt x="19296" y="12460"/>
                  </a:cubicBezTo>
                  <a:cubicBezTo>
                    <a:pt x="19212" y="12382"/>
                    <a:pt x="19183" y="12230"/>
                    <a:pt x="19099" y="12203"/>
                  </a:cubicBezTo>
                  <a:cubicBezTo>
                    <a:pt x="19019" y="12176"/>
                    <a:pt x="18990" y="12280"/>
                    <a:pt x="18906" y="12308"/>
                  </a:cubicBezTo>
                  <a:cubicBezTo>
                    <a:pt x="18768" y="12331"/>
                    <a:pt x="18601" y="12280"/>
                    <a:pt x="18462" y="12331"/>
                  </a:cubicBezTo>
                  <a:cubicBezTo>
                    <a:pt x="18379" y="12358"/>
                    <a:pt x="18404" y="12514"/>
                    <a:pt x="18320" y="12514"/>
                  </a:cubicBezTo>
                  <a:cubicBezTo>
                    <a:pt x="18211" y="12538"/>
                    <a:pt x="18044" y="12514"/>
                    <a:pt x="17989" y="12436"/>
                  </a:cubicBezTo>
                  <a:cubicBezTo>
                    <a:pt x="17905" y="12358"/>
                    <a:pt x="17989" y="12253"/>
                    <a:pt x="17989" y="12176"/>
                  </a:cubicBezTo>
                  <a:cubicBezTo>
                    <a:pt x="17989" y="11969"/>
                    <a:pt x="17989" y="11763"/>
                    <a:pt x="17934" y="11584"/>
                  </a:cubicBezTo>
                  <a:cubicBezTo>
                    <a:pt x="17934" y="11530"/>
                    <a:pt x="17851" y="11506"/>
                    <a:pt x="17851" y="11452"/>
                  </a:cubicBezTo>
                  <a:cubicBezTo>
                    <a:pt x="17851" y="11350"/>
                    <a:pt x="17905" y="11222"/>
                    <a:pt x="17876" y="11117"/>
                  </a:cubicBezTo>
                  <a:cubicBezTo>
                    <a:pt x="17851" y="11012"/>
                    <a:pt x="17709" y="10961"/>
                    <a:pt x="17683" y="10884"/>
                  </a:cubicBezTo>
                  <a:cubicBezTo>
                    <a:pt x="17600" y="10704"/>
                    <a:pt x="17570" y="10498"/>
                    <a:pt x="17516" y="10292"/>
                  </a:cubicBezTo>
                  <a:close/>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FF0000"/>
                </a:solidFill>
                <a:uFill>
                  <a:solidFill>
                    <a:srgbClr val="7F7F7F"/>
                  </a:solidFill>
                </a:uFill>
                <a:latin typeface="DM Sans" pitchFamily="2" charset="77"/>
                <a:ea typeface="Lato Regular"/>
                <a:cs typeface="Lato Regular"/>
                <a:sym typeface="Lato Regular"/>
              </a:endParaRPr>
            </a:p>
          </p:txBody>
        </p:sp>
        <p:sp>
          <p:nvSpPr>
            <p:cNvPr id="576" name="Shape 2531">
              <a:extLst>
                <a:ext uri="{FF2B5EF4-FFF2-40B4-BE49-F238E27FC236}">
                  <a16:creationId xmlns:a16="http://schemas.microsoft.com/office/drawing/2014/main" id="{2E72187A-93FE-21ED-00FB-681EE411CB9C}"/>
                </a:ext>
              </a:extLst>
            </p:cNvPr>
            <p:cNvSpPr/>
            <p:nvPr/>
          </p:nvSpPr>
          <p:spPr>
            <a:xfrm>
              <a:off x="267564" y="899189"/>
              <a:ext cx="811279" cy="1707880"/>
            </a:xfrm>
            <a:custGeom>
              <a:avLst/>
              <a:gdLst/>
              <a:ahLst/>
              <a:cxnLst>
                <a:cxn ang="0">
                  <a:pos x="wd2" y="hd2"/>
                </a:cxn>
                <a:cxn ang="5400000">
                  <a:pos x="wd2" y="hd2"/>
                </a:cxn>
                <a:cxn ang="10800000">
                  <a:pos x="wd2" y="hd2"/>
                </a:cxn>
                <a:cxn ang="16200000">
                  <a:pos x="wd2" y="hd2"/>
                </a:cxn>
              </a:cxnLst>
              <a:rect l="0" t="0" r="r" b="b"/>
              <a:pathLst>
                <a:path w="21600" h="21342" extrusionOk="0">
                  <a:moveTo>
                    <a:pt x="6374" y="9951"/>
                  </a:moveTo>
                  <a:cubicBezTo>
                    <a:pt x="6446" y="9922"/>
                    <a:pt x="6724" y="9757"/>
                    <a:pt x="6859" y="9757"/>
                  </a:cubicBezTo>
                  <a:cubicBezTo>
                    <a:pt x="6994" y="9757"/>
                    <a:pt x="7272" y="9757"/>
                    <a:pt x="7272" y="9825"/>
                  </a:cubicBezTo>
                  <a:cubicBezTo>
                    <a:pt x="7272" y="9888"/>
                    <a:pt x="7335" y="9922"/>
                    <a:pt x="7200" y="9951"/>
                  </a:cubicBezTo>
                  <a:cubicBezTo>
                    <a:pt x="7137" y="9951"/>
                    <a:pt x="6994" y="9985"/>
                    <a:pt x="6931" y="10014"/>
                  </a:cubicBezTo>
                  <a:cubicBezTo>
                    <a:pt x="6859" y="10048"/>
                    <a:pt x="6859" y="10082"/>
                    <a:pt x="6724" y="10111"/>
                  </a:cubicBezTo>
                  <a:cubicBezTo>
                    <a:pt x="6581" y="10145"/>
                    <a:pt x="6374" y="10208"/>
                    <a:pt x="6239" y="10111"/>
                  </a:cubicBezTo>
                  <a:cubicBezTo>
                    <a:pt x="6374" y="9951"/>
                    <a:pt x="6374" y="9951"/>
                    <a:pt x="6374" y="9951"/>
                  </a:cubicBezTo>
                  <a:close/>
                  <a:moveTo>
                    <a:pt x="1715" y="19833"/>
                  </a:moveTo>
                  <a:cubicBezTo>
                    <a:pt x="1652" y="19672"/>
                    <a:pt x="1374" y="19449"/>
                    <a:pt x="1715" y="19352"/>
                  </a:cubicBezTo>
                  <a:cubicBezTo>
                    <a:pt x="2200" y="19188"/>
                    <a:pt x="2397" y="18834"/>
                    <a:pt x="2810" y="18640"/>
                  </a:cubicBezTo>
                  <a:cubicBezTo>
                    <a:pt x="2945" y="18577"/>
                    <a:pt x="3016" y="18417"/>
                    <a:pt x="3016" y="18290"/>
                  </a:cubicBezTo>
                  <a:cubicBezTo>
                    <a:pt x="3016" y="18160"/>
                    <a:pt x="3151" y="18160"/>
                    <a:pt x="3501" y="18126"/>
                  </a:cubicBezTo>
                  <a:cubicBezTo>
                    <a:pt x="3501" y="18320"/>
                    <a:pt x="3016" y="18514"/>
                    <a:pt x="3429" y="18674"/>
                  </a:cubicBezTo>
                  <a:cubicBezTo>
                    <a:pt x="4318" y="18994"/>
                    <a:pt x="3223" y="19091"/>
                    <a:pt x="2945" y="19382"/>
                  </a:cubicBezTo>
                  <a:cubicBezTo>
                    <a:pt x="2882" y="19512"/>
                    <a:pt x="2603" y="19479"/>
                    <a:pt x="2469" y="19575"/>
                  </a:cubicBezTo>
                  <a:cubicBezTo>
                    <a:pt x="2397" y="19672"/>
                    <a:pt x="2334" y="19769"/>
                    <a:pt x="2128" y="19866"/>
                  </a:cubicBezTo>
                  <a:cubicBezTo>
                    <a:pt x="1715" y="19833"/>
                    <a:pt x="1715" y="19833"/>
                    <a:pt x="1715" y="19833"/>
                  </a:cubicBezTo>
                  <a:close/>
                  <a:moveTo>
                    <a:pt x="548" y="21151"/>
                  </a:moveTo>
                  <a:cubicBezTo>
                    <a:pt x="619" y="21088"/>
                    <a:pt x="619" y="20991"/>
                    <a:pt x="548" y="20894"/>
                  </a:cubicBezTo>
                  <a:cubicBezTo>
                    <a:pt x="548" y="20894"/>
                    <a:pt x="476" y="20928"/>
                    <a:pt x="413" y="20928"/>
                  </a:cubicBezTo>
                  <a:cubicBezTo>
                    <a:pt x="341" y="20928"/>
                    <a:pt x="341" y="20928"/>
                    <a:pt x="278" y="20958"/>
                  </a:cubicBezTo>
                  <a:cubicBezTo>
                    <a:pt x="135" y="20958"/>
                    <a:pt x="0" y="20991"/>
                    <a:pt x="0" y="21025"/>
                  </a:cubicBezTo>
                  <a:cubicBezTo>
                    <a:pt x="0" y="21055"/>
                    <a:pt x="0" y="21088"/>
                    <a:pt x="0" y="21122"/>
                  </a:cubicBezTo>
                  <a:cubicBezTo>
                    <a:pt x="0" y="21151"/>
                    <a:pt x="0" y="21151"/>
                    <a:pt x="72" y="21185"/>
                  </a:cubicBezTo>
                  <a:cubicBezTo>
                    <a:pt x="72" y="21215"/>
                    <a:pt x="72" y="21282"/>
                    <a:pt x="72" y="21312"/>
                  </a:cubicBezTo>
                  <a:cubicBezTo>
                    <a:pt x="135" y="21379"/>
                    <a:pt x="341" y="21312"/>
                    <a:pt x="476" y="21312"/>
                  </a:cubicBezTo>
                  <a:cubicBezTo>
                    <a:pt x="548" y="21151"/>
                    <a:pt x="548" y="21151"/>
                    <a:pt x="548" y="21151"/>
                  </a:cubicBezTo>
                  <a:close/>
                  <a:moveTo>
                    <a:pt x="5485" y="17738"/>
                  </a:moveTo>
                  <a:cubicBezTo>
                    <a:pt x="5413" y="17738"/>
                    <a:pt x="5351" y="17738"/>
                    <a:pt x="5279" y="17738"/>
                  </a:cubicBezTo>
                  <a:cubicBezTo>
                    <a:pt x="5216" y="17738"/>
                    <a:pt x="5072" y="17738"/>
                    <a:pt x="5009" y="17738"/>
                  </a:cubicBezTo>
                  <a:cubicBezTo>
                    <a:pt x="5009" y="17772"/>
                    <a:pt x="5009" y="17772"/>
                    <a:pt x="5009" y="17835"/>
                  </a:cubicBezTo>
                  <a:cubicBezTo>
                    <a:pt x="5009" y="17869"/>
                    <a:pt x="4938" y="17869"/>
                    <a:pt x="5009" y="17903"/>
                  </a:cubicBezTo>
                  <a:cubicBezTo>
                    <a:pt x="5009" y="17966"/>
                    <a:pt x="5072" y="18000"/>
                    <a:pt x="5072" y="18063"/>
                  </a:cubicBezTo>
                  <a:cubicBezTo>
                    <a:pt x="5072" y="18096"/>
                    <a:pt x="5072" y="18223"/>
                    <a:pt x="5216" y="18193"/>
                  </a:cubicBezTo>
                  <a:cubicBezTo>
                    <a:pt x="5351" y="18193"/>
                    <a:pt x="5351" y="18126"/>
                    <a:pt x="5351" y="18096"/>
                  </a:cubicBezTo>
                  <a:cubicBezTo>
                    <a:pt x="5413" y="18029"/>
                    <a:pt x="5413" y="17966"/>
                    <a:pt x="5485" y="17869"/>
                  </a:cubicBezTo>
                  <a:cubicBezTo>
                    <a:pt x="5485" y="17738"/>
                    <a:pt x="5485" y="17738"/>
                    <a:pt x="5485" y="17738"/>
                  </a:cubicBezTo>
                  <a:close/>
                  <a:moveTo>
                    <a:pt x="7478" y="10465"/>
                  </a:moveTo>
                  <a:cubicBezTo>
                    <a:pt x="8295" y="10659"/>
                    <a:pt x="9049" y="10436"/>
                    <a:pt x="8502" y="10950"/>
                  </a:cubicBezTo>
                  <a:cubicBezTo>
                    <a:pt x="8026" y="11333"/>
                    <a:pt x="8295" y="11270"/>
                    <a:pt x="7406" y="11401"/>
                  </a:cubicBezTo>
                  <a:cubicBezTo>
                    <a:pt x="7478" y="11527"/>
                    <a:pt x="7882" y="11527"/>
                    <a:pt x="7819" y="11687"/>
                  </a:cubicBezTo>
                  <a:cubicBezTo>
                    <a:pt x="7748" y="11818"/>
                    <a:pt x="7685" y="11978"/>
                    <a:pt x="7478" y="12109"/>
                  </a:cubicBezTo>
                  <a:cubicBezTo>
                    <a:pt x="7272" y="12269"/>
                    <a:pt x="7137" y="12817"/>
                    <a:pt x="7065" y="13040"/>
                  </a:cubicBezTo>
                  <a:cubicBezTo>
                    <a:pt x="6931" y="13331"/>
                    <a:pt x="6374" y="13010"/>
                    <a:pt x="6518" y="13301"/>
                  </a:cubicBezTo>
                  <a:cubicBezTo>
                    <a:pt x="6581" y="13398"/>
                    <a:pt x="6311" y="13491"/>
                    <a:pt x="6374" y="13524"/>
                  </a:cubicBezTo>
                  <a:cubicBezTo>
                    <a:pt x="6581" y="13748"/>
                    <a:pt x="6994" y="14039"/>
                    <a:pt x="6374" y="14232"/>
                  </a:cubicBezTo>
                  <a:cubicBezTo>
                    <a:pt x="6239" y="14296"/>
                    <a:pt x="5557" y="14232"/>
                    <a:pt x="5692" y="14363"/>
                  </a:cubicBezTo>
                  <a:cubicBezTo>
                    <a:pt x="5898" y="14489"/>
                    <a:pt x="6311" y="14650"/>
                    <a:pt x="6374" y="14814"/>
                  </a:cubicBezTo>
                  <a:cubicBezTo>
                    <a:pt x="6168" y="15004"/>
                    <a:pt x="6724" y="15100"/>
                    <a:pt x="6652" y="15231"/>
                  </a:cubicBezTo>
                  <a:cubicBezTo>
                    <a:pt x="6652" y="15328"/>
                    <a:pt x="6105" y="15425"/>
                    <a:pt x="5970" y="15551"/>
                  </a:cubicBezTo>
                  <a:cubicBezTo>
                    <a:pt x="5826" y="15711"/>
                    <a:pt x="5764" y="15876"/>
                    <a:pt x="5557" y="16002"/>
                  </a:cubicBezTo>
                  <a:cubicBezTo>
                    <a:pt x="5279" y="16196"/>
                    <a:pt x="5216" y="16099"/>
                    <a:pt x="5557" y="16259"/>
                  </a:cubicBezTo>
                  <a:cubicBezTo>
                    <a:pt x="5898" y="16390"/>
                    <a:pt x="5970" y="16841"/>
                    <a:pt x="5764" y="17035"/>
                  </a:cubicBezTo>
                  <a:cubicBezTo>
                    <a:pt x="5620" y="17098"/>
                    <a:pt x="6239" y="17355"/>
                    <a:pt x="6311" y="17452"/>
                  </a:cubicBezTo>
                  <a:cubicBezTo>
                    <a:pt x="6518" y="17835"/>
                    <a:pt x="5764" y="17549"/>
                    <a:pt x="5485" y="17515"/>
                  </a:cubicBezTo>
                  <a:cubicBezTo>
                    <a:pt x="4938" y="17452"/>
                    <a:pt x="3977" y="17772"/>
                    <a:pt x="3771" y="17321"/>
                  </a:cubicBezTo>
                  <a:cubicBezTo>
                    <a:pt x="3636" y="17035"/>
                    <a:pt x="3636" y="16676"/>
                    <a:pt x="3429" y="16390"/>
                  </a:cubicBezTo>
                  <a:cubicBezTo>
                    <a:pt x="3358" y="16293"/>
                    <a:pt x="3295" y="16162"/>
                    <a:pt x="3151" y="16099"/>
                  </a:cubicBezTo>
                  <a:cubicBezTo>
                    <a:pt x="3088" y="16065"/>
                    <a:pt x="3771" y="15071"/>
                    <a:pt x="3842" y="14907"/>
                  </a:cubicBezTo>
                  <a:cubicBezTo>
                    <a:pt x="3842" y="14746"/>
                    <a:pt x="3708" y="14553"/>
                    <a:pt x="3501" y="14426"/>
                  </a:cubicBezTo>
                  <a:cubicBezTo>
                    <a:pt x="3016" y="14135"/>
                    <a:pt x="3636" y="14266"/>
                    <a:pt x="3842" y="13975"/>
                  </a:cubicBezTo>
                  <a:cubicBezTo>
                    <a:pt x="4049" y="13878"/>
                    <a:pt x="4112" y="13781"/>
                    <a:pt x="4049" y="13685"/>
                  </a:cubicBezTo>
                  <a:cubicBezTo>
                    <a:pt x="3771" y="13685"/>
                    <a:pt x="3501" y="13234"/>
                    <a:pt x="3708" y="13137"/>
                  </a:cubicBezTo>
                  <a:cubicBezTo>
                    <a:pt x="4525" y="12817"/>
                    <a:pt x="4049" y="12269"/>
                    <a:pt x="3223" y="12045"/>
                  </a:cubicBezTo>
                  <a:cubicBezTo>
                    <a:pt x="3016" y="11978"/>
                    <a:pt x="1849" y="11595"/>
                    <a:pt x="1921" y="11561"/>
                  </a:cubicBezTo>
                  <a:cubicBezTo>
                    <a:pt x="2262" y="11367"/>
                    <a:pt x="2334" y="10984"/>
                    <a:pt x="2675" y="10722"/>
                  </a:cubicBezTo>
                  <a:cubicBezTo>
                    <a:pt x="3088" y="10465"/>
                    <a:pt x="3223" y="10693"/>
                    <a:pt x="3708" y="10722"/>
                  </a:cubicBezTo>
                  <a:cubicBezTo>
                    <a:pt x="4049" y="10756"/>
                    <a:pt x="4255" y="10562"/>
                    <a:pt x="4462" y="10465"/>
                  </a:cubicBezTo>
                  <a:cubicBezTo>
                    <a:pt x="4866" y="10305"/>
                    <a:pt x="5072" y="10790"/>
                    <a:pt x="5485" y="10562"/>
                  </a:cubicBezTo>
                  <a:cubicBezTo>
                    <a:pt x="5764" y="10465"/>
                    <a:pt x="6518" y="10242"/>
                    <a:pt x="6931" y="10402"/>
                  </a:cubicBezTo>
                  <a:cubicBezTo>
                    <a:pt x="7478" y="10465"/>
                    <a:pt x="7478" y="10465"/>
                    <a:pt x="7478" y="10465"/>
                  </a:cubicBezTo>
                  <a:close/>
                  <a:moveTo>
                    <a:pt x="5898" y="9471"/>
                  </a:moveTo>
                  <a:cubicBezTo>
                    <a:pt x="5826" y="9471"/>
                    <a:pt x="5692" y="9374"/>
                    <a:pt x="5692" y="9340"/>
                  </a:cubicBezTo>
                  <a:cubicBezTo>
                    <a:pt x="5692" y="9243"/>
                    <a:pt x="5764" y="9243"/>
                    <a:pt x="5970" y="9210"/>
                  </a:cubicBezTo>
                  <a:cubicBezTo>
                    <a:pt x="6033" y="9180"/>
                    <a:pt x="6239" y="9146"/>
                    <a:pt x="6311" y="9146"/>
                  </a:cubicBezTo>
                  <a:cubicBezTo>
                    <a:pt x="6518" y="9180"/>
                    <a:pt x="6581" y="9306"/>
                    <a:pt x="6581" y="9374"/>
                  </a:cubicBezTo>
                  <a:cubicBezTo>
                    <a:pt x="6581" y="9437"/>
                    <a:pt x="6581" y="9437"/>
                    <a:pt x="6446" y="9471"/>
                  </a:cubicBezTo>
                  <a:cubicBezTo>
                    <a:pt x="6374" y="9471"/>
                    <a:pt x="6168" y="9471"/>
                    <a:pt x="6033" y="9471"/>
                  </a:cubicBezTo>
                  <a:cubicBezTo>
                    <a:pt x="5898" y="9471"/>
                    <a:pt x="5898" y="9471"/>
                    <a:pt x="5898" y="9471"/>
                  </a:cubicBezTo>
                  <a:close/>
                  <a:moveTo>
                    <a:pt x="9256" y="7507"/>
                  </a:moveTo>
                  <a:cubicBezTo>
                    <a:pt x="9121" y="7537"/>
                    <a:pt x="8915" y="7537"/>
                    <a:pt x="8843" y="7634"/>
                  </a:cubicBezTo>
                  <a:cubicBezTo>
                    <a:pt x="8780" y="7697"/>
                    <a:pt x="8636" y="7730"/>
                    <a:pt x="8502" y="7764"/>
                  </a:cubicBezTo>
                  <a:cubicBezTo>
                    <a:pt x="8430" y="7794"/>
                    <a:pt x="8295" y="7730"/>
                    <a:pt x="8295" y="7827"/>
                  </a:cubicBezTo>
                  <a:cubicBezTo>
                    <a:pt x="8232" y="7857"/>
                    <a:pt x="8161" y="8118"/>
                    <a:pt x="8367" y="8021"/>
                  </a:cubicBezTo>
                  <a:cubicBezTo>
                    <a:pt x="8430" y="7954"/>
                    <a:pt x="8574" y="7857"/>
                    <a:pt x="8780" y="7857"/>
                  </a:cubicBezTo>
                  <a:cubicBezTo>
                    <a:pt x="8915" y="7857"/>
                    <a:pt x="8915" y="7857"/>
                    <a:pt x="9049" y="7924"/>
                  </a:cubicBezTo>
                  <a:cubicBezTo>
                    <a:pt x="9193" y="8021"/>
                    <a:pt x="9400" y="7954"/>
                    <a:pt x="9400" y="7857"/>
                  </a:cubicBezTo>
                  <a:cubicBezTo>
                    <a:pt x="9462" y="7764"/>
                    <a:pt x="9462" y="7697"/>
                    <a:pt x="9462" y="7570"/>
                  </a:cubicBezTo>
                  <a:cubicBezTo>
                    <a:pt x="9256" y="7507"/>
                    <a:pt x="9256" y="7507"/>
                    <a:pt x="9256" y="7507"/>
                  </a:cubicBezTo>
                  <a:close/>
                  <a:moveTo>
                    <a:pt x="18377" y="6281"/>
                  </a:moveTo>
                  <a:cubicBezTo>
                    <a:pt x="18377" y="6121"/>
                    <a:pt x="18377" y="6121"/>
                    <a:pt x="18377" y="6121"/>
                  </a:cubicBezTo>
                  <a:cubicBezTo>
                    <a:pt x="18584" y="5961"/>
                    <a:pt x="18171" y="5059"/>
                    <a:pt x="17829" y="4962"/>
                  </a:cubicBezTo>
                  <a:cubicBezTo>
                    <a:pt x="17758" y="4932"/>
                    <a:pt x="18242" y="4768"/>
                    <a:pt x="18305" y="4739"/>
                  </a:cubicBezTo>
                  <a:cubicBezTo>
                    <a:pt x="18512" y="4608"/>
                    <a:pt x="18305" y="4254"/>
                    <a:pt x="18242" y="4128"/>
                  </a:cubicBezTo>
                  <a:cubicBezTo>
                    <a:pt x="18108" y="3837"/>
                    <a:pt x="19059" y="4414"/>
                    <a:pt x="19059" y="4031"/>
                  </a:cubicBezTo>
                  <a:cubicBezTo>
                    <a:pt x="19059" y="3871"/>
                    <a:pt x="19203" y="3934"/>
                    <a:pt x="19472" y="3934"/>
                  </a:cubicBezTo>
                  <a:cubicBezTo>
                    <a:pt x="19822" y="4574"/>
                    <a:pt x="21052" y="3963"/>
                    <a:pt x="21259" y="3609"/>
                  </a:cubicBezTo>
                  <a:cubicBezTo>
                    <a:pt x="21322" y="3512"/>
                    <a:pt x="21600" y="3255"/>
                    <a:pt x="21600" y="3192"/>
                  </a:cubicBezTo>
                  <a:cubicBezTo>
                    <a:pt x="21600" y="3158"/>
                    <a:pt x="21322" y="3226"/>
                    <a:pt x="21259" y="3192"/>
                  </a:cubicBezTo>
                  <a:cubicBezTo>
                    <a:pt x="21124" y="3323"/>
                    <a:pt x="20711" y="3323"/>
                    <a:pt x="20577" y="3483"/>
                  </a:cubicBezTo>
                  <a:cubicBezTo>
                    <a:pt x="20433" y="3643"/>
                    <a:pt x="20164" y="3774"/>
                    <a:pt x="19822" y="3803"/>
                  </a:cubicBezTo>
                  <a:cubicBezTo>
                    <a:pt x="18997" y="3963"/>
                    <a:pt x="18718" y="3609"/>
                    <a:pt x="18925" y="3323"/>
                  </a:cubicBezTo>
                  <a:cubicBezTo>
                    <a:pt x="18925" y="3062"/>
                    <a:pt x="19409" y="3255"/>
                    <a:pt x="19472" y="3062"/>
                  </a:cubicBezTo>
                  <a:cubicBezTo>
                    <a:pt x="19616" y="2872"/>
                    <a:pt x="19544" y="2872"/>
                    <a:pt x="20029" y="2805"/>
                  </a:cubicBezTo>
                  <a:cubicBezTo>
                    <a:pt x="20226" y="2805"/>
                    <a:pt x="20639" y="2227"/>
                    <a:pt x="21124" y="2164"/>
                  </a:cubicBezTo>
                  <a:cubicBezTo>
                    <a:pt x="21124" y="2130"/>
                    <a:pt x="21124" y="2130"/>
                    <a:pt x="21124" y="2130"/>
                  </a:cubicBezTo>
                  <a:cubicBezTo>
                    <a:pt x="19616" y="1970"/>
                    <a:pt x="21187" y="1325"/>
                    <a:pt x="20981" y="1005"/>
                  </a:cubicBezTo>
                  <a:cubicBezTo>
                    <a:pt x="20774" y="811"/>
                    <a:pt x="20981" y="841"/>
                    <a:pt x="20981" y="651"/>
                  </a:cubicBezTo>
                  <a:cubicBezTo>
                    <a:pt x="20918" y="521"/>
                    <a:pt x="20298" y="327"/>
                    <a:pt x="20164" y="167"/>
                  </a:cubicBezTo>
                  <a:cubicBezTo>
                    <a:pt x="19751" y="-221"/>
                    <a:pt x="19679" y="167"/>
                    <a:pt x="19409" y="327"/>
                  </a:cubicBezTo>
                  <a:cubicBezTo>
                    <a:pt x="18853" y="651"/>
                    <a:pt x="17758" y="778"/>
                    <a:pt x="17147" y="1068"/>
                  </a:cubicBezTo>
                  <a:cubicBezTo>
                    <a:pt x="16797" y="1229"/>
                    <a:pt x="16187" y="1713"/>
                    <a:pt x="15836" y="1810"/>
                  </a:cubicBezTo>
                  <a:cubicBezTo>
                    <a:pt x="15639" y="1936"/>
                    <a:pt x="14948" y="2194"/>
                    <a:pt x="14535" y="2164"/>
                  </a:cubicBezTo>
                  <a:cubicBezTo>
                    <a:pt x="13852" y="2164"/>
                    <a:pt x="14059" y="2194"/>
                    <a:pt x="13439" y="2354"/>
                  </a:cubicBezTo>
                  <a:cubicBezTo>
                    <a:pt x="12551" y="2581"/>
                    <a:pt x="11662" y="2644"/>
                    <a:pt x="12075" y="3226"/>
                  </a:cubicBezTo>
                  <a:cubicBezTo>
                    <a:pt x="12209" y="3352"/>
                    <a:pt x="12964" y="3803"/>
                    <a:pt x="12964" y="3837"/>
                  </a:cubicBezTo>
                  <a:cubicBezTo>
                    <a:pt x="12820" y="3837"/>
                    <a:pt x="12622" y="3837"/>
                    <a:pt x="12479" y="3837"/>
                  </a:cubicBezTo>
                  <a:cubicBezTo>
                    <a:pt x="12479" y="3837"/>
                    <a:pt x="12479" y="3837"/>
                    <a:pt x="12416" y="3837"/>
                  </a:cubicBezTo>
                  <a:cubicBezTo>
                    <a:pt x="12416" y="3740"/>
                    <a:pt x="11931" y="3512"/>
                    <a:pt x="11797" y="3449"/>
                  </a:cubicBezTo>
                  <a:cubicBezTo>
                    <a:pt x="11662" y="3386"/>
                    <a:pt x="11177" y="2998"/>
                    <a:pt x="11042" y="3062"/>
                  </a:cubicBezTo>
                  <a:cubicBezTo>
                    <a:pt x="10971" y="3095"/>
                    <a:pt x="10836" y="3289"/>
                    <a:pt x="10899" y="3352"/>
                  </a:cubicBezTo>
                  <a:cubicBezTo>
                    <a:pt x="11105" y="3483"/>
                    <a:pt x="11312" y="3677"/>
                    <a:pt x="11312" y="3837"/>
                  </a:cubicBezTo>
                  <a:cubicBezTo>
                    <a:pt x="11105" y="3837"/>
                    <a:pt x="10764" y="3934"/>
                    <a:pt x="10701" y="3934"/>
                  </a:cubicBezTo>
                  <a:cubicBezTo>
                    <a:pt x="10558" y="3740"/>
                    <a:pt x="10351" y="3580"/>
                    <a:pt x="9875" y="3609"/>
                  </a:cubicBezTo>
                  <a:cubicBezTo>
                    <a:pt x="9193" y="3677"/>
                    <a:pt x="9049" y="3289"/>
                    <a:pt x="8780" y="3609"/>
                  </a:cubicBezTo>
                  <a:cubicBezTo>
                    <a:pt x="8708" y="3706"/>
                    <a:pt x="8430" y="3871"/>
                    <a:pt x="8574" y="3997"/>
                  </a:cubicBezTo>
                  <a:cubicBezTo>
                    <a:pt x="8915" y="4288"/>
                    <a:pt x="8161" y="4094"/>
                    <a:pt x="8026" y="4191"/>
                  </a:cubicBezTo>
                  <a:cubicBezTo>
                    <a:pt x="7954" y="4288"/>
                    <a:pt x="8026" y="4482"/>
                    <a:pt x="7954" y="4574"/>
                  </a:cubicBezTo>
                  <a:cubicBezTo>
                    <a:pt x="7882" y="4671"/>
                    <a:pt x="7613" y="4802"/>
                    <a:pt x="7613" y="4899"/>
                  </a:cubicBezTo>
                  <a:cubicBezTo>
                    <a:pt x="7613" y="5029"/>
                    <a:pt x="7954" y="5122"/>
                    <a:pt x="7748" y="5286"/>
                  </a:cubicBezTo>
                  <a:cubicBezTo>
                    <a:pt x="7478" y="5573"/>
                    <a:pt x="8295" y="5670"/>
                    <a:pt x="8430" y="5801"/>
                  </a:cubicBezTo>
                  <a:cubicBezTo>
                    <a:pt x="8430" y="5801"/>
                    <a:pt x="8780" y="6154"/>
                    <a:pt x="8780" y="6251"/>
                  </a:cubicBezTo>
                  <a:cubicBezTo>
                    <a:pt x="8780" y="6378"/>
                    <a:pt x="8232" y="6218"/>
                    <a:pt x="8089" y="6218"/>
                  </a:cubicBezTo>
                  <a:cubicBezTo>
                    <a:pt x="7335" y="6058"/>
                    <a:pt x="6581" y="6218"/>
                    <a:pt x="7541" y="6412"/>
                  </a:cubicBezTo>
                  <a:cubicBezTo>
                    <a:pt x="8089" y="6508"/>
                    <a:pt x="7954" y="6475"/>
                    <a:pt x="8232" y="6702"/>
                  </a:cubicBezTo>
                  <a:cubicBezTo>
                    <a:pt x="8502" y="6989"/>
                    <a:pt x="9049" y="7086"/>
                    <a:pt x="9669" y="7153"/>
                  </a:cubicBezTo>
                  <a:cubicBezTo>
                    <a:pt x="10216" y="7183"/>
                    <a:pt x="11518" y="7216"/>
                    <a:pt x="11518" y="7570"/>
                  </a:cubicBezTo>
                  <a:cubicBezTo>
                    <a:pt x="11455" y="7857"/>
                    <a:pt x="10288" y="7313"/>
                    <a:pt x="10010" y="7988"/>
                  </a:cubicBezTo>
                  <a:cubicBezTo>
                    <a:pt x="9947" y="8148"/>
                    <a:pt x="9462" y="8312"/>
                    <a:pt x="9256" y="8438"/>
                  </a:cubicBezTo>
                  <a:cubicBezTo>
                    <a:pt x="8915" y="8666"/>
                    <a:pt x="8430" y="8826"/>
                    <a:pt x="7954" y="8599"/>
                  </a:cubicBezTo>
                  <a:cubicBezTo>
                    <a:pt x="7406" y="8341"/>
                    <a:pt x="7748" y="8759"/>
                    <a:pt x="8026" y="8923"/>
                  </a:cubicBezTo>
                  <a:cubicBezTo>
                    <a:pt x="9256" y="9597"/>
                    <a:pt x="9256" y="9597"/>
                    <a:pt x="9256" y="9597"/>
                  </a:cubicBezTo>
                  <a:cubicBezTo>
                    <a:pt x="9400" y="9660"/>
                    <a:pt x="9669" y="9791"/>
                    <a:pt x="9741" y="9854"/>
                  </a:cubicBezTo>
                  <a:cubicBezTo>
                    <a:pt x="9741" y="9854"/>
                    <a:pt x="9741" y="9888"/>
                    <a:pt x="9803" y="9888"/>
                  </a:cubicBezTo>
                  <a:cubicBezTo>
                    <a:pt x="10423" y="9888"/>
                    <a:pt x="11249" y="8986"/>
                    <a:pt x="11662" y="8826"/>
                  </a:cubicBezTo>
                  <a:cubicBezTo>
                    <a:pt x="11868" y="8759"/>
                    <a:pt x="12075" y="8923"/>
                    <a:pt x="12209" y="8889"/>
                  </a:cubicBezTo>
                  <a:cubicBezTo>
                    <a:pt x="12272" y="8826"/>
                    <a:pt x="12344" y="8759"/>
                    <a:pt x="12551" y="8695"/>
                  </a:cubicBezTo>
                  <a:cubicBezTo>
                    <a:pt x="12757" y="8632"/>
                    <a:pt x="13305" y="8729"/>
                    <a:pt x="12964" y="8535"/>
                  </a:cubicBezTo>
                  <a:cubicBezTo>
                    <a:pt x="12820" y="8472"/>
                    <a:pt x="12551" y="8215"/>
                    <a:pt x="12551" y="8118"/>
                  </a:cubicBezTo>
                  <a:cubicBezTo>
                    <a:pt x="12003" y="8084"/>
                    <a:pt x="12479" y="7891"/>
                    <a:pt x="12551" y="7794"/>
                  </a:cubicBezTo>
                  <a:cubicBezTo>
                    <a:pt x="12892" y="7794"/>
                    <a:pt x="13305" y="7954"/>
                    <a:pt x="13646" y="7954"/>
                  </a:cubicBezTo>
                  <a:cubicBezTo>
                    <a:pt x="13718" y="8084"/>
                    <a:pt x="13574" y="8215"/>
                    <a:pt x="13924" y="8278"/>
                  </a:cubicBezTo>
                  <a:cubicBezTo>
                    <a:pt x="14678" y="8438"/>
                    <a:pt x="14328" y="8021"/>
                    <a:pt x="14131" y="7794"/>
                  </a:cubicBezTo>
                  <a:cubicBezTo>
                    <a:pt x="13781" y="7343"/>
                    <a:pt x="14678" y="7730"/>
                    <a:pt x="14885" y="7410"/>
                  </a:cubicBezTo>
                  <a:cubicBezTo>
                    <a:pt x="14948" y="7440"/>
                    <a:pt x="15154" y="7507"/>
                    <a:pt x="15154" y="7570"/>
                  </a:cubicBezTo>
                  <a:cubicBezTo>
                    <a:pt x="15639" y="7570"/>
                    <a:pt x="15908" y="7764"/>
                    <a:pt x="16115" y="7410"/>
                  </a:cubicBezTo>
                  <a:cubicBezTo>
                    <a:pt x="17354" y="7313"/>
                    <a:pt x="16941" y="6926"/>
                    <a:pt x="17075" y="6572"/>
                  </a:cubicBezTo>
                  <a:cubicBezTo>
                    <a:pt x="17901" y="6475"/>
                    <a:pt x="17560" y="6765"/>
                    <a:pt x="18377" y="6281"/>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7" name="Shape 2532">
              <a:extLst>
                <a:ext uri="{FF2B5EF4-FFF2-40B4-BE49-F238E27FC236}">
                  <a16:creationId xmlns:a16="http://schemas.microsoft.com/office/drawing/2014/main" id="{327D1A9B-3FB3-8959-7CEF-F6C932872FCB}"/>
                </a:ext>
              </a:extLst>
            </p:cNvPr>
            <p:cNvSpPr/>
            <p:nvPr/>
          </p:nvSpPr>
          <p:spPr>
            <a:xfrm>
              <a:off x="2515113" y="0"/>
              <a:ext cx="555605" cy="676748"/>
            </a:xfrm>
            <a:custGeom>
              <a:avLst/>
              <a:gdLst/>
              <a:ahLst/>
              <a:cxnLst>
                <a:cxn ang="0">
                  <a:pos x="wd2" y="hd2"/>
                </a:cxn>
                <a:cxn ang="5400000">
                  <a:pos x="wd2" y="hd2"/>
                </a:cxn>
                <a:cxn ang="10800000">
                  <a:pos x="wd2" y="hd2"/>
                </a:cxn>
                <a:cxn ang="16200000">
                  <a:pos x="wd2" y="hd2"/>
                </a:cxn>
              </a:cxnLst>
              <a:rect l="0" t="0" r="r" b="b"/>
              <a:pathLst>
                <a:path w="21600" h="21481" extrusionOk="0">
                  <a:moveTo>
                    <a:pt x="4689" y="17375"/>
                  </a:moveTo>
                  <a:cubicBezTo>
                    <a:pt x="4008" y="17054"/>
                    <a:pt x="4506" y="16240"/>
                    <a:pt x="3510" y="15994"/>
                  </a:cubicBezTo>
                  <a:cubicBezTo>
                    <a:pt x="3301" y="15994"/>
                    <a:pt x="2803" y="15994"/>
                    <a:pt x="2711" y="15823"/>
                  </a:cubicBezTo>
                  <a:cubicBezTo>
                    <a:pt x="2305" y="15662"/>
                    <a:pt x="2201" y="14923"/>
                    <a:pt x="1703" y="15084"/>
                  </a:cubicBezTo>
                  <a:cubicBezTo>
                    <a:pt x="1297" y="15255"/>
                    <a:pt x="603" y="15416"/>
                    <a:pt x="406" y="15662"/>
                  </a:cubicBezTo>
                  <a:cubicBezTo>
                    <a:pt x="196" y="15908"/>
                    <a:pt x="0" y="16476"/>
                    <a:pt x="0" y="16808"/>
                  </a:cubicBezTo>
                  <a:cubicBezTo>
                    <a:pt x="0" y="17054"/>
                    <a:pt x="799" y="16969"/>
                    <a:pt x="1100" y="17215"/>
                  </a:cubicBezTo>
                  <a:cubicBezTo>
                    <a:pt x="1205" y="17375"/>
                    <a:pt x="1205" y="17868"/>
                    <a:pt x="1297" y="18114"/>
                  </a:cubicBezTo>
                  <a:cubicBezTo>
                    <a:pt x="1402" y="18521"/>
                    <a:pt x="2201" y="18853"/>
                    <a:pt x="2502" y="19260"/>
                  </a:cubicBezTo>
                  <a:cubicBezTo>
                    <a:pt x="2711" y="19507"/>
                    <a:pt x="2803" y="19999"/>
                    <a:pt x="3209" y="19999"/>
                  </a:cubicBezTo>
                  <a:cubicBezTo>
                    <a:pt x="3406" y="19914"/>
                    <a:pt x="4100" y="20246"/>
                    <a:pt x="4205" y="20160"/>
                  </a:cubicBezTo>
                  <a:cubicBezTo>
                    <a:pt x="4205" y="19839"/>
                    <a:pt x="3799" y="19753"/>
                    <a:pt x="4100" y="19346"/>
                  </a:cubicBezTo>
                  <a:cubicBezTo>
                    <a:pt x="4310" y="19175"/>
                    <a:pt x="4794" y="19100"/>
                    <a:pt x="4991" y="18853"/>
                  </a:cubicBezTo>
                  <a:cubicBezTo>
                    <a:pt x="5095" y="18521"/>
                    <a:pt x="4794" y="18114"/>
                    <a:pt x="4794" y="17793"/>
                  </a:cubicBezTo>
                  <a:cubicBezTo>
                    <a:pt x="4689" y="17375"/>
                    <a:pt x="4689" y="17375"/>
                    <a:pt x="4689" y="17375"/>
                  </a:cubicBezTo>
                  <a:close/>
                  <a:moveTo>
                    <a:pt x="5999" y="19175"/>
                  </a:moveTo>
                  <a:cubicBezTo>
                    <a:pt x="6091" y="19421"/>
                    <a:pt x="6091" y="19421"/>
                    <a:pt x="6091" y="19421"/>
                  </a:cubicBezTo>
                  <a:cubicBezTo>
                    <a:pt x="6091" y="19592"/>
                    <a:pt x="5999" y="19753"/>
                    <a:pt x="5790" y="19839"/>
                  </a:cubicBezTo>
                  <a:cubicBezTo>
                    <a:pt x="5593" y="19914"/>
                    <a:pt x="5292" y="19839"/>
                    <a:pt x="5187" y="19914"/>
                  </a:cubicBezTo>
                  <a:cubicBezTo>
                    <a:pt x="4991" y="19999"/>
                    <a:pt x="4886" y="20160"/>
                    <a:pt x="4794" y="19999"/>
                  </a:cubicBezTo>
                  <a:cubicBezTo>
                    <a:pt x="4689" y="19999"/>
                    <a:pt x="4401" y="19753"/>
                    <a:pt x="4401" y="19667"/>
                  </a:cubicBezTo>
                  <a:cubicBezTo>
                    <a:pt x="4401" y="19592"/>
                    <a:pt x="4506" y="19421"/>
                    <a:pt x="4506" y="19421"/>
                  </a:cubicBezTo>
                  <a:cubicBezTo>
                    <a:pt x="4689" y="19260"/>
                    <a:pt x="4991" y="19346"/>
                    <a:pt x="5292" y="19346"/>
                  </a:cubicBezTo>
                  <a:cubicBezTo>
                    <a:pt x="5488" y="19346"/>
                    <a:pt x="5593" y="19260"/>
                    <a:pt x="5790" y="19260"/>
                  </a:cubicBezTo>
                  <a:cubicBezTo>
                    <a:pt x="5894" y="19260"/>
                    <a:pt x="5894" y="19260"/>
                    <a:pt x="5999" y="19175"/>
                  </a:cubicBezTo>
                  <a:close/>
                  <a:moveTo>
                    <a:pt x="6995" y="17793"/>
                  </a:moveTo>
                  <a:cubicBezTo>
                    <a:pt x="6798" y="17793"/>
                    <a:pt x="6694" y="17868"/>
                    <a:pt x="6589" y="17868"/>
                  </a:cubicBezTo>
                  <a:cubicBezTo>
                    <a:pt x="6287" y="17954"/>
                    <a:pt x="6091" y="18114"/>
                    <a:pt x="5999" y="18361"/>
                  </a:cubicBezTo>
                  <a:cubicBezTo>
                    <a:pt x="5894" y="18521"/>
                    <a:pt x="6091" y="18693"/>
                    <a:pt x="6196" y="18853"/>
                  </a:cubicBezTo>
                  <a:cubicBezTo>
                    <a:pt x="6287" y="18939"/>
                    <a:pt x="6589" y="18853"/>
                    <a:pt x="6694" y="18939"/>
                  </a:cubicBezTo>
                  <a:cubicBezTo>
                    <a:pt x="6798" y="18939"/>
                    <a:pt x="6995" y="18939"/>
                    <a:pt x="7100" y="18853"/>
                  </a:cubicBezTo>
                  <a:cubicBezTo>
                    <a:pt x="7191" y="18853"/>
                    <a:pt x="7191" y="18768"/>
                    <a:pt x="7191" y="18693"/>
                  </a:cubicBezTo>
                  <a:cubicBezTo>
                    <a:pt x="7296" y="18607"/>
                    <a:pt x="7100" y="18521"/>
                    <a:pt x="6995" y="18521"/>
                  </a:cubicBezTo>
                  <a:cubicBezTo>
                    <a:pt x="6890" y="18521"/>
                    <a:pt x="6798" y="18361"/>
                    <a:pt x="6694" y="18361"/>
                  </a:cubicBezTo>
                  <a:cubicBezTo>
                    <a:pt x="6694" y="18275"/>
                    <a:pt x="6589" y="18275"/>
                    <a:pt x="6694" y="18200"/>
                  </a:cubicBezTo>
                  <a:cubicBezTo>
                    <a:pt x="6798" y="18114"/>
                    <a:pt x="6890" y="18029"/>
                    <a:pt x="6995" y="17954"/>
                  </a:cubicBezTo>
                  <a:cubicBezTo>
                    <a:pt x="6995" y="17793"/>
                    <a:pt x="6995" y="17793"/>
                    <a:pt x="6995" y="17793"/>
                  </a:cubicBezTo>
                  <a:close/>
                  <a:moveTo>
                    <a:pt x="11200" y="18275"/>
                  </a:moveTo>
                  <a:cubicBezTo>
                    <a:pt x="10990" y="18361"/>
                    <a:pt x="10990" y="18200"/>
                    <a:pt x="10793" y="18200"/>
                  </a:cubicBezTo>
                  <a:cubicBezTo>
                    <a:pt x="10492" y="18275"/>
                    <a:pt x="10400" y="18607"/>
                    <a:pt x="9994" y="18607"/>
                  </a:cubicBezTo>
                  <a:cubicBezTo>
                    <a:pt x="9890" y="18607"/>
                    <a:pt x="9693" y="18446"/>
                    <a:pt x="9588" y="18361"/>
                  </a:cubicBezTo>
                  <a:cubicBezTo>
                    <a:pt x="9497" y="18361"/>
                    <a:pt x="8894" y="18446"/>
                    <a:pt x="8698" y="18446"/>
                  </a:cubicBezTo>
                  <a:cubicBezTo>
                    <a:pt x="8488" y="18446"/>
                    <a:pt x="9091" y="18853"/>
                    <a:pt x="9091" y="19014"/>
                  </a:cubicBezTo>
                  <a:cubicBezTo>
                    <a:pt x="8095" y="19260"/>
                    <a:pt x="9195" y="19592"/>
                    <a:pt x="9195" y="20160"/>
                  </a:cubicBezTo>
                  <a:cubicBezTo>
                    <a:pt x="9195" y="20320"/>
                    <a:pt x="9091" y="20406"/>
                    <a:pt x="9195" y="20652"/>
                  </a:cubicBezTo>
                  <a:cubicBezTo>
                    <a:pt x="9195" y="20813"/>
                    <a:pt x="9392" y="20899"/>
                    <a:pt x="9588" y="20974"/>
                  </a:cubicBezTo>
                  <a:cubicBezTo>
                    <a:pt x="9890" y="21220"/>
                    <a:pt x="9693" y="21552"/>
                    <a:pt x="10296" y="21466"/>
                  </a:cubicBezTo>
                  <a:cubicBezTo>
                    <a:pt x="10702" y="21466"/>
                    <a:pt x="10597" y="20899"/>
                    <a:pt x="10597" y="20738"/>
                  </a:cubicBezTo>
                  <a:cubicBezTo>
                    <a:pt x="10597" y="20406"/>
                    <a:pt x="10492" y="20320"/>
                    <a:pt x="10400" y="20085"/>
                  </a:cubicBezTo>
                  <a:cubicBezTo>
                    <a:pt x="10296" y="19839"/>
                    <a:pt x="10597" y="19592"/>
                    <a:pt x="10793" y="19346"/>
                  </a:cubicBezTo>
                  <a:cubicBezTo>
                    <a:pt x="10990" y="19175"/>
                    <a:pt x="11095" y="18939"/>
                    <a:pt x="11200" y="18607"/>
                  </a:cubicBezTo>
                  <a:cubicBezTo>
                    <a:pt x="11200" y="18275"/>
                    <a:pt x="11200" y="18275"/>
                    <a:pt x="11200" y="18275"/>
                  </a:cubicBezTo>
                  <a:close/>
                  <a:moveTo>
                    <a:pt x="11200" y="16969"/>
                  </a:moveTo>
                  <a:cubicBezTo>
                    <a:pt x="11095" y="17054"/>
                    <a:pt x="10990" y="17054"/>
                    <a:pt x="10793" y="17140"/>
                  </a:cubicBezTo>
                  <a:cubicBezTo>
                    <a:pt x="10702" y="17140"/>
                    <a:pt x="10597" y="17140"/>
                    <a:pt x="10492" y="17215"/>
                  </a:cubicBezTo>
                  <a:cubicBezTo>
                    <a:pt x="10296" y="17375"/>
                    <a:pt x="9994" y="17375"/>
                    <a:pt x="9798" y="17547"/>
                  </a:cubicBezTo>
                  <a:cubicBezTo>
                    <a:pt x="9798" y="17547"/>
                    <a:pt x="9798" y="17622"/>
                    <a:pt x="9798" y="17707"/>
                  </a:cubicBezTo>
                  <a:cubicBezTo>
                    <a:pt x="9994" y="17793"/>
                    <a:pt x="10191" y="17868"/>
                    <a:pt x="10400" y="17868"/>
                  </a:cubicBezTo>
                  <a:cubicBezTo>
                    <a:pt x="10492" y="17793"/>
                    <a:pt x="10702" y="17793"/>
                    <a:pt x="10793" y="17793"/>
                  </a:cubicBezTo>
                  <a:cubicBezTo>
                    <a:pt x="10990" y="17793"/>
                    <a:pt x="11095" y="17954"/>
                    <a:pt x="11291" y="17868"/>
                  </a:cubicBezTo>
                  <a:cubicBezTo>
                    <a:pt x="11396" y="17793"/>
                    <a:pt x="11291" y="17707"/>
                    <a:pt x="11291" y="17622"/>
                  </a:cubicBezTo>
                  <a:cubicBezTo>
                    <a:pt x="11291" y="17461"/>
                    <a:pt x="11291" y="17375"/>
                    <a:pt x="11396" y="17375"/>
                  </a:cubicBezTo>
                  <a:cubicBezTo>
                    <a:pt x="11200" y="16969"/>
                    <a:pt x="11200" y="16969"/>
                    <a:pt x="11200" y="16969"/>
                  </a:cubicBezTo>
                  <a:close/>
                  <a:moveTo>
                    <a:pt x="8095" y="9526"/>
                  </a:moveTo>
                  <a:cubicBezTo>
                    <a:pt x="8396" y="10104"/>
                    <a:pt x="8894" y="10350"/>
                    <a:pt x="8698" y="11079"/>
                  </a:cubicBezTo>
                  <a:cubicBezTo>
                    <a:pt x="8488" y="12064"/>
                    <a:pt x="7689" y="10672"/>
                    <a:pt x="7794" y="11571"/>
                  </a:cubicBezTo>
                  <a:cubicBezTo>
                    <a:pt x="7794" y="11978"/>
                    <a:pt x="7191" y="12139"/>
                    <a:pt x="6798" y="12224"/>
                  </a:cubicBezTo>
                  <a:cubicBezTo>
                    <a:pt x="6798" y="12631"/>
                    <a:pt x="8396" y="12803"/>
                    <a:pt x="8789" y="12717"/>
                  </a:cubicBezTo>
                  <a:cubicBezTo>
                    <a:pt x="9588" y="12471"/>
                    <a:pt x="10099" y="12385"/>
                    <a:pt x="10898" y="12963"/>
                  </a:cubicBezTo>
                  <a:cubicBezTo>
                    <a:pt x="11200" y="13210"/>
                    <a:pt x="10702" y="13370"/>
                    <a:pt x="10793" y="13777"/>
                  </a:cubicBezTo>
                  <a:cubicBezTo>
                    <a:pt x="10793" y="14763"/>
                    <a:pt x="12090" y="13456"/>
                    <a:pt x="12300" y="13456"/>
                  </a:cubicBezTo>
                  <a:cubicBezTo>
                    <a:pt x="12601" y="13456"/>
                    <a:pt x="13099" y="13210"/>
                    <a:pt x="12994" y="13617"/>
                  </a:cubicBezTo>
                  <a:cubicBezTo>
                    <a:pt x="12889" y="14024"/>
                    <a:pt x="12392" y="13863"/>
                    <a:pt x="12392" y="14356"/>
                  </a:cubicBezTo>
                  <a:cubicBezTo>
                    <a:pt x="12392" y="14848"/>
                    <a:pt x="12300" y="15084"/>
                    <a:pt x="12889" y="15255"/>
                  </a:cubicBezTo>
                  <a:cubicBezTo>
                    <a:pt x="13492" y="15416"/>
                    <a:pt x="12889" y="17707"/>
                    <a:pt x="11999" y="16476"/>
                  </a:cubicBezTo>
                  <a:cubicBezTo>
                    <a:pt x="11501" y="15748"/>
                    <a:pt x="10702" y="16240"/>
                    <a:pt x="10296" y="15908"/>
                  </a:cubicBezTo>
                  <a:cubicBezTo>
                    <a:pt x="9588" y="15255"/>
                    <a:pt x="9693" y="14677"/>
                    <a:pt x="9497" y="13949"/>
                  </a:cubicBezTo>
                  <a:cubicBezTo>
                    <a:pt x="9300" y="14024"/>
                    <a:pt x="8789" y="14848"/>
                    <a:pt x="8396" y="15009"/>
                  </a:cubicBezTo>
                  <a:cubicBezTo>
                    <a:pt x="7794" y="15169"/>
                    <a:pt x="7388" y="15009"/>
                    <a:pt x="6798" y="15330"/>
                  </a:cubicBezTo>
                  <a:cubicBezTo>
                    <a:pt x="6392" y="15576"/>
                    <a:pt x="5999" y="15416"/>
                    <a:pt x="5488" y="15416"/>
                  </a:cubicBezTo>
                  <a:cubicBezTo>
                    <a:pt x="4493" y="15501"/>
                    <a:pt x="4886" y="15501"/>
                    <a:pt x="4401" y="14848"/>
                  </a:cubicBezTo>
                  <a:cubicBezTo>
                    <a:pt x="4008" y="14431"/>
                    <a:pt x="3903" y="13863"/>
                    <a:pt x="4310" y="13370"/>
                  </a:cubicBezTo>
                  <a:cubicBezTo>
                    <a:pt x="4585" y="13049"/>
                    <a:pt x="4506" y="12803"/>
                    <a:pt x="4689" y="12385"/>
                  </a:cubicBezTo>
                  <a:cubicBezTo>
                    <a:pt x="4689" y="12224"/>
                    <a:pt x="4205" y="11079"/>
                    <a:pt x="3903" y="11250"/>
                  </a:cubicBezTo>
                  <a:cubicBezTo>
                    <a:pt x="3602" y="11325"/>
                    <a:pt x="4100" y="12471"/>
                    <a:pt x="4100" y="12631"/>
                  </a:cubicBezTo>
                  <a:cubicBezTo>
                    <a:pt x="3799" y="12631"/>
                    <a:pt x="3209" y="11978"/>
                    <a:pt x="3000" y="12224"/>
                  </a:cubicBezTo>
                  <a:cubicBezTo>
                    <a:pt x="2908" y="12471"/>
                    <a:pt x="3799" y="13456"/>
                    <a:pt x="3510" y="13777"/>
                  </a:cubicBezTo>
                  <a:cubicBezTo>
                    <a:pt x="3301" y="14109"/>
                    <a:pt x="2711" y="14270"/>
                    <a:pt x="2305" y="14270"/>
                  </a:cubicBezTo>
                  <a:cubicBezTo>
                    <a:pt x="1506" y="14270"/>
                    <a:pt x="1703" y="14024"/>
                    <a:pt x="1598" y="13542"/>
                  </a:cubicBezTo>
                  <a:cubicBezTo>
                    <a:pt x="1402" y="12878"/>
                    <a:pt x="1598" y="12556"/>
                    <a:pt x="1703" y="11903"/>
                  </a:cubicBezTo>
                  <a:cubicBezTo>
                    <a:pt x="1808" y="11657"/>
                    <a:pt x="1899" y="11411"/>
                    <a:pt x="1899" y="11079"/>
                  </a:cubicBezTo>
                  <a:cubicBezTo>
                    <a:pt x="2004" y="10597"/>
                    <a:pt x="1808" y="10104"/>
                    <a:pt x="1808" y="9611"/>
                  </a:cubicBezTo>
                  <a:cubicBezTo>
                    <a:pt x="2109" y="9033"/>
                    <a:pt x="1899" y="8787"/>
                    <a:pt x="2803" y="8380"/>
                  </a:cubicBezTo>
                  <a:cubicBezTo>
                    <a:pt x="3209" y="8219"/>
                    <a:pt x="3799" y="8059"/>
                    <a:pt x="4205" y="7973"/>
                  </a:cubicBezTo>
                  <a:cubicBezTo>
                    <a:pt x="5095" y="7727"/>
                    <a:pt x="5292" y="8219"/>
                    <a:pt x="5999" y="8466"/>
                  </a:cubicBezTo>
                  <a:cubicBezTo>
                    <a:pt x="6287" y="8626"/>
                    <a:pt x="6589" y="8626"/>
                    <a:pt x="6890" y="8712"/>
                  </a:cubicBezTo>
                  <a:cubicBezTo>
                    <a:pt x="7191" y="8873"/>
                    <a:pt x="7493" y="9033"/>
                    <a:pt x="7794" y="9194"/>
                  </a:cubicBezTo>
                  <a:cubicBezTo>
                    <a:pt x="8095" y="9526"/>
                    <a:pt x="8095" y="9526"/>
                    <a:pt x="8095" y="9526"/>
                  </a:cubicBezTo>
                  <a:close/>
                  <a:moveTo>
                    <a:pt x="14697" y="13863"/>
                  </a:moveTo>
                  <a:cubicBezTo>
                    <a:pt x="14500" y="14024"/>
                    <a:pt x="14199" y="14109"/>
                    <a:pt x="14003" y="14270"/>
                  </a:cubicBezTo>
                  <a:cubicBezTo>
                    <a:pt x="13793" y="14356"/>
                    <a:pt x="12889" y="14270"/>
                    <a:pt x="13099" y="14602"/>
                  </a:cubicBezTo>
                  <a:cubicBezTo>
                    <a:pt x="13400" y="14848"/>
                    <a:pt x="13492" y="15169"/>
                    <a:pt x="13597" y="15576"/>
                  </a:cubicBezTo>
                  <a:cubicBezTo>
                    <a:pt x="13701" y="15576"/>
                    <a:pt x="13793" y="15501"/>
                    <a:pt x="13898" y="15416"/>
                  </a:cubicBezTo>
                  <a:cubicBezTo>
                    <a:pt x="14199" y="15330"/>
                    <a:pt x="14592" y="15416"/>
                    <a:pt x="14893" y="15416"/>
                  </a:cubicBezTo>
                  <a:cubicBezTo>
                    <a:pt x="14893" y="15330"/>
                    <a:pt x="14893" y="15255"/>
                    <a:pt x="14893" y="15255"/>
                  </a:cubicBezTo>
                  <a:cubicBezTo>
                    <a:pt x="14998" y="15009"/>
                    <a:pt x="14802" y="14763"/>
                    <a:pt x="14802" y="14516"/>
                  </a:cubicBezTo>
                  <a:cubicBezTo>
                    <a:pt x="14802" y="14431"/>
                    <a:pt x="14893" y="14270"/>
                    <a:pt x="14893" y="14195"/>
                  </a:cubicBezTo>
                  <a:cubicBezTo>
                    <a:pt x="14998" y="14024"/>
                    <a:pt x="14893" y="14024"/>
                    <a:pt x="14893" y="13863"/>
                  </a:cubicBezTo>
                  <a:cubicBezTo>
                    <a:pt x="14697" y="13863"/>
                    <a:pt x="14697" y="13863"/>
                    <a:pt x="14697" y="13863"/>
                  </a:cubicBezTo>
                  <a:close/>
                  <a:moveTo>
                    <a:pt x="12994" y="10018"/>
                  </a:moveTo>
                  <a:cubicBezTo>
                    <a:pt x="12693" y="10018"/>
                    <a:pt x="12693" y="10265"/>
                    <a:pt x="12496" y="10425"/>
                  </a:cubicBezTo>
                  <a:cubicBezTo>
                    <a:pt x="12392" y="10672"/>
                    <a:pt x="12195" y="10918"/>
                    <a:pt x="11789" y="10918"/>
                  </a:cubicBezTo>
                  <a:cubicBezTo>
                    <a:pt x="11501" y="10918"/>
                    <a:pt x="10990" y="10672"/>
                    <a:pt x="10898" y="10425"/>
                  </a:cubicBezTo>
                  <a:cubicBezTo>
                    <a:pt x="10898" y="10672"/>
                    <a:pt x="10793" y="10757"/>
                    <a:pt x="10702" y="11004"/>
                  </a:cubicBezTo>
                  <a:cubicBezTo>
                    <a:pt x="10597" y="11079"/>
                    <a:pt x="10400" y="11325"/>
                    <a:pt x="10597" y="11486"/>
                  </a:cubicBezTo>
                  <a:cubicBezTo>
                    <a:pt x="10793" y="11571"/>
                    <a:pt x="10990" y="11571"/>
                    <a:pt x="11200" y="11657"/>
                  </a:cubicBezTo>
                  <a:cubicBezTo>
                    <a:pt x="11592" y="11732"/>
                    <a:pt x="11789" y="11818"/>
                    <a:pt x="12090" y="12064"/>
                  </a:cubicBezTo>
                  <a:cubicBezTo>
                    <a:pt x="12392" y="12224"/>
                    <a:pt x="12601" y="12139"/>
                    <a:pt x="12798" y="11903"/>
                  </a:cubicBezTo>
                  <a:cubicBezTo>
                    <a:pt x="12994" y="11657"/>
                    <a:pt x="12693" y="11325"/>
                    <a:pt x="12693" y="11079"/>
                  </a:cubicBezTo>
                  <a:cubicBezTo>
                    <a:pt x="12693" y="10918"/>
                    <a:pt x="12798" y="10832"/>
                    <a:pt x="12798" y="10757"/>
                  </a:cubicBezTo>
                  <a:cubicBezTo>
                    <a:pt x="12889" y="10672"/>
                    <a:pt x="12994" y="10511"/>
                    <a:pt x="13099" y="10350"/>
                  </a:cubicBezTo>
                  <a:cubicBezTo>
                    <a:pt x="12994" y="10018"/>
                    <a:pt x="12994" y="10018"/>
                    <a:pt x="12994" y="10018"/>
                  </a:cubicBezTo>
                  <a:close/>
                  <a:moveTo>
                    <a:pt x="18194" y="8958"/>
                  </a:moveTo>
                  <a:cubicBezTo>
                    <a:pt x="17906" y="9119"/>
                    <a:pt x="16793" y="9119"/>
                    <a:pt x="17002" y="8712"/>
                  </a:cubicBezTo>
                  <a:cubicBezTo>
                    <a:pt x="17094" y="8466"/>
                    <a:pt x="17094" y="8541"/>
                    <a:pt x="17395" y="8380"/>
                  </a:cubicBezTo>
                  <a:cubicBezTo>
                    <a:pt x="17500" y="8305"/>
                    <a:pt x="17395" y="8134"/>
                    <a:pt x="17304" y="8134"/>
                  </a:cubicBezTo>
                  <a:cubicBezTo>
                    <a:pt x="17094" y="8134"/>
                    <a:pt x="16793" y="8219"/>
                    <a:pt x="16793" y="8059"/>
                  </a:cubicBezTo>
                  <a:cubicBezTo>
                    <a:pt x="16793" y="7812"/>
                    <a:pt x="16400" y="7320"/>
                    <a:pt x="16295" y="7812"/>
                  </a:cubicBezTo>
                  <a:cubicBezTo>
                    <a:pt x="16295" y="8059"/>
                    <a:pt x="16400" y="8466"/>
                    <a:pt x="16491" y="8712"/>
                  </a:cubicBezTo>
                  <a:cubicBezTo>
                    <a:pt x="16701" y="9365"/>
                    <a:pt x="16190" y="8873"/>
                    <a:pt x="15797" y="9280"/>
                  </a:cubicBezTo>
                  <a:cubicBezTo>
                    <a:pt x="15692" y="9365"/>
                    <a:pt x="15391" y="9933"/>
                    <a:pt x="15299" y="10104"/>
                  </a:cubicBezTo>
                  <a:cubicBezTo>
                    <a:pt x="15299" y="10350"/>
                    <a:pt x="15692" y="10350"/>
                    <a:pt x="15797" y="10104"/>
                  </a:cubicBezTo>
                  <a:cubicBezTo>
                    <a:pt x="15902" y="9772"/>
                    <a:pt x="16190" y="9440"/>
                    <a:pt x="16701" y="9526"/>
                  </a:cubicBezTo>
                  <a:cubicBezTo>
                    <a:pt x="17304" y="9526"/>
                    <a:pt x="17304" y="10018"/>
                    <a:pt x="17199" y="10350"/>
                  </a:cubicBezTo>
                  <a:cubicBezTo>
                    <a:pt x="17395" y="10350"/>
                    <a:pt x="17500" y="10179"/>
                    <a:pt x="17801" y="10104"/>
                  </a:cubicBezTo>
                  <a:cubicBezTo>
                    <a:pt x="17906" y="10104"/>
                    <a:pt x="18705" y="10104"/>
                    <a:pt x="18404" y="9933"/>
                  </a:cubicBezTo>
                  <a:cubicBezTo>
                    <a:pt x="18299" y="9772"/>
                    <a:pt x="17906" y="9365"/>
                    <a:pt x="18194" y="9194"/>
                  </a:cubicBezTo>
                  <a:cubicBezTo>
                    <a:pt x="18194" y="8958"/>
                    <a:pt x="18194" y="8958"/>
                    <a:pt x="18194" y="8958"/>
                  </a:cubicBezTo>
                  <a:close/>
                  <a:moveTo>
                    <a:pt x="9300" y="6827"/>
                  </a:moveTo>
                  <a:cubicBezTo>
                    <a:pt x="8894" y="7073"/>
                    <a:pt x="8396" y="7159"/>
                    <a:pt x="7990" y="6827"/>
                  </a:cubicBezTo>
                  <a:cubicBezTo>
                    <a:pt x="7689" y="6495"/>
                    <a:pt x="8095" y="6335"/>
                    <a:pt x="7493" y="6174"/>
                  </a:cubicBezTo>
                  <a:cubicBezTo>
                    <a:pt x="6995" y="6088"/>
                    <a:pt x="7100" y="6260"/>
                    <a:pt x="6995" y="6581"/>
                  </a:cubicBezTo>
                  <a:cubicBezTo>
                    <a:pt x="6798" y="6827"/>
                    <a:pt x="6497" y="6913"/>
                    <a:pt x="6497" y="7320"/>
                  </a:cubicBezTo>
                  <a:cubicBezTo>
                    <a:pt x="6589" y="7652"/>
                    <a:pt x="7296" y="8219"/>
                    <a:pt x="7597" y="8466"/>
                  </a:cubicBezTo>
                  <a:cubicBezTo>
                    <a:pt x="7990" y="8712"/>
                    <a:pt x="8292" y="8712"/>
                    <a:pt x="8698" y="8626"/>
                  </a:cubicBezTo>
                  <a:cubicBezTo>
                    <a:pt x="8999" y="8626"/>
                    <a:pt x="9392" y="8626"/>
                    <a:pt x="9392" y="8466"/>
                  </a:cubicBezTo>
                  <a:cubicBezTo>
                    <a:pt x="9588" y="8134"/>
                    <a:pt x="9300" y="7727"/>
                    <a:pt x="9497" y="7480"/>
                  </a:cubicBezTo>
                  <a:cubicBezTo>
                    <a:pt x="9588" y="7320"/>
                    <a:pt x="9994" y="6988"/>
                    <a:pt x="9693" y="6741"/>
                  </a:cubicBezTo>
                  <a:cubicBezTo>
                    <a:pt x="9300" y="6827"/>
                    <a:pt x="9300" y="6827"/>
                    <a:pt x="9300" y="6827"/>
                  </a:cubicBezTo>
                  <a:close/>
                  <a:moveTo>
                    <a:pt x="10898" y="7887"/>
                  </a:moveTo>
                  <a:cubicBezTo>
                    <a:pt x="10898" y="7812"/>
                    <a:pt x="10793" y="7652"/>
                    <a:pt x="10793" y="7566"/>
                  </a:cubicBezTo>
                  <a:cubicBezTo>
                    <a:pt x="10702" y="7480"/>
                    <a:pt x="10793" y="7405"/>
                    <a:pt x="10702" y="7320"/>
                  </a:cubicBezTo>
                  <a:cubicBezTo>
                    <a:pt x="10597" y="7234"/>
                    <a:pt x="10400" y="7159"/>
                    <a:pt x="10191" y="7234"/>
                  </a:cubicBezTo>
                  <a:cubicBezTo>
                    <a:pt x="10099" y="7320"/>
                    <a:pt x="9994" y="7566"/>
                    <a:pt x="10099" y="7652"/>
                  </a:cubicBezTo>
                  <a:cubicBezTo>
                    <a:pt x="10099" y="7812"/>
                    <a:pt x="10191" y="7887"/>
                    <a:pt x="10296" y="7973"/>
                  </a:cubicBezTo>
                  <a:cubicBezTo>
                    <a:pt x="10296" y="8134"/>
                    <a:pt x="10400" y="8305"/>
                    <a:pt x="10400" y="8380"/>
                  </a:cubicBezTo>
                  <a:cubicBezTo>
                    <a:pt x="10400" y="8466"/>
                    <a:pt x="10400" y="8541"/>
                    <a:pt x="10492" y="8541"/>
                  </a:cubicBezTo>
                  <a:cubicBezTo>
                    <a:pt x="10597" y="8541"/>
                    <a:pt x="10793" y="8380"/>
                    <a:pt x="10793" y="8305"/>
                  </a:cubicBezTo>
                  <a:cubicBezTo>
                    <a:pt x="10898" y="7887"/>
                    <a:pt x="10898" y="7887"/>
                    <a:pt x="10898" y="7887"/>
                  </a:cubicBezTo>
                  <a:close/>
                  <a:moveTo>
                    <a:pt x="14003" y="6988"/>
                  </a:moveTo>
                  <a:cubicBezTo>
                    <a:pt x="13793" y="6495"/>
                    <a:pt x="14094" y="6174"/>
                    <a:pt x="14199" y="5767"/>
                  </a:cubicBezTo>
                  <a:cubicBezTo>
                    <a:pt x="14304" y="5521"/>
                    <a:pt x="14500" y="5521"/>
                    <a:pt x="14199" y="5360"/>
                  </a:cubicBezTo>
                  <a:cubicBezTo>
                    <a:pt x="14094" y="5189"/>
                    <a:pt x="13898" y="4942"/>
                    <a:pt x="13898" y="4782"/>
                  </a:cubicBezTo>
                  <a:cubicBezTo>
                    <a:pt x="13400" y="4782"/>
                    <a:pt x="13597" y="5681"/>
                    <a:pt x="13597" y="5928"/>
                  </a:cubicBezTo>
                  <a:cubicBezTo>
                    <a:pt x="13492" y="6088"/>
                    <a:pt x="13400" y="6667"/>
                    <a:pt x="13400" y="6741"/>
                  </a:cubicBezTo>
                  <a:cubicBezTo>
                    <a:pt x="13191" y="6913"/>
                    <a:pt x="12798" y="6741"/>
                    <a:pt x="12693" y="6581"/>
                  </a:cubicBezTo>
                  <a:cubicBezTo>
                    <a:pt x="12496" y="6335"/>
                    <a:pt x="12601" y="6741"/>
                    <a:pt x="12601" y="6827"/>
                  </a:cubicBezTo>
                  <a:cubicBezTo>
                    <a:pt x="12693" y="7073"/>
                    <a:pt x="12889" y="7234"/>
                    <a:pt x="12994" y="7405"/>
                  </a:cubicBezTo>
                  <a:cubicBezTo>
                    <a:pt x="13099" y="7566"/>
                    <a:pt x="13099" y="7887"/>
                    <a:pt x="13099" y="8059"/>
                  </a:cubicBezTo>
                  <a:cubicBezTo>
                    <a:pt x="13400" y="8059"/>
                    <a:pt x="13701" y="8134"/>
                    <a:pt x="14003" y="8134"/>
                  </a:cubicBezTo>
                  <a:cubicBezTo>
                    <a:pt x="14003" y="7812"/>
                    <a:pt x="13898" y="7566"/>
                    <a:pt x="13898" y="7234"/>
                  </a:cubicBezTo>
                  <a:cubicBezTo>
                    <a:pt x="14003" y="6988"/>
                    <a:pt x="14003" y="6988"/>
                    <a:pt x="14003" y="6988"/>
                  </a:cubicBezTo>
                  <a:close/>
                  <a:moveTo>
                    <a:pt x="10597" y="2897"/>
                  </a:moveTo>
                  <a:cubicBezTo>
                    <a:pt x="10296" y="2736"/>
                    <a:pt x="9588" y="2490"/>
                    <a:pt x="9392" y="2244"/>
                  </a:cubicBezTo>
                  <a:cubicBezTo>
                    <a:pt x="9300" y="2169"/>
                    <a:pt x="9588" y="2083"/>
                    <a:pt x="9693" y="1922"/>
                  </a:cubicBezTo>
                  <a:cubicBezTo>
                    <a:pt x="9693" y="1762"/>
                    <a:pt x="9693" y="1516"/>
                    <a:pt x="9693" y="1344"/>
                  </a:cubicBezTo>
                  <a:cubicBezTo>
                    <a:pt x="9497" y="1344"/>
                    <a:pt x="9091" y="1922"/>
                    <a:pt x="8894" y="1997"/>
                  </a:cubicBezTo>
                  <a:cubicBezTo>
                    <a:pt x="8396" y="2169"/>
                    <a:pt x="8095" y="1922"/>
                    <a:pt x="7597" y="1922"/>
                  </a:cubicBezTo>
                  <a:cubicBezTo>
                    <a:pt x="7597" y="2083"/>
                    <a:pt x="8187" y="2415"/>
                    <a:pt x="8187" y="2651"/>
                  </a:cubicBezTo>
                  <a:cubicBezTo>
                    <a:pt x="8396" y="3143"/>
                    <a:pt x="7990" y="3390"/>
                    <a:pt x="8593" y="3722"/>
                  </a:cubicBezTo>
                  <a:cubicBezTo>
                    <a:pt x="8999" y="3882"/>
                    <a:pt x="9300" y="4535"/>
                    <a:pt x="9392" y="3968"/>
                  </a:cubicBezTo>
                  <a:cubicBezTo>
                    <a:pt x="9588" y="3229"/>
                    <a:pt x="10296" y="3475"/>
                    <a:pt x="10793" y="3797"/>
                  </a:cubicBezTo>
                  <a:cubicBezTo>
                    <a:pt x="11291" y="4128"/>
                    <a:pt x="11200" y="4535"/>
                    <a:pt x="11396" y="5028"/>
                  </a:cubicBezTo>
                  <a:cubicBezTo>
                    <a:pt x="11501" y="5028"/>
                    <a:pt x="11592" y="4621"/>
                    <a:pt x="11697" y="4535"/>
                  </a:cubicBezTo>
                  <a:cubicBezTo>
                    <a:pt x="11894" y="4375"/>
                    <a:pt x="12300" y="4128"/>
                    <a:pt x="11789" y="3882"/>
                  </a:cubicBezTo>
                  <a:cubicBezTo>
                    <a:pt x="11501" y="3722"/>
                    <a:pt x="11200" y="3390"/>
                    <a:pt x="11095" y="3068"/>
                  </a:cubicBezTo>
                  <a:cubicBezTo>
                    <a:pt x="10597" y="2897"/>
                    <a:pt x="10597" y="2897"/>
                    <a:pt x="10597" y="2897"/>
                  </a:cubicBezTo>
                  <a:close/>
                  <a:moveTo>
                    <a:pt x="11501" y="1590"/>
                  </a:moveTo>
                  <a:cubicBezTo>
                    <a:pt x="11396" y="1922"/>
                    <a:pt x="11396" y="1922"/>
                    <a:pt x="11396" y="1922"/>
                  </a:cubicBezTo>
                  <a:cubicBezTo>
                    <a:pt x="10990" y="2415"/>
                    <a:pt x="11095" y="1430"/>
                    <a:pt x="10702" y="1344"/>
                  </a:cubicBezTo>
                  <a:cubicBezTo>
                    <a:pt x="10702" y="1269"/>
                    <a:pt x="10597" y="1184"/>
                    <a:pt x="10702" y="1098"/>
                  </a:cubicBezTo>
                  <a:cubicBezTo>
                    <a:pt x="10793" y="937"/>
                    <a:pt x="10898" y="862"/>
                    <a:pt x="10990" y="777"/>
                  </a:cubicBezTo>
                  <a:cubicBezTo>
                    <a:pt x="11095" y="616"/>
                    <a:pt x="11200" y="284"/>
                    <a:pt x="11501" y="284"/>
                  </a:cubicBezTo>
                  <a:cubicBezTo>
                    <a:pt x="11592" y="530"/>
                    <a:pt x="11592" y="691"/>
                    <a:pt x="11396" y="862"/>
                  </a:cubicBezTo>
                  <a:cubicBezTo>
                    <a:pt x="11291" y="1023"/>
                    <a:pt x="11291" y="1430"/>
                    <a:pt x="11501" y="1590"/>
                  </a:cubicBezTo>
                  <a:close/>
                  <a:moveTo>
                    <a:pt x="20696" y="2736"/>
                  </a:moveTo>
                  <a:cubicBezTo>
                    <a:pt x="20002" y="2897"/>
                    <a:pt x="18993" y="4289"/>
                    <a:pt x="18299" y="4289"/>
                  </a:cubicBezTo>
                  <a:cubicBezTo>
                    <a:pt x="16898" y="4289"/>
                    <a:pt x="18299" y="3636"/>
                    <a:pt x="18299" y="2983"/>
                  </a:cubicBezTo>
                  <a:cubicBezTo>
                    <a:pt x="17998" y="3068"/>
                    <a:pt x="17906" y="3315"/>
                    <a:pt x="17395" y="3315"/>
                  </a:cubicBezTo>
                  <a:cubicBezTo>
                    <a:pt x="17199" y="3315"/>
                    <a:pt x="17395" y="3636"/>
                    <a:pt x="17395" y="3797"/>
                  </a:cubicBezTo>
                  <a:cubicBezTo>
                    <a:pt x="17304" y="4128"/>
                    <a:pt x="17094" y="4128"/>
                    <a:pt x="16793" y="4214"/>
                  </a:cubicBezTo>
                  <a:cubicBezTo>
                    <a:pt x="16190" y="4460"/>
                    <a:pt x="16098" y="4782"/>
                    <a:pt x="15902" y="5114"/>
                  </a:cubicBezTo>
                  <a:cubicBezTo>
                    <a:pt x="15797" y="5435"/>
                    <a:pt x="15195" y="5521"/>
                    <a:pt x="15195" y="5681"/>
                  </a:cubicBezTo>
                  <a:cubicBezTo>
                    <a:pt x="15195" y="5842"/>
                    <a:pt x="15195" y="6667"/>
                    <a:pt x="15391" y="6420"/>
                  </a:cubicBezTo>
                  <a:cubicBezTo>
                    <a:pt x="15601" y="6013"/>
                    <a:pt x="16295" y="4942"/>
                    <a:pt x="17002" y="5114"/>
                  </a:cubicBezTo>
                  <a:cubicBezTo>
                    <a:pt x="17304" y="5189"/>
                    <a:pt x="17395" y="5028"/>
                    <a:pt x="17605" y="4942"/>
                  </a:cubicBezTo>
                  <a:cubicBezTo>
                    <a:pt x="18103" y="4707"/>
                    <a:pt x="18194" y="5274"/>
                    <a:pt x="18600" y="4707"/>
                  </a:cubicBezTo>
                  <a:cubicBezTo>
                    <a:pt x="18902" y="4375"/>
                    <a:pt x="18993" y="4375"/>
                    <a:pt x="19399" y="4214"/>
                  </a:cubicBezTo>
                  <a:cubicBezTo>
                    <a:pt x="19897" y="3968"/>
                    <a:pt x="19897" y="3636"/>
                    <a:pt x="20500" y="3636"/>
                  </a:cubicBezTo>
                  <a:cubicBezTo>
                    <a:pt x="21495" y="3636"/>
                    <a:pt x="20997" y="3561"/>
                    <a:pt x="20801" y="3068"/>
                  </a:cubicBezTo>
                  <a:cubicBezTo>
                    <a:pt x="20696" y="2736"/>
                    <a:pt x="20696" y="2736"/>
                    <a:pt x="20696" y="2736"/>
                  </a:cubicBezTo>
                  <a:close/>
                  <a:moveTo>
                    <a:pt x="20395" y="777"/>
                  </a:moveTo>
                  <a:cubicBezTo>
                    <a:pt x="20500" y="777"/>
                    <a:pt x="20500" y="691"/>
                    <a:pt x="20500" y="616"/>
                  </a:cubicBezTo>
                  <a:cubicBezTo>
                    <a:pt x="20604" y="530"/>
                    <a:pt x="20604" y="123"/>
                    <a:pt x="20801" y="123"/>
                  </a:cubicBezTo>
                  <a:cubicBezTo>
                    <a:pt x="20997" y="123"/>
                    <a:pt x="21102" y="123"/>
                    <a:pt x="21299" y="38"/>
                  </a:cubicBezTo>
                  <a:cubicBezTo>
                    <a:pt x="21299" y="38"/>
                    <a:pt x="21600" y="-48"/>
                    <a:pt x="21600" y="38"/>
                  </a:cubicBezTo>
                  <a:cubicBezTo>
                    <a:pt x="21600" y="38"/>
                    <a:pt x="21495" y="123"/>
                    <a:pt x="21404" y="198"/>
                  </a:cubicBezTo>
                  <a:cubicBezTo>
                    <a:pt x="21299" y="284"/>
                    <a:pt x="21102" y="370"/>
                    <a:pt x="21102" y="445"/>
                  </a:cubicBezTo>
                  <a:cubicBezTo>
                    <a:pt x="21102" y="616"/>
                    <a:pt x="21404" y="862"/>
                    <a:pt x="21207" y="1023"/>
                  </a:cubicBezTo>
                  <a:cubicBezTo>
                    <a:pt x="20997" y="1269"/>
                    <a:pt x="20801" y="937"/>
                    <a:pt x="20500" y="1023"/>
                  </a:cubicBezTo>
                  <a:lnTo>
                    <a:pt x="20395" y="777"/>
                  </a:ln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8" name="Shape 2533">
              <a:extLst>
                <a:ext uri="{FF2B5EF4-FFF2-40B4-BE49-F238E27FC236}">
                  <a16:creationId xmlns:a16="http://schemas.microsoft.com/office/drawing/2014/main" id="{75C6D582-3B14-70E1-F7EB-733DE928B42F}"/>
                </a:ext>
              </a:extLst>
            </p:cNvPr>
            <p:cNvSpPr/>
            <p:nvPr/>
          </p:nvSpPr>
          <p:spPr>
            <a:xfrm>
              <a:off x="4367908" y="30377"/>
              <a:ext cx="714811" cy="1048522"/>
            </a:xfrm>
            <a:custGeom>
              <a:avLst/>
              <a:gdLst/>
              <a:ahLst/>
              <a:cxnLst>
                <a:cxn ang="0">
                  <a:pos x="wd2" y="hd2"/>
                </a:cxn>
                <a:cxn ang="5400000">
                  <a:pos x="wd2" y="hd2"/>
                </a:cxn>
                <a:cxn ang="10800000">
                  <a:pos x="wd2" y="hd2"/>
                </a:cxn>
                <a:cxn ang="16200000">
                  <a:pos x="wd2" y="hd2"/>
                </a:cxn>
              </a:cxnLst>
              <a:rect l="0" t="0" r="r" b="b"/>
              <a:pathLst>
                <a:path w="21338" h="21556" extrusionOk="0">
                  <a:moveTo>
                    <a:pt x="469" y="16101"/>
                  </a:moveTo>
                  <a:cubicBezTo>
                    <a:pt x="469" y="15997"/>
                    <a:pt x="318" y="15893"/>
                    <a:pt x="248" y="15837"/>
                  </a:cubicBezTo>
                  <a:cubicBezTo>
                    <a:pt x="168" y="15782"/>
                    <a:pt x="-64" y="15733"/>
                    <a:pt x="17" y="15622"/>
                  </a:cubicBezTo>
                  <a:cubicBezTo>
                    <a:pt x="87" y="15574"/>
                    <a:pt x="168" y="15518"/>
                    <a:pt x="248" y="15463"/>
                  </a:cubicBezTo>
                  <a:cubicBezTo>
                    <a:pt x="318" y="15359"/>
                    <a:pt x="318" y="15359"/>
                    <a:pt x="399" y="15303"/>
                  </a:cubicBezTo>
                  <a:cubicBezTo>
                    <a:pt x="550" y="15199"/>
                    <a:pt x="781" y="15255"/>
                    <a:pt x="862" y="15359"/>
                  </a:cubicBezTo>
                  <a:cubicBezTo>
                    <a:pt x="1083" y="15574"/>
                    <a:pt x="1013" y="15733"/>
                    <a:pt x="1013" y="15941"/>
                  </a:cubicBezTo>
                  <a:cubicBezTo>
                    <a:pt x="1013" y="16052"/>
                    <a:pt x="1013" y="16101"/>
                    <a:pt x="1013" y="16156"/>
                  </a:cubicBezTo>
                  <a:cubicBezTo>
                    <a:pt x="1013" y="16315"/>
                    <a:pt x="701" y="16211"/>
                    <a:pt x="631" y="16211"/>
                  </a:cubicBezTo>
                  <a:cubicBezTo>
                    <a:pt x="469" y="16101"/>
                    <a:pt x="469" y="16101"/>
                    <a:pt x="469" y="16101"/>
                  </a:cubicBezTo>
                  <a:close/>
                  <a:moveTo>
                    <a:pt x="19775" y="3020"/>
                  </a:moveTo>
                  <a:cubicBezTo>
                    <a:pt x="19926" y="2708"/>
                    <a:pt x="20389" y="2549"/>
                    <a:pt x="20620" y="2285"/>
                  </a:cubicBezTo>
                  <a:cubicBezTo>
                    <a:pt x="20852" y="1911"/>
                    <a:pt x="19926" y="1966"/>
                    <a:pt x="20006" y="1911"/>
                  </a:cubicBezTo>
                  <a:cubicBezTo>
                    <a:pt x="20077" y="1855"/>
                    <a:pt x="20459" y="1807"/>
                    <a:pt x="20620" y="1751"/>
                  </a:cubicBezTo>
                  <a:cubicBezTo>
                    <a:pt x="20922" y="1703"/>
                    <a:pt x="20540" y="1384"/>
                    <a:pt x="20389" y="1329"/>
                  </a:cubicBezTo>
                  <a:cubicBezTo>
                    <a:pt x="20389" y="1273"/>
                    <a:pt x="21536" y="1488"/>
                    <a:pt x="21073" y="961"/>
                  </a:cubicBezTo>
                  <a:cubicBezTo>
                    <a:pt x="21003" y="802"/>
                    <a:pt x="20459" y="691"/>
                    <a:pt x="21073" y="587"/>
                  </a:cubicBezTo>
                  <a:cubicBezTo>
                    <a:pt x="21466" y="587"/>
                    <a:pt x="21385" y="483"/>
                    <a:pt x="21073" y="379"/>
                  </a:cubicBezTo>
                  <a:cubicBezTo>
                    <a:pt x="20308" y="109"/>
                    <a:pt x="20308" y="109"/>
                    <a:pt x="20308" y="109"/>
                  </a:cubicBezTo>
                  <a:cubicBezTo>
                    <a:pt x="19926" y="5"/>
                    <a:pt x="19926" y="746"/>
                    <a:pt x="19694" y="802"/>
                  </a:cubicBezTo>
                  <a:cubicBezTo>
                    <a:pt x="19694" y="642"/>
                    <a:pt x="19694" y="483"/>
                    <a:pt x="19694" y="379"/>
                  </a:cubicBezTo>
                  <a:cubicBezTo>
                    <a:pt x="19694" y="323"/>
                    <a:pt x="19694" y="-44"/>
                    <a:pt x="19543" y="5"/>
                  </a:cubicBezTo>
                  <a:cubicBezTo>
                    <a:pt x="19312" y="60"/>
                    <a:pt x="19080" y="427"/>
                    <a:pt x="19000" y="587"/>
                  </a:cubicBezTo>
                  <a:cubicBezTo>
                    <a:pt x="18849" y="746"/>
                    <a:pt x="18466" y="1010"/>
                    <a:pt x="18466" y="1114"/>
                  </a:cubicBezTo>
                  <a:cubicBezTo>
                    <a:pt x="18466" y="1169"/>
                    <a:pt x="18617" y="1329"/>
                    <a:pt x="18617" y="1433"/>
                  </a:cubicBezTo>
                  <a:cubicBezTo>
                    <a:pt x="18698" y="1543"/>
                    <a:pt x="18698" y="1703"/>
                    <a:pt x="18617" y="1807"/>
                  </a:cubicBezTo>
                  <a:cubicBezTo>
                    <a:pt x="18617" y="2174"/>
                    <a:pt x="18154" y="2389"/>
                    <a:pt x="18305" y="2757"/>
                  </a:cubicBezTo>
                  <a:cubicBezTo>
                    <a:pt x="18386" y="2916"/>
                    <a:pt x="18084" y="2757"/>
                    <a:pt x="18154" y="2916"/>
                  </a:cubicBezTo>
                  <a:cubicBezTo>
                    <a:pt x="18154" y="3020"/>
                    <a:pt x="18235" y="3131"/>
                    <a:pt x="18154" y="3235"/>
                  </a:cubicBezTo>
                  <a:cubicBezTo>
                    <a:pt x="18084" y="3339"/>
                    <a:pt x="18003" y="3339"/>
                    <a:pt x="18084" y="3450"/>
                  </a:cubicBezTo>
                  <a:cubicBezTo>
                    <a:pt x="18235" y="3713"/>
                    <a:pt x="18305" y="3713"/>
                    <a:pt x="18698" y="3554"/>
                  </a:cubicBezTo>
                  <a:cubicBezTo>
                    <a:pt x="18849" y="3498"/>
                    <a:pt x="19080" y="3498"/>
                    <a:pt x="19312" y="3554"/>
                  </a:cubicBezTo>
                  <a:cubicBezTo>
                    <a:pt x="19382" y="3602"/>
                    <a:pt x="19543" y="3658"/>
                    <a:pt x="19614" y="3658"/>
                  </a:cubicBezTo>
                  <a:cubicBezTo>
                    <a:pt x="19775" y="3658"/>
                    <a:pt x="20157" y="3602"/>
                    <a:pt x="20238" y="3498"/>
                  </a:cubicBezTo>
                  <a:cubicBezTo>
                    <a:pt x="20308" y="3450"/>
                    <a:pt x="19775" y="3290"/>
                    <a:pt x="19775" y="3179"/>
                  </a:cubicBezTo>
                  <a:cubicBezTo>
                    <a:pt x="19775" y="3020"/>
                    <a:pt x="19775" y="3020"/>
                    <a:pt x="19775" y="3020"/>
                  </a:cubicBezTo>
                  <a:close/>
                  <a:moveTo>
                    <a:pt x="17470" y="6257"/>
                  </a:moveTo>
                  <a:cubicBezTo>
                    <a:pt x="17470" y="6361"/>
                    <a:pt x="17470" y="6361"/>
                    <a:pt x="17470" y="6361"/>
                  </a:cubicBezTo>
                  <a:cubicBezTo>
                    <a:pt x="17470" y="6521"/>
                    <a:pt x="17238" y="6625"/>
                    <a:pt x="17007" y="6680"/>
                  </a:cubicBezTo>
                  <a:cubicBezTo>
                    <a:pt x="16846" y="6784"/>
                    <a:pt x="17158" y="7047"/>
                    <a:pt x="17238" y="7151"/>
                  </a:cubicBezTo>
                  <a:cubicBezTo>
                    <a:pt x="17389" y="7366"/>
                    <a:pt x="17158" y="7845"/>
                    <a:pt x="16695" y="7845"/>
                  </a:cubicBezTo>
                  <a:cubicBezTo>
                    <a:pt x="16544" y="7845"/>
                    <a:pt x="16081" y="7685"/>
                    <a:pt x="16000" y="7734"/>
                  </a:cubicBezTo>
                  <a:cubicBezTo>
                    <a:pt x="15849" y="7789"/>
                    <a:pt x="16081" y="7893"/>
                    <a:pt x="16000" y="8004"/>
                  </a:cubicBezTo>
                  <a:cubicBezTo>
                    <a:pt x="15386" y="7734"/>
                    <a:pt x="15004" y="7685"/>
                    <a:pt x="14923" y="7103"/>
                  </a:cubicBezTo>
                  <a:cubicBezTo>
                    <a:pt x="14923" y="6992"/>
                    <a:pt x="14772" y="6888"/>
                    <a:pt x="14772" y="6729"/>
                  </a:cubicBezTo>
                  <a:cubicBezTo>
                    <a:pt x="14702" y="6569"/>
                    <a:pt x="14702" y="6361"/>
                    <a:pt x="14702" y="6146"/>
                  </a:cubicBezTo>
                  <a:cubicBezTo>
                    <a:pt x="14702" y="5723"/>
                    <a:pt x="14309" y="5619"/>
                    <a:pt x="14470" y="5141"/>
                  </a:cubicBezTo>
                  <a:cubicBezTo>
                    <a:pt x="14621" y="4878"/>
                    <a:pt x="14923" y="4559"/>
                    <a:pt x="15004" y="4295"/>
                  </a:cubicBezTo>
                  <a:cubicBezTo>
                    <a:pt x="15084" y="4032"/>
                    <a:pt x="15386" y="4240"/>
                    <a:pt x="15467" y="4081"/>
                  </a:cubicBezTo>
                  <a:cubicBezTo>
                    <a:pt x="15618" y="3817"/>
                    <a:pt x="15537" y="3450"/>
                    <a:pt x="15618" y="3179"/>
                  </a:cubicBezTo>
                  <a:cubicBezTo>
                    <a:pt x="15849" y="2757"/>
                    <a:pt x="15618" y="2493"/>
                    <a:pt x="16393" y="2597"/>
                  </a:cubicBezTo>
                  <a:cubicBezTo>
                    <a:pt x="16624" y="2597"/>
                    <a:pt x="16775" y="2493"/>
                    <a:pt x="16926" y="2493"/>
                  </a:cubicBezTo>
                  <a:cubicBezTo>
                    <a:pt x="17923" y="2653"/>
                    <a:pt x="17389" y="3179"/>
                    <a:pt x="17691" y="3602"/>
                  </a:cubicBezTo>
                  <a:cubicBezTo>
                    <a:pt x="17772" y="3762"/>
                    <a:pt x="17772" y="3921"/>
                    <a:pt x="17772" y="4081"/>
                  </a:cubicBezTo>
                  <a:cubicBezTo>
                    <a:pt x="17772" y="4240"/>
                    <a:pt x="17772" y="4399"/>
                    <a:pt x="17852" y="4503"/>
                  </a:cubicBezTo>
                  <a:cubicBezTo>
                    <a:pt x="18003" y="4774"/>
                    <a:pt x="17389" y="4559"/>
                    <a:pt x="17238" y="4455"/>
                  </a:cubicBezTo>
                  <a:cubicBezTo>
                    <a:pt x="17077" y="4399"/>
                    <a:pt x="16926" y="4081"/>
                    <a:pt x="16775" y="4081"/>
                  </a:cubicBezTo>
                  <a:cubicBezTo>
                    <a:pt x="16695" y="4081"/>
                    <a:pt x="16695" y="4081"/>
                    <a:pt x="16695" y="4081"/>
                  </a:cubicBezTo>
                  <a:cubicBezTo>
                    <a:pt x="16695" y="4191"/>
                    <a:pt x="17077" y="4718"/>
                    <a:pt x="17158" y="4774"/>
                  </a:cubicBezTo>
                  <a:cubicBezTo>
                    <a:pt x="17309" y="4878"/>
                    <a:pt x="17540" y="4982"/>
                    <a:pt x="17309" y="5141"/>
                  </a:cubicBezTo>
                  <a:cubicBezTo>
                    <a:pt x="17238" y="5245"/>
                    <a:pt x="16926" y="5245"/>
                    <a:pt x="16846" y="5301"/>
                  </a:cubicBezTo>
                  <a:cubicBezTo>
                    <a:pt x="16695" y="5405"/>
                    <a:pt x="17238" y="5619"/>
                    <a:pt x="17389" y="5668"/>
                  </a:cubicBezTo>
                  <a:cubicBezTo>
                    <a:pt x="17621" y="5883"/>
                    <a:pt x="17621" y="6042"/>
                    <a:pt x="17470" y="6257"/>
                  </a:cubicBezTo>
                  <a:close/>
                  <a:moveTo>
                    <a:pt x="19080" y="5987"/>
                  </a:moveTo>
                  <a:cubicBezTo>
                    <a:pt x="19000" y="5779"/>
                    <a:pt x="18849" y="5619"/>
                    <a:pt x="18768" y="5405"/>
                  </a:cubicBezTo>
                  <a:cubicBezTo>
                    <a:pt x="18768" y="5301"/>
                    <a:pt x="18537" y="5086"/>
                    <a:pt x="18537" y="5037"/>
                  </a:cubicBezTo>
                  <a:cubicBezTo>
                    <a:pt x="18617" y="4982"/>
                    <a:pt x="18849" y="4822"/>
                    <a:pt x="18929" y="4822"/>
                  </a:cubicBezTo>
                  <a:cubicBezTo>
                    <a:pt x="19231" y="4822"/>
                    <a:pt x="19312" y="5086"/>
                    <a:pt x="19614" y="4774"/>
                  </a:cubicBezTo>
                  <a:cubicBezTo>
                    <a:pt x="19775" y="4663"/>
                    <a:pt x="20238" y="4774"/>
                    <a:pt x="20389" y="4822"/>
                  </a:cubicBezTo>
                  <a:cubicBezTo>
                    <a:pt x="20389" y="4926"/>
                    <a:pt x="20459" y="5037"/>
                    <a:pt x="20459" y="5141"/>
                  </a:cubicBezTo>
                  <a:cubicBezTo>
                    <a:pt x="20540" y="5245"/>
                    <a:pt x="20691" y="5301"/>
                    <a:pt x="20691" y="5405"/>
                  </a:cubicBezTo>
                  <a:cubicBezTo>
                    <a:pt x="20771" y="5405"/>
                    <a:pt x="20852" y="5245"/>
                    <a:pt x="21003" y="5197"/>
                  </a:cubicBezTo>
                  <a:cubicBezTo>
                    <a:pt x="21073" y="5141"/>
                    <a:pt x="21234" y="5086"/>
                    <a:pt x="21304" y="5086"/>
                  </a:cubicBezTo>
                  <a:cubicBezTo>
                    <a:pt x="21304" y="5405"/>
                    <a:pt x="21003" y="5619"/>
                    <a:pt x="21003" y="5883"/>
                  </a:cubicBezTo>
                  <a:cubicBezTo>
                    <a:pt x="21003" y="6306"/>
                    <a:pt x="20459" y="5938"/>
                    <a:pt x="20308" y="5779"/>
                  </a:cubicBezTo>
                  <a:cubicBezTo>
                    <a:pt x="20077" y="5668"/>
                    <a:pt x="20006" y="5723"/>
                    <a:pt x="19775" y="5668"/>
                  </a:cubicBezTo>
                  <a:cubicBezTo>
                    <a:pt x="19543" y="5564"/>
                    <a:pt x="19543" y="5564"/>
                    <a:pt x="19543" y="5564"/>
                  </a:cubicBezTo>
                  <a:cubicBezTo>
                    <a:pt x="19161" y="5509"/>
                    <a:pt x="19845" y="5987"/>
                    <a:pt x="19845" y="6042"/>
                  </a:cubicBezTo>
                  <a:cubicBezTo>
                    <a:pt x="19926" y="6146"/>
                    <a:pt x="19312" y="6361"/>
                    <a:pt x="19161" y="6098"/>
                  </a:cubicBezTo>
                  <a:cubicBezTo>
                    <a:pt x="19080" y="5987"/>
                    <a:pt x="19080" y="5987"/>
                    <a:pt x="19080" y="5987"/>
                  </a:cubicBezTo>
                  <a:close/>
                  <a:moveTo>
                    <a:pt x="9317" y="8053"/>
                  </a:moveTo>
                  <a:cubicBezTo>
                    <a:pt x="10011" y="8053"/>
                    <a:pt x="9699" y="8163"/>
                    <a:pt x="9699" y="8475"/>
                  </a:cubicBezTo>
                  <a:cubicBezTo>
                    <a:pt x="9699" y="8850"/>
                    <a:pt x="10082" y="8427"/>
                    <a:pt x="10162" y="8316"/>
                  </a:cubicBezTo>
                  <a:cubicBezTo>
                    <a:pt x="10162" y="8267"/>
                    <a:pt x="10233" y="7893"/>
                    <a:pt x="10313" y="7949"/>
                  </a:cubicBezTo>
                  <a:cubicBezTo>
                    <a:pt x="10313" y="8053"/>
                    <a:pt x="10464" y="8635"/>
                    <a:pt x="10545" y="8690"/>
                  </a:cubicBezTo>
                  <a:cubicBezTo>
                    <a:pt x="10776" y="8898"/>
                    <a:pt x="10313" y="9162"/>
                    <a:pt x="10625" y="9432"/>
                  </a:cubicBezTo>
                  <a:cubicBezTo>
                    <a:pt x="10857" y="9640"/>
                    <a:pt x="10927" y="9536"/>
                    <a:pt x="11239" y="9591"/>
                  </a:cubicBezTo>
                  <a:cubicBezTo>
                    <a:pt x="11239" y="9695"/>
                    <a:pt x="11088" y="9799"/>
                    <a:pt x="11088" y="9959"/>
                  </a:cubicBezTo>
                  <a:cubicBezTo>
                    <a:pt x="11159" y="10063"/>
                    <a:pt x="11239" y="10222"/>
                    <a:pt x="11008" y="10174"/>
                  </a:cubicBezTo>
                  <a:cubicBezTo>
                    <a:pt x="10545" y="10118"/>
                    <a:pt x="10313" y="10333"/>
                    <a:pt x="10394" y="10645"/>
                  </a:cubicBezTo>
                  <a:cubicBezTo>
                    <a:pt x="10394" y="11123"/>
                    <a:pt x="11622" y="11179"/>
                    <a:pt x="11622" y="10701"/>
                  </a:cubicBezTo>
                  <a:cubicBezTo>
                    <a:pt x="11622" y="10493"/>
                    <a:pt x="11853" y="10063"/>
                    <a:pt x="11622" y="9959"/>
                  </a:cubicBezTo>
                  <a:cubicBezTo>
                    <a:pt x="11622" y="9910"/>
                    <a:pt x="11471" y="9751"/>
                    <a:pt x="11541" y="9695"/>
                  </a:cubicBezTo>
                  <a:cubicBezTo>
                    <a:pt x="11702" y="9640"/>
                    <a:pt x="11853" y="9591"/>
                    <a:pt x="11934" y="9481"/>
                  </a:cubicBezTo>
                  <a:cubicBezTo>
                    <a:pt x="12155" y="9273"/>
                    <a:pt x="12085" y="8898"/>
                    <a:pt x="12316" y="8635"/>
                  </a:cubicBezTo>
                  <a:cubicBezTo>
                    <a:pt x="12467" y="8427"/>
                    <a:pt x="12699" y="8427"/>
                    <a:pt x="12467" y="8163"/>
                  </a:cubicBezTo>
                  <a:cubicBezTo>
                    <a:pt x="12236" y="8053"/>
                    <a:pt x="12316" y="8053"/>
                    <a:pt x="12316" y="7893"/>
                  </a:cubicBezTo>
                  <a:cubicBezTo>
                    <a:pt x="12316" y="7734"/>
                    <a:pt x="12548" y="7311"/>
                    <a:pt x="12387" y="7207"/>
                  </a:cubicBezTo>
                  <a:cubicBezTo>
                    <a:pt x="12316" y="7103"/>
                    <a:pt x="11934" y="6943"/>
                    <a:pt x="12236" y="6833"/>
                  </a:cubicBezTo>
                  <a:cubicBezTo>
                    <a:pt x="12699" y="6625"/>
                    <a:pt x="12699" y="6729"/>
                    <a:pt x="12699" y="6361"/>
                  </a:cubicBezTo>
                  <a:cubicBezTo>
                    <a:pt x="12699" y="5987"/>
                    <a:pt x="12004" y="5827"/>
                    <a:pt x="12548" y="5668"/>
                  </a:cubicBezTo>
                  <a:cubicBezTo>
                    <a:pt x="12850" y="5619"/>
                    <a:pt x="12769" y="5405"/>
                    <a:pt x="12850" y="5245"/>
                  </a:cubicBezTo>
                  <a:cubicBezTo>
                    <a:pt x="12850" y="5086"/>
                    <a:pt x="12930" y="4663"/>
                    <a:pt x="12699" y="4774"/>
                  </a:cubicBezTo>
                  <a:cubicBezTo>
                    <a:pt x="12004" y="4982"/>
                    <a:pt x="12387" y="4926"/>
                    <a:pt x="12316" y="5301"/>
                  </a:cubicBezTo>
                  <a:cubicBezTo>
                    <a:pt x="12004" y="5301"/>
                    <a:pt x="11541" y="5141"/>
                    <a:pt x="11239" y="5141"/>
                  </a:cubicBezTo>
                  <a:cubicBezTo>
                    <a:pt x="11088" y="5086"/>
                    <a:pt x="10625" y="5509"/>
                    <a:pt x="10696" y="5619"/>
                  </a:cubicBezTo>
                  <a:cubicBezTo>
                    <a:pt x="10696" y="5883"/>
                    <a:pt x="10776" y="5883"/>
                    <a:pt x="10545" y="6146"/>
                  </a:cubicBezTo>
                  <a:cubicBezTo>
                    <a:pt x="10313" y="6257"/>
                    <a:pt x="9931" y="6521"/>
                    <a:pt x="9931" y="6680"/>
                  </a:cubicBezTo>
                  <a:cubicBezTo>
                    <a:pt x="9931" y="6943"/>
                    <a:pt x="10464" y="7311"/>
                    <a:pt x="10464" y="7470"/>
                  </a:cubicBezTo>
                  <a:cubicBezTo>
                    <a:pt x="10313" y="7470"/>
                    <a:pt x="9468" y="6833"/>
                    <a:pt x="9387" y="6784"/>
                  </a:cubicBezTo>
                  <a:cubicBezTo>
                    <a:pt x="9387" y="6680"/>
                    <a:pt x="9387" y="6410"/>
                    <a:pt x="9236" y="6410"/>
                  </a:cubicBezTo>
                  <a:cubicBezTo>
                    <a:pt x="9085" y="6410"/>
                    <a:pt x="8773" y="6729"/>
                    <a:pt x="8703" y="6833"/>
                  </a:cubicBezTo>
                  <a:cubicBezTo>
                    <a:pt x="8622" y="6992"/>
                    <a:pt x="8552" y="7311"/>
                    <a:pt x="8552" y="7526"/>
                  </a:cubicBezTo>
                  <a:cubicBezTo>
                    <a:pt x="8320" y="7574"/>
                    <a:pt x="8240" y="7311"/>
                    <a:pt x="8008" y="7470"/>
                  </a:cubicBezTo>
                  <a:cubicBezTo>
                    <a:pt x="7857" y="7574"/>
                    <a:pt x="7857" y="7630"/>
                    <a:pt x="7857" y="7789"/>
                  </a:cubicBezTo>
                  <a:cubicBezTo>
                    <a:pt x="7777" y="7949"/>
                    <a:pt x="7696" y="8004"/>
                    <a:pt x="7928" y="8108"/>
                  </a:cubicBezTo>
                  <a:cubicBezTo>
                    <a:pt x="8159" y="8212"/>
                    <a:pt x="8391" y="8004"/>
                    <a:pt x="8552" y="7949"/>
                  </a:cubicBezTo>
                  <a:cubicBezTo>
                    <a:pt x="8773" y="7893"/>
                    <a:pt x="9005" y="7949"/>
                    <a:pt x="9166" y="8004"/>
                  </a:cubicBezTo>
                  <a:cubicBezTo>
                    <a:pt x="9317" y="8053"/>
                    <a:pt x="9317" y="8053"/>
                    <a:pt x="9317" y="8053"/>
                  </a:cubicBezTo>
                  <a:close/>
                  <a:moveTo>
                    <a:pt x="14390" y="18804"/>
                  </a:moveTo>
                  <a:cubicBezTo>
                    <a:pt x="14621" y="18541"/>
                    <a:pt x="13544" y="18166"/>
                    <a:pt x="14158" y="17799"/>
                  </a:cubicBezTo>
                  <a:cubicBezTo>
                    <a:pt x="14309" y="17743"/>
                    <a:pt x="14541" y="17743"/>
                    <a:pt x="14702" y="17688"/>
                  </a:cubicBezTo>
                  <a:cubicBezTo>
                    <a:pt x="14702" y="17639"/>
                    <a:pt x="14541" y="17480"/>
                    <a:pt x="14470" y="17425"/>
                  </a:cubicBezTo>
                  <a:cubicBezTo>
                    <a:pt x="14390" y="17369"/>
                    <a:pt x="14390" y="17210"/>
                    <a:pt x="14390" y="17161"/>
                  </a:cubicBezTo>
                  <a:cubicBezTo>
                    <a:pt x="14390" y="16898"/>
                    <a:pt x="14239" y="16683"/>
                    <a:pt x="14239" y="16364"/>
                  </a:cubicBezTo>
                  <a:cubicBezTo>
                    <a:pt x="14309" y="16315"/>
                    <a:pt x="14470" y="16156"/>
                    <a:pt x="14470" y="16101"/>
                  </a:cubicBezTo>
                  <a:cubicBezTo>
                    <a:pt x="14541" y="15997"/>
                    <a:pt x="14390" y="15941"/>
                    <a:pt x="14470" y="15837"/>
                  </a:cubicBezTo>
                  <a:cubicBezTo>
                    <a:pt x="14702" y="15622"/>
                    <a:pt x="15084" y="15678"/>
                    <a:pt x="15084" y="15359"/>
                  </a:cubicBezTo>
                  <a:cubicBezTo>
                    <a:pt x="15084" y="15199"/>
                    <a:pt x="15155" y="15040"/>
                    <a:pt x="15084" y="14881"/>
                  </a:cubicBezTo>
                  <a:cubicBezTo>
                    <a:pt x="15084" y="14728"/>
                    <a:pt x="14702" y="14673"/>
                    <a:pt x="14772" y="14513"/>
                  </a:cubicBezTo>
                  <a:cubicBezTo>
                    <a:pt x="14923" y="14250"/>
                    <a:pt x="15084" y="14194"/>
                    <a:pt x="14702" y="13986"/>
                  </a:cubicBezTo>
                  <a:cubicBezTo>
                    <a:pt x="14541" y="13875"/>
                    <a:pt x="14470" y="13875"/>
                    <a:pt x="14309" y="13716"/>
                  </a:cubicBezTo>
                  <a:cubicBezTo>
                    <a:pt x="14309" y="13612"/>
                    <a:pt x="14088" y="13508"/>
                    <a:pt x="14239" y="13404"/>
                  </a:cubicBezTo>
                  <a:cubicBezTo>
                    <a:pt x="14309" y="13293"/>
                    <a:pt x="14470" y="13245"/>
                    <a:pt x="14541" y="13134"/>
                  </a:cubicBezTo>
                  <a:cubicBezTo>
                    <a:pt x="14772" y="12870"/>
                    <a:pt x="14702" y="13245"/>
                    <a:pt x="15004" y="13349"/>
                  </a:cubicBezTo>
                  <a:cubicBezTo>
                    <a:pt x="15155" y="13349"/>
                    <a:pt x="15316" y="13189"/>
                    <a:pt x="15386" y="13134"/>
                  </a:cubicBezTo>
                  <a:cubicBezTo>
                    <a:pt x="15386" y="12870"/>
                    <a:pt x="15849" y="12926"/>
                    <a:pt x="15849" y="12822"/>
                  </a:cubicBezTo>
                  <a:cubicBezTo>
                    <a:pt x="16000" y="12551"/>
                    <a:pt x="15537" y="12662"/>
                    <a:pt x="15316" y="12503"/>
                  </a:cubicBezTo>
                  <a:cubicBezTo>
                    <a:pt x="15084" y="12343"/>
                    <a:pt x="15930" y="11969"/>
                    <a:pt x="16161" y="11969"/>
                  </a:cubicBezTo>
                  <a:cubicBezTo>
                    <a:pt x="16393" y="11969"/>
                    <a:pt x="16232" y="11706"/>
                    <a:pt x="16232" y="11602"/>
                  </a:cubicBezTo>
                  <a:cubicBezTo>
                    <a:pt x="16312" y="11387"/>
                    <a:pt x="15849" y="11546"/>
                    <a:pt x="15618" y="11498"/>
                  </a:cubicBezTo>
                  <a:cubicBezTo>
                    <a:pt x="15235" y="11387"/>
                    <a:pt x="15316" y="11338"/>
                    <a:pt x="14853" y="11338"/>
                  </a:cubicBezTo>
                  <a:cubicBezTo>
                    <a:pt x="14853" y="11227"/>
                    <a:pt x="14923" y="11019"/>
                    <a:pt x="15084" y="10964"/>
                  </a:cubicBezTo>
                  <a:cubicBezTo>
                    <a:pt x="15386" y="10915"/>
                    <a:pt x="16161" y="11123"/>
                    <a:pt x="16312" y="10805"/>
                  </a:cubicBezTo>
                  <a:cubicBezTo>
                    <a:pt x="16393" y="10645"/>
                    <a:pt x="16393" y="10278"/>
                    <a:pt x="16393" y="10118"/>
                  </a:cubicBezTo>
                  <a:cubicBezTo>
                    <a:pt x="16081" y="10118"/>
                    <a:pt x="15930" y="10174"/>
                    <a:pt x="15698" y="10333"/>
                  </a:cubicBezTo>
                  <a:cubicBezTo>
                    <a:pt x="15386" y="10597"/>
                    <a:pt x="15769" y="10063"/>
                    <a:pt x="15769" y="10014"/>
                  </a:cubicBezTo>
                  <a:cubicBezTo>
                    <a:pt x="16000" y="9799"/>
                    <a:pt x="16846" y="8954"/>
                    <a:pt x="16846" y="8794"/>
                  </a:cubicBezTo>
                  <a:cubicBezTo>
                    <a:pt x="16463" y="8794"/>
                    <a:pt x="15930" y="9321"/>
                    <a:pt x="15849" y="9536"/>
                  </a:cubicBezTo>
                  <a:cubicBezTo>
                    <a:pt x="15769" y="9751"/>
                    <a:pt x="14923" y="10437"/>
                    <a:pt x="14923" y="9799"/>
                  </a:cubicBezTo>
                  <a:cubicBezTo>
                    <a:pt x="14923" y="9432"/>
                    <a:pt x="14541" y="9591"/>
                    <a:pt x="14158" y="9481"/>
                  </a:cubicBezTo>
                  <a:cubicBezTo>
                    <a:pt x="14088" y="9481"/>
                    <a:pt x="14309" y="9217"/>
                    <a:pt x="14309" y="9162"/>
                  </a:cubicBezTo>
                  <a:cubicBezTo>
                    <a:pt x="14541" y="9009"/>
                    <a:pt x="14923" y="8586"/>
                    <a:pt x="14621" y="8427"/>
                  </a:cubicBezTo>
                  <a:cubicBezTo>
                    <a:pt x="14239" y="8267"/>
                    <a:pt x="14390" y="8163"/>
                    <a:pt x="14309" y="7949"/>
                  </a:cubicBezTo>
                  <a:cubicBezTo>
                    <a:pt x="14158" y="7526"/>
                    <a:pt x="13856" y="7893"/>
                    <a:pt x="13625" y="8053"/>
                  </a:cubicBezTo>
                  <a:cubicBezTo>
                    <a:pt x="13544" y="8163"/>
                    <a:pt x="13464" y="8053"/>
                    <a:pt x="13313" y="8053"/>
                  </a:cubicBezTo>
                  <a:cubicBezTo>
                    <a:pt x="13162" y="8053"/>
                    <a:pt x="13162" y="8267"/>
                    <a:pt x="13081" y="8316"/>
                  </a:cubicBezTo>
                  <a:cubicBezTo>
                    <a:pt x="12699" y="8635"/>
                    <a:pt x="13625" y="8690"/>
                    <a:pt x="13393" y="8850"/>
                  </a:cubicBezTo>
                  <a:cubicBezTo>
                    <a:pt x="12930" y="9113"/>
                    <a:pt x="12467" y="8794"/>
                    <a:pt x="12387" y="9432"/>
                  </a:cubicBezTo>
                  <a:cubicBezTo>
                    <a:pt x="12236" y="9799"/>
                    <a:pt x="11853" y="10278"/>
                    <a:pt x="12467" y="10541"/>
                  </a:cubicBezTo>
                  <a:cubicBezTo>
                    <a:pt x="12930" y="10756"/>
                    <a:pt x="12699" y="10645"/>
                    <a:pt x="12467" y="10805"/>
                  </a:cubicBezTo>
                  <a:cubicBezTo>
                    <a:pt x="12155" y="11019"/>
                    <a:pt x="12155" y="11338"/>
                    <a:pt x="11702" y="11546"/>
                  </a:cubicBezTo>
                  <a:cubicBezTo>
                    <a:pt x="11159" y="11761"/>
                    <a:pt x="10776" y="11283"/>
                    <a:pt x="10394" y="11283"/>
                  </a:cubicBezTo>
                  <a:cubicBezTo>
                    <a:pt x="10394" y="11387"/>
                    <a:pt x="10545" y="11706"/>
                    <a:pt x="10233" y="11761"/>
                  </a:cubicBezTo>
                  <a:cubicBezTo>
                    <a:pt x="10082" y="11761"/>
                    <a:pt x="9850" y="11657"/>
                    <a:pt x="9619" y="11657"/>
                  </a:cubicBezTo>
                  <a:cubicBezTo>
                    <a:pt x="9468" y="11657"/>
                    <a:pt x="9236" y="11969"/>
                    <a:pt x="9005" y="12025"/>
                  </a:cubicBezTo>
                  <a:cubicBezTo>
                    <a:pt x="8552" y="12288"/>
                    <a:pt x="8320" y="11921"/>
                    <a:pt x="7857" y="11865"/>
                  </a:cubicBezTo>
                  <a:cubicBezTo>
                    <a:pt x="7626" y="11921"/>
                    <a:pt x="6086" y="11969"/>
                    <a:pt x="6700" y="12343"/>
                  </a:cubicBezTo>
                  <a:cubicBezTo>
                    <a:pt x="6931" y="12503"/>
                    <a:pt x="6851" y="12551"/>
                    <a:pt x="6700" y="12766"/>
                  </a:cubicBezTo>
                  <a:cubicBezTo>
                    <a:pt x="6619" y="13030"/>
                    <a:pt x="6700" y="13453"/>
                    <a:pt x="7082" y="13557"/>
                  </a:cubicBezTo>
                  <a:cubicBezTo>
                    <a:pt x="7243" y="13612"/>
                    <a:pt x="7475" y="13612"/>
                    <a:pt x="7545" y="13716"/>
                  </a:cubicBezTo>
                  <a:cubicBezTo>
                    <a:pt x="7928" y="14354"/>
                    <a:pt x="8320" y="13557"/>
                    <a:pt x="8552" y="14090"/>
                  </a:cubicBezTo>
                  <a:cubicBezTo>
                    <a:pt x="8622" y="14305"/>
                    <a:pt x="8854" y="14194"/>
                    <a:pt x="9005" y="14035"/>
                  </a:cubicBezTo>
                  <a:cubicBezTo>
                    <a:pt x="9166" y="13931"/>
                    <a:pt x="9387" y="13827"/>
                    <a:pt x="9548" y="13667"/>
                  </a:cubicBezTo>
                  <a:cubicBezTo>
                    <a:pt x="9548" y="13667"/>
                    <a:pt x="9548" y="13667"/>
                    <a:pt x="9619" y="13667"/>
                  </a:cubicBezTo>
                  <a:cubicBezTo>
                    <a:pt x="9619" y="13986"/>
                    <a:pt x="9317" y="14035"/>
                    <a:pt x="9005" y="14194"/>
                  </a:cubicBezTo>
                  <a:cubicBezTo>
                    <a:pt x="8934" y="14305"/>
                    <a:pt x="8854" y="14458"/>
                    <a:pt x="8934" y="14513"/>
                  </a:cubicBezTo>
                  <a:cubicBezTo>
                    <a:pt x="9005" y="14728"/>
                    <a:pt x="9236" y="14617"/>
                    <a:pt x="9468" y="14673"/>
                  </a:cubicBezTo>
                  <a:cubicBezTo>
                    <a:pt x="9780" y="14881"/>
                    <a:pt x="9548" y="14936"/>
                    <a:pt x="10011" y="15040"/>
                  </a:cubicBezTo>
                  <a:cubicBezTo>
                    <a:pt x="10082" y="15040"/>
                    <a:pt x="10464" y="15303"/>
                    <a:pt x="10464" y="15359"/>
                  </a:cubicBezTo>
                  <a:cubicBezTo>
                    <a:pt x="10464" y="15303"/>
                    <a:pt x="10394" y="14777"/>
                    <a:pt x="10625" y="14777"/>
                  </a:cubicBezTo>
                  <a:cubicBezTo>
                    <a:pt x="10776" y="14832"/>
                    <a:pt x="11088" y="15151"/>
                    <a:pt x="11159" y="14936"/>
                  </a:cubicBezTo>
                  <a:cubicBezTo>
                    <a:pt x="11239" y="14728"/>
                    <a:pt x="11159" y="14513"/>
                    <a:pt x="11390" y="14409"/>
                  </a:cubicBezTo>
                  <a:cubicBezTo>
                    <a:pt x="11541" y="14250"/>
                    <a:pt x="11702" y="14409"/>
                    <a:pt x="11934" y="14354"/>
                  </a:cubicBezTo>
                  <a:cubicBezTo>
                    <a:pt x="12236" y="14250"/>
                    <a:pt x="12548" y="13875"/>
                    <a:pt x="12769" y="13667"/>
                  </a:cubicBezTo>
                  <a:cubicBezTo>
                    <a:pt x="13001" y="13404"/>
                    <a:pt x="12930" y="13771"/>
                    <a:pt x="12930" y="13875"/>
                  </a:cubicBezTo>
                  <a:cubicBezTo>
                    <a:pt x="12930" y="14194"/>
                    <a:pt x="13081" y="14409"/>
                    <a:pt x="13081" y="14673"/>
                  </a:cubicBezTo>
                  <a:cubicBezTo>
                    <a:pt x="13081" y="14991"/>
                    <a:pt x="12930" y="15359"/>
                    <a:pt x="13001" y="15678"/>
                  </a:cubicBezTo>
                  <a:cubicBezTo>
                    <a:pt x="13001" y="15782"/>
                    <a:pt x="12850" y="16052"/>
                    <a:pt x="12850" y="16156"/>
                  </a:cubicBezTo>
                  <a:cubicBezTo>
                    <a:pt x="13313" y="15941"/>
                    <a:pt x="13313" y="15941"/>
                    <a:pt x="13313" y="15941"/>
                  </a:cubicBezTo>
                  <a:cubicBezTo>
                    <a:pt x="13464" y="16101"/>
                    <a:pt x="13162" y="16946"/>
                    <a:pt x="13001" y="17161"/>
                  </a:cubicBezTo>
                  <a:cubicBezTo>
                    <a:pt x="12769" y="17903"/>
                    <a:pt x="12769" y="17903"/>
                    <a:pt x="12769" y="17903"/>
                  </a:cubicBezTo>
                  <a:cubicBezTo>
                    <a:pt x="12618" y="18166"/>
                    <a:pt x="12387" y="18381"/>
                    <a:pt x="12316" y="18645"/>
                  </a:cubicBezTo>
                  <a:cubicBezTo>
                    <a:pt x="12236" y="19012"/>
                    <a:pt x="12467" y="19275"/>
                    <a:pt x="12467" y="19650"/>
                  </a:cubicBezTo>
                  <a:cubicBezTo>
                    <a:pt x="12467" y="19809"/>
                    <a:pt x="12155" y="19754"/>
                    <a:pt x="12004" y="19809"/>
                  </a:cubicBezTo>
                  <a:cubicBezTo>
                    <a:pt x="11773" y="19865"/>
                    <a:pt x="12085" y="20287"/>
                    <a:pt x="11702" y="20391"/>
                  </a:cubicBezTo>
                  <a:cubicBezTo>
                    <a:pt x="11541" y="20447"/>
                    <a:pt x="11390" y="20391"/>
                    <a:pt x="11541" y="20551"/>
                  </a:cubicBezTo>
                  <a:cubicBezTo>
                    <a:pt x="11702" y="20710"/>
                    <a:pt x="11702" y="21182"/>
                    <a:pt x="12004" y="21022"/>
                  </a:cubicBezTo>
                  <a:cubicBezTo>
                    <a:pt x="12548" y="20710"/>
                    <a:pt x="12699" y="21022"/>
                    <a:pt x="12930" y="21341"/>
                  </a:cubicBezTo>
                  <a:cubicBezTo>
                    <a:pt x="12930" y="21397"/>
                    <a:pt x="13081" y="21556"/>
                    <a:pt x="13232" y="21556"/>
                  </a:cubicBezTo>
                  <a:cubicBezTo>
                    <a:pt x="13232" y="21556"/>
                    <a:pt x="13162" y="21293"/>
                    <a:pt x="13162" y="21237"/>
                  </a:cubicBezTo>
                  <a:cubicBezTo>
                    <a:pt x="13162" y="21182"/>
                    <a:pt x="13313" y="21022"/>
                    <a:pt x="13393" y="20918"/>
                  </a:cubicBezTo>
                  <a:cubicBezTo>
                    <a:pt x="13464" y="20655"/>
                    <a:pt x="13232" y="20336"/>
                    <a:pt x="13313" y="20128"/>
                  </a:cubicBezTo>
                  <a:cubicBezTo>
                    <a:pt x="13544" y="19650"/>
                    <a:pt x="13464" y="19490"/>
                    <a:pt x="13464" y="19067"/>
                  </a:cubicBezTo>
                  <a:cubicBezTo>
                    <a:pt x="13464" y="18589"/>
                    <a:pt x="14007" y="18963"/>
                    <a:pt x="14309" y="18908"/>
                  </a:cubicBezTo>
                  <a:cubicBezTo>
                    <a:pt x="14390" y="18804"/>
                    <a:pt x="14390" y="18804"/>
                    <a:pt x="14390" y="18804"/>
                  </a:cubicBezTo>
                  <a:close/>
                  <a:moveTo>
                    <a:pt x="15849" y="15518"/>
                  </a:moveTo>
                  <a:cubicBezTo>
                    <a:pt x="16000" y="15359"/>
                    <a:pt x="15537" y="15040"/>
                    <a:pt x="15537" y="14832"/>
                  </a:cubicBezTo>
                  <a:cubicBezTo>
                    <a:pt x="15537" y="14777"/>
                    <a:pt x="15537" y="14569"/>
                    <a:pt x="15698" y="14617"/>
                  </a:cubicBezTo>
                  <a:cubicBezTo>
                    <a:pt x="15849" y="14728"/>
                    <a:pt x="16000" y="14832"/>
                    <a:pt x="16161" y="14832"/>
                  </a:cubicBezTo>
                  <a:cubicBezTo>
                    <a:pt x="16312" y="14832"/>
                    <a:pt x="16695" y="14513"/>
                    <a:pt x="16624" y="14832"/>
                  </a:cubicBezTo>
                  <a:cubicBezTo>
                    <a:pt x="16624" y="15095"/>
                    <a:pt x="16544" y="15095"/>
                    <a:pt x="16926" y="15151"/>
                  </a:cubicBezTo>
                  <a:cubicBezTo>
                    <a:pt x="17077" y="15199"/>
                    <a:pt x="17077" y="15303"/>
                    <a:pt x="17309" y="15303"/>
                  </a:cubicBezTo>
                  <a:cubicBezTo>
                    <a:pt x="17540" y="15303"/>
                    <a:pt x="17540" y="15303"/>
                    <a:pt x="17540" y="15463"/>
                  </a:cubicBezTo>
                  <a:cubicBezTo>
                    <a:pt x="17540" y="15574"/>
                    <a:pt x="17540" y="15782"/>
                    <a:pt x="17309" y="15678"/>
                  </a:cubicBezTo>
                  <a:cubicBezTo>
                    <a:pt x="17077" y="15518"/>
                    <a:pt x="17007" y="15199"/>
                    <a:pt x="16775" y="15518"/>
                  </a:cubicBezTo>
                  <a:cubicBezTo>
                    <a:pt x="16695" y="15678"/>
                    <a:pt x="16544" y="15782"/>
                    <a:pt x="16624" y="15941"/>
                  </a:cubicBezTo>
                  <a:cubicBezTo>
                    <a:pt x="16624" y="16156"/>
                    <a:pt x="16463" y="16523"/>
                    <a:pt x="16161" y="16211"/>
                  </a:cubicBezTo>
                  <a:cubicBezTo>
                    <a:pt x="16081" y="16101"/>
                    <a:pt x="16081" y="15997"/>
                    <a:pt x="15930" y="15941"/>
                  </a:cubicBezTo>
                  <a:cubicBezTo>
                    <a:pt x="15769" y="15893"/>
                    <a:pt x="15618" y="15782"/>
                    <a:pt x="15769" y="15622"/>
                  </a:cubicBezTo>
                  <a:cubicBezTo>
                    <a:pt x="15849" y="15518"/>
                    <a:pt x="15849" y="15518"/>
                    <a:pt x="15849" y="15518"/>
                  </a:cubicBezTo>
                  <a:close/>
                  <a:moveTo>
                    <a:pt x="17923" y="11387"/>
                  </a:moveTo>
                  <a:cubicBezTo>
                    <a:pt x="17772" y="11498"/>
                    <a:pt x="17470" y="11442"/>
                    <a:pt x="17309" y="11338"/>
                  </a:cubicBezTo>
                  <a:cubicBezTo>
                    <a:pt x="17158" y="11179"/>
                    <a:pt x="17470" y="11123"/>
                    <a:pt x="17470" y="11019"/>
                  </a:cubicBezTo>
                  <a:cubicBezTo>
                    <a:pt x="17540" y="10915"/>
                    <a:pt x="17621" y="10756"/>
                    <a:pt x="17691" y="10645"/>
                  </a:cubicBezTo>
                  <a:cubicBezTo>
                    <a:pt x="17852" y="10597"/>
                    <a:pt x="17923" y="10597"/>
                    <a:pt x="18084" y="10493"/>
                  </a:cubicBezTo>
                  <a:cubicBezTo>
                    <a:pt x="18154" y="10437"/>
                    <a:pt x="18235" y="10333"/>
                    <a:pt x="18305" y="10278"/>
                  </a:cubicBezTo>
                  <a:cubicBezTo>
                    <a:pt x="18386" y="10222"/>
                    <a:pt x="18466" y="10278"/>
                    <a:pt x="18537" y="10278"/>
                  </a:cubicBezTo>
                  <a:cubicBezTo>
                    <a:pt x="18698" y="10278"/>
                    <a:pt x="18768" y="10222"/>
                    <a:pt x="18849" y="10222"/>
                  </a:cubicBezTo>
                  <a:cubicBezTo>
                    <a:pt x="19161" y="10174"/>
                    <a:pt x="19231" y="10174"/>
                    <a:pt x="19000" y="10333"/>
                  </a:cubicBezTo>
                  <a:cubicBezTo>
                    <a:pt x="18849" y="10493"/>
                    <a:pt x="18617" y="10645"/>
                    <a:pt x="18466" y="10805"/>
                  </a:cubicBezTo>
                  <a:cubicBezTo>
                    <a:pt x="18305" y="10964"/>
                    <a:pt x="18154" y="11123"/>
                    <a:pt x="18003" y="11283"/>
                  </a:cubicBezTo>
                  <a:lnTo>
                    <a:pt x="17923" y="11387"/>
                  </a:ln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9" name="Shape 2534">
              <a:extLst>
                <a:ext uri="{FF2B5EF4-FFF2-40B4-BE49-F238E27FC236}">
                  <a16:creationId xmlns:a16="http://schemas.microsoft.com/office/drawing/2014/main" id="{92F16F6F-B309-B5EB-30DF-7693401F2792}"/>
                </a:ext>
              </a:extLst>
            </p:cNvPr>
            <p:cNvSpPr/>
            <p:nvPr/>
          </p:nvSpPr>
          <p:spPr>
            <a:xfrm>
              <a:off x="2353086" y="1692592"/>
              <a:ext cx="591282" cy="649892"/>
            </a:xfrm>
            <a:custGeom>
              <a:avLst/>
              <a:gdLst/>
              <a:ahLst/>
              <a:cxnLst>
                <a:cxn ang="0">
                  <a:pos x="wd2" y="hd2"/>
                </a:cxn>
                <a:cxn ang="5400000">
                  <a:pos x="wd2" y="hd2"/>
                </a:cxn>
                <a:cxn ang="10800000">
                  <a:pos x="wd2" y="hd2"/>
                </a:cxn>
                <a:cxn ang="16200000">
                  <a:pos x="wd2" y="hd2"/>
                </a:cxn>
              </a:cxnLst>
              <a:rect l="0" t="0" r="r" b="b"/>
              <a:pathLst>
                <a:path w="21600" h="21375" extrusionOk="0">
                  <a:moveTo>
                    <a:pt x="849" y="21375"/>
                  </a:moveTo>
                  <a:cubicBezTo>
                    <a:pt x="1316" y="21297"/>
                    <a:pt x="1697" y="21042"/>
                    <a:pt x="2165" y="21042"/>
                  </a:cubicBezTo>
                  <a:cubicBezTo>
                    <a:pt x="2251" y="21042"/>
                    <a:pt x="2349" y="21209"/>
                    <a:pt x="2448" y="21209"/>
                  </a:cubicBezTo>
                  <a:cubicBezTo>
                    <a:pt x="3100" y="21120"/>
                    <a:pt x="3567" y="20787"/>
                    <a:pt x="4133" y="20698"/>
                  </a:cubicBezTo>
                  <a:cubicBezTo>
                    <a:pt x="4318" y="20698"/>
                    <a:pt x="4318" y="20953"/>
                    <a:pt x="4514" y="20953"/>
                  </a:cubicBezTo>
                  <a:cubicBezTo>
                    <a:pt x="4982" y="21042"/>
                    <a:pt x="5449" y="20953"/>
                    <a:pt x="5917" y="20865"/>
                  </a:cubicBezTo>
                  <a:cubicBezTo>
                    <a:pt x="6298" y="20787"/>
                    <a:pt x="6667" y="20443"/>
                    <a:pt x="7134" y="20365"/>
                  </a:cubicBezTo>
                  <a:cubicBezTo>
                    <a:pt x="7417" y="20277"/>
                    <a:pt x="7799" y="20443"/>
                    <a:pt x="8082" y="20365"/>
                  </a:cubicBezTo>
                  <a:cubicBezTo>
                    <a:pt x="8364" y="20277"/>
                    <a:pt x="8733" y="20110"/>
                    <a:pt x="8832" y="19855"/>
                  </a:cubicBezTo>
                  <a:cubicBezTo>
                    <a:pt x="9016" y="19434"/>
                    <a:pt x="8647" y="19012"/>
                    <a:pt x="8549" y="18579"/>
                  </a:cubicBezTo>
                  <a:cubicBezTo>
                    <a:pt x="8549" y="18324"/>
                    <a:pt x="8266" y="17991"/>
                    <a:pt x="8463" y="17814"/>
                  </a:cubicBezTo>
                  <a:cubicBezTo>
                    <a:pt x="9016" y="17481"/>
                    <a:pt x="9865" y="17647"/>
                    <a:pt x="10320" y="17137"/>
                  </a:cubicBezTo>
                  <a:cubicBezTo>
                    <a:pt x="10886" y="16638"/>
                    <a:pt x="10505" y="15706"/>
                    <a:pt x="11071" y="15196"/>
                  </a:cubicBezTo>
                  <a:cubicBezTo>
                    <a:pt x="11636" y="14685"/>
                    <a:pt x="12584" y="14597"/>
                    <a:pt x="13334" y="14597"/>
                  </a:cubicBezTo>
                  <a:cubicBezTo>
                    <a:pt x="13801" y="14519"/>
                    <a:pt x="14269" y="15107"/>
                    <a:pt x="14650" y="15018"/>
                  </a:cubicBezTo>
                  <a:cubicBezTo>
                    <a:pt x="15118" y="14940"/>
                    <a:pt x="15302" y="14430"/>
                    <a:pt x="15585" y="14086"/>
                  </a:cubicBezTo>
                  <a:cubicBezTo>
                    <a:pt x="15585" y="14086"/>
                    <a:pt x="15585" y="13332"/>
                    <a:pt x="15585" y="13154"/>
                  </a:cubicBezTo>
                  <a:cubicBezTo>
                    <a:pt x="15585" y="12988"/>
                    <a:pt x="15585" y="11890"/>
                    <a:pt x="15585" y="11890"/>
                  </a:cubicBezTo>
                  <a:cubicBezTo>
                    <a:pt x="15683" y="11634"/>
                    <a:pt x="16052" y="11468"/>
                    <a:pt x="15966" y="11291"/>
                  </a:cubicBezTo>
                  <a:cubicBezTo>
                    <a:pt x="15683" y="10869"/>
                    <a:pt x="14650" y="10869"/>
                    <a:pt x="14650" y="10359"/>
                  </a:cubicBezTo>
                  <a:cubicBezTo>
                    <a:pt x="14552" y="9859"/>
                    <a:pt x="15769" y="9771"/>
                    <a:pt x="15868" y="9260"/>
                  </a:cubicBezTo>
                  <a:cubicBezTo>
                    <a:pt x="15868" y="8928"/>
                    <a:pt x="14835" y="9183"/>
                    <a:pt x="14736" y="8839"/>
                  </a:cubicBezTo>
                  <a:cubicBezTo>
                    <a:pt x="14650" y="8417"/>
                    <a:pt x="15118" y="7985"/>
                    <a:pt x="15487" y="7652"/>
                  </a:cubicBezTo>
                  <a:cubicBezTo>
                    <a:pt x="15769" y="7485"/>
                    <a:pt x="16237" y="7729"/>
                    <a:pt x="16520" y="7563"/>
                  </a:cubicBezTo>
                  <a:cubicBezTo>
                    <a:pt x="16901" y="7308"/>
                    <a:pt x="16901" y="6720"/>
                    <a:pt x="17270" y="6465"/>
                  </a:cubicBezTo>
                  <a:cubicBezTo>
                    <a:pt x="17553" y="6298"/>
                    <a:pt x="17934" y="6132"/>
                    <a:pt x="18217" y="6210"/>
                  </a:cubicBezTo>
                  <a:cubicBezTo>
                    <a:pt x="18586" y="6376"/>
                    <a:pt x="18586" y="6886"/>
                    <a:pt x="18968" y="7053"/>
                  </a:cubicBezTo>
                  <a:cubicBezTo>
                    <a:pt x="19152" y="7141"/>
                    <a:pt x="19152" y="6720"/>
                    <a:pt x="19251" y="6720"/>
                  </a:cubicBezTo>
                  <a:cubicBezTo>
                    <a:pt x="19718" y="6720"/>
                    <a:pt x="20001" y="7230"/>
                    <a:pt x="20370" y="7230"/>
                  </a:cubicBezTo>
                  <a:cubicBezTo>
                    <a:pt x="20751" y="7230"/>
                    <a:pt x="20936" y="6809"/>
                    <a:pt x="21219" y="6631"/>
                  </a:cubicBezTo>
                  <a:cubicBezTo>
                    <a:pt x="21317" y="6553"/>
                    <a:pt x="21600" y="6465"/>
                    <a:pt x="21600" y="6298"/>
                  </a:cubicBezTo>
                  <a:cubicBezTo>
                    <a:pt x="21600" y="6132"/>
                    <a:pt x="21317" y="6043"/>
                    <a:pt x="21120" y="6043"/>
                  </a:cubicBezTo>
                  <a:cubicBezTo>
                    <a:pt x="20936" y="5954"/>
                    <a:pt x="20653" y="6210"/>
                    <a:pt x="20468" y="6132"/>
                  </a:cubicBezTo>
                  <a:cubicBezTo>
                    <a:pt x="20185" y="6043"/>
                    <a:pt x="19816" y="5954"/>
                    <a:pt x="19620" y="5699"/>
                  </a:cubicBezTo>
                  <a:cubicBezTo>
                    <a:pt x="19435" y="5366"/>
                    <a:pt x="19903" y="5022"/>
                    <a:pt x="19718" y="4679"/>
                  </a:cubicBezTo>
                  <a:cubicBezTo>
                    <a:pt x="19435" y="4257"/>
                    <a:pt x="18685" y="4257"/>
                    <a:pt x="18586" y="3835"/>
                  </a:cubicBezTo>
                  <a:cubicBezTo>
                    <a:pt x="18402" y="3247"/>
                    <a:pt x="18968" y="2737"/>
                    <a:pt x="19066" y="2227"/>
                  </a:cubicBezTo>
                  <a:cubicBezTo>
                    <a:pt x="19066" y="1716"/>
                    <a:pt x="18968" y="1805"/>
                    <a:pt x="18869" y="1295"/>
                  </a:cubicBezTo>
                  <a:cubicBezTo>
                    <a:pt x="18217" y="1128"/>
                    <a:pt x="17467" y="785"/>
                    <a:pt x="16901" y="785"/>
                  </a:cubicBezTo>
                  <a:cubicBezTo>
                    <a:pt x="15868" y="1128"/>
                    <a:pt x="15400" y="1128"/>
                    <a:pt x="14453" y="1805"/>
                  </a:cubicBezTo>
                  <a:cubicBezTo>
                    <a:pt x="13703" y="2316"/>
                    <a:pt x="12485" y="1716"/>
                    <a:pt x="11735" y="1461"/>
                  </a:cubicBezTo>
                  <a:cubicBezTo>
                    <a:pt x="10788" y="1206"/>
                    <a:pt x="8266" y="-225"/>
                    <a:pt x="7516" y="30"/>
                  </a:cubicBezTo>
                  <a:cubicBezTo>
                    <a:pt x="6581" y="452"/>
                    <a:pt x="5449" y="785"/>
                    <a:pt x="4514" y="785"/>
                  </a:cubicBezTo>
                  <a:cubicBezTo>
                    <a:pt x="4699" y="1384"/>
                    <a:pt x="4514" y="2138"/>
                    <a:pt x="3567" y="2138"/>
                  </a:cubicBezTo>
                  <a:cubicBezTo>
                    <a:pt x="2534" y="2138"/>
                    <a:pt x="2251" y="1805"/>
                    <a:pt x="2251" y="2826"/>
                  </a:cubicBezTo>
                  <a:cubicBezTo>
                    <a:pt x="2067" y="2826"/>
                    <a:pt x="2067" y="2138"/>
                    <a:pt x="1784" y="2138"/>
                  </a:cubicBezTo>
                  <a:cubicBezTo>
                    <a:pt x="1218" y="2138"/>
                    <a:pt x="750" y="2227"/>
                    <a:pt x="185" y="2482"/>
                  </a:cubicBezTo>
                  <a:cubicBezTo>
                    <a:pt x="185" y="2482"/>
                    <a:pt x="98" y="2571"/>
                    <a:pt x="0" y="2571"/>
                  </a:cubicBezTo>
                  <a:cubicBezTo>
                    <a:pt x="185" y="3247"/>
                    <a:pt x="283" y="3924"/>
                    <a:pt x="566" y="4512"/>
                  </a:cubicBezTo>
                  <a:cubicBezTo>
                    <a:pt x="652" y="4767"/>
                    <a:pt x="1132" y="4934"/>
                    <a:pt x="1218" y="5278"/>
                  </a:cubicBezTo>
                  <a:cubicBezTo>
                    <a:pt x="1316" y="5622"/>
                    <a:pt x="1132" y="6043"/>
                    <a:pt x="1132" y="6376"/>
                  </a:cubicBezTo>
                  <a:cubicBezTo>
                    <a:pt x="1132" y="6553"/>
                    <a:pt x="1415" y="6631"/>
                    <a:pt x="1415" y="6809"/>
                  </a:cubicBezTo>
                  <a:cubicBezTo>
                    <a:pt x="1599" y="7397"/>
                    <a:pt x="1599" y="8073"/>
                    <a:pt x="1599" y="8750"/>
                  </a:cubicBezTo>
                  <a:cubicBezTo>
                    <a:pt x="1599" y="9005"/>
                    <a:pt x="1316" y="9349"/>
                    <a:pt x="1599" y="9604"/>
                  </a:cubicBezTo>
                  <a:cubicBezTo>
                    <a:pt x="1784" y="9859"/>
                    <a:pt x="2349" y="9937"/>
                    <a:pt x="2718" y="9859"/>
                  </a:cubicBezTo>
                  <a:cubicBezTo>
                    <a:pt x="3001" y="9859"/>
                    <a:pt x="2915" y="9349"/>
                    <a:pt x="3198" y="9260"/>
                  </a:cubicBezTo>
                  <a:cubicBezTo>
                    <a:pt x="3666" y="9094"/>
                    <a:pt x="4231" y="9260"/>
                    <a:pt x="4699" y="9183"/>
                  </a:cubicBezTo>
                  <a:cubicBezTo>
                    <a:pt x="4982" y="9094"/>
                    <a:pt x="5080" y="8750"/>
                    <a:pt x="5351" y="8839"/>
                  </a:cubicBezTo>
                  <a:cubicBezTo>
                    <a:pt x="5634" y="8928"/>
                    <a:pt x="5732" y="9427"/>
                    <a:pt x="6015" y="9682"/>
                  </a:cubicBezTo>
                  <a:cubicBezTo>
                    <a:pt x="6298" y="9859"/>
                    <a:pt x="6765" y="9771"/>
                    <a:pt x="6950" y="10026"/>
                  </a:cubicBezTo>
                  <a:cubicBezTo>
                    <a:pt x="7331" y="10447"/>
                    <a:pt x="7614" y="10869"/>
                    <a:pt x="7516" y="11379"/>
                  </a:cubicBezTo>
                  <a:cubicBezTo>
                    <a:pt x="7417" y="11978"/>
                    <a:pt x="6765" y="12400"/>
                    <a:pt x="6384" y="12910"/>
                  </a:cubicBezTo>
                  <a:cubicBezTo>
                    <a:pt x="6101" y="13332"/>
                    <a:pt x="5548" y="13587"/>
                    <a:pt x="5548" y="14009"/>
                  </a:cubicBezTo>
                  <a:cubicBezTo>
                    <a:pt x="5548" y="14341"/>
                    <a:pt x="6298" y="14175"/>
                    <a:pt x="6384" y="14430"/>
                  </a:cubicBezTo>
                  <a:cubicBezTo>
                    <a:pt x="6581" y="14940"/>
                    <a:pt x="6101" y="15528"/>
                    <a:pt x="6200" y="15961"/>
                  </a:cubicBezTo>
                  <a:cubicBezTo>
                    <a:pt x="6298" y="16205"/>
                    <a:pt x="6765" y="16039"/>
                    <a:pt x="6765" y="16205"/>
                  </a:cubicBezTo>
                  <a:cubicBezTo>
                    <a:pt x="6851" y="16549"/>
                    <a:pt x="6667" y="16882"/>
                    <a:pt x="6581" y="17226"/>
                  </a:cubicBezTo>
                  <a:cubicBezTo>
                    <a:pt x="6482" y="17481"/>
                    <a:pt x="6581" y="17903"/>
                    <a:pt x="6298" y="18069"/>
                  </a:cubicBezTo>
                  <a:cubicBezTo>
                    <a:pt x="5917" y="18324"/>
                    <a:pt x="5265" y="17991"/>
                    <a:pt x="4797" y="18324"/>
                  </a:cubicBezTo>
                  <a:cubicBezTo>
                    <a:pt x="4514" y="18502"/>
                    <a:pt x="4699" y="18923"/>
                    <a:pt x="4514" y="19178"/>
                  </a:cubicBezTo>
                  <a:cubicBezTo>
                    <a:pt x="4133" y="19511"/>
                    <a:pt x="3752" y="19766"/>
                    <a:pt x="3383" y="19855"/>
                  </a:cubicBezTo>
                  <a:cubicBezTo>
                    <a:pt x="3001" y="20022"/>
                    <a:pt x="2632" y="19766"/>
                    <a:pt x="2349" y="19933"/>
                  </a:cubicBezTo>
                  <a:cubicBezTo>
                    <a:pt x="1784" y="20277"/>
                    <a:pt x="1316" y="20865"/>
                    <a:pt x="849" y="2137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grpSp>
      <p:sp>
        <p:nvSpPr>
          <p:cNvPr id="2" name="Inhaltsplatzhalter 18">
            <a:extLst>
              <a:ext uri="{FF2B5EF4-FFF2-40B4-BE49-F238E27FC236}">
                <a16:creationId xmlns:a16="http://schemas.microsoft.com/office/drawing/2014/main" id="{51A26B76-1AD2-2142-DE01-93F1B66AD7EE}"/>
              </a:ext>
            </a:extLst>
          </p:cNvPr>
          <p:cNvSpPr>
            <a:spLocks noGrp="1"/>
          </p:cNvSpPr>
          <p:nvPr>
            <p:ph sz="quarter" idx="20"/>
          </p:nvPr>
        </p:nvSpPr>
        <p:spPr>
          <a:xfrm>
            <a:off x="442914" y="4783873"/>
            <a:ext cx="3833416" cy="1450802"/>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Inhaltsplatzhalter 18">
            <a:extLst>
              <a:ext uri="{FF2B5EF4-FFF2-40B4-BE49-F238E27FC236}">
                <a16:creationId xmlns:a16="http://schemas.microsoft.com/office/drawing/2014/main" id="{C56CECE4-CE2F-3167-0108-352E45DF12D0}"/>
              </a:ext>
            </a:extLst>
          </p:cNvPr>
          <p:cNvSpPr>
            <a:spLocks noGrp="1"/>
          </p:cNvSpPr>
          <p:nvPr>
            <p:ph sz="quarter" idx="21"/>
          </p:nvPr>
        </p:nvSpPr>
        <p:spPr>
          <a:xfrm>
            <a:off x="442914" y="2855292"/>
            <a:ext cx="3833416" cy="1450802"/>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c 6">
            <a:extLst>
              <a:ext uri="{FF2B5EF4-FFF2-40B4-BE49-F238E27FC236}">
                <a16:creationId xmlns:a16="http://schemas.microsoft.com/office/drawing/2014/main" id="{1A837C0E-0C24-972F-32A8-F0C80B50739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464095" y="443997"/>
            <a:ext cx="254097" cy="271037"/>
          </a:xfrm>
          <a:prstGeom prst="rect">
            <a:avLst/>
          </a:prstGeom>
        </p:spPr>
      </p:pic>
    </p:spTree>
    <p:extLst>
      <p:ext uri="{BB962C8B-B14F-4D97-AF65-F5344CB8AC3E}">
        <p14:creationId xmlns:p14="http://schemas.microsoft.com/office/powerpoint/2010/main" val="255568524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Gradi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07567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2949ED1-7952-3608-1226-8A9537C3BE7F}"/>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86962691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1813ECB-4509-986B-BDCB-B745CE83708D}"/>
              </a:ext>
            </a:extLst>
          </p:cNvPr>
          <p:cNvPicPr>
            <a:picLocks noChangeAspect="1"/>
          </p:cNvPicPr>
          <p:nvPr userDrawn="1"/>
        </p:nvPicPr>
        <p:blipFill>
          <a:blip r:embed="rId3"/>
          <a:srcRect l="53" t="3908" r="13" b="3908"/>
          <a:stretch/>
        </p:blipFill>
        <p:spPr>
          <a:xfrm>
            <a:off x="-24619" y="-24618"/>
            <a:ext cx="12246251" cy="6907235"/>
          </a:xfrm>
          <a:prstGeom prst="rect">
            <a:avLst/>
          </a:prstGeom>
        </p:spPr>
      </p:pic>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34BF5050-E0A8-0B34-DF10-899B374AC820}"/>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052734" y="5982098"/>
            <a:ext cx="1520085" cy="322052"/>
          </a:xfrm>
          <a:prstGeom prst="rect">
            <a:avLst/>
          </a:prstGeom>
        </p:spPr>
      </p:pic>
      <p:sp>
        <p:nvSpPr>
          <p:cNvPr id="2" name="TextBox 1">
            <a:extLst>
              <a:ext uri="{FF2B5EF4-FFF2-40B4-BE49-F238E27FC236}">
                <a16:creationId xmlns:a16="http://schemas.microsoft.com/office/drawing/2014/main" id="{8382C324-9915-A8FC-D142-CB2782C9F2F8}"/>
              </a:ext>
            </a:extLst>
          </p:cNvPr>
          <p:cNvSpPr txBox="1"/>
          <p:nvPr userDrawn="1"/>
        </p:nvSpPr>
        <p:spPr>
          <a:xfrm>
            <a:off x="349845" y="612844"/>
            <a:ext cx="4160236" cy="5632311"/>
          </a:xfrm>
          <a:prstGeom prst="rect">
            <a:avLst/>
          </a:prstGeom>
          <a:noFill/>
        </p:spPr>
        <p:txBody>
          <a:bodyPr wrap="square" rtlCol="0" anchor="ctr">
            <a:spAutoFit/>
          </a:bodyPr>
          <a:lstStyle/>
          <a:p>
            <a:pPr>
              <a:lnSpc>
                <a:spcPct val="100000"/>
              </a:lnSpc>
            </a:pPr>
            <a:r>
              <a:rPr lang="en-US" sz="3600" b="1">
                <a:solidFill>
                  <a:schemeClr val="tx1"/>
                </a:solidFill>
                <a:latin typeface="Aleo" pitchFamily="2" charset="77"/>
              </a:rPr>
              <a:t>Thank You</a:t>
            </a:r>
          </a:p>
          <a:p>
            <a:pPr rtl="1">
              <a:lnSpc>
                <a:spcPct val="100000"/>
              </a:lnSpc>
            </a:pPr>
            <a:r>
              <a:rPr lang="ar-AE" sz="3600" b="1">
                <a:solidFill>
                  <a:schemeClr val="tx1"/>
                </a:solidFill>
                <a:latin typeface="Aleo" pitchFamily="2" charset="77"/>
              </a:rPr>
              <a:t>شكرا</a:t>
            </a:r>
          </a:p>
          <a:p>
            <a:pPr>
              <a:lnSpc>
                <a:spcPct val="100000"/>
              </a:lnSpc>
            </a:pPr>
            <a:r>
              <a:rPr lang="en-US" sz="3600" b="1" i="1" u="none" strike="noStrike">
                <a:solidFill>
                  <a:schemeClr val="tx1"/>
                </a:solidFill>
                <a:effectLst/>
                <a:latin typeface="Aleo" pitchFamily="2" charset="77"/>
              </a:rPr>
              <a:t>Merci</a:t>
            </a:r>
            <a:endParaRPr lang="en-US" sz="3600" b="1">
              <a:solidFill>
                <a:schemeClr val="tx1"/>
              </a:solidFill>
              <a:latin typeface="Aleo" pitchFamily="2" charset="77"/>
            </a:endParaRPr>
          </a:p>
          <a:p>
            <a:pPr>
              <a:lnSpc>
                <a:spcPct val="100000"/>
              </a:lnSpc>
            </a:pPr>
            <a:r>
              <a:rPr lang="en-US" sz="3600" b="1">
                <a:solidFill>
                  <a:schemeClr val="tx1"/>
                </a:solidFill>
                <a:latin typeface="Aleo" pitchFamily="2" charset="77"/>
              </a:rPr>
              <a:t>Gracias</a:t>
            </a:r>
          </a:p>
          <a:p>
            <a:pPr>
              <a:lnSpc>
                <a:spcPct val="100000"/>
              </a:lnSpc>
            </a:pPr>
            <a:r>
              <a:rPr lang="ko-KR" altLang="en-US" sz="3600" b="1">
                <a:solidFill>
                  <a:schemeClr val="tx1"/>
                </a:solidFill>
                <a:latin typeface="Aleo" pitchFamily="2" charset="77"/>
              </a:rPr>
              <a:t>고맙습니다</a:t>
            </a:r>
          </a:p>
          <a:p>
            <a:pPr>
              <a:lnSpc>
                <a:spcPct val="100000"/>
              </a:lnSpc>
            </a:pPr>
            <a:r>
              <a:rPr lang="az-Cyrl-AZ" sz="3600" b="1">
                <a:solidFill>
                  <a:schemeClr val="tx1"/>
                </a:solidFill>
                <a:latin typeface="+mj-lt"/>
              </a:rPr>
              <a:t>Спасибо</a:t>
            </a:r>
            <a:endParaRPr lang="en-US" sz="3600" b="1">
              <a:solidFill>
                <a:schemeClr val="tx1"/>
              </a:solidFill>
              <a:latin typeface="Aleo" pitchFamily="2" charset="77"/>
            </a:endParaRPr>
          </a:p>
          <a:p>
            <a:pPr>
              <a:lnSpc>
                <a:spcPct val="100000"/>
              </a:lnSpc>
            </a:pPr>
            <a:r>
              <a:rPr lang="en-US" altLang="ko-KR" sz="3600" b="1">
                <a:solidFill>
                  <a:schemeClr val="tx1"/>
                </a:solidFill>
                <a:latin typeface="Aleo" pitchFamily="2" charset="77"/>
              </a:rPr>
              <a:t>Danke</a:t>
            </a:r>
            <a:endParaRPr lang="ko-KR" altLang="en-US" sz="3600" b="1">
              <a:solidFill>
                <a:schemeClr val="tx1"/>
              </a:solidFill>
              <a:latin typeface="Aleo" pitchFamily="2" charset="77"/>
            </a:endParaRPr>
          </a:p>
          <a:p>
            <a:pPr>
              <a:lnSpc>
                <a:spcPct val="100000"/>
              </a:lnSpc>
            </a:pPr>
            <a:r>
              <a:rPr lang="en-US" sz="3600" b="1" err="1">
                <a:solidFill>
                  <a:schemeClr val="tx1"/>
                </a:solidFill>
                <a:latin typeface="Aleo" pitchFamily="2" charset="77"/>
              </a:rPr>
              <a:t>Terima</a:t>
            </a:r>
            <a:r>
              <a:rPr lang="en-US" sz="3600" b="1">
                <a:solidFill>
                  <a:schemeClr val="tx1"/>
                </a:solidFill>
                <a:latin typeface="Aleo" pitchFamily="2" charset="77"/>
              </a:rPr>
              <a:t> Kasih</a:t>
            </a:r>
          </a:p>
          <a:p>
            <a:pPr>
              <a:lnSpc>
                <a:spcPct val="100000"/>
              </a:lnSpc>
            </a:pPr>
            <a:r>
              <a:rPr lang="hi-IN" sz="3600" b="1">
                <a:solidFill>
                  <a:schemeClr val="tx1"/>
                </a:solidFill>
                <a:latin typeface="Aleo" pitchFamily="2" charset="77"/>
              </a:rPr>
              <a:t>धन्यवाद</a:t>
            </a:r>
            <a:endParaRPr lang="en-US" sz="3600" b="1">
              <a:solidFill>
                <a:schemeClr val="tx1"/>
              </a:solidFill>
              <a:latin typeface="Aleo" pitchFamily="2" charset="77"/>
            </a:endParaRPr>
          </a:p>
          <a:p>
            <a:pPr>
              <a:lnSpc>
                <a:spcPct val="100000"/>
              </a:lnSpc>
            </a:pPr>
            <a:r>
              <a:rPr lang="en-US" sz="3600" b="1" i="1" u="none" strike="noStrike">
                <a:solidFill>
                  <a:schemeClr val="tx1"/>
                </a:solidFill>
                <a:effectLst/>
                <a:latin typeface="Aleo" pitchFamily="2" charset="77"/>
              </a:rPr>
              <a:t>Grazie</a:t>
            </a:r>
            <a:endParaRPr lang="hi-IN" sz="3600" b="1">
              <a:solidFill>
                <a:schemeClr val="tx1"/>
              </a:solidFill>
              <a:latin typeface="Aleo" pitchFamily="2" charset="77"/>
            </a:endParaRPr>
          </a:p>
        </p:txBody>
      </p:sp>
      <p:sp>
        <p:nvSpPr>
          <p:cNvPr id="6" name="TextBox 5">
            <a:extLst>
              <a:ext uri="{FF2B5EF4-FFF2-40B4-BE49-F238E27FC236}">
                <a16:creationId xmlns:a16="http://schemas.microsoft.com/office/drawing/2014/main" id="{0D23F914-BB2B-442B-1321-B39F801B531B}"/>
              </a:ext>
            </a:extLst>
          </p:cNvPr>
          <p:cNvSpPr txBox="1"/>
          <p:nvPr userDrawn="1"/>
        </p:nvSpPr>
        <p:spPr>
          <a:xfrm>
            <a:off x="9952661" y="6390322"/>
            <a:ext cx="1889494" cy="215444"/>
          </a:xfrm>
          <a:prstGeom prst="rect">
            <a:avLst/>
          </a:prstGeom>
          <a:noFill/>
        </p:spPr>
        <p:txBody>
          <a:bodyPr wrap="square">
            <a:spAutoFit/>
          </a:bodyPr>
          <a:lstStyle/>
          <a:p>
            <a:r>
              <a:rPr lang="en-US" sz="800">
                <a:solidFill>
                  <a:schemeClr val="tx1"/>
                </a:solidFill>
              </a:rPr>
              <a:t>©2025 Ontinue All Rights Reserved.</a:t>
            </a:r>
          </a:p>
        </p:txBody>
      </p:sp>
    </p:spTree>
    <p:extLst>
      <p:ext uri="{BB962C8B-B14F-4D97-AF65-F5344CB8AC3E}">
        <p14:creationId xmlns:p14="http://schemas.microsoft.com/office/powerpoint/2010/main" val="182004881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2_Title1,Subtitle1_dark-uni">
    <p:bg>
      <p:bgPr>
        <a:solidFill>
          <a:schemeClr val="tx2"/>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7E5A1593-7BAE-A545-B5B0-2CA48881A619}"/>
              </a:ext>
            </a:extLst>
          </p:cNvPr>
          <p:cNvSpPr>
            <a:spLocks noGrp="1"/>
          </p:cNvSpPr>
          <p:nvPr>
            <p:ph type="title" hasCustomPrompt="1"/>
          </p:nvPr>
        </p:nvSpPr>
        <p:spPr>
          <a:xfrm>
            <a:off x="404246" y="310696"/>
            <a:ext cx="11482953" cy="600075"/>
          </a:xfrm>
        </p:spPr>
        <p:txBody>
          <a:bodyPr>
            <a:noAutofit/>
          </a:bodyPr>
          <a:lstStyle>
            <a:lvl1pPr>
              <a:defRPr sz="4400">
                <a:solidFill>
                  <a:schemeClr val="bg1"/>
                </a:solidFill>
              </a:defRPr>
            </a:lvl1pPr>
          </a:lstStyle>
          <a:p>
            <a:r>
              <a:rPr lang="en-US"/>
              <a:t>Title DM Sans 44pt</a:t>
            </a:r>
          </a:p>
        </p:txBody>
      </p:sp>
      <p:sp>
        <p:nvSpPr>
          <p:cNvPr id="14" name="Text Placeholder 3">
            <a:extLst>
              <a:ext uri="{FF2B5EF4-FFF2-40B4-BE49-F238E27FC236}">
                <a16:creationId xmlns:a16="http://schemas.microsoft.com/office/drawing/2014/main" id="{F3A5DF26-ED7A-BDBC-E13D-06C4B42B3AA3}"/>
              </a:ext>
            </a:extLst>
          </p:cNvPr>
          <p:cNvSpPr>
            <a:spLocks noGrp="1"/>
          </p:cNvSpPr>
          <p:nvPr>
            <p:ph type="body" sz="quarter" idx="10" hasCustomPrompt="1"/>
          </p:nvPr>
        </p:nvSpPr>
        <p:spPr>
          <a:xfrm>
            <a:off x="404245" y="922346"/>
            <a:ext cx="11482953" cy="405385"/>
          </a:xfrm>
        </p:spPr>
        <p:txBody>
          <a:bodyPr>
            <a:noAutofit/>
          </a:bodyPr>
          <a:lstStyle>
            <a:lvl1pPr marL="0" indent="0">
              <a:buNone/>
              <a:defRPr sz="2000">
                <a:solidFill>
                  <a:schemeClr val="accent4"/>
                </a:solidFill>
              </a:defRPr>
            </a:lvl1pPr>
          </a:lstStyle>
          <a:p>
            <a:pPr lvl="0"/>
            <a:r>
              <a:rPr lang="en-US"/>
              <a:t>Subtitle DM Sans 20pt</a:t>
            </a:r>
          </a:p>
        </p:txBody>
      </p:sp>
    </p:spTree>
    <p:extLst>
      <p:ext uri="{BB962C8B-B14F-4D97-AF65-F5344CB8AC3E}">
        <p14:creationId xmlns:p14="http://schemas.microsoft.com/office/powerpoint/2010/main" val="32136623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12">
          <p15:clr>
            <a:srgbClr val="FBAE40"/>
          </p15:clr>
        </p15:guide>
        <p15:guide id="4" pos="7416">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3_Title1_ubar">
    <p:bg>
      <p:bgRef idx="1001">
        <a:schemeClr val="bg1"/>
      </p:bgRef>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B35E6321-AE71-9261-7456-04A352D107C9}"/>
              </a:ext>
            </a:extLst>
          </p:cNvPr>
          <p:cNvSpPr txBox="1"/>
          <p:nvPr userDrawn="1"/>
        </p:nvSpPr>
        <p:spPr>
          <a:xfrm>
            <a:off x="404246" y="6476118"/>
            <a:ext cx="6172200" cy="230832"/>
          </a:xfrm>
          <a:prstGeom prst="rect">
            <a:avLst/>
          </a:prstGeom>
          <a:noFill/>
        </p:spPr>
        <p:txBody>
          <a:bodyPr wrap="square">
            <a:spAutoFit/>
          </a:bodyPr>
          <a:lstStyle/>
          <a:p>
            <a:r>
              <a:rPr lang="en-US" sz="900">
                <a:solidFill>
                  <a:srgbClr val="D0D0D9"/>
                </a:solidFill>
                <a:latin typeface="DM Sans" pitchFamily="2" charset="77"/>
              </a:rPr>
              <a:t>© Ontinue 2024 </a:t>
            </a:r>
            <a:endParaRPr lang="en-US" sz="900">
              <a:solidFill>
                <a:srgbClr val="D0D0D9"/>
              </a:solidFill>
            </a:endParaRPr>
          </a:p>
        </p:txBody>
      </p:sp>
      <p:sp>
        <p:nvSpPr>
          <p:cNvPr id="13" name="Title 1">
            <a:extLst>
              <a:ext uri="{FF2B5EF4-FFF2-40B4-BE49-F238E27FC236}">
                <a16:creationId xmlns:a16="http://schemas.microsoft.com/office/drawing/2014/main" id="{7E5A1593-7BAE-A545-B5B0-2CA48881A619}"/>
              </a:ext>
            </a:extLst>
          </p:cNvPr>
          <p:cNvSpPr>
            <a:spLocks noGrp="1"/>
          </p:cNvSpPr>
          <p:nvPr>
            <p:ph type="title" hasCustomPrompt="1"/>
          </p:nvPr>
        </p:nvSpPr>
        <p:spPr>
          <a:xfrm>
            <a:off x="404246" y="310696"/>
            <a:ext cx="11482953" cy="1188495"/>
          </a:xfrm>
        </p:spPr>
        <p:txBody>
          <a:bodyPr>
            <a:noAutofit/>
          </a:bodyPr>
          <a:lstStyle>
            <a:lvl1pPr>
              <a:defRPr sz="4400">
                <a:solidFill>
                  <a:schemeClr val="accent1"/>
                </a:solidFill>
              </a:defRPr>
            </a:lvl1pPr>
          </a:lstStyle>
          <a:p>
            <a:r>
              <a:rPr lang="en-US"/>
              <a:t>Title DM Sans 44pt</a:t>
            </a:r>
          </a:p>
        </p:txBody>
      </p:sp>
      <p:pic>
        <p:nvPicPr>
          <p:cNvPr id="2" name="Picture 1">
            <a:extLst>
              <a:ext uri="{FF2B5EF4-FFF2-40B4-BE49-F238E27FC236}">
                <a16:creationId xmlns:a16="http://schemas.microsoft.com/office/drawing/2014/main" id="{FD5D025D-BA74-77F8-6544-7A0C3FEDF835}"/>
              </a:ext>
            </a:extLst>
          </p:cNvPr>
          <p:cNvPicPr>
            <a:picLocks noChangeAspect="1"/>
          </p:cNvPicPr>
          <p:nvPr userDrawn="1"/>
        </p:nvPicPr>
        <p:blipFill rotWithShape="1">
          <a:blip r:embed="rId2">
            <a:extLst>
              <a:ext uri="{28A0092B-C50C-407E-A947-70E740481C1C}">
                <a14:useLocalDpi xmlns:a14="http://schemas.microsoft.com/office/drawing/2010/main"/>
              </a:ext>
            </a:extLst>
          </a:blip>
          <a:srcRect t="25150" b="-1"/>
          <a:stretch/>
        </p:blipFill>
        <p:spPr>
          <a:xfrm rot="10800000">
            <a:off x="0" y="6720630"/>
            <a:ext cx="12204000" cy="137370"/>
          </a:xfrm>
          <a:prstGeom prst="rect">
            <a:avLst/>
          </a:prstGeom>
        </p:spPr>
      </p:pic>
    </p:spTree>
    <p:extLst>
      <p:ext uri="{BB962C8B-B14F-4D97-AF65-F5344CB8AC3E}">
        <p14:creationId xmlns:p14="http://schemas.microsoft.com/office/powerpoint/2010/main" val="30014179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12">
          <p15:clr>
            <a:srgbClr val="FBAE40"/>
          </p15:clr>
        </p15:guide>
        <p15:guide id="4" pos="7416">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mp; Graph">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633F665D-825C-8A8C-495F-C2FD731B2BE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464095" y="316792"/>
            <a:ext cx="254097" cy="271037"/>
          </a:xfrm>
          <a:prstGeom prst="rect">
            <a:avLst/>
          </a:prstGeom>
        </p:spPr>
      </p:pic>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534171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8DA875AB-FE08-559D-63EC-256E8439C1D2}"/>
              </a:ext>
            </a:extLst>
          </p:cNvPr>
          <p:cNvSpPr>
            <a:spLocks noGrp="1"/>
          </p:cNvSpPr>
          <p:nvPr>
            <p:ph type="title" hasCustomPrompt="1"/>
          </p:nvPr>
        </p:nvSpPr>
        <p:spPr>
          <a:xfrm>
            <a:off x="442912" y="381255"/>
            <a:ext cx="11306175" cy="505844"/>
          </a:xfrm>
        </p:spPr>
        <p:txBody>
          <a:bodyPr vert="horz"/>
          <a:lstStyle>
            <a:lvl1pPr algn="l" rtl="0">
              <a:defRPr b="1" i="0">
                <a:solidFill>
                  <a:schemeClr val="tx1"/>
                </a:solidFill>
                <a:latin typeface="Aleo SemiBold" pitchFamily="2" charset="77"/>
              </a:defRPr>
            </a:lvl1pPr>
          </a:lstStyle>
          <a:p>
            <a:r>
              <a:rPr lang="en-US"/>
              <a:t>Headline copy goes here</a:t>
            </a:r>
          </a:p>
        </p:txBody>
      </p:sp>
      <p:sp>
        <p:nvSpPr>
          <p:cNvPr id="19" name="Inhaltsplatzhalter 18">
            <a:extLst>
              <a:ext uri="{FF2B5EF4-FFF2-40B4-BE49-F238E27FC236}">
                <a16:creationId xmlns:a16="http://schemas.microsoft.com/office/drawing/2014/main" id="{56C48648-6A97-4CD6-B92B-EA61B28C5DBF}"/>
              </a:ext>
            </a:extLst>
          </p:cNvPr>
          <p:cNvSpPr>
            <a:spLocks noGrp="1"/>
          </p:cNvSpPr>
          <p:nvPr>
            <p:ph sz="quarter" idx="12"/>
          </p:nvPr>
        </p:nvSpPr>
        <p:spPr>
          <a:xfrm>
            <a:off x="442913" y="1377108"/>
            <a:ext cx="11306175" cy="4931617"/>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Inhaltsplatzhalter 18">
            <a:extLst>
              <a:ext uri="{FF2B5EF4-FFF2-40B4-BE49-F238E27FC236}">
                <a16:creationId xmlns:a16="http://schemas.microsoft.com/office/drawing/2014/main" id="{985718E2-A599-E6EB-5F2F-6D9B6153B9B6}"/>
              </a:ext>
            </a:extLst>
          </p:cNvPr>
          <p:cNvSpPr>
            <a:spLocks noGrp="1"/>
          </p:cNvSpPr>
          <p:nvPr>
            <p:ph sz="quarter" idx="13" hasCustomPrompt="1"/>
          </p:nvPr>
        </p:nvSpPr>
        <p:spPr>
          <a:xfrm>
            <a:off x="442913" y="900768"/>
            <a:ext cx="10752614" cy="246221"/>
          </a:xfrm>
        </p:spPr>
        <p:txBody>
          <a:bodyPr wrap="square">
            <a:spAutoFit/>
          </a:bodyPr>
          <a:lstStyle>
            <a:lvl1pP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2" name="Slide Number Placeholder 2">
            <a:extLst>
              <a:ext uri="{FF2B5EF4-FFF2-40B4-BE49-F238E27FC236}">
                <a16:creationId xmlns:a16="http://schemas.microsoft.com/office/drawing/2014/main" id="{EFA30176-F619-858B-7148-52EC9CC2F142}"/>
              </a:ext>
            </a:extLst>
          </p:cNvPr>
          <p:cNvSpPr txBox="1">
            <a:spLocks/>
          </p:cNvSpPr>
          <p:nvPr userDrawn="1"/>
        </p:nvSpPr>
        <p:spPr>
          <a:xfrm rot="16200000">
            <a:off x="10807781" y="5388280"/>
            <a:ext cx="2445724" cy="123111"/>
          </a:xfrm>
          <a:prstGeom prst="rect">
            <a:avLst/>
          </a:prstGeom>
        </p:spPr>
        <p:txBody>
          <a:bodyPr vert="horz" wrap="square" lIns="0" tIns="0" rIns="0" bIns="0" rtlCol="0" anchor="ctr">
            <a:spAutoFit/>
          </a:bodyPr>
          <a:lstStyle>
            <a:defPPr>
              <a:defRPr lang="en-US"/>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lumMod val="50000"/>
                    <a:lumOff val="50000"/>
                  </a:srgbClr>
                </a:solidFill>
                <a:effectLst/>
                <a:uLnTx/>
                <a:uFillTx/>
                <a:latin typeface="DM Sans" pitchFamily="2" charset="77"/>
              </a:rPr>
              <a:t>Ontinue Confidential. Shared under NDA only.</a:t>
            </a:r>
          </a:p>
        </p:txBody>
      </p:sp>
    </p:spTree>
    <p:extLst>
      <p:ext uri="{BB962C8B-B14F-4D97-AF65-F5344CB8AC3E}">
        <p14:creationId xmlns:p14="http://schemas.microsoft.com/office/powerpoint/2010/main" val="259961423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ivider Slide with large im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BD3A144-674E-4BAE-D164-71E66F585512}"/>
              </a:ext>
            </a:extLst>
          </p:cNvPr>
          <p:cNvGraphicFramePr>
            <a:graphicFrameLocks noChangeAspect="1"/>
          </p:cNvGraphicFramePr>
          <p:nvPr userDrawn="1">
            <p:custDataLst>
              <p:tags r:id="rId1"/>
            </p:custDataLst>
            <p:extLst>
              <p:ext uri="{D42A27DB-BD31-4B8C-83A1-F6EECF244321}">
                <p14:modId xmlns:p14="http://schemas.microsoft.com/office/powerpoint/2010/main" val="31077765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4BD3A144-674E-4BAE-D164-71E66F58551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95597A78-51F0-D65B-523A-0C318E41854D}"/>
              </a:ext>
            </a:extLst>
          </p:cNvPr>
          <p:cNvSpPr>
            <a:spLocks noGrp="1"/>
          </p:cNvSpPr>
          <p:nvPr>
            <p:ph type="pic" sz="quarter" idx="14"/>
          </p:nvPr>
        </p:nvSpPr>
        <p:spPr>
          <a:xfrm>
            <a:off x="0" y="0"/>
            <a:ext cx="12192000" cy="4939989"/>
          </a:xfrm>
        </p:spPr>
        <p:txBody>
          <a:bodyPr/>
          <a:lstStyle/>
          <a:p>
            <a:endParaRPr lang="en-US"/>
          </a:p>
        </p:txBody>
      </p:sp>
      <p:sp>
        <p:nvSpPr>
          <p:cNvPr id="6" name="Titel 9">
            <a:extLst>
              <a:ext uri="{FF2B5EF4-FFF2-40B4-BE49-F238E27FC236}">
                <a16:creationId xmlns:a16="http://schemas.microsoft.com/office/drawing/2014/main" id="{FC08ABD5-6ED5-D4AE-CBE5-14CE7E2F0C04}"/>
              </a:ext>
            </a:extLst>
          </p:cNvPr>
          <p:cNvSpPr>
            <a:spLocks noGrp="1"/>
          </p:cNvSpPr>
          <p:nvPr>
            <p:ph type="title" hasCustomPrompt="1"/>
          </p:nvPr>
        </p:nvSpPr>
        <p:spPr>
          <a:xfrm>
            <a:off x="442912" y="5778551"/>
            <a:ext cx="11336338" cy="595163"/>
          </a:xfrm>
        </p:spPr>
        <p:txBody>
          <a:bodyPr vert="horz"/>
          <a:lstStyle>
            <a:lvl1pPr rtl="0">
              <a:defRPr sz="4200" b="1" i="0">
                <a:solidFill>
                  <a:schemeClr val="tx2"/>
                </a:solidFill>
                <a:latin typeface="Aleo SemiBold" pitchFamily="2" charset="77"/>
              </a:defRPr>
            </a:lvl1pPr>
          </a:lstStyle>
          <a:p>
            <a:r>
              <a:rPr lang="en-US"/>
              <a:t>This is a Custom Divider Slide</a:t>
            </a:r>
          </a:p>
        </p:txBody>
      </p:sp>
      <p:sp>
        <p:nvSpPr>
          <p:cNvPr id="7" name="Inhaltsplatzhalter 18">
            <a:extLst>
              <a:ext uri="{FF2B5EF4-FFF2-40B4-BE49-F238E27FC236}">
                <a16:creationId xmlns:a16="http://schemas.microsoft.com/office/drawing/2014/main" id="{84D26D4B-53A9-A16C-368A-C2D36A8FC8CC}"/>
              </a:ext>
            </a:extLst>
          </p:cNvPr>
          <p:cNvSpPr>
            <a:spLocks noGrp="1"/>
          </p:cNvSpPr>
          <p:nvPr>
            <p:ph sz="quarter" idx="13" hasCustomPrompt="1"/>
          </p:nvPr>
        </p:nvSpPr>
        <p:spPr>
          <a:xfrm>
            <a:off x="442912" y="5418813"/>
            <a:ext cx="11336337" cy="215444"/>
          </a:xfrm>
        </p:spPr>
        <p:txBody>
          <a:bodyPr wrap="square">
            <a:spAutoFit/>
          </a:bodyPr>
          <a:lstStyle>
            <a:lvl1pPr rtl="0">
              <a:defRPr sz="14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a:t>SECTION TITLE GOES HERE</a:t>
            </a:r>
          </a:p>
        </p:txBody>
      </p:sp>
      <p:sp>
        <p:nvSpPr>
          <p:cNvPr id="12" name="Rectangle 11">
            <a:extLst>
              <a:ext uri="{FF2B5EF4-FFF2-40B4-BE49-F238E27FC236}">
                <a16:creationId xmlns:a16="http://schemas.microsoft.com/office/drawing/2014/main" id="{C440567A-A067-E987-95B6-1DBB038A6B94}"/>
              </a:ext>
            </a:extLst>
          </p:cNvPr>
          <p:cNvSpPr/>
          <p:nvPr userDrawn="1"/>
        </p:nvSpPr>
        <p:spPr>
          <a:xfrm rot="16200000">
            <a:off x="6029091" y="-1089104"/>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13342834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BE358D3-A9F5-6052-69BC-8F736AA46DCA}"/>
              </a:ext>
            </a:extLst>
          </p:cNvPr>
          <p:cNvPicPr>
            <a:picLocks noChangeAspect="1"/>
          </p:cNvPicPr>
          <p:nvPr userDrawn="1"/>
        </p:nvPicPr>
        <p:blipFill>
          <a:blip r:embed="rId3"/>
          <a:srcRect t="4237" b="4237"/>
          <a:stretch/>
        </p:blipFill>
        <p:spPr>
          <a:xfrm>
            <a:off x="0" y="-1"/>
            <a:ext cx="12192000" cy="6858001"/>
          </a:xfrm>
          <a:prstGeom prst="rect">
            <a:avLst/>
          </a:prstGeom>
        </p:spPr>
      </p:pic>
      <p:graphicFrame>
        <p:nvGraphicFramePr>
          <p:cNvPr id="7" name="think-cell data - do not delete" hidden="1">
            <a:extLst>
              <a:ext uri="{FF2B5EF4-FFF2-40B4-BE49-F238E27FC236}">
                <a16:creationId xmlns:a16="http://schemas.microsoft.com/office/drawing/2014/main" id="{ADA7A44B-8689-D466-AF05-252C4DB493B7}"/>
              </a:ext>
            </a:extLst>
          </p:cNvPr>
          <p:cNvGraphicFramePr>
            <a:graphicFrameLocks noChangeAspect="1"/>
          </p:cNvGraphicFramePr>
          <p:nvPr userDrawn="1">
            <p:custDataLst>
              <p:tags r:id="rId1"/>
            </p:custDataLst>
            <p:extLst>
              <p:ext uri="{D42A27DB-BD31-4B8C-83A1-F6EECF244321}">
                <p14:modId xmlns:p14="http://schemas.microsoft.com/office/powerpoint/2010/main" val="28390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think-cell data - do not delete" hidden="1">
                        <a:extLst>
                          <a:ext uri="{FF2B5EF4-FFF2-40B4-BE49-F238E27FC236}">
                            <a16:creationId xmlns:a16="http://schemas.microsoft.com/office/drawing/2014/main" id="{ADA7A44B-8689-D466-AF05-252C4DB493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DFD855F4-2981-54CC-A56F-102E053DF5FE}"/>
              </a:ext>
            </a:extLst>
          </p:cNvPr>
          <p:cNvSpPr>
            <a:spLocks noGrp="1"/>
          </p:cNvSpPr>
          <p:nvPr>
            <p:ph type="subTitle" idx="1" hasCustomPrompt="1"/>
          </p:nvPr>
        </p:nvSpPr>
        <p:spPr>
          <a:xfrm>
            <a:off x="607654" y="4001227"/>
            <a:ext cx="5773525" cy="276999"/>
          </a:xfrm>
        </p:spPr>
        <p:txBody>
          <a:bodyPr lIns="0"/>
          <a:lstStyle>
            <a:lvl1pPr marL="0" indent="0" algn="l" rtl="0">
              <a:buNone/>
              <a:defRPr sz="18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dd your name and title</a:t>
            </a:r>
          </a:p>
        </p:txBody>
      </p:sp>
      <p:sp>
        <p:nvSpPr>
          <p:cNvPr id="4" name="Title 3">
            <a:extLst>
              <a:ext uri="{FF2B5EF4-FFF2-40B4-BE49-F238E27FC236}">
                <a16:creationId xmlns:a16="http://schemas.microsoft.com/office/drawing/2014/main" id="{DE642FE3-6568-A1C1-4D7E-550F171A564F}"/>
              </a:ext>
            </a:extLst>
          </p:cNvPr>
          <p:cNvSpPr>
            <a:spLocks noGrp="1"/>
          </p:cNvSpPr>
          <p:nvPr>
            <p:ph type="title" hasCustomPrompt="1"/>
          </p:nvPr>
        </p:nvSpPr>
        <p:spPr>
          <a:xfrm>
            <a:off x="607654" y="2698949"/>
            <a:ext cx="5773525" cy="1302278"/>
          </a:xfrm>
        </p:spPr>
        <p:txBody>
          <a:bodyPr>
            <a:noAutofit/>
          </a:bodyPr>
          <a:lstStyle>
            <a:lvl1pPr>
              <a:defRPr sz="4800"/>
            </a:lvl1pPr>
          </a:lstStyle>
          <a:p>
            <a:r>
              <a:rPr lang="en-US"/>
              <a:t>Presentation Title Goes Here</a:t>
            </a:r>
          </a:p>
        </p:txBody>
      </p:sp>
      <p:pic>
        <p:nvPicPr>
          <p:cNvPr id="6" name="Graphic 5">
            <a:extLst>
              <a:ext uri="{FF2B5EF4-FFF2-40B4-BE49-F238E27FC236}">
                <a16:creationId xmlns:a16="http://schemas.microsoft.com/office/drawing/2014/main" id="{C18669BC-A938-3250-9C3C-3A11CC57A552}"/>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607654" y="443395"/>
            <a:ext cx="1224782" cy="254029"/>
          </a:xfrm>
          <a:prstGeom prst="rect">
            <a:avLst/>
          </a:prstGeom>
        </p:spPr>
      </p:pic>
      <p:sp>
        <p:nvSpPr>
          <p:cNvPr id="9" name="Rectangle 8">
            <a:extLst>
              <a:ext uri="{FF2B5EF4-FFF2-40B4-BE49-F238E27FC236}">
                <a16:creationId xmlns:a16="http://schemas.microsoft.com/office/drawing/2014/main" id="{34B2304E-3EAC-F7F7-AA1C-B739305622B4}"/>
              </a:ext>
            </a:extLst>
          </p:cNvPr>
          <p:cNvSpPr/>
          <p:nvPr userDrawn="1"/>
        </p:nvSpPr>
        <p:spPr>
          <a:xfrm>
            <a:off x="0" y="-33867"/>
            <a:ext cx="180753" cy="6925732"/>
          </a:xfrm>
          <a:prstGeom prst="rect">
            <a:avLst/>
          </a:prstGeom>
          <a:gradFill>
            <a:gsLst>
              <a:gs pos="0">
                <a:schemeClr val="accent4"/>
              </a:gs>
              <a:gs pos="51000">
                <a:schemeClr val="accent1"/>
              </a:gs>
              <a:gs pos="100000">
                <a:schemeClr val="accent2"/>
              </a:gs>
            </a:gsLst>
            <a:lin ang="5400000" scaled="0"/>
          </a:gradFill>
          <a:ln>
            <a:noFill/>
          </a:ln>
          <a:effectLst>
            <a:outerShdw blurRad="419100" dist="88900" algn="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43748642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3">
            <a:extLst>
              <a:ext uri="{FF2B5EF4-FFF2-40B4-BE49-F238E27FC236}">
                <a16:creationId xmlns:a16="http://schemas.microsoft.com/office/drawing/2014/main" id="{69F3E87C-23E6-F0FF-9B65-41D80E685286}"/>
              </a:ext>
            </a:extLst>
          </p:cNvPr>
          <p:cNvSpPr>
            <a:spLocks noGrp="1"/>
          </p:cNvSpPr>
          <p:nvPr>
            <p:ph type="body" sz="quarter" idx="13" hasCustomPrompt="1"/>
          </p:nvPr>
        </p:nvSpPr>
        <p:spPr>
          <a:xfrm>
            <a:off x="1216835" y="1843190"/>
            <a:ext cx="6256409" cy="430887"/>
          </a:xfrm>
        </p:spPr>
        <p:txBody>
          <a:bodyPr/>
          <a:lstStyle>
            <a:lvl1pPr>
              <a:defRPr sz="2800" b="1">
                <a:solidFill>
                  <a:schemeClr val="accent4"/>
                </a:solidFill>
                <a:latin typeface="Aleo" pitchFamily="2" charset="77"/>
              </a:defRPr>
            </a:lvl1pPr>
          </a:lstStyle>
          <a:p>
            <a:r>
              <a:rPr lang="en-US"/>
              <a:t>Add Agenda Item Here</a:t>
            </a:r>
          </a:p>
        </p:txBody>
      </p:sp>
      <p:sp>
        <p:nvSpPr>
          <p:cNvPr id="3" name="Text Placeholder 43">
            <a:extLst>
              <a:ext uri="{FF2B5EF4-FFF2-40B4-BE49-F238E27FC236}">
                <a16:creationId xmlns:a16="http://schemas.microsoft.com/office/drawing/2014/main" id="{5CF2F575-1883-BBFE-3A52-4A986D44D17F}"/>
              </a:ext>
            </a:extLst>
          </p:cNvPr>
          <p:cNvSpPr>
            <a:spLocks noGrp="1"/>
          </p:cNvSpPr>
          <p:nvPr>
            <p:ph type="body" sz="quarter" idx="15" hasCustomPrompt="1"/>
          </p:nvPr>
        </p:nvSpPr>
        <p:spPr>
          <a:xfrm>
            <a:off x="385976" y="1899393"/>
            <a:ext cx="662921" cy="369332"/>
          </a:xfrm>
        </p:spPr>
        <p:txBody>
          <a:bodyPr/>
          <a:lstStyle>
            <a:lvl1pPr>
              <a:defRPr sz="2400">
                <a:solidFill>
                  <a:schemeClr val="accent1"/>
                </a:solidFill>
                <a:latin typeface="Aleo" pitchFamily="2" charset="77"/>
              </a:defRPr>
            </a:lvl1pPr>
          </a:lstStyle>
          <a:p>
            <a:r>
              <a:rPr lang="en-US"/>
              <a:t>01</a:t>
            </a:r>
          </a:p>
        </p:txBody>
      </p:sp>
      <p:sp>
        <p:nvSpPr>
          <p:cNvPr id="14" name="Picture Placeholder 23">
            <a:extLst>
              <a:ext uri="{FF2B5EF4-FFF2-40B4-BE49-F238E27FC236}">
                <a16:creationId xmlns:a16="http://schemas.microsoft.com/office/drawing/2014/main" id="{B2D99AD6-AEA1-6FE2-FC4E-71A905F5C69F}"/>
              </a:ext>
            </a:extLst>
          </p:cNvPr>
          <p:cNvSpPr>
            <a:spLocks noGrp="1"/>
          </p:cNvSpPr>
          <p:nvPr>
            <p:ph type="pic" sz="quarter" idx="14"/>
          </p:nvPr>
        </p:nvSpPr>
        <p:spPr>
          <a:xfrm>
            <a:off x="7981244" y="0"/>
            <a:ext cx="4210756" cy="6858000"/>
          </a:xfrm>
        </p:spPr>
        <p:txBody>
          <a:bodyPr/>
          <a:lstStyle/>
          <a:p>
            <a:endParaRPr lang="en-US"/>
          </a:p>
        </p:txBody>
      </p:sp>
      <p:sp>
        <p:nvSpPr>
          <p:cNvPr id="18" name="Text Placeholder 3">
            <a:extLst>
              <a:ext uri="{FF2B5EF4-FFF2-40B4-BE49-F238E27FC236}">
                <a16:creationId xmlns:a16="http://schemas.microsoft.com/office/drawing/2014/main" id="{08049463-32A6-CCE6-300F-B6050D069A48}"/>
              </a:ext>
            </a:extLst>
          </p:cNvPr>
          <p:cNvSpPr>
            <a:spLocks noGrp="1"/>
          </p:cNvSpPr>
          <p:nvPr>
            <p:ph type="body" sz="quarter" idx="16" hasCustomPrompt="1"/>
          </p:nvPr>
        </p:nvSpPr>
        <p:spPr>
          <a:xfrm>
            <a:off x="1216835" y="2746301"/>
            <a:ext cx="6256409" cy="430887"/>
          </a:xfrm>
        </p:spPr>
        <p:txBody>
          <a:bodyPr/>
          <a:lstStyle>
            <a:lvl1pPr>
              <a:defRPr sz="2800" b="1">
                <a:solidFill>
                  <a:schemeClr val="accent4"/>
                </a:solidFill>
                <a:latin typeface="Aleo" pitchFamily="2" charset="77"/>
              </a:defRPr>
            </a:lvl1pPr>
          </a:lstStyle>
          <a:p>
            <a:r>
              <a:rPr lang="en-US"/>
              <a:t>Text is 28pt size</a:t>
            </a:r>
          </a:p>
        </p:txBody>
      </p:sp>
      <p:sp>
        <p:nvSpPr>
          <p:cNvPr id="23" name="Text Placeholder 3">
            <a:extLst>
              <a:ext uri="{FF2B5EF4-FFF2-40B4-BE49-F238E27FC236}">
                <a16:creationId xmlns:a16="http://schemas.microsoft.com/office/drawing/2014/main" id="{8BCBFD83-9C92-5677-BD8C-97BEE9A8B62F}"/>
              </a:ext>
            </a:extLst>
          </p:cNvPr>
          <p:cNvSpPr>
            <a:spLocks noGrp="1"/>
          </p:cNvSpPr>
          <p:nvPr>
            <p:ph type="body" sz="quarter" idx="18" hasCustomPrompt="1"/>
          </p:nvPr>
        </p:nvSpPr>
        <p:spPr>
          <a:xfrm>
            <a:off x="1216835" y="3649412"/>
            <a:ext cx="6256409" cy="430887"/>
          </a:xfrm>
        </p:spPr>
        <p:txBody>
          <a:bodyPr/>
          <a:lstStyle>
            <a:lvl1pPr>
              <a:defRPr sz="2800" b="1">
                <a:solidFill>
                  <a:schemeClr val="accent4"/>
                </a:solidFill>
                <a:latin typeface="Aleo" pitchFamily="2" charset="77"/>
              </a:defRPr>
            </a:lvl1pPr>
          </a:lstStyle>
          <a:p>
            <a:r>
              <a:rPr lang="en-US"/>
              <a:t>Delete Sidebar image if not using</a:t>
            </a:r>
          </a:p>
        </p:txBody>
      </p:sp>
      <p:sp>
        <p:nvSpPr>
          <p:cNvPr id="26" name="Text Placeholder 3">
            <a:extLst>
              <a:ext uri="{FF2B5EF4-FFF2-40B4-BE49-F238E27FC236}">
                <a16:creationId xmlns:a16="http://schemas.microsoft.com/office/drawing/2014/main" id="{CC8D0833-73FD-7AB7-3186-FB61252FEBB5}"/>
              </a:ext>
            </a:extLst>
          </p:cNvPr>
          <p:cNvSpPr>
            <a:spLocks noGrp="1"/>
          </p:cNvSpPr>
          <p:nvPr>
            <p:ph type="body" sz="quarter" idx="20" hasCustomPrompt="1"/>
          </p:nvPr>
        </p:nvSpPr>
        <p:spPr>
          <a:xfrm>
            <a:off x="1216835" y="4552524"/>
            <a:ext cx="6256409" cy="430887"/>
          </a:xfrm>
        </p:spPr>
        <p:txBody>
          <a:bodyPr/>
          <a:lstStyle>
            <a:lvl1pPr>
              <a:defRPr sz="2800" b="1">
                <a:solidFill>
                  <a:schemeClr val="accent4"/>
                </a:solidFill>
                <a:latin typeface="Aleo" pitchFamily="2" charset="77"/>
              </a:defRPr>
            </a:lvl1pPr>
          </a:lstStyle>
          <a:p>
            <a:r>
              <a:rPr lang="en-US"/>
              <a:t>Extend beyond 4 if needed</a:t>
            </a:r>
          </a:p>
        </p:txBody>
      </p:sp>
      <p:sp>
        <p:nvSpPr>
          <p:cNvPr id="31" name="Text Placeholder 43">
            <a:extLst>
              <a:ext uri="{FF2B5EF4-FFF2-40B4-BE49-F238E27FC236}">
                <a16:creationId xmlns:a16="http://schemas.microsoft.com/office/drawing/2014/main" id="{A9FCF2C6-D5EB-743D-F8EC-10F7381FA6A0}"/>
              </a:ext>
            </a:extLst>
          </p:cNvPr>
          <p:cNvSpPr>
            <a:spLocks noGrp="1"/>
          </p:cNvSpPr>
          <p:nvPr>
            <p:ph type="body" sz="quarter" idx="23" hasCustomPrompt="1"/>
          </p:nvPr>
        </p:nvSpPr>
        <p:spPr>
          <a:xfrm>
            <a:off x="385976" y="2813793"/>
            <a:ext cx="662921" cy="369332"/>
          </a:xfrm>
        </p:spPr>
        <p:txBody>
          <a:bodyPr/>
          <a:lstStyle>
            <a:lvl1pPr>
              <a:defRPr sz="2400">
                <a:solidFill>
                  <a:schemeClr val="accent1"/>
                </a:solidFill>
                <a:latin typeface="Aleo" pitchFamily="2" charset="77"/>
              </a:defRPr>
            </a:lvl1pPr>
          </a:lstStyle>
          <a:p>
            <a:r>
              <a:rPr lang="en-US"/>
              <a:t>02</a:t>
            </a:r>
          </a:p>
        </p:txBody>
      </p:sp>
      <p:sp>
        <p:nvSpPr>
          <p:cNvPr id="32" name="Text Placeholder 43">
            <a:extLst>
              <a:ext uri="{FF2B5EF4-FFF2-40B4-BE49-F238E27FC236}">
                <a16:creationId xmlns:a16="http://schemas.microsoft.com/office/drawing/2014/main" id="{C3249D11-4108-AF75-EDEE-2CDA1B2B8E3C}"/>
              </a:ext>
            </a:extLst>
          </p:cNvPr>
          <p:cNvSpPr>
            <a:spLocks noGrp="1"/>
          </p:cNvSpPr>
          <p:nvPr>
            <p:ph type="body" sz="quarter" idx="24" hasCustomPrompt="1"/>
          </p:nvPr>
        </p:nvSpPr>
        <p:spPr>
          <a:xfrm>
            <a:off x="385976" y="3705615"/>
            <a:ext cx="662921" cy="369332"/>
          </a:xfrm>
        </p:spPr>
        <p:txBody>
          <a:bodyPr/>
          <a:lstStyle>
            <a:lvl1pPr>
              <a:defRPr sz="2400">
                <a:solidFill>
                  <a:schemeClr val="accent1"/>
                </a:solidFill>
                <a:latin typeface="Aleo" pitchFamily="2" charset="77"/>
              </a:defRPr>
            </a:lvl1pPr>
          </a:lstStyle>
          <a:p>
            <a:r>
              <a:rPr lang="en-US"/>
              <a:t>03</a:t>
            </a:r>
          </a:p>
        </p:txBody>
      </p:sp>
      <p:sp>
        <p:nvSpPr>
          <p:cNvPr id="33" name="Text Placeholder 43">
            <a:extLst>
              <a:ext uri="{FF2B5EF4-FFF2-40B4-BE49-F238E27FC236}">
                <a16:creationId xmlns:a16="http://schemas.microsoft.com/office/drawing/2014/main" id="{C01B5EF5-8EF7-6EE2-C351-9479D864D608}"/>
              </a:ext>
            </a:extLst>
          </p:cNvPr>
          <p:cNvSpPr>
            <a:spLocks noGrp="1"/>
          </p:cNvSpPr>
          <p:nvPr>
            <p:ph type="body" sz="quarter" idx="25" hasCustomPrompt="1"/>
          </p:nvPr>
        </p:nvSpPr>
        <p:spPr>
          <a:xfrm>
            <a:off x="385976" y="4608727"/>
            <a:ext cx="662921" cy="369332"/>
          </a:xfrm>
        </p:spPr>
        <p:txBody>
          <a:bodyPr/>
          <a:lstStyle>
            <a:lvl1pPr>
              <a:defRPr sz="2400">
                <a:solidFill>
                  <a:schemeClr val="accent1"/>
                </a:solidFill>
                <a:latin typeface="Aleo" pitchFamily="2" charset="77"/>
              </a:defRPr>
            </a:lvl1pPr>
          </a:lstStyle>
          <a:p>
            <a:r>
              <a:rPr lang="en-US"/>
              <a:t>04</a:t>
            </a:r>
          </a:p>
        </p:txBody>
      </p:sp>
      <p:sp>
        <p:nvSpPr>
          <p:cNvPr id="4" name="Rectangle 3">
            <a:extLst>
              <a:ext uri="{FF2B5EF4-FFF2-40B4-BE49-F238E27FC236}">
                <a16:creationId xmlns:a16="http://schemas.microsoft.com/office/drawing/2014/main" id="{E78C2AF6-F749-5B08-5557-F018DCDA1E2E}"/>
              </a:ext>
            </a:extLst>
          </p:cNvPr>
          <p:cNvSpPr/>
          <p:nvPr userDrawn="1"/>
        </p:nvSpPr>
        <p:spPr>
          <a:xfrm>
            <a:off x="7865565" y="0"/>
            <a:ext cx="115679" cy="6858000"/>
          </a:xfrm>
          <a:prstGeom prst="rect">
            <a:avLst/>
          </a:prstGeom>
          <a:gradFill>
            <a:gsLst>
              <a:gs pos="0">
                <a:schemeClr val="accent4"/>
              </a:gs>
              <a:gs pos="51000">
                <a:schemeClr val="accent1"/>
              </a:gs>
              <a:gs pos="100000">
                <a:schemeClr val="accent2"/>
              </a:gs>
            </a:gsLst>
            <a:lin ang="5400000" scaled="0"/>
          </a:gradFill>
          <a:ln>
            <a:noFill/>
          </a:ln>
          <a:effectLst>
            <a:outerShdw blurRad="419100" dist="88900" dir="10800000" algn="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158556586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830F24-637B-D621-865B-B1B853F0D636}"/>
              </a:ext>
            </a:extLst>
          </p:cNvPr>
          <p:cNvSpPr/>
          <p:nvPr userDrawn="1"/>
        </p:nvSpPr>
        <p:spPr>
          <a:xfrm>
            <a:off x="8176686" y="0"/>
            <a:ext cx="4015314" cy="6858000"/>
          </a:xfrm>
          <a:prstGeom prst="rect">
            <a:avLst/>
          </a:prstGeom>
          <a:solidFill>
            <a:schemeClr val="bg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Rectangle 5">
            <a:extLst>
              <a:ext uri="{FF2B5EF4-FFF2-40B4-BE49-F238E27FC236}">
                <a16:creationId xmlns:a16="http://schemas.microsoft.com/office/drawing/2014/main" id="{C1F7CDA4-C521-9C0F-665A-0CF249E50987}"/>
              </a:ext>
            </a:extLst>
          </p:cNvPr>
          <p:cNvSpPr/>
          <p:nvPr userDrawn="1"/>
        </p:nvSpPr>
        <p:spPr>
          <a:xfrm>
            <a:off x="4088343" y="0"/>
            <a:ext cx="4088343"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1" y="0"/>
            <a:ext cx="408834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6">
            <a:extLst>
              <a:ext uri="{FF2B5EF4-FFF2-40B4-BE49-F238E27FC236}">
                <a16:creationId xmlns:a16="http://schemas.microsoft.com/office/drawing/2014/main" id="{7576C331-00DE-44D1-FDED-A83DF6219339}"/>
              </a:ext>
            </a:extLst>
          </p:cNvPr>
          <p:cNvSpPr>
            <a:spLocks noGrp="1"/>
          </p:cNvSpPr>
          <p:nvPr>
            <p:ph type="body" sz="quarter" idx="13" hasCustomPrompt="1"/>
          </p:nvPr>
        </p:nvSpPr>
        <p:spPr>
          <a:xfrm>
            <a:off x="309224" y="4416472"/>
            <a:ext cx="3413654" cy="215444"/>
          </a:xfrm>
        </p:spPr>
        <p:txBody>
          <a:bodyPr/>
          <a:lstStyle/>
          <a:p>
            <a:pPr lvl="0"/>
            <a:r>
              <a:rPr lang="en-US"/>
              <a:t>Add copy here</a:t>
            </a:r>
          </a:p>
        </p:txBody>
      </p:sp>
      <p:sp>
        <p:nvSpPr>
          <p:cNvPr id="8" name="Text Placeholder 6">
            <a:extLst>
              <a:ext uri="{FF2B5EF4-FFF2-40B4-BE49-F238E27FC236}">
                <a16:creationId xmlns:a16="http://schemas.microsoft.com/office/drawing/2014/main" id="{9B0C911C-910B-9DCD-ADE4-5A8DFB3955F7}"/>
              </a:ext>
            </a:extLst>
          </p:cNvPr>
          <p:cNvSpPr>
            <a:spLocks noGrp="1"/>
          </p:cNvSpPr>
          <p:nvPr>
            <p:ph type="body" sz="quarter" idx="14" hasCustomPrompt="1"/>
          </p:nvPr>
        </p:nvSpPr>
        <p:spPr>
          <a:xfrm>
            <a:off x="4456724" y="4416472"/>
            <a:ext cx="3413606" cy="215444"/>
          </a:xfrm>
        </p:spPr>
        <p:txBody>
          <a:bodyPr/>
          <a:lstStyle>
            <a:lvl1pPr algn="l">
              <a:defRPr/>
            </a:lvl1pPr>
          </a:lstStyle>
          <a:p>
            <a:pPr lvl="0"/>
            <a:r>
              <a:rPr lang="en-US"/>
              <a:t>Add copy here</a:t>
            </a:r>
          </a:p>
        </p:txBody>
      </p:sp>
      <p:sp>
        <p:nvSpPr>
          <p:cNvPr id="13" name="Title 12">
            <a:extLst>
              <a:ext uri="{FF2B5EF4-FFF2-40B4-BE49-F238E27FC236}">
                <a16:creationId xmlns:a16="http://schemas.microsoft.com/office/drawing/2014/main" id="{D418CD0F-CC78-E831-0AD0-566141828C1E}"/>
              </a:ext>
            </a:extLst>
          </p:cNvPr>
          <p:cNvSpPr>
            <a:spLocks noGrp="1"/>
          </p:cNvSpPr>
          <p:nvPr>
            <p:ph type="title" hasCustomPrompt="1"/>
          </p:nvPr>
        </p:nvSpPr>
        <p:spPr>
          <a:xfrm>
            <a:off x="309224" y="2660985"/>
            <a:ext cx="3494680" cy="1536030"/>
          </a:xfrm>
        </p:spPr>
        <p:txBody>
          <a:bodyPr/>
          <a:lstStyle>
            <a:lvl1pPr>
              <a:spcBef>
                <a:spcPts val="0"/>
              </a:spcBef>
              <a:defRPr b="1" i="0">
                <a:latin typeface="Aleo SemiBold" pitchFamily="2" charset="77"/>
              </a:defRPr>
            </a:lvl1pPr>
          </a:lstStyle>
          <a:p>
            <a:r>
              <a:rPr lang="en-US"/>
              <a:t>Add a Title, a Quote, or a Statement Here.</a:t>
            </a:r>
          </a:p>
        </p:txBody>
      </p:sp>
      <p:sp>
        <p:nvSpPr>
          <p:cNvPr id="17" name="Text Placeholder 4">
            <a:extLst>
              <a:ext uri="{FF2B5EF4-FFF2-40B4-BE49-F238E27FC236}">
                <a16:creationId xmlns:a16="http://schemas.microsoft.com/office/drawing/2014/main" id="{5DE134F6-DEDA-210F-618C-8B87F33ED1DA}"/>
              </a:ext>
            </a:extLst>
          </p:cNvPr>
          <p:cNvSpPr>
            <a:spLocks noGrp="1"/>
          </p:cNvSpPr>
          <p:nvPr>
            <p:ph type="body" sz="quarter" idx="30" hasCustomPrompt="1"/>
          </p:nvPr>
        </p:nvSpPr>
        <p:spPr>
          <a:xfrm>
            <a:off x="4456724" y="2660985"/>
            <a:ext cx="3549374" cy="1536030"/>
          </a:xfrm>
          <a:prstGeom prst="rect">
            <a:avLst/>
          </a:prstGeom>
        </p:spPr>
        <p:txBody>
          <a:bodyPr>
            <a:noAutofit/>
          </a:bodyPr>
          <a:lstStyle>
            <a:lvl1pPr marL="0" indent="0">
              <a:spcBef>
                <a:spcPts val="0"/>
              </a:spcBef>
              <a:buNone/>
              <a:defRPr sz="3600" b="1" i="0">
                <a:solidFill>
                  <a:schemeClr val="tx1"/>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Title, a Quote, or a Statement Here.</a:t>
            </a:r>
          </a:p>
        </p:txBody>
      </p:sp>
      <p:sp>
        <p:nvSpPr>
          <p:cNvPr id="12" name="Text Placeholder 6">
            <a:extLst>
              <a:ext uri="{FF2B5EF4-FFF2-40B4-BE49-F238E27FC236}">
                <a16:creationId xmlns:a16="http://schemas.microsoft.com/office/drawing/2014/main" id="{A39BE6CB-FDD2-CFD6-15C1-236CC761E7E4}"/>
              </a:ext>
            </a:extLst>
          </p:cNvPr>
          <p:cNvSpPr>
            <a:spLocks noGrp="1"/>
          </p:cNvSpPr>
          <p:nvPr>
            <p:ph type="body" sz="quarter" idx="31" hasCustomPrompt="1"/>
          </p:nvPr>
        </p:nvSpPr>
        <p:spPr>
          <a:xfrm>
            <a:off x="8467064" y="4416472"/>
            <a:ext cx="3413606" cy="215444"/>
          </a:xfrm>
        </p:spPr>
        <p:txBody>
          <a:bodyPr/>
          <a:lstStyle>
            <a:lvl1pPr algn="l">
              <a:defRPr/>
            </a:lvl1pPr>
          </a:lstStyle>
          <a:p>
            <a:pPr lvl="0"/>
            <a:r>
              <a:rPr lang="en-US"/>
              <a:t>Add copy here</a:t>
            </a:r>
          </a:p>
        </p:txBody>
      </p:sp>
      <p:sp>
        <p:nvSpPr>
          <p:cNvPr id="14" name="Text Placeholder 4">
            <a:extLst>
              <a:ext uri="{FF2B5EF4-FFF2-40B4-BE49-F238E27FC236}">
                <a16:creationId xmlns:a16="http://schemas.microsoft.com/office/drawing/2014/main" id="{E3D12248-EDCB-01D9-62A7-D94A0D2A4627}"/>
              </a:ext>
            </a:extLst>
          </p:cNvPr>
          <p:cNvSpPr>
            <a:spLocks noGrp="1"/>
          </p:cNvSpPr>
          <p:nvPr>
            <p:ph type="body" sz="quarter" idx="32" hasCustomPrompt="1"/>
          </p:nvPr>
        </p:nvSpPr>
        <p:spPr>
          <a:xfrm>
            <a:off x="8467064" y="2660985"/>
            <a:ext cx="3549374" cy="1536030"/>
          </a:xfrm>
          <a:prstGeom prst="rect">
            <a:avLst/>
          </a:prstGeom>
        </p:spPr>
        <p:txBody>
          <a:bodyPr>
            <a:noAutofit/>
          </a:bodyPr>
          <a:lstStyle>
            <a:lvl1pPr marL="0" indent="0">
              <a:spcBef>
                <a:spcPts val="0"/>
              </a:spcBef>
              <a:buNone/>
              <a:defRPr sz="3600" b="1" i="0">
                <a:solidFill>
                  <a:schemeClr val="tx1"/>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Title, a Quote, or a Statement Here.</a:t>
            </a:r>
          </a:p>
        </p:txBody>
      </p:sp>
    </p:spTree>
    <p:extLst>
      <p:ext uri="{BB962C8B-B14F-4D97-AF65-F5344CB8AC3E}">
        <p14:creationId xmlns:p14="http://schemas.microsoft.com/office/powerpoint/2010/main" val="46855127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plit Scree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58D37B-E49F-F0EF-5594-49F836781406}"/>
              </a:ext>
            </a:extLst>
          </p:cNvPr>
          <p:cNvSpPr/>
          <p:nvPr userDrawn="1"/>
        </p:nvSpPr>
        <p:spPr>
          <a:xfrm>
            <a:off x="6094902" y="0"/>
            <a:ext cx="6096000" cy="6858000"/>
          </a:xfrm>
          <a:prstGeom prst="rect">
            <a:avLst/>
          </a:prstGeom>
          <a:solidFill>
            <a:schemeClr val="bg2">
              <a:alpha val="6545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err="1">
              <a:solidFill>
                <a:schemeClr val="bg2"/>
              </a:solidFill>
              <a:latin typeface="Aleo" pitchFamily="2" charset="77"/>
            </a:endParaRPr>
          </a:p>
        </p:txBody>
      </p:sp>
      <p:sp>
        <p:nvSpPr>
          <p:cNvPr id="7" name="Text Placeholder 6">
            <a:extLst>
              <a:ext uri="{FF2B5EF4-FFF2-40B4-BE49-F238E27FC236}">
                <a16:creationId xmlns:a16="http://schemas.microsoft.com/office/drawing/2014/main" id="{7576C331-00DE-44D1-FDED-A83DF6219339}"/>
              </a:ext>
            </a:extLst>
          </p:cNvPr>
          <p:cNvSpPr>
            <a:spLocks noGrp="1"/>
          </p:cNvSpPr>
          <p:nvPr>
            <p:ph type="body" sz="quarter" idx="13" hasCustomPrompt="1"/>
          </p:nvPr>
        </p:nvSpPr>
        <p:spPr>
          <a:xfrm>
            <a:off x="674688" y="3932365"/>
            <a:ext cx="4745526" cy="215444"/>
          </a:xfrm>
        </p:spPr>
        <p:txBody>
          <a:bodyPr/>
          <a:lstStyle>
            <a:lvl1pPr>
              <a:defRPr>
                <a:solidFill>
                  <a:schemeClr val="bg1"/>
                </a:solidFill>
              </a:defRPr>
            </a:lvl1pPr>
          </a:lstStyle>
          <a:p>
            <a:pPr lvl="0"/>
            <a:r>
              <a:rPr lang="en-US"/>
              <a:t>Add copy here</a:t>
            </a:r>
          </a:p>
        </p:txBody>
      </p:sp>
      <p:sp>
        <p:nvSpPr>
          <p:cNvPr id="8" name="Text Placeholder 6">
            <a:extLst>
              <a:ext uri="{FF2B5EF4-FFF2-40B4-BE49-F238E27FC236}">
                <a16:creationId xmlns:a16="http://schemas.microsoft.com/office/drawing/2014/main" id="{9B0C911C-910B-9DCD-ADE4-5A8DFB3955F7}"/>
              </a:ext>
            </a:extLst>
          </p:cNvPr>
          <p:cNvSpPr>
            <a:spLocks noGrp="1"/>
          </p:cNvSpPr>
          <p:nvPr>
            <p:ph type="body" sz="quarter" idx="14" hasCustomPrompt="1"/>
          </p:nvPr>
        </p:nvSpPr>
        <p:spPr>
          <a:xfrm>
            <a:off x="6771237" y="3932365"/>
            <a:ext cx="4745526" cy="215444"/>
          </a:xfrm>
        </p:spPr>
        <p:txBody>
          <a:bodyPr/>
          <a:lstStyle>
            <a:lvl1pPr algn="l">
              <a:defRPr/>
            </a:lvl1pPr>
          </a:lstStyle>
          <a:p>
            <a:pPr lvl="0"/>
            <a:r>
              <a:rPr lang="en-US"/>
              <a:t>Add copy here</a:t>
            </a:r>
          </a:p>
        </p:txBody>
      </p:sp>
      <p:sp>
        <p:nvSpPr>
          <p:cNvPr id="5" name="Title 4">
            <a:extLst>
              <a:ext uri="{FF2B5EF4-FFF2-40B4-BE49-F238E27FC236}">
                <a16:creationId xmlns:a16="http://schemas.microsoft.com/office/drawing/2014/main" id="{A441EC05-56C2-DD06-1240-A77E1B28D8F4}"/>
              </a:ext>
            </a:extLst>
          </p:cNvPr>
          <p:cNvSpPr>
            <a:spLocks noGrp="1"/>
          </p:cNvSpPr>
          <p:nvPr>
            <p:ph type="title" hasCustomPrompt="1"/>
          </p:nvPr>
        </p:nvSpPr>
        <p:spPr>
          <a:xfrm>
            <a:off x="6770688" y="2752507"/>
            <a:ext cx="4743939" cy="978246"/>
          </a:xfrm>
        </p:spPr>
        <p:txBody>
          <a:bodyPr anchor="t">
            <a:noAutofit/>
          </a:bodyPr>
          <a:lstStyle>
            <a:lvl1pPr>
              <a:defRPr sz="3600" b="1" i="0">
                <a:latin typeface="Aleo SemiBold" pitchFamily="2" charset="77"/>
              </a:defRPr>
            </a:lvl1pPr>
          </a:lstStyle>
          <a:p>
            <a:r>
              <a:rPr lang="en-US"/>
              <a:t>Add a Title, a Quote, or a Statement Here.</a:t>
            </a:r>
          </a:p>
        </p:txBody>
      </p:sp>
      <p:sp>
        <p:nvSpPr>
          <p:cNvPr id="11" name="Text Placeholder 10">
            <a:extLst>
              <a:ext uri="{FF2B5EF4-FFF2-40B4-BE49-F238E27FC236}">
                <a16:creationId xmlns:a16="http://schemas.microsoft.com/office/drawing/2014/main" id="{6BE0270B-33BB-3827-D464-C715B2024451}"/>
              </a:ext>
            </a:extLst>
          </p:cNvPr>
          <p:cNvSpPr>
            <a:spLocks noGrp="1"/>
          </p:cNvSpPr>
          <p:nvPr>
            <p:ph type="body" sz="quarter" idx="15" hasCustomPrompt="1"/>
          </p:nvPr>
        </p:nvSpPr>
        <p:spPr>
          <a:xfrm>
            <a:off x="674688" y="2752507"/>
            <a:ext cx="4745037" cy="1073769"/>
          </a:xfrm>
        </p:spPr>
        <p:txBody>
          <a:bodyPr lIns="0" tIns="0" rIns="0" bIns="0">
            <a:normAutofit/>
          </a:bodyPr>
          <a:lstStyle>
            <a:lvl1pPr>
              <a:defRPr sz="3600" b="1" i="0">
                <a:solidFill>
                  <a:schemeClr val="bg2"/>
                </a:solidFill>
                <a:latin typeface="Aleo SemiBold" pitchFamily="2" charset="77"/>
                <a:cs typeface="AL BAYAN PLAIN" pitchFamily="2" charset="-78"/>
              </a:defRPr>
            </a:lvl1pPr>
          </a:lstStyle>
          <a:p>
            <a:pPr marL="0" marR="0" lvl="0" indent="0" algn="l" defTabSz="914400" rtl="0" eaLnBrk="1" fontAlgn="auto" latinLnBrk="0" hangingPunct="1">
              <a:lnSpc>
                <a:spcPct val="90000"/>
              </a:lnSpc>
              <a:spcBef>
                <a:spcPts val="1000"/>
              </a:spcBef>
              <a:spcAft>
                <a:spcPts val="0"/>
              </a:spcAft>
              <a:buClr>
                <a:schemeClr val="accent1"/>
              </a:buClr>
              <a:buSzTx/>
              <a:buFont typeface="Wingdings" pitchFamily="2" charset="2"/>
              <a:buNone/>
              <a:tabLst/>
              <a:defRPr/>
            </a:pPr>
            <a:r>
              <a:rPr lang="en-US"/>
              <a:t>Add a Title, a Quote, or a Statement Here.</a:t>
            </a:r>
          </a:p>
        </p:txBody>
      </p:sp>
    </p:spTree>
    <p:extLst>
      <p:ext uri="{BB962C8B-B14F-4D97-AF65-F5344CB8AC3E}">
        <p14:creationId xmlns:p14="http://schemas.microsoft.com/office/powerpoint/2010/main" val="60814244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9830F24-637B-D621-865B-B1B853F0D636}"/>
              </a:ext>
            </a:extLst>
          </p:cNvPr>
          <p:cNvSpPr/>
          <p:nvPr userDrawn="1"/>
        </p:nvSpPr>
        <p:spPr>
          <a:xfrm>
            <a:off x="8176686" y="0"/>
            <a:ext cx="4015314" cy="6858000"/>
          </a:xfrm>
          <a:prstGeom prst="rect">
            <a:avLst/>
          </a:prstGeom>
          <a:solidFill>
            <a:schemeClr val="bg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Rectangle 5">
            <a:extLst>
              <a:ext uri="{FF2B5EF4-FFF2-40B4-BE49-F238E27FC236}">
                <a16:creationId xmlns:a16="http://schemas.microsoft.com/office/drawing/2014/main" id="{C1F7CDA4-C521-9C0F-665A-0CF249E50987}"/>
              </a:ext>
            </a:extLst>
          </p:cNvPr>
          <p:cNvSpPr/>
          <p:nvPr userDrawn="1"/>
        </p:nvSpPr>
        <p:spPr>
          <a:xfrm>
            <a:off x="4088343" y="0"/>
            <a:ext cx="4088343"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1" y="0"/>
            <a:ext cx="4088343"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6">
            <a:extLst>
              <a:ext uri="{FF2B5EF4-FFF2-40B4-BE49-F238E27FC236}">
                <a16:creationId xmlns:a16="http://schemas.microsoft.com/office/drawing/2014/main" id="{7576C331-00DE-44D1-FDED-A83DF6219339}"/>
              </a:ext>
            </a:extLst>
          </p:cNvPr>
          <p:cNvSpPr>
            <a:spLocks noGrp="1"/>
          </p:cNvSpPr>
          <p:nvPr>
            <p:ph type="body" sz="quarter" idx="13" hasCustomPrompt="1"/>
          </p:nvPr>
        </p:nvSpPr>
        <p:spPr>
          <a:xfrm>
            <a:off x="309224" y="4444348"/>
            <a:ext cx="3413654" cy="215444"/>
          </a:xfrm>
        </p:spPr>
        <p:txBody>
          <a:bodyPr/>
          <a:lstStyle>
            <a:lvl1pPr>
              <a:defRPr>
                <a:solidFill>
                  <a:schemeClr val="bg2"/>
                </a:solidFill>
              </a:defRPr>
            </a:lvl1pPr>
          </a:lstStyle>
          <a:p>
            <a:pPr lvl="0"/>
            <a:r>
              <a:rPr lang="en-US"/>
              <a:t>Add copy here</a:t>
            </a:r>
          </a:p>
        </p:txBody>
      </p:sp>
      <p:sp>
        <p:nvSpPr>
          <p:cNvPr id="8" name="Text Placeholder 6">
            <a:extLst>
              <a:ext uri="{FF2B5EF4-FFF2-40B4-BE49-F238E27FC236}">
                <a16:creationId xmlns:a16="http://schemas.microsoft.com/office/drawing/2014/main" id="{9B0C911C-910B-9DCD-ADE4-5A8DFB3955F7}"/>
              </a:ext>
            </a:extLst>
          </p:cNvPr>
          <p:cNvSpPr>
            <a:spLocks noGrp="1"/>
          </p:cNvSpPr>
          <p:nvPr>
            <p:ph type="body" sz="quarter" idx="14" hasCustomPrompt="1"/>
          </p:nvPr>
        </p:nvSpPr>
        <p:spPr>
          <a:xfrm>
            <a:off x="4456724" y="4416472"/>
            <a:ext cx="3413606" cy="215444"/>
          </a:xfrm>
        </p:spPr>
        <p:txBody>
          <a:bodyPr/>
          <a:lstStyle>
            <a:lvl1pPr algn="l">
              <a:defRPr>
                <a:solidFill>
                  <a:schemeClr val="bg2"/>
                </a:solidFill>
              </a:defRPr>
            </a:lvl1pPr>
          </a:lstStyle>
          <a:p>
            <a:pPr lvl="0"/>
            <a:r>
              <a:rPr lang="en-US"/>
              <a:t>Add copy here</a:t>
            </a:r>
          </a:p>
        </p:txBody>
      </p:sp>
      <p:sp>
        <p:nvSpPr>
          <p:cNvPr id="13" name="Title 12">
            <a:extLst>
              <a:ext uri="{FF2B5EF4-FFF2-40B4-BE49-F238E27FC236}">
                <a16:creationId xmlns:a16="http://schemas.microsoft.com/office/drawing/2014/main" id="{D418CD0F-CC78-E831-0AD0-566141828C1E}"/>
              </a:ext>
            </a:extLst>
          </p:cNvPr>
          <p:cNvSpPr>
            <a:spLocks noGrp="1"/>
          </p:cNvSpPr>
          <p:nvPr>
            <p:ph type="title" hasCustomPrompt="1"/>
          </p:nvPr>
        </p:nvSpPr>
        <p:spPr>
          <a:xfrm>
            <a:off x="309223" y="2660985"/>
            <a:ext cx="3488741" cy="1536030"/>
          </a:xfrm>
        </p:spPr>
        <p:txBody>
          <a:bodyPr lIns="0" tIns="0" rIns="0" bIns="0"/>
          <a:lstStyle>
            <a:lvl1pPr>
              <a:lnSpc>
                <a:spcPct val="90000"/>
              </a:lnSpc>
              <a:spcBef>
                <a:spcPts val="0"/>
              </a:spcBef>
              <a:defRPr sz="3600" b="1" i="0">
                <a:solidFill>
                  <a:schemeClr val="bg2"/>
                </a:solidFill>
                <a:latin typeface="Aleo SemiBold" pitchFamily="2" charset="77"/>
              </a:defRPr>
            </a:lvl1pPr>
          </a:lstStyle>
          <a:p>
            <a:r>
              <a:rPr lang="en-US"/>
              <a:t>Add a Title, a Quote, or a Statement Here.</a:t>
            </a:r>
          </a:p>
        </p:txBody>
      </p:sp>
      <p:sp>
        <p:nvSpPr>
          <p:cNvPr id="17" name="Text Placeholder 4">
            <a:extLst>
              <a:ext uri="{FF2B5EF4-FFF2-40B4-BE49-F238E27FC236}">
                <a16:creationId xmlns:a16="http://schemas.microsoft.com/office/drawing/2014/main" id="{5DE134F6-DEDA-210F-618C-8B87F33ED1DA}"/>
              </a:ext>
            </a:extLst>
          </p:cNvPr>
          <p:cNvSpPr>
            <a:spLocks noGrp="1"/>
          </p:cNvSpPr>
          <p:nvPr>
            <p:ph type="body" sz="quarter" idx="30" hasCustomPrompt="1"/>
          </p:nvPr>
        </p:nvSpPr>
        <p:spPr>
          <a:xfrm>
            <a:off x="4456724" y="2660985"/>
            <a:ext cx="3495062" cy="1536030"/>
          </a:xfrm>
          <a:prstGeom prst="rect">
            <a:avLst/>
          </a:prstGeom>
        </p:spPr>
        <p:txBody>
          <a:bodyPr lIns="0" tIns="0" rIns="0" bIns="0">
            <a:noAutofit/>
          </a:bodyPr>
          <a:lstStyle>
            <a:lvl1pPr marL="0" indent="0">
              <a:lnSpc>
                <a:spcPct val="80000"/>
              </a:lnSpc>
              <a:spcBef>
                <a:spcPts val="0"/>
              </a:spcBef>
              <a:buNone/>
              <a:defRPr sz="3600" b="1" i="0">
                <a:solidFill>
                  <a:schemeClr val="bg2"/>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Title, a Quote, or a Statement Here.</a:t>
            </a:r>
          </a:p>
        </p:txBody>
      </p:sp>
      <p:sp>
        <p:nvSpPr>
          <p:cNvPr id="12" name="Text Placeholder 6">
            <a:extLst>
              <a:ext uri="{FF2B5EF4-FFF2-40B4-BE49-F238E27FC236}">
                <a16:creationId xmlns:a16="http://schemas.microsoft.com/office/drawing/2014/main" id="{A39BE6CB-FDD2-CFD6-15C1-236CC761E7E4}"/>
              </a:ext>
            </a:extLst>
          </p:cNvPr>
          <p:cNvSpPr>
            <a:spLocks noGrp="1"/>
          </p:cNvSpPr>
          <p:nvPr>
            <p:ph type="body" sz="quarter" idx="31" hasCustomPrompt="1"/>
          </p:nvPr>
        </p:nvSpPr>
        <p:spPr>
          <a:xfrm>
            <a:off x="8467064" y="4416472"/>
            <a:ext cx="3413606" cy="215444"/>
          </a:xfrm>
        </p:spPr>
        <p:txBody>
          <a:bodyPr/>
          <a:lstStyle>
            <a:lvl1pPr algn="l">
              <a:defRPr/>
            </a:lvl1pPr>
          </a:lstStyle>
          <a:p>
            <a:pPr lvl="0"/>
            <a:r>
              <a:rPr lang="en-US"/>
              <a:t>Add copy here</a:t>
            </a:r>
          </a:p>
        </p:txBody>
      </p:sp>
      <p:sp>
        <p:nvSpPr>
          <p:cNvPr id="14" name="Text Placeholder 4">
            <a:extLst>
              <a:ext uri="{FF2B5EF4-FFF2-40B4-BE49-F238E27FC236}">
                <a16:creationId xmlns:a16="http://schemas.microsoft.com/office/drawing/2014/main" id="{E3D12248-EDCB-01D9-62A7-D94A0D2A4627}"/>
              </a:ext>
            </a:extLst>
          </p:cNvPr>
          <p:cNvSpPr>
            <a:spLocks noGrp="1"/>
          </p:cNvSpPr>
          <p:nvPr>
            <p:ph type="body" sz="quarter" idx="32" hasCustomPrompt="1"/>
          </p:nvPr>
        </p:nvSpPr>
        <p:spPr>
          <a:xfrm>
            <a:off x="8467064" y="2660985"/>
            <a:ext cx="3500035" cy="1536030"/>
          </a:xfrm>
          <a:prstGeom prst="rect">
            <a:avLst/>
          </a:prstGeom>
        </p:spPr>
        <p:txBody>
          <a:bodyPr lIns="0" tIns="0" rIns="0" bIns="0">
            <a:noAutofit/>
          </a:bodyPr>
          <a:lstStyle>
            <a:lvl1pPr marL="0" indent="0">
              <a:spcBef>
                <a:spcPts val="0"/>
              </a:spcBef>
              <a:buNone/>
              <a:defRPr sz="3600" b="1" i="0">
                <a:solidFill>
                  <a:schemeClr val="accent4"/>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Title, a Quote, or a Statement Here.</a:t>
            </a:r>
          </a:p>
        </p:txBody>
      </p:sp>
    </p:spTree>
    <p:extLst>
      <p:ext uri="{BB962C8B-B14F-4D97-AF65-F5344CB8AC3E}">
        <p14:creationId xmlns:p14="http://schemas.microsoft.com/office/powerpoint/2010/main" val="2909854389"/>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13CC024-E702-4978-410F-BE36D8189EC0}"/>
              </a:ext>
            </a:extLst>
          </p:cNvPr>
          <p:cNvSpPr/>
          <p:nvPr userDrawn="1"/>
        </p:nvSpPr>
        <p:spPr>
          <a:xfrm flipH="1">
            <a:off x="0" y="3428998"/>
            <a:ext cx="6096000" cy="3429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Rectangle 5">
            <a:extLst>
              <a:ext uri="{FF2B5EF4-FFF2-40B4-BE49-F238E27FC236}">
                <a16:creationId xmlns:a16="http://schemas.microsoft.com/office/drawing/2014/main" id="{C1F7CDA4-C521-9C0F-665A-0CF249E50987}"/>
              </a:ext>
            </a:extLst>
          </p:cNvPr>
          <p:cNvSpPr/>
          <p:nvPr userDrawn="1"/>
        </p:nvSpPr>
        <p:spPr>
          <a:xfrm>
            <a:off x="6096001" y="0"/>
            <a:ext cx="6096000" cy="3429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1"/>
            <a:ext cx="6096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6">
            <a:extLst>
              <a:ext uri="{FF2B5EF4-FFF2-40B4-BE49-F238E27FC236}">
                <a16:creationId xmlns:a16="http://schemas.microsoft.com/office/drawing/2014/main" id="{7576C331-00DE-44D1-FDED-A83DF6219339}"/>
              </a:ext>
            </a:extLst>
          </p:cNvPr>
          <p:cNvSpPr>
            <a:spLocks noGrp="1"/>
          </p:cNvSpPr>
          <p:nvPr>
            <p:ph type="body" sz="quarter" idx="13" hasCustomPrompt="1"/>
          </p:nvPr>
        </p:nvSpPr>
        <p:spPr>
          <a:xfrm>
            <a:off x="409808" y="1499056"/>
            <a:ext cx="5363102" cy="1637335"/>
          </a:xfrm>
        </p:spPr>
        <p:txBody>
          <a:bodyPr/>
          <a:lstStyle>
            <a:lvl1pPr>
              <a:defRPr>
                <a:solidFill>
                  <a:schemeClr val="bg1"/>
                </a:solidFill>
              </a:defRPr>
            </a:lvl1pPr>
          </a:lstStyle>
          <a:p>
            <a:pPr lvl="0"/>
            <a:r>
              <a:rPr lang="en-US"/>
              <a:t>Add copy here</a:t>
            </a:r>
          </a:p>
        </p:txBody>
      </p:sp>
      <p:sp>
        <p:nvSpPr>
          <p:cNvPr id="8" name="Text Placeholder 6">
            <a:extLst>
              <a:ext uri="{FF2B5EF4-FFF2-40B4-BE49-F238E27FC236}">
                <a16:creationId xmlns:a16="http://schemas.microsoft.com/office/drawing/2014/main" id="{9B0C911C-910B-9DCD-ADE4-5A8DFB3955F7}"/>
              </a:ext>
            </a:extLst>
          </p:cNvPr>
          <p:cNvSpPr>
            <a:spLocks noGrp="1"/>
          </p:cNvSpPr>
          <p:nvPr>
            <p:ph type="body" sz="quarter" idx="14" hasCustomPrompt="1"/>
          </p:nvPr>
        </p:nvSpPr>
        <p:spPr>
          <a:xfrm>
            <a:off x="6505807" y="1517904"/>
            <a:ext cx="5363104" cy="1618487"/>
          </a:xfrm>
        </p:spPr>
        <p:txBody>
          <a:bodyPr/>
          <a:lstStyle>
            <a:lvl1pPr algn="l">
              <a:defRPr>
                <a:solidFill>
                  <a:schemeClr val="bg1"/>
                </a:solidFill>
              </a:defRPr>
            </a:lvl1pPr>
          </a:lstStyle>
          <a:p>
            <a:pPr lvl="0"/>
            <a:r>
              <a:rPr lang="en-US"/>
              <a:t>Add copy here</a:t>
            </a:r>
          </a:p>
        </p:txBody>
      </p:sp>
      <p:sp>
        <p:nvSpPr>
          <p:cNvPr id="13" name="Title 12">
            <a:extLst>
              <a:ext uri="{FF2B5EF4-FFF2-40B4-BE49-F238E27FC236}">
                <a16:creationId xmlns:a16="http://schemas.microsoft.com/office/drawing/2014/main" id="{D418CD0F-CC78-E831-0AD0-566141828C1E}"/>
              </a:ext>
            </a:extLst>
          </p:cNvPr>
          <p:cNvSpPr>
            <a:spLocks noGrp="1"/>
          </p:cNvSpPr>
          <p:nvPr>
            <p:ph type="title" hasCustomPrompt="1"/>
          </p:nvPr>
        </p:nvSpPr>
        <p:spPr>
          <a:xfrm>
            <a:off x="409807" y="375066"/>
            <a:ext cx="5363103" cy="896656"/>
          </a:xfrm>
        </p:spPr>
        <p:txBody>
          <a:bodyPr/>
          <a:lstStyle>
            <a:lvl1pPr>
              <a:spcBef>
                <a:spcPts val="0"/>
              </a:spcBef>
              <a:defRPr sz="3200" b="1" i="0">
                <a:solidFill>
                  <a:schemeClr val="bg2"/>
                </a:solidFill>
                <a:latin typeface="Aleo SemiBold" pitchFamily="2" charset="77"/>
              </a:defRPr>
            </a:lvl1pPr>
          </a:lstStyle>
          <a:p>
            <a:r>
              <a:rPr lang="en-US"/>
              <a:t>Add a headline, quote, or statement here</a:t>
            </a:r>
          </a:p>
        </p:txBody>
      </p:sp>
      <p:sp>
        <p:nvSpPr>
          <p:cNvPr id="17" name="Text Placeholder 4">
            <a:extLst>
              <a:ext uri="{FF2B5EF4-FFF2-40B4-BE49-F238E27FC236}">
                <a16:creationId xmlns:a16="http://schemas.microsoft.com/office/drawing/2014/main" id="{5DE134F6-DEDA-210F-618C-8B87F33ED1DA}"/>
              </a:ext>
            </a:extLst>
          </p:cNvPr>
          <p:cNvSpPr>
            <a:spLocks noGrp="1"/>
          </p:cNvSpPr>
          <p:nvPr>
            <p:ph type="body" sz="quarter" idx="30" hasCustomPrompt="1"/>
          </p:nvPr>
        </p:nvSpPr>
        <p:spPr>
          <a:xfrm>
            <a:off x="6505808" y="375066"/>
            <a:ext cx="5363103" cy="923382"/>
          </a:xfrm>
          <a:prstGeom prst="rect">
            <a:avLst/>
          </a:prstGeom>
        </p:spPr>
        <p:txBody>
          <a:bodyPr>
            <a:noAutofit/>
          </a:bodyPr>
          <a:lstStyle>
            <a:lvl1pPr marL="0" indent="0">
              <a:lnSpc>
                <a:spcPct val="90000"/>
              </a:lnSpc>
              <a:spcBef>
                <a:spcPts val="0"/>
              </a:spcBef>
              <a:spcAft>
                <a:spcPts val="0"/>
              </a:spcAft>
              <a:buNone/>
              <a:defRPr sz="3200" b="1" i="0">
                <a:solidFill>
                  <a:schemeClr val="bg2"/>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headline, quote, or statement here</a:t>
            </a:r>
          </a:p>
        </p:txBody>
      </p:sp>
      <p:sp>
        <p:nvSpPr>
          <p:cNvPr id="3" name="Rectangle 2">
            <a:extLst>
              <a:ext uri="{FF2B5EF4-FFF2-40B4-BE49-F238E27FC236}">
                <a16:creationId xmlns:a16="http://schemas.microsoft.com/office/drawing/2014/main" id="{12C71A7F-5639-3147-C3B7-DB68851FD99D}"/>
              </a:ext>
            </a:extLst>
          </p:cNvPr>
          <p:cNvSpPr/>
          <p:nvPr userDrawn="1"/>
        </p:nvSpPr>
        <p:spPr>
          <a:xfrm>
            <a:off x="0" y="3429001"/>
            <a:ext cx="6096000" cy="342900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5" name="Rectangle 4">
            <a:extLst>
              <a:ext uri="{FF2B5EF4-FFF2-40B4-BE49-F238E27FC236}">
                <a16:creationId xmlns:a16="http://schemas.microsoft.com/office/drawing/2014/main" id="{9BA3ACFD-2948-BCC1-7AE0-68F6CE7154A6}"/>
              </a:ext>
            </a:extLst>
          </p:cNvPr>
          <p:cNvSpPr/>
          <p:nvPr userDrawn="1"/>
        </p:nvSpPr>
        <p:spPr>
          <a:xfrm>
            <a:off x="6096001" y="3429001"/>
            <a:ext cx="6096000" cy="3429000"/>
          </a:xfrm>
          <a:prstGeom prst="rect">
            <a:avLst/>
          </a:prstGeom>
          <a:solidFill>
            <a:schemeClr val="accent2">
              <a:alpha val="8036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0" name="Text Placeholder 6">
            <a:extLst>
              <a:ext uri="{FF2B5EF4-FFF2-40B4-BE49-F238E27FC236}">
                <a16:creationId xmlns:a16="http://schemas.microsoft.com/office/drawing/2014/main" id="{E276BEF4-F23A-C0E6-4C2B-38EB1DFFC7F2}"/>
              </a:ext>
            </a:extLst>
          </p:cNvPr>
          <p:cNvSpPr>
            <a:spLocks noGrp="1"/>
          </p:cNvSpPr>
          <p:nvPr>
            <p:ph type="body" sz="quarter" idx="31" hasCustomPrompt="1"/>
          </p:nvPr>
        </p:nvSpPr>
        <p:spPr>
          <a:xfrm>
            <a:off x="6505807" y="5034013"/>
            <a:ext cx="5363104" cy="1531378"/>
          </a:xfrm>
        </p:spPr>
        <p:txBody>
          <a:bodyPr/>
          <a:lstStyle>
            <a:lvl1pPr algn="l">
              <a:defRPr>
                <a:solidFill>
                  <a:schemeClr val="bg1"/>
                </a:solidFill>
              </a:defRPr>
            </a:lvl1pPr>
          </a:lstStyle>
          <a:p>
            <a:pPr lvl="0"/>
            <a:r>
              <a:rPr lang="en-US"/>
              <a:t>Add copy here</a:t>
            </a:r>
          </a:p>
        </p:txBody>
      </p:sp>
      <p:sp>
        <p:nvSpPr>
          <p:cNvPr id="11" name="Text Placeholder 4">
            <a:extLst>
              <a:ext uri="{FF2B5EF4-FFF2-40B4-BE49-F238E27FC236}">
                <a16:creationId xmlns:a16="http://schemas.microsoft.com/office/drawing/2014/main" id="{50E85334-91D2-0E5A-1564-99C13D311C6D}"/>
              </a:ext>
            </a:extLst>
          </p:cNvPr>
          <p:cNvSpPr>
            <a:spLocks noGrp="1"/>
          </p:cNvSpPr>
          <p:nvPr>
            <p:ph type="body" sz="quarter" idx="32" hasCustomPrompt="1"/>
          </p:nvPr>
        </p:nvSpPr>
        <p:spPr>
          <a:xfrm>
            <a:off x="6505808" y="3804066"/>
            <a:ext cx="5363103" cy="1005838"/>
          </a:xfrm>
          <a:prstGeom prst="rect">
            <a:avLst/>
          </a:prstGeom>
        </p:spPr>
        <p:txBody>
          <a:bodyPr>
            <a:noAutofit/>
          </a:bodyPr>
          <a:lstStyle>
            <a:lvl1pPr marL="0" indent="0">
              <a:lnSpc>
                <a:spcPct val="90000"/>
              </a:lnSpc>
              <a:spcBef>
                <a:spcPts val="0"/>
              </a:spcBef>
              <a:buNone/>
              <a:defRPr sz="3200" b="1" i="0">
                <a:solidFill>
                  <a:schemeClr val="bg2"/>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headline, quote, or statement here</a:t>
            </a:r>
          </a:p>
        </p:txBody>
      </p:sp>
      <p:sp>
        <p:nvSpPr>
          <p:cNvPr id="16" name="Text Placeholder 6">
            <a:extLst>
              <a:ext uri="{FF2B5EF4-FFF2-40B4-BE49-F238E27FC236}">
                <a16:creationId xmlns:a16="http://schemas.microsoft.com/office/drawing/2014/main" id="{FD44C8A3-E8F9-C9AC-7F59-D7A99D674F1C}"/>
              </a:ext>
            </a:extLst>
          </p:cNvPr>
          <p:cNvSpPr>
            <a:spLocks noGrp="1"/>
          </p:cNvSpPr>
          <p:nvPr>
            <p:ph type="body" sz="quarter" idx="33" hasCustomPrompt="1"/>
          </p:nvPr>
        </p:nvSpPr>
        <p:spPr>
          <a:xfrm>
            <a:off x="409807" y="5034013"/>
            <a:ext cx="5363104" cy="1531378"/>
          </a:xfrm>
        </p:spPr>
        <p:txBody>
          <a:bodyPr/>
          <a:lstStyle>
            <a:lvl1pPr algn="l">
              <a:defRPr/>
            </a:lvl1pPr>
          </a:lstStyle>
          <a:p>
            <a:pPr lvl="0"/>
            <a:r>
              <a:rPr lang="en-US"/>
              <a:t>Add copy here</a:t>
            </a:r>
          </a:p>
        </p:txBody>
      </p:sp>
      <p:sp>
        <p:nvSpPr>
          <p:cNvPr id="18" name="Text Placeholder 4">
            <a:extLst>
              <a:ext uri="{FF2B5EF4-FFF2-40B4-BE49-F238E27FC236}">
                <a16:creationId xmlns:a16="http://schemas.microsoft.com/office/drawing/2014/main" id="{87C01AC5-684A-0A68-5317-E69FD657BB1C}"/>
              </a:ext>
            </a:extLst>
          </p:cNvPr>
          <p:cNvSpPr>
            <a:spLocks noGrp="1"/>
          </p:cNvSpPr>
          <p:nvPr>
            <p:ph type="body" sz="quarter" idx="34" hasCustomPrompt="1"/>
          </p:nvPr>
        </p:nvSpPr>
        <p:spPr>
          <a:xfrm>
            <a:off x="409808" y="3804066"/>
            <a:ext cx="5363103" cy="1005838"/>
          </a:xfrm>
          <a:prstGeom prst="rect">
            <a:avLst/>
          </a:prstGeom>
        </p:spPr>
        <p:txBody>
          <a:bodyPr>
            <a:noAutofit/>
          </a:bodyPr>
          <a:lstStyle>
            <a:lvl1pPr marL="0" indent="0">
              <a:lnSpc>
                <a:spcPct val="90000"/>
              </a:lnSpc>
              <a:spcBef>
                <a:spcPts val="0"/>
              </a:spcBef>
              <a:buNone/>
              <a:defRPr sz="3200" b="1" i="0">
                <a:solidFill>
                  <a:schemeClr val="accent4"/>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headline, quote, or statement here</a:t>
            </a:r>
          </a:p>
        </p:txBody>
      </p:sp>
    </p:spTree>
    <p:extLst>
      <p:ext uri="{BB962C8B-B14F-4D97-AF65-F5344CB8AC3E}">
        <p14:creationId xmlns:p14="http://schemas.microsoft.com/office/powerpoint/2010/main" val="87639793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6D8F33-E2BF-ECA0-22A1-FFFAD20736F9}"/>
              </a:ext>
            </a:extLst>
          </p:cNvPr>
          <p:cNvSpPr/>
          <p:nvPr userDrawn="1"/>
        </p:nvSpPr>
        <p:spPr>
          <a:xfrm>
            <a:off x="7069394" y="0"/>
            <a:ext cx="5122606" cy="6858000"/>
          </a:xfrm>
          <a:prstGeom prst="rect">
            <a:avLst/>
          </a:prstGeom>
          <a:gradFill flip="none" rotWithShape="1">
            <a:gsLst>
              <a:gs pos="51000">
                <a:srgbClr val="6536EA"/>
              </a:gs>
              <a:gs pos="1000">
                <a:schemeClr val="accent4"/>
              </a:gs>
              <a:gs pos="100000">
                <a:schemeClr val="accent2"/>
              </a:gs>
            </a:gsLst>
            <a:lin ang="2700000" scaled="0"/>
            <a:tileRect/>
          </a:gradFill>
          <a:ln>
            <a:noFill/>
          </a:ln>
          <a:effectLst>
            <a:outerShdw blurRad="899448" dist="139700" dir="10800000" algn="r" rotWithShape="0">
              <a:schemeClr val="accent1">
                <a:alpha val="20472"/>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2C6977E8-8CF5-418C-49D1-D550B90768E0}"/>
              </a:ext>
            </a:extLst>
          </p:cNvPr>
          <p:cNvSpPr>
            <a:spLocks noGrp="1"/>
          </p:cNvSpPr>
          <p:nvPr>
            <p:ph type="title" hasCustomPrompt="1"/>
          </p:nvPr>
        </p:nvSpPr>
        <p:spPr>
          <a:xfrm>
            <a:off x="442912" y="2957066"/>
            <a:ext cx="5461176" cy="1344984"/>
          </a:xfrm>
        </p:spPr>
        <p:txBody>
          <a:bodyPr vert="horz" anchor="t"/>
          <a:lstStyle>
            <a:lvl1pPr algn="l" rtl="0">
              <a:defRPr sz="4800" b="1" i="0">
                <a:solidFill>
                  <a:schemeClr val="accent4"/>
                </a:solidFill>
                <a:latin typeface="Aleo SemiBold" pitchFamily="2" charset="77"/>
              </a:defRPr>
            </a:lvl1pPr>
          </a:lstStyle>
          <a:p>
            <a:r>
              <a:rPr lang="en-US"/>
              <a:t>This is a Basic Divider Slide</a:t>
            </a:r>
          </a:p>
        </p:txBody>
      </p:sp>
      <p:pic>
        <p:nvPicPr>
          <p:cNvPr id="2" name="Graphic 1">
            <a:extLst>
              <a:ext uri="{FF2B5EF4-FFF2-40B4-BE49-F238E27FC236}">
                <a16:creationId xmlns:a16="http://schemas.microsoft.com/office/drawing/2014/main" id="{79F2B5C2-9A72-23E1-C4F7-15A73C0C1DA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188259" y="2957066"/>
            <a:ext cx="884876" cy="943867"/>
          </a:xfrm>
          <a:prstGeom prst="rect">
            <a:avLst/>
          </a:prstGeom>
        </p:spPr>
      </p:pic>
      <p:sp>
        <p:nvSpPr>
          <p:cNvPr id="6" name="Text Placeholder 43">
            <a:extLst>
              <a:ext uri="{FF2B5EF4-FFF2-40B4-BE49-F238E27FC236}">
                <a16:creationId xmlns:a16="http://schemas.microsoft.com/office/drawing/2014/main" id="{0FD4789B-AF6B-9C93-D79A-3C86E87880FA}"/>
              </a:ext>
            </a:extLst>
          </p:cNvPr>
          <p:cNvSpPr>
            <a:spLocks noGrp="1"/>
          </p:cNvSpPr>
          <p:nvPr>
            <p:ph type="body" sz="quarter" idx="17" hasCustomPrompt="1"/>
          </p:nvPr>
        </p:nvSpPr>
        <p:spPr>
          <a:xfrm>
            <a:off x="442912" y="2622007"/>
            <a:ext cx="5363999" cy="276999"/>
          </a:xfrm>
        </p:spPr>
        <p:txBody>
          <a:bodyPr lIns="0" tIns="0" rIns="0" bIns="0"/>
          <a:lstStyle>
            <a:lvl1pPr>
              <a:defRPr sz="1400">
                <a:solidFill>
                  <a:schemeClr val="accent1"/>
                </a:solidFill>
                <a:latin typeface="DM Sans" pitchFamily="2" charset="77"/>
              </a:defRPr>
            </a:lvl1pPr>
          </a:lstStyle>
          <a:p>
            <a:r>
              <a:rPr lang="en-US"/>
              <a:t>SECTION TITLE GOES HERE</a:t>
            </a:r>
          </a:p>
        </p:txBody>
      </p:sp>
    </p:spTree>
    <p:extLst>
      <p:ext uri="{BB962C8B-B14F-4D97-AF65-F5344CB8AC3E}">
        <p14:creationId xmlns:p14="http://schemas.microsoft.com/office/powerpoint/2010/main" val="201745056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ounded Rectangle 10">
            <a:extLst>
              <a:ext uri="{FF2B5EF4-FFF2-40B4-BE49-F238E27FC236}">
                <a16:creationId xmlns:a16="http://schemas.microsoft.com/office/drawing/2014/main" id="{E66D8F33-E2BF-ECA0-22A1-FFFAD20736F9}"/>
              </a:ext>
            </a:extLst>
          </p:cNvPr>
          <p:cNvSpPr/>
          <p:nvPr userDrawn="1"/>
        </p:nvSpPr>
        <p:spPr>
          <a:xfrm>
            <a:off x="6818490" y="662013"/>
            <a:ext cx="5017293" cy="574485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0886749E-F2EB-0B35-00B3-26706517E02B}"/>
              </a:ext>
            </a:extLst>
          </p:cNvPr>
          <p:cNvSpPr>
            <a:spLocks noGrp="1"/>
          </p:cNvSpPr>
          <p:nvPr>
            <p:ph type="pic" sz="quarter" idx="16"/>
          </p:nvPr>
        </p:nvSpPr>
        <p:spPr>
          <a:xfrm>
            <a:off x="6705601" y="577769"/>
            <a:ext cx="4991100" cy="5716210"/>
          </a:xfrm>
          <a:prstGeom prst="roundRect">
            <a:avLst/>
          </a:prstGeom>
        </p:spPr>
        <p:txBody>
          <a:bodyPr/>
          <a:lstStyle/>
          <a:p>
            <a:endParaRPr lang="en-US"/>
          </a:p>
        </p:txBody>
      </p:sp>
      <p:sp>
        <p:nvSpPr>
          <p:cNvPr id="2" name="Title 1">
            <a:extLst>
              <a:ext uri="{FF2B5EF4-FFF2-40B4-BE49-F238E27FC236}">
                <a16:creationId xmlns:a16="http://schemas.microsoft.com/office/drawing/2014/main" id="{2FB31B8B-EFEF-E7B0-B95C-4A1B66A92CF9}"/>
              </a:ext>
            </a:extLst>
          </p:cNvPr>
          <p:cNvSpPr>
            <a:spLocks noGrp="1"/>
          </p:cNvSpPr>
          <p:nvPr>
            <p:ph type="title" hasCustomPrompt="1"/>
          </p:nvPr>
        </p:nvSpPr>
        <p:spPr>
          <a:xfrm>
            <a:off x="465337" y="2693546"/>
            <a:ext cx="5461176" cy="1991575"/>
          </a:xfrm>
        </p:spPr>
        <p:txBody>
          <a:bodyPr/>
          <a:lstStyle>
            <a:lvl1pPr>
              <a:defRPr sz="4800"/>
            </a:lvl1pPr>
          </a:lstStyle>
          <a:p>
            <a:r>
              <a:rPr lang="en-US"/>
              <a:t>This is a divider slide with large image</a:t>
            </a:r>
          </a:p>
        </p:txBody>
      </p:sp>
      <p:sp>
        <p:nvSpPr>
          <p:cNvPr id="5" name="Text Placeholder 43">
            <a:extLst>
              <a:ext uri="{FF2B5EF4-FFF2-40B4-BE49-F238E27FC236}">
                <a16:creationId xmlns:a16="http://schemas.microsoft.com/office/drawing/2014/main" id="{290F536A-35CA-27FC-2B72-7D414D6B0A90}"/>
              </a:ext>
            </a:extLst>
          </p:cNvPr>
          <p:cNvSpPr>
            <a:spLocks noGrp="1"/>
          </p:cNvSpPr>
          <p:nvPr>
            <p:ph type="body" sz="quarter" idx="17" hasCustomPrompt="1"/>
          </p:nvPr>
        </p:nvSpPr>
        <p:spPr>
          <a:xfrm>
            <a:off x="442912" y="2327444"/>
            <a:ext cx="5363999" cy="142379"/>
          </a:xfrm>
        </p:spPr>
        <p:txBody>
          <a:bodyPr lIns="0" tIns="0" rIns="0" bIns="0"/>
          <a:lstStyle>
            <a:lvl1pPr>
              <a:defRPr sz="1400">
                <a:solidFill>
                  <a:schemeClr val="accent1"/>
                </a:solidFill>
                <a:latin typeface="DM Sans" pitchFamily="2" charset="77"/>
              </a:defRPr>
            </a:lvl1pPr>
          </a:lstStyle>
          <a:p>
            <a:r>
              <a:rPr lang="en-US"/>
              <a:t>SECTION TITLE GOES HERE</a:t>
            </a:r>
          </a:p>
        </p:txBody>
      </p:sp>
    </p:spTree>
    <p:extLst>
      <p:ext uri="{BB962C8B-B14F-4D97-AF65-F5344CB8AC3E}">
        <p14:creationId xmlns:p14="http://schemas.microsoft.com/office/powerpoint/2010/main" val="207877907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5597A78-51F0-D65B-523A-0C318E41854D}"/>
              </a:ext>
            </a:extLst>
          </p:cNvPr>
          <p:cNvSpPr>
            <a:spLocks noGrp="1"/>
          </p:cNvSpPr>
          <p:nvPr>
            <p:ph type="pic" sz="quarter" idx="14"/>
          </p:nvPr>
        </p:nvSpPr>
        <p:spPr>
          <a:xfrm>
            <a:off x="0" y="0"/>
            <a:ext cx="12192000" cy="4939989"/>
          </a:xfrm>
        </p:spPr>
        <p:txBody>
          <a:bodyPr/>
          <a:lstStyle/>
          <a:p>
            <a:endParaRPr lang="en-US"/>
          </a:p>
        </p:txBody>
      </p:sp>
      <p:sp>
        <p:nvSpPr>
          <p:cNvPr id="12" name="Rectangle 11">
            <a:extLst>
              <a:ext uri="{FF2B5EF4-FFF2-40B4-BE49-F238E27FC236}">
                <a16:creationId xmlns:a16="http://schemas.microsoft.com/office/drawing/2014/main" id="{C440567A-A067-E987-95B6-1DBB038A6B94}"/>
              </a:ext>
            </a:extLst>
          </p:cNvPr>
          <p:cNvSpPr/>
          <p:nvPr userDrawn="1"/>
        </p:nvSpPr>
        <p:spPr>
          <a:xfrm rot="16200000">
            <a:off x="6029091" y="-1089104"/>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B0734BB4-8702-5DAB-AD81-16995F7F748D}"/>
              </a:ext>
            </a:extLst>
          </p:cNvPr>
          <p:cNvSpPr>
            <a:spLocks noGrp="1"/>
          </p:cNvSpPr>
          <p:nvPr>
            <p:ph type="title" hasCustomPrompt="1"/>
          </p:nvPr>
        </p:nvSpPr>
        <p:spPr>
          <a:xfrm>
            <a:off x="442911" y="5799405"/>
            <a:ext cx="11336337" cy="506942"/>
          </a:xfrm>
        </p:spPr>
        <p:txBody>
          <a:bodyPr/>
          <a:lstStyle>
            <a:lvl1pPr>
              <a:defRPr b="1" i="0">
                <a:latin typeface="Aleo SemiBold" pitchFamily="2" charset="77"/>
              </a:defRPr>
            </a:lvl1pPr>
          </a:lstStyle>
          <a:p>
            <a:r>
              <a:rPr lang="en-US"/>
              <a:t>This is a Custom Divider Slide</a:t>
            </a:r>
          </a:p>
        </p:txBody>
      </p:sp>
      <p:sp>
        <p:nvSpPr>
          <p:cNvPr id="3" name="Text Placeholder 43">
            <a:extLst>
              <a:ext uri="{FF2B5EF4-FFF2-40B4-BE49-F238E27FC236}">
                <a16:creationId xmlns:a16="http://schemas.microsoft.com/office/drawing/2014/main" id="{ABBB609A-8E1F-AC3F-F7EF-A74BE1ED340C}"/>
              </a:ext>
            </a:extLst>
          </p:cNvPr>
          <p:cNvSpPr>
            <a:spLocks noGrp="1"/>
          </p:cNvSpPr>
          <p:nvPr>
            <p:ph type="body" sz="quarter" idx="17" hasCustomPrompt="1"/>
          </p:nvPr>
        </p:nvSpPr>
        <p:spPr>
          <a:xfrm>
            <a:off x="442912" y="5420960"/>
            <a:ext cx="11336336" cy="244631"/>
          </a:xfrm>
        </p:spPr>
        <p:txBody>
          <a:bodyPr lIns="0" tIns="0" rIns="0" bIns="0"/>
          <a:lstStyle>
            <a:lvl1pPr>
              <a:defRPr sz="1400">
                <a:solidFill>
                  <a:schemeClr val="accent1"/>
                </a:solidFill>
                <a:latin typeface="DM Sans" pitchFamily="2" charset="77"/>
              </a:defRPr>
            </a:lvl1pPr>
          </a:lstStyle>
          <a:p>
            <a:r>
              <a:rPr lang="en-US"/>
              <a:t>SECTION TITLE GOES HERE</a:t>
            </a:r>
          </a:p>
        </p:txBody>
      </p:sp>
    </p:spTree>
    <p:extLst>
      <p:ext uri="{BB962C8B-B14F-4D97-AF65-F5344CB8AC3E}">
        <p14:creationId xmlns:p14="http://schemas.microsoft.com/office/powerpoint/2010/main" val="28546206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Left, Image Right, ">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236D318A-4294-DB3A-0F79-70449F4BF544}"/>
              </a:ext>
            </a:extLst>
          </p:cNvPr>
          <p:cNvSpPr>
            <a:spLocks noGrp="1"/>
          </p:cNvSpPr>
          <p:nvPr>
            <p:ph type="pic" sz="quarter" idx="14"/>
          </p:nvPr>
        </p:nvSpPr>
        <p:spPr>
          <a:xfrm>
            <a:off x="7543742" y="0"/>
            <a:ext cx="4648258" cy="6858000"/>
          </a:xfrm>
        </p:spPr>
        <p:txBody>
          <a:bodyPr/>
          <a:lstStyle/>
          <a:p>
            <a:endParaRPr lang="en-US"/>
          </a:p>
        </p:txBody>
      </p:sp>
      <p:sp>
        <p:nvSpPr>
          <p:cNvPr id="5" name="Rectangle 4">
            <a:extLst>
              <a:ext uri="{FF2B5EF4-FFF2-40B4-BE49-F238E27FC236}">
                <a16:creationId xmlns:a16="http://schemas.microsoft.com/office/drawing/2014/main" id="{3E64F303-A284-6404-7436-7C7C2B3C24F5}"/>
              </a:ext>
            </a:extLst>
          </p:cNvPr>
          <p:cNvSpPr/>
          <p:nvPr userDrawn="1"/>
        </p:nvSpPr>
        <p:spPr>
          <a:xfrm>
            <a:off x="7428063" y="8626"/>
            <a:ext cx="115679" cy="6858000"/>
          </a:xfrm>
          <a:prstGeom prst="rect">
            <a:avLst/>
          </a:prstGeom>
          <a:gradFill>
            <a:gsLst>
              <a:gs pos="0">
                <a:schemeClr val="accent4"/>
              </a:gs>
              <a:gs pos="51000">
                <a:schemeClr val="accent1"/>
              </a:gs>
              <a:gs pos="100000">
                <a:schemeClr val="accent2"/>
              </a:gs>
            </a:gsLst>
            <a:lin ang="5400000" scaled="0"/>
          </a:gradFill>
          <a:ln>
            <a:noFill/>
          </a:ln>
          <a:effectLst>
            <a:outerShdw blurRad="419100" dist="88900" dir="10800000" algn="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Inhaltsplatzhalter 18">
            <a:extLst>
              <a:ext uri="{FF2B5EF4-FFF2-40B4-BE49-F238E27FC236}">
                <a16:creationId xmlns:a16="http://schemas.microsoft.com/office/drawing/2014/main" id="{1D327B7B-C4AD-EBA0-1FF0-AF8DD18630D9}"/>
              </a:ext>
            </a:extLst>
          </p:cNvPr>
          <p:cNvSpPr>
            <a:spLocks noGrp="1"/>
          </p:cNvSpPr>
          <p:nvPr>
            <p:ph sz="quarter" idx="13" hasCustomPrompt="1"/>
          </p:nvPr>
        </p:nvSpPr>
        <p:spPr>
          <a:xfrm>
            <a:off x="442913" y="900768"/>
            <a:ext cx="6484098"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3" name="Title 2">
            <a:extLst>
              <a:ext uri="{FF2B5EF4-FFF2-40B4-BE49-F238E27FC236}">
                <a16:creationId xmlns:a16="http://schemas.microsoft.com/office/drawing/2014/main" id="{8272A55C-B715-9601-9B16-BBDEDDF58C0B}"/>
              </a:ext>
            </a:extLst>
          </p:cNvPr>
          <p:cNvSpPr>
            <a:spLocks noGrp="1"/>
          </p:cNvSpPr>
          <p:nvPr>
            <p:ph type="title" hasCustomPrompt="1"/>
          </p:nvPr>
        </p:nvSpPr>
        <p:spPr>
          <a:xfrm>
            <a:off x="465337" y="365126"/>
            <a:ext cx="6483899" cy="506942"/>
          </a:xfrm>
        </p:spPr>
        <p:txBody>
          <a:bodyPr/>
          <a:lstStyle>
            <a:lvl1pPr>
              <a:defRPr b="0"/>
            </a:lvl1pPr>
          </a:lstStyle>
          <a:p>
            <a:r>
              <a:rPr lang="en-US"/>
              <a:t>Add a Headline Here</a:t>
            </a:r>
          </a:p>
        </p:txBody>
      </p:sp>
      <p:sp>
        <p:nvSpPr>
          <p:cNvPr id="6" name="Text Placeholder 4">
            <a:extLst>
              <a:ext uri="{FF2B5EF4-FFF2-40B4-BE49-F238E27FC236}">
                <a16:creationId xmlns:a16="http://schemas.microsoft.com/office/drawing/2014/main" id="{35C363A4-6BB0-9C86-BD04-778465EC971D}"/>
              </a:ext>
            </a:extLst>
          </p:cNvPr>
          <p:cNvSpPr>
            <a:spLocks noGrp="1"/>
          </p:cNvSpPr>
          <p:nvPr>
            <p:ph type="body" sz="quarter" idx="15"/>
          </p:nvPr>
        </p:nvSpPr>
        <p:spPr>
          <a:xfrm>
            <a:off x="465138" y="1349375"/>
            <a:ext cx="6484098" cy="4802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441320"/>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Right, Image Lef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236D318A-4294-DB3A-0F79-70449F4BF544}"/>
              </a:ext>
            </a:extLst>
          </p:cNvPr>
          <p:cNvSpPr>
            <a:spLocks noGrp="1"/>
          </p:cNvSpPr>
          <p:nvPr>
            <p:ph type="pic" sz="quarter" idx="14"/>
          </p:nvPr>
        </p:nvSpPr>
        <p:spPr>
          <a:xfrm>
            <a:off x="0" y="0"/>
            <a:ext cx="4648258" cy="6858000"/>
          </a:xfrm>
        </p:spPr>
        <p:txBody>
          <a:bodyPr/>
          <a:lstStyle/>
          <a:p>
            <a:endParaRPr lang="en-US"/>
          </a:p>
        </p:txBody>
      </p:sp>
      <p:sp>
        <p:nvSpPr>
          <p:cNvPr id="5" name="Rectangle 4">
            <a:extLst>
              <a:ext uri="{FF2B5EF4-FFF2-40B4-BE49-F238E27FC236}">
                <a16:creationId xmlns:a16="http://schemas.microsoft.com/office/drawing/2014/main" id="{3E64F303-A284-6404-7436-7C7C2B3C24F5}"/>
              </a:ext>
            </a:extLst>
          </p:cNvPr>
          <p:cNvSpPr/>
          <p:nvPr userDrawn="1"/>
        </p:nvSpPr>
        <p:spPr>
          <a:xfrm>
            <a:off x="4648258" y="8626"/>
            <a:ext cx="115679" cy="6858000"/>
          </a:xfrm>
          <a:prstGeom prst="rect">
            <a:avLst/>
          </a:prstGeom>
          <a:gradFill>
            <a:gsLst>
              <a:gs pos="0">
                <a:schemeClr val="accent4"/>
              </a:gs>
              <a:gs pos="51000">
                <a:schemeClr val="accent1"/>
              </a:gs>
              <a:gs pos="100000">
                <a:schemeClr val="accent2"/>
              </a:gs>
            </a:gsLst>
            <a:lin ang="5400000" scaled="0"/>
          </a:gradFill>
          <a:ln>
            <a:noFill/>
          </a:ln>
          <a:effectLst>
            <a:outerShdw blurRad="419100" dist="88900" dir="10800000" algn="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2599852B-5CB0-994B-7E48-193493A7373C}"/>
              </a:ext>
            </a:extLst>
          </p:cNvPr>
          <p:cNvSpPr>
            <a:spLocks noGrp="1"/>
          </p:cNvSpPr>
          <p:nvPr>
            <p:ph type="title" hasCustomPrompt="1"/>
          </p:nvPr>
        </p:nvSpPr>
        <p:spPr>
          <a:xfrm>
            <a:off x="5250582" y="365922"/>
            <a:ext cx="6484097" cy="505844"/>
          </a:xfrm>
        </p:spPr>
        <p:txBody>
          <a:bodyPr/>
          <a:lstStyle/>
          <a:p>
            <a:r>
              <a:rPr lang="en-US"/>
              <a:t>Add a Headline Here</a:t>
            </a:r>
          </a:p>
        </p:txBody>
      </p:sp>
      <p:sp>
        <p:nvSpPr>
          <p:cNvPr id="3" name="Inhaltsplatzhalter 18">
            <a:extLst>
              <a:ext uri="{FF2B5EF4-FFF2-40B4-BE49-F238E27FC236}">
                <a16:creationId xmlns:a16="http://schemas.microsoft.com/office/drawing/2014/main" id="{3E21323D-6984-848D-A628-462DB8CDC8A8}"/>
              </a:ext>
            </a:extLst>
          </p:cNvPr>
          <p:cNvSpPr>
            <a:spLocks noGrp="1"/>
          </p:cNvSpPr>
          <p:nvPr>
            <p:ph sz="quarter" idx="13" hasCustomPrompt="1"/>
          </p:nvPr>
        </p:nvSpPr>
        <p:spPr>
          <a:xfrm>
            <a:off x="5250582" y="900768"/>
            <a:ext cx="6484098"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4" name="Text Placeholder 4">
            <a:extLst>
              <a:ext uri="{FF2B5EF4-FFF2-40B4-BE49-F238E27FC236}">
                <a16:creationId xmlns:a16="http://schemas.microsoft.com/office/drawing/2014/main" id="{2FDC8960-2B54-A948-2CA4-223810CEB058}"/>
              </a:ext>
            </a:extLst>
          </p:cNvPr>
          <p:cNvSpPr>
            <a:spLocks noGrp="1"/>
          </p:cNvSpPr>
          <p:nvPr>
            <p:ph type="body" sz="quarter" idx="15"/>
          </p:nvPr>
        </p:nvSpPr>
        <p:spPr>
          <a:xfrm>
            <a:off x="5272807" y="1349375"/>
            <a:ext cx="6484098" cy="4802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580076"/>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Graph">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Inhaltsplatzhalter 18">
            <a:extLst>
              <a:ext uri="{FF2B5EF4-FFF2-40B4-BE49-F238E27FC236}">
                <a16:creationId xmlns:a16="http://schemas.microsoft.com/office/drawing/2014/main" id="{985718E2-A599-E6EB-5F2F-6D9B6153B9B6}"/>
              </a:ext>
            </a:extLst>
          </p:cNvPr>
          <p:cNvSpPr>
            <a:spLocks noGrp="1"/>
          </p:cNvSpPr>
          <p:nvPr>
            <p:ph sz="quarter" idx="13" hasCustomPrompt="1"/>
          </p:nvPr>
        </p:nvSpPr>
        <p:spPr>
          <a:xfrm>
            <a:off x="442913" y="900768"/>
            <a:ext cx="10752614"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3" name="Title 2">
            <a:extLst>
              <a:ext uri="{FF2B5EF4-FFF2-40B4-BE49-F238E27FC236}">
                <a16:creationId xmlns:a16="http://schemas.microsoft.com/office/drawing/2014/main" id="{25FA1E53-B87F-B8A1-CBDC-6B447014EA84}"/>
              </a:ext>
            </a:extLst>
          </p:cNvPr>
          <p:cNvSpPr>
            <a:spLocks noGrp="1"/>
          </p:cNvSpPr>
          <p:nvPr>
            <p:ph type="title" hasCustomPrompt="1"/>
          </p:nvPr>
        </p:nvSpPr>
        <p:spPr>
          <a:xfrm>
            <a:off x="465337" y="365126"/>
            <a:ext cx="10752614" cy="506942"/>
          </a:xfrm>
        </p:spPr>
        <p:txBody>
          <a:bodyPr/>
          <a:lstStyle/>
          <a:p>
            <a:r>
              <a:rPr lang="en-US"/>
              <a:t>Add a Headline Here</a:t>
            </a:r>
          </a:p>
        </p:txBody>
      </p:sp>
      <p:sp>
        <p:nvSpPr>
          <p:cNvPr id="5" name="Text Placeholder 4">
            <a:extLst>
              <a:ext uri="{FF2B5EF4-FFF2-40B4-BE49-F238E27FC236}">
                <a16:creationId xmlns:a16="http://schemas.microsoft.com/office/drawing/2014/main" id="{1276EC7F-E775-E16F-88E4-D088575FE2CB}"/>
              </a:ext>
            </a:extLst>
          </p:cNvPr>
          <p:cNvSpPr>
            <a:spLocks noGrp="1"/>
          </p:cNvSpPr>
          <p:nvPr>
            <p:ph type="body" sz="quarter" idx="14"/>
          </p:nvPr>
        </p:nvSpPr>
        <p:spPr>
          <a:xfrm>
            <a:off x="465138" y="1349375"/>
            <a:ext cx="11137900" cy="4802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5">
            <a:extLst>
              <a:ext uri="{FF2B5EF4-FFF2-40B4-BE49-F238E27FC236}">
                <a16:creationId xmlns:a16="http://schemas.microsoft.com/office/drawing/2014/main" id="{C4B1C812-FBF0-683A-4730-48BF658240E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366633329"/>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2 Column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442913" y="900768"/>
            <a:ext cx="10752614"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4" name="Title 3">
            <a:extLst>
              <a:ext uri="{FF2B5EF4-FFF2-40B4-BE49-F238E27FC236}">
                <a16:creationId xmlns:a16="http://schemas.microsoft.com/office/drawing/2014/main" id="{566496F3-3DA0-4C02-5B9E-A3B37D2766DE}"/>
              </a:ext>
            </a:extLst>
          </p:cNvPr>
          <p:cNvSpPr>
            <a:spLocks noGrp="1"/>
          </p:cNvSpPr>
          <p:nvPr>
            <p:ph type="title" hasCustomPrompt="1"/>
          </p:nvPr>
        </p:nvSpPr>
        <p:spPr>
          <a:xfrm>
            <a:off x="465337" y="365126"/>
            <a:ext cx="10752614" cy="506942"/>
          </a:xfrm>
        </p:spPr>
        <p:txBody>
          <a:bodyPr/>
          <a:lstStyle/>
          <a:p>
            <a:r>
              <a:rPr lang="en-US"/>
              <a:t>Add a Headline Here</a:t>
            </a:r>
          </a:p>
        </p:txBody>
      </p:sp>
      <p:sp>
        <p:nvSpPr>
          <p:cNvPr id="6" name="Text Placeholder 5">
            <a:extLst>
              <a:ext uri="{FF2B5EF4-FFF2-40B4-BE49-F238E27FC236}">
                <a16:creationId xmlns:a16="http://schemas.microsoft.com/office/drawing/2014/main" id="{EE3D6F5E-89F2-FB1D-E230-E107EBCBEBA7}"/>
              </a:ext>
            </a:extLst>
          </p:cNvPr>
          <p:cNvSpPr>
            <a:spLocks noGrp="1"/>
          </p:cNvSpPr>
          <p:nvPr>
            <p:ph type="body" sz="quarter" idx="15"/>
          </p:nvPr>
        </p:nvSpPr>
        <p:spPr>
          <a:xfrm>
            <a:off x="442913" y="1325879"/>
            <a:ext cx="5473700" cy="49828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C50F64B4-934C-0F90-13F5-B134BE70D1F3}"/>
              </a:ext>
            </a:extLst>
          </p:cNvPr>
          <p:cNvSpPr>
            <a:spLocks noGrp="1"/>
          </p:cNvSpPr>
          <p:nvPr>
            <p:ph type="body" sz="quarter" idx="16"/>
          </p:nvPr>
        </p:nvSpPr>
        <p:spPr>
          <a:xfrm>
            <a:off x="6266665" y="1325879"/>
            <a:ext cx="5473700" cy="49828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5">
            <a:extLst>
              <a:ext uri="{FF2B5EF4-FFF2-40B4-BE49-F238E27FC236}">
                <a16:creationId xmlns:a16="http://schemas.microsoft.com/office/drawing/2014/main" id="{A9AD7C30-54FB-70CF-8DA3-FFEF802DF137}"/>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4058647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13CC024-E702-4978-410F-BE36D8189EC0}"/>
              </a:ext>
            </a:extLst>
          </p:cNvPr>
          <p:cNvSpPr/>
          <p:nvPr userDrawn="1"/>
        </p:nvSpPr>
        <p:spPr>
          <a:xfrm flipH="1">
            <a:off x="0" y="3428998"/>
            <a:ext cx="6096000" cy="3429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Rectangle 5">
            <a:extLst>
              <a:ext uri="{FF2B5EF4-FFF2-40B4-BE49-F238E27FC236}">
                <a16:creationId xmlns:a16="http://schemas.microsoft.com/office/drawing/2014/main" id="{C1F7CDA4-C521-9C0F-665A-0CF249E50987}"/>
              </a:ext>
            </a:extLst>
          </p:cNvPr>
          <p:cNvSpPr/>
          <p:nvPr userDrawn="1"/>
        </p:nvSpPr>
        <p:spPr>
          <a:xfrm>
            <a:off x="6096001" y="0"/>
            <a:ext cx="6096000" cy="3429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1"/>
            <a:ext cx="6096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6">
            <a:extLst>
              <a:ext uri="{FF2B5EF4-FFF2-40B4-BE49-F238E27FC236}">
                <a16:creationId xmlns:a16="http://schemas.microsoft.com/office/drawing/2014/main" id="{7576C331-00DE-44D1-FDED-A83DF6219339}"/>
              </a:ext>
            </a:extLst>
          </p:cNvPr>
          <p:cNvSpPr>
            <a:spLocks noGrp="1"/>
          </p:cNvSpPr>
          <p:nvPr>
            <p:ph type="body" sz="quarter" idx="13" hasCustomPrompt="1"/>
          </p:nvPr>
        </p:nvSpPr>
        <p:spPr>
          <a:xfrm>
            <a:off x="409808" y="1499056"/>
            <a:ext cx="5363102" cy="1637335"/>
          </a:xfrm>
        </p:spPr>
        <p:txBody>
          <a:bodyPr/>
          <a:lstStyle/>
          <a:p>
            <a:pPr lvl="0"/>
            <a:r>
              <a:rPr lang="en-US"/>
              <a:t>Add copy here</a:t>
            </a:r>
          </a:p>
        </p:txBody>
      </p:sp>
      <p:sp>
        <p:nvSpPr>
          <p:cNvPr id="8" name="Text Placeholder 6">
            <a:extLst>
              <a:ext uri="{FF2B5EF4-FFF2-40B4-BE49-F238E27FC236}">
                <a16:creationId xmlns:a16="http://schemas.microsoft.com/office/drawing/2014/main" id="{9B0C911C-910B-9DCD-ADE4-5A8DFB3955F7}"/>
              </a:ext>
            </a:extLst>
          </p:cNvPr>
          <p:cNvSpPr>
            <a:spLocks noGrp="1"/>
          </p:cNvSpPr>
          <p:nvPr>
            <p:ph type="body" sz="quarter" idx="14" hasCustomPrompt="1"/>
          </p:nvPr>
        </p:nvSpPr>
        <p:spPr>
          <a:xfrm>
            <a:off x="6505807" y="1517904"/>
            <a:ext cx="5363104" cy="1618487"/>
          </a:xfrm>
        </p:spPr>
        <p:txBody>
          <a:bodyPr/>
          <a:lstStyle>
            <a:lvl1pPr algn="l">
              <a:defRPr/>
            </a:lvl1pPr>
          </a:lstStyle>
          <a:p>
            <a:pPr lvl="0"/>
            <a:r>
              <a:rPr lang="en-US"/>
              <a:t>Add copy here</a:t>
            </a:r>
          </a:p>
        </p:txBody>
      </p:sp>
      <p:sp>
        <p:nvSpPr>
          <p:cNvPr id="13" name="Title 12">
            <a:extLst>
              <a:ext uri="{FF2B5EF4-FFF2-40B4-BE49-F238E27FC236}">
                <a16:creationId xmlns:a16="http://schemas.microsoft.com/office/drawing/2014/main" id="{D418CD0F-CC78-E831-0AD0-566141828C1E}"/>
              </a:ext>
            </a:extLst>
          </p:cNvPr>
          <p:cNvSpPr>
            <a:spLocks noGrp="1"/>
          </p:cNvSpPr>
          <p:nvPr>
            <p:ph type="title" hasCustomPrompt="1"/>
          </p:nvPr>
        </p:nvSpPr>
        <p:spPr>
          <a:xfrm>
            <a:off x="409807" y="375066"/>
            <a:ext cx="5363103" cy="896656"/>
          </a:xfrm>
        </p:spPr>
        <p:txBody>
          <a:bodyPr/>
          <a:lstStyle>
            <a:lvl1pPr>
              <a:spcBef>
                <a:spcPts val="0"/>
              </a:spcBef>
              <a:defRPr sz="3200" b="1" i="0">
                <a:latin typeface="Aleo SemiBold" pitchFamily="2" charset="77"/>
              </a:defRPr>
            </a:lvl1pPr>
          </a:lstStyle>
          <a:p>
            <a:r>
              <a:rPr lang="en-US"/>
              <a:t>Add a headline, quote, or statement here</a:t>
            </a:r>
          </a:p>
        </p:txBody>
      </p:sp>
      <p:sp>
        <p:nvSpPr>
          <p:cNvPr id="17" name="Text Placeholder 4">
            <a:extLst>
              <a:ext uri="{FF2B5EF4-FFF2-40B4-BE49-F238E27FC236}">
                <a16:creationId xmlns:a16="http://schemas.microsoft.com/office/drawing/2014/main" id="{5DE134F6-DEDA-210F-618C-8B87F33ED1DA}"/>
              </a:ext>
            </a:extLst>
          </p:cNvPr>
          <p:cNvSpPr>
            <a:spLocks noGrp="1"/>
          </p:cNvSpPr>
          <p:nvPr>
            <p:ph type="body" sz="quarter" idx="30" hasCustomPrompt="1"/>
          </p:nvPr>
        </p:nvSpPr>
        <p:spPr>
          <a:xfrm>
            <a:off x="6505808" y="375066"/>
            <a:ext cx="5363103" cy="923382"/>
          </a:xfrm>
          <a:prstGeom prst="rect">
            <a:avLst/>
          </a:prstGeom>
        </p:spPr>
        <p:txBody>
          <a:bodyPr>
            <a:noAutofit/>
          </a:bodyPr>
          <a:lstStyle>
            <a:lvl1pPr marL="0" indent="0">
              <a:lnSpc>
                <a:spcPct val="90000"/>
              </a:lnSpc>
              <a:spcBef>
                <a:spcPts val="0"/>
              </a:spcBef>
              <a:spcAft>
                <a:spcPts val="0"/>
              </a:spcAft>
              <a:buNone/>
              <a:defRPr sz="3200" b="1" i="0">
                <a:solidFill>
                  <a:schemeClr val="tx1"/>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headline, quote, or statement here</a:t>
            </a:r>
          </a:p>
        </p:txBody>
      </p:sp>
      <p:sp>
        <p:nvSpPr>
          <p:cNvPr id="3" name="Rectangle 2">
            <a:extLst>
              <a:ext uri="{FF2B5EF4-FFF2-40B4-BE49-F238E27FC236}">
                <a16:creationId xmlns:a16="http://schemas.microsoft.com/office/drawing/2014/main" id="{12C71A7F-5639-3147-C3B7-DB68851FD99D}"/>
              </a:ext>
            </a:extLst>
          </p:cNvPr>
          <p:cNvSpPr/>
          <p:nvPr userDrawn="1"/>
        </p:nvSpPr>
        <p:spPr>
          <a:xfrm>
            <a:off x="0" y="3429001"/>
            <a:ext cx="6096000" cy="3429000"/>
          </a:xfrm>
          <a:prstGeom prst="rect">
            <a:avLst/>
          </a:prstGeom>
          <a:solidFill>
            <a:schemeClr val="bg1">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5" name="Rectangle 4">
            <a:extLst>
              <a:ext uri="{FF2B5EF4-FFF2-40B4-BE49-F238E27FC236}">
                <a16:creationId xmlns:a16="http://schemas.microsoft.com/office/drawing/2014/main" id="{9BA3ACFD-2948-BCC1-7AE0-68F6CE7154A6}"/>
              </a:ext>
            </a:extLst>
          </p:cNvPr>
          <p:cNvSpPr/>
          <p:nvPr userDrawn="1"/>
        </p:nvSpPr>
        <p:spPr>
          <a:xfrm>
            <a:off x="6096001" y="3429001"/>
            <a:ext cx="6096000" cy="3429000"/>
          </a:xfrm>
          <a:prstGeom prst="rect">
            <a:avLst/>
          </a:prstGeom>
          <a:solidFill>
            <a:schemeClr val="accent2">
              <a:alpha val="8036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0" name="Text Placeholder 6">
            <a:extLst>
              <a:ext uri="{FF2B5EF4-FFF2-40B4-BE49-F238E27FC236}">
                <a16:creationId xmlns:a16="http://schemas.microsoft.com/office/drawing/2014/main" id="{E276BEF4-F23A-C0E6-4C2B-38EB1DFFC7F2}"/>
              </a:ext>
            </a:extLst>
          </p:cNvPr>
          <p:cNvSpPr>
            <a:spLocks noGrp="1"/>
          </p:cNvSpPr>
          <p:nvPr>
            <p:ph type="body" sz="quarter" idx="31" hasCustomPrompt="1"/>
          </p:nvPr>
        </p:nvSpPr>
        <p:spPr>
          <a:xfrm>
            <a:off x="6505807" y="5034013"/>
            <a:ext cx="5363104" cy="1531378"/>
          </a:xfrm>
        </p:spPr>
        <p:txBody>
          <a:bodyPr/>
          <a:lstStyle>
            <a:lvl1pPr algn="l">
              <a:defRPr/>
            </a:lvl1pPr>
          </a:lstStyle>
          <a:p>
            <a:pPr lvl="0"/>
            <a:r>
              <a:rPr lang="en-US"/>
              <a:t>Add copy here</a:t>
            </a:r>
          </a:p>
        </p:txBody>
      </p:sp>
      <p:sp>
        <p:nvSpPr>
          <p:cNvPr id="11" name="Text Placeholder 4">
            <a:extLst>
              <a:ext uri="{FF2B5EF4-FFF2-40B4-BE49-F238E27FC236}">
                <a16:creationId xmlns:a16="http://schemas.microsoft.com/office/drawing/2014/main" id="{50E85334-91D2-0E5A-1564-99C13D311C6D}"/>
              </a:ext>
            </a:extLst>
          </p:cNvPr>
          <p:cNvSpPr>
            <a:spLocks noGrp="1"/>
          </p:cNvSpPr>
          <p:nvPr>
            <p:ph type="body" sz="quarter" idx="32" hasCustomPrompt="1"/>
          </p:nvPr>
        </p:nvSpPr>
        <p:spPr>
          <a:xfrm>
            <a:off x="6505808" y="3804066"/>
            <a:ext cx="5363103" cy="1005838"/>
          </a:xfrm>
          <a:prstGeom prst="rect">
            <a:avLst/>
          </a:prstGeom>
        </p:spPr>
        <p:txBody>
          <a:bodyPr>
            <a:noAutofit/>
          </a:bodyPr>
          <a:lstStyle>
            <a:lvl1pPr marL="0" indent="0">
              <a:lnSpc>
                <a:spcPct val="90000"/>
              </a:lnSpc>
              <a:spcBef>
                <a:spcPts val="0"/>
              </a:spcBef>
              <a:buNone/>
              <a:defRPr sz="3200" b="1" i="0">
                <a:solidFill>
                  <a:schemeClr val="tx1"/>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headline, quote, or statement here</a:t>
            </a:r>
          </a:p>
        </p:txBody>
      </p:sp>
      <p:sp>
        <p:nvSpPr>
          <p:cNvPr id="16" name="Text Placeholder 6">
            <a:extLst>
              <a:ext uri="{FF2B5EF4-FFF2-40B4-BE49-F238E27FC236}">
                <a16:creationId xmlns:a16="http://schemas.microsoft.com/office/drawing/2014/main" id="{FD44C8A3-E8F9-C9AC-7F59-D7A99D674F1C}"/>
              </a:ext>
            </a:extLst>
          </p:cNvPr>
          <p:cNvSpPr>
            <a:spLocks noGrp="1"/>
          </p:cNvSpPr>
          <p:nvPr>
            <p:ph type="body" sz="quarter" idx="33" hasCustomPrompt="1"/>
          </p:nvPr>
        </p:nvSpPr>
        <p:spPr>
          <a:xfrm>
            <a:off x="409807" y="5034013"/>
            <a:ext cx="5363104" cy="1531378"/>
          </a:xfrm>
        </p:spPr>
        <p:txBody>
          <a:bodyPr/>
          <a:lstStyle>
            <a:lvl1pPr algn="l">
              <a:defRPr/>
            </a:lvl1pPr>
          </a:lstStyle>
          <a:p>
            <a:pPr lvl="0"/>
            <a:r>
              <a:rPr lang="en-US"/>
              <a:t>Add copy here</a:t>
            </a:r>
          </a:p>
        </p:txBody>
      </p:sp>
      <p:sp>
        <p:nvSpPr>
          <p:cNvPr id="18" name="Text Placeholder 4">
            <a:extLst>
              <a:ext uri="{FF2B5EF4-FFF2-40B4-BE49-F238E27FC236}">
                <a16:creationId xmlns:a16="http://schemas.microsoft.com/office/drawing/2014/main" id="{87C01AC5-684A-0A68-5317-E69FD657BB1C}"/>
              </a:ext>
            </a:extLst>
          </p:cNvPr>
          <p:cNvSpPr>
            <a:spLocks noGrp="1"/>
          </p:cNvSpPr>
          <p:nvPr>
            <p:ph type="body" sz="quarter" idx="34" hasCustomPrompt="1"/>
          </p:nvPr>
        </p:nvSpPr>
        <p:spPr>
          <a:xfrm>
            <a:off x="409808" y="3804066"/>
            <a:ext cx="5363103" cy="1005838"/>
          </a:xfrm>
          <a:prstGeom prst="rect">
            <a:avLst/>
          </a:prstGeom>
        </p:spPr>
        <p:txBody>
          <a:bodyPr>
            <a:noAutofit/>
          </a:bodyPr>
          <a:lstStyle>
            <a:lvl1pPr marL="0" indent="0">
              <a:lnSpc>
                <a:spcPct val="90000"/>
              </a:lnSpc>
              <a:spcBef>
                <a:spcPts val="0"/>
              </a:spcBef>
              <a:buNone/>
              <a:defRPr sz="3200" b="1" i="0">
                <a:solidFill>
                  <a:schemeClr val="tx1"/>
                </a:solidFill>
                <a:latin typeface="Aleo SemiBold" pitchFamily="2" charset="77"/>
              </a:defRPr>
            </a:lvl1pPr>
            <a:lvl2pPr>
              <a:defRPr>
                <a:solidFill>
                  <a:schemeClr val="tx1"/>
                </a:solidFill>
              </a:defRPr>
            </a:lvl2pPr>
            <a:lvl3pPr>
              <a:defRPr baseline="0">
                <a:solidFill>
                  <a:schemeClr val="tx2"/>
                </a:solidFill>
              </a:defRPr>
            </a:lvl3pPr>
            <a:lvl4pPr>
              <a:defRPr>
                <a:solidFill>
                  <a:schemeClr val="tx1"/>
                </a:solidFill>
              </a:defRPr>
            </a:lvl4pPr>
            <a:lvl5pPr>
              <a:defRPr>
                <a:solidFill>
                  <a:schemeClr val="tx1"/>
                </a:solidFill>
              </a:defRPr>
            </a:lvl5pPr>
          </a:lstStyle>
          <a:p>
            <a:r>
              <a:rPr lang="en-US"/>
              <a:t>Add a headline, quote, or statement here</a:t>
            </a:r>
          </a:p>
        </p:txBody>
      </p:sp>
    </p:spTree>
    <p:extLst>
      <p:ext uri="{BB962C8B-B14F-4D97-AF65-F5344CB8AC3E}">
        <p14:creationId xmlns:p14="http://schemas.microsoft.com/office/powerpoint/2010/main" val="813705962"/>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 Column Imag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442913" y="900768"/>
            <a:ext cx="10752614"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4" name="Picture Placeholder 3">
            <a:extLst>
              <a:ext uri="{FF2B5EF4-FFF2-40B4-BE49-F238E27FC236}">
                <a16:creationId xmlns:a16="http://schemas.microsoft.com/office/drawing/2014/main" id="{6994B662-CA6C-3746-B51D-1375F542AA34}"/>
              </a:ext>
            </a:extLst>
          </p:cNvPr>
          <p:cNvSpPr>
            <a:spLocks noGrp="1"/>
          </p:cNvSpPr>
          <p:nvPr>
            <p:ph type="pic" sz="quarter" idx="15"/>
          </p:nvPr>
        </p:nvSpPr>
        <p:spPr>
          <a:xfrm>
            <a:off x="442913" y="1325880"/>
            <a:ext cx="5456237" cy="3121214"/>
          </a:xfrm>
          <a:prstGeom prst="roundRect">
            <a:avLst/>
          </a:prstGeom>
        </p:spPr>
        <p:txBody>
          <a:bodyPr/>
          <a:lstStyle/>
          <a:p>
            <a:endParaRPr lang="en-US"/>
          </a:p>
        </p:txBody>
      </p:sp>
      <p:sp>
        <p:nvSpPr>
          <p:cNvPr id="5" name="Picture Placeholder 3">
            <a:extLst>
              <a:ext uri="{FF2B5EF4-FFF2-40B4-BE49-F238E27FC236}">
                <a16:creationId xmlns:a16="http://schemas.microsoft.com/office/drawing/2014/main" id="{C7C3AE28-B6E7-8859-B745-D96A432326B4}"/>
              </a:ext>
            </a:extLst>
          </p:cNvPr>
          <p:cNvSpPr>
            <a:spLocks noGrp="1"/>
          </p:cNvSpPr>
          <p:nvPr>
            <p:ph type="pic" sz="quarter" idx="16"/>
          </p:nvPr>
        </p:nvSpPr>
        <p:spPr>
          <a:xfrm>
            <a:off x="6275389" y="1325880"/>
            <a:ext cx="5456237" cy="3121214"/>
          </a:xfrm>
          <a:prstGeom prst="roundRect">
            <a:avLst/>
          </a:prstGeom>
        </p:spPr>
        <p:txBody>
          <a:bodyPr/>
          <a:lstStyle/>
          <a:p>
            <a:endParaRPr lang="en-US"/>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442913" y="4661682"/>
            <a:ext cx="5456237" cy="276999"/>
          </a:xfrm>
        </p:spPr>
        <p:txBody>
          <a:bodyPr/>
          <a:lstStyle>
            <a:lvl1pPr>
              <a:defRPr sz="1800" b="1"/>
            </a:lvl1pPr>
          </a:lstStyle>
          <a:p>
            <a:pPr lvl="0"/>
            <a:r>
              <a:rPr lang="en-US"/>
              <a:t>Column 1 Header Goes Here</a:t>
            </a:r>
          </a:p>
        </p:txBody>
      </p:sp>
      <p:sp>
        <p:nvSpPr>
          <p:cNvPr id="12" name="Text Placeholder 10">
            <a:extLst>
              <a:ext uri="{FF2B5EF4-FFF2-40B4-BE49-F238E27FC236}">
                <a16:creationId xmlns:a16="http://schemas.microsoft.com/office/drawing/2014/main" id="{E4D2648B-8C0F-1102-1884-E62CBF70D16E}"/>
              </a:ext>
            </a:extLst>
          </p:cNvPr>
          <p:cNvSpPr>
            <a:spLocks noGrp="1"/>
          </p:cNvSpPr>
          <p:nvPr>
            <p:ph type="body" sz="quarter" idx="18" hasCustomPrompt="1"/>
          </p:nvPr>
        </p:nvSpPr>
        <p:spPr>
          <a:xfrm>
            <a:off x="6275389" y="4661682"/>
            <a:ext cx="5456237" cy="276999"/>
          </a:xfrm>
        </p:spPr>
        <p:txBody>
          <a:bodyPr/>
          <a:lstStyle>
            <a:lvl1pPr>
              <a:defRPr sz="1800" b="1"/>
            </a:lvl1pPr>
          </a:lstStyle>
          <a:p>
            <a:pPr lvl="0"/>
            <a:r>
              <a:rPr lang="en-US"/>
              <a:t>Column 2 Header Goes Here</a:t>
            </a:r>
          </a:p>
        </p:txBody>
      </p:sp>
      <p:sp>
        <p:nvSpPr>
          <p:cNvPr id="2" name="Title 1">
            <a:extLst>
              <a:ext uri="{FF2B5EF4-FFF2-40B4-BE49-F238E27FC236}">
                <a16:creationId xmlns:a16="http://schemas.microsoft.com/office/drawing/2014/main" id="{991A934A-BC8C-48A5-B6C8-BFC198CCD070}"/>
              </a:ext>
            </a:extLst>
          </p:cNvPr>
          <p:cNvSpPr>
            <a:spLocks noGrp="1"/>
          </p:cNvSpPr>
          <p:nvPr>
            <p:ph type="title" hasCustomPrompt="1"/>
          </p:nvPr>
        </p:nvSpPr>
        <p:spPr>
          <a:xfrm>
            <a:off x="465337" y="365126"/>
            <a:ext cx="10752614" cy="506942"/>
          </a:xfrm>
        </p:spPr>
        <p:txBody>
          <a:bodyPr/>
          <a:lstStyle/>
          <a:p>
            <a:r>
              <a:rPr lang="en-US"/>
              <a:t>Add a Headline Here</a:t>
            </a:r>
          </a:p>
        </p:txBody>
      </p:sp>
      <p:sp>
        <p:nvSpPr>
          <p:cNvPr id="7" name="Text Placeholder 6">
            <a:extLst>
              <a:ext uri="{FF2B5EF4-FFF2-40B4-BE49-F238E27FC236}">
                <a16:creationId xmlns:a16="http://schemas.microsoft.com/office/drawing/2014/main" id="{DF73C6E2-50D9-2CAA-FF47-7A33E282E890}"/>
              </a:ext>
            </a:extLst>
          </p:cNvPr>
          <p:cNvSpPr>
            <a:spLocks noGrp="1"/>
          </p:cNvSpPr>
          <p:nvPr>
            <p:ph type="body" sz="quarter" idx="19"/>
          </p:nvPr>
        </p:nvSpPr>
        <p:spPr>
          <a:xfrm>
            <a:off x="442913" y="5138738"/>
            <a:ext cx="5456238" cy="1435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187E180E-5D3C-DE69-7ADB-78FBA39A674C}"/>
              </a:ext>
            </a:extLst>
          </p:cNvPr>
          <p:cNvSpPr>
            <a:spLocks noGrp="1"/>
          </p:cNvSpPr>
          <p:nvPr>
            <p:ph type="body" sz="quarter" idx="20"/>
          </p:nvPr>
        </p:nvSpPr>
        <p:spPr>
          <a:xfrm>
            <a:off x="6275388" y="5138738"/>
            <a:ext cx="5456238" cy="1435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1ECBF9F7-948F-7419-2D2B-47E88CE3780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158379144"/>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3 Column Image and Conten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442913" y="900768"/>
            <a:ext cx="10752614"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4" name="Picture Placeholder 3">
            <a:extLst>
              <a:ext uri="{FF2B5EF4-FFF2-40B4-BE49-F238E27FC236}">
                <a16:creationId xmlns:a16="http://schemas.microsoft.com/office/drawing/2014/main" id="{6994B662-CA6C-3746-B51D-1375F542AA34}"/>
              </a:ext>
            </a:extLst>
          </p:cNvPr>
          <p:cNvSpPr>
            <a:spLocks noGrp="1"/>
          </p:cNvSpPr>
          <p:nvPr>
            <p:ph type="pic" sz="quarter" idx="15"/>
          </p:nvPr>
        </p:nvSpPr>
        <p:spPr>
          <a:xfrm>
            <a:off x="442914" y="1593850"/>
            <a:ext cx="3281594" cy="2989439"/>
          </a:xfrm>
          <a:prstGeom prst="roundRect">
            <a:avLst/>
          </a:prstGeom>
        </p:spPr>
        <p:txBody>
          <a:bodyPr/>
          <a:lstStyle/>
          <a:p>
            <a:endParaRPr lang="en-US"/>
          </a:p>
        </p:txBody>
      </p:sp>
      <p:sp>
        <p:nvSpPr>
          <p:cNvPr id="15" name="Picture Placeholder 3">
            <a:extLst>
              <a:ext uri="{FF2B5EF4-FFF2-40B4-BE49-F238E27FC236}">
                <a16:creationId xmlns:a16="http://schemas.microsoft.com/office/drawing/2014/main" id="{60C6DCC3-7131-2879-B9F5-B923A51E7E06}"/>
              </a:ext>
            </a:extLst>
          </p:cNvPr>
          <p:cNvSpPr>
            <a:spLocks noGrp="1"/>
          </p:cNvSpPr>
          <p:nvPr>
            <p:ph type="pic" sz="quarter" idx="17"/>
          </p:nvPr>
        </p:nvSpPr>
        <p:spPr>
          <a:xfrm>
            <a:off x="4432305" y="1593850"/>
            <a:ext cx="3281594" cy="2989439"/>
          </a:xfrm>
          <a:prstGeom prst="roundRect">
            <a:avLst/>
          </a:prstGeom>
        </p:spPr>
        <p:txBody>
          <a:bodyPr/>
          <a:lstStyle/>
          <a:p>
            <a:endParaRPr lang="en-US"/>
          </a:p>
        </p:txBody>
      </p:sp>
      <p:sp>
        <p:nvSpPr>
          <p:cNvPr id="17" name="Picture Placeholder 3">
            <a:extLst>
              <a:ext uri="{FF2B5EF4-FFF2-40B4-BE49-F238E27FC236}">
                <a16:creationId xmlns:a16="http://schemas.microsoft.com/office/drawing/2014/main" id="{0833EFF3-14CE-E5BD-2637-849E86C078AB}"/>
              </a:ext>
            </a:extLst>
          </p:cNvPr>
          <p:cNvSpPr>
            <a:spLocks noGrp="1"/>
          </p:cNvSpPr>
          <p:nvPr>
            <p:ph type="pic" sz="quarter" idx="19"/>
          </p:nvPr>
        </p:nvSpPr>
        <p:spPr>
          <a:xfrm>
            <a:off x="8484239" y="1593850"/>
            <a:ext cx="3281594" cy="2989439"/>
          </a:xfrm>
          <a:prstGeom prst="roundRect">
            <a:avLst/>
          </a:prstGeom>
        </p:spPr>
        <p:txBody>
          <a:bodyPr/>
          <a:lstStyle/>
          <a:p>
            <a:endParaRPr lang="en-US"/>
          </a:p>
        </p:txBody>
      </p:sp>
      <p:sp>
        <p:nvSpPr>
          <p:cNvPr id="5" name="Text Placeholder 10">
            <a:extLst>
              <a:ext uri="{FF2B5EF4-FFF2-40B4-BE49-F238E27FC236}">
                <a16:creationId xmlns:a16="http://schemas.microsoft.com/office/drawing/2014/main" id="{216AFE05-8B07-B5D5-6119-4F487BCD5C26}"/>
              </a:ext>
            </a:extLst>
          </p:cNvPr>
          <p:cNvSpPr>
            <a:spLocks noGrp="1"/>
          </p:cNvSpPr>
          <p:nvPr>
            <p:ph type="body" sz="quarter" idx="22" hasCustomPrompt="1"/>
          </p:nvPr>
        </p:nvSpPr>
        <p:spPr>
          <a:xfrm>
            <a:off x="442913" y="4753151"/>
            <a:ext cx="3292097" cy="276999"/>
          </a:xfrm>
        </p:spPr>
        <p:txBody>
          <a:bodyPr/>
          <a:lstStyle>
            <a:lvl1pPr>
              <a:defRPr sz="1800" b="1"/>
            </a:lvl1pPr>
          </a:lstStyle>
          <a:p>
            <a:pPr lvl="0"/>
            <a:r>
              <a:rPr lang="en-US"/>
              <a:t>Column 1 Header Goes Here</a:t>
            </a:r>
          </a:p>
        </p:txBody>
      </p:sp>
      <p:sp>
        <p:nvSpPr>
          <p:cNvPr id="6" name="Text Placeholder 10">
            <a:extLst>
              <a:ext uri="{FF2B5EF4-FFF2-40B4-BE49-F238E27FC236}">
                <a16:creationId xmlns:a16="http://schemas.microsoft.com/office/drawing/2014/main" id="{6E868D3F-2618-117C-3A35-E81101A9972C}"/>
              </a:ext>
            </a:extLst>
          </p:cNvPr>
          <p:cNvSpPr>
            <a:spLocks noGrp="1"/>
          </p:cNvSpPr>
          <p:nvPr>
            <p:ph type="body" sz="quarter" idx="23" hasCustomPrompt="1"/>
          </p:nvPr>
        </p:nvSpPr>
        <p:spPr>
          <a:xfrm>
            <a:off x="4421802" y="4753151"/>
            <a:ext cx="3292097" cy="276999"/>
          </a:xfrm>
        </p:spPr>
        <p:txBody>
          <a:bodyPr/>
          <a:lstStyle>
            <a:lvl1pPr>
              <a:defRPr sz="1800" b="1"/>
            </a:lvl1pPr>
          </a:lstStyle>
          <a:p>
            <a:pPr lvl="0"/>
            <a:r>
              <a:rPr lang="en-US"/>
              <a:t>Column 2 Header Goes Here</a:t>
            </a:r>
          </a:p>
        </p:txBody>
      </p:sp>
      <p:sp>
        <p:nvSpPr>
          <p:cNvPr id="7" name="Text Placeholder 10">
            <a:extLst>
              <a:ext uri="{FF2B5EF4-FFF2-40B4-BE49-F238E27FC236}">
                <a16:creationId xmlns:a16="http://schemas.microsoft.com/office/drawing/2014/main" id="{620C21EC-7256-5C53-C64E-7E3CE2B42EB8}"/>
              </a:ext>
            </a:extLst>
          </p:cNvPr>
          <p:cNvSpPr>
            <a:spLocks noGrp="1"/>
          </p:cNvSpPr>
          <p:nvPr>
            <p:ph type="body" sz="quarter" idx="24" hasCustomPrompt="1"/>
          </p:nvPr>
        </p:nvSpPr>
        <p:spPr>
          <a:xfrm>
            <a:off x="8484239" y="4753151"/>
            <a:ext cx="3367450" cy="276999"/>
          </a:xfrm>
        </p:spPr>
        <p:txBody>
          <a:bodyPr/>
          <a:lstStyle>
            <a:lvl1pPr>
              <a:defRPr sz="1800" b="1"/>
            </a:lvl1pPr>
          </a:lstStyle>
          <a:p>
            <a:pPr lvl="0"/>
            <a:r>
              <a:rPr lang="en-US"/>
              <a:t>Column 3 Header Goes Here</a:t>
            </a:r>
          </a:p>
        </p:txBody>
      </p:sp>
      <p:sp>
        <p:nvSpPr>
          <p:cNvPr id="12" name="Title 11">
            <a:extLst>
              <a:ext uri="{FF2B5EF4-FFF2-40B4-BE49-F238E27FC236}">
                <a16:creationId xmlns:a16="http://schemas.microsoft.com/office/drawing/2014/main" id="{D1D22334-9FB4-3528-60AA-96F490F11DAB}"/>
              </a:ext>
            </a:extLst>
          </p:cNvPr>
          <p:cNvSpPr>
            <a:spLocks noGrp="1"/>
          </p:cNvSpPr>
          <p:nvPr>
            <p:ph type="title" hasCustomPrompt="1"/>
          </p:nvPr>
        </p:nvSpPr>
        <p:spPr>
          <a:xfrm>
            <a:off x="465337" y="365126"/>
            <a:ext cx="10752614" cy="506942"/>
          </a:xfrm>
        </p:spPr>
        <p:txBody>
          <a:bodyPr/>
          <a:lstStyle/>
          <a:p>
            <a:r>
              <a:rPr lang="en-US"/>
              <a:t>Add a Headline Here</a:t>
            </a:r>
          </a:p>
        </p:txBody>
      </p:sp>
      <p:sp>
        <p:nvSpPr>
          <p:cNvPr id="14" name="Text Placeholder 13">
            <a:extLst>
              <a:ext uri="{FF2B5EF4-FFF2-40B4-BE49-F238E27FC236}">
                <a16:creationId xmlns:a16="http://schemas.microsoft.com/office/drawing/2014/main" id="{BA2040F1-C3D3-1AF3-D1AC-C1EF73D680E3}"/>
              </a:ext>
            </a:extLst>
          </p:cNvPr>
          <p:cNvSpPr>
            <a:spLocks noGrp="1"/>
          </p:cNvSpPr>
          <p:nvPr>
            <p:ph type="body" sz="quarter" idx="25"/>
          </p:nvPr>
        </p:nvSpPr>
        <p:spPr>
          <a:xfrm>
            <a:off x="442913" y="5194299"/>
            <a:ext cx="3292475" cy="12977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3">
            <a:extLst>
              <a:ext uri="{FF2B5EF4-FFF2-40B4-BE49-F238E27FC236}">
                <a16:creationId xmlns:a16="http://schemas.microsoft.com/office/drawing/2014/main" id="{8E078454-50DB-3EF0-AAB0-F843BA9EAAA3}"/>
              </a:ext>
            </a:extLst>
          </p:cNvPr>
          <p:cNvSpPr>
            <a:spLocks noGrp="1"/>
          </p:cNvSpPr>
          <p:nvPr>
            <p:ph type="body" sz="quarter" idx="26"/>
          </p:nvPr>
        </p:nvSpPr>
        <p:spPr>
          <a:xfrm>
            <a:off x="4421424" y="5194299"/>
            <a:ext cx="3292475" cy="12977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3">
            <a:extLst>
              <a:ext uri="{FF2B5EF4-FFF2-40B4-BE49-F238E27FC236}">
                <a16:creationId xmlns:a16="http://schemas.microsoft.com/office/drawing/2014/main" id="{3600CD19-F8F7-FAB6-D43C-C91A0210C33C}"/>
              </a:ext>
            </a:extLst>
          </p:cNvPr>
          <p:cNvSpPr>
            <a:spLocks noGrp="1"/>
          </p:cNvSpPr>
          <p:nvPr>
            <p:ph type="body" sz="quarter" idx="27"/>
          </p:nvPr>
        </p:nvSpPr>
        <p:spPr>
          <a:xfrm>
            <a:off x="8484239" y="5194299"/>
            <a:ext cx="3292475" cy="12977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5">
            <a:extLst>
              <a:ext uri="{FF2B5EF4-FFF2-40B4-BE49-F238E27FC236}">
                <a16:creationId xmlns:a16="http://schemas.microsoft.com/office/drawing/2014/main" id="{00D233A8-E8F0-0D1A-F946-893146208FB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151982932"/>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2 Stat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706077" y="898674"/>
            <a:ext cx="10766973"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1735284" y="4945147"/>
            <a:ext cx="3794824" cy="276999"/>
          </a:xfrm>
        </p:spPr>
        <p:txBody>
          <a:bodyPr/>
          <a:lstStyle>
            <a:lvl1pPr algn="ctr">
              <a:defRPr sz="1800" b="1"/>
            </a:lvl1pPr>
          </a:lstStyle>
          <a:p>
            <a:r>
              <a:rPr lang="en-US"/>
              <a:t>Stat 1 callout title goes here</a:t>
            </a:r>
          </a:p>
        </p:txBody>
      </p:sp>
      <p:sp>
        <p:nvSpPr>
          <p:cNvPr id="2" name="Oval 1">
            <a:extLst>
              <a:ext uri="{FF2B5EF4-FFF2-40B4-BE49-F238E27FC236}">
                <a16:creationId xmlns:a16="http://schemas.microsoft.com/office/drawing/2014/main" id="{F1179731-4A46-DAE3-E3E5-30A4113BDD3A}"/>
              </a:ext>
            </a:extLst>
          </p:cNvPr>
          <p:cNvSpPr/>
          <p:nvPr userDrawn="1"/>
        </p:nvSpPr>
        <p:spPr>
          <a:xfrm>
            <a:off x="2234046" y="1829321"/>
            <a:ext cx="2784764" cy="2784764"/>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10">
            <a:extLst>
              <a:ext uri="{FF2B5EF4-FFF2-40B4-BE49-F238E27FC236}">
                <a16:creationId xmlns:a16="http://schemas.microsoft.com/office/drawing/2014/main" id="{55C55BD2-DA31-AE25-17DD-35921E473835}"/>
              </a:ext>
            </a:extLst>
          </p:cNvPr>
          <p:cNvSpPr>
            <a:spLocks noGrp="1"/>
          </p:cNvSpPr>
          <p:nvPr>
            <p:ph type="body" sz="quarter" idx="19" hasCustomPrompt="1"/>
          </p:nvPr>
        </p:nvSpPr>
        <p:spPr>
          <a:xfrm>
            <a:off x="6649750" y="4945147"/>
            <a:ext cx="3794824" cy="276999"/>
          </a:xfrm>
        </p:spPr>
        <p:txBody>
          <a:bodyPr/>
          <a:lstStyle>
            <a:lvl1pPr algn="ctr">
              <a:defRPr sz="1800" b="1"/>
            </a:lvl1pPr>
          </a:lstStyle>
          <a:p>
            <a:r>
              <a:rPr lang="en-US"/>
              <a:t>Stat 2 callout title goes here</a:t>
            </a:r>
          </a:p>
        </p:txBody>
      </p:sp>
      <p:sp>
        <p:nvSpPr>
          <p:cNvPr id="14" name="Oval 13">
            <a:extLst>
              <a:ext uri="{FF2B5EF4-FFF2-40B4-BE49-F238E27FC236}">
                <a16:creationId xmlns:a16="http://schemas.microsoft.com/office/drawing/2014/main" id="{0F8BEA83-D192-1EB8-D087-E0C146C6C509}"/>
              </a:ext>
            </a:extLst>
          </p:cNvPr>
          <p:cNvSpPr/>
          <p:nvPr userDrawn="1"/>
        </p:nvSpPr>
        <p:spPr>
          <a:xfrm>
            <a:off x="7169728" y="1836375"/>
            <a:ext cx="2784764" cy="2784764"/>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Text Placeholder 10">
            <a:extLst>
              <a:ext uri="{FF2B5EF4-FFF2-40B4-BE49-F238E27FC236}">
                <a16:creationId xmlns:a16="http://schemas.microsoft.com/office/drawing/2014/main" id="{730A120B-B2DF-C701-D2B8-15E20AD7200C}"/>
              </a:ext>
            </a:extLst>
          </p:cNvPr>
          <p:cNvSpPr>
            <a:spLocks noGrp="1"/>
          </p:cNvSpPr>
          <p:nvPr>
            <p:ph type="body" sz="quarter" idx="20" hasCustomPrompt="1"/>
          </p:nvPr>
        </p:nvSpPr>
        <p:spPr>
          <a:xfrm>
            <a:off x="2317172" y="2698483"/>
            <a:ext cx="2618511" cy="1046440"/>
          </a:xfrm>
        </p:spPr>
        <p:txBody>
          <a:bodyPr anchor="ctr"/>
          <a:lstStyle>
            <a:lvl1pPr algn="ctr">
              <a:defRPr sz="6800" b="1" i="0">
                <a:solidFill>
                  <a:schemeClr val="accent4"/>
                </a:solidFill>
                <a:latin typeface="Aleo SemiBold" pitchFamily="2" charset="77"/>
              </a:defRPr>
            </a:lvl1pPr>
          </a:lstStyle>
          <a:p>
            <a:pPr lvl="0"/>
            <a:r>
              <a:rPr lang="en-US"/>
              <a:t>40%</a:t>
            </a:r>
          </a:p>
        </p:txBody>
      </p:sp>
      <p:sp>
        <p:nvSpPr>
          <p:cNvPr id="18" name="Text Placeholder 10">
            <a:extLst>
              <a:ext uri="{FF2B5EF4-FFF2-40B4-BE49-F238E27FC236}">
                <a16:creationId xmlns:a16="http://schemas.microsoft.com/office/drawing/2014/main" id="{805D461F-50E4-6E16-092F-2A8AC9ECD0BE}"/>
              </a:ext>
            </a:extLst>
          </p:cNvPr>
          <p:cNvSpPr>
            <a:spLocks noGrp="1"/>
          </p:cNvSpPr>
          <p:nvPr>
            <p:ph type="body" sz="quarter" idx="21" hasCustomPrompt="1"/>
          </p:nvPr>
        </p:nvSpPr>
        <p:spPr>
          <a:xfrm>
            <a:off x="7273636" y="2698483"/>
            <a:ext cx="2618511" cy="1046440"/>
          </a:xfrm>
        </p:spPr>
        <p:txBody>
          <a:bodyPr anchor="ctr"/>
          <a:lstStyle>
            <a:lvl1pPr algn="ctr">
              <a:defRPr sz="6800" b="1" i="0">
                <a:solidFill>
                  <a:schemeClr val="accent4"/>
                </a:solidFill>
                <a:latin typeface="Aleo SemiBold" pitchFamily="2" charset="77"/>
              </a:defRPr>
            </a:lvl1pPr>
          </a:lstStyle>
          <a:p>
            <a:pPr lvl="0"/>
            <a:r>
              <a:rPr lang="en-US"/>
              <a:t>7x</a:t>
            </a:r>
          </a:p>
        </p:txBody>
      </p:sp>
      <p:sp>
        <p:nvSpPr>
          <p:cNvPr id="5" name="Title 4">
            <a:extLst>
              <a:ext uri="{FF2B5EF4-FFF2-40B4-BE49-F238E27FC236}">
                <a16:creationId xmlns:a16="http://schemas.microsoft.com/office/drawing/2014/main" id="{2EC3DD08-099F-919C-CFD9-25D9FFA45E06}"/>
              </a:ext>
            </a:extLst>
          </p:cNvPr>
          <p:cNvSpPr>
            <a:spLocks noGrp="1"/>
          </p:cNvSpPr>
          <p:nvPr>
            <p:ph type="title" hasCustomPrompt="1"/>
          </p:nvPr>
        </p:nvSpPr>
        <p:spPr>
          <a:xfrm>
            <a:off x="818054" y="365126"/>
            <a:ext cx="10555891" cy="506942"/>
          </a:xfrm>
        </p:spPr>
        <p:txBody>
          <a:bodyPr/>
          <a:lstStyle>
            <a:lvl1pPr algn="ctr">
              <a:defRPr/>
            </a:lvl1pPr>
          </a:lstStyle>
          <a:p>
            <a:r>
              <a:rPr lang="en-US"/>
              <a:t>Add a Headline Here</a:t>
            </a:r>
          </a:p>
        </p:txBody>
      </p:sp>
      <p:sp>
        <p:nvSpPr>
          <p:cNvPr id="8" name="Text Placeholder 7">
            <a:extLst>
              <a:ext uri="{FF2B5EF4-FFF2-40B4-BE49-F238E27FC236}">
                <a16:creationId xmlns:a16="http://schemas.microsoft.com/office/drawing/2014/main" id="{884B54BE-BC16-CA32-0253-EE8BFBAF221C}"/>
              </a:ext>
            </a:extLst>
          </p:cNvPr>
          <p:cNvSpPr>
            <a:spLocks noGrp="1"/>
          </p:cNvSpPr>
          <p:nvPr>
            <p:ph type="body" sz="quarter" idx="24"/>
          </p:nvPr>
        </p:nvSpPr>
        <p:spPr>
          <a:xfrm>
            <a:off x="1735138" y="5422900"/>
            <a:ext cx="3795712" cy="1190625"/>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965CF0ED-9382-C3A3-44D4-FBB1186B43BC}"/>
              </a:ext>
            </a:extLst>
          </p:cNvPr>
          <p:cNvSpPr>
            <a:spLocks noGrp="1"/>
          </p:cNvSpPr>
          <p:nvPr>
            <p:ph type="body" sz="quarter" idx="25"/>
          </p:nvPr>
        </p:nvSpPr>
        <p:spPr>
          <a:xfrm>
            <a:off x="6649750" y="5422900"/>
            <a:ext cx="3795712" cy="1190625"/>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5">
            <a:extLst>
              <a:ext uri="{FF2B5EF4-FFF2-40B4-BE49-F238E27FC236}">
                <a16:creationId xmlns:a16="http://schemas.microsoft.com/office/drawing/2014/main" id="{D6CA82DD-D556-BE4E-E39B-F8A4A5A62B1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193271888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3 Stat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384247" y="898674"/>
            <a:ext cx="11423505"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165824" y="4945147"/>
            <a:ext cx="3794824" cy="276999"/>
          </a:xfrm>
        </p:spPr>
        <p:txBody>
          <a:bodyPr/>
          <a:lstStyle>
            <a:lvl1pPr algn="ctr">
              <a:defRPr sz="1800" b="1"/>
            </a:lvl1pPr>
          </a:lstStyle>
          <a:p>
            <a:r>
              <a:rPr lang="en-US"/>
              <a:t>Stat 1 callout title goes here</a:t>
            </a:r>
          </a:p>
        </p:txBody>
      </p:sp>
      <p:sp>
        <p:nvSpPr>
          <p:cNvPr id="2" name="Oval 1">
            <a:extLst>
              <a:ext uri="{FF2B5EF4-FFF2-40B4-BE49-F238E27FC236}">
                <a16:creationId xmlns:a16="http://schemas.microsoft.com/office/drawing/2014/main" id="{F1179731-4A46-DAE3-E3E5-30A4113BDD3A}"/>
              </a:ext>
            </a:extLst>
          </p:cNvPr>
          <p:cNvSpPr/>
          <p:nvPr userDrawn="1"/>
        </p:nvSpPr>
        <p:spPr>
          <a:xfrm>
            <a:off x="664586" y="1829321"/>
            <a:ext cx="2784764" cy="2784764"/>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Text Placeholder 10">
            <a:extLst>
              <a:ext uri="{FF2B5EF4-FFF2-40B4-BE49-F238E27FC236}">
                <a16:creationId xmlns:a16="http://schemas.microsoft.com/office/drawing/2014/main" id="{55C55BD2-DA31-AE25-17DD-35921E473835}"/>
              </a:ext>
            </a:extLst>
          </p:cNvPr>
          <p:cNvSpPr>
            <a:spLocks noGrp="1"/>
          </p:cNvSpPr>
          <p:nvPr>
            <p:ph type="body" sz="quarter" idx="19" hasCustomPrompt="1"/>
          </p:nvPr>
        </p:nvSpPr>
        <p:spPr>
          <a:xfrm>
            <a:off x="8219208" y="4945147"/>
            <a:ext cx="3794824" cy="276999"/>
          </a:xfrm>
        </p:spPr>
        <p:txBody>
          <a:bodyPr/>
          <a:lstStyle>
            <a:lvl1pPr algn="ctr">
              <a:defRPr sz="1800" b="1"/>
            </a:lvl1pPr>
          </a:lstStyle>
          <a:p>
            <a:r>
              <a:rPr lang="en-US"/>
              <a:t>Stat 2 callout title goes here</a:t>
            </a:r>
          </a:p>
        </p:txBody>
      </p:sp>
      <p:sp>
        <p:nvSpPr>
          <p:cNvPr id="14" name="Oval 13">
            <a:extLst>
              <a:ext uri="{FF2B5EF4-FFF2-40B4-BE49-F238E27FC236}">
                <a16:creationId xmlns:a16="http://schemas.microsoft.com/office/drawing/2014/main" id="{0F8BEA83-D192-1EB8-D087-E0C146C6C509}"/>
              </a:ext>
            </a:extLst>
          </p:cNvPr>
          <p:cNvSpPr/>
          <p:nvPr userDrawn="1"/>
        </p:nvSpPr>
        <p:spPr>
          <a:xfrm>
            <a:off x="8739186" y="1836375"/>
            <a:ext cx="2784764" cy="2784764"/>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Text Placeholder 10">
            <a:extLst>
              <a:ext uri="{FF2B5EF4-FFF2-40B4-BE49-F238E27FC236}">
                <a16:creationId xmlns:a16="http://schemas.microsoft.com/office/drawing/2014/main" id="{730A120B-B2DF-C701-D2B8-15E20AD7200C}"/>
              </a:ext>
            </a:extLst>
          </p:cNvPr>
          <p:cNvSpPr>
            <a:spLocks noGrp="1"/>
          </p:cNvSpPr>
          <p:nvPr>
            <p:ph type="body" sz="quarter" idx="20" hasCustomPrompt="1"/>
          </p:nvPr>
        </p:nvSpPr>
        <p:spPr>
          <a:xfrm>
            <a:off x="747712" y="2690788"/>
            <a:ext cx="2618511" cy="1061829"/>
          </a:xfrm>
        </p:spPr>
        <p:txBody>
          <a:bodyPr anchor="ctr"/>
          <a:lstStyle>
            <a:lvl1pPr algn="ctr">
              <a:defRPr sz="6900" b="1" i="0">
                <a:solidFill>
                  <a:schemeClr val="accent4"/>
                </a:solidFill>
                <a:latin typeface="Aleo SemiBold" pitchFamily="2" charset="77"/>
              </a:defRPr>
            </a:lvl1pPr>
          </a:lstStyle>
          <a:p>
            <a:pPr lvl="0"/>
            <a:r>
              <a:rPr lang="en-US"/>
              <a:t>40%</a:t>
            </a:r>
          </a:p>
        </p:txBody>
      </p:sp>
      <p:sp>
        <p:nvSpPr>
          <p:cNvPr id="18" name="Text Placeholder 10">
            <a:extLst>
              <a:ext uri="{FF2B5EF4-FFF2-40B4-BE49-F238E27FC236}">
                <a16:creationId xmlns:a16="http://schemas.microsoft.com/office/drawing/2014/main" id="{805D461F-50E4-6E16-092F-2A8AC9ECD0BE}"/>
              </a:ext>
            </a:extLst>
          </p:cNvPr>
          <p:cNvSpPr>
            <a:spLocks noGrp="1"/>
          </p:cNvSpPr>
          <p:nvPr>
            <p:ph type="body" sz="quarter" idx="21" hasCustomPrompt="1"/>
          </p:nvPr>
        </p:nvSpPr>
        <p:spPr>
          <a:xfrm>
            <a:off x="8807364" y="2690788"/>
            <a:ext cx="2618511" cy="1061829"/>
          </a:xfrm>
        </p:spPr>
        <p:txBody>
          <a:bodyPr anchor="ctr"/>
          <a:lstStyle>
            <a:lvl1pPr algn="ctr">
              <a:defRPr sz="6900" b="1" i="0">
                <a:solidFill>
                  <a:schemeClr val="accent4"/>
                </a:solidFill>
                <a:latin typeface="Aleo SemiBold" pitchFamily="2" charset="77"/>
              </a:defRPr>
            </a:lvl1pPr>
          </a:lstStyle>
          <a:p>
            <a:pPr lvl="0"/>
            <a:r>
              <a:rPr lang="en-US"/>
              <a:t>500k</a:t>
            </a:r>
          </a:p>
        </p:txBody>
      </p:sp>
      <p:sp>
        <p:nvSpPr>
          <p:cNvPr id="4" name="Text Placeholder 10">
            <a:extLst>
              <a:ext uri="{FF2B5EF4-FFF2-40B4-BE49-F238E27FC236}">
                <a16:creationId xmlns:a16="http://schemas.microsoft.com/office/drawing/2014/main" id="{55048C93-2066-9EE8-21A7-26465C4908BC}"/>
              </a:ext>
            </a:extLst>
          </p:cNvPr>
          <p:cNvSpPr>
            <a:spLocks noGrp="1"/>
          </p:cNvSpPr>
          <p:nvPr>
            <p:ph type="body" sz="quarter" idx="23" hasCustomPrompt="1"/>
          </p:nvPr>
        </p:nvSpPr>
        <p:spPr>
          <a:xfrm>
            <a:off x="4317603" y="4945147"/>
            <a:ext cx="3533340" cy="276999"/>
          </a:xfrm>
        </p:spPr>
        <p:txBody>
          <a:bodyPr/>
          <a:lstStyle>
            <a:lvl1pPr algn="ctr">
              <a:defRPr sz="1800" b="1"/>
            </a:lvl1pPr>
          </a:lstStyle>
          <a:p>
            <a:r>
              <a:rPr lang="en-US"/>
              <a:t>Stat 2 callout title goes here</a:t>
            </a:r>
          </a:p>
        </p:txBody>
      </p:sp>
      <p:sp>
        <p:nvSpPr>
          <p:cNvPr id="5" name="Oval 4">
            <a:extLst>
              <a:ext uri="{FF2B5EF4-FFF2-40B4-BE49-F238E27FC236}">
                <a16:creationId xmlns:a16="http://schemas.microsoft.com/office/drawing/2014/main" id="{B9BF1BCC-8130-D9F7-57FF-47514BFBA8C8}"/>
              </a:ext>
            </a:extLst>
          </p:cNvPr>
          <p:cNvSpPr/>
          <p:nvPr userDrawn="1"/>
        </p:nvSpPr>
        <p:spPr>
          <a:xfrm>
            <a:off x="4703618" y="1836375"/>
            <a:ext cx="2784764" cy="2784764"/>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8" name="Text Placeholder 10">
            <a:extLst>
              <a:ext uri="{FF2B5EF4-FFF2-40B4-BE49-F238E27FC236}">
                <a16:creationId xmlns:a16="http://schemas.microsoft.com/office/drawing/2014/main" id="{FDB92F2C-3D09-27E3-28C1-68D9CA2B4A5E}"/>
              </a:ext>
            </a:extLst>
          </p:cNvPr>
          <p:cNvSpPr>
            <a:spLocks noGrp="1"/>
          </p:cNvSpPr>
          <p:nvPr>
            <p:ph type="body" sz="quarter" idx="24" hasCustomPrompt="1"/>
          </p:nvPr>
        </p:nvSpPr>
        <p:spPr>
          <a:xfrm>
            <a:off x="4785012" y="2690788"/>
            <a:ext cx="2618511" cy="1061829"/>
          </a:xfrm>
        </p:spPr>
        <p:txBody>
          <a:bodyPr anchor="ctr"/>
          <a:lstStyle>
            <a:lvl1pPr algn="ctr">
              <a:defRPr sz="6900" b="1" i="0">
                <a:solidFill>
                  <a:schemeClr val="accent4"/>
                </a:solidFill>
                <a:latin typeface="Aleo SemiBold" pitchFamily="2" charset="77"/>
              </a:defRPr>
            </a:lvl1pPr>
          </a:lstStyle>
          <a:p>
            <a:pPr lvl="0"/>
            <a:r>
              <a:rPr lang="en-US"/>
              <a:t>7x</a:t>
            </a:r>
          </a:p>
        </p:txBody>
      </p:sp>
      <p:sp>
        <p:nvSpPr>
          <p:cNvPr id="3" name="Title 2">
            <a:extLst>
              <a:ext uri="{FF2B5EF4-FFF2-40B4-BE49-F238E27FC236}">
                <a16:creationId xmlns:a16="http://schemas.microsoft.com/office/drawing/2014/main" id="{7AD9CDD3-E2A9-32D9-FB06-BD6E31A7BD28}"/>
              </a:ext>
            </a:extLst>
          </p:cNvPr>
          <p:cNvSpPr>
            <a:spLocks noGrp="1"/>
          </p:cNvSpPr>
          <p:nvPr>
            <p:ph type="title" hasCustomPrompt="1"/>
          </p:nvPr>
        </p:nvSpPr>
        <p:spPr>
          <a:xfrm>
            <a:off x="494491" y="365126"/>
            <a:ext cx="11199552" cy="506942"/>
          </a:xfrm>
        </p:spPr>
        <p:txBody>
          <a:bodyPr/>
          <a:lstStyle>
            <a:lvl1pPr algn="ctr">
              <a:defRPr/>
            </a:lvl1pPr>
          </a:lstStyle>
          <a:p>
            <a:r>
              <a:rPr lang="en-US"/>
              <a:t>Add a Headline Here</a:t>
            </a:r>
          </a:p>
        </p:txBody>
      </p:sp>
      <p:sp>
        <p:nvSpPr>
          <p:cNvPr id="16" name="Text Placeholder 15">
            <a:extLst>
              <a:ext uri="{FF2B5EF4-FFF2-40B4-BE49-F238E27FC236}">
                <a16:creationId xmlns:a16="http://schemas.microsoft.com/office/drawing/2014/main" id="{1D466E30-C8D0-581C-8628-F566CA07A7EB}"/>
              </a:ext>
            </a:extLst>
          </p:cNvPr>
          <p:cNvSpPr>
            <a:spLocks noGrp="1"/>
          </p:cNvSpPr>
          <p:nvPr>
            <p:ph type="body" sz="quarter" idx="27"/>
          </p:nvPr>
        </p:nvSpPr>
        <p:spPr>
          <a:xfrm>
            <a:off x="179435" y="5418137"/>
            <a:ext cx="3794824" cy="1074737"/>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a:extLst>
              <a:ext uri="{FF2B5EF4-FFF2-40B4-BE49-F238E27FC236}">
                <a16:creationId xmlns:a16="http://schemas.microsoft.com/office/drawing/2014/main" id="{A18BE644-CBF0-4B1A-7734-C7B831CCBE0A}"/>
              </a:ext>
            </a:extLst>
          </p:cNvPr>
          <p:cNvSpPr>
            <a:spLocks noGrp="1"/>
          </p:cNvSpPr>
          <p:nvPr>
            <p:ph type="body" sz="quarter" idx="28"/>
          </p:nvPr>
        </p:nvSpPr>
        <p:spPr>
          <a:xfrm>
            <a:off x="4317603" y="5418137"/>
            <a:ext cx="3533340" cy="1074737"/>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5">
            <a:extLst>
              <a:ext uri="{FF2B5EF4-FFF2-40B4-BE49-F238E27FC236}">
                <a16:creationId xmlns:a16="http://schemas.microsoft.com/office/drawing/2014/main" id="{26EBEAC7-4B12-E984-2E76-53AB477DE48D}"/>
              </a:ext>
            </a:extLst>
          </p:cNvPr>
          <p:cNvSpPr>
            <a:spLocks noGrp="1"/>
          </p:cNvSpPr>
          <p:nvPr>
            <p:ph type="body" sz="quarter" idx="29"/>
          </p:nvPr>
        </p:nvSpPr>
        <p:spPr>
          <a:xfrm>
            <a:off x="8214900" y="5418137"/>
            <a:ext cx="3794824" cy="1074737"/>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5">
            <a:extLst>
              <a:ext uri="{FF2B5EF4-FFF2-40B4-BE49-F238E27FC236}">
                <a16:creationId xmlns:a16="http://schemas.microsoft.com/office/drawing/2014/main" id="{4F6F7EF7-2C87-99B7-4828-DA991109153A}"/>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915601614"/>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4 Stats">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608340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18">
            <a:extLst>
              <a:ext uri="{FF2B5EF4-FFF2-40B4-BE49-F238E27FC236}">
                <a16:creationId xmlns:a16="http://schemas.microsoft.com/office/drawing/2014/main" id="{38A70792-B807-73D8-DAD2-DF287CEC0494}"/>
              </a:ext>
            </a:extLst>
          </p:cNvPr>
          <p:cNvSpPr>
            <a:spLocks noGrp="1"/>
          </p:cNvSpPr>
          <p:nvPr>
            <p:ph sz="quarter" idx="13" hasCustomPrompt="1"/>
          </p:nvPr>
        </p:nvSpPr>
        <p:spPr>
          <a:xfrm>
            <a:off x="384247" y="898674"/>
            <a:ext cx="11423505"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11" name="Text Placeholder 10">
            <a:extLst>
              <a:ext uri="{FF2B5EF4-FFF2-40B4-BE49-F238E27FC236}">
                <a16:creationId xmlns:a16="http://schemas.microsoft.com/office/drawing/2014/main" id="{C2D808E8-A528-5999-02B0-E1326F91840F}"/>
              </a:ext>
            </a:extLst>
          </p:cNvPr>
          <p:cNvSpPr>
            <a:spLocks noGrp="1"/>
          </p:cNvSpPr>
          <p:nvPr>
            <p:ph type="body" sz="quarter" idx="17" hasCustomPrompt="1"/>
          </p:nvPr>
        </p:nvSpPr>
        <p:spPr>
          <a:xfrm>
            <a:off x="170250" y="4945147"/>
            <a:ext cx="2766569" cy="276999"/>
          </a:xfrm>
        </p:spPr>
        <p:txBody>
          <a:bodyPr/>
          <a:lstStyle>
            <a:lvl1pPr algn="ctr">
              <a:defRPr sz="1800" b="1"/>
            </a:lvl1pPr>
          </a:lstStyle>
          <a:p>
            <a:r>
              <a:rPr lang="en-US"/>
              <a:t>Stat 1 callout title here</a:t>
            </a:r>
          </a:p>
        </p:txBody>
      </p:sp>
      <p:sp>
        <p:nvSpPr>
          <p:cNvPr id="2" name="Oval 1">
            <a:extLst>
              <a:ext uri="{FF2B5EF4-FFF2-40B4-BE49-F238E27FC236}">
                <a16:creationId xmlns:a16="http://schemas.microsoft.com/office/drawing/2014/main" id="{F1179731-4A46-DAE3-E3E5-30A4113BDD3A}"/>
              </a:ext>
            </a:extLst>
          </p:cNvPr>
          <p:cNvSpPr/>
          <p:nvPr userDrawn="1"/>
        </p:nvSpPr>
        <p:spPr>
          <a:xfrm>
            <a:off x="415204" y="1937712"/>
            <a:ext cx="2276660" cy="2276660"/>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Text Placeholder 10">
            <a:extLst>
              <a:ext uri="{FF2B5EF4-FFF2-40B4-BE49-F238E27FC236}">
                <a16:creationId xmlns:a16="http://schemas.microsoft.com/office/drawing/2014/main" id="{730A120B-B2DF-C701-D2B8-15E20AD7200C}"/>
              </a:ext>
            </a:extLst>
          </p:cNvPr>
          <p:cNvSpPr>
            <a:spLocks noGrp="1"/>
          </p:cNvSpPr>
          <p:nvPr>
            <p:ph type="body" sz="quarter" idx="20" hasCustomPrompt="1"/>
          </p:nvPr>
        </p:nvSpPr>
        <p:spPr>
          <a:xfrm>
            <a:off x="419631" y="2723471"/>
            <a:ext cx="2267807" cy="892552"/>
          </a:xfrm>
        </p:spPr>
        <p:txBody>
          <a:bodyPr anchor="ctr"/>
          <a:lstStyle>
            <a:lvl1pPr algn="ctr">
              <a:defRPr sz="5800" b="1" i="0">
                <a:solidFill>
                  <a:schemeClr val="accent4"/>
                </a:solidFill>
                <a:latin typeface="Aleo SemiBold" pitchFamily="2" charset="77"/>
              </a:defRPr>
            </a:lvl1pPr>
          </a:lstStyle>
          <a:p>
            <a:pPr lvl="0"/>
            <a:r>
              <a:rPr lang="en-US"/>
              <a:t>40%</a:t>
            </a:r>
          </a:p>
        </p:txBody>
      </p:sp>
      <p:sp>
        <p:nvSpPr>
          <p:cNvPr id="15" name="Text Placeholder 10">
            <a:extLst>
              <a:ext uri="{FF2B5EF4-FFF2-40B4-BE49-F238E27FC236}">
                <a16:creationId xmlns:a16="http://schemas.microsoft.com/office/drawing/2014/main" id="{5FB51F84-CEB4-C14E-CB9C-CBF30CD4EED3}"/>
              </a:ext>
            </a:extLst>
          </p:cNvPr>
          <p:cNvSpPr>
            <a:spLocks noGrp="1"/>
          </p:cNvSpPr>
          <p:nvPr>
            <p:ph type="body" sz="quarter" idx="22" hasCustomPrompt="1"/>
          </p:nvPr>
        </p:nvSpPr>
        <p:spPr>
          <a:xfrm>
            <a:off x="9248485" y="4945147"/>
            <a:ext cx="2766569" cy="276999"/>
          </a:xfrm>
        </p:spPr>
        <p:txBody>
          <a:bodyPr/>
          <a:lstStyle>
            <a:lvl1pPr algn="ctr">
              <a:defRPr sz="1800" b="1"/>
            </a:lvl1pPr>
          </a:lstStyle>
          <a:p>
            <a:r>
              <a:rPr lang="en-US"/>
              <a:t>Stat 4 callout title here</a:t>
            </a:r>
          </a:p>
        </p:txBody>
      </p:sp>
      <p:sp>
        <p:nvSpPr>
          <p:cNvPr id="16" name="Oval 15">
            <a:extLst>
              <a:ext uri="{FF2B5EF4-FFF2-40B4-BE49-F238E27FC236}">
                <a16:creationId xmlns:a16="http://schemas.microsoft.com/office/drawing/2014/main" id="{60DFD3D4-9696-EEA0-426F-78EF23982F77}"/>
              </a:ext>
            </a:extLst>
          </p:cNvPr>
          <p:cNvSpPr/>
          <p:nvPr userDrawn="1"/>
        </p:nvSpPr>
        <p:spPr>
          <a:xfrm>
            <a:off x="9493439" y="1937712"/>
            <a:ext cx="2276660" cy="2276660"/>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1" name="Text Placeholder 10">
            <a:extLst>
              <a:ext uri="{FF2B5EF4-FFF2-40B4-BE49-F238E27FC236}">
                <a16:creationId xmlns:a16="http://schemas.microsoft.com/office/drawing/2014/main" id="{665034E8-2086-DEA5-A59F-8D066EDD0478}"/>
              </a:ext>
            </a:extLst>
          </p:cNvPr>
          <p:cNvSpPr>
            <a:spLocks noGrp="1"/>
          </p:cNvSpPr>
          <p:nvPr>
            <p:ph type="body" sz="quarter" idx="23" hasCustomPrompt="1"/>
          </p:nvPr>
        </p:nvSpPr>
        <p:spPr>
          <a:xfrm>
            <a:off x="9497866" y="2723471"/>
            <a:ext cx="2267807" cy="892552"/>
          </a:xfrm>
        </p:spPr>
        <p:txBody>
          <a:bodyPr anchor="ctr"/>
          <a:lstStyle>
            <a:lvl1pPr algn="ctr">
              <a:defRPr sz="5800" b="1" i="0">
                <a:solidFill>
                  <a:schemeClr val="accent4"/>
                </a:solidFill>
                <a:latin typeface="Aleo SemiBold" pitchFamily="2" charset="77"/>
              </a:defRPr>
            </a:lvl1pPr>
          </a:lstStyle>
          <a:p>
            <a:pPr lvl="0"/>
            <a:r>
              <a:rPr lang="en-US"/>
              <a:t>83</a:t>
            </a:r>
          </a:p>
        </p:txBody>
      </p:sp>
      <p:sp>
        <p:nvSpPr>
          <p:cNvPr id="23" name="Text Placeholder 10">
            <a:extLst>
              <a:ext uri="{FF2B5EF4-FFF2-40B4-BE49-F238E27FC236}">
                <a16:creationId xmlns:a16="http://schemas.microsoft.com/office/drawing/2014/main" id="{FEE099F3-F96A-D2D3-3664-3157DE7A2FAD}"/>
              </a:ext>
            </a:extLst>
          </p:cNvPr>
          <p:cNvSpPr>
            <a:spLocks noGrp="1"/>
          </p:cNvSpPr>
          <p:nvPr>
            <p:ph type="body" sz="quarter" idx="25" hasCustomPrompt="1"/>
          </p:nvPr>
        </p:nvSpPr>
        <p:spPr>
          <a:xfrm>
            <a:off x="6219254" y="4945147"/>
            <a:ext cx="2766569" cy="276999"/>
          </a:xfrm>
        </p:spPr>
        <p:txBody>
          <a:bodyPr/>
          <a:lstStyle>
            <a:lvl1pPr algn="ctr">
              <a:defRPr sz="1800" b="1"/>
            </a:lvl1pPr>
          </a:lstStyle>
          <a:p>
            <a:r>
              <a:rPr lang="en-US"/>
              <a:t>Stat 3 callout title here</a:t>
            </a:r>
          </a:p>
        </p:txBody>
      </p:sp>
      <p:sp>
        <p:nvSpPr>
          <p:cNvPr id="24" name="Oval 23">
            <a:extLst>
              <a:ext uri="{FF2B5EF4-FFF2-40B4-BE49-F238E27FC236}">
                <a16:creationId xmlns:a16="http://schemas.microsoft.com/office/drawing/2014/main" id="{5E31AA32-D10A-CE66-1708-62A11B4D534F}"/>
              </a:ext>
            </a:extLst>
          </p:cNvPr>
          <p:cNvSpPr/>
          <p:nvPr userDrawn="1"/>
        </p:nvSpPr>
        <p:spPr>
          <a:xfrm>
            <a:off x="6464208" y="1937712"/>
            <a:ext cx="2276660" cy="2276660"/>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5" name="Text Placeholder 10">
            <a:extLst>
              <a:ext uri="{FF2B5EF4-FFF2-40B4-BE49-F238E27FC236}">
                <a16:creationId xmlns:a16="http://schemas.microsoft.com/office/drawing/2014/main" id="{273C0D5F-1187-454D-1E9A-6157CF056DC9}"/>
              </a:ext>
            </a:extLst>
          </p:cNvPr>
          <p:cNvSpPr>
            <a:spLocks noGrp="1"/>
          </p:cNvSpPr>
          <p:nvPr>
            <p:ph type="body" sz="quarter" idx="26" hasCustomPrompt="1"/>
          </p:nvPr>
        </p:nvSpPr>
        <p:spPr>
          <a:xfrm>
            <a:off x="6468635" y="2723471"/>
            <a:ext cx="2267807" cy="892552"/>
          </a:xfrm>
        </p:spPr>
        <p:txBody>
          <a:bodyPr anchor="ctr"/>
          <a:lstStyle>
            <a:lvl1pPr algn="ctr">
              <a:defRPr sz="5800" b="1" i="0">
                <a:solidFill>
                  <a:schemeClr val="accent4"/>
                </a:solidFill>
                <a:latin typeface="Aleo SemiBold" pitchFamily="2" charset="77"/>
              </a:defRPr>
            </a:lvl1pPr>
          </a:lstStyle>
          <a:p>
            <a:pPr lvl="0"/>
            <a:r>
              <a:rPr lang="en-US"/>
              <a:t>500k</a:t>
            </a:r>
          </a:p>
        </p:txBody>
      </p:sp>
      <p:sp>
        <p:nvSpPr>
          <p:cNvPr id="27" name="Text Placeholder 10">
            <a:extLst>
              <a:ext uri="{FF2B5EF4-FFF2-40B4-BE49-F238E27FC236}">
                <a16:creationId xmlns:a16="http://schemas.microsoft.com/office/drawing/2014/main" id="{069C0D35-ACF0-8E66-0FAC-16DC33909593}"/>
              </a:ext>
            </a:extLst>
          </p:cNvPr>
          <p:cNvSpPr>
            <a:spLocks noGrp="1"/>
          </p:cNvSpPr>
          <p:nvPr>
            <p:ph type="body" sz="quarter" idx="28" hasCustomPrompt="1"/>
          </p:nvPr>
        </p:nvSpPr>
        <p:spPr>
          <a:xfrm>
            <a:off x="3210605" y="4945147"/>
            <a:ext cx="2766569" cy="276999"/>
          </a:xfrm>
        </p:spPr>
        <p:txBody>
          <a:bodyPr/>
          <a:lstStyle>
            <a:lvl1pPr algn="ctr">
              <a:defRPr sz="1800" b="1"/>
            </a:lvl1pPr>
          </a:lstStyle>
          <a:p>
            <a:r>
              <a:rPr lang="en-US"/>
              <a:t>Stat 2 callout title here</a:t>
            </a:r>
          </a:p>
        </p:txBody>
      </p:sp>
      <p:sp>
        <p:nvSpPr>
          <p:cNvPr id="28" name="Oval 27">
            <a:extLst>
              <a:ext uri="{FF2B5EF4-FFF2-40B4-BE49-F238E27FC236}">
                <a16:creationId xmlns:a16="http://schemas.microsoft.com/office/drawing/2014/main" id="{8FFA7749-238F-09A7-0F4A-2EE1A57BEA45}"/>
              </a:ext>
            </a:extLst>
          </p:cNvPr>
          <p:cNvSpPr/>
          <p:nvPr userDrawn="1"/>
        </p:nvSpPr>
        <p:spPr>
          <a:xfrm>
            <a:off x="3455559" y="1937712"/>
            <a:ext cx="2276660" cy="2276660"/>
          </a:xfrm>
          <a:prstGeom prst="ellipse">
            <a:avLst/>
          </a:prstGeom>
          <a:solidFill>
            <a:schemeClr val="tx1">
              <a:alpha val="5000"/>
            </a:schemeClr>
          </a:solidFill>
          <a:ln w="38100">
            <a:gradFill>
              <a:gsLst>
                <a:gs pos="0">
                  <a:schemeClr val="accent4"/>
                </a:gs>
                <a:gs pos="51000">
                  <a:schemeClr val="accent1"/>
                </a:gs>
                <a:gs pos="100000">
                  <a:schemeClr val="accent2"/>
                </a:gs>
              </a:gsLst>
              <a:lin ang="135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9" name="Text Placeholder 10">
            <a:extLst>
              <a:ext uri="{FF2B5EF4-FFF2-40B4-BE49-F238E27FC236}">
                <a16:creationId xmlns:a16="http://schemas.microsoft.com/office/drawing/2014/main" id="{69586237-9BD6-B7DD-3FF6-891D5A452F76}"/>
              </a:ext>
            </a:extLst>
          </p:cNvPr>
          <p:cNvSpPr>
            <a:spLocks noGrp="1"/>
          </p:cNvSpPr>
          <p:nvPr>
            <p:ph type="body" sz="quarter" idx="29" hasCustomPrompt="1"/>
          </p:nvPr>
        </p:nvSpPr>
        <p:spPr>
          <a:xfrm>
            <a:off x="3459986" y="2723471"/>
            <a:ext cx="2267807" cy="892552"/>
          </a:xfrm>
        </p:spPr>
        <p:txBody>
          <a:bodyPr anchor="ctr"/>
          <a:lstStyle>
            <a:lvl1pPr algn="ctr">
              <a:defRPr sz="5800" b="1" i="0">
                <a:solidFill>
                  <a:schemeClr val="accent4"/>
                </a:solidFill>
                <a:latin typeface="Aleo SemiBold" pitchFamily="2" charset="77"/>
              </a:defRPr>
            </a:lvl1pPr>
          </a:lstStyle>
          <a:p>
            <a:pPr lvl="0"/>
            <a:r>
              <a:rPr lang="en-US"/>
              <a:t>7x</a:t>
            </a:r>
          </a:p>
        </p:txBody>
      </p:sp>
      <p:sp>
        <p:nvSpPr>
          <p:cNvPr id="7" name="Title 6">
            <a:extLst>
              <a:ext uri="{FF2B5EF4-FFF2-40B4-BE49-F238E27FC236}">
                <a16:creationId xmlns:a16="http://schemas.microsoft.com/office/drawing/2014/main" id="{05EB1056-78EA-E1AA-FFBE-3A10CBD1D57B}"/>
              </a:ext>
            </a:extLst>
          </p:cNvPr>
          <p:cNvSpPr>
            <a:spLocks noGrp="1"/>
          </p:cNvSpPr>
          <p:nvPr>
            <p:ph type="title" hasCustomPrompt="1"/>
          </p:nvPr>
        </p:nvSpPr>
        <p:spPr>
          <a:xfrm>
            <a:off x="527110" y="364208"/>
            <a:ext cx="11137778" cy="506942"/>
          </a:xfrm>
        </p:spPr>
        <p:txBody>
          <a:bodyPr/>
          <a:lstStyle>
            <a:lvl1pPr algn="ctr">
              <a:defRPr/>
            </a:lvl1pPr>
          </a:lstStyle>
          <a:p>
            <a:r>
              <a:rPr lang="en-US"/>
              <a:t>Add a Headline Here</a:t>
            </a:r>
          </a:p>
        </p:txBody>
      </p:sp>
      <p:sp>
        <p:nvSpPr>
          <p:cNvPr id="12" name="Text Placeholder 11">
            <a:extLst>
              <a:ext uri="{FF2B5EF4-FFF2-40B4-BE49-F238E27FC236}">
                <a16:creationId xmlns:a16="http://schemas.microsoft.com/office/drawing/2014/main" id="{1DBB5684-AE83-2114-9A52-22051228A169}"/>
              </a:ext>
            </a:extLst>
          </p:cNvPr>
          <p:cNvSpPr>
            <a:spLocks noGrp="1"/>
          </p:cNvSpPr>
          <p:nvPr>
            <p:ph type="body" sz="quarter" idx="33"/>
          </p:nvPr>
        </p:nvSpPr>
        <p:spPr>
          <a:xfrm>
            <a:off x="169863" y="5427397"/>
            <a:ext cx="2767012" cy="12252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5ACC88A-28D4-60CB-8CAB-975F2312963F}"/>
              </a:ext>
            </a:extLst>
          </p:cNvPr>
          <p:cNvSpPr>
            <a:spLocks noGrp="1"/>
          </p:cNvSpPr>
          <p:nvPr>
            <p:ph type="body" sz="quarter" idx="34"/>
          </p:nvPr>
        </p:nvSpPr>
        <p:spPr>
          <a:xfrm>
            <a:off x="3210162" y="5427397"/>
            <a:ext cx="2767012" cy="12252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a:extLst>
              <a:ext uri="{FF2B5EF4-FFF2-40B4-BE49-F238E27FC236}">
                <a16:creationId xmlns:a16="http://schemas.microsoft.com/office/drawing/2014/main" id="{683AF802-6A9D-9067-594A-5BB30755B037}"/>
              </a:ext>
            </a:extLst>
          </p:cNvPr>
          <p:cNvSpPr>
            <a:spLocks noGrp="1"/>
          </p:cNvSpPr>
          <p:nvPr>
            <p:ph type="body" sz="quarter" idx="35"/>
          </p:nvPr>
        </p:nvSpPr>
        <p:spPr>
          <a:xfrm>
            <a:off x="6214828" y="5427397"/>
            <a:ext cx="2767012" cy="12252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1">
            <a:extLst>
              <a:ext uri="{FF2B5EF4-FFF2-40B4-BE49-F238E27FC236}">
                <a16:creationId xmlns:a16="http://schemas.microsoft.com/office/drawing/2014/main" id="{C84D982D-11BD-E44A-F46F-462337D6B8A7}"/>
              </a:ext>
            </a:extLst>
          </p:cNvPr>
          <p:cNvSpPr>
            <a:spLocks noGrp="1"/>
          </p:cNvSpPr>
          <p:nvPr>
            <p:ph type="body" sz="quarter" idx="36"/>
          </p:nvPr>
        </p:nvSpPr>
        <p:spPr>
          <a:xfrm>
            <a:off x="9224358" y="5427397"/>
            <a:ext cx="2767012" cy="12252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5">
            <a:extLst>
              <a:ext uri="{FF2B5EF4-FFF2-40B4-BE49-F238E27FC236}">
                <a16:creationId xmlns:a16="http://schemas.microsoft.com/office/drawing/2014/main" id="{B99BEDEB-D7C7-8954-35B8-0F03648EDAF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2910583938"/>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alf Image 2 Columns">
    <p:spTree>
      <p:nvGrpSpPr>
        <p:cNvPr id="1" name=""/>
        <p:cNvGrpSpPr/>
        <p:nvPr/>
      </p:nvGrpSpPr>
      <p:grpSpPr>
        <a:xfrm>
          <a:off x="0" y="0"/>
          <a:ext cx="0" cy="0"/>
          <a:chOff x="0" y="0"/>
          <a:chExt cx="0" cy="0"/>
        </a:xfrm>
      </p:grpSpPr>
      <p:sp>
        <p:nvSpPr>
          <p:cNvPr id="7" name="Inhaltsplatzhalter 18">
            <a:extLst>
              <a:ext uri="{FF2B5EF4-FFF2-40B4-BE49-F238E27FC236}">
                <a16:creationId xmlns:a16="http://schemas.microsoft.com/office/drawing/2014/main" id="{84D26D4B-53A9-A16C-368A-C2D36A8FC8CC}"/>
              </a:ext>
            </a:extLst>
          </p:cNvPr>
          <p:cNvSpPr>
            <a:spLocks noGrp="1"/>
          </p:cNvSpPr>
          <p:nvPr>
            <p:ph sz="quarter" idx="13" hasCustomPrompt="1"/>
          </p:nvPr>
        </p:nvSpPr>
        <p:spPr>
          <a:xfrm>
            <a:off x="442913" y="4033940"/>
            <a:ext cx="11336337"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9" name="Picture Placeholder 8">
            <a:extLst>
              <a:ext uri="{FF2B5EF4-FFF2-40B4-BE49-F238E27FC236}">
                <a16:creationId xmlns:a16="http://schemas.microsoft.com/office/drawing/2014/main" id="{95597A78-51F0-D65B-523A-0C318E41854D}"/>
              </a:ext>
            </a:extLst>
          </p:cNvPr>
          <p:cNvSpPr>
            <a:spLocks noGrp="1"/>
          </p:cNvSpPr>
          <p:nvPr>
            <p:ph type="pic" sz="quarter" idx="14"/>
          </p:nvPr>
        </p:nvSpPr>
        <p:spPr>
          <a:xfrm>
            <a:off x="0" y="0"/>
            <a:ext cx="12192000" cy="3005309"/>
          </a:xfrm>
        </p:spPr>
        <p:txBody>
          <a:bodyPr/>
          <a:lstStyle/>
          <a:p>
            <a:endParaRPr lang="en-US"/>
          </a:p>
        </p:txBody>
      </p:sp>
      <p:sp>
        <p:nvSpPr>
          <p:cNvPr id="3" name="Text Placeholder 10">
            <a:extLst>
              <a:ext uri="{FF2B5EF4-FFF2-40B4-BE49-F238E27FC236}">
                <a16:creationId xmlns:a16="http://schemas.microsoft.com/office/drawing/2014/main" id="{58DE6FB7-BCC2-3A56-BFD7-2E38940801AB}"/>
              </a:ext>
            </a:extLst>
          </p:cNvPr>
          <p:cNvSpPr>
            <a:spLocks noGrp="1"/>
          </p:cNvSpPr>
          <p:nvPr>
            <p:ph type="body" sz="quarter" idx="17" hasCustomPrompt="1"/>
          </p:nvPr>
        </p:nvSpPr>
        <p:spPr>
          <a:xfrm>
            <a:off x="442913" y="4550846"/>
            <a:ext cx="5185512" cy="276999"/>
          </a:xfrm>
        </p:spPr>
        <p:txBody>
          <a:bodyPr/>
          <a:lstStyle>
            <a:lvl1pPr algn="ctr">
              <a:defRPr sz="1800" b="1"/>
            </a:lvl1pPr>
          </a:lstStyle>
          <a:p>
            <a:pPr lvl="0"/>
            <a:r>
              <a:rPr lang="en-US"/>
              <a:t>Column 1 Header Goes Here</a:t>
            </a:r>
          </a:p>
        </p:txBody>
      </p:sp>
      <p:sp>
        <p:nvSpPr>
          <p:cNvPr id="8" name="Text Placeholder 10">
            <a:extLst>
              <a:ext uri="{FF2B5EF4-FFF2-40B4-BE49-F238E27FC236}">
                <a16:creationId xmlns:a16="http://schemas.microsoft.com/office/drawing/2014/main" id="{9D1580DA-CC8F-71F6-773D-E635474E86FF}"/>
              </a:ext>
            </a:extLst>
          </p:cNvPr>
          <p:cNvSpPr>
            <a:spLocks noGrp="1"/>
          </p:cNvSpPr>
          <p:nvPr>
            <p:ph type="body" sz="quarter" idx="19" hasCustomPrompt="1"/>
          </p:nvPr>
        </p:nvSpPr>
        <p:spPr>
          <a:xfrm>
            <a:off x="6563576" y="4550846"/>
            <a:ext cx="5185512" cy="276999"/>
          </a:xfrm>
        </p:spPr>
        <p:txBody>
          <a:bodyPr/>
          <a:lstStyle>
            <a:lvl1pPr algn="ctr">
              <a:defRPr sz="1800" b="1"/>
            </a:lvl1pPr>
          </a:lstStyle>
          <a:p>
            <a:pPr lvl="0"/>
            <a:r>
              <a:rPr lang="en-US"/>
              <a:t>Column 2 Header Goes Here</a:t>
            </a:r>
          </a:p>
        </p:txBody>
      </p:sp>
      <p:sp>
        <p:nvSpPr>
          <p:cNvPr id="4" name="Rectangle 3">
            <a:extLst>
              <a:ext uri="{FF2B5EF4-FFF2-40B4-BE49-F238E27FC236}">
                <a16:creationId xmlns:a16="http://schemas.microsoft.com/office/drawing/2014/main" id="{F3CF359D-209D-34A9-7083-8CF164CFA195}"/>
              </a:ext>
            </a:extLst>
          </p:cNvPr>
          <p:cNvSpPr/>
          <p:nvPr userDrawn="1"/>
        </p:nvSpPr>
        <p:spPr>
          <a:xfrm rot="16200000">
            <a:off x="6029091" y="-3023784"/>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3" name="Text Placeholder 12">
            <a:extLst>
              <a:ext uri="{FF2B5EF4-FFF2-40B4-BE49-F238E27FC236}">
                <a16:creationId xmlns:a16="http://schemas.microsoft.com/office/drawing/2014/main" id="{6DADE122-D3B4-3233-9689-89DFD3595E1C}"/>
              </a:ext>
            </a:extLst>
          </p:cNvPr>
          <p:cNvSpPr>
            <a:spLocks noGrp="1"/>
          </p:cNvSpPr>
          <p:nvPr>
            <p:ph type="body" sz="quarter" idx="22"/>
          </p:nvPr>
        </p:nvSpPr>
        <p:spPr>
          <a:xfrm>
            <a:off x="442913" y="5027613"/>
            <a:ext cx="5184775" cy="1453086"/>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2">
            <a:extLst>
              <a:ext uri="{FF2B5EF4-FFF2-40B4-BE49-F238E27FC236}">
                <a16:creationId xmlns:a16="http://schemas.microsoft.com/office/drawing/2014/main" id="{4A22BD9A-F6BE-C15B-DB0E-B3B00A4D1031}"/>
              </a:ext>
            </a:extLst>
          </p:cNvPr>
          <p:cNvSpPr>
            <a:spLocks noGrp="1"/>
          </p:cNvSpPr>
          <p:nvPr>
            <p:ph type="body" sz="quarter" idx="23"/>
          </p:nvPr>
        </p:nvSpPr>
        <p:spPr>
          <a:xfrm>
            <a:off x="6559627" y="5027613"/>
            <a:ext cx="5184775" cy="1453086"/>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4">
            <a:extLst>
              <a:ext uri="{FF2B5EF4-FFF2-40B4-BE49-F238E27FC236}">
                <a16:creationId xmlns:a16="http://schemas.microsoft.com/office/drawing/2014/main" id="{E471AB2D-59EB-AF2F-4447-EA4ECDAD0327}"/>
              </a:ext>
            </a:extLst>
          </p:cNvPr>
          <p:cNvSpPr>
            <a:spLocks noGrp="1"/>
          </p:cNvSpPr>
          <p:nvPr>
            <p:ph type="title" hasCustomPrompt="1"/>
          </p:nvPr>
        </p:nvSpPr>
        <p:spPr>
          <a:xfrm>
            <a:off x="527108" y="3526998"/>
            <a:ext cx="11137778" cy="506942"/>
          </a:xfrm>
        </p:spPr>
        <p:txBody>
          <a:bodyPr/>
          <a:lstStyle>
            <a:lvl1pPr algn="ctr">
              <a:defRPr/>
            </a:lvl1pPr>
          </a:lstStyle>
          <a:p>
            <a:r>
              <a:rPr lang="en-US"/>
              <a:t>Add a Headline Here</a:t>
            </a:r>
          </a:p>
        </p:txBody>
      </p:sp>
    </p:spTree>
    <p:extLst>
      <p:ext uri="{BB962C8B-B14F-4D97-AF65-F5344CB8AC3E}">
        <p14:creationId xmlns:p14="http://schemas.microsoft.com/office/powerpoint/2010/main" val="70232705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alf Image 3 Columns">
    <p:spTree>
      <p:nvGrpSpPr>
        <p:cNvPr id="1" name=""/>
        <p:cNvGrpSpPr/>
        <p:nvPr/>
      </p:nvGrpSpPr>
      <p:grpSpPr>
        <a:xfrm>
          <a:off x="0" y="0"/>
          <a:ext cx="0" cy="0"/>
          <a:chOff x="0" y="0"/>
          <a:chExt cx="0" cy="0"/>
        </a:xfrm>
      </p:grpSpPr>
      <p:sp>
        <p:nvSpPr>
          <p:cNvPr id="7" name="Inhaltsplatzhalter 18">
            <a:extLst>
              <a:ext uri="{FF2B5EF4-FFF2-40B4-BE49-F238E27FC236}">
                <a16:creationId xmlns:a16="http://schemas.microsoft.com/office/drawing/2014/main" id="{84D26D4B-53A9-A16C-368A-C2D36A8FC8CC}"/>
              </a:ext>
            </a:extLst>
          </p:cNvPr>
          <p:cNvSpPr>
            <a:spLocks noGrp="1"/>
          </p:cNvSpPr>
          <p:nvPr>
            <p:ph sz="quarter" idx="13" hasCustomPrompt="1"/>
          </p:nvPr>
        </p:nvSpPr>
        <p:spPr>
          <a:xfrm>
            <a:off x="442912" y="4024771"/>
            <a:ext cx="11336337"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9" name="Picture Placeholder 8">
            <a:extLst>
              <a:ext uri="{FF2B5EF4-FFF2-40B4-BE49-F238E27FC236}">
                <a16:creationId xmlns:a16="http://schemas.microsoft.com/office/drawing/2014/main" id="{95597A78-51F0-D65B-523A-0C318E41854D}"/>
              </a:ext>
            </a:extLst>
          </p:cNvPr>
          <p:cNvSpPr>
            <a:spLocks noGrp="1"/>
          </p:cNvSpPr>
          <p:nvPr>
            <p:ph type="pic" sz="quarter" idx="14"/>
          </p:nvPr>
        </p:nvSpPr>
        <p:spPr>
          <a:xfrm>
            <a:off x="0" y="0"/>
            <a:ext cx="12192000" cy="3005309"/>
          </a:xfrm>
        </p:spPr>
        <p:txBody>
          <a:bodyPr/>
          <a:lstStyle/>
          <a:p>
            <a:endParaRPr lang="en-US"/>
          </a:p>
        </p:txBody>
      </p:sp>
      <p:sp>
        <p:nvSpPr>
          <p:cNvPr id="3" name="Text Placeholder 10">
            <a:extLst>
              <a:ext uri="{FF2B5EF4-FFF2-40B4-BE49-F238E27FC236}">
                <a16:creationId xmlns:a16="http://schemas.microsoft.com/office/drawing/2014/main" id="{58DE6FB7-BCC2-3A56-BFD7-2E38940801AB}"/>
              </a:ext>
            </a:extLst>
          </p:cNvPr>
          <p:cNvSpPr>
            <a:spLocks noGrp="1"/>
          </p:cNvSpPr>
          <p:nvPr>
            <p:ph type="body" sz="quarter" idx="17" hasCustomPrompt="1"/>
          </p:nvPr>
        </p:nvSpPr>
        <p:spPr>
          <a:xfrm>
            <a:off x="442913" y="4550846"/>
            <a:ext cx="3499053" cy="276999"/>
          </a:xfrm>
        </p:spPr>
        <p:txBody>
          <a:bodyPr/>
          <a:lstStyle>
            <a:lvl1pPr algn="ctr">
              <a:defRPr sz="1800" b="1"/>
            </a:lvl1pPr>
          </a:lstStyle>
          <a:p>
            <a:pPr lvl="0"/>
            <a:r>
              <a:rPr lang="en-US"/>
              <a:t>Column 1 Header Goes Here</a:t>
            </a:r>
          </a:p>
        </p:txBody>
      </p:sp>
      <p:sp>
        <p:nvSpPr>
          <p:cNvPr id="8" name="Text Placeholder 10">
            <a:extLst>
              <a:ext uri="{FF2B5EF4-FFF2-40B4-BE49-F238E27FC236}">
                <a16:creationId xmlns:a16="http://schemas.microsoft.com/office/drawing/2014/main" id="{9D1580DA-CC8F-71F6-773D-E635474E86FF}"/>
              </a:ext>
            </a:extLst>
          </p:cNvPr>
          <p:cNvSpPr>
            <a:spLocks noGrp="1"/>
          </p:cNvSpPr>
          <p:nvPr>
            <p:ph type="body" sz="quarter" idx="19" hasCustomPrompt="1"/>
          </p:nvPr>
        </p:nvSpPr>
        <p:spPr>
          <a:xfrm>
            <a:off x="4346473" y="4550846"/>
            <a:ext cx="3499053" cy="276999"/>
          </a:xfrm>
        </p:spPr>
        <p:txBody>
          <a:bodyPr/>
          <a:lstStyle>
            <a:lvl1pPr algn="ctr">
              <a:defRPr sz="1800" b="1"/>
            </a:lvl1pPr>
          </a:lstStyle>
          <a:p>
            <a:pPr lvl="0"/>
            <a:r>
              <a:rPr lang="en-US"/>
              <a:t>Column 2 Header Goes Here</a:t>
            </a:r>
          </a:p>
        </p:txBody>
      </p:sp>
      <p:sp>
        <p:nvSpPr>
          <p:cNvPr id="11" name="Text Placeholder 10">
            <a:extLst>
              <a:ext uri="{FF2B5EF4-FFF2-40B4-BE49-F238E27FC236}">
                <a16:creationId xmlns:a16="http://schemas.microsoft.com/office/drawing/2014/main" id="{D575CD49-6BC6-BF40-A16A-3D055536AFEC}"/>
              </a:ext>
            </a:extLst>
          </p:cNvPr>
          <p:cNvSpPr>
            <a:spLocks noGrp="1"/>
          </p:cNvSpPr>
          <p:nvPr>
            <p:ph type="body" sz="quarter" idx="21" hasCustomPrompt="1"/>
          </p:nvPr>
        </p:nvSpPr>
        <p:spPr>
          <a:xfrm>
            <a:off x="8238836" y="4550846"/>
            <a:ext cx="3499053" cy="276999"/>
          </a:xfrm>
        </p:spPr>
        <p:txBody>
          <a:bodyPr/>
          <a:lstStyle>
            <a:lvl1pPr algn="ctr">
              <a:defRPr sz="1800" b="1"/>
            </a:lvl1pPr>
          </a:lstStyle>
          <a:p>
            <a:pPr lvl="0"/>
            <a:r>
              <a:rPr lang="en-US"/>
              <a:t>Column 3 Header Goes Here</a:t>
            </a:r>
          </a:p>
        </p:txBody>
      </p:sp>
      <p:sp>
        <p:nvSpPr>
          <p:cNvPr id="13" name="Rectangle 12">
            <a:extLst>
              <a:ext uri="{FF2B5EF4-FFF2-40B4-BE49-F238E27FC236}">
                <a16:creationId xmlns:a16="http://schemas.microsoft.com/office/drawing/2014/main" id="{3102E54C-BB43-F694-E8B6-C217DA5F420C}"/>
              </a:ext>
            </a:extLst>
          </p:cNvPr>
          <p:cNvSpPr/>
          <p:nvPr userDrawn="1"/>
        </p:nvSpPr>
        <p:spPr>
          <a:xfrm rot="16200000">
            <a:off x="6029087" y="-3023784"/>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 name="Title 1">
            <a:extLst>
              <a:ext uri="{FF2B5EF4-FFF2-40B4-BE49-F238E27FC236}">
                <a16:creationId xmlns:a16="http://schemas.microsoft.com/office/drawing/2014/main" id="{46CA3924-9152-5F72-FC5F-92FB81F35507}"/>
              </a:ext>
            </a:extLst>
          </p:cNvPr>
          <p:cNvSpPr>
            <a:spLocks noGrp="1"/>
          </p:cNvSpPr>
          <p:nvPr>
            <p:ph type="title" hasCustomPrompt="1"/>
          </p:nvPr>
        </p:nvSpPr>
        <p:spPr>
          <a:xfrm>
            <a:off x="496217" y="3517829"/>
            <a:ext cx="11199552" cy="506942"/>
          </a:xfrm>
        </p:spPr>
        <p:txBody>
          <a:bodyPr/>
          <a:lstStyle>
            <a:lvl1pPr algn="ctr">
              <a:defRPr/>
            </a:lvl1pPr>
          </a:lstStyle>
          <a:p>
            <a:r>
              <a:rPr lang="en-US"/>
              <a:t>Add a Headline Here</a:t>
            </a:r>
          </a:p>
        </p:txBody>
      </p:sp>
      <p:sp>
        <p:nvSpPr>
          <p:cNvPr id="10" name="Text Placeholder 9">
            <a:extLst>
              <a:ext uri="{FF2B5EF4-FFF2-40B4-BE49-F238E27FC236}">
                <a16:creationId xmlns:a16="http://schemas.microsoft.com/office/drawing/2014/main" id="{5E048E0F-E540-EB64-5CA8-8AB603B065F4}"/>
              </a:ext>
            </a:extLst>
          </p:cNvPr>
          <p:cNvSpPr>
            <a:spLocks noGrp="1"/>
          </p:cNvSpPr>
          <p:nvPr>
            <p:ph type="body" sz="quarter" idx="25"/>
          </p:nvPr>
        </p:nvSpPr>
        <p:spPr>
          <a:xfrm>
            <a:off x="496888" y="5028093"/>
            <a:ext cx="3444875" cy="1540982"/>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9">
            <a:extLst>
              <a:ext uri="{FF2B5EF4-FFF2-40B4-BE49-F238E27FC236}">
                <a16:creationId xmlns:a16="http://schemas.microsoft.com/office/drawing/2014/main" id="{EA498137-EFF5-5E11-41CF-76A87635181B}"/>
              </a:ext>
            </a:extLst>
          </p:cNvPr>
          <p:cNvSpPr>
            <a:spLocks noGrp="1"/>
          </p:cNvSpPr>
          <p:nvPr>
            <p:ph type="body" sz="quarter" idx="26"/>
          </p:nvPr>
        </p:nvSpPr>
        <p:spPr>
          <a:xfrm>
            <a:off x="4367552" y="5028093"/>
            <a:ext cx="3444875" cy="1540982"/>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9">
            <a:extLst>
              <a:ext uri="{FF2B5EF4-FFF2-40B4-BE49-F238E27FC236}">
                <a16:creationId xmlns:a16="http://schemas.microsoft.com/office/drawing/2014/main" id="{3089C480-5EBD-9921-4A19-A98724C8BAC5}"/>
              </a:ext>
            </a:extLst>
          </p:cNvPr>
          <p:cNvSpPr>
            <a:spLocks noGrp="1"/>
          </p:cNvSpPr>
          <p:nvPr>
            <p:ph type="body" sz="quarter" idx="27"/>
          </p:nvPr>
        </p:nvSpPr>
        <p:spPr>
          <a:xfrm>
            <a:off x="8238216" y="5028093"/>
            <a:ext cx="3444875" cy="1540982"/>
          </a:xfrm>
        </p:spPr>
        <p:txBody>
          <a:bodyPr/>
          <a:lstStyle>
            <a:lvl1pPr algn="ctr">
              <a:defRPr/>
            </a:lvl1pPr>
            <a:lvl2pPr algn="ctr">
              <a:defRPr/>
            </a:lvl2pPr>
            <a:lvl3pPr algn="ctr">
              <a:defRPr/>
            </a:lvl3pPr>
            <a:lvl4pPr algn="ctr">
              <a:defRPr/>
            </a:lvl4pPr>
            <a:lvl5pPr algn="ct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19536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tatement/Quo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4335E6-6E45-886B-7005-D0983ACE320D}"/>
              </a:ext>
            </a:extLst>
          </p:cNvPr>
          <p:cNvSpPr/>
          <p:nvPr userDrawn="1"/>
        </p:nvSpPr>
        <p:spPr>
          <a:xfrm>
            <a:off x="0" y="0"/>
            <a:ext cx="12192000" cy="6858000"/>
          </a:xfrm>
          <a:prstGeom prst="rect">
            <a:avLst/>
          </a:prstGeom>
          <a:gradFill>
            <a:gsLst>
              <a:gs pos="0">
                <a:schemeClr val="accent4">
                  <a:lumMod val="70000"/>
                </a:schemeClr>
              </a:gs>
              <a:gs pos="100000">
                <a:schemeClr val="accent4">
                  <a:lumMod val="90000"/>
                  <a:lumOff val="10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8DA875AB-FE08-559D-63EC-256E8439C1D2}"/>
              </a:ext>
            </a:extLst>
          </p:cNvPr>
          <p:cNvSpPr>
            <a:spLocks noGrp="1"/>
          </p:cNvSpPr>
          <p:nvPr>
            <p:ph type="title" hasCustomPrompt="1"/>
          </p:nvPr>
        </p:nvSpPr>
        <p:spPr>
          <a:xfrm>
            <a:off x="1299114" y="3152001"/>
            <a:ext cx="9593771" cy="553998"/>
          </a:xfrm>
        </p:spPr>
        <p:txBody>
          <a:bodyPr vert="horz"/>
          <a:lstStyle>
            <a:lvl1pPr algn="ctr" rtl="0">
              <a:lnSpc>
                <a:spcPct val="100000"/>
              </a:lnSpc>
              <a:defRPr b="1" i="0">
                <a:solidFill>
                  <a:schemeClr val="bg1"/>
                </a:solidFill>
                <a:latin typeface="Aleo SemiBold" pitchFamily="2" charset="77"/>
              </a:defRPr>
            </a:lvl1pPr>
          </a:lstStyle>
          <a:p>
            <a:r>
              <a:rPr lang="en-US"/>
              <a:t>“Quote Template Goes Here”</a:t>
            </a:r>
          </a:p>
        </p:txBody>
      </p:sp>
      <p:sp>
        <p:nvSpPr>
          <p:cNvPr id="7" name="Text Placeholder 6">
            <a:extLst>
              <a:ext uri="{FF2B5EF4-FFF2-40B4-BE49-F238E27FC236}">
                <a16:creationId xmlns:a16="http://schemas.microsoft.com/office/drawing/2014/main" id="{3B1A82A7-634D-32B4-4860-A04B0562CB5A}"/>
              </a:ext>
            </a:extLst>
          </p:cNvPr>
          <p:cNvSpPr>
            <a:spLocks noGrp="1"/>
          </p:cNvSpPr>
          <p:nvPr>
            <p:ph type="body" sz="quarter" idx="10" hasCustomPrompt="1"/>
          </p:nvPr>
        </p:nvSpPr>
        <p:spPr>
          <a:xfrm>
            <a:off x="1298575" y="3889375"/>
            <a:ext cx="9702800" cy="215444"/>
          </a:xfrm>
        </p:spPr>
        <p:txBody>
          <a:bodyPr/>
          <a:lstStyle>
            <a:lvl1pPr algn="ctr">
              <a:defRPr>
                <a:solidFill>
                  <a:schemeClr val="bg1"/>
                </a:solidFill>
              </a:defRPr>
            </a:lvl1pPr>
          </a:lstStyle>
          <a:p>
            <a:pPr lvl="0"/>
            <a:r>
              <a:rPr lang="en-US"/>
              <a:t>- Add Name, Title Here</a:t>
            </a:r>
          </a:p>
        </p:txBody>
      </p:sp>
    </p:spTree>
    <p:extLst>
      <p:ext uri="{BB962C8B-B14F-4D97-AF65-F5344CB8AC3E}">
        <p14:creationId xmlns:p14="http://schemas.microsoft.com/office/powerpoint/2010/main" val="1742757559"/>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tement &amp; Imag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378561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Picture Placeholder 5">
            <a:extLst>
              <a:ext uri="{FF2B5EF4-FFF2-40B4-BE49-F238E27FC236}">
                <a16:creationId xmlns:a16="http://schemas.microsoft.com/office/drawing/2014/main" id="{2E49611A-1E1A-1FB1-1456-4A7A31C2F3F6}"/>
              </a:ext>
            </a:extLst>
          </p:cNvPr>
          <p:cNvSpPr>
            <a:spLocks noGrp="1"/>
          </p:cNvSpPr>
          <p:nvPr>
            <p:ph type="pic" sz="quarter" idx="10"/>
          </p:nvPr>
        </p:nvSpPr>
        <p:spPr>
          <a:xfrm>
            <a:off x="3786188" y="0"/>
            <a:ext cx="8405812" cy="6858000"/>
          </a:xfrm>
        </p:spPr>
        <p:txBody>
          <a:bodyPr/>
          <a:lstStyle/>
          <a:p>
            <a:endParaRPr lang="en-US"/>
          </a:p>
        </p:txBody>
      </p:sp>
      <p:pic>
        <p:nvPicPr>
          <p:cNvPr id="3" name="Graphic 2">
            <a:extLst>
              <a:ext uri="{FF2B5EF4-FFF2-40B4-BE49-F238E27FC236}">
                <a16:creationId xmlns:a16="http://schemas.microsoft.com/office/drawing/2014/main" id="{02131155-194C-15B8-1E22-FEED1AEC167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20250" y="316792"/>
            <a:ext cx="271037" cy="289106"/>
          </a:xfrm>
          <a:prstGeom prst="rect">
            <a:avLst/>
          </a:prstGeom>
        </p:spPr>
      </p:pic>
      <p:sp>
        <p:nvSpPr>
          <p:cNvPr id="2" name="Title 1">
            <a:extLst>
              <a:ext uri="{FF2B5EF4-FFF2-40B4-BE49-F238E27FC236}">
                <a16:creationId xmlns:a16="http://schemas.microsoft.com/office/drawing/2014/main" id="{995BF527-274A-1F68-8794-0D24507CF3B6}"/>
              </a:ext>
            </a:extLst>
          </p:cNvPr>
          <p:cNvSpPr>
            <a:spLocks noGrp="1"/>
          </p:cNvSpPr>
          <p:nvPr>
            <p:ph type="title" hasCustomPrompt="1"/>
          </p:nvPr>
        </p:nvSpPr>
        <p:spPr>
          <a:xfrm>
            <a:off x="320250" y="2420864"/>
            <a:ext cx="3186521" cy="2016271"/>
          </a:xfrm>
        </p:spPr>
        <p:txBody>
          <a:bodyPr anchor="ctr"/>
          <a:lstStyle>
            <a:lvl1pPr>
              <a:defRPr>
                <a:solidFill>
                  <a:schemeClr val="bg1"/>
                </a:solidFill>
              </a:defRPr>
            </a:lvl1pPr>
          </a:lstStyle>
          <a:p>
            <a:r>
              <a:rPr lang="en-US"/>
              <a:t>Add a Title, Quote, or Statement Here</a:t>
            </a:r>
          </a:p>
        </p:txBody>
      </p:sp>
    </p:spTree>
    <p:extLst>
      <p:ext uri="{BB962C8B-B14F-4D97-AF65-F5344CB8AC3E}">
        <p14:creationId xmlns:p14="http://schemas.microsoft.com/office/powerpoint/2010/main" val="587375536"/>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tement &amp; Chart">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378561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 name="Chart Placeholder 2">
            <a:extLst>
              <a:ext uri="{FF2B5EF4-FFF2-40B4-BE49-F238E27FC236}">
                <a16:creationId xmlns:a16="http://schemas.microsoft.com/office/drawing/2014/main" id="{9B80AF76-84A1-B4B1-711F-E215AC0F963B}"/>
              </a:ext>
            </a:extLst>
          </p:cNvPr>
          <p:cNvSpPr>
            <a:spLocks noGrp="1"/>
          </p:cNvSpPr>
          <p:nvPr>
            <p:ph type="chart" sz="quarter" idx="10"/>
          </p:nvPr>
        </p:nvSpPr>
        <p:spPr>
          <a:xfrm>
            <a:off x="4591250" y="539013"/>
            <a:ext cx="7100236" cy="5779971"/>
          </a:xfrm>
        </p:spPr>
        <p:txBody>
          <a:bodyPr/>
          <a:lstStyle/>
          <a:p>
            <a:endParaRPr lang="en-US"/>
          </a:p>
        </p:txBody>
      </p:sp>
      <p:pic>
        <p:nvPicPr>
          <p:cNvPr id="2" name="Graphic 1">
            <a:extLst>
              <a:ext uri="{FF2B5EF4-FFF2-40B4-BE49-F238E27FC236}">
                <a16:creationId xmlns:a16="http://schemas.microsoft.com/office/drawing/2014/main" id="{42D3E09B-CC13-0774-4C60-27678A828B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20250" y="316792"/>
            <a:ext cx="271037" cy="289106"/>
          </a:xfrm>
          <a:prstGeom prst="rect">
            <a:avLst/>
          </a:prstGeom>
        </p:spPr>
      </p:pic>
      <p:sp>
        <p:nvSpPr>
          <p:cNvPr id="6" name="Title 5">
            <a:extLst>
              <a:ext uri="{FF2B5EF4-FFF2-40B4-BE49-F238E27FC236}">
                <a16:creationId xmlns:a16="http://schemas.microsoft.com/office/drawing/2014/main" id="{68DC3ED6-792B-B7D9-85DF-4232363E09FE}"/>
              </a:ext>
            </a:extLst>
          </p:cNvPr>
          <p:cNvSpPr>
            <a:spLocks noGrp="1"/>
          </p:cNvSpPr>
          <p:nvPr>
            <p:ph type="title" hasCustomPrompt="1"/>
          </p:nvPr>
        </p:nvSpPr>
        <p:spPr>
          <a:xfrm>
            <a:off x="320249" y="2428846"/>
            <a:ext cx="3186521" cy="2000304"/>
          </a:xfrm>
        </p:spPr>
        <p:txBody>
          <a:bodyPr anchor="ctr"/>
          <a:lstStyle>
            <a:lvl1pPr>
              <a:defRPr>
                <a:solidFill>
                  <a:schemeClr val="bg1"/>
                </a:solidFill>
              </a:defRPr>
            </a:lvl1pPr>
          </a:lstStyle>
          <a:p>
            <a:r>
              <a:rPr lang="en-US"/>
              <a:t>Add a Title, Quote, or Statement Here</a:t>
            </a:r>
          </a:p>
        </p:txBody>
      </p:sp>
    </p:spTree>
    <p:extLst>
      <p:ext uri="{BB962C8B-B14F-4D97-AF65-F5344CB8AC3E}">
        <p14:creationId xmlns:p14="http://schemas.microsoft.com/office/powerpoint/2010/main" val="417267149"/>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66D8F33-E2BF-ECA0-22A1-FFFAD20736F9}"/>
              </a:ext>
            </a:extLst>
          </p:cNvPr>
          <p:cNvSpPr/>
          <p:nvPr userDrawn="1"/>
        </p:nvSpPr>
        <p:spPr>
          <a:xfrm>
            <a:off x="7069394" y="0"/>
            <a:ext cx="5122606" cy="6858000"/>
          </a:xfrm>
          <a:prstGeom prst="rect">
            <a:avLst/>
          </a:prstGeom>
          <a:gradFill flip="none" rotWithShape="1">
            <a:gsLst>
              <a:gs pos="51000">
                <a:srgbClr val="6536EA"/>
              </a:gs>
              <a:gs pos="1000">
                <a:schemeClr val="accent4"/>
              </a:gs>
              <a:gs pos="100000">
                <a:schemeClr val="accent2"/>
              </a:gs>
            </a:gsLst>
            <a:lin ang="2700000" scaled="0"/>
            <a:tileRect/>
          </a:gradFill>
          <a:ln>
            <a:noFill/>
          </a:ln>
          <a:effectLst>
            <a:outerShdw blurRad="899448" dist="139700" dir="10800000" algn="r" rotWithShape="0">
              <a:schemeClr val="accent1">
                <a:alpha val="20472"/>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2C6977E8-8CF5-418C-49D1-D550B90768E0}"/>
              </a:ext>
            </a:extLst>
          </p:cNvPr>
          <p:cNvSpPr>
            <a:spLocks noGrp="1"/>
          </p:cNvSpPr>
          <p:nvPr>
            <p:ph type="title" hasCustomPrompt="1"/>
          </p:nvPr>
        </p:nvSpPr>
        <p:spPr>
          <a:xfrm>
            <a:off x="442911" y="2957066"/>
            <a:ext cx="6085211" cy="1344984"/>
          </a:xfrm>
        </p:spPr>
        <p:txBody>
          <a:bodyPr vert="horz" anchor="t"/>
          <a:lstStyle>
            <a:lvl1pPr algn="l" rtl="0">
              <a:defRPr sz="4800" b="1" i="0">
                <a:solidFill>
                  <a:schemeClr val="tx1"/>
                </a:solidFill>
                <a:latin typeface="Aleo SemiBold" pitchFamily="2" charset="77"/>
              </a:defRPr>
            </a:lvl1pPr>
          </a:lstStyle>
          <a:p>
            <a:r>
              <a:rPr lang="en-US"/>
              <a:t>This is a Basic Divider Slide</a:t>
            </a:r>
          </a:p>
        </p:txBody>
      </p:sp>
      <p:sp>
        <p:nvSpPr>
          <p:cNvPr id="3" name="Text Placeholder 43">
            <a:extLst>
              <a:ext uri="{FF2B5EF4-FFF2-40B4-BE49-F238E27FC236}">
                <a16:creationId xmlns:a16="http://schemas.microsoft.com/office/drawing/2014/main" id="{CE8C2B8E-5072-D8B2-848F-E2C366D81AD8}"/>
              </a:ext>
            </a:extLst>
          </p:cNvPr>
          <p:cNvSpPr>
            <a:spLocks noGrp="1"/>
          </p:cNvSpPr>
          <p:nvPr>
            <p:ph type="body" sz="quarter" idx="15" hasCustomPrompt="1"/>
          </p:nvPr>
        </p:nvSpPr>
        <p:spPr>
          <a:xfrm>
            <a:off x="442912" y="2613557"/>
            <a:ext cx="6085210" cy="208301"/>
          </a:xfrm>
        </p:spPr>
        <p:txBody>
          <a:bodyPr/>
          <a:lstStyle>
            <a:lvl1pPr>
              <a:defRPr sz="1400">
                <a:solidFill>
                  <a:schemeClr val="accent3"/>
                </a:solidFill>
                <a:latin typeface="DM Sans" pitchFamily="2" charset="77"/>
              </a:defRPr>
            </a:lvl1pPr>
          </a:lstStyle>
          <a:p>
            <a:r>
              <a:rPr lang="en-US"/>
              <a:t>SECTION TITLE GOES HERE</a:t>
            </a:r>
          </a:p>
        </p:txBody>
      </p:sp>
      <p:pic>
        <p:nvPicPr>
          <p:cNvPr id="2" name="Graphic 1">
            <a:extLst>
              <a:ext uri="{FF2B5EF4-FFF2-40B4-BE49-F238E27FC236}">
                <a16:creationId xmlns:a16="http://schemas.microsoft.com/office/drawing/2014/main" id="{79F2B5C2-9A72-23E1-C4F7-15A73C0C1DA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188259" y="2957066"/>
            <a:ext cx="884876" cy="943867"/>
          </a:xfrm>
          <a:prstGeom prst="rect">
            <a:avLst/>
          </a:prstGeom>
        </p:spPr>
      </p:pic>
    </p:spTree>
    <p:extLst>
      <p:ext uri="{BB962C8B-B14F-4D97-AF65-F5344CB8AC3E}">
        <p14:creationId xmlns:p14="http://schemas.microsoft.com/office/powerpoint/2010/main" val="241672487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tatement &amp; Tabl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516D95-B886-15D7-CD3E-8F6C36C02C4F}"/>
              </a:ext>
            </a:extLst>
          </p:cNvPr>
          <p:cNvSpPr/>
          <p:nvPr userDrawn="1"/>
        </p:nvSpPr>
        <p:spPr>
          <a:xfrm>
            <a:off x="0" y="0"/>
            <a:ext cx="378561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Table Placeholder 5">
            <a:extLst>
              <a:ext uri="{FF2B5EF4-FFF2-40B4-BE49-F238E27FC236}">
                <a16:creationId xmlns:a16="http://schemas.microsoft.com/office/drawing/2014/main" id="{F922EA8C-2993-6FAD-C323-43DF28844789}"/>
              </a:ext>
            </a:extLst>
          </p:cNvPr>
          <p:cNvSpPr>
            <a:spLocks noGrp="1"/>
          </p:cNvSpPr>
          <p:nvPr>
            <p:ph type="tbl" sz="quarter" idx="10"/>
          </p:nvPr>
        </p:nvSpPr>
        <p:spPr>
          <a:xfrm>
            <a:off x="4604652" y="572703"/>
            <a:ext cx="6980932" cy="5712594"/>
          </a:xfrm>
        </p:spPr>
        <p:txBody>
          <a:bodyPr/>
          <a:lstStyle/>
          <a:p>
            <a:endParaRPr lang="en-US"/>
          </a:p>
        </p:txBody>
      </p:sp>
      <p:pic>
        <p:nvPicPr>
          <p:cNvPr id="2" name="Graphic 1">
            <a:extLst>
              <a:ext uri="{FF2B5EF4-FFF2-40B4-BE49-F238E27FC236}">
                <a16:creationId xmlns:a16="http://schemas.microsoft.com/office/drawing/2014/main" id="{7ACB2A5E-8B45-64C0-440F-6F09F13CF2B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20250" y="316792"/>
            <a:ext cx="271037" cy="289106"/>
          </a:xfrm>
          <a:prstGeom prst="rect">
            <a:avLst/>
          </a:prstGeom>
        </p:spPr>
      </p:pic>
      <p:sp>
        <p:nvSpPr>
          <p:cNvPr id="3" name="Title 2">
            <a:extLst>
              <a:ext uri="{FF2B5EF4-FFF2-40B4-BE49-F238E27FC236}">
                <a16:creationId xmlns:a16="http://schemas.microsoft.com/office/drawing/2014/main" id="{AEFF6CB2-4C92-A73B-6EB8-E0190AFAA52F}"/>
              </a:ext>
            </a:extLst>
          </p:cNvPr>
          <p:cNvSpPr>
            <a:spLocks noGrp="1"/>
          </p:cNvSpPr>
          <p:nvPr>
            <p:ph type="title" hasCustomPrompt="1"/>
          </p:nvPr>
        </p:nvSpPr>
        <p:spPr>
          <a:xfrm>
            <a:off x="320250" y="2424393"/>
            <a:ext cx="3186521" cy="2009213"/>
          </a:xfrm>
        </p:spPr>
        <p:txBody>
          <a:bodyPr anchor="ctr"/>
          <a:lstStyle>
            <a:lvl1pPr>
              <a:defRPr>
                <a:solidFill>
                  <a:schemeClr val="bg1"/>
                </a:solidFill>
              </a:defRPr>
            </a:lvl1pPr>
          </a:lstStyle>
          <a:p>
            <a:r>
              <a:rPr lang="en-US"/>
              <a:t>Add a Title, Quote, or Statement Here</a:t>
            </a:r>
          </a:p>
        </p:txBody>
      </p:sp>
    </p:spTree>
    <p:extLst>
      <p:ext uri="{BB962C8B-B14F-4D97-AF65-F5344CB8AC3E}">
        <p14:creationId xmlns:p14="http://schemas.microsoft.com/office/powerpoint/2010/main" val="3719777877"/>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Intro">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val 1">
            <a:extLst>
              <a:ext uri="{FF2B5EF4-FFF2-40B4-BE49-F238E27FC236}">
                <a16:creationId xmlns:a16="http://schemas.microsoft.com/office/drawing/2014/main" id="{5D9B41F5-2086-57EE-FC74-C474CEDD7427}"/>
              </a:ext>
            </a:extLst>
          </p:cNvPr>
          <p:cNvSpPr/>
          <p:nvPr userDrawn="1"/>
        </p:nvSpPr>
        <p:spPr>
          <a:xfrm>
            <a:off x="5972889" y="4201668"/>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cxnSp>
        <p:nvCxnSpPr>
          <p:cNvPr id="5" name="Straight Connector 4">
            <a:extLst>
              <a:ext uri="{FF2B5EF4-FFF2-40B4-BE49-F238E27FC236}">
                <a16:creationId xmlns:a16="http://schemas.microsoft.com/office/drawing/2014/main" id="{EEB05C5C-873F-CAA4-C960-E9115E4E12E7}"/>
              </a:ext>
            </a:extLst>
          </p:cNvPr>
          <p:cNvCxnSpPr>
            <a:cxnSpLocks/>
          </p:cNvCxnSpPr>
          <p:nvPr userDrawn="1"/>
        </p:nvCxnSpPr>
        <p:spPr>
          <a:xfrm>
            <a:off x="6096000" y="4447889"/>
            <a:ext cx="0" cy="2410111"/>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Inhaltsplatzhalter 18">
            <a:extLst>
              <a:ext uri="{FF2B5EF4-FFF2-40B4-BE49-F238E27FC236}">
                <a16:creationId xmlns:a16="http://schemas.microsoft.com/office/drawing/2014/main" id="{AB7BD904-347D-D0D0-A6C1-28297AB38BE8}"/>
              </a:ext>
            </a:extLst>
          </p:cNvPr>
          <p:cNvSpPr>
            <a:spLocks noGrp="1"/>
          </p:cNvSpPr>
          <p:nvPr>
            <p:ph sz="quarter" idx="13" hasCustomPrompt="1"/>
          </p:nvPr>
        </p:nvSpPr>
        <p:spPr>
          <a:xfrm>
            <a:off x="3942199" y="3329014"/>
            <a:ext cx="4307601" cy="317138"/>
          </a:xfrm>
        </p:spPr>
        <p:txBody>
          <a:bodyPr wrap="square">
            <a:spAutoFit/>
          </a:bodyPr>
          <a:lstStyle>
            <a:lvl1pPr algn="ct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17" name="Rectangle 16">
            <a:extLst>
              <a:ext uri="{FF2B5EF4-FFF2-40B4-BE49-F238E27FC236}">
                <a16:creationId xmlns:a16="http://schemas.microsoft.com/office/drawing/2014/main" id="{2125D4CB-1F15-2748-C3B2-574706489E66}"/>
              </a:ext>
            </a:extLst>
          </p:cNvPr>
          <p:cNvSpPr/>
          <p:nvPr userDrawn="1"/>
        </p:nvSpPr>
        <p:spPr>
          <a:xfrm rot="16200000">
            <a:off x="6029091" y="-6029093"/>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 name="Title 3">
            <a:extLst>
              <a:ext uri="{FF2B5EF4-FFF2-40B4-BE49-F238E27FC236}">
                <a16:creationId xmlns:a16="http://schemas.microsoft.com/office/drawing/2014/main" id="{44D7FD37-3C0A-D14F-48FE-29F1B828352E}"/>
              </a:ext>
            </a:extLst>
          </p:cNvPr>
          <p:cNvSpPr>
            <a:spLocks noGrp="1"/>
          </p:cNvSpPr>
          <p:nvPr>
            <p:ph type="title" hasCustomPrompt="1"/>
          </p:nvPr>
        </p:nvSpPr>
        <p:spPr>
          <a:xfrm>
            <a:off x="937137" y="2638284"/>
            <a:ext cx="10317719" cy="506942"/>
          </a:xfrm>
        </p:spPr>
        <p:txBody>
          <a:bodyPr/>
          <a:lstStyle>
            <a:lvl1pPr algn="ctr">
              <a:defRPr sz="4200"/>
            </a:lvl1pPr>
          </a:lstStyle>
          <a:p>
            <a:r>
              <a:rPr lang="en-US"/>
              <a:t>Build a Timeline of Events</a:t>
            </a:r>
          </a:p>
        </p:txBody>
      </p:sp>
      <p:pic>
        <p:nvPicPr>
          <p:cNvPr id="3" name="Picture 5">
            <a:extLst>
              <a:ext uri="{FF2B5EF4-FFF2-40B4-BE49-F238E27FC236}">
                <a16:creationId xmlns:a16="http://schemas.microsoft.com/office/drawing/2014/main" id="{634A4764-1C6E-1CEA-7210-EC2C2627EB03}"/>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5958002" y="1642985"/>
            <a:ext cx="518241" cy="518241"/>
          </a:xfrm>
          <a:prstGeom prst="rect">
            <a:avLst/>
          </a:prstGeom>
        </p:spPr>
      </p:pic>
    </p:spTree>
    <p:extLst>
      <p:ext uri="{BB962C8B-B14F-4D97-AF65-F5344CB8AC3E}">
        <p14:creationId xmlns:p14="http://schemas.microsoft.com/office/powerpoint/2010/main" val="1782635957"/>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Middle">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EEB05C5C-873F-CAA4-C960-E9115E4E12E7}"/>
              </a:ext>
            </a:extLst>
          </p:cNvPr>
          <p:cNvCxnSpPr>
            <a:cxnSpLocks/>
          </p:cNvCxnSpPr>
          <p:nvPr userDrawn="1"/>
        </p:nvCxnSpPr>
        <p:spPr>
          <a:xfrm>
            <a:off x="6096000" y="0"/>
            <a:ext cx="0" cy="685800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0">
            <a:extLst>
              <a:ext uri="{FF2B5EF4-FFF2-40B4-BE49-F238E27FC236}">
                <a16:creationId xmlns:a16="http://schemas.microsoft.com/office/drawing/2014/main" id="{900D1538-C66B-F705-F099-6725134E9AA4}"/>
              </a:ext>
            </a:extLst>
          </p:cNvPr>
          <p:cNvSpPr>
            <a:spLocks noGrp="1"/>
          </p:cNvSpPr>
          <p:nvPr>
            <p:ph type="body" sz="quarter" idx="17" hasCustomPrompt="1"/>
          </p:nvPr>
        </p:nvSpPr>
        <p:spPr>
          <a:xfrm>
            <a:off x="1016724" y="995031"/>
            <a:ext cx="4165057" cy="276999"/>
          </a:xfrm>
        </p:spPr>
        <p:txBody>
          <a:bodyPr/>
          <a:lstStyle>
            <a:lvl1pPr algn="r">
              <a:defRPr sz="1800" b="1"/>
            </a:lvl1pPr>
          </a:lstStyle>
          <a:p>
            <a:pPr lvl="0"/>
            <a:r>
              <a:rPr lang="en-US"/>
              <a:t>Date 1 Event Title</a:t>
            </a:r>
          </a:p>
        </p:txBody>
      </p:sp>
      <p:sp>
        <p:nvSpPr>
          <p:cNvPr id="15" name="Text Placeholder 10">
            <a:extLst>
              <a:ext uri="{FF2B5EF4-FFF2-40B4-BE49-F238E27FC236}">
                <a16:creationId xmlns:a16="http://schemas.microsoft.com/office/drawing/2014/main" id="{2E3BD23B-E578-2B0C-307D-BC5618FB1B71}"/>
              </a:ext>
            </a:extLst>
          </p:cNvPr>
          <p:cNvSpPr>
            <a:spLocks noGrp="1"/>
          </p:cNvSpPr>
          <p:nvPr>
            <p:ph type="body" sz="quarter" idx="19" hasCustomPrompt="1"/>
          </p:nvPr>
        </p:nvSpPr>
        <p:spPr>
          <a:xfrm>
            <a:off x="1011127" y="4701393"/>
            <a:ext cx="4165056" cy="276999"/>
          </a:xfrm>
        </p:spPr>
        <p:txBody>
          <a:bodyPr/>
          <a:lstStyle>
            <a:lvl1pPr algn="r">
              <a:defRPr sz="1800" b="1"/>
            </a:lvl1pPr>
          </a:lstStyle>
          <a:p>
            <a:pPr lvl="0"/>
            <a:r>
              <a:rPr lang="en-US"/>
              <a:t>Date 3 Event Title</a:t>
            </a:r>
          </a:p>
        </p:txBody>
      </p:sp>
      <p:sp>
        <p:nvSpPr>
          <p:cNvPr id="17" name="Text Placeholder 10">
            <a:extLst>
              <a:ext uri="{FF2B5EF4-FFF2-40B4-BE49-F238E27FC236}">
                <a16:creationId xmlns:a16="http://schemas.microsoft.com/office/drawing/2014/main" id="{9AAC2997-209D-3056-60B2-FAD3AACD1CE1}"/>
              </a:ext>
            </a:extLst>
          </p:cNvPr>
          <p:cNvSpPr>
            <a:spLocks noGrp="1"/>
          </p:cNvSpPr>
          <p:nvPr>
            <p:ph type="body" sz="quarter" idx="21" hasCustomPrompt="1"/>
          </p:nvPr>
        </p:nvSpPr>
        <p:spPr>
          <a:xfrm>
            <a:off x="7031241" y="2820070"/>
            <a:ext cx="4263963" cy="276999"/>
          </a:xfrm>
        </p:spPr>
        <p:txBody>
          <a:bodyPr/>
          <a:lstStyle>
            <a:lvl1pPr algn="l">
              <a:defRPr sz="1800" b="1"/>
            </a:lvl1pPr>
          </a:lstStyle>
          <a:p>
            <a:pPr lvl="0"/>
            <a:r>
              <a:rPr lang="en-US"/>
              <a:t>Date 2 Event Title</a:t>
            </a:r>
          </a:p>
        </p:txBody>
      </p:sp>
      <p:sp>
        <p:nvSpPr>
          <p:cNvPr id="20" name="Oval 19">
            <a:extLst>
              <a:ext uri="{FF2B5EF4-FFF2-40B4-BE49-F238E27FC236}">
                <a16:creationId xmlns:a16="http://schemas.microsoft.com/office/drawing/2014/main" id="{71F0FC1D-6A1F-ED86-DBA4-B5252FB93385}"/>
              </a:ext>
            </a:extLst>
          </p:cNvPr>
          <p:cNvSpPr/>
          <p:nvPr userDrawn="1"/>
        </p:nvSpPr>
        <p:spPr>
          <a:xfrm>
            <a:off x="5972890" y="3305889"/>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1" name="Oval 20">
            <a:extLst>
              <a:ext uri="{FF2B5EF4-FFF2-40B4-BE49-F238E27FC236}">
                <a16:creationId xmlns:a16="http://schemas.microsoft.com/office/drawing/2014/main" id="{5A646713-D4C4-C83D-0659-F93CB62A4B8C}"/>
              </a:ext>
            </a:extLst>
          </p:cNvPr>
          <p:cNvSpPr/>
          <p:nvPr userDrawn="1"/>
        </p:nvSpPr>
        <p:spPr>
          <a:xfrm>
            <a:off x="5972890" y="1627364"/>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2" name="Oval 21">
            <a:extLst>
              <a:ext uri="{FF2B5EF4-FFF2-40B4-BE49-F238E27FC236}">
                <a16:creationId xmlns:a16="http://schemas.microsoft.com/office/drawing/2014/main" id="{3FB2CF43-B8F4-5B47-3892-2AEA00B73AB9}"/>
              </a:ext>
            </a:extLst>
          </p:cNvPr>
          <p:cNvSpPr/>
          <p:nvPr userDrawn="1"/>
        </p:nvSpPr>
        <p:spPr>
          <a:xfrm>
            <a:off x="5972890" y="5196699"/>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0" name="Text Placeholder 9">
            <a:extLst>
              <a:ext uri="{FF2B5EF4-FFF2-40B4-BE49-F238E27FC236}">
                <a16:creationId xmlns:a16="http://schemas.microsoft.com/office/drawing/2014/main" id="{10A8F4AA-2EB2-E6DC-A479-434EB244899D}"/>
              </a:ext>
            </a:extLst>
          </p:cNvPr>
          <p:cNvSpPr>
            <a:spLocks noGrp="1"/>
          </p:cNvSpPr>
          <p:nvPr>
            <p:ph type="body" sz="quarter" idx="25"/>
          </p:nvPr>
        </p:nvSpPr>
        <p:spPr>
          <a:xfrm>
            <a:off x="997883" y="1490337"/>
            <a:ext cx="4178300" cy="1328737"/>
          </a:xfrm>
        </p:spPr>
        <p:txBody>
          <a:bodyPr/>
          <a:lstStyle>
            <a:lvl1pPr algn="r">
              <a:defRPr/>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a:extLst>
              <a:ext uri="{FF2B5EF4-FFF2-40B4-BE49-F238E27FC236}">
                <a16:creationId xmlns:a16="http://schemas.microsoft.com/office/drawing/2014/main" id="{0D83C45E-8DE9-681F-13BB-AABEC7979E87}"/>
              </a:ext>
            </a:extLst>
          </p:cNvPr>
          <p:cNvSpPr>
            <a:spLocks noGrp="1"/>
          </p:cNvSpPr>
          <p:nvPr>
            <p:ph type="body" sz="quarter" idx="26"/>
          </p:nvPr>
        </p:nvSpPr>
        <p:spPr>
          <a:xfrm>
            <a:off x="997883" y="5196699"/>
            <a:ext cx="4178300" cy="1328737"/>
          </a:xfrm>
        </p:spPr>
        <p:txBody>
          <a:bodyPr/>
          <a:lstStyle>
            <a:lvl1pPr algn="r">
              <a:defRPr/>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a:extLst>
              <a:ext uri="{FF2B5EF4-FFF2-40B4-BE49-F238E27FC236}">
                <a16:creationId xmlns:a16="http://schemas.microsoft.com/office/drawing/2014/main" id="{74232276-BF7F-B1B6-45D0-AFCAE78F3B4D}"/>
              </a:ext>
            </a:extLst>
          </p:cNvPr>
          <p:cNvSpPr>
            <a:spLocks noGrp="1"/>
          </p:cNvSpPr>
          <p:nvPr>
            <p:ph type="body" sz="quarter" idx="27"/>
          </p:nvPr>
        </p:nvSpPr>
        <p:spPr>
          <a:xfrm>
            <a:off x="7031241" y="3369737"/>
            <a:ext cx="4178300" cy="1328737"/>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5">
            <a:extLst>
              <a:ext uri="{FF2B5EF4-FFF2-40B4-BE49-F238E27FC236}">
                <a16:creationId xmlns:a16="http://schemas.microsoft.com/office/drawing/2014/main" id="{A76888D5-D37F-E508-C061-2EA36FF1816A}"/>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77041666"/>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meline End">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EEB05C5C-873F-CAA4-C960-E9115E4E12E7}"/>
              </a:ext>
            </a:extLst>
          </p:cNvPr>
          <p:cNvCxnSpPr>
            <a:cxnSpLocks/>
          </p:cNvCxnSpPr>
          <p:nvPr userDrawn="1"/>
        </p:nvCxnSpPr>
        <p:spPr>
          <a:xfrm>
            <a:off x="6096000" y="0"/>
            <a:ext cx="0" cy="4046483"/>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308238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10">
            <a:extLst>
              <a:ext uri="{FF2B5EF4-FFF2-40B4-BE49-F238E27FC236}">
                <a16:creationId xmlns:a16="http://schemas.microsoft.com/office/drawing/2014/main" id="{900D1538-C66B-F705-F099-6725134E9AA4}"/>
              </a:ext>
            </a:extLst>
          </p:cNvPr>
          <p:cNvSpPr>
            <a:spLocks noGrp="1"/>
          </p:cNvSpPr>
          <p:nvPr>
            <p:ph type="body" sz="quarter" idx="17" hasCustomPrompt="1"/>
          </p:nvPr>
        </p:nvSpPr>
        <p:spPr>
          <a:xfrm>
            <a:off x="1016724" y="995031"/>
            <a:ext cx="4165057" cy="276999"/>
          </a:xfrm>
        </p:spPr>
        <p:txBody>
          <a:bodyPr/>
          <a:lstStyle>
            <a:lvl1pPr algn="r">
              <a:defRPr sz="1800" b="1"/>
            </a:lvl1pPr>
          </a:lstStyle>
          <a:p>
            <a:pPr lvl="0"/>
            <a:r>
              <a:rPr lang="en-US"/>
              <a:t>Date 1 Event Title</a:t>
            </a:r>
          </a:p>
        </p:txBody>
      </p:sp>
      <p:sp>
        <p:nvSpPr>
          <p:cNvPr id="17" name="Text Placeholder 10">
            <a:extLst>
              <a:ext uri="{FF2B5EF4-FFF2-40B4-BE49-F238E27FC236}">
                <a16:creationId xmlns:a16="http://schemas.microsoft.com/office/drawing/2014/main" id="{9AAC2997-209D-3056-60B2-FAD3AACD1CE1}"/>
              </a:ext>
            </a:extLst>
          </p:cNvPr>
          <p:cNvSpPr>
            <a:spLocks noGrp="1"/>
          </p:cNvSpPr>
          <p:nvPr>
            <p:ph type="body" sz="quarter" idx="21" hasCustomPrompt="1"/>
          </p:nvPr>
        </p:nvSpPr>
        <p:spPr>
          <a:xfrm>
            <a:off x="7031241" y="3152001"/>
            <a:ext cx="4263963" cy="276999"/>
          </a:xfrm>
        </p:spPr>
        <p:txBody>
          <a:bodyPr/>
          <a:lstStyle>
            <a:lvl1pPr algn="l">
              <a:defRPr sz="1800" b="1"/>
            </a:lvl1pPr>
          </a:lstStyle>
          <a:p>
            <a:pPr lvl="0"/>
            <a:r>
              <a:rPr lang="en-US"/>
              <a:t>Date 2 Event Title</a:t>
            </a:r>
          </a:p>
        </p:txBody>
      </p:sp>
      <p:sp>
        <p:nvSpPr>
          <p:cNvPr id="21" name="Oval 20">
            <a:extLst>
              <a:ext uri="{FF2B5EF4-FFF2-40B4-BE49-F238E27FC236}">
                <a16:creationId xmlns:a16="http://schemas.microsoft.com/office/drawing/2014/main" id="{5A646713-D4C4-C83D-0659-F93CB62A4B8C}"/>
              </a:ext>
            </a:extLst>
          </p:cNvPr>
          <p:cNvSpPr/>
          <p:nvPr userDrawn="1"/>
        </p:nvSpPr>
        <p:spPr>
          <a:xfrm>
            <a:off x="5972890" y="1627364"/>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2" name="Oval 21">
            <a:extLst>
              <a:ext uri="{FF2B5EF4-FFF2-40B4-BE49-F238E27FC236}">
                <a16:creationId xmlns:a16="http://schemas.microsoft.com/office/drawing/2014/main" id="{3FB2CF43-B8F4-5B47-3892-2AEA00B73AB9}"/>
              </a:ext>
            </a:extLst>
          </p:cNvPr>
          <p:cNvSpPr/>
          <p:nvPr userDrawn="1"/>
        </p:nvSpPr>
        <p:spPr>
          <a:xfrm>
            <a:off x="5972890" y="3887613"/>
            <a:ext cx="246221" cy="24622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8" name="Rectangle 7">
            <a:extLst>
              <a:ext uri="{FF2B5EF4-FFF2-40B4-BE49-F238E27FC236}">
                <a16:creationId xmlns:a16="http://schemas.microsoft.com/office/drawing/2014/main" id="{0A0CDBA9-EC3B-C73B-850A-39C01FA13311}"/>
              </a:ext>
            </a:extLst>
          </p:cNvPr>
          <p:cNvSpPr/>
          <p:nvPr userDrawn="1"/>
        </p:nvSpPr>
        <p:spPr>
          <a:xfrm rot="16200000">
            <a:off x="6029090" y="695093"/>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100" dist="101600" dir="16200000" rotWithShape="0">
              <a:schemeClr val="accent1">
                <a:alpha val="24255"/>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2" name="Text Placeholder 11">
            <a:extLst>
              <a:ext uri="{FF2B5EF4-FFF2-40B4-BE49-F238E27FC236}">
                <a16:creationId xmlns:a16="http://schemas.microsoft.com/office/drawing/2014/main" id="{1F65E7A0-80EF-203D-834F-581378FE53A7}"/>
              </a:ext>
            </a:extLst>
          </p:cNvPr>
          <p:cNvSpPr>
            <a:spLocks noGrp="1"/>
          </p:cNvSpPr>
          <p:nvPr>
            <p:ph type="body" sz="quarter" idx="24"/>
          </p:nvPr>
        </p:nvSpPr>
        <p:spPr>
          <a:xfrm>
            <a:off x="1016000" y="1471613"/>
            <a:ext cx="4175125" cy="1149350"/>
          </a:xfrm>
        </p:spPr>
        <p:txBody>
          <a:bodyPr/>
          <a:lstStyle>
            <a:lvl1pPr algn="r">
              <a:defRPr/>
            </a:lvl1pPr>
            <a:lvl2pPr algn="r">
              <a:defRPr/>
            </a:lvl2pPr>
            <a:lvl3pPr algn="r">
              <a:defRPr/>
            </a:lvl3pPr>
            <a:lvl4pPr algn="r">
              <a:defRPr/>
            </a:lvl4pPr>
            <a:lvl5pPr algn="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59403C28-8BE8-FA9F-5AFB-8F56382A40C1}"/>
              </a:ext>
            </a:extLst>
          </p:cNvPr>
          <p:cNvSpPr>
            <a:spLocks noGrp="1"/>
          </p:cNvSpPr>
          <p:nvPr>
            <p:ph type="body" sz="quarter" idx="25"/>
          </p:nvPr>
        </p:nvSpPr>
        <p:spPr>
          <a:xfrm>
            <a:off x="7030301" y="3611497"/>
            <a:ext cx="4175125" cy="1149350"/>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5">
            <a:extLst>
              <a:ext uri="{FF2B5EF4-FFF2-40B4-BE49-F238E27FC236}">
                <a16:creationId xmlns:a16="http://schemas.microsoft.com/office/drawing/2014/main" id="{3F651A01-F54B-356F-5541-C924819CD461}"/>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4044465417"/>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ap of Wor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oup 2218">
            <a:extLst>
              <a:ext uri="{FF2B5EF4-FFF2-40B4-BE49-F238E27FC236}">
                <a16:creationId xmlns:a16="http://schemas.microsoft.com/office/drawing/2014/main" id="{47298E9A-EEB5-BF09-167B-87A3646F2A58}"/>
              </a:ext>
            </a:extLst>
          </p:cNvPr>
          <p:cNvGrpSpPr/>
          <p:nvPr userDrawn="1"/>
        </p:nvGrpSpPr>
        <p:grpSpPr>
          <a:xfrm>
            <a:off x="520820" y="1095375"/>
            <a:ext cx="11150360" cy="5530712"/>
            <a:chOff x="0" y="0"/>
            <a:chExt cx="11729168" cy="5817806"/>
          </a:xfrm>
          <a:solidFill>
            <a:schemeClr val="accent5"/>
          </a:solidFill>
        </p:grpSpPr>
        <p:sp>
          <p:nvSpPr>
            <p:cNvPr id="5" name="Shape 1824">
              <a:extLst>
                <a:ext uri="{FF2B5EF4-FFF2-40B4-BE49-F238E27FC236}">
                  <a16:creationId xmlns:a16="http://schemas.microsoft.com/office/drawing/2014/main" id="{74679C8B-341D-49B5-CB26-D8E46FB8061C}"/>
                </a:ext>
              </a:extLst>
            </p:cNvPr>
            <p:cNvSpPr/>
            <p:nvPr/>
          </p:nvSpPr>
          <p:spPr>
            <a:xfrm>
              <a:off x="4191213" y="26976"/>
              <a:ext cx="60681" cy="23230"/>
            </a:xfrm>
            <a:custGeom>
              <a:avLst/>
              <a:gdLst/>
              <a:ahLst/>
              <a:cxnLst>
                <a:cxn ang="0">
                  <a:pos x="wd2" y="hd2"/>
                </a:cxn>
                <a:cxn ang="5400000">
                  <a:pos x="wd2" y="hd2"/>
                </a:cxn>
                <a:cxn ang="10800000">
                  <a:pos x="wd2" y="hd2"/>
                </a:cxn>
                <a:cxn ang="16200000">
                  <a:pos x="wd2" y="hd2"/>
                </a:cxn>
              </a:cxnLst>
              <a:rect l="0" t="0" r="r" b="b"/>
              <a:pathLst>
                <a:path w="21600" h="18600" extrusionOk="0">
                  <a:moveTo>
                    <a:pt x="9600" y="16200"/>
                  </a:moveTo>
                  <a:cubicBezTo>
                    <a:pt x="9600" y="16200"/>
                    <a:pt x="2400" y="10800"/>
                    <a:pt x="2400" y="10800"/>
                  </a:cubicBezTo>
                  <a:cubicBezTo>
                    <a:pt x="2400" y="10800"/>
                    <a:pt x="9600" y="10800"/>
                    <a:pt x="12000" y="10800"/>
                  </a:cubicBezTo>
                  <a:cubicBezTo>
                    <a:pt x="7200" y="5400"/>
                    <a:pt x="2400" y="10800"/>
                    <a:pt x="0" y="0"/>
                  </a:cubicBezTo>
                  <a:cubicBezTo>
                    <a:pt x="2400" y="5400"/>
                    <a:pt x="19200" y="0"/>
                    <a:pt x="21600" y="10800"/>
                  </a:cubicBezTo>
                  <a:cubicBezTo>
                    <a:pt x="21600" y="10800"/>
                    <a:pt x="14400" y="10800"/>
                    <a:pt x="12000" y="10800"/>
                  </a:cubicBezTo>
                  <a:cubicBezTo>
                    <a:pt x="12000" y="10800"/>
                    <a:pt x="16800" y="21600"/>
                    <a:pt x="9600" y="16200"/>
                  </a:cubicBezTo>
                  <a:cubicBezTo>
                    <a:pt x="7200" y="16200"/>
                    <a:pt x="14400" y="21600"/>
                    <a:pt x="9600"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 name="Shape 1825">
              <a:extLst>
                <a:ext uri="{FF2B5EF4-FFF2-40B4-BE49-F238E27FC236}">
                  <a16:creationId xmlns:a16="http://schemas.microsoft.com/office/drawing/2014/main" id="{3BC2D6FE-E66E-3E96-5867-49718D1DFA8C}"/>
                </a:ext>
              </a:extLst>
            </p:cNvPr>
            <p:cNvSpPr/>
            <p:nvPr/>
          </p:nvSpPr>
          <p:spPr>
            <a:xfrm>
              <a:off x="9160233" y="4120571"/>
              <a:ext cx="1340092" cy="1004852"/>
            </a:xfrm>
            <a:custGeom>
              <a:avLst/>
              <a:gdLst/>
              <a:ahLst/>
              <a:cxnLst>
                <a:cxn ang="0">
                  <a:pos x="wd2" y="hd2"/>
                </a:cxn>
                <a:cxn ang="5400000">
                  <a:pos x="wd2" y="hd2"/>
                </a:cxn>
                <a:cxn ang="10800000">
                  <a:pos x="wd2" y="hd2"/>
                </a:cxn>
                <a:cxn ang="16200000">
                  <a:pos x="wd2" y="hd2"/>
                </a:cxn>
              </a:cxnLst>
              <a:rect l="0" t="0" r="r" b="b"/>
              <a:pathLst>
                <a:path w="21538" h="21600" extrusionOk="0">
                  <a:moveTo>
                    <a:pt x="10694" y="568"/>
                  </a:moveTo>
                  <a:cubicBezTo>
                    <a:pt x="10482" y="568"/>
                    <a:pt x="10376" y="284"/>
                    <a:pt x="10165" y="284"/>
                  </a:cubicBezTo>
                  <a:cubicBezTo>
                    <a:pt x="10059" y="142"/>
                    <a:pt x="10059" y="284"/>
                    <a:pt x="10165" y="426"/>
                  </a:cubicBezTo>
                  <a:cubicBezTo>
                    <a:pt x="10165" y="568"/>
                    <a:pt x="10376" y="426"/>
                    <a:pt x="10376" y="426"/>
                  </a:cubicBezTo>
                  <a:cubicBezTo>
                    <a:pt x="10482" y="568"/>
                    <a:pt x="10376" y="853"/>
                    <a:pt x="10482" y="853"/>
                  </a:cubicBezTo>
                  <a:cubicBezTo>
                    <a:pt x="10482" y="995"/>
                    <a:pt x="10376" y="995"/>
                    <a:pt x="10271" y="995"/>
                  </a:cubicBezTo>
                  <a:cubicBezTo>
                    <a:pt x="10165" y="1137"/>
                    <a:pt x="10059" y="1137"/>
                    <a:pt x="9953" y="1137"/>
                  </a:cubicBezTo>
                  <a:cubicBezTo>
                    <a:pt x="9741" y="995"/>
                    <a:pt x="9741" y="1137"/>
                    <a:pt x="9529" y="1137"/>
                  </a:cubicBezTo>
                  <a:cubicBezTo>
                    <a:pt x="9212" y="1279"/>
                    <a:pt x="9318" y="1705"/>
                    <a:pt x="9106" y="1847"/>
                  </a:cubicBezTo>
                  <a:cubicBezTo>
                    <a:pt x="8894" y="2132"/>
                    <a:pt x="8788" y="2558"/>
                    <a:pt x="8894" y="2842"/>
                  </a:cubicBezTo>
                  <a:cubicBezTo>
                    <a:pt x="9106" y="3268"/>
                    <a:pt x="8576" y="2984"/>
                    <a:pt x="8471" y="2984"/>
                  </a:cubicBezTo>
                  <a:cubicBezTo>
                    <a:pt x="8365" y="2984"/>
                    <a:pt x="8047" y="3411"/>
                    <a:pt x="8047" y="3411"/>
                  </a:cubicBezTo>
                  <a:cubicBezTo>
                    <a:pt x="8047" y="3411"/>
                    <a:pt x="7941" y="2700"/>
                    <a:pt x="7835" y="2558"/>
                  </a:cubicBezTo>
                  <a:cubicBezTo>
                    <a:pt x="7835" y="2416"/>
                    <a:pt x="7729" y="2416"/>
                    <a:pt x="7624" y="2416"/>
                  </a:cubicBezTo>
                  <a:cubicBezTo>
                    <a:pt x="7518" y="2274"/>
                    <a:pt x="7518" y="2274"/>
                    <a:pt x="7518" y="2132"/>
                  </a:cubicBezTo>
                  <a:cubicBezTo>
                    <a:pt x="7412" y="1989"/>
                    <a:pt x="7412" y="2274"/>
                    <a:pt x="7412" y="2416"/>
                  </a:cubicBezTo>
                  <a:cubicBezTo>
                    <a:pt x="7306" y="2416"/>
                    <a:pt x="7200" y="2416"/>
                    <a:pt x="7200" y="2274"/>
                  </a:cubicBezTo>
                  <a:cubicBezTo>
                    <a:pt x="6988" y="2274"/>
                    <a:pt x="7094" y="2842"/>
                    <a:pt x="6882" y="2700"/>
                  </a:cubicBezTo>
                  <a:cubicBezTo>
                    <a:pt x="6882" y="2700"/>
                    <a:pt x="6776" y="2558"/>
                    <a:pt x="6776" y="2558"/>
                  </a:cubicBezTo>
                  <a:cubicBezTo>
                    <a:pt x="6671" y="2700"/>
                    <a:pt x="6671" y="2700"/>
                    <a:pt x="6671" y="2700"/>
                  </a:cubicBezTo>
                  <a:cubicBezTo>
                    <a:pt x="6353" y="2558"/>
                    <a:pt x="6565" y="3126"/>
                    <a:pt x="6565" y="3126"/>
                  </a:cubicBezTo>
                  <a:cubicBezTo>
                    <a:pt x="6565" y="3126"/>
                    <a:pt x="6353" y="3126"/>
                    <a:pt x="6353" y="3126"/>
                  </a:cubicBezTo>
                  <a:cubicBezTo>
                    <a:pt x="6353" y="3268"/>
                    <a:pt x="6459" y="3268"/>
                    <a:pt x="6459" y="3268"/>
                  </a:cubicBezTo>
                  <a:cubicBezTo>
                    <a:pt x="6353" y="3553"/>
                    <a:pt x="6247" y="3268"/>
                    <a:pt x="6247" y="3695"/>
                  </a:cubicBezTo>
                  <a:cubicBezTo>
                    <a:pt x="6247" y="3837"/>
                    <a:pt x="6353" y="3837"/>
                    <a:pt x="6353" y="3979"/>
                  </a:cubicBezTo>
                  <a:cubicBezTo>
                    <a:pt x="6353" y="4263"/>
                    <a:pt x="5612" y="3695"/>
                    <a:pt x="5612" y="4121"/>
                  </a:cubicBezTo>
                  <a:cubicBezTo>
                    <a:pt x="5612" y="4263"/>
                    <a:pt x="6035" y="4547"/>
                    <a:pt x="5824" y="4689"/>
                  </a:cubicBezTo>
                  <a:cubicBezTo>
                    <a:pt x="5718" y="4689"/>
                    <a:pt x="5718" y="4547"/>
                    <a:pt x="5718" y="4689"/>
                  </a:cubicBezTo>
                  <a:cubicBezTo>
                    <a:pt x="5612" y="4832"/>
                    <a:pt x="5612" y="4832"/>
                    <a:pt x="5506" y="4689"/>
                  </a:cubicBezTo>
                  <a:cubicBezTo>
                    <a:pt x="5400" y="4689"/>
                    <a:pt x="5506" y="4405"/>
                    <a:pt x="5400" y="4263"/>
                  </a:cubicBezTo>
                  <a:cubicBezTo>
                    <a:pt x="5294" y="3979"/>
                    <a:pt x="5082" y="4547"/>
                    <a:pt x="4976" y="4689"/>
                  </a:cubicBezTo>
                  <a:cubicBezTo>
                    <a:pt x="4976" y="4832"/>
                    <a:pt x="4871" y="4974"/>
                    <a:pt x="4871" y="5116"/>
                  </a:cubicBezTo>
                  <a:cubicBezTo>
                    <a:pt x="4871" y="5116"/>
                    <a:pt x="4976" y="5258"/>
                    <a:pt x="4976" y="5400"/>
                  </a:cubicBezTo>
                  <a:cubicBezTo>
                    <a:pt x="4976" y="5400"/>
                    <a:pt x="4765" y="5684"/>
                    <a:pt x="4659" y="5826"/>
                  </a:cubicBezTo>
                  <a:cubicBezTo>
                    <a:pt x="4341" y="6253"/>
                    <a:pt x="4024" y="6537"/>
                    <a:pt x="3600" y="6679"/>
                  </a:cubicBezTo>
                  <a:cubicBezTo>
                    <a:pt x="3282" y="6679"/>
                    <a:pt x="2965" y="6963"/>
                    <a:pt x="2541" y="7105"/>
                  </a:cubicBezTo>
                  <a:cubicBezTo>
                    <a:pt x="2224" y="7247"/>
                    <a:pt x="1906" y="7247"/>
                    <a:pt x="1588" y="7532"/>
                  </a:cubicBezTo>
                  <a:cubicBezTo>
                    <a:pt x="1376" y="7816"/>
                    <a:pt x="1271" y="7816"/>
                    <a:pt x="1059" y="7958"/>
                  </a:cubicBezTo>
                  <a:cubicBezTo>
                    <a:pt x="953" y="8100"/>
                    <a:pt x="741" y="8526"/>
                    <a:pt x="741" y="8526"/>
                  </a:cubicBezTo>
                  <a:cubicBezTo>
                    <a:pt x="635" y="8526"/>
                    <a:pt x="741" y="8100"/>
                    <a:pt x="741" y="7958"/>
                  </a:cubicBezTo>
                  <a:cubicBezTo>
                    <a:pt x="529" y="7958"/>
                    <a:pt x="424" y="8668"/>
                    <a:pt x="424" y="8668"/>
                  </a:cubicBezTo>
                  <a:cubicBezTo>
                    <a:pt x="529" y="9095"/>
                    <a:pt x="318" y="9237"/>
                    <a:pt x="318" y="9663"/>
                  </a:cubicBezTo>
                  <a:cubicBezTo>
                    <a:pt x="318" y="9805"/>
                    <a:pt x="847" y="11368"/>
                    <a:pt x="635" y="11511"/>
                  </a:cubicBezTo>
                  <a:cubicBezTo>
                    <a:pt x="635" y="11511"/>
                    <a:pt x="318" y="10942"/>
                    <a:pt x="318" y="10942"/>
                  </a:cubicBezTo>
                  <a:cubicBezTo>
                    <a:pt x="318" y="11084"/>
                    <a:pt x="635" y="11511"/>
                    <a:pt x="424" y="11653"/>
                  </a:cubicBezTo>
                  <a:cubicBezTo>
                    <a:pt x="212" y="11653"/>
                    <a:pt x="212" y="10942"/>
                    <a:pt x="0" y="10942"/>
                  </a:cubicBezTo>
                  <a:cubicBezTo>
                    <a:pt x="0" y="10942"/>
                    <a:pt x="635" y="12079"/>
                    <a:pt x="635" y="12221"/>
                  </a:cubicBezTo>
                  <a:cubicBezTo>
                    <a:pt x="741" y="12363"/>
                    <a:pt x="635" y="12647"/>
                    <a:pt x="741" y="12932"/>
                  </a:cubicBezTo>
                  <a:cubicBezTo>
                    <a:pt x="847" y="13216"/>
                    <a:pt x="953" y="13358"/>
                    <a:pt x="1059" y="13642"/>
                  </a:cubicBezTo>
                  <a:cubicBezTo>
                    <a:pt x="1165" y="13784"/>
                    <a:pt x="1165" y="14211"/>
                    <a:pt x="1165" y="14353"/>
                  </a:cubicBezTo>
                  <a:cubicBezTo>
                    <a:pt x="1165" y="14637"/>
                    <a:pt x="1271" y="14921"/>
                    <a:pt x="1376" y="15063"/>
                  </a:cubicBezTo>
                  <a:cubicBezTo>
                    <a:pt x="1482" y="15489"/>
                    <a:pt x="1482" y="15632"/>
                    <a:pt x="1482" y="16058"/>
                  </a:cubicBezTo>
                  <a:cubicBezTo>
                    <a:pt x="1482" y="16200"/>
                    <a:pt x="1482" y="16911"/>
                    <a:pt x="1482" y="16911"/>
                  </a:cubicBezTo>
                  <a:cubicBezTo>
                    <a:pt x="1376" y="17053"/>
                    <a:pt x="1271" y="17053"/>
                    <a:pt x="1165" y="17195"/>
                  </a:cubicBezTo>
                  <a:cubicBezTo>
                    <a:pt x="1059" y="17621"/>
                    <a:pt x="1271" y="17621"/>
                    <a:pt x="1376" y="17763"/>
                  </a:cubicBezTo>
                  <a:cubicBezTo>
                    <a:pt x="1800" y="18047"/>
                    <a:pt x="2118" y="18332"/>
                    <a:pt x="2647" y="18189"/>
                  </a:cubicBezTo>
                  <a:cubicBezTo>
                    <a:pt x="2859" y="18047"/>
                    <a:pt x="3071" y="17905"/>
                    <a:pt x="3176" y="17763"/>
                  </a:cubicBezTo>
                  <a:cubicBezTo>
                    <a:pt x="3494" y="17621"/>
                    <a:pt x="3388" y="17763"/>
                    <a:pt x="3494" y="17479"/>
                  </a:cubicBezTo>
                  <a:cubicBezTo>
                    <a:pt x="3706" y="17195"/>
                    <a:pt x="4447" y="17195"/>
                    <a:pt x="4659" y="17337"/>
                  </a:cubicBezTo>
                  <a:cubicBezTo>
                    <a:pt x="4976" y="17337"/>
                    <a:pt x="5506" y="17621"/>
                    <a:pt x="5718" y="17195"/>
                  </a:cubicBezTo>
                  <a:cubicBezTo>
                    <a:pt x="5824" y="17053"/>
                    <a:pt x="5824" y="16768"/>
                    <a:pt x="6035" y="16626"/>
                  </a:cubicBezTo>
                  <a:cubicBezTo>
                    <a:pt x="6247" y="16484"/>
                    <a:pt x="6459" y="16342"/>
                    <a:pt x="6671" y="16200"/>
                  </a:cubicBezTo>
                  <a:cubicBezTo>
                    <a:pt x="6988" y="15916"/>
                    <a:pt x="7412" y="16200"/>
                    <a:pt x="7729" y="15916"/>
                  </a:cubicBezTo>
                  <a:cubicBezTo>
                    <a:pt x="8259" y="15632"/>
                    <a:pt x="8682" y="15632"/>
                    <a:pt x="9318" y="15489"/>
                  </a:cubicBezTo>
                  <a:cubicBezTo>
                    <a:pt x="9424" y="15489"/>
                    <a:pt x="9529" y="15347"/>
                    <a:pt x="9741" y="15347"/>
                  </a:cubicBezTo>
                  <a:cubicBezTo>
                    <a:pt x="9847" y="15489"/>
                    <a:pt x="10059" y="15632"/>
                    <a:pt x="10165" y="15774"/>
                  </a:cubicBezTo>
                  <a:cubicBezTo>
                    <a:pt x="10271" y="15774"/>
                    <a:pt x="11329" y="16058"/>
                    <a:pt x="11329" y="16200"/>
                  </a:cubicBezTo>
                  <a:cubicBezTo>
                    <a:pt x="11224" y="16342"/>
                    <a:pt x="11118" y="16768"/>
                    <a:pt x="11329" y="16626"/>
                  </a:cubicBezTo>
                  <a:cubicBezTo>
                    <a:pt x="11435" y="16626"/>
                    <a:pt x="11647" y="17053"/>
                    <a:pt x="11753" y="17195"/>
                  </a:cubicBezTo>
                  <a:cubicBezTo>
                    <a:pt x="11859" y="17337"/>
                    <a:pt x="11859" y="17479"/>
                    <a:pt x="11859" y="17763"/>
                  </a:cubicBezTo>
                  <a:cubicBezTo>
                    <a:pt x="11965" y="17905"/>
                    <a:pt x="12176" y="18189"/>
                    <a:pt x="12176" y="18189"/>
                  </a:cubicBezTo>
                  <a:cubicBezTo>
                    <a:pt x="12176" y="18047"/>
                    <a:pt x="12071" y="17905"/>
                    <a:pt x="12282" y="17763"/>
                  </a:cubicBezTo>
                  <a:cubicBezTo>
                    <a:pt x="12388" y="17621"/>
                    <a:pt x="12494" y="17479"/>
                    <a:pt x="12706" y="17337"/>
                  </a:cubicBezTo>
                  <a:cubicBezTo>
                    <a:pt x="12812" y="17195"/>
                    <a:pt x="13341" y="16484"/>
                    <a:pt x="13235" y="16342"/>
                  </a:cubicBezTo>
                  <a:cubicBezTo>
                    <a:pt x="13341" y="16626"/>
                    <a:pt x="13235" y="16768"/>
                    <a:pt x="13235" y="17053"/>
                  </a:cubicBezTo>
                  <a:cubicBezTo>
                    <a:pt x="13341" y="17195"/>
                    <a:pt x="13129" y="17337"/>
                    <a:pt x="13129" y="17337"/>
                  </a:cubicBezTo>
                  <a:cubicBezTo>
                    <a:pt x="13024" y="17621"/>
                    <a:pt x="13024" y="17763"/>
                    <a:pt x="13024" y="17905"/>
                  </a:cubicBezTo>
                  <a:cubicBezTo>
                    <a:pt x="13024" y="18189"/>
                    <a:pt x="12600" y="18332"/>
                    <a:pt x="12918" y="18332"/>
                  </a:cubicBezTo>
                  <a:cubicBezTo>
                    <a:pt x="13341" y="18332"/>
                    <a:pt x="13129" y="17763"/>
                    <a:pt x="13235" y="17479"/>
                  </a:cubicBezTo>
                  <a:cubicBezTo>
                    <a:pt x="13235" y="17479"/>
                    <a:pt x="13659" y="18047"/>
                    <a:pt x="13553" y="18332"/>
                  </a:cubicBezTo>
                  <a:cubicBezTo>
                    <a:pt x="13235" y="18900"/>
                    <a:pt x="13659" y="18474"/>
                    <a:pt x="13871" y="18758"/>
                  </a:cubicBezTo>
                  <a:cubicBezTo>
                    <a:pt x="14188" y="19184"/>
                    <a:pt x="14188" y="19326"/>
                    <a:pt x="14188" y="19753"/>
                  </a:cubicBezTo>
                  <a:cubicBezTo>
                    <a:pt x="14082" y="20179"/>
                    <a:pt x="14506" y="20605"/>
                    <a:pt x="14718" y="20605"/>
                  </a:cubicBezTo>
                  <a:cubicBezTo>
                    <a:pt x="14929" y="20747"/>
                    <a:pt x="15141" y="20889"/>
                    <a:pt x="15353" y="20889"/>
                  </a:cubicBezTo>
                  <a:cubicBezTo>
                    <a:pt x="15565" y="20889"/>
                    <a:pt x="15988" y="21600"/>
                    <a:pt x="16200" y="21458"/>
                  </a:cubicBezTo>
                  <a:cubicBezTo>
                    <a:pt x="16412" y="21316"/>
                    <a:pt x="16624" y="21174"/>
                    <a:pt x="16729" y="20889"/>
                  </a:cubicBezTo>
                  <a:cubicBezTo>
                    <a:pt x="16729" y="20889"/>
                    <a:pt x="16941" y="20463"/>
                    <a:pt x="17047" y="20605"/>
                  </a:cubicBezTo>
                  <a:cubicBezTo>
                    <a:pt x="17047" y="20747"/>
                    <a:pt x="16835" y="20889"/>
                    <a:pt x="16941" y="21032"/>
                  </a:cubicBezTo>
                  <a:cubicBezTo>
                    <a:pt x="17047" y="21174"/>
                    <a:pt x="17047" y="20747"/>
                    <a:pt x="17153" y="20747"/>
                  </a:cubicBezTo>
                  <a:cubicBezTo>
                    <a:pt x="17153" y="20747"/>
                    <a:pt x="17365" y="21174"/>
                    <a:pt x="17471" y="21174"/>
                  </a:cubicBezTo>
                  <a:cubicBezTo>
                    <a:pt x="17471" y="21316"/>
                    <a:pt x="17682" y="21600"/>
                    <a:pt x="17788" y="21600"/>
                  </a:cubicBezTo>
                  <a:cubicBezTo>
                    <a:pt x="17682" y="21600"/>
                    <a:pt x="18000" y="21174"/>
                    <a:pt x="18000" y="21174"/>
                  </a:cubicBezTo>
                  <a:cubicBezTo>
                    <a:pt x="18212" y="21032"/>
                    <a:pt x="18318" y="20747"/>
                    <a:pt x="18424" y="20605"/>
                  </a:cubicBezTo>
                  <a:cubicBezTo>
                    <a:pt x="18741" y="20463"/>
                    <a:pt x="19588" y="20747"/>
                    <a:pt x="19588" y="20179"/>
                  </a:cubicBezTo>
                  <a:cubicBezTo>
                    <a:pt x="19694" y="19468"/>
                    <a:pt x="19800" y="19042"/>
                    <a:pt x="19906" y="18474"/>
                  </a:cubicBezTo>
                  <a:cubicBezTo>
                    <a:pt x="20118" y="17905"/>
                    <a:pt x="20224" y="17337"/>
                    <a:pt x="20541" y="16768"/>
                  </a:cubicBezTo>
                  <a:cubicBezTo>
                    <a:pt x="20647" y="16626"/>
                    <a:pt x="20859" y="16484"/>
                    <a:pt x="20965" y="16200"/>
                  </a:cubicBezTo>
                  <a:cubicBezTo>
                    <a:pt x="20965" y="16058"/>
                    <a:pt x="20965" y="16058"/>
                    <a:pt x="20965" y="15916"/>
                  </a:cubicBezTo>
                  <a:cubicBezTo>
                    <a:pt x="21071" y="15774"/>
                    <a:pt x="21176" y="15632"/>
                    <a:pt x="21176" y="15347"/>
                  </a:cubicBezTo>
                  <a:cubicBezTo>
                    <a:pt x="21282" y="15063"/>
                    <a:pt x="21176" y="14779"/>
                    <a:pt x="21282" y="14495"/>
                  </a:cubicBezTo>
                  <a:cubicBezTo>
                    <a:pt x="21282" y="14353"/>
                    <a:pt x="21388" y="14211"/>
                    <a:pt x="21388" y="14068"/>
                  </a:cubicBezTo>
                  <a:cubicBezTo>
                    <a:pt x="21494" y="13926"/>
                    <a:pt x="21282" y="13784"/>
                    <a:pt x="21388" y="13642"/>
                  </a:cubicBezTo>
                  <a:cubicBezTo>
                    <a:pt x="21494" y="13500"/>
                    <a:pt x="21600" y="13074"/>
                    <a:pt x="21494" y="12932"/>
                  </a:cubicBezTo>
                  <a:cubicBezTo>
                    <a:pt x="21494" y="12647"/>
                    <a:pt x="21388" y="12505"/>
                    <a:pt x="21388" y="12363"/>
                  </a:cubicBezTo>
                  <a:cubicBezTo>
                    <a:pt x="21282" y="12221"/>
                    <a:pt x="21282" y="11937"/>
                    <a:pt x="21282" y="11795"/>
                  </a:cubicBezTo>
                  <a:cubicBezTo>
                    <a:pt x="21176" y="11226"/>
                    <a:pt x="21494" y="10942"/>
                    <a:pt x="21388" y="10374"/>
                  </a:cubicBezTo>
                  <a:cubicBezTo>
                    <a:pt x="21388" y="10516"/>
                    <a:pt x="21282" y="10800"/>
                    <a:pt x="21176" y="10800"/>
                  </a:cubicBezTo>
                  <a:cubicBezTo>
                    <a:pt x="20965" y="10800"/>
                    <a:pt x="20859" y="10232"/>
                    <a:pt x="20753" y="9947"/>
                  </a:cubicBezTo>
                  <a:cubicBezTo>
                    <a:pt x="20541" y="9521"/>
                    <a:pt x="20118" y="9521"/>
                    <a:pt x="20118" y="8811"/>
                  </a:cubicBezTo>
                  <a:cubicBezTo>
                    <a:pt x="20012" y="8526"/>
                    <a:pt x="19906" y="8526"/>
                    <a:pt x="19800" y="8384"/>
                  </a:cubicBezTo>
                  <a:cubicBezTo>
                    <a:pt x="19588" y="8242"/>
                    <a:pt x="19588" y="8668"/>
                    <a:pt x="19482" y="8384"/>
                  </a:cubicBezTo>
                  <a:cubicBezTo>
                    <a:pt x="19482" y="7958"/>
                    <a:pt x="19376" y="7816"/>
                    <a:pt x="19165" y="7532"/>
                  </a:cubicBezTo>
                  <a:cubicBezTo>
                    <a:pt x="19165" y="7532"/>
                    <a:pt x="19059" y="7389"/>
                    <a:pt x="19059" y="7247"/>
                  </a:cubicBezTo>
                  <a:cubicBezTo>
                    <a:pt x="18953" y="7247"/>
                    <a:pt x="19059" y="6963"/>
                    <a:pt x="19059" y="7105"/>
                  </a:cubicBezTo>
                  <a:cubicBezTo>
                    <a:pt x="18847" y="6821"/>
                    <a:pt x="18635" y="6679"/>
                    <a:pt x="18424" y="6537"/>
                  </a:cubicBezTo>
                  <a:cubicBezTo>
                    <a:pt x="18212" y="6253"/>
                    <a:pt x="17894" y="6395"/>
                    <a:pt x="17788" y="6111"/>
                  </a:cubicBezTo>
                  <a:cubicBezTo>
                    <a:pt x="17576" y="5826"/>
                    <a:pt x="17682" y="5258"/>
                    <a:pt x="17576" y="5116"/>
                  </a:cubicBezTo>
                  <a:cubicBezTo>
                    <a:pt x="17576" y="4832"/>
                    <a:pt x="17576" y="4547"/>
                    <a:pt x="17471" y="4405"/>
                  </a:cubicBezTo>
                  <a:cubicBezTo>
                    <a:pt x="17365" y="4263"/>
                    <a:pt x="17259" y="4263"/>
                    <a:pt x="17259" y="3979"/>
                  </a:cubicBezTo>
                  <a:cubicBezTo>
                    <a:pt x="17259" y="3695"/>
                    <a:pt x="17259" y="3268"/>
                    <a:pt x="17047" y="2842"/>
                  </a:cubicBezTo>
                  <a:cubicBezTo>
                    <a:pt x="16941" y="2842"/>
                    <a:pt x="16729" y="2416"/>
                    <a:pt x="16729" y="2558"/>
                  </a:cubicBezTo>
                  <a:cubicBezTo>
                    <a:pt x="16518" y="2558"/>
                    <a:pt x="16518" y="2700"/>
                    <a:pt x="16412" y="2416"/>
                  </a:cubicBezTo>
                  <a:cubicBezTo>
                    <a:pt x="16200" y="2132"/>
                    <a:pt x="16306" y="1563"/>
                    <a:pt x="16094" y="1137"/>
                  </a:cubicBezTo>
                  <a:cubicBezTo>
                    <a:pt x="16094" y="995"/>
                    <a:pt x="15671" y="0"/>
                    <a:pt x="15671" y="0"/>
                  </a:cubicBezTo>
                  <a:cubicBezTo>
                    <a:pt x="15565" y="0"/>
                    <a:pt x="15565" y="284"/>
                    <a:pt x="15565" y="426"/>
                  </a:cubicBezTo>
                  <a:cubicBezTo>
                    <a:pt x="15565" y="568"/>
                    <a:pt x="15459" y="711"/>
                    <a:pt x="15353" y="853"/>
                  </a:cubicBezTo>
                  <a:cubicBezTo>
                    <a:pt x="15353" y="853"/>
                    <a:pt x="15141" y="1137"/>
                    <a:pt x="15247" y="1279"/>
                  </a:cubicBezTo>
                  <a:cubicBezTo>
                    <a:pt x="15247" y="1279"/>
                    <a:pt x="15459" y="1279"/>
                    <a:pt x="15353" y="1421"/>
                  </a:cubicBezTo>
                  <a:cubicBezTo>
                    <a:pt x="15247" y="1421"/>
                    <a:pt x="15141" y="2132"/>
                    <a:pt x="15141" y="2274"/>
                  </a:cubicBezTo>
                  <a:cubicBezTo>
                    <a:pt x="15247" y="2558"/>
                    <a:pt x="15247" y="2842"/>
                    <a:pt x="15247" y="3126"/>
                  </a:cubicBezTo>
                  <a:cubicBezTo>
                    <a:pt x="15141" y="3695"/>
                    <a:pt x="15141" y="5116"/>
                    <a:pt x="14506" y="5116"/>
                  </a:cubicBezTo>
                  <a:cubicBezTo>
                    <a:pt x="14082" y="5116"/>
                    <a:pt x="14082" y="4547"/>
                    <a:pt x="13765" y="4405"/>
                  </a:cubicBezTo>
                  <a:cubicBezTo>
                    <a:pt x="13553" y="4263"/>
                    <a:pt x="13341" y="4263"/>
                    <a:pt x="13129" y="3979"/>
                  </a:cubicBezTo>
                  <a:cubicBezTo>
                    <a:pt x="13024" y="3837"/>
                    <a:pt x="11859" y="2984"/>
                    <a:pt x="11965" y="2842"/>
                  </a:cubicBezTo>
                  <a:cubicBezTo>
                    <a:pt x="11965" y="2700"/>
                    <a:pt x="12071" y="2558"/>
                    <a:pt x="12176" y="2416"/>
                  </a:cubicBezTo>
                  <a:cubicBezTo>
                    <a:pt x="12176" y="2274"/>
                    <a:pt x="12388" y="2274"/>
                    <a:pt x="12388" y="2132"/>
                  </a:cubicBezTo>
                  <a:cubicBezTo>
                    <a:pt x="12388" y="2132"/>
                    <a:pt x="12282" y="1989"/>
                    <a:pt x="12282" y="1847"/>
                  </a:cubicBezTo>
                  <a:cubicBezTo>
                    <a:pt x="12388" y="1705"/>
                    <a:pt x="12388" y="1705"/>
                    <a:pt x="12494" y="1563"/>
                  </a:cubicBezTo>
                  <a:cubicBezTo>
                    <a:pt x="12494" y="1421"/>
                    <a:pt x="12706" y="1279"/>
                    <a:pt x="12812" y="1137"/>
                  </a:cubicBezTo>
                  <a:cubicBezTo>
                    <a:pt x="12812" y="995"/>
                    <a:pt x="12600" y="711"/>
                    <a:pt x="12494" y="853"/>
                  </a:cubicBezTo>
                  <a:cubicBezTo>
                    <a:pt x="12494" y="853"/>
                    <a:pt x="12388" y="1137"/>
                    <a:pt x="12388" y="1137"/>
                  </a:cubicBezTo>
                  <a:cubicBezTo>
                    <a:pt x="12282" y="995"/>
                    <a:pt x="12282" y="995"/>
                    <a:pt x="12176" y="853"/>
                  </a:cubicBezTo>
                  <a:cubicBezTo>
                    <a:pt x="12176" y="711"/>
                    <a:pt x="11965" y="995"/>
                    <a:pt x="11859" y="995"/>
                  </a:cubicBezTo>
                  <a:cubicBezTo>
                    <a:pt x="11753" y="1137"/>
                    <a:pt x="11647" y="995"/>
                    <a:pt x="11541" y="995"/>
                  </a:cubicBezTo>
                  <a:cubicBezTo>
                    <a:pt x="11329" y="853"/>
                    <a:pt x="11012" y="711"/>
                    <a:pt x="10694" y="568"/>
                  </a:cubicBezTo>
                  <a:cubicBezTo>
                    <a:pt x="10482" y="568"/>
                    <a:pt x="10906" y="711"/>
                    <a:pt x="10694" y="56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 name="Shape 1826">
              <a:extLst>
                <a:ext uri="{FF2B5EF4-FFF2-40B4-BE49-F238E27FC236}">
                  <a16:creationId xmlns:a16="http://schemas.microsoft.com/office/drawing/2014/main" id="{4F9406B1-DF4D-E3FE-B606-3B7E28FB6890}"/>
                </a:ext>
              </a:extLst>
            </p:cNvPr>
            <p:cNvSpPr/>
            <p:nvPr/>
          </p:nvSpPr>
          <p:spPr>
            <a:xfrm>
              <a:off x="5319410" y="1557859"/>
              <a:ext cx="255679" cy="397894"/>
            </a:xfrm>
            <a:custGeom>
              <a:avLst/>
              <a:gdLst/>
              <a:ahLst/>
              <a:cxnLst>
                <a:cxn ang="0">
                  <a:pos x="wd2" y="hd2"/>
                </a:cxn>
                <a:cxn ang="5400000">
                  <a:pos x="wd2" y="hd2"/>
                </a:cxn>
                <a:cxn ang="10800000">
                  <a:pos x="wd2" y="hd2"/>
                </a:cxn>
                <a:cxn ang="16200000">
                  <a:pos x="wd2" y="hd2"/>
                </a:cxn>
              </a:cxnLst>
              <a:rect l="0" t="0" r="r" b="b"/>
              <a:pathLst>
                <a:path w="21003" h="21600" extrusionOk="0">
                  <a:moveTo>
                    <a:pt x="8100" y="0"/>
                  </a:moveTo>
                  <a:cubicBezTo>
                    <a:pt x="6480" y="0"/>
                    <a:pt x="5400" y="360"/>
                    <a:pt x="3780" y="0"/>
                  </a:cubicBezTo>
                  <a:cubicBezTo>
                    <a:pt x="3240" y="0"/>
                    <a:pt x="2700" y="0"/>
                    <a:pt x="2700" y="360"/>
                  </a:cubicBezTo>
                  <a:cubicBezTo>
                    <a:pt x="3240" y="1080"/>
                    <a:pt x="2700" y="720"/>
                    <a:pt x="2160" y="1080"/>
                  </a:cubicBezTo>
                  <a:cubicBezTo>
                    <a:pt x="2700" y="720"/>
                    <a:pt x="2700" y="1440"/>
                    <a:pt x="2700" y="1440"/>
                  </a:cubicBezTo>
                  <a:cubicBezTo>
                    <a:pt x="2160" y="2160"/>
                    <a:pt x="540" y="1800"/>
                    <a:pt x="1080" y="2880"/>
                  </a:cubicBezTo>
                  <a:cubicBezTo>
                    <a:pt x="2160" y="3600"/>
                    <a:pt x="1620" y="3960"/>
                    <a:pt x="1080" y="4680"/>
                  </a:cubicBezTo>
                  <a:cubicBezTo>
                    <a:pt x="1080" y="5400"/>
                    <a:pt x="2160" y="5400"/>
                    <a:pt x="2700" y="5040"/>
                  </a:cubicBezTo>
                  <a:cubicBezTo>
                    <a:pt x="2160" y="5400"/>
                    <a:pt x="2700" y="5400"/>
                    <a:pt x="2700" y="5760"/>
                  </a:cubicBezTo>
                  <a:cubicBezTo>
                    <a:pt x="2700" y="5400"/>
                    <a:pt x="1620" y="6480"/>
                    <a:pt x="1620" y="6480"/>
                  </a:cubicBezTo>
                  <a:cubicBezTo>
                    <a:pt x="1080" y="6480"/>
                    <a:pt x="0" y="6480"/>
                    <a:pt x="0" y="7200"/>
                  </a:cubicBezTo>
                  <a:cubicBezTo>
                    <a:pt x="540" y="7200"/>
                    <a:pt x="1080" y="6480"/>
                    <a:pt x="1620" y="6840"/>
                  </a:cubicBezTo>
                  <a:cubicBezTo>
                    <a:pt x="1620" y="7200"/>
                    <a:pt x="1620" y="7560"/>
                    <a:pt x="1620" y="7560"/>
                  </a:cubicBezTo>
                  <a:cubicBezTo>
                    <a:pt x="1080" y="7920"/>
                    <a:pt x="1080" y="8280"/>
                    <a:pt x="1080" y="8280"/>
                  </a:cubicBezTo>
                  <a:cubicBezTo>
                    <a:pt x="1080" y="8640"/>
                    <a:pt x="1620" y="7920"/>
                    <a:pt x="2160" y="7920"/>
                  </a:cubicBezTo>
                  <a:cubicBezTo>
                    <a:pt x="2160" y="7560"/>
                    <a:pt x="2700" y="8280"/>
                    <a:pt x="2700" y="8280"/>
                  </a:cubicBezTo>
                  <a:cubicBezTo>
                    <a:pt x="3240" y="8280"/>
                    <a:pt x="2700" y="6840"/>
                    <a:pt x="2160" y="6840"/>
                  </a:cubicBezTo>
                  <a:cubicBezTo>
                    <a:pt x="2700" y="6840"/>
                    <a:pt x="3780" y="7200"/>
                    <a:pt x="3780" y="6840"/>
                  </a:cubicBezTo>
                  <a:cubicBezTo>
                    <a:pt x="3780" y="6840"/>
                    <a:pt x="3240" y="7200"/>
                    <a:pt x="3240" y="7200"/>
                  </a:cubicBezTo>
                  <a:cubicBezTo>
                    <a:pt x="3240" y="7560"/>
                    <a:pt x="3780" y="7920"/>
                    <a:pt x="3780" y="8280"/>
                  </a:cubicBezTo>
                  <a:cubicBezTo>
                    <a:pt x="3780" y="8640"/>
                    <a:pt x="2160" y="9720"/>
                    <a:pt x="3780" y="9720"/>
                  </a:cubicBezTo>
                  <a:cubicBezTo>
                    <a:pt x="3780" y="9720"/>
                    <a:pt x="5400" y="9720"/>
                    <a:pt x="5940" y="9720"/>
                  </a:cubicBezTo>
                  <a:cubicBezTo>
                    <a:pt x="6480" y="9360"/>
                    <a:pt x="8100" y="9360"/>
                    <a:pt x="8100" y="9360"/>
                  </a:cubicBezTo>
                  <a:cubicBezTo>
                    <a:pt x="7560" y="10080"/>
                    <a:pt x="7020" y="10080"/>
                    <a:pt x="7560" y="10800"/>
                  </a:cubicBezTo>
                  <a:cubicBezTo>
                    <a:pt x="8100" y="11880"/>
                    <a:pt x="8100" y="11160"/>
                    <a:pt x="8640" y="11520"/>
                  </a:cubicBezTo>
                  <a:cubicBezTo>
                    <a:pt x="8640" y="11880"/>
                    <a:pt x="8100" y="12600"/>
                    <a:pt x="8640" y="12960"/>
                  </a:cubicBezTo>
                  <a:cubicBezTo>
                    <a:pt x="9180" y="13680"/>
                    <a:pt x="7560" y="13680"/>
                    <a:pt x="7020" y="13680"/>
                  </a:cubicBezTo>
                  <a:cubicBezTo>
                    <a:pt x="5940" y="14040"/>
                    <a:pt x="5400" y="13320"/>
                    <a:pt x="4320" y="14040"/>
                  </a:cubicBezTo>
                  <a:cubicBezTo>
                    <a:pt x="3780" y="14760"/>
                    <a:pt x="6480" y="14400"/>
                    <a:pt x="5940" y="14760"/>
                  </a:cubicBezTo>
                  <a:cubicBezTo>
                    <a:pt x="5940" y="14760"/>
                    <a:pt x="4860" y="15120"/>
                    <a:pt x="4860" y="15120"/>
                  </a:cubicBezTo>
                  <a:cubicBezTo>
                    <a:pt x="4860" y="15480"/>
                    <a:pt x="5400" y="15480"/>
                    <a:pt x="4860" y="15840"/>
                  </a:cubicBezTo>
                  <a:cubicBezTo>
                    <a:pt x="4320" y="16200"/>
                    <a:pt x="3780" y="16560"/>
                    <a:pt x="2700" y="16920"/>
                  </a:cubicBezTo>
                  <a:cubicBezTo>
                    <a:pt x="2160" y="17280"/>
                    <a:pt x="3240" y="17640"/>
                    <a:pt x="3240" y="17640"/>
                  </a:cubicBezTo>
                  <a:cubicBezTo>
                    <a:pt x="3780" y="17640"/>
                    <a:pt x="4860" y="17280"/>
                    <a:pt x="4860" y="17280"/>
                  </a:cubicBezTo>
                  <a:cubicBezTo>
                    <a:pt x="4860" y="17640"/>
                    <a:pt x="6480" y="17640"/>
                    <a:pt x="7020" y="18000"/>
                  </a:cubicBezTo>
                  <a:cubicBezTo>
                    <a:pt x="8100" y="18000"/>
                    <a:pt x="9180" y="17280"/>
                    <a:pt x="9720" y="17280"/>
                  </a:cubicBezTo>
                  <a:cubicBezTo>
                    <a:pt x="9720" y="17280"/>
                    <a:pt x="8640" y="19080"/>
                    <a:pt x="7020" y="18720"/>
                  </a:cubicBezTo>
                  <a:cubicBezTo>
                    <a:pt x="6480" y="18360"/>
                    <a:pt x="5940" y="18720"/>
                    <a:pt x="5400" y="18720"/>
                  </a:cubicBezTo>
                  <a:cubicBezTo>
                    <a:pt x="4320" y="18720"/>
                    <a:pt x="4860" y="18360"/>
                    <a:pt x="4320" y="18360"/>
                  </a:cubicBezTo>
                  <a:cubicBezTo>
                    <a:pt x="4320" y="18360"/>
                    <a:pt x="4320" y="19440"/>
                    <a:pt x="3780" y="19800"/>
                  </a:cubicBezTo>
                  <a:cubicBezTo>
                    <a:pt x="3780" y="19800"/>
                    <a:pt x="3240" y="20160"/>
                    <a:pt x="2700" y="20520"/>
                  </a:cubicBezTo>
                  <a:cubicBezTo>
                    <a:pt x="2700" y="20520"/>
                    <a:pt x="1620" y="20880"/>
                    <a:pt x="1620" y="21240"/>
                  </a:cubicBezTo>
                  <a:cubicBezTo>
                    <a:pt x="1620" y="21240"/>
                    <a:pt x="2700" y="21240"/>
                    <a:pt x="2700" y="21240"/>
                  </a:cubicBezTo>
                  <a:cubicBezTo>
                    <a:pt x="2700" y="21240"/>
                    <a:pt x="2160" y="21240"/>
                    <a:pt x="2700" y="21600"/>
                  </a:cubicBezTo>
                  <a:cubicBezTo>
                    <a:pt x="2700" y="21600"/>
                    <a:pt x="3780" y="20520"/>
                    <a:pt x="4320" y="20520"/>
                  </a:cubicBezTo>
                  <a:cubicBezTo>
                    <a:pt x="4860" y="20520"/>
                    <a:pt x="5940" y="20880"/>
                    <a:pt x="6480" y="20520"/>
                  </a:cubicBezTo>
                  <a:cubicBezTo>
                    <a:pt x="7560" y="20520"/>
                    <a:pt x="7020" y="19800"/>
                    <a:pt x="8100" y="19800"/>
                  </a:cubicBezTo>
                  <a:cubicBezTo>
                    <a:pt x="8640" y="19440"/>
                    <a:pt x="9180" y="19800"/>
                    <a:pt x="10260" y="19800"/>
                  </a:cubicBezTo>
                  <a:cubicBezTo>
                    <a:pt x="10800" y="20160"/>
                    <a:pt x="11340" y="19440"/>
                    <a:pt x="12420" y="19800"/>
                  </a:cubicBezTo>
                  <a:cubicBezTo>
                    <a:pt x="12960" y="20160"/>
                    <a:pt x="14040" y="19800"/>
                    <a:pt x="14580" y="19440"/>
                  </a:cubicBezTo>
                  <a:cubicBezTo>
                    <a:pt x="15660" y="19440"/>
                    <a:pt x="17280" y="19440"/>
                    <a:pt x="18360" y="19440"/>
                  </a:cubicBezTo>
                  <a:cubicBezTo>
                    <a:pt x="18360" y="19440"/>
                    <a:pt x="20520" y="18360"/>
                    <a:pt x="20520" y="18360"/>
                  </a:cubicBezTo>
                  <a:cubicBezTo>
                    <a:pt x="19980" y="18000"/>
                    <a:pt x="17820" y="18360"/>
                    <a:pt x="17820" y="18000"/>
                  </a:cubicBezTo>
                  <a:cubicBezTo>
                    <a:pt x="17820" y="17640"/>
                    <a:pt x="19980" y="16560"/>
                    <a:pt x="20520" y="16560"/>
                  </a:cubicBezTo>
                  <a:cubicBezTo>
                    <a:pt x="21060" y="15840"/>
                    <a:pt x="21600" y="14400"/>
                    <a:pt x="19440" y="14400"/>
                  </a:cubicBezTo>
                  <a:cubicBezTo>
                    <a:pt x="18900" y="14400"/>
                    <a:pt x="17820" y="14760"/>
                    <a:pt x="17280" y="14760"/>
                  </a:cubicBezTo>
                  <a:cubicBezTo>
                    <a:pt x="16200" y="14400"/>
                    <a:pt x="17280" y="14400"/>
                    <a:pt x="17280" y="14040"/>
                  </a:cubicBezTo>
                  <a:cubicBezTo>
                    <a:pt x="17280" y="13680"/>
                    <a:pt x="17280" y="13320"/>
                    <a:pt x="16740" y="12960"/>
                  </a:cubicBezTo>
                  <a:cubicBezTo>
                    <a:pt x="16740" y="12960"/>
                    <a:pt x="14580" y="12600"/>
                    <a:pt x="15120" y="12240"/>
                  </a:cubicBezTo>
                  <a:cubicBezTo>
                    <a:pt x="15120" y="12240"/>
                    <a:pt x="16200" y="12600"/>
                    <a:pt x="16200" y="12240"/>
                  </a:cubicBezTo>
                  <a:cubicBezTo>
                    <a:pt x="16740" y="11880"/>
                    <a:pt x="16200" y="11520"/>
                    <a:pt x="15660" y="11160"/>
                  </a:cubicBezTo>
                  <a:cubicBezTo>
                    <a:pt x="14040" y="10440"/>
                    <a:pt x="13500" y="10440"/>
                    <a:pt x="12420" y="9000"/>
                  </a:cubicBezTo>
                  <a:cubicBezTo>
                    <a:pt x="11880" y="8280"/>
                    <a:pt x="11340" y="7560"/>
                    <a:pt x="9720" y="6840"/>
                  </a:cubicBezTo>
                  <a:cubicBezTo>
                    <a:pt x="9180" y="6480"/>
                    <a:pt x="7020" y="7200"/>
                    <a:pt x="6480" y="6480"/>
                  </a:cubicBezTo>
                  <a:cubicBezTo>
                    <a:pt x="6480" y="6480"/>
                    <a:pt x="9720" y="6120"/>
                    <a:pt x="9180" y="5760"/>
                  </a:cubicBezTo>
                  <a:cubicBezTo>
                    <a:pt x="9180" y="5760"/>
                    <a:pt x="8100" y="6120"/>
                    <a:pt x="7560" y="5760"/>
                  </a:cubicBezTo>
                  <a:cubicBezTo>
                    <a:pt x="7560" y="5760"/>
                    <a:pt x="9720" y="5400"/>
                    <a:pt x="9720" y="5400"/>
                  </a:cubicBezTo>
                  <a:cubicBezTo>
                    <a:pt x="10260" y="5040"/>
                    <a:pt x="11880" y="3240"/>
                    <a:pt x="11340" y="2880"/>
                  </a:cubicBezTo>
                  <a:cubicBezTo>
                    <a:pt x="10800" y="2160"/>
                    <a:pt x="9180" y="2160"/>
                    <a:pt x="8100" y="2160"/>
                  </a:cubicBezTo>
                  <a:cubicBezTo>
                    <a:pt x="7560" y="2520"/>
                    <a:pt x="4860" y="2520"/>
                    <a:pt x="4860" y="2520"/>
                  </a:cubicBezTo>
                  <a:cubicBezTo>
                    <a:pt x="4860" y="2520"/>
                    <a:pt x="5940" y="2160"/>
                    <a:pt x="5940" y="2160"/>
                  </a:cubicBezTo>
                  <a:cubicBezTo>
                    <a:pt x="5940" y="2160"/>
                    <a:pt x="4860" y="1800"/>
                    <a:pt x="4860" y="2160"/>
                  </a:cubicBezTo>
                  <a:cubicBezTo>
                    <a:pt x="4860" y="1800"/>
                    <a:pt x="9720" y="360"/>
                    <a:pt x="8100" y="0"/>
                  </a:cubicBezTo>
                  <a:cubicBezTo>
                    <a:pt x="7560" y="0"/>
                    <a:pt x="9180" y="360"/>
                    <a:pt x="8100" y="0"/>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 name="Shape 1827">
              <a:extLst>
                <a:ext uri="{FF2B5EF4-FFF2-40B4-BE49-F238E27FC236}">
                  <a16:creationId xmlns:a16="http://schemas.microsoft.com/office/drawing/2014/main" id="{A2A4D02B-DA5E-A339-E956-B7413451131D}"/>
                </a:ext>
              </a:extLst>
            </p:cNvPr>
            <p:cNvSpPr/>
            <p:nvPr/>
          </p:nvSpPr>
          <p:spPr>
            <a:xfrm>
              <a:off x="4724566" y="1148639"/>
              <a:ext cx="349878" cy="166440"/>
            </a:xfrm>
            <a:custGeom>
              <a:avLst/>
              <a:gdLst/>
              <a:ahLst/>
              <a:cxnLst>
                <a:cxn ang="0">
                  <a:pos x="wd2" y="hd2"/>
                </a:cxn>
                <a:cxn ang="5400000">
                  <a:pos x="wd2" y="hd2"/>
                </a:cxn>
                <a:cxn ang="10800000">
                  <a:pos x="wd2" y="hd2"/>
                </a:cxn>
                <a:cxn ang="16200000">
                  <a:pos x="wd2" y="hd2"/>
                </a:cxn>
              </a:cxnLst>
              <a:rect l="0" t="0" r="r" b="b"/>
              <a:pathLst>
                <a:path w="21283" h="20769" extrusionOk="0">
                  <a:moveTo>
                    <a:pt x="20883" y="7477"/>
                  </a:moveTo>
                  <a:cubicBezTo>
                    <a:pt x="20883" y="7477"/>
                    <a:pt x="19283" y="6646"/>
                    <a:pt x="19283" y="6646"/>
                  </a:cubicBezTo>
                  <a:cubicBezTo>
                    <a:pt x="19283" y="6646"/>
                    <a:pt x="19683" y="5815"/>
                    <a:pt x="19683" y="5815"/>
                  </a:cubicBezTo>
                  <a:cubicBezTo>
                    <a:pt x="19283" y="5815"/>
                    <a:pt x="18483" y="5815"/>
                    <a:pt x="18883" y="4984"/>
                  </a:cubicBezTo>
                  <a:cubicBezTo>
                    <a:pt x="18883" y="4984"/>
                    <a:pt x="19283" y="4154"/>
                    <a:pt x="19283" y="4154"/>
                  </a:cubicBezTo>
                  <a:cubicBezTo>
                    <a:pt x="18883" y="3323"/>
                    <a:pt x="18083" y="3323"/>
                    <a:pt x="18083" y="3323"/>
                  </a:cubicBezTo>
                  <a:cubicBezTo>
                    <a:pt x="18083" y="2492"/>
                    <a:pt x="18883" y="1661"/>
                    <a:pt x="18883" y="1661"/>
                  </a:cubicBezTo>
                  <a:cubicBezTo>
                    <a:pt x="18883" y="1661"/>
                    <a:pt x="17283" y="2492"/>
                    <a:pt x="16883" y="1661"/>
                  </a:cubicBezTo>
                  <a:cubicBezTo>
                    <a:pt x="16483" y="831"/>
                    <a:pt x="16083" y="0"/>
                    <a:pt x="15283" y="0"/>
                  </a:cubicBezTo>
                  <a:cubicBezTo>
                    <a:pt x="14883" y="0"/>
                    <a:pt x="15683" y="1661"/>
                    <a:pt x="15283" y="2492"/>
                  </a:cubicBezTo>
                  <a:cubicBezTo>
                    <a:pt x="14883" y="3323"/>
                    <a:pt x="14483" y="2492"/>
                    <a:pt x="14083" y="3323"/>
                  </a:cubicBezTo>
                  <a:cubicBezTo>
                    <a:pt x="13683" y="4154"/>
                    <a:pt x="13283" y="3323"/>
                    <a:pt x="12483" y="3323"/>
                  </a:cubicBezTo>
                  <a:cubicBezTo>
                    <a:pt x="11683" y="2492"/>
                    <a:pt x="12883" y="5815"/>
                    <a:pt x="12483" y="6646"/>
                  </a:cubicBezTo>
                  <a:cubicBezTo>
                    <a:pt x="12483" y="6646"/>
                    <a:pt x="10883" y="831"/>
                    <a:pt x="10083" y="3323"/>
                  </a:cubicBezTo>
                  <a:cubicBezTo>
                    <a:pt x="9683" y="3323"/>
                    <a:pt x="10083" y="4984"/>
                    <a:pt x="9683" y="5815"/>
                  </a:cubicBezTo>
                  <a:cubicBezTo>
                    <a:pt x="9683" y="6646"/>
                    <a:pt x="8483" y="3323"/>
                    <a:pt x="8083" y="3323"/>
                  </a:cubicBezTo>
                  <a:cubicBezTo>
                    <a:pt x="7683" y="3323"/>
                    <a:pt x="8883" y="6646"/>
                    <a:pt x="8083" y="6646"/>
                  </a:cubicBezTo>
                  <a:cubicBezTo>
                    <a:pt x="7683" y="6646"/>
                    <a:pt x="7683" y="6646"/>
                    <a:pt x="7283" y="6646"/>
                  </a:cubicBezTo>
                  <a:cubicBezTo>
                    <a:pt x="6883" y="6646"/>
                    <a:pt x="6483" y="8307"/>
                    <a:pt x="6483" y="9138"/>
                  </a:cubicBezTo>
                  <a:cubicBezTo>
                    <a:pt x="6483" y="8307"/>
                    <a:pt x="5283" y="6646"/>
                    <a:pt x="5283" y="5815"/>
                  </a:cubicBezTo>
                  <a:cubicBezTo>
                    <a:pt x="5283" y="5815"/>
                    <a:pt x="6083" y="5815"/>
                    <a:pt x="6083" y="5815"/>
                  </a:cubicBezTo>
                  <a:cubicBezTo>
                    <a:pt x="6083" y="4984"/>
                    <a:pt x="5283" y="3323"/>
                    <a:pt x="5283" y="3323"/>
                  </a:cubicBezTo>
                  <a:cubicBezTo>
                    <a:pt x="4883" y="3323"/>
                    <a:pt x="2883" y="-831"/>
                    <a:pt x="2483" y="831"/>
                  </a:cubicBezTo>
                  <a:cubicBezTo>
                    <a:pt x="2483" y="1661"/>
                    <a:pt x="3683" y="1661"/>
                    <a:pt x="3283" y="2492"/>
                  </a:cubicBezTo>
                  <a:cubicBezTo>
                    <a:pt x="3283" y="2492"/>
                    <a:pt x="3283" y="2492"/>
                    <a:pt x="2883" y="2492"/>
                  </a:cubicBezTo>
                  <a:cubicBezTo>
                    <a:pt x="3683" y="1661"/>
                    <a:pt x="4083" y="4984"/>
                    <a:pt x="3683" y="5815"/>
                  </a:cubicBezTo>
                  <a:cubicBezTo>
                    <a:pt x="3683" y="5815"/>
                    <a:pt x="483" y="0"/>
                    <a:pt x="1683" y="4154"/>
                  </a:cubicBezTo>
                  <a:cubicBezTo>
                    <a:pt x="1683" y="4154"/>
                    <a:pt x="883" y="4154"/>
                    <a:pt x="883" y="4154"/>
                  </a:cubicBezTo>
                  <a:cubicBezTo>
                    <a:pt x="883" y="4984"/>
                    <a:pt x="1683" y="4984"/>
                    <a:pt x="1683" y="4984"/>
                  </a:cubicBezTo>
                  <a:cubicBezTo>
                    <a:pt x="1683" y="4154"/>
                    <a:pt x="1683" y="5815"/>
                    <a:pt x="1683" y="5815"/>
                  </a:cubicBezTo>
                  <a:cubicBezTo>
                    <a:pt x="1683" y="5815"/>
                    <a:pt x="883" y="4984"/>
                    <a:pt x="483" y="4984"/>
                  </a:cubicBezTo>
                  <a:cubicBezTo>
                    <a:pt x="883" y="4984"/>
                    <a:pt x="-317" y="7477"/>
                    <a:pt x="83" y="6646"/>
                  </a:cubicBezTo>
                  <a:cubicBezTo>
                    <a:pt x="-317" y="8307"/>
                    <a:pt x="2883" y="7477"/>
                    <a:pt x="2883" y="7477"/>
                  </a:cubicBezTo>
                  <a:cubicBezTo>
                    <a:pt x="3283" y="7477"/>
                    <a:pt x="4883" y="8307"/>
                    <a:pt x="4883" y="8307"/>
                  </a:cubicBezTo>
                  <a:cubicBezTo>
                    <a:pt x="4483" y="8307"/>
                    <a:pt x="4083" y="8307"/>
                    <a:pt x="4083" y="9138"/>
                  </a:cubicBezTo>
                  <a:cubicBezTo>
                    <a:pt x="4083" y="9138"/>
                    <a:pt x="4483" y="9969"/>
                    <a:pt x="4483" y="9969"/>
                  </a:cubicBezTo>
                  <a:cubicBezTo>
                    <a:pt x="4083" y="10800"/>
                    <a:pt x="3283" y="10800"/>
                    <a:pt x="2883" y="10800"/>
                  </a:cubicBezTo>
                  <a:cubicBezTo>
                    <a:pt x="2883" y="10800"/>
                    <a:pt x="483" y="11631"/>
                    <a:pt x="883" y="11631"/>
                  </a:cubicBezTo>
                  <a:cubicBezTo>
                    <a:pt x="1683" y="12461"/>
                    <a:pt x="2883" y="11631"/>
                    <a:pt x="3683" y="12461"/>
                  </a:cubicBezTo>
                  <a:cubicBezTo>
                    <a:pt x="4083" y="13292"/>
                    <a:pt x="4083" y="14123"/>
                    <a:pt x="4483" y="14123"/>
                  </a:cubicBezTo>
                  <a:cubicBezTo>
                    <a:pt x="4483" y="14123"/>
                    <a:pt x="5283" y="13292"/>
                    <a:pt x="5683" y="13292"/>
                  </a:cubicBezTo>
                  <a:cubicBezTo>
                    <a:pt x="5283" y="13292"/>
                    <a:pt x="4883" y="14123"/>
                    <a:pt x="4883" y="14123"/>
                  </a:cubicBezTo>
                  <a:cubicBezTo>
                    <a:pt x="4883" y="14954"/>
                    <a:pt x="5683" y="14123"/>
                    <a:pt x="5683" y="14123"/>
                  </a:cubicBezTo>
                  <a:cubicBezTo>
                    <a:pt x="6083" y="14954"/>
                    <a:pt x="2883" y="18277"/>
                    <a:pt x="3683" y="18277"/>
                  </a:cubicBezTo>
                  <a:cubicBezTo>
                    <a:pt x="4483" y="19107"/>
                    <a:pt x="5283" y="18277"/>
                    <a:pt x="5683" y="18277"/>
                  </a:cubicBezTo>
                  <a:cubicBezTo>
                    <a:pt x="6483" y="18277"/>
                    <a:pt x="7283" y="18277"/>
                    <a:pt x="8083" y="19107"/>
                  </a:cubicBezTo>
                  <a:cubicBezTo>
                    <a:pt x="7683" y="18277"/>
                    <a:pt x="7683" y="19107"/>
                    <a:pt x="7683" y="19107"/>
                  </a:cubicBezTo>
                  <a:cubicBezTo>
                    <a:pt x="8083" y="19938"/>
                    <a:pt x="8483" y="19938"/>
                    <a:pt x="8483" y="19938"/>
                  </a:cubicBezTo>
                  <a:cubicBezTo>
                    <a:pt x="9283" y="20769"/>
                    <a:pt x="10483" y="20769"/>
                    <a:pt x="11283" y="20769"/>
                  </a:cubicBezTo>
                  <a:cubicBezTo>
                    <a:pt x="12083" y="20769"/>
                    <a:pt x="12083" y="19938"/>
                    <a:pt x="12883" y="19938"/>
                  </a:cubicBezTo>
                  <a:cubicBezTo>
                    <a:pt x="13683" y="19107"/>
                    <a:pt x="14483" y="19107"/>
                    <a:pt x="15283" y="18277"/>
                  </a:cubicBezTo>
                  <a:cubicBezTo>
                    <a:pt x="16483" y="16615"/>
                    <a:pt x="16883" y="15784"/>
                    <a:pt x="18083" y="14954"/>
                  </a:cubicBezTo>
                  <a:cubicBezTo>
                    <a:pt x="18883" y="14954"/>
                    <a:pt x="19283" y="12461"/>
                    <a:pt x="20483" y="12461"/>
                  </a:cubicBezTo>
                  <a:cubicBezTo>
                    <a:pt x="20483" y="11631"/>
                    <a:pt x="20883" y="11631"/>
                    <a:pt x="20483" y="10800"/>
                  </a:cubicBezTo>
                  <a:cubicBezTo>
                    <a:pt x="20083" y="9969"/>
                    <a:pt x="20883" y="9969"/>
                    <a:pt x="21283" y="9969"/>
                  </a:cubicBezTo>
                  <a:cubicBezTo>
                    <a:pt x="21283" y="9969"/>
                    <a:pt x="20483" y="9138"/>
                    <a:pt x="20483" y="9138"/>
                  </a:cubicBezTo>
                  <a:cubicBezTo>
                    <a:pt x="20483" y="8307"/>
                    <a:pt x="21283" y="7477"/>
                    <a:pt x="20883" y="7477"/>
                  </a:cubicBezTo>
                  <a:cubicBezTo>
                    <a:pt x="20083" y="6646"/>
                    <a:pt x="21283" y="7477"/>
                    <a:pt x="20883" y="747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 name="Shape 1828">
              <a:extLst>
                <a:ext uri="{FF2B5EF4-FFF2-40B4-BE49-F238E27FC236}">
                  <a16:creationId xmlns:a16="http://schemas.microsoft.com/office/drawing/2014/main" id="{9A6B70FD-5B30-380A-C054-808093311481}"/>
                </a:ext>
              </a:extLst>
            </p:cNvPr>
            <p:cNvSpPr/>
            <p:nvPr/>
          </p:nvSpPr>
          <p:spPr>
            <a:xfrm>
              <a:off x="7202737" y="512996"/>
              <a:ext cx="583725" cy="404187"/>
            </a:xfrm>
            <a:custGeom>
              <a:avLst/>
              <a:gdLst/>
              <a:ahLst/>
              <a:cxnLst>
                <a:cxn ang="0">
                  <a:pos x="wd2" y="hd2"/>
                </a:cxn>
                <a:cxn ang="5400000">
                  <a:pos x="wd2" y="hd2"/>
                </a:cxn>
                <a:cxn ang="10800000">
                  <a:pos x="wd2" y="hd2"/>
                </a:cxn>
                <a:cxn ang="16200000">
                  <a:pos x="wd2" y="hd2"/>
                </a:cxn>
              </a:cxnLst>
              <a:rect l="0" t="0" r="r" b="b"/>
              <a:pathLst>
                <a:path w="21251" h="21339" extrusionOk="0">
                  <a:moveTo>
                    <a:pt x="20160" y="87"/>
                  </a:moveTo>
                  <a:cubicBezTo>
                    <a:pt x="19440" y="87"/>
                    <a:pt x="19200" y="-261"/>
                    <a:pt x="18480" y="436"/>
                  </a:cubicBezTo>
                  <a:cubicBezTo>
                    <a:pt x="18240" y="436"/>
                    <a:pt x="17280" y="784"/>
                    <a:pt x="17520" y="1133"/>
                  </a:cubicBezTo>
                  <a:cubicBezTo>
                    <a:pt x="17280" y="1133"/>
                    <a:pt x="16320" y="1829"/>
                    <a:pt x="15840" y="1829"/>
                  </a:cubicBezTo>
                  <a:cubicBezTo>
                    <a:pt x="15360" y="1829"/>
                    <a:pt x="14640" y="2178"/>
                    <a:pt x="14160" y="2526"/>
                  </a:cubicBezTo>
                  <a:cubicBezTo>
                    <a:pt x="13440" y="2526"/>
                    <a:pt x="12960" y="2526"/>
                    <a:pt x="12240" y="2526"/>
                  </a:cubicBezTo>
                  <a:cubicBezTo>
                    <a:pt x="12240" y="2526"/>
                    <a:pt x="10800" y="2526"/>
                    <a:pt x="11040" y="2874"/>
                  </a:cubicBezTo>
                  <a:cubicBezTo>
                    <a:pt x="11040" y="2874"/>
                    <a:pt x="11520" y="2874"/>
                    <a:pt x="11520" y="2874"/>
                  </a:cubicBezTo>
                  <a:cubicBezTo>
                    <a:pt x="11280" y="3223"/>
                    <a:pt x="10800" y="3223"/>
                    <a:pt x="10560" y="3571"/>
                  </a:cubicBezTo>
                  <a:cubicBezTo>
                    <a:pt x="10320" y="3571"/>
                    <a:pt x="9840" y="3571"/>
                    <a:pt x="9360" y="3571"/>
                  </a:cubicBezTo>
                  <a:cubicBezTo>
                    <a:pt x="9120" y="3571"/>
                    <a:pt x="9120" y="3571"/>
                    <a:pt x="8640" y="3920"/>
                  </a:cubicBezTo>
                  <a:cubicBezTo>
                    <a:pt x="8400" y="4965"/>
                    <a:pt x="8160" y="4616"/>
                    <a:pt x="7680" y="4616"/>
                  </a:cubicBezTo>
                  <a:cubicBezTo>
                    <a:pt x="7200" y="4965"/>
                    <a:pt x="7440" y="5662"/>
                    <a:pt x="6720" y="5662"/>
                  </a:cubicBezTo>
                  <a:cubicBezTo>
                    <a:pt x="6240" y="5662"/>
                    <a:pt x="6480" y="6358"/>
                    <a:pt x="6240" y="6358"/>
                  </a:cubicBezTo>
                  <a:cubicBezTo>
                    <a:pt x="6000" y="6707"/>
                    <a:pt x="5280" y="6010"/>
                    <a:pt x="5520" y="6358"/>
                  </a:cubicBezTo>
                  <a:cubicBezTo>
                    <a:pt x="5520" y="6707"/>
                    <a:pt x="6240" y="7055"/>
                    <a:pt x="6240" y="7055"/>
                  </a:cubicBezTo>
                  <a:cubicBezTo>
                    <a:pt x="6240" y="7055"/>
                    <a:pt x="5280" y="7404"/>
                    <a:pt x="5280" y="7404"/>
                  </a:cubicBezTo>
                  <a:cubicBezTo>
                    <a:pt x="5280" y="7752"/>
                    <a:pt x="6480" y="7752"/>
                    <a:pt x="6480" y="7752"/>
                  </a:cubicBezTo>
                  <a:cubicBezTo>
                    <a:pt x="6480" y="8100"/>
                    <a:pt x="4800" y="8100"/>
                    <a:pt x="5040" y="8449"/>
                  </a:cubicBezTo>
                  <a:cubicBezTo>
                    <a:pt x="5040" y="8100"/>
                    <a:pt x="5520" y="8449"/>
                    <a:pt x="5520" y="8449"/>
                  </a:cubicBezTo>
                  <a:cubicBezTo>
                    <a:pt x="5040" y="8797"/>
                    <a:pt x="4800" y="8449"/>
                    <a:pt x="4800" y="8797"/>
                  </a:cubicBezTo>
                  <a:cubicBezTo>
                    <a:pt x="4560" y="9145"/>
                    <a:pt x="5040" y="9494"/>
                    <a:pt x="5040" y="9494"/>
                  </a:cubicBezTo>
                  <a:cubicBezTo>
                    <a:pt x="4800" y="9494"/>
                    <a:pt x="4560" y="9494"/>
                    <a:pt x="4320" y="9494"/>
                  </a:cubicBezTo>
                  <a:cubicBezTo>
                    <a:pt x="4320" y="9494"/>
                    <a:pt x="4800" y="9842"/>
                    <a:pt x="5040" y="9842"/>
                  </a:cubicBezTo>
                  <a:cubicBezTo>
                    <a:pt x="4560" y="9842"/>
                    <a:pt x="4320" y="9842"/>
                    <a:pt x="4080" y="10191"/>
                  </a:cubicBezTo>
                  <a:cubicBezTo>
                    <a:pt x="3840" y="10539"/>
                    <a:pt x="3600" y="10539"/>
                    <a:pt x="3360" y="10539"/>
                  </a:cubicBezTo>
                  <a:cubicBezTo>
                    <a:pt x="2880" y="10887"/>
                    <a:pt x="2880" y="11236"/>
                    <a:pt x="3360" y="11236"/>
                  </a:cubicBezTo>
                  <a:cubicBezTo>
                    <a:pt x="3600" y="11236"/>
                    <a:pt x="4320" y="11584"/>
                    <a:pt x="4560" y="11584"/>
                  </a:cubicBezTo>
                  <a:cubicBezTo>
                    <a:pt x="4080" y="11933"/>
                    <a:pt x="3600" y="11236"/>
                    <a:pt x="3600" y="12281"/>
                  </a:cubicBezTo>
                  <a:cubicBezTo>
                    <a:pt x="3600" y="12629"/>
                    <a:pt x="2400" y="12629"/>
                    <a:pt x="2160" y="12978"/>
                  </a:cubicBezTo>
                  <a:cubicBezTo>
                    <a:pt x="1920" y="13326"/>
                    <a:pt x="2160" y="13326"/>
                    <a:pt x="2160" y="13674"/>
                  </a:cubicBezTo>
                  <a:cubicBezTo>
                    <a:pt x="2160" y="13674"/>
                    <a:pt x="1440" y="14023"/>
                    <a:pt x="1440" y="14023"/>
                  </a:cubicBezTo>
                  <a:cubicBezTo>
                    <a:pt x="480" y="14371"/>
                    <a:pt x="1680" y="14371"/>
                    <a:pt x="1680" y="14720"/>
                  </a:cubicBezTo>
                  <a:cubicBezTo>
                    <a:pt x="1920" y="15068"/>
                    <a:pt x="1200" y="16113"/>
                    <a:pt x="1200" y="16113"/>
                  </a:cubicBezTo>
                  <a:cubicBezTo>
                    <a:pt x="720" y="16810"/>
                    <a:pt x="0" y="16113"/>
                    <a:pt x="0" y="17507"/>
                  </a:cubicBezTo>
                  <a:cubicBezTo>
                    <a:pt x="0" y="18900"/>
                    <a:pt x="480" y="18204"/>
                    <a:pt x="960" y="18204"/>
                  </a:cubicBezTo>
                  <a:cubicBezTo>
                    <a:pt x="1440" y="18552"/>
                    <a:pt x="1680" y="18900"/>
                    <a:pt x="2160" y="18552"/>
                  </a:cubicBezTo>
                  <a:cubicBezTo>
                    <a:pt x="2160" y="18552"/>
                    <a:pt x="2640" y="19249"/>
                    <a:pt x="2880" y="18900"/>
                  </a:cubicBezTo>
                  <a:cubicBezTo>
                    <a:pt x="2880" y="18900"/>
                    <a:pt x="2400" y="18900"/>
                    <a:pt x="2400" y="19249"/>
                  </a:cubicBezTo>
                  <a:cubicBezTo>
                    <a:pt x="2640" y="19249"/>
                    <a:pt x="2880" y="19249"/>
                    <a:pt x="2880" y="19249"/>
                  </a:cubicBezTo>
                  <a:cubicBezTo>
                    <a:pt x="2880" y="19249"/>
                    <a:pt x="2400" y="20642"/>
                    <a:pt x="2400" y="20642"/>
                  </a:cubicBezTo>
                  <a:cubicBezTo>
                    <a:pt x="2880" y="20991"/>
                    <a:pt x="3360" y="20991"/>
                    <a:pt x="3840" y="21339"/>
                  </a:cubicBezTo>
                  <a:cubicBezTo>
                    <a:pt x="4560" y="21339"/>
                    <a:pt x="4800" y="21339"/>
                    <a:pt x="5520" y="21339"/>
                  </a:cubicBezTo>
                  <a:cubicBezTo>
                    <a:pt x="5760" y="20991"/>
                    <a:pt x="6000" y="20991"/>
                    <a:pt x="6240" y="20991"/>
                  </a:cubicBezTo>
                  <a:cubicBezTo>
                    <a:pt x="6480" y="21339"/>
                    <a:pt x="6720" y="21339"/>
                    <a:pt x="7200" y="21339"/>
                  </a:cubicBezTo>
                  <a:cubicBezTo>
                    <a:pt x="7440" y="21339"/>
                    <a:pt x="6480" y="20294"/>
                    <a:pt x="6240" y="20294"/>
                  </a:cubicBezTo>
                  <a:cubicBezTo>
                    <a:pt x="5760" y="19597"/>
                    <a:pt x="5520" y="18900"/>
                    <a:pt x="5280" y="18204"/>
                  </a:cubicBezTo>
                  <a:cubicBezTo>
                    <a:pt x="4800" y="17507"/>
                    <a:pt x="5040" y="17158"/>
                    <a:pt x="4800" y="16462"/>
                  </a:cubicBezTo>
                  <a:cubicBezTo>
                    <a:pt x="4560" y="15416"/>
                    <a:pt x="4320" y="15416"/>
                    <a:pt x="4800" y="14720"/>
                  </a:cubicBezTo>
                  <a:cubicBezTo>
                    <a:pt x="5040" y="14720"/>
                    <a:pt x="4800" y="14720"/>
                    <a:pt x="4800" y="14371"/>
                  </a:cubicBezTo>
                  <a:cubicBezTo>
                    <a:pt x="5040" y="14023"/>
                    <a:pt x="5760" y="14371"/>
                    <a:pt x="5760" y="14023"/>
                  </a:cubicBezTo>
                  <a:cubicBezTo>
                    <a:pt x="5760" y="14023"/>
                    <a:pt x="5280" y="13674"/>
                    <a:pt x="5280" y="13674"/>
                  </a:cubicBezTo>
                  <a:cubicBezTo>
                    <a:pt x="5520" y="13326"/>
                    <a:pt x="6240" y="13674"/>
                    <a:pt x="6240" y="13326"/>
                  </a:cubicBezTo>
                  <a:cubicBezTo>
                    <a:pt x="6240" y="12978"/>
                    <a:pt x="5040" y="12629"/>
                    <a:pt x="5040" y="12281"/>
                  </a:cubicBezTo>
                  <a:cubicBezTo>
                    <a:pt x="5040" y="12281"/>
                    <a:pt x="6960" y="12629"/>
                    <a:pt x="6960" y="12629"/>
                  </a:cubicBezTo>
                  <a:cubicBezTo>
                    <a:pt x="6960" y="12281"/>
                    <a:pt x="6480" y="11933"/>
                    <a:pt x="6480" y="11584"/>
                  </a:cubicBezTo>
                  <a:cubicBezTo>
                    <a:pt x="6480" y="11236"/>
                    <a:pt x="7200" y="11933"/>
                    <a:pt x="7440" y="11584"/>
                  </a:cubicBezTo>
                  <a:cubicBezTo>
                    <a:pt x="7440" y="11236"/>
                    <a:pt x="6480" y="10539"/>
                    <a:pt x="6480" y="10887"/>
                  </a:cubicBezTo>
                  <a:cubicBezTo>
                    <a:pt x="6480" y="10539"/>
                    <a:pt x="7440" y="11236"/>
                    <a:pt x="7680" y="10887"/>
                  </a:cubicBezTo>
                  <a:cubicBezTo>
                    <a:pt x="7680" y="10887"/>
                    <a:pt x="7920" y="10539"/>
                    <a:pt x="7680" y="10539"/>
                  </a:cubicBezTo>
                  <a:cubicBezTo>
                    <a:pt x="7680" y="10539"/>
                    <a:pt x="7200" y="9842"/>
                    <a:pt x="7200" y="9842"/>
                  </a:cubicBezTo>
                  <a:cubicBezTo>
                    <a:pt x="7680" y="9842"/>
                    <a:pt x="7920" y="10191"/>
                    <a:pt x="8400" y="9842"/>
                  </a:cubicBezTo>
                  <a:cubicBezTo>
                    <a:pt x="8400" y="9494"/>
                    <a:pt x="8880" y="9145"/>
                    <a:pt x="8880" y="9145"/>
                  </a:cubicBezTo>
                  <a:cubicBezTo>
                    <a:pt x="8880" y="8797"/>
                    <a:pt x="8400" y="8797"/>
                    <a:pt x="8400" y="8797"/>
                  </a:cubicBezTo>
                  <a:cubicBezTo>
                    <a:pt x="8640" y="8797"/>
                    <a:pt x="9360" y="8797"/>
                    <a:pt x="9360" y="8100"/>
                  </a:cubicBezTo>
                  <a:cubicBezTo>
                    <a:pt x="9360" y="7404"/>
                    <a:pt x="9840" y="8449"/>
                    <a:pt x="10080" y="8100"/>
                  </a:cubicBezTo>
                  <a:cubicBezTo>
                    <a:pt x="10080" y="8100"/>
                    <a:pt x="9840" y="7752"/>
                    <a:pt x="9840" y="7752"/>
                  </a:cubicBezTo>
                  <a:cubicBezTo>
                    <a:pt x="10080" y="7404"/>
                    <a:pt x="10800" y="7752"/>
                    <a:pt x="10800" y="7404"/>
                  </a:cubicBezTo>
                  <a:cubicBezTo>
                    <a:pt x="11040" y="7055"/>
                    <a:pt x="10800" y="6707"/>
                    <a:pt x="10560" y="6707"/>
                  </a:cubicBezTo>
                  <a:cubicBezTo>
                    <a:pt x="11760" y="6010"/>
                    <a:pt x="12720" y="5313"/>
                    <a:pt x="13920" y="4965"/>
                  </a:cubicBezTo>
                  <a:cubicBezTo>
                    <a:pt x="14640" y="4616"/>
                    <a:pt x="15600" y="4268"/>
                    <a:pt x="16320" y="3920"/>
                  </a:cubicBezTo>
                  <a:cubicBezTo>
                    <a:pt x="17520" y="3571"/>
                    <a:pt x="18480" y="3223"/>
                    <a:pt x="19440" y="2526"/>
                  </a:cubicBezTo>
                  <a:cubicBezTo>
                    <a:pt x="19920" y="2526"/>
                    <a:pt x="20640" y="1829"/>
                    <a:pt x="21120" y="1133"/>
                  </a:cubicBezTo>
                  <a:cubicBezTo>
                    <a:pt x="21600" y="436"/>
                    <a:pt x="20640" y="87"/>
                    <a:pt x="20160" y="87"/>
                  </a:cubicBezTo>
                  <a:cubicBezTo>
                    <a:pt x="19680" y="87"/>
                    <a:pt x="20640" y="87"/>
                    <a:pt x="20160" y="8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 name="Shape 1829">
              <a:extLst>
                <a:ext uri="{FF2B5EF4-FFF2-40B4-BE49-F238E27FC236}">
                  <a16:creationId xmlns:a16="http://schemas.microsoft.com/office/drawing/2014/main" id="{560A07EF-732C-EB0B-7240-1CB8D04D0204}"/>
                </a:ext>
              </a:extLst>
            </p:cNvPr>
            <p:cNvSpPr/>
            <p:nvPr/>
          </p:nvSpPr>
          <p:spPr>
            <a:xfrm>
              <a:off x="8729785" y="337199"/>
              <a:ext cx="196001" cy="104006"/>
            </a:xfrm>
            <a:custGeom>
              <a:avLst/>
              <a:gdLst/>
              <a:ahLst/>
              <a:cxnLst>
                <a:cxn ang="0">
                  <a:pos x="wd2" y="hd2"/>
                </a:cxn>
                <a:cxn ang="5400000">
                  <a:pos x="wd2" y="hd2"/>
                </a:cxn>
                <a:cxn ang="10800000">
                  <a:pos x="wd2" y="hd2"/>
                </a:cxn>
                <a:cxn ang="16200000">
                  <a:pos x="wd2" y="hd2"/>
                </a:cxn>
              </a:cxnLst>
              <a:rect l="0" t="0" r="r" b="b"/>
              <a:pathLst>
                <a:path w="20040" h="21263" extrusionOk="0">
                  <a:moveTo>
                    <a:pt x="10232" y="8100"/>
                  </a:moveTo>
                  <a:cubicBezTo>
                    <a:pt x="10232" y="8100"/>
                    <a:pt x="12257" y="2700"/>
                    <a:pt x="12257" y="1350"/>
                  </a:cubicBezTo>
                  <a:cubicBezTo>
                    <a:pt x="11582" y="0"/>
                    <a:pt x="10907" y="0"/>
                    <a:pt x="10232" y="0"/>
                  </a:cubicBezTo>
                  <a:cubicBezTo>
                    <a:pt x="9557" y="0"/>
                    <a:pt x="9557" y="2700"/>
                    <a:pt x="9557" y="2700"/>
                  </a:cubicBezTo>
                  <a:cubicBezTo>
                    <a:pt x="8207" y="2700"/>
                    <a:pt x="7532" y="0"/>
                    <a:pt x="6182" y="2700"/>
                  </a:cubicBezTo>
                  <a:cubicBezTo>
                    <a:pt x="6182" y="2700"/>
                    <a:pt x="4832" y="4050"/>
                    <a:pt x="5507" y="5400"/>
                  </a:cubicBezTo>
                  <a:cubicBezTo>
                    <a:pt x="6182" y="5400"/>
                    <a:pt x="6857" y="6750"/>
                    <a:pt x="7532" y="5400"/>
                  </a:cubicBezTo>
                  <a:cubicBezTo>
                    <a:pt x="6182" y="6750"/>
                    <a:pt x="2807" y="8100"/>
                    <a:pt x="6182" y="10800"/>
                  </a:cubicBezTo>
                  <a:cubicBezTo>
                    <a:pt x="4157" y="9450"/>
                    <a:pt x="3482" y="10800"/>
                    <a:pt x="2807" y="13500"/>
                  </a:cubicBezTo>
                  <a:cubicBezTo>
                    <a:pt x="2132" y="14850"/>
                    <a:pt x="-568" y="20250"/>
                    <a:pt x="107" y="20250"/>
                  </a:cubicBezTo>
                  <a:cubicBezTo>
                    <a:pt x="1457" y="21600"/>
                    <a:pt x="3482" y="21600"/>
                    <a:pt x="4832" y="20250"/>
                  </a:cubicBezTo>
                  <a:cubicBezTo>
                    <a:pt x="6857" y="17550"/>
                    <a:pt x="8882" y="17550"/>
                    <a:pt x="10907" y="18900"/>
                  </a:cubicBezTo>
                  <a:cubicBezTo>
                    <a:pt x="13607" y="18900"/>
                    <a:pt x="15632" y="17550"/>
                    <a:pt x="18332" y="16200"/>
                  </a:cubicBezTo>
                  <a:cubicBezTo>
                    <a:pt x="19682" y="14850"/>
                    <a:pt x="21032" y="10800"/>
                    <a:pt x="19007" y="9450"/>
                  </a:cubicBezTo>
                  <a:cubicBezTo>
                    <a:pt x="17657" y="8100"/>
                    <a:pt x="15632" y="2700"/>
                    <a:pt x="14282" y="4050"/>
                  </a:cubicBezTo>
                  <a:cubicBezTo>
                    <a:pt x="12932" y="4050"/>
                    <a:pt x="11582" y="8100"/>
                    <a:pt x="10232" y="8100"/>
                  </a:cubicBezTo>
                  <a:cubicBezTo>
                    <a:pt x="9557" y="8100"/>
                    <a:pt x="10907" y="8100"/>
                    <a:pt x="10232" y="81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 name="Shape 1830">
              <a:extLst>
                <a:ext uri="{FF2B5EF4-FFF2-40B4-BE49-F238E27FC236}">
                  <a16:creationId xmlns:a16="http://schemas.microsoft.com/office/drawing/2014/main" id="{103AB77A-23F4-CD00-6000-27EE45C0CD64}"/>
                </a:ext>
              </a:extLst>
            </p:cNvPr>
            <p:cNvSpPr/>
            <p:nvPr/>
          </p:nvSpPr>
          <p:spPr>
            <a:xfrm>
              <a:off x="8553432" y="280172"/>
              <a:ext cx="191181" cy="101988"/>
            </a:xfrm>
            <a:custGeom>
              <a:avLst/>
              <a:gdLst/>
              <a:ahLst/>
              <a:cxnLst>
                <a:cxn ang="0">
                  <a:pos x="wd2" y="hd2"/>
                </a:cxn>
                <a:cxn ang="5400000">
                  <a:pos x="wd2" y="hd2"/>
                </a:cxn>
                <a:cxn ang="10800000">
                  <a:pos x="wd2" y="hd2"/>
                </a:cxn>
                <a:cxn ang="16200000">
                  <a:pos x="wd2" y="hd2"/>
                </a:cxn>
              </a:cxnLst>
              <a:rect l="0" t="0" r="r" b="b"/>
              <a:pathLst>
                <a:path w="20880" h="20850" extrusionOk="0">
                  <a:moveTo>
                    <a:pt x="18720" y="12750"/>
                  </a:moveTo>
                  <a:cubicBezTo>
                    <a:pt x="20880" y="14100"/>
                    <a:pt x="19440" y="11400"/>
                    <a:pt x="20160" y="8700"/>
                  </a:cubicBezTo>
                  <a:cubicBezTo>
                    <a:pt x="20160" y="7350"/>
                    <a:pt x="20880" y="7350"/>
                    <a:pt x="20880" y="6000"/>
                  </a:cubicBezTo>
                  <a:cubicBezTo>
                    <a:pt x="20880" y="4650"/>
                    <a:pt x="19440" y="3300"/>
                    <a:pt x="18720" y="3300"/>
                  </a:cubicBezTo>
                  <a:cubicBezTo>
                    <a:pt x="18000" y="1950"/>
                    <a:pt x="16560" y="1950"/>
                    <a:pt x="15840" y="3300"/>
                  </a:cubicBezTo>
                  <a:cubicBezTo>
                    <a:pt x="15840" y="3300"/>
                    <a:pt x="12240" y="4650"/>
                    <a:pt x="12240" y="4650"/>
                  </a:cubicBezTo>
                  <a:cubicBezTo>
                    <a:pt x="12240" y="4650"/>
                    <a:pt x="15120" y="1950"/>
                    <a:pt x="12960" y="600"/>
                  </a:cubicBezTo>
                  <a:cubicBezTo>
                    <a:pt x="11520" y="-750"/>
                    <a:pt x="10080" y="600"/>
                    <a:pt x="8640" y="600"/>
                  </a:cubicBezTo>
                  <a:cubicBezTo>
                    <a:pt x="7920" y="600"/>
                    <a:pt x="4320" y="1950"/>
                    <a:pt x="3600" y="4650"/>
                  </a:cubicBezTo>
                  <a:cubicBezTo>
                    <a:pt x="3600" y="4650"/>
                    <a:pt x="5040" y="4650"/>
                    <a:pt x="5040" y="4650"/>
                  </a:cubicBezTo>
                  <a:cubicBezTo>
                    <a:pt x="5040" y="4650"/>
                    <a:pt x="0" y="8700"/>
                    <a:pt x="0" y="10050"/>
                  </a:cubicBezTo>
                  <a:cubicBezTo>
                    <a:pt x="0" y="10050"/>
                    <a:pt x="2880" y="11400"/>
                    <a:pt x="2880" y="11400"/>
                  </a:cubicBezTo>
                  <a:cubicBezTo>
                    <a:pt x="3600" y="11400"/>
                    <a:pt x="4320" y="14100"/>
                    <a:pt x="5040" y="15450"/>
                  </a:cubicBezTo>
                  <a:cubicBezTo>
                    <a:pt x="6480" y="16800"/>
                    <a:pt x="7200" y="16800"/>
                    <a:pt x="8640" y="16800"/>
                  </a:cubicBezTo>
                  <a:cubicBezTo>
                    <a:pt x="10080" y="18150"/>
                    <a:pt x="12240" y="20850"/>
                    <a:pt x="13680" y="20850"/>
                  </a:cubicBezTo>
                  <a:cubicBezTo>
                    <a:pt x="15840" y="20850"/>
                    <a:pt x="18000" y="20850"/>
                    <a:pt x="20160" y="19500"/>
                  </a:cubicBezTo>
                  <a:cubicBezTo>
                    <a:pt x="21600" y="19500"/>
                    <a:pt x="18720" y="12750"/>
                    <a:pt x="18720" y="12750"/>
                  </a:cubicBezTo>
                  <a:cubicBezTo>
                    <a:pt x="19440" y="12750"/>
                    <a:pt x="18000" y="12750"/>
                    <a:pt x="18720" y="127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 name="Shape 1831">
              <a:extLst>
                <a:ext uri="{FF2B5EF4-FFF2-40B4-BE49-F238E27FC236}">
                  <a16:creationId xmlns:a16="http://schemas.microsoft.com/office/drawing/2014/main" id="{9F7BAFDD-EF10-5FB5-47C6-034A17FBEEFC}"/>
                </a:ext>
              </a:extLst>
            </p:cNvPr>
            <p:cNvSpPr/>
            <p:nvPr/>
          </p:nvSpPr>
          <p:spPr>
            <a:xfrm>
              <a:off x="8494998" y="286993"/>
              <a:ext cx="75017" cy="29976"/>
            </a:xfrm>
            <a:custGeom>
              <a:avLst/>
              <a:gdLst/>
              <a:ahLst/>
              <a:cxnLst>
                <a:cxn ang="0">
                  <a:pos x="wd2" y="hd2"/>
                </a:cxn>
                <a:cxn ang="5400000">
                  <a:pos x="wd2" y="hd2"/>
                </a:cxn>
                <a:cxn ang="10800000">
                  <a:pos x="wd2" y="hd2"/>
                </a:cxn>
                <a:cxn ang="16200000">
                  <a:pos x="wd2" y="hd2"/>
                </a:cxn>
              </a:cxnLst>
              <a:rect l="0" t="0" r="r" b="b"/>
              <a:pathLst>
                <a:path w="16386" h="19200" extrusionOk="0">
                  <a:moveTo>
                    <a:pt x="12960" y="1920"/>
                  </a:moveTo>
                  <a:cubicBezTo>
                    <a:pt x="11520" y="1920"/>
                    <a:pt x="8640" y="1920"/>
                    <a:pt x="5760" y="1920"/>
                  </a:cubicBezTo>
                  <a:cubicBezTo>
                    <a:pt x="4320" y="1920"/>
                    <a:pt x="1440" y="-2400"/>
                    <a:pt x="0" y="1920"/>
                  </a:cubicBezTo>
                  <a:cubicBezTo>
                    <a:pt x="0" y="1920"/>
                    <a:pt x="0" y="10560"/>
                    <a:pt x="1440" y="10560"/>
                  </a:cubicBezTo>
                  <a:cubicBezTo>
                    <a:pt x="4320" y="14880"/>
                    <a:pt x="5760" y="19200"/>
                    <a:pt x="8640" y="19200"/>
                  </a:cubicBezTo>
                  <a:cubicBezTo>
                    <a:pt x="11520" y="19200"/>
                    <a:pt x="21600" y="6240"/>
                    <a:pt x="12960" y="1920"/>
                  </a:cubicBezTo>
                  <a:cubicBezTo>
                    <a:pt x="11520" y="1920"/>
                    <a:pt x="14400" y="6240"/>
                    <a:pt x="12960" y="19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 name="Shape 1832">
              <a:extLst>
                <a:ext uri="{FF2B5EF4-FFF2-40B4-BE49-F238E27FC236}">
                  <a16:creationId xmlns:a16="http://schemas.microsoft.com/office/drawing/2014/main" id="{7A913964-48B5-3DD1-9094-12DE9913952F}"/>
                </a:ext>
              </a:extLst>
            </p:cNvPr>
            <p:cNvSpPr/>
            <p:nvPr/>
          </p:nvSpPr>
          <p:spPr>
            <a:xfrm>
              <a:off x="8512978" y="191080"/>
              <a:ext cx="166308" cy="100960"/>
            </a:xfrm>
            <a:custGeom>
              <a:avLst/>
              <a:gdLst/>
              <a:ahLst/>
              <a:cxnLst>
                <a:cxn ang="0">
                  <a:pos x="wd2" y="hd2"/>
                </a:cxn>
                <a:cxn ang="5400000">
                  <a:pos x="wd2" y="hd2"/>
                </a:cxn>
                <a:cxn ang="10800000">
                  <a:pos x="wd2" y="hd2"/>
                </a:cxn>
                <a:cxn ang="16200000">
                  <a:pos x="wd2" y="hd2"/>
                </a:cxn>
              </a:cxnLst>
              <a:rect l="0" t="0" r="r" b="b"/>
              <a:pathLst>
                <a:path w="21600" h="20640" extrusionOk="0">
                  <a:moveTo>
                    <a:pt x="6048" y="20250"/>
                  </a:moveTo>
                  <a:cubicBezTo>
                    <a:pt x="5184" y="18900"/>
                    <a:pt x="3456" y="18900"/>
                    <a:pt x="2592" y="17550"/>
                  </a:cubicBezTo>
                  <a:cubicBezTo>
                    <a:pt x="1728" y="16200"/>
                    <a:pt x="3456" y="16200"/>
                    <a:pt x="3456" y="16200"/>
                  </a:cubicBezTo>
                  <a:cubicBezTo>
                    <a:pt x="3456" y="16200"/>
                    <a:pt x="0" y="17550"/>
                    <a:pt x="0" y="16200"/>
                  </a:cubicBezTo>
                  <a:cubicBezTo>
                    <a:pt x="0" y="13500"/>
                    <a:pt x="2592" y="14850"/>
                    <a:pt x="2592" y="14850"/>
                  </a:cubicBezTo>
                  <a:cubicBezTo>
                    <a:pt x="2592" y="13500"/>
                    <a:pt x="1728" y="13500"/>
                    <a:pt x="1728" y="13500"/>
                  </a:cubicBezTo>
                  <a:cubicBezTo>
                    <a:pt x="1728" y="13500"/>
                    <a:pt x="6048" y="9450"/>
                    <a:pt x="5184" y="8100"/>
                  </a:cubicBezTo>
                  <a:cubicBezTo>
                    <a:pt x="5184" y="8100"/>
                    <a:pt x="4320" y="8100"/>
                    <a:pt x="4320" y="8100"/>
                  </a:cubicBezTo>
                  <a:cubicBezTo>
                    <a:pt x="5184" y="5400"/>
                    <a:pt x="7776" y="5400"/>
                    <a:pt x="9504" y="4050"/>
                  </a:cubicBezTo>
                  <a:cubicBezTo>
                    <a:pt x="11232" y="2700"/>
                    <a:pt x="13824" y="1350"/>
                    <a:pt x="15552" y="0"/>
                  </a:cubicBezTo>
                  <a:cubicBezTo>
                    <a:pt x="15552" y="0"/>
                    <a:pt x="16416" y="4050"/>
                    <a:pt x="17280" y="5400"/>
                  </a:cubicBezTo>
                  <a:cubicBezTo>
                    <a:pt x="17280" y="5400"/>
                    <a:pt x="21600" y="8100"/>
                    <a:pt x="21600" y="9450"/>
                  </a:cubicBezTo>
                  <a:cubicBezTo>
                    <a:pt x="21600" y="10800"/>
                    <a:pt x="17280" y="9450"/>
                    <a:pt x="18144" y="12150"/>
                  </a:cubicBezTo>
                  <a:cubicBezTo>
                    <a:pt x="18144" y="12150"/>
                    <a:pt x="19872" y="13500"/>
                    <a:pt x="19872" y="16200"/>
                  </a:cubicBezTo>
                  <a:cubicBezTo>
                    <a:pt x="19008" y="16200"/>
                    <a:pt x="17280" y="16200"/>
                    <a:pt x="16416" y="17550"/>
                  </a:cubicBezTo>
                  <a:cubicBezTo>
                    <a:pt x="13824" y="18900"/>
                    <a:pt x="8640" y="21600"/>
                    <a:pt x="6048" y="20250"/>
                  </a:cubicBezTo>
                  <a:cubicBezTo>
                    <a:pt x="5184" y="18900"/>
                    <a:pt x="7776" y="21600"/>
                    <a:pt x="6048" y="202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 name="Shape 1833">
              <a:extLst>
                <a:ext uri="{FF2B5EF4-FFF2-40B4-BE49-F238E27FC236}">
                  <a16:creationId xmlns:a16="http://schemas.microsoft.com/office/drawing/2014/main" id="{3842A177-BAD1-2919-A215-B7E3D338A986}"/>
                </a:ext>
              </a:extLst>
            </p:cNvPr>
            <p:cNvSpPr/>
            <p:nvPr/>
          </p:nvSpPr>
          <p:spPr>
            <a:xfrm>
              <a:off x="10269854" y="611813"/>
              <a:ext cx="156333" cy="49096"/>
            </a:xfrm>
            <a:custGeom>
              <a:avLst/>
              <a:gdLst/>
              <a:ahLst/>
              <a:cxnLst>
                <a:cxn ang="0">
                  <a:pos x="wd2" y="hd2"/>
                </a:cxn>
                <a:cxn ang="5400000">
                  <a:pos x="wd2" y="hd2"/>
                </a:cxn>
                <a:cxn ang="10800000">
                  <a:pos x="wd2" y="hd2"/>
                </a:cxn>
                <a:cxn ang="16200000">
                  <a:pos x="wd2" y="hd2"/>
                </a:cxn>
              </a:cxnLst>
              <a:rect l="0" t="0" r="r" b="b"/>
              <a:pathLst>
                <a:path w="20304" h="19656" extrusionOk="0">
                  <a:moveTo>
                    <a:pt x="3814" y="6156"/>
                  </a:moveTo>
                  <a:cubicBezTo>
                    <a:pt x="2950" y="6156"/>
                    <a:pt x="2950" y="756"/>
                    <a:pt x="2086" y="756"/>
                  </a:cubicBezTo>
                  <a:cubicBezTo>
                    <a:pt x="2086" y="-1944"/>
                    <a:pt x="358" y="3456"/>
                    <a:pt x="358" y="3456"/>
                  </a:cubicBezTo>
                  <a:cubicBezTo>
                    <a:pt x="-506" y="8856"/>
                    <a:pt x="358" y="8856"/>
                    <a:pt x="1222" y="8856"/>
                  </a:cubicBezTo>
                  <a:cubicBezTo>
                    <a:pt x="2086" y="8856"/>
                    <a:pt x="2950" y="14256"/>
                    <a:pt x="3814" y="14256"/>
                  </a:cubicBezTo>
                  <a:cubicBezTo>
                    <a:pt x="7270" y="16956"/>
                    <a:pt x="9862" y="19656"/>
                    <a:pt x="13318" y="19656"/>
                  </a:cubicBezTo>
                  <a:cubicBezTo>
                    <a:pt x="14182" y="19656"/>
                    <a:pt x="21094" y="16956"/>
                    <a:pt x="20230" y="11556"/>
                  </a:cubicBezTo>
                  <a:cubicBezTo>
                    <a:pt x="19366" y="11556"/>
                    <a:pt x="19366" y="14256"/>
                    <a:pt x="19366" y="14256"/>
                  </a:cubicBezTo>
                  <a:cubicBezTo>
                    <a:pt x="18502" y="14256"/>
                    <a:pt x="17638" y="11556"/>
                    <a:pt x="16774" y="8856"/>
                  </a:cubicBezTo>
                  <a:cubicBezTo>
                    <a:pt x="15910" y="8856"/>
                    <a:pt x="14182" y="6156"/>
                    <a:pt x="12454" y="8856"/>
                  </a:cubicBezTo>
                  <a:cubicBezTo>
                    <a:pt x="11590" y="8856"/>
                    <a:pt x="9862" y="3456"/>
                    <a:pt x="8134" y="3456"/>
                  </a:cubicBezTo>
                  <a:cubicBezTo>
                    <a:pt x="6406" y="3456"/>
                    <a:pt x="5542" y="6156"/>
                    <a:pt x="3814" y="615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 name="Shape 1834">
              <a:extLst>
                <a:ext uri="{FF2B5EF4-FFF2-40B4-BE49-F238E27FC236}">
                  <a16:creationId xmlns:a16="http://schemas.microsoft.com/office/drawing/2014/main" id="{C8536A00-713C-A8C5-0123-7184CA9A601C}"/>
                </a:ext>
              </a:extLst>
            </p:cNvPr>
            <p:cNvSpPr/>
            <p:nvPr/>
          </p:nvSpPr>
          <p:spPr>
            <a:xfrm>
              <a:off x="10063507" y="720513"/>
              <a:ext cx="121728" cy="46051"/>
            </a:xfrm>
            <a:custGeom>
              <a:avLst/>
              <a:gdLst/>
              <a:ahLst/>
              <a:cxnLst>
                <a:cxn ang="0">
                  <a:pos x="wd2" y="hd2"/>
                </a:cxn>
                <a:cxn ang="5400000">
                  <a:pos x="wd2" y="hd2"/>
                </a:cxn>
                <a:cxn ang="10800000">
                  <a:pos x="wd2" y="hd2"/>
                </a:cxn>
                <a:cxn ang="16200000">
                  <a:pos x="wd2" y="hd2"/>
                </a:cxn>
              </a:cxnLst>
              <a:rect l="0" t="0" r="r" b="b"/>
              <a:pathLst>
                <a:path w="18870" h="18437" extrusionOk="0">
                  <a:moveTo>
                    <a:pt x="692" y="13037"/>
                  </a:moveTo>
                  <a:cubicBezTo>
                    <a:pt x="3778" y="13037"/>
                    <a:pt x="4806" y="13037"/>
                    <a:pt x="6864" y="13037"/>
                  </a:cubicBezTo>
                  <a:cubicBezTo>
                    <a:pt x="8921" y="15737"/>
                    <a:pt x="10978" y="15737"/>
                    <a:pt x="13035" y="18437"/>
                  </a:cubicBezTo>
                  <a:cubicBezTo>
                    <a:pt x="15092" y="18437"/>
                    <a:pt x="17149" y="18437"/>
                    <a:pt x="18178" y="15737"/>
                  </a:cubicBezTo>
                  <a:cubicBezTo>
                    <a:pt x="20235" y="13037"/>
                    <a:pt x="17149" y="10337"/>
                    <a:pt x="16121" y="7637"/>
                  </a:cubicBezTo>
                  <a:cubicBezTo>
                    <a:pt x="13035" y="2237"/>
                    <a:pt x="9949" y="-3163"/>
                    <a:pt x="5835" y="2237"/>
                  </a:cubicBezTo>
                  <a:cubicBezTo>
                    <a:pt x="3778" y="4937"/>
                    <a:pt x="3778" y="7637"/>
                    <a:pt x="2749" y="10337"/>
                  </a:cubicBezTo>
                  <a:cubicBezTo>
                    <a:pt x="1721" y="10337"/>
                    <a:pt x="-1365" y="13037"/>
                    <a:pt x="692" y="1303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 name="Shape 1835">
              <a:extLst>
                <a:ext uri="{FF2B5EF4-FFF2-40B4-BE49-F238E27FC236}">
                  <a16:creationId xmlns:a16="http://schemas.microsoft.com/office/drawing/2014/main" id="{866B1C56-FA97-277D-3B06-494BAF4FD461}"/>
                </a:ext>
              </a:extLst>
            </p:cNvPr>
            <p:cNvSpPr/>
            <p:nvPr/>
          </p:nvSpPr>
          <p:spPr>
            <a:xfrm>
              <a:off x="10069457" y="693349"/>
              <a:ext cx="34058" cy="26011"/>
            </a:xfrm>
            <a:custGeom>
              <a:avLst/>
              <a:gdLst/>
              <a:ahLst/>
              <a:cxnLst>
                <a:cxn ang="0">
                  <a:pos x="wd2" y="hd2"/>
                </a:cxn>
                <a:cxn ang="5400000">
                  <a:pos x="wd2" y="hd2"/>
                </a:cxn>
                <a:cxn ang="10800000">
                  <a:pos x="wd2" y="hd2"/>
                </a:cxn>
                <a:cxn ang="16200000">
                  <a:pos x="wd2" y="hd2"/>
                </a:cxn>
              </a:cxnLst>
              <a:rect l="0" t="0" r="r" b="b"/>
              <a:pathLst>
                <a:path w="13639" h="17851" extrusionOk="0">
                  <a:moveTo>
                    <a:pt x="4891" y="17851"/>
                  </a:moveTo>
                  <a:cubicBezTo>
                    <a:pt x="-3209" y="17851"/>
                    <a:pt x="-509" y="-3749"/>
                    <a:pt x="7591" y="571"/>
                  </a:cubicBezTo>
                  <a:cubicBezTo>
                    <a:pt x="18391" y="4891"/>
                    <a:pt x="12991" y="13531"/>
                    <a:pt x="4891" y="17851"/>
                  </a:cubicBezTo>
                  <a:cubicBezTo>
                    <a:pt x="-509" y="17851"/>
                    <a:pt x="10291" y="17851"/>
                    <a:pt x="4891" y="1785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 name="Shape 1836">
              <a:extLst>
                <a:ext uri="{FF2B5EF4-FFF2-40B4-BE49-F238E27FC236}">
                  <a16:creationId xmlns:a16="http://schemas.microsoft.com/office/drawing/2014/main" id="{7E54376E-59DC-EBB9-F51F-51B25CFC8A03}"/>
                </a:ext>
              </a:extLst>
            </p:cNvPr>
            <p:cNvSpPr/>
            <p:nvPr/>
          </p:nvSpPr>
          <p:spPr>
            <a:xfrm>
              <a:off x="9921351" y="598376"/>
              <a:ext cx="16482" cy="28816"/>
            </a:xfrm>
            <a:custGeom>
              <a:avLst/>
              <a:gdLst/>
              <a:ahLst/>
              <a:cxnLst>
                <a:cxn ang="0">
                  <a:pos x="wd2" y="hd2"/>
                </a:cxn>
                <a:cxn ang="5400000">
                  <a:pos x="wd2" y="hd2"/>
                </a:cxn>
                <a:cxn ang="10800000">
                  <a:pos x="wd2" y="hd2"/>
                </a:cxn>
                <a:cxn ang="16200000">
                  <a:pos x="wd2" y="hd2"/>
                </a:cxn>
              </a:cxnLst>
              <a:rect l="0" t="0" r="r" b="b"/>
              <a:pathLst>
                <a:path w="17600" h="18457" extrusionOk="0">
                  <a:moveTo>
                    <a:pt x="3200" y="9817"/>
                  </a:moveTo>
                  <a:cubicBezTo>
                    <a:pt x="-4000" y="5497"/>
                    <a:pt x="10400" y="-3143"/>
                    <a:pt x="17600" y="1177"/>
                  </a:cubicBezTo>
                  <a:cubicBezTo>
                    <a:pt x="17600" y="5497"/>
                    <a:pt x="10400" y="18457"/>
                    <a:pt x="3200" y="18457"/>
                  </a:cubicBezTo>
                  <a:cubicBezTo>
                    <a:pt x="3200" y="18457"/>
                    <a:pt x="3200" y="9817"/>
                    <a:pt x="3200" y="9817"/>
                  </a:cubicBezTo>
                  <a:cubicBezTo>
                    <a:pt x="-4000" y="5497"/>
                    <a:pt x="3200" y="9817"/>
                    <a:pt x="3200" y="98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 name="Shape 1837">
              <a:extLst>
                <a:ext uri="{FF2B5EF4-FFF2-40B4-BE49-F238E27FC236}">
                  <a16:creationId xmlns:a16="http://schemas.microsoft.com/office/drawing/2014/main" id="{C1D8D12B-6327-98BF-5509-653A2AD965D2}"/>
                </a:ext>
              </a:extLst>
            </p:cNvPr>
            <p:cNvSpPr/>
            <p:nvPr/>
          </p:nvSpPr>
          <p:spPr>
            <a:xfrm>
              <a:off x="9917607" y="697768"/>
              <a:ext cx="26970" cy="22673"/>
            </a:xfrm>
            <a:custGeom>
              <a:avLst/>
              <a:gdLst/>
              <a:ahLst/>
              <a:cxnLst>
                <a:cxn ang="0">
                  <a:pos x="wd2" y="hd2"/>
                </a:cxn>
                <a:cxn ang="5400000">
                  <a:pos x="wd2" y="hd2"/>
                </a:cxn>
                <a:cxn ang="10800000">
                  <a:pos x="wd2" y="hd2"/>
                </a:cxn>
                <a:cxn ang="16200000">
                  <a:pos x="wd2" y="hd2"/>
                </a:cxn>
              </a:cxnLst>
              <a:rect l="0" t="0" r="r" b="b"/>
              <a:pathLst>
                <a:path w="21600" h="14523" extrusionOk="0">
                  <a:moveTo>
                    <a:pt x="21600" y="13829"/>
                  </a:moveTo>
                  <a:cubicBezTo>
                    <a:pt x="21600" y="9509"/>
                    <a:pt x="5400" y="-3451"/>
                    <a:pt x="0" y="869"/>
                  </a:cubicBezTo>
                  <a:cubicBezTo>
                    <a:pt x="0" y="869"/>
                    <a:pt x="16200" y="18149"/>
                    <a:pt x="21600" y="138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 name="Shape 1838">
              <a:extLst>
                <a:ext uri="{FF2B5EF4-FFF2-40B4-BE49-F238E27FC236}">
                  <a16:creationId xmlns:a16="http://schemas.microsoft.com/office/drawing/2014/main" id="{95C9D4DD-BEA7-E2C3-C4C2-D37BF53D3C84}"/>
                </a:ext>
              </a:extLst>
            </p:cNvPr>
            <p:cNvSpPr/>
            <p:nvPr/>
          </p:nvSpPr>
          <p:spPr>
            <a:xfrm>
              <a:off x="9967817" y="568743"/>
              <a:ext cx="273418" cy="101788"/>
            </a:xfrm>
            <a:custGeom>
              <a:avLst/>
              <a:gdLst/>
              <a:ahLst/>
              <a:cxnLst>
                <a:cxn ang="0">
                  <a:pos x="wd2" y="hd2"/>
                </a:cxn>
                <a:cxn ang="5400000">
                  <a:pos x="wd2" y="hd2"/>
                </a:cxn>
                <a:cxn ang="10800000">
                  <a:pos x="wd2" y="hd2"/>
                </a:cxn>
                <a:cxn ang="16200000">
                  <a:pos x="wd2" y="hd2"/>
                </a:cxn>
              </a:cxnLst>
              <a:rect l="0" t="0" r="r" b="b"/>
              <a:pathLst>
                <a:path w="21192" h="20809" extrusionOk="0">
                  <a:moveTo>
                    <a:pt x="17078" y="5400"/>
                  </a:moveTo>
                  <a:cubicBezTo>
                    <a:pt x="16049" y="4050"/>
                    <a:pt x="15535" y="5400"/>
                    <a:pt x="14506" y="4050"/>
                  </a:cubicBezTo>
                  <a:cubicBezTo>
                    <a:pt x="14506" y="4050"/>
                    <a:pt x="11935" y="0"/>
                    <a:pt x="11421" y="0"/>
                  </a:cubicBezTo>
                  <a:cubicBezTo>
                    <a:pt x="11421" y="0"/>
                    <a:pt x="11935" y="1350"/>
                    <a:pt x="10906" y="2700"/>
                  </a:cubicBezTo>
                  <a:cubicBezTo>
                    <a:pt x="9878" y="2700"/>
                    <a:pt x="10906" y="6750"/>
                    <a:pt x="9878" y="8100"/>
                  </a:cubicBezTo>
                  <a:cubicBezTo>
                    <a:pt x="9363" y="8100"/>
                    <a:pt x="5763" y="1350"/>
                    <a:pt x="5249" y="1350"/>
                  </a:cubicBezTo>
                  <a:cubicBezTo>
                    <a:pt x="4221" y="0"/>
                    <a:pt x="1649" y="1350"/>
                    <a:pt x="1649" y="4050"/>
                  </a:cubicBezTo>
                  <a:cubicBezTo>
                    <a:pt x="1649" y="6750"/>
                    <a:pt x="-408" y="5400"/>
                    <a:pt x="621" y="8100"/>
                  </a:cubicBezTo>
                  <a:cubicBezTo>
                    <a:pt x="1135" y="9450"/>
                    <a:pt x="-408" y="12150"/>
                    <a:pt x="106" y="13500"/>
                  </a:cubicBezTo>
                  <a:cubicBezTo>
                    <a:pt x="1135" y="16200"/>
                    <a:pt x="2678" y="17550"/>
                    <a:pt x="4221" y="18900"/>
                  </a:cubicBezTo>
                  <a:cubicBezTo>
                    <a:pt x="4735" y="20250"/>
                    <a:pt x="5763" y="21600"/>
                    <a:pt x="6278" y="20250"/>
                  </a:cubicBezTo>
                  <a:cubicBezTo>
                    <a:pt x="6792" y="20250"/>
                    <a:pt x="6792" y="16200"/>
                    <a:pt x="7306" y="17550"/>
                  </a:cubicBezTo>
                  <a:cubicBezTo>
                    <a:pt x="7306" y="17550"/>
                    <a:pt x="7306" y="18900"/>
                    <a:pt x="7821" y="18900"/>
                  </a:cubicBezTo>
                  <a:cubicBezTo>
                    <a:pt x="8335" y="18900"/>
                    <a:pt x="8849" y="18900"/>
                    <a:pt x="8849" y="18900"/>
                  </a:cubicBezTo>
                  <a:cubicBezTo>
                    <a:pt x="9878" y="17550"/>
                    <a:pt x="10906" y="17550"/>
                    <a:pt x="12449" y="16200"/>
                  </a:cubicBezTo>
                  <a:cubicBezTo>
                    <a:pt x="13478" y="16200"/>
                    <a:pt x="13478" y="18900"/>
                    <a:pt x="13992" y="18900"/>
                  </a:cubicBezTo>
                  <a:cubicBezTo>
                    <a:pt x="14506" y="18900"/>
                    <a:pt x="17078" y="17550"/>
                    <a:pt x="17078" y="17550"/>
                  </a:cubicBezTo>
                  <a:cubicBezTo>
                    <a:pt x="17078" y="17550"/>
                    <a:pt x="16563" y="16200"/>
                    <a:pt x="16563" y="16200"/>
                  </a:cubicBezTo>
                  <a:cubicBezTo>
                    <a:pt x="16563" y="14850"/>
                    <a:pt x="18106" y="16200"/>
                    <a:pt x="18621" y="16200"/>
                  </a:cubicBezTo>
                  <a:cubicBezTo>
                    <a:pt x="18621" y="16200"/>
                    <a:pt x="19649" y="16200"/>
                    <a:pt x="19649" y="14850"/>
                  </a:cubicBezTo>
                  <a:cubicBezTo>
                    <a:pt x="19649" y="13500"/>
                    <a:pt x="20163" y="12150"/>
                    <a:pt x="20163" y="12150"/>
                  </a:cubicBezTo>
                  <a:cubicBezTo>
                    <a:pt x="20163" y="12150"/>
                    <a:pt x="20163" y="12150"/>
                    <a:pt x="19649" y="12150"/>
                  </a:cubicBezTo>
                  <a:cubicBezTo>
                    <a:pt x="19649" y="10800"/>
                    <a:pt x="21192" y="9450"/>
                    <a:pt x="21192" y="8100"/>
                  </a:cubicBezTo>
                  <a:cubicBezTo>
                    <a:pt x="20678" y="6750"/>
                    <a:pt x="18106" y="5400"/>
                    <a:pt x="17078" y="5400"/>
                  </a:cubicBezTo>
                  <a:cubicBezTo>
                    <a:pt x="16049" y="4050"/>
                    <a:pt x="18106" y="5400"/>
                    <a:pt x="17078" y="5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 name="Shape 1839">
              <a:extLst>
                <a:ext uri="{FF2B5EF4-FFF2-40B4-BE49-F238E27FC236}">
                  <a16:creationId xmlns:a16="http://schemas.microsoft.com/office/drawing/2014/main" id="{08E5F108-3927-1595-251C-3247BA07FC2B}"/>
                </a:ext>
              </a:extLst>
            </p:cNvPr>
            <p:cNvSpPr/>
            <p:nvPr/>
          </p:nvSpPr>
          <p:spPr>
            <a:xfrm>
              <a:off x="10139183" y="600215"/>
              <a:ext cx="28171" cy="45213"/>
            </a:xfrm>
            <a:custGeom>
              <a:avLst/>
              <a:gdLst/>
              <a:ahLst/>
              <a:cxnLst>
                <a:cxn ang="0">
                  <a:pos x="wd2" y="hd2"/>
                </a:cxn>
                <a:cxn ang="5400000">
                  <a:pos x="wd2" y="hd2"/>
                </a:cxn>
                <a:cxn ang="10800000">
                  <a:pos x="wd2" y="hd2"/>
                </a:cxn>
                <a:cxn ang="16200000">
                  <a:pos x="wd2" y="hd2"/>
                </a:cxn>
              </a:cxnLst>
              <a:rect l="0" t="0" r="r" b="b"/>
              <a:pathLst>
                <a:path w="11772" h="18101" extrusionOk="0">
                  <a:moveTo>
                    <a:pt x="11772" y="16200"/>
                  </a:moveTo>
                  <a:cubicBezTo>
                    <a:pt x="9072" y="18900"/>
                    <a:pt x="-7128" y="2700"/>
                    <a:pt x="3672" y="0"/>
                  </a:cubicBezTo>
                  <a:cubicBezTo>
                    <a:pt x="6372" y="0"/>
                    <a:pt x="14472" y="0"/>
                    <a:pt x="9072" y="5400"/>
                  </a:cubicBezTo>
                  <a:cubicBezTo>
                    <a:pt x="972" y="10800"/>
                    <a:pt x="11772" y="10800"/>
                    <a:pt x="11772" y="16200"/>
                  </a:cubicBezTo>
                  <a:cubicBezTo>
                    <a:pt x="9072" y="21600"/>
                    <a:pt x="11772" y="13500"/>
                    <a:pt x="11772"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 name="Shape 1840">
              <a:extLst>
                <a:ext uri="{FF2B5EF4-FFF2-40B4-BE49-F238E27FC236}">
                  <a16:creationId xmlns:a16="http://schemas.microsoft.com/office/drawing/2014/main" id="{DB49290B-69D2-7290-392C-41DC6B9F7726}"/>
                </a:ext>
              </a:extLst>
            </p:cNvPr>
            <p:cNvSpPr/>
            <p:nvPr/>
          </p:nvSpPr>
          <p:spPr>
            <a:xfrm>
              <a:off x="10989102" y="961390"/>
              <a:ext cx="49146" cy="26954"/>
            </a:xfrm>
            <a:custGeom>
              <a:avLst/>
              <a:gdLst/>
              <a:ahLst/>
              <a:cxnLst>
                <a:cxn ang="0">
                  <a:pos x="wd2" y="hd2"/>
                </a:cxn>
                <a:cxn ang="5400000">
                  <a:pos x="wd2" y="hd2"/>
                </a:cxn>
                <a:cxn ang="10800000">
                  <a:pos x="wd2" y="hd2"/>
                </a:cxn>
                <a:cxn ang="16200000">
                  <a:pos x="wd2" y="hd2"/>
                </a:cxn>
              </a:cxnLst>
              <a:rect l="0" t="0" r="r" b="b"/>
              <a:pathLst>
                <a:path w="14761" h="14388" extrusionOk="0">
                  <a:moveTo>
                    <a:pt x="4698" y="12400"/>
                  </a:moveTo>
                  <a:cubicBezTo>
                    <a:pt x="771" y="8800"/>
                    <a:pt x="-1193" y="8800"/>
                    <a:pt x="771" y="1600"/>
                  </a:cubicBezTo>
                  <a:cubicBezTo>
                    <a:pt x="2734" y="-2000"/>
                    <a:pt x="6662" y="1600"/>
                    <a:pt x="10589" y="1600"/>
                  </a:cubicBezTo>
                  <a:cubicBezTo>
                    <a:pt x="20407" y="5200"/>
                    <a:pt x="10589" y="19600"/>
                    <a:pt x="4698" y="12400"/>
                  </a:cubicBezTo>
                  <a:cubicBezTo>
                    <a:pt x="2734" y="8800"/>
                    <a:pt x="6662" y="16000"/>
                    <a:pt x="4698" y="1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 name="Shape 1841">
              <a:extLst>
                <a:ext uri="{FF2B5EF4-FFF2-40B4-BE49-F238E27FC236}">
                  <a16:creationId xmlns:a16="http://schemas.microsoft.com/office/drawing/2014/main" id="{F48E093A-4A63-627A-A303-12F002538A99}"/>
                </a:ext>
              </a:extLst>
            </p:cNvPr>
            <p:cNvSpPr/>
            <p:nvPr/>
          </p:nvSpPr>
          <p:spPr>
            <a:xfrm>
              <a:off x="10845786" y="1541374"/>
              <a:ext cx="36708" cy="25120"/>
            </a:xfrm>
            <a:custGeom>
              <a:avLst/>
              <a:gdLst/>
              <a:ahLst/>
              <a:cxnLst>
                <a:cxn ang="0">
                  <a:pos x="wd2" y="hd2"/>
                </a:cxn>
                <a:cxn ang="5400000">
                  <a:pos x="wd2" y="hd2"/>
                </a:cxn>
                <a:cxn ang="10800000">
                  <a:pos x="wd2" y="hd2"/>
                </a:cxn>
                <a:cxn ang="16200000">
                  <a:pos x="wd2" y="hd2"/>
                </a:cxn>
              </a:cxnLst>
              <a:rect l="0" t="0" r="r" b="b"/>
              <a:pathLst>
                <a:path w="19600" h="16090" extrusionOk="0">
                  <a:moveTo>
                    <a:pt x="18000" y="6240"/>
                  </a:moveTo>
                  <a:cubicBezTo>
                    <a:pt x="21600" y="6240"/>
                    <a:pt x="18000" y="1920"/>
                    <a:pt x="18000" y="1920"/>
                  </a:cubicBezTo>
                  <a:cubicBezTo>
                    <a:pt x="14400" y="-2400"/>
                    <a:pt x="10800" y="1920"/>
                    <a:pt x="7200" y="1920"/>
                  </a:cubicBezTo>
                  <a:cubicBezTo>
                    <a:pt x="3600" y="1920"/>
                    <a:pt x="0" y="6240"/>
                    <a:pt x="3600" y="10560"/>
                  </a:cubicBezTo>
                  <a:cubicBezTo>
                    <a:pt x="3600" y="10560"/>
                    <a:pt x="0" y="19200"/>
                    <a:pt x="0" y="14880"/>
                  </a:cubicBezTo>
                  <a:cubicBezTo>
                    <a:pt x="0" y="14880"/>
                    <a:pt x="18000" y="6240"/>
                    <a:pt x="18000" y="6240"/>
                  </a:cubicBezTo>
                  <a:cubicBezTo>
                    <a:pt x="21600" y="6240"/>
                    <a:pt x="10800" y="10560"/>
                    <a:pt x="18000" y="62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 name="Shape 1842">
              <a:extLst>
                <a:ext uri="{FF2B5EF4-FFF2-40B4-BE49-F238E27FC236}">
                  <a16:creationId xmlns:a16="http://schemas.microsoft.com/office/drawing/2014/main" id="{892817E5-0124-F838-7696-45F676120345}"/>
                </a:ext>
              </a:extLst>
            </p:cNvPr>
            <p:cNvSpPr/>
            <p:nvPr/>
          </p:nvSpPr>
          <p:spPr>
            <a:xfrm>
              <a:off x="9976759" y="1730955"/>
              <a:ext cx="20551" cy="17985"/>
            </a:xfrm>
            <a:custGeom>
              <a:avLst/>
              <a:gdLst/>
              <a:ahLst/>
              <a:cxnLst>
                <a:cxn ang="0">
                  <a:pos x="wd2" y="hd2"/>
                </a:cxn>
                <a:cxn ang="5400000">
                  <a:pos x="wd2" y="hd2"/>
                </a:cxn>
                <a:cxn ang="10800000">
                  <a:pos x="wd2" y="hd2"/>
                </a:cxn>
                <a:cxn ang="16200000">
                  <a:pos x="wd2" y="hd2"/>
                </a:cxn>
              </a:cxnLst>
              <a:rect l="0" t="0" r="r" b="b"/>
              <a:pathLst>
                <a:path w="13168" h="21600" extrusionOk="0">
                  <a:moveTo>
                    <a:pt x="8179" y="21600"/>
                  </a:moveTo>
                  <a:cubicBezTo>
                    <a:pt x="-461" y="21600"/>
                    <a:pt x="-4781" y="7200"/>
                    <a:pt x="8179" y="0"/>
                  </a:cubicBezTo>
                  <a:cubicBezTo>
                    <a:pt x="16819" y="0"/>
                    <a:pt x="12499" y="21600"/>
                    <a:pt x="8179"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 name="Shape 1843">
              <a:extLst>
                <a:ext uri="{FF2B5EF4-FFF2-40B4-BE49-F238E27FC236}">
                  <a16:creationId xmlns:a16="http://schemas.microsoft.com/office/drawing/2014/main" id="{5553745E-B3F1-9C87-8E8D-C18547B8B15C}"/>
                </a:ext>
              </a:extLst>
            </p:cNvPr>
            <p:cNvSpPr/>
            <p:nvPr/>
          </p:nvSpPr>
          <p:spPr>
            <a:xfrm>
              <a:off x="10568464" y="1933356"/>
              <a:ext cx="27861" cy="26894"/>
            </a:xfrm>
            <a:custGeom>
              <a:avLst/>
              <a:gdLst/>
              <a:ahLst/>
              <a:cxnLst>
                <a:cxn ang="0">
                  <a:pos x="wd2" y="hd2"/>
                </a:cxn>
                <a:cxn ang="5400000">
                  <a:pos x="wd2" y="hd2"/>
                </a:cxn>
                <a:cxn ang="10800000">
                  <a:pos x="wd2" y="hd2"/>
                </a:cxn>
                <a:cxn ang="16200000">
                  <a:pos x="wd2" y="hd2"/>
                </a:cxn>
              </a:cxnLst>
              <a:rect l="0" t="0" r="r" b="b"/>
              <a:pathLst>
                <a:path w="17851" h="18457" extrusionOk="0">
                  <a:moveTo>
                    <a:pt x="17851" y="1177"/>
                  </a:moveTo>
                  <a:cubicBezTo>
                    <a:pt x="17851" y="1177"/>
                    <a:pt x="-3749" y="18457"/>
                    <a:pt x="571" y="18457"/>
                  </a:cubicBezTo>
                  <a:cubicBezTo>
                    <a:pt x="4891" y="18457"/>
                    <a:pt x="13531" y="9817"/>
                    <a:pt x="13531" y="9817"/>
                  </a:cubicBezTo>
                  <a:cubicBezTo>
                    <a:pt x="17851" y="5497"/>
                    <a:pt x="17851" y="-3143"/>
                    <a:pt x="17851" y="117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 name="Shape 1844">
              <a:extLst>
                <a:ext uri="{FF2B5EF4-FFF2-40B4-BE49-F238E27FC236}">
                  <a16:creationId xmlns:a16="http://schemas.microsoft.com/office/drawing/2014/main" id="{53FCFDBF-D90D-0B10-9324-F0EEB760EC8C}"/>
                </a:ext>
              </a:extLst>
            </p:cNvPr>
            <p:cNvSpPr/>
            <p:nvPr/>
          </p:nvSpPr>
          <p:spPr>
            <a:xfrm>
              <a:off x="10546133" y="1980480"/>
              <a:ext cx="5995" cy="6745"/>
            </a:xfrm>
            <a:custGeom>
              <a:avLst/>
              <a:gdLst/>
              <a:ahLst/>
              <a:cxnLst>
                <a:cxn ang="0">
                  <a:pos x="wd2" y="hd2"/>
                </a:cxn>
                <a:cxn ang="5400000">
                  <a:pos x="wd2" y="hd2"/>
                </a:cxn>
                <a:cxn ang="10800000">
                  <a:pos x="wd2" y="hd2"/>
                </a:cxn>
                <a:cxn ang="16200000">
                  <a:pos x="wd2" y="hd2"/>
                </a:cxn>
              </a:cxnLst>
              <a:rect l="0" t="0" r="r" b="b"/>
              <a:pathLst>
                <a:path w="9600" h="21600" extrusionOk="0">
                  <a:moveTo>
                    <a:pt x="4800" y="0"/>
                  </a:moveTo>
                  <a:cubicBezTo>
                    <a:pt x="4800" y="0"/>
                    <a:pt x="-6000" y="21600"/>
                    <a:pt x="4800" y="21600"/>
                  </a:cubicBezTo>
                  <a:cubicBezTo>
                    <a:pt x="4800" y="21600"/>
                    <a:pt x="15600" y="0"/>
                    <a:pt x="4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 name="Shape 1845">
              <a:extLst>
                <a:ext uri="{FF2B5EF4-FFF2-40B4-BE49-F238E27FC236}">
                  <a16:creationId xmlns:a16="http://schemas.microsoft.com/office/drawing/2014/main" id="{48A61CFF-03EB-84C5-63E3-8372D7969768}"/>
                </a:ext>
              </a:extLst>
            </p:cNvPr>
            <p:cNvSpPr/>
            <p:nvPr/>
          </p:nvSpPr>
          <p:spPr>
            <a:xfrm>
              <a:off x="10455099" y="2086137"/>
              <a:ext cx="10518" cy="6744"/>
            </a:xfrm>
            <a:custGeom>
              <a:avLst/>
              <a:gdLst/>
              <a:ahLst/>
              <a:cxnLst>
                <a:cxn ang="0">
                  <a:pos x="wd2" y="hd2"/>
                </a:cxn>
                <a:cxn ang="5400000">
                  <a:pos x="wd2" y="hd2"/>
                </a:cxn>
                <a:cxn ang="10800000">
                  <a:pos x="wd2" y="hd2"/>
                </a:cxn>
                <a:cxn ang="16200000">
                  <a:pos x="wd2" y="hd2"/>
                </a:cxn>
              </a:cxnLst>
              <a:rect l="0" t="0" r="r" b="b"/>
              <a:pathLst>
                <a:path w="11232" h="21600" extrusionOk="0">
                  <a:moveTo>
                    <a:pt x="9216" y="0"/>
                  </a:moveTo>
                  <a:cubicBezTo>
                    <a:pt x="9216" y="0"/>
                    <a:pt x="-5184" y="21600"/>
                    <a:pt x="2016" y="21600"/>
                  </a:cubicBezTo>
                  <a:cubicBezTo>
                    <a:pt x="2016" y="21600"/>
                    <a:pt x="16416" y="0"/>
                    <a:pt x="9216"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 name="Shape 1846">
              <a:extLst>
                <a:ext uri="{FF2B5EF4-FFF2-40B4-BE49-F238E27FC236}">
                  <a16:creationId xmlns:a16="http://schemas.microsoft.com/office/drawing/2014/main" id="{78A858D9-D0B1-A9EC-193C-423F1E68C051}"/>
                </a:ext>
              </a:extLst>
            </p:cNvPr>
            <p:cNvSpPr/>
            <p:nvPr/>
          </p:nvSpPr>
          <p:spPr>
            <a:xfrm>
              <a:off x="10377440" y="2119857"/>
              <a:ext cx="35485" cy="21315"/>
            </a:xfrm>
            <a:custGeom>
              <a:avLst/>
              <a:gdLst/>
              <a:ahLst/>
              <a:cxnLst>
                <a:cxn ang="0">
                  <a:pos x="wd2" y="hd2"/>
                </a:cxn>
                <a:cxn ang="5400000">
                  <a:pos x="wd2" y="hd2"/>
                </a:cxn>
                <a:cxn ang="10800000">
                  <a:pos x="wd2" y="hd2"/>
                </a:cxn>
                <a:cxn ang="16200000">
                  <a:pos x="wd2" y="hd2"/>
                </a:cxn>
              </a:cxnLst>
              <a:rect l="0" t="0" r="r" b="b"/>
              <a:pathLst>
                <a:path w="16240" h="17067" extrusionOk="0">
                  <a:moveTo>
                    <a:pt x="15834" y="0"/>
                  </a:moveTo>
                  <a:cubicBezTo>
                    <a:pt x="12749" y="0"/>
                    <a:pt x="-2680" y="10800"/>
                    <a:pt x="406" y="16200"/>
                  </a:cubicBezTo>
                  <a:cubicBezTo>
                    <a:pt x="3491" y="21600"/>
                    <a:pt x="18920" y="0"/>
                    <a:pt x="1583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 name="Shape 1847">
              <a:extLst>
                <a:ext uri="{FF2B5EF4-FFF2-40B4-BE49-F238E27FC236}">
                  <a16:creationId xmlns:a16="http://schemas.microsoft.com/office/drawing/2014/main" id="{35F1E388-4D78-A238-82D3-E96709618578}"/>
                </a:ext>
              </a:extLst>
            </p:cNvPr>
            <p:cNvSpPr/>
            <p:nvPr/>
          </p:nvSpPr>
          <p:spPr>
            <a:xfrm>
              <a:off x="10325420" y="2146832"/>
              <a:ext cx="29143" cy="19540"/>
            </a:xfrm>
            <a:custGeom>
              <a:avLst/>
              <a:gdLst/>
              <a:ahLst/>
              <a:cxnLst>
                <a:cxn ang="0">
                  <a:pos x="wd2" y="hd2"/>
                </a:cxn>
                <a:cxn ang="5400000">
                  <a:pos x="wd2" y="hd2"/>
                </a:cxn>
                <a:cxn ang="10800000">
                  <a:pos x="wd2" y="hd2"/>
                </a:cxn>
                <a:cxn ang="16200000">
                  <a:pos x="wd2" y="hd2"/>
                </a:cxn>
              </a:cxnLst>
              <a:rect l="0" t="0" r="r" b="b"/>
              <a:pathLst>
                <a:path w="16476" h="17067" extrusionOk="0">
                  <a:moveTo>
                    <a:pt x="14876" y="0"/>
                  </a:moveTo>
                  <a:cubicBezTo>
                    <a:pt x="14876" y="0"/>
                    <a:pt x="-3124" y="10800"/>
                    <a:pt x="476" y="16200"/>
                  </a:cubicBezTo>
                  <a:cubicBezTo>
                    <a:pt x="4076" y="21600"/>
                    <a:pt x="14876" y="0"/>
                    <a:pt x="14876" y="0"/>
                  </a:cubicBezTo>
                  <a:cubicBezTo>
                    <a:pt x="14876" y="0"/>
                    <a:pt x="18476" y="0"/>
                    <a:pt x="14876"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 name="Shape 1848">
              <a:extLst>
                <a:ext uri="{FF2B5EF4-FFF2-40B4-BE49-F238E27FC236}">
                  <a16:creationId xmlns:a16="http://schemas.microsoft.com/office/drawing/2014/main" id="{802C57D1-5CED-E193-64BF-6F91484F572F}"/>
                </a:ext>
              </a:extLst>
            </p:cNvPr>
            <p:cNvSpPr/>
            <p:nvPr/>
          </p:nvSpPr>
          <p:spPr>
            <a:xfrm>
              <a:off x="10286182" y="2167064"/>
              <a:ext cx="29966" cy="26011"/>
            </a:xfrm>
            <a:custGeom>
              <a:avLst/>
              <a:gdLst/>
              <a:ahLst/>
              <a:cxnLst>
                <a:cxn ang="0">
                  <a:pos x="wd2" y="hd2"/>
                </a:cxn>
                <a:cxn ang="5400000">
                  <a:pos x="wd2" y="hd2"/>
                </a:cxn>
                <a:cxn ang="10800000">
                  <a:pos x="wd2" y="hd2"/>
                </a:cxn>
                <a:cxn ang="16200000">
                  <a:pos x="wd2" y="hd2"/>
                </a:cxn>
              </a:cxnLst>
              <a:rect l="0" t="0" r="r" b="b"/>
              <a:pathLst>
                <a:path w="19200" h="17851" extrusionOk="0">
                  <a:moveTo>
                    <a:pt x="17280" y="0"/>
                  </a:moveTo>
                  <a:cubicBezTo>
                    <a:pt x="17280" y="0"/>
                    <a:pt x="0" y="17280"/>
                    <a:pt x="0" y="17280"/>
                  </a:cubicBezTo>
                  <a:cubicBezTo>
                    <a:pt x="8640" y="21600"/>
                    <a:pt x="17280" y="0"/>
                    <a:pt x="17280" y="0"/>
                  </a:cubicBezTo>
                  <a:cubicBezTo>
                    <a:pt x="17280" y="0"/>
                    <a:pt x="21600" y="0"/>
                    <a:pt x="1728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 name="Shape 1849">
              <a:extLst>
                <a:ext uri="{FF2B5EF4-FFF2-40B4-BE49-F238E27FC236}">
                  <a16:creationId xmlns:a16="http://schemas.microsoft.com/office/drawing/2014/main" id="{4C058507-19AA-6919-43BC-ACA415E4E912}"/>
                </a:ext>
              </a:extLst>
            </p:cNvPr>
            <p:cNvSpPr/>
            <p:nvPr/>
          </p:nvSpPr>
          <p:spPr>
            <a:xfrm>
              <a:off x="10281126" y="2212023"/>
              <a:ext cx="5057" cy="6745"/>
            </a:xfrm>
            <a:custGeom>
              <a:avLst/>
              <a:gdLst/>
              <a:ahLst/>
              <a:cxnLst>
                <a:cxn ang="0">
                  <a:pos x="wd2" y="hd2"/>
                </a:cxn>
                <a:cxn ang="5400000">
                  <a:pos x="wd2" y="hd2"/>
                </a:cxn>
                <a:cxn ang="10800000">
                  <a:pos x="wd2" y="hd2"/>
                </a:cxn>
                <a:cxn ang="16200000">
                  <a:pos x="wd2" y="hd2"/>
                </a:cxn>
              </a:cxnLst>
              <a:rect l="0" t="0" r="r" b="b"/>
              <a:pathLst>
                <a:path w="16200" h="21600" extrusionOk="0">
                  <a:moveTo>
                    <a:pt x="16200" y="0"/>
                  </a:moveTo>
                  <a:cubicBezTo>
                    <a:pt x="-5400" y="0"/>
                    <a:pt x="-5400" y="21600"/>
                    <a:pt x="16200" y="21600"/>
                  </a:cubicBezTo>
                  <a:cubicBezTo>
                    <a:pt x="16200" y="21600"/>
                    <a:pt x="16200" y="0"/>
                    <a:pt x="162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 name="Shape 1850">
              <a:extLst>
                <a:ext uri="{FF2B5EF4-FFF2-40B4-BE49-F238E27FC236}">
                  <a16:creationId xmlns:a16="http://schemas.microsoft.com/office/drawing/2014/main" id="{972BC973-B865-B83A-50E5-EB5905693CC1}"/>
                </a:ext>
              </a:extLst>
            </p:cNvPr>
            <p:cNvSpPr/>
            <p:nvPr/>
          </p:nvSpPr>
          <p:spPr>
            <a:xfrm>
              <a:off x="10245728" y="2188794"/>
              <a:ext cx="28916" cy="23230"/>
            </a:xfrm>
            <a:custGeom>
              <a:avLst/>
              <a:gdLst/>
              <a:ahLst/>
              <a:cxnLst>
                <a:cxn ang="0">
                  <a:pos x="wd2" y="hd2"/>
                </a:cxn>
                <a:cxn ang="5400000">
                  <a:pos x="wd2" y="hd2"/>
                </a:cxn>
                <a:cxn ang="10800000">
                  <a:pos x="wd2" y="hd2"/>
                </a:cxn>
                <a:cxn ang="16200000">
                  <a:pos x="wd2" y="hd2"/>
                </a:cxn>
              </a:cxnLst>
              <a:rect l="0" t="0" r="r" b="b"/>
              <a:pathLst>
                <a:path w="18527" h="18600" extrusionOk="0">
                  <a:moveTo>
                    <a:pt x="17280" y="2400"/>
                  </a:moveTo>
                  <a:cubicBezTo>
                    <a:pt x="8640" y="7800"/>
                    <a:pt x="0" y="13200"/>
                    <a:pt x="0" y="18600"/>
                  </a:cubicBezTo>
                  <a:cubicBezTo>
                    <a:pt x="0" y="18600"/>
                    <a:pt x="17280" y="2400"/>
                    <a:pt x="17280" y="2400"/>
                  </a:cubicBezTo>
                  <a:cubicBezTo>
                    <a:pt x="12960" y="2400"/>
                    <a:pt x="21600" y="-3000"/>
                    <a:pt x="17280" y="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 name="Shape 1851">
              <a:extLst>
                <a:ext uri="{FF2B5EF4-FFF2-40B4-BE49-F238E27FC236}">
                  <a16:creationId xmlns:a16="http://schemas.microsoft.com/office/drawing/2014/main" id="{87AC36D2-8AD3-B1DF-CDE5-09D92B80C1B5}"/>
                </a:ext>
              </a:extLst>
            </p:cNvPr>
            <p:cNvSpPr/>
            <p:nvPr/>
          </p:nvSpPr>
          <p:spPr>
            <a:xfrm>
              <a:off x="10006754" y="2430079"/>
              <a:ext cx="8054" cy="20232"/>
            </a:xfrm>
            <a:custGeom>
              <a:avLst/>
              <a:gdLst/>
              <a:ahLst/>
              <a:cxnLst>
                <a:cxn ang="0">
                  <a:pos x="wd2" y="hd2"/>
                </a:cxn>
                <a:cxn ang="5400000">
                  <a:pos x="wd2" y="hd2"/>
                </a:cxn>
                <a:cxn ang="10800000">
                  <a:pos x="wd2" y="hd2"/>
                </a:cxn>
                <a:cxn ang="16200000">
                  <a:pos x="wd2" y="hd2"/>
                </a:cxn>
              </a:cxnLst>
              <a:rect l="0" t="0" r="r" b="b"/>
              <a:pathLst>
                <a:path w="12900" h="21600" extrusionOk="0">
                  <a:moveTo>
                    <a:pt x="4800" y="0"/>
                  </a:moveTo>
                  <a:cubicBezTo>
                    <a:pt x="4800" y="0"/>
                    <a:pt x="-6000" y="21600"/>
                    <a:pt x="4800" y="21600"/>
                  </a:cubicBezTo>
                  <a:cubicBezTo>
                    <a:pt x="15600" y="21600"/>
                    <a:pt x="15600" y="0"/>
                    <a:pt x="4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 name="Shape 1852">
              <a:extLst>
                <a:ext uri="{FF2B5EF4-FFF2-40B4-BE49-F238E27FC236}">
                  <a16:creationId xmlns:a16="http://schemas.microsoft.com/office/drawing/2014/main" id="{E8674A2F-08D8-72CD-61EA-AC926529CC97}"/>
                </a:ext>
              </a:extLst>
            </p:cNvPr>
            <p:cNvSpPr/>
            <p:nvPr/>
          </p:nvSpPr>
          <p:spPr>
            <a:xfrm>
              <a:off x="10055379" y="2152357"/>
              <a:ext cx="197093" cy="160542"/>
            </a:xfrm>
            <a:custGeom>
              <a:avLst/>
              <a:gdLst/>
              <a:ahLst/>
              <a:cxnLst>
                <a:cxn ang="0">
                  <a:pos x="wd2" y="hd2"/>
                </a:cxn>
                <a:cxn ang="5400000">
                  <a:pos x="wd2" y="hd2"/>
                </a:cxn>
                <a:cxn ang="10800000">
                  <a:pos x="wd2" y="hd2"/>
                </a:cxn>
                <a:cxn ang="16200000">
                  <a:pos x="wd2" y="hd2"/>
                </a:cxn>
              </a:cxnLst>
              <a:rect l="0" t="0" r="r" b="b"/>
              <a:pathLst>
                <a:path w="21048" h="20297" extrusionOk="0">
                  <a:moveTo>
                    <a:pt x="18958" y="7609"/>
                  </a:moveTo>
                  <a:cubicBezTo>
                    <a:pt x="18958" y="7609"/>
                    <a:pt x="19654" y="5947"/>
                    <a:pt x="19654" y="5116"/>
                  </a:cubicBezTo>
                  <a:cubicBezTo>
                    <a:pt x="19654" y="5947"/>
                    <a:pt x="18261" y="7609"/>
                    <a:pt x="18261" y="7609"/>
                  </a:cubicBezTo>
                  <a:cubicBezTo>
                    <a:pt x="16867" y="7609"/>
                    <a:pt x="14080" y="6778"/>
                    <a:pt x="13383" y="5947"/>
                  </a:cubicBezTo>
                  <a:cubicBezTo>
                    <a:pt x="11293" y="5116"/>
                    <a:pt x="9900" y="963"/>
                    <a:pt x="7113" y="132"/>
                  </a:cubicBezTo>
                  <a:cubicBezTo>
                    <a:pt x="5719" y="-699"/>
                    <a:pt x="6416" y="2624"/>
                    <a:pt x="7113" y="3455"/>
                  </a:cubicBezTo>
                  <a:cubicBezTo>
                    <a:pt x="7113" y="5116"/>
                    <a:pt x="6416" y="6778"/>
                    <a:pt x="5719" y="8439"/>
                  </a:cubicBezTo>
                  <a:cubicBezTo>
                    <a:pt x="5022" y="9270"/>
                    <a:pt x="6416" y="11763"/>
                    <a:pt x="4325" y="10932"/>
                  </a:cubicBezTo>
                  <a:cubicBezTo>
                    <a:pt x="4325" y="10932"/>
                    <a:pt x="2932" y="10101"/>
                    <a:pt x="2235" y="10932"/>
                  </a:cubicBezTo>
                  <a:cubicBezTo>
                    <a:pt x="2235" y="11763"/>
                    <a:pt x="2932" y="12593"/>
                    <a:pt x="2932" y="12593"/>
                  </a:cubicBezTo>
                  <a:cubicBezTo>
                    <a:pt x="2932" y="12593"/>
                    <a:pt x="842" y="14255"/>
                    <a:pt x="145" y="14255"/>
                  </a:cubicBezTo>
                  <a:cubicBezTo>
                    <a:pt x="-552" y="15916"/>
                    <a:pt x="1538" y="16747"/>
                    <a:pt x="842" y="18409"/>
                  </a:cubicBezTo>
                  <a:cubicBezTo>
                    <a:pt x="145" y="19239"/>
                    <a:pt x="1538" y="20901"/>
                    <a:pt x="2235" y="20070"/>
                  </a:cubicBezTo>
                  <a:cubicBezTo>
                    <a:pt x="2932" y="19239"/>
                    <a:pt x="2932" y="18409"/>
                    <a:pt x="3629" y="18409"/>
                  </a:cubicBezTo>
                  <a:cubicBezTo>
                    <a:pt x="3629" y="18409"/>
                    <a:pt x="4325" y="19239"/>
                    <a:pt x="4325" y="18409"/>
                  </a:cubicBezTo>
                  <a:cubicBezTo>
                    <a:pt x="4325" y="17578"/>
                    <a:pt x="2932" y="16747"/>
                    <a:pt x="2235" y="15916"/>
                  </a:cubicBezTo>
                  <a:cubicBezTo>
                    <a:pt x="1538" y="14255"/>
                    <a:pt x="4325" y="15086"/>
                    <a:pt x="4325" y="15086"/>
                  </a:cubicBezTo>
                  <a:cubicBezTo>
                    <a:pt x="5719" y="15086"/>
                    <a:pt x="6416" y="13424"/>
                    <a:pt x="7809" y="14255"/>
                  </a:cubicBezTo>
                  <a:cubicBezTo>
                    <a:pt x="9203" y="15086"/>
                    <a:pt x="9900" y="15916"/>
                    <a:pt x="11293" y="16747"/>
                  </a:cubicBezTo>
                  <a:cubicBezTo>
                    <a:pt x="13383" y="18409"/>
                    <a:pt x="12687" y="13424"/>
                    <a:pt x="14080" y="12593"/>
                  </a:cubicBezTo>
                  <a:cubicBezTo>
                    <a:pt x="14080" y="12593"/>
                    <a:pt x="21048" y="12593"/>
                    <a:pt x="21048" y="10932"/>
                  </a:cubicBezTo>
                  <a:cubicBezTo>
                    <a:pt x="20351" y="10101"/>
                    <a:pt x="18261" y="11763"/>
                    <a:pt x="19654" y="9270"/>
                  </a:cubicBezTo>
                  <a:cubicBezTo>
                    <a:pt x="20351" y="8439"/>
                    <a:pt x="18261" y="9270"/>
                    <a:pt x="18958" y="7609"/>
                  </a:cubicBezTo>
                  <a:cubicBezTo>
                    <a:pt x="19654" y="5116"/>
                    <a:pt x="18958" y="8439"/>
                    <a:pt x="18958" y="760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 name="Shape 1853">
              <a:extLst>
                <a:ext uri="{FF2B5EF4-FFF2-40B4-BE49-F238E27FC236}">
                  <a16:creationId xmlns:a16="http://schemas.microsoft.com/office/drawing/2014/main" id="{3ECBEE39-0FDA-22F4-B9B3-C7FC9A5B5867}"/>
                </a:ext>
              </a:extLst>
            </p:cNvPr>
            <p:cNvSpPr/>
            <p:nvPr/>
          </p:nvSpPr>
          <p:spPr>
            <a:xfrm>
              <a:off x="9762550" y="2307859"/>
              <a:ext cx="364672" cy="306556"/>
            </a:xfrm>
            <a:custGeom>
              <a:avLst/>
              <a:gdLst/>
              <a:ahLst/>
              <a:cxnLst>
                <a:cxn ang="0">
                  <a:pos x="wd2" y="hd2"/>
                </a:cxn>
                <a:cxn ang="5400000">
                  <a:pos x="wd2" y="hd2"/>
                </a:cxn>
                <a:cxn ang="10800000">
                  <a:pos x="wd2" y="hd2"/>
                </a:cxn>
                <a:cxn ang="16200000">
                  <a:pos x="wd2" y="hd2"/>
                </a:cxn>
              </a:cxnLst>
              <a:rect l="0" t="0" r="r" b="b"/>
              <a:pathLst>
                <a:path w="21371" h="21345" extrusionOk="0">
                  <a:moveTo>
                    <a:pt x="19925" y="205"/>
                  </a:moveTo>
                  <a:cubicBezTo>
                    <a:pt x="19539" y="205"/>
                    <a:pt x="19539" y="-255"/>
                    <a:pt x="19539" y="205"/>
                  </a:cubicBezTo>
                  <a:cubicBezTo>
                    <a:pt x="18768" y="664"/>
                    <a:pt x="19539" y="664"/>
                    <a:pt x="19925" y="1124"/>
                  </a:cubicBezTo>
                  <a:cubicBezTo>
                    <a:pt x="20311" y="1583"/>
                    <a:pt x="19154" y="2043"/>
                    <a:pt x="18768" y="1124"/>
                  </a:cubicBezTo>
                  <a:cubicBezTo>
                    <a:pt x="18382" y="205"/>
                    <a:pt x="17997" y="1583"/>
                    <a:pt x="17997" y="2043"/>
                  </a:cubicBezTo>
                  <a:cubicBezTo>
                    <a:pt x="17611" y="2043"/>
                    <a:pt x="17225" y="2502"/>
                    <a:pt x="17225" y="2502"/>
                  </a:cubicBezTo>
                  <a:cubicBezTo>
                    <a:pt x="17225" y="3422"/>
                    <a:pt x="17611" y="2962"/>
                    <a:pt x="17611" y="2962"/>
                  </a:cubicBezTo>
                  <a:cubicBezTo>
                    <a:pt x="17611" y="3422"/>
                    <a:pt x="17611" y="3881"/>
                    <a:pt x="17611" y="4341"/>
                  </a:cubicBezTo>
                  <a:cubicBezTo>
                    <a:pt x="17611" y="4800"/>
                    <a:pt x="17997" y="4800"/>
                    <a:pt x="17611" y="5719"/>
                  </a:cubicBezTo>
                  <a:cubicBezTo>
                    <a:pt x="16839" y="7098"/>
                    <a:pt x="16454" y="8477"/>
                    <a:pt x="15682" y="9856"/>
                  </a:cubicBezTo>
                  <a:cubicBezTo>
                    <a:pt x="15297" y="10315"/>
                    <a:pt x="14139" y="12154"/>
                    <a:pt x="13754" y="12154"/>
                  </a:cubicBezTo>
                  <a:cubicBezTo>
                    <a:pt x="12982" y="12154"/>
                    <a:pt x="12211" y="12613"/>
                    <a:pt x="11825" y="12154"/>
                  </a:cubicBezTo>
                  <a:cubicBezTo>
                    <a:pt x="11439" y="11694"/>
                    <a:pt x="12211" y="11234"/>
                    <a:pt x="12211" y="10775"/>
                  </a:cubicBezTo>
                  <a:cubicBezTo>
                    <a:pt x="12597" y="10315"/>
                    <a:pt x="11439" y="11234"/>
                    <a:pt x="11439" y="11234"/>
                  </a:cubicBezTo>
                  <a:cubicBezTo>
                    <a:pt x="11054" y="11694"/>
                    <a:pt x="11054" y="11694"/>
                    <a:pt x="11054" y="12154"/>
                  </a:cubicBezTo>
                  <a:cubicBezTo>
                    <a:pt x="11054" y="13532"/>
                    <a:pt x="9897" y="13992"/>
                    <a:pt x="9511" y="14911"/>
                  </a:cubicBezTo>
                  <a:cubicBezTo>
                    <a:pt x="9511" y="14911"/>
                    <a:pt x="9511" y="15371"/>
                    <a:pt x="9511" y="15371"/>
                  </a:cubicBezTo>
                  <a:cubicBezTo>
                    <a:pt x="9511" y="15830"/>
                    <a:pt x="8739" y="16290"/>
                    <a:pt x="8739" y="16290"/>
                  </a:cubicBezTo>
                  <a:cubicBezTo>
                    <a:pt x="8354" y="16290"/>
                    <a:pt x="8739" y="15830"/>
                    <a:pt x="7968" y="15830"/>
                  </a:cubicBezTo>
                  <a:cubicBezTo>
                    <a:pt x="7582" y="15830"/>
                    <a:pt x="7197" y="15830"/>
                    <a:pt x="6425" y="15830"/>
                  </a:cubicBezTo>
                  <a:cubicBezTo>
                    <a:pt x="5268" y="16290"/>
                    <a:pt x="4497" y="15830"/>
                    <a:pt x="3339" y="16290"/>
                  </a:cubicBezTo>
                  <a:cubicBezTo>
                    <a:pt x="2568" y="17209"/>
                    <a:pt x="1411" y="18128"/>
                    <a:pt x="639" y="19047"/>
                  </a:cubicBezTo>
                  <a:cubicBezTo>
                    <a:pt x="-132" y="19047"/>
                    <a:pt x="-132" y="20426"/>
                    <a:pt x="254" y="19966"/>
                  </a:cubicBezTo>
                  <a:cubicBezTo>
                    <a:pt x="639" y="19966"/>
                    <a:pt x="639" y="19507"/>
                    <a:pt x="1025" y="19507"/>
                  </a:cubicBezTo>
                  <a:cubicBezTo>
                    <a:pt x="1411" y="19966"/>
                    <a:pt x="1797" y="20426"/>
                    <a:pt x="1797" y="19966"/>
                  </a:cubicBezTo>
                  <a:cubicBezTo>
                    <a:pt x="3725" y="19507"/>
                    <a:pt x="6425" y="17668"/>
                    <a:pt x="8354" y="18128"/>
                  </a:cubicBezTo>
                  <a:cubicBezTo>
                    <a:pt x="8739" y="18588"/>
                    <a:pt x="7968" y="19507"/>
                    <a:pt x="7968" y="19507"/>
                  </a:cubicBezTo>
                  <a:cubicBezTo>
                    <a:pt x="8354" y="19966"/>
                    <a:pt x="8739" y="21345"/>
                    <a:pt x="9125" y="21345"/>
                  </a:cubicBezTo>
                  <a:cubicBezTo>
                    <a:pt x="9511" y="20885"/>
                    <a:pt x="9897" y="20426"/>
                    <a:pt x="10282" y="19966"/>
                  </a:cubicBezTo>
                  <a:cubicBezTo>
                    <a:pt x="10668" y="19047"/>
                    <a:pt x="10668" y="19507"/>
                    <a:pt x="11439" y="19507"/>
                  </a:cubicBezTo>
                  <a:cubicBezTo>
                    <a:pt x="11054" y="19507"/>
                    <a:pt x="10668" y="15830"/>
                    <a:pt x="11825" y="18128"/>
                  </a:cubicBezTo>
                  <a:cubicBezTo>
                    <a:pt x="12211" y="19047"/>
                    <a:pt x="14139" y="18128"/>
                    <a:pt x="14525" y="17668"/>
                  </a:cubicBezTo>
                  <a:cubicBezTo>
                    <a:pt x="15297" y="16290"/>
                    <a:pt x="15297" y="19047"/>
                    <a:pt x="15682" y="18128"/>
                  </a:cubicBezTo>
                  <a:cubicBezTo>
                    <a:pt x="15682" y="17668"/>
                    <a:pt x="16068" y="16749"/>
                    <a:pt x="16454" y="16749"/>
                  </a:cubicBezTo>
                  <a:cubicBezTo>
                    <a:pt x="16839" y="16290"/>
                    <a:pt x="16839" y="16749"/>
                    <a:pt x="17225" y="15830"/>
                  </a:cubicBezTo>
                  <a:cubicBezTo>
                    <a:pt x="17225" y="15830"/>
                    <a:pt x="17225" y="17668"/>
                    <a:pt x="17611" y="17209"/>
                  </a:cubicBezTo>
                  <a:cubicBezTo>
                    <a:pt x="17611" y="17209"/>
                    <a:pt x="17997" y="17209"/>
                    <a:pt x="18382" y="16749"/>
                  </a:cubicBezTo>
                  <a:cubicBezTo>
                    <a:pt x="18768" y="16749"/>
                    <a:pt x="18382" y="16290"/>
                    <a:pt x="18768" y="15830"/>
                  </a:cubicBezTo>
                  <a:cubicBezTo>
                    <a:pt x="19539" y="15371"/>
                    <a:pt x="19539" y="15371"/>
                    <a:pt x="18768" y="14451"/>
                  </a:cubicBezTo>
                  <a:cubicBezTo>
                    <a:pt x="18382" y="13992"/>
                    <a:pt x="19539" y="12613"/>
                    <a:pt x="19539" y="11694"/>
                  </a:cubicBezTo>
                  <a:cubicBezTo>
                    <a:pt x="19925" y="10775"/>
                    <a:pt x="19154" y="9396"/>
                    <a:pt x="19539" y="8477"/>
                  </a:cubicBezTo>
                  <a:cubicBezTo>
                    <a:pt x="19925" y="8017"/>
                    <a:pt x="19925" y="8477"/>
                    <a:pt x="20311" y="8477"/>
                  </a:cubicBezTo>
                  <a:cubicBezTo>
                    <a:pt x="20697" y="8477"/>
                    <a:pt x="21082" y="7558"/>
                    <a:pt x="21082" y="7558"/>
                  </a:cubicBezTo>
                  <a:cubicBezTo>
                    <a:pt x="21468" y="6179"/>
                    <a:pt x="21468" y="4800"/>
                    <a:pt x="21082" y="3881"/>
                  </a:cubicBezTo>
                  <a:cubicBezTo>
                    <a:pt x="21082" y="3422"/>
                    <a:pt x="19925" y="205"/>
                    <a:pt x="19925" y="205"/>
                  </a:cubicBezTo>
                  <a:cubicBezTo>
                    <a:pt x="19925" y="205"/>
                    <a:pt x="19925" y="205"/>
                    <a:pt x="19925" y="20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 name="Shape 1854">
              <a:extLst>
                <a:ext uri="{FF2B5EF4-FFF2-40B4-BE49-F238E27FC236}">
                  <a16:creationId xmlns:a16="http://schemas.microsoft.com/office/drawing/2014/main" id="{718912D6-1691-401A-8A3A-97FE0E75D5C2}"/>
                </a:ext>
              </a:extLst>
            </p:cNvPr>
            <p:cNvSpPr/>
            <p:nvPr/>
          </p:nvSpPr>
          <p:spPr>
            <a:xfrm>
              <a:off x="9883895" y="2576198"/>
              <a:ext cx="13486" cy="11126"/>
            </a:xfrm>
            <a:custGeom>
              <a:avLst/>
              <a:gdLst/>
              <a:ahLst/>
              <a:cxnLst>
                <a:cxn ang="0">
                  <a:pos x="wd2" y="hd2"/>
                </a:cxn>
                <a:cxn ang="5400000">
                  <a:pos x="wd2" y="hd2"/>
                </a:cxn>
                <a:cxn ang="10800000">
                  <a:pos x="wd2" y="hd2"/>
                </a:cxn>
                <a:cxn ang="16200000">
                  <a:pos x="wd2" y="hd2"/>
                </a:cxn>
              </a:cxnLst>
              <a:rect l="0" t="0" r="r" b="b"/>
              <a:pathLst>
                <a:path w="21600" h="13361" extrusionOk="0">
                  <a:moveTo>
                    <a:pt x="21600" y="0"/>
                  </a:moveTo>
                  <a:cubicBezTo>
                    <a:pt x="21600" y="0"/>
                    <a:pt x="0" y="7200"/>
                    <a:pt x="0" y="7200"/>
                  </a:cubicBezTo>
                  <a:cubicBezTo>
                    <a:pt x="10800" y="21600"/>
                    <a:pt x="21600" y="720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 name="Shape 1855">
              <a:extLst>
                <a:ext uri="{FF2B5EF4-FFF2-40B4-BE49-F238E27FC236}">
                  <a16:creationId xmlns:a16="http://schemas.microsoft.com/office/drawing/2014/main" id="{BAC76541-A268-986F-AA9A-FCBEA6A82B44}"/>
                </a:ext>
              </a:extLst>
            </p:cNvPr>
            <p:cNvSpPr/>
            <p:nvPr/>
          </p:nvSpPr>
          <p:spPr>
            <a:xfrm>
              <a:off x="9805234" y="2583443"/>
              <a:ext cx="77885" cy="52475"/>
            </a:xfrm>
            <a:custGeom>
              <a:avLst/>
              <a:gdLst/>
              <a:ahLst/>
              <a:cxnLst>
                <a:cxn ang="0">
                  <a:pos x="wd2" y="hd2"/>
                </a:cxn>
                <a:cxn ang="5400000">
                  <a:pos x="wd2" y="hd2"/>
                </a:cxn>
                <a:cxn ang="10800000">
                  <a:pos x="wd2" y="hd2"/>
                </a:cxn>
                <a:cxn ang="16200000">
                  <a:pos x="wd2" y="hd2"/>
                </a:cxn>
              </a:cxnLst>
              <a:rect l="0" t="0" r="r" b="b"/>
              <a:pathLst>
                <a:path w="19699" h="17387" extrusionOk="0">
                  <a:moveTo>
                    <a:pt x="18277" y="1920"/>
                  </a:moveTo>
                  <a:cubicBezTo>
                    <a:pt x="14954" y="1920"/>
                    <a:pt x="14954" y="-2400"/>
                    <a:pt x="11631" y="1920"/>
                  </a:cubicBezTo>
                  <a:cubicBezTo>
                    <a:pt x="9969" y="1920"/>
                    <a:pt x="8308" y="6240"/>
                    <a:pt x="8308" y="4080"/>
                  </a:cubicBezTo>
                  <a:cubicBezTo>
                    <a:pt x="6646" y="1920"/>
                    <a:pt x="4985" y="6240"/>
                    <a:pt x="4985" y="6240"/>
                  </a:cubicBezTo>
                  <a:cubicBezTo>
                    <a:pt x="3323" y="10560"/>
                    <a:pt x="1662" y="8400"/>
                    <a:pt x="0" y="10560"/>
                  </a:cubicBezTo>
                  <a:cubicBezTo>
                    <a:pt x="0" y="8400"/>
                    <a:pt x="3323" y="17040"/>
                    <a:pt x="4985" y="17040"/>
                  </a:cubicBezTo>
                  <a:cubicBezTo>
                    <a:pt x="4985" y="19200"/>
                    <a:pt x="8308" y="10560"/>
                    <a:pt x="9969" y="10560"/>
                  </a:cubicBezTo>
                  <a:cubicBezTo>
                    <a:pt x="11631" y="10560"/>
                    <a:pt x="14954" y="12720"/>
                    <a:pt x="16615" y="10560"/>
                  </a:cubicBezTo>
                  <a:cubicBezTo>
                    <a:pt x="18277" y="10560"/>
                    <a:pt x="21600" y="4080"/>
                    <a:pt x="18277" y="1920"/>
                  </a:cubicBezTo>
                  <a:cubicBezTo>
                    <a:pt x="16615" y="1920"/>
                    <a:pt x="18277" y="1920"/>
                    <a:pt x="18277" y="19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 name="Shape 1856">
              <a:extLst>
                <a:ext uri="{FF2B5EF4-FFF2-40B4-BE49-F238E27FC236}">
                  <a16:creationId xmlns:a16="http://schemas.microsoft.com/office/drawing/2014/main" id="{48FAB244-D0FE-CE64-6EFF-7B036EE58E57}"/>
                </a:ext>
              </a:extLst>
            </p:cNvPr>
            <p:cNvSpPr/>
            <p:nvPr/>
          </p:nvSpPr>
          <p:spPr>
            <a:xfrm>
              <a:off x="9719835" y="2600928"/>
              <a:ext cx="71917" cy="100382"/>
            </a:xfrm>
            <a:custGeom>
              <a:avLst/>
              <a:gdLst/>
              <a:ahLst/>
              <a:cxnLst>
                <a:cxn ang="0">
                  <a:pos x="wd2" y="hd2"/>
                </a:cxn>
                <a:cxn ang="5400000">
                  <a:pos x="wd2" y="hd2"/>
                </a:cxn>
                <a:cxn ang="10800000">
                  <a:pos x="wd2" y="hd2"/>
                </a:cxn>
                <a:cxn ang="16200000">
                  <a:pos x="wd2" y="hd2"/>
                </a:cxn>
              </a:cxnLst>
              <a:rect l="0" t="0" r="r" b="b"/>
              <a:pathLst>
                <a:path w="21600" h="20522" extrusionOk="0">
                  <a:moveTo>
                    <a:pt x="13745" y="0"/>
                  </a:moveTo>
                  <a:cubicBezTo>
                    <a:pt x="9818" y="0"/>
                    <a:pt x="5891" y="1350"/>
                    <a:pt x="3927" y="2700"/>
                  </a:cubicBezTo>
                  <a:cubicBezTo>
                    <a:pt x="0" y="4050"/>
                    <a:pt x="0" y="5400"/>
                    <a:pt x="0" y="8100"/>
                  </a:cubicBezTo>
                  <a:cubicBezTo>
                    <a:pt x="0" y="6750"/>
                    <a:pt x="5891" y="6750"/>
                    <a:pt x="3927" y="8100"/>
                  </a:cubicBezTo>
                  <a:cubicBezTo>
                    <a:pt x="5891" y="6750"/>
                    <a:pt x="3927" y="5400"/>
                    <a:pt x="5891" y="5400"/>
                  </a:cubicBezTo>
                  <a:cubicBezTo>
                    <a:pt x="5891" y="5400"/>
                    <a:pt x="7855" y="5400"/>
                    <a:pt x="7855" y="6750"/>
                  </a:cubicBezTo>
                  <a:cubicBezTo>
                    <a:pt x="7855" y="9450"/>
                    <a:pt x="7855" y="10800"/>
                    <a:pt x="5891" y="13500"/>
                  </a:cubicBezTo>
                  <a:cubicBezTo>
                    <a:pt x="3927" y="14850"/>
                    <a:pt x="5891" y="14850"/>
                    <a:pt x="5891" y="14850"/>
                  </a:cubicBezTo>
                  <a:cubicBezTo>
                    <a:pt x="5891" y="16200"/>
                    <a:pt x="5891" y="17550"/>
                    <a:pt x="5891" y="17550"/>
                  </a:cubicBezTo>
                  <a:cubicBezTo>
                    <a:pt x="5891" y="21600"/>
                    <a:pt x="9818" y="16200"/>
                    <a:pt x="9818" y="16200"/>
                  </a:cubicBezTo>
                  <a:cubicBezTo>
                    <a:pt x="9818" y="16200"/>
                    <a:pt x="9818" y="20250"/>
                    <a:pt x="11782" y="20250"/>
                  </a:cubicBezTo>
                  <a:cubicBezTo>
                    <a:pt x="11782" y="21600"/>
                    <a:pt x="15709" y="17550"/>
                    <a:pt x="15709" y="16200"/>
                  </a:cubicBezTo>
                  <a:cubicBezTo>
                    <a:pt x="19636" y="13500"/>
                    <a:pt x="19636" y="10800"/>
                    <a:pt x="21600" y="9450"/>
                  </a:cubicBezTo>
                  <a:cubicBezTo>
                    <a:pt x="21600" y="6750"/>
                    <a:pt x="19636" y="5400"/>
                    <a:pt x="19636" y="2700"/>
                  </a:cubicBezTo>
                  <a:cubicBezTo>
                    <a:pt x="19636" y="0"/>
                    <a:pt x="13745" y="2700"/>
                    <a:pt x="13745"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 name="Shape 1857">
              <a:extLst>
                <a:ext uri="{FF2B5EF4-FFF2-40B4-BE49-F238E27FC236}">
                  <a16:creationId xmlns:a16="http://schemas.microsoft.com/office/drawing/2014/main" id="{731B4650-DD96-FE65-10AD-9ED4F92B63AF}"/>
                </a:ext>
              </a:extLst>
            </p:cNvPr>
            <p:cNvSpPr/>
            <p:nvPr/>
          </p:nvSpPr>
          <p:spPr>
            <a:xfrm>
              <a:off x="9652854" y="2859449"/>
              <a:ext cx="19787" cy="20232"/>
            </a:xfrm>
            <a:custGeom>
              <a:avLst/>
              <a:gdLst/>
              <a:ahLst/>
              <a:cxnLst>
                <a:cxn ang="0">
                  <a:pos x="wd2" y="hd2"/>
                </a:cxn>
                <a:cxn ang="5400000">
                  <a:pos x="wd2" y="hd2"/>
                </a:cxn>
                <a:cxn ang="10800000">
                  <a:pos x="wd2" y="hd2"/>
                </a:cxn>
                <a:cxn ang="16200000">
                  <a:pos x="wd2" y="hd2"/>
                </a:cxn>
              </a:cxnLst>
              <a:rect l="0" t="0" r="r" b="b"/>
              <a:pathLst>
                <a:path w="17287" h="21600" extrusionOk="0">
                  <a:moveTo>
                    <a:pt x="17287" y="0"/>
                  </a:moveTo>
                  <a:cubicBezTo>
                    <a:pt x="11887" y="0"/>
                    <a:pt x="-4313" y="7200"/>
                    <a:pt x="1087" y="21600"/>
                  </a:cubicBezTo>
                  <a:cubicBezTo>
                    <a:pt x="1087" y="21600"/>
                    <a:pt x="17287" y="0"/>
                    <a:pt x="17287"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 name="Shape 1858">
              <a:extLst>
                <a:ext uri="{FF2B5EF4-FFF2-40B4-BE49-F238E27FC236}">
                  <a16:creationId xmlns:a16="http://schemas.microsoft.com/office/drawing/2014/main" id="{381B911D-E7FB-4AAA-AD8E-DBE5CD3EE522}"/>
                </a:ext>
              </a:extLst>
            </p:cNvPr>
            <p:cNvSpPr/>
            <p:nvPr/>
          </p:nvSpPr>
          <p:spPr>
            <a:xfrm>
              <a:off x="9706350" y="2794256"/>
              <a:ext cx="13486" cy="7195"/>
            </a:xfrm>
            <a:custGeom>
              <a:avLst/>
              <a:gdLst/>
              <a:ahLst/>
              <a:cxnLst>
                <a:cxn ang="0">
                  <a:pos x="wd2" y="hd2"/>
                </a:cxn>
                <a:cxn ang="5400000">
                  <a:pos x="wd2" y="hd2"/>
                </a:cxn>
                <a:cxn ang="10800000">
                  <a:pos x="wd2" y="hd2"/>
                </a:cxn>
                <a:cxn ang="16200000">
                  <a:pos x="wd2" y="hd2"/>
                </a:cxn>
              </a:cxnLst>
              <a:rect l="0" t="0" r="r" b="b"/>
              <a:pathLst>
                <a:path w="21600" h="13824" extrusionOk="0">
                  <a:moveTo>
                    <a:pt x="21600" y="0"/>
                  </a:moveTo>
                  <a:cubicBezTo>
                    <a:pt x="10800" y="0"/>
                    <a:pt x="0" y="10800"/>
                    <a:pt x="0" y="10800"/>
                  </a:cubicBezTo>
                  <a:cubicBezTo>
                    <a:pt x="0" y="2160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0" name="Shape 1859">
              <a:extLst>
                <a:ext uri="{FF2B5EF4-FFF2-40B4-BE49-F238E27FC236}">
                  <a16:creationId xmlns:a16="http://schemas.microsoft.com/office/drawing/2014/main" id="{BC873154-CFD3-DCE2-FF56-273171684297}"/>
                </a:ext>
              </a:extLst>
            </p:cNvPr>
            <p:cNvSpPr/>
            <p:nvPr/>
          </p:nvSpPr>
          <p:spPr>
            <a:xfrm>
              <a:off x="9532756" y="2931383"/>
              <a:ext cx="9537" cy="6745"/>
            </a:xfrm>
            <a:custGeom>
              <a:avLst/>
              <a:gdLst/>
              <a:ahLst/>
              <a:cxnLst>
                <a:cxn ang="0">
                  <a:pos x="wd2" y="hd2"/>
                </a:cxn>
                <a:cxn ang="5400000">
                  <a:pos x="wd2" y="hd2"/>
                </a:cxn>
                <a:cxn ang="10800000">
                  <a:pos x="wd2" y="hd2"/>
                </a:cxn>
                <a:cxn ang="16200000">
                  <a:pos x="wd2" y="hd2"/>
                </a:cxn>
              </a:cxnLst>
              <a:rect l="0" t="0" r="r" b="b"/>
              <a:pathLst>
                <a:path w="15274" h="21600" extrusionOk="0">
                  <a:moveTo>
                    <a:pt x="15274" y="0"/>
                  </a:moveTo>
                  <a:cubicBezTo>
                    <a:pt x="4474" y="0"/>
                    <a:pt x="-6326" y="21600"/>
                    <a:pt x="4474" y="21600"/>
                  </a:cubicBezTo>
                  <a:cubicBezTo>
                    <a:pt x="15274" y="21600"/>
                    <a:pt x="15274" y="0"/>
                    <a:pt x="1527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1" name="Shape 1860">
              <a:extLst>
                <a:ext uri="{FF2B5EF4-FFF2-40B4-BE49-F238E27FC236}">
                  <a16:creationId xmlns:a16="http://schemas.microsoft.com/office/drawing/2014/main" id="{76163AE6-F52A-4C38-95B2-D9D5BD0C8DD9}"/>
                </a:ext>
              </a:extLst>
            </p:cNvPr>
            <p:cNvSpPr/>
            <p:nvPr/>
          </p:nvSpPr>
          <p:spPr>
            <a:xfrm>
              <a:off x="9402953" y="2912412"/>
              <a:ext cx="59731" cy="104396"/>
            </a:xfrm>
            <a:custGeom>
              <a:avLst/>
              <a:gdLst/>
              <a:ahLst/>
              <a:cxnLst>
                <a:cxn ang="0">
                  <a:pos x="wd2" y="hd2"/>
                </a:cxn>
                <a:cxn ang="5400000">
                  <a:pos x="wd2" y="hd2"/>
                </a:cxn>
                <a:cxn ang="10800000">
                  <a:pos x="wd2" y="hd2"/>
                </a:cxn>
                <a:cxn ang="16200000">
                  <a:pos x="wd2" y="hd2"/>
                </a:cxn>
              </a:cxnLst>
              <a:rect l="0" t="0" r="r" b="b"/>
              <a:pathLst>
                <a:path w="16402" h="20471" extrusionOk="0">
                  <a:moveTo>
                    <a:pt x="14400" y="142"/>
                  </a:moveTo>
                  <a:cubicBezTo>
                    <a:pt x="9000" y="-1129"/>
                    <a:pt x="1800" y="6495"/>
                    <a:pt x="0" y="9036"/>
                  </a:cubicBezTo>
                  <a:cubicBezTo>
                    <a:pt x="0" y="11577"/>
                    <a:pt x="0" y="14118"/>
                    <a:pt x="1800" y="16659"/>
                  </a:cubicBezTo>
                  <a:cubicBezTo>
                    <a:pt x="1800" y="16659"/>
                    <a:pt x="5400" y="20471"/>
                    <a:pt x="5400" y="20471"/>
                  </a:cubicBezTo>
                  <a:cubicBezTo>
                    <a:pt x="7200" y="17930"/>
                    <a:pt x="21600" y="1412"/>
                    <a:pt x="14400" y="142"/>
                  </a:cubicBezTo>
                  <a:cubicBezTo>
                    <a:pt x="12600" y="142"/>
                    <a:pt x="16200" y="142"/>
                    <a:pt x="14400" y="14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2" name="Shape 1861">
              <a:extLst>
                <a:ext uri="{FF2B5EF4-FFF2-40B4-BE49-F238E27FC236}">
                  <a16:creationId xmlns:a16="http://schemas.microsoft.com/office/drawing/2014/main" id="{D5E4658A-C494-5453-3BD3-5E30AEAD5C9B}"/>
                </a:ext>
              </a:extLst>
            </p:cNvPr>
            <p:cNvSpPr/>
            <p:nvPr/>
          </p:nvSpPr>
          <p:spPr>
            <a:xfrm>
              <a:off x="9025277" y="3090991"/>
              <a:ext cx="75780" cy="60408"/>
            </a:xfrm>
            <a:custGeom>
              <a:avLst/>
              <a:gdLst/>
              <a:ahLst/>
              <a:cxnLst>
                <a:cxn ang="0">
                  <a:pos x="wd2" y="hd2"/>
                </a:cxn>
                <a:cxn ang="5400000">
                  <a:pos x="wd2" y="hd2"/>
                </a:cxn>
                <a:cxn ang="10800000">
                  <a:pos x="wd2" y="hd2"/>
                </a:cxn>
                <a:cxn ang="16200000">
                  <a:pos x="wd2" y="hd2"/>
                </a:cxn>
              </a:cxnLst>
              <a:rect l="0" t="0" r="r" b="b"/>
              <a:pathLst>
                <a:path w="17764" h="20015" extrusionOk="0">
                  <a:moveTo>
                    <a:pt x="17449" y="2160"/>
                  </a:moveTo>
                  <a:cubicBezTo>
                    <a:pt x="15906" y="2160"/>
                    <a:pt x="14363" y="0"/>
                    <a:pt x="11278" y="0"/>
                  </a:cubicBezTo>
                  <a:cubicBezTo>
                    <a:pt x="8192" y="0"/>
                    <a:pt x="6649" y="2160"/>
                    <a:pt x="3563" y="4320"/>
                  </a:cubicBezTo>
                  <a:cubicBezTo>
                    <a:pt x="478" y="8640"/>
                    <a:pt x="-2608" y="15120"/>
                    <a:pt x="3563" y="19440"/>
                  </a:cubicBezTo>
                  <a:cubicBezTo>
                    <a:pt x="6649" y="21600"/>
                    <a:pt x="12821" y="17280"/>
                    <a:pt x="14363" y="12960"/>
                  </a:cubicBezTo>
                  <a:cubicBezTo>
                    <a:pt x="14363" y="10800"/>
                    <a:pt x="18992" y="2160"/>
                    <a:pt x="17449" y="21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3" name="Shape 1862">
              <a:extLst>
                <a:ext uri="{FF2B5EF4-FFF2-40B4-BE49-F238E27FC236}">
                  <a16:creationId xmlns:a16="http://schemas.microsoft.com/office/drawing/2014/main" id="{E9535251-AADF-11A1-A547-55853B897B60}"/>
                </a:ext>
              </a:extLst>
            </p:cNvPr>
            <p:cNvSpPr/>
            <p:nvPr/>
          </p:nvSpPr>
          <p:spPr>
            <a:xfrm>
              <a:off x="9389467" y="3142014"/>
              <a:ext cx="117700" cy="180521"/>
            </a:xfrm>
            <a:custGeom>
              <a:avLst/>
              <a:gdLst/>
              <a:ahLst/>
              <a:cxnLst>
                <a:cxn ang="0">
                  <a:pos x="wd2" y="hd2"/>
                </a:cxn>
                <a:cxn ang="5400000">
                  <a:pos x="wd2" y="hd2"/>
                </a:cxn>
                <a:cxn ang="10800000">
                  <a:pos x="wd2" y="hd2"/>
                </a:cxn>
                <a:cxn ang="16200000">
                  <a:pos x="wd2" y="hd2"/>
                </a:cxn>
              </a:cxnLst>
              <a:rect l="0" t="0" r="r" b="b"/>
              <a:pathLst>
                <a:path w="19173" h="20898" extrusionOk="0">
                  <a:moveTo>
                    <a:pt x="12960" y="841"/>
                  </a:moveTo>
                  <a:cubicBezTo>
                    <a:pt x="10800" y="69"/>
                    <a:pt x="11880" y="3155"/>
                    <a:pt x="9720" y="841"/>
                  </a:cubicBezTo>
                  <a:cubicBezTo>
                    <a:pt x="8640" y="-702"/>
                    <a:pt x="4320" y="69"/>
                    <a:pt x="4320" y="1612"/>
                  </a:cubicBezTo>
                  <a:cubicBezTo>
                    <a:pt x="3240" y="3927"/>
                    <a:pt x="4320" y="5469"/>
                    <a:pt x="3240" y="7784"/>
                  </a:cubicBezTo>
                  <a:cubicBezTo>
                    <a:pt x="3240" y="8555"/>
                    <a:pt x="3240" y="9327"/>
                    <a:pt x="3240" y="9327"/>
                  </a:cubicBezTo>
                  <a:cubicBezTo>
                    <a:pt x="2160" y="10098"/>
                    <a:pt x="0" y="9327"/>
                    <a:pt x="0" y="9327"/>
                  </a:cubicBezTo>
                  <a:cubicBezTo>
                    <a:pt x="0" y="9327"/>
                    <a:pt x="2160" y="16269"/>
                    <a:pt x="3240" y="16269"/>
                  </a:cubicBezTo>
                  <a:cubicBezTo>
                    <a:pt x="3240" y="16269"/>
                    <a:pt x="4320" y="13955"/>
                    <a:pt x="5400" y="14727"/>
                  </a:cubicBezTo>
                  <a:cubicBezTo>
                    <a:pt x="5400" y="14727"/>
                    <a:pt x="7560" y="15498"/>
                    <a:pt x="7560" y="16269"/>
                  </a:cubicBezTo>
                  <a:cubicBezTo>
                    <a:pt x="7560" y="17041"/>
                    <a:pt x="4320" y="15498"/>
                    <a:pt x="4320" y="17041"/>
                  </a:cubicBezTo>
                  <a:cubicBezTo>
                    <a:pt x="4320" y="18584"/>
                    <a:pt x="6480" y="20127"/>
                    <a:pt x="8640" y="19355"/>
                  </a:cubicBezTo>
                  <a:cubicBezTo>
                    <a:pt x="9720" y="19355"/>
                    <a:pt x="10800" y="17812"/>
                    <a:pt x="11880" y="18584"/>
                  </a:cubicBezTo>
                  <a:cubicBezTo>
                    <a:pt x="11880" y="18584"/>
                    <a:pt x="16200" y="20898"/>
                    <a:pt x="16200" y="20898"/>
                  </a:cubicBezTo>
                  <a:cubicBezTo>
                    <a:pt x="17280" y="20127"/>
                    <a:pt x="14040" y="19355"/>
                    <a:pt x="15120" y="18584"/>
                  </a:cubicBezTo>
                  <a:cubicBezTo>
                    <a:pt x="14040" y="19355"/>
                    <a:pt x="21600" y="20898"/>
                    <a:pt x="18360" y="17812"/>
                  </a:cubicBezTo>
                  <a:cubicBezTo>
                    <a:pt x="16200" y="16269"/>
                    <a:pt x="11880" y="18584"/>
                    <a:pt x="10800" y="16269"/>
                  </a:cubicBezTo>
                  <a:cubicBezTo>
                    <a:pt x="9720" y="14727"/>
                    <a:pt x="9720" y="13955"/>
                    <a:pt x="9720" y="11641"/>
                  </a:cubicBezTo>
                  <a:cubicBezTo>
                    <a:pt x="9720" y="10098"/>
                    <a:pt x="11880" y="10098"/>
                    <a:pt x="12960" y="8555"/>
                  </a:cubicBezTo>
                  <a:cubicBezTo>
                    <a:pt x="15120" y="7012"/>
                    <a:pt x="15120" y="6241"/>
                    <a:pt x="14040" y="4698"/>
                  </a:cubicBezTo>
                  <a:cubicBezTo>
                    <a:pt x="14040" y="4698"/>
                    <a:pt x="14040" y="841"/>
                    <a:pt x="12960" y="841"/>
                  </a:cubicBezTo>
                  <a:cubicBezTo>
                    <a:pt x="11880" y="841"/>
                    <a:pt x="14040" y="841"/>
                    <a:pt x="12960" y="84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4" name="Shape 1863">
              <a:extLst>
                <a:ext uri="{FF2B5EF4-FFF2-40B4-BE49-F238E27FC236}">
                  <a16:creationId xmlns:a16="http://schemas.microsoft.com/office/drawing/2014/main" id="{901FA60C-E449-CD82-6D65-D759F81413A6}"/>
                </a:ext>
              </a:extLst>
            </p:cNvPr>
            <p:cNvSpPr/>
            <p:nvPr/>
          </p:nvSpPr>
          <p:spPr>
            <a:xfrm>
              <a:off x="9501837" y="3299149"/>
              <a:ext cx="34793" cy="43461"/>
            </a:xfrm>
            <a:custGeom>
              <a:avLst/>
              <a:gdLst/>
              <a:ahLst/>
              <a:cxnLst>
                <a:cxn ang="0">
                  <a:pos x="wd2" y="hd2"/>
                </a:cxn>
                <a:cxn ang="5400000">
                  <a:pos x="wd2" y="hd2"/>
                </a:cxn>
                <a:cxn ang="10800000">
                  <a:pos x="wd2" y="hd2"/>
                </a:cxn>
                <a:cxn ang="16200000">
                  <a:pos x="wd2" y="hd2"/>
                </a:cxn>
              </a:cxnLst>
              <a:rect l="0" t="0" r="r" b="b"/>
              <a:pathLst>
                <a:path w="18578" h="18156" extrusionOk="0">
                  <a:moveTo>
                    <a:pt x="10800" y="1200"/>
                  </a:moveTo>
                  <a:cubicBezTo>
                    <a:pt x="10800" y="1200"/>
                    <a:pt x="7200" y="-1500"/>
                    <a:pt x="3600" y="1200"/>
                  </a:cubicBezTo>
                  <a:cubicBezTo>
                    <a:pt x="3600" y="3900"/>
                    <a:pt x="0" y="3900"/>
                    <a:pt x="0" y="6600"/>
                  </a:cubicBezTo>
                  <a:cubicBezTo>
                    <a:pt x="3600" y="9300"/>
                    <a:pt x="0" y="12000"/>
                    <a:pt x="7200" y="14700"/>
                  </a:cubicBezTo>
                  <a:cubicBezTo>
                    <a:pt x="7200" y="14700"/>
                    <a:pt x="21600" y="20100"/>
                    <a:pt x="18000" y="17400"/>
                  </a:cubicBezTo>
                  <a:cubicBezTo>
                    <a:pt x="18000" y="14700"/>
                    <a:pt x="18000" y="12000"/>
                    <a:pt x="14400" y="9300"/>
                  </a:cubicBezTo>
                  <a:cubicBezTo>
                    <a:pt x="7200" y="9300"/>
                    <a:pt x="7200" y="1200"/>
                    <a:pt x="10800" y="1200"/>
                  </a:cubicBezTo>
                  <a:cubicBezTo>
                    <a:pt x="7200" y="1200"/>
                    <a:pt x="14400" y="1200"/>
                    <a:pt x="10800" y="1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5" name="Shape 1864">
              <a:extLst>
                <a:ext uri="{FF2B5EF4-FFF2-40B4-BE49-F238E27FC236}">
                  <a16:creationId xmlns:a16="http://schemas.microsoft.com/office/drawing/2014/main" id="{C2473CFF-BE0A-198A-B5AC-EE17E85C3751}"/>
                </a:ext>
              </a:extLst>
            </p:cNvPr>
            <p:cNvSpPr/>
            <p:nvPr/>
          </p:nvSpPr>
          <p:spPr>
            <a:xfrm>
              <a:off x="9540064" y="3340518"/>
              <a:ext cx="49225" cy="87673"/>
            </a:xfrm>
            <a:custGeom>
              <a:avLst/>
              <a:gdLst/>
              <a:ahLst/>
              <a:cxnLst>
                <a:cxn ang="0">
                  <a:pos x="wd2" y="hd2"/>
                </a:cxn>
                <a:cxn ang="5400000">
                  <a:pos x="wd2" y="hd2"/>
                </a:cxn>
                <a:cxn ang="10800000">
                  <a:pos x="wd2" y="hd2"/>
                </a:cxn>
                <a:cxn ang="16200000">
                  <a:pos x="wd2" y="hd2"/>
                </a:cxn>
              </a:cxnLst>
              <a:rect l="0" t="0" r="r" b="b"/>
              <a:pathLst>
                <a:path w="16313" h="21600" extrusionOk="0">
                  <a:moveTo>
                    <a:pt x="4909" y="0"/>
                  </a:moveTo>
                  <a:cubicBezTo>
                    <a:pt x="2749" y="0"/>
                    <a:pt x="4909" y="0"/>
                    <a:pt x="589" y="1662"/>
                  </a:cubicBezTo>
                  <a:cubicBezTo>
                    <a:pt x="-1571" y="3323"/>
                    <a:pt x="2749" y="4985"/>
                    <a:pt x="4909" y="6646"/>
                  </a:cubicBezTo>
                  <a:cubicBezTo>
                    <a:pt x="7069" y="9969"/>
                    <a:pt x="-3731" y="11631"/>
                    <a:pt x="4909" y="14954"/>
                  </a:cubicBezTo>
                  <a:cubicBezTo>
                    <a:pt x="7069" y="16615"/>
                    <a:pt x="2749" y="19938"/>
                    <a:pt x="7069" y="21600"/>
                  </a:cubicBezTo>
                  <a:cubicBezTo>
                    <a:pt x="9229" y="21600"/>
                    <a:pt x="9229" y="19938"/>
                    <a:pt x="7069" y="18277"/>
                  </a:cubicBezTo>
                  <a:cubicBezTo>
                    <a:pt x="2749" y="8308"/>
                    <a:pt x="15709" y="16615"/>
                    <a:pt x="15709" y="13292"/>
                  </a:cubicBezTo>
                  <a:cubicBezTo>
                    <a:pt x="15709" y="11631"/>
                    <a:pt x="11389" y="9969"/>
                    <a:pt x="13549" y="9969"/>
                  </a:cubicBezTo>
                  <a:cubicBezTo>
                    <a:pt x="13549" y="8308"/>
                    <a:pt x="17869" y="9969"/>
                    <a:pt x="15709" y="8308"/>
                  </a:cubicBezTo>
                  <a:cubicBezTo>
                    <a:pt x="13549" y="6646"/>
                    <a:pt x="9229" y="4985"/>
                    <a:pt x="11389" y="1662"/>
                  </a:cubicBezTo>
                  <a:cubicBezTo>
                    <a:pt x="11389" y="0"/>
                    <a:pt x="7069" y="0"/>
                    <a:pt x="4909"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6" name="Shape 1865">
              <a:extLst>
                <a:ext uri="{FF2B5EF4-FFF2-40B4-BE49-F238E27FC236}">
                  <a16:creationId xmlns:a16="http://schemas.microsoft.com/office/drawing/2014/main" id="{86E85AD8-8F26-CAB6-639D-4E1A5C3667BA}"/>
                </a:ext>
              </a:extLst>
            </p:cNvPr>
            <p:cNvSpPr/>
            <p:nvPr/>
          </p:nvSpPr>
          <p:spPr>
            <a:xfrm>
              <a:off x="9409693" y="3311659"/>
              <a:ext cx="40453" cy="38432"/>
            </a:xfrm>
            <a:custGeom>
              <a:avLst/>
              <a:gdLst/>
              <a:ahLst/>
              <a:cxnLst>
                <a:cxn ang="0">
                  <a:pos x="wd2" y="hd2"/>
                </a:cxn>
                <a:cxn ang="5400000">
                  <a:pos x="wd2" y="hd2"/>
                </a:cxn>
                <a:cxn ang="10800000">
                  <a:pos x="wd2" y="hd2"/>
                </a:cxn>
                <a:cxn ang="16200000">
                  <a:pos x="wd2" y="hd2"/>
                </a:cxn>
              </a:cxnLst>
              <a:rect l="0" t="0" r="r" b="b"/>
              <a:pathLst>
                <a:path w="21600" h="16055" extrusionOk="0">
                  <a:moveTo>
                    <a:pt x="21600" y="9591"/>
                  </a:moveTo>
                  <a:cubicBezTo>
                    <a:pt x="18000" y="6891"/>
                    <a:pt x="10800" y="-3909"/>
                    <a:pt x="0" y="1491"/>
                  </a:cubicBezTo>
                  <a:cubicBezTo>
                    <a:pt x="0" y="1491"/>
                    <a:pt x="10800" y="9591"/>
                    <a:pt x="10800" y="12291"/>
                  </a:cubicBezTo>
                  <a:cubicBezTo>
                    <a:pt x="10800" y="17691"/>
                    <a:pt x="21600" y="17691"/>
                    <a:pt x="21600" y="9591"/>
                  </a:cubicBezTo>
                  <a:cubicBezTo>
                    <a:pt x="21600" y="9591"/>
                    <a:pt x="21600" y="12291"/>
                    <a:pt x="21600" y="95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7" name="Shape 1866">
              <a:extLst>
                <a:ext uri="{FF2B5EF4-FFF2-40B4-BE49-F238E27FC236}">
                  <a16:creationId xmlns:a16="http://schemas.microsoft.com/office/drawing/2014/main" id="{1BDC5D7C-9C6F-F5A1-85B6-3CCD713C3387}"/>
                </a:ext>
              </a:extLst>
            </p:cNvPr>
            <p:cNvSpPr/>
            <p:nvPr/>
          </p:nvSpPr>
          <p:spPr>
            <a:xfrm>
              <a:off x="9456890" y="3361500"/>
              <a:ext cx="44410" cy="54285"/>
            </a:xfrm>
            <a:custGeom>
              <a:avLst/>
              <a:gdLst/>
              <a:ahLst/>
              <a:cxnLst>
                <a:cxn ang="0">
                  <a:pos x="wd2" y="hd2"/>
                </a:cxn>
                <a:cxn ang="5400000">
                  <a:pos x="wd2" y="hd2"/>
                </a:cxn>
                <a:cxn ang="10800000">
                  <a:pos x="wd2" y="hd2"/>
                </a:cxn>
                <a:cxn ang="16200000">
                  <a:pos x="wd2" y="hd2"/>
                </a:cxn>
              </a:cxnLst>
              <a:rect l="0" t="0" r="r" b="b"/>
              <a:pathLst>
                <a:path w="16416" h="17387" extrusionOk="0">
                  <a:moveTo>
                    <a:pt x="7200" y="1920"/>
                  </a:moveTo>
                  <a:cubicBezTo>
                    <a:pt x="4800" y="-240"/>
                    <a:pt x="2400" y="-240"/>
                    <a:pt x="0" y="1920"/>
                  </a:cubicBezTo>
                  <a:cubicBezTo>
                    <a:pt x="0" y="4080"/>
                    <a:pt x="4800" y="4080"/>
                    <a:pt x="4800" y="6240"/>
                  </a:cubicBezTo>
                  <a:cubicBezTo>
                    <a:pt x="7200" y="8400"/>
                    <a:pt x="0" y="14880"/>
                    <a:pt x="2400" y="17040"/>
                  </a:cubicBezTo>
                  <a:cubicBezTo>
                    <a:pt x="2400" y="19200"/>
                    <a:pt x="12000" y="10560"/>
                    <a:pt x="14400" y="10560"/>
                  </a:cubicBezTo>
                  <a:cubicBezTo>
                    <a:pt x="21600" y="10560"/>
                    <a:pt x="7200" y="1920"/>
                    <a:pt x="7200" y="1920"/>
                  </a:cubicBezTo>
                  <a:cubicBezTo>
                    <a:pt x="2400" y="-2400"/>
                    <a:pt x="7200" y="1920"/>
                    <a:pt x="7200" y="19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8" name="Shape 1867">
              <a:extLst>
                <a:ext uri="{FF2B5EF4-FFF2-40B4-BE49-F238E27FC236}">
                  <a16:creationId xmlns:a16="http://schemas.microsoft.com/office/drawing/2014/main" id="{C003F078-6036-D215-4386-1B78AC553088}"/>
                </a:ext>
              </a:extLst>
            </p:cNvPr>
            <p:cNvSpPr/>
            <p:nvPr/>
          </p:nvSpPr>
          <p:spPr>
            <a:xfrm>
              <a:off x="9477479" y="3398102"/>
              <a:ext cx="33221" cy="59537"/>
            </a:xfrm>
            <a:custGeom>
              <a:avLst/>
              <a:gdLst/>
              <a:ahLst/>
              <a:cxnLst>
                <a:cxn ang="0">
                  <a:pos x="wd2" y="hd2"/>
                </a:cxn>
                <a:cxn ang="5400000">
                  <a:pos x="wd2" y="hd2"/>
                </a:cxn>
                <a:cxn ang="10800000">
                  <a:pos x="wd2" y="hd2"/>
                </a:cxn>
                <a:cxn ang="16200000">
                  <a:pos x="wd2" y="hd2"/>
                </a:cxn>
              </a:cxnLst>
              <a:rect l="0" t="0" r="r" b="b"/>
              <a:pathLst>
                <a:path w="15964" h="17877" extrusionOk="0">
                  <a:moveTo>
                    <a:pt x="15099" y="873"/>
                  </a:moveTo>
                  <a:cubicBezTo>
                    <a:pt x="5842" y="873"/>
                    <a:pt x="8928" y="6764"/>
                    <a:pt x="5842" y="8727"/>
                  </a:cubicBezTo>
                  <a:cubicBezTo>
                    <a:pt x="-3415" y="12654"/>
                    <a:pt x="-329" y="12654"/>
                    <a:pt x="5842" y="16582"/>
                  </a:cubicBezTo>
                  <a:cubicBezTo>
                    <a:pt x="15099" y="20509"/>
                    <a:pt x="8928" y="14618"/>
                    <a:pt x="12014" y="10691"/>
                  </a:cubicBezTo>
                  <a:cubicBezTo>
                    <a:pt x="12014" y="10691"/>
                    <a:pt x="18185" y="-1091"/>
                    <a:pt x="15099" y="873"/>
                  </a:cubicBezTo>
                  <a:cubicBezTo>
                    <a:pt x="12014" y="873"/>
                    <a:pt x="15099" y="-1091"/>
                    <a:pt x="15099" y="8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49" name="Shape 1868">
              <a:extLst>
                <a:ext uri="{FF2B5EF4-FFF2-40B4-BE49-F238E27FC236}">
                  <a16:creationId xmlns:a16="http://schemas.microsoft.com/office/drawing/2014/main" id="{1931CF82-1465-097F-30C1-0C4C98BDB542}"/>
                </a:ext>
              </a:extLst>
            </p:cNvPr>
            <p:cNvSpPr/>
            <p:nvPr/>
          </p:nvSpPr>
          <p:spPr>
            <a:xfrm>
              <a:off x="9508578" y="3393334"/>
              <a:ext cx="23224" cy="46098"/>
            </a:xfrm>
            <a:custGeom>
              <a:avLst/>
              <a:gdLst/>
              <a:ahLst/>
              <a:cxnLst>
                <a:cxn ang="0">
                  <a:pos x="wd2" y="hd2"/>
                </a:cxn>
                <a:cxn ang="5400000">
                  <a:pos x="wd2" y="hd2"/>
                </a:cxn>
                <a:cxn ang="10800000">
                  <a:pos x="wd2" y="hd2"/>
                </a:cxn>
                <a:cxn ang="16200000">
                  <a:pos x="wd2" y="hd2"/>
                </a:cxn>
              </a:cxnLst>
              <a:rect l="0" t="0" r="r" b="b"/>
              <a:pathLst>
                <a:path w="18600" h="19257" extrusionOk="0">
                  <a:moveTo>
                    <a:pt x="16200" y="357"/>
                  </a:moveTo>
                  <a:cubicBezTo>
                    <a:pt x="10800" y="357"/>
                    <a:pt x="0" y="16557"/>
                    <a:pt x="0" y="19257"/>
                  </a:cubicBezTo>
                  <a:cubicBezTo>
                    <a:pt x="0" y="19257"/>
                    <a:pt x="10800" y="13857"/>
                    <a:pt x="16200" y="11157"/>
                  </a:cubicBezTo>
                  <a:cubicBezTo>
                    <a:pt x="16200" y="11157"/>
                    <a:pt x="21600" y="-2343"/>
                    <a:pt x="16200" y="357"/>
                  </a:cubicBezTo>
                  <a:cubicBezTo>
                    <a:pt x="10800" y="357"/>
                    <a:pt x="16200" y="357"/>
                    <a:pt x="16200" y="3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0" name="Shape 1869">
              <a:extLst>
                <a:ext uri="{FF2B5EF4-FFF2-40B4-BE49-F238E27FC236}">
                  <a16:creationId xmlns:a16="http://schemas.microsoft.com/office/drawing/2014/main" id="{68A68695-837E-DA9F-F331-F9A1C3395F34}"/>
                </a:ext>
              </a:extLst>
            </p:cNvPr>
            <p:cNvSpPr/>
            <p:nvPr/>
          </p:nvSpPr>
          <p:spPr>
            <a:xfrm>
              <a:off x="9526161" y="3426367"/>
              <a:ext cx="23522" cy="16052"/>
            </a:xfrm>
            <a:custGeom>
              <a:avLst/>
              <a:gdLst/>
              <a:ahLst/>
              <a:cxnLst>
                <a:cxn ang="0">
                  <a:pos x="wd2" y="hd2"/>
                </a:cxn>
                <a:cxn ang="5400000">
                  <a:pos x="wd2" y="hd2"/>
                </a:cxn>
                <a:cxn ang="10800000">
                  <a:pos x="wd2" y="hd2"/>
                </a:cxn>
                <a:cxn ang="16200000">
                  <a:pos x="wd2" y="hd2"/>
                </a:cxn>
              </a:cxnLst>
              <a:rect l="0" t="0" r="r" b="b"/>
              <a:pathLst>
                <a:path w="12559" h="14020" extrusionOk="0">
                  <a:moveTo>
                    <a:pt x="1412" y="1102"/>
                  </a:moveTo>
                  <a:cubicBezTo>
                    <a:pt x="-2188" y="11902"/>
                    <a:pt x="1412" y="17302"/>
                    <a:pt x="8612" y="11902"/>
                  </a:cubicBezTo>
                  <a:cubicBezTo>
                    <a:pt x="19412" y="11902"/>
                    <a:pt x="5012" y="-4298"/>
                    <a:pt x="1412" y="1102"/>
                  </a:cubicBezTo>
                  <a:cubicBezTo>
                    <a:pt x="1412" y="6502"/>
                    <a:pt x="5012" y="1102"/>
                    <a:pt x="1412" y="11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1" name="Shape 1870">
              <a:extLst>
                <a:ext uri="{FF2B5EF4-FFF2-40B4-BE49-F238E27FC236}">
                  <a16:creationId xmlns:a16="http://schemas.microsoft.com/office/drawing/2014/main" id="{CEBBA0C1-C901-3A99-2FB0-6F3EF1B74DD5}"/>
                </a:ext>
              </a:extLst>
            </p:cNvPr>
            <p:cNvSpPr/>
            <p:nvPr/>
          </p:nvSpPr>
          <p:spPr>
            <a:xfrm>
              <a:off x="9528053" y="3439431"/>
              <a:ext cx="84511" cy="130481"/>
            </a:xfrm>
            <a:custGeom>
              <a:avLst/>
              <a:gdLst/>
              <a:ahLst/>
              <a:cxnLst>
                <a:cxn ang="0">
                  <a:pos x="wd2" y="hd2"/>
                </a:cxn>
                <a:cxn ang="5400000">
                  <a:pos x="wd2" y="hd2"/>
                </a:cxn>
                <a:cxn ang="10800000">
                  <a:pos x="wd2" y="hd2"/>
                </a:cxn>
                <a:cxn ang="16200000">
                  <a:pos x="wd2" y="hd2"/>
                </a:cxn>
              </a:cxnLst>
              <a:rect l="0" t="0" r="r" b="b"/>
              <a:pathLst>
                <a:path w="19811" h="20221" extrusionOk="0">
                  <a:moveTo>
                    <a:pt x="14025" y="0"/>
                  </a:moveTo>
                  <a:cubicBezTo>
                    <a:pt x="12482" y="0"/>
                    <a:pt x="12482" y="1029"/>
                    <a:pt x="12482" y="2057"/>
                  </a:cubicBezTo>
                  <a:cubicBezTo>
                    <a:pt x="12482" y="3086"/>
                    <a:pt x="12482" y="3086"/>
                    <a:pt x="9396" y="4114"/>
                  </a:cubicBezTo>
                  <a:cubicBezTo>
                    <a:pt x="7853" y="4114"/>
                    <a:pt x="4767" y="6171"/>
                    <a:pt x="3225" y="6171"/>
                  </a:cubicBezTo>
                  <a:cubicBezTo>
                    <a:pt x="139" y="9257"/>
                    <a:pt x="-1404" y="9257"/>
                    <a:pt x="1682" y="11314"/>
                  </a:cubicBezTo>
                  <a:cubicBezTo>
                    <a:pt x="3225" y="12343"/>
                    <a:pt x="1682" y="13371"/>
                    <a:pt x="1682" y="14400"/>
                  </a:cubicBezTo>
                  <a:cubicBezTo>
                    <a:pt x="139" y="16457"/>
                    <a:pt x="1682" y="17486"/>
                    <a:pt x="3225" y="18514"/>
                  </a:cubicBezTo>
                  <a:cubicBezTo>
                    <a:pt x="6310" y="19543"/>
                    <a:pt x="9396" y="19543"/>
                    <a:pt x="10939" y="19543"/>
                  </a:cubicBezTo>
                  <a:cubicBezTo>
                    <a:pt x="15567" y="21600"/>
                    <a:pt x="12482" y="18514"/>
                    <a:pt x="10939" y="16457"/>
                  </a:cubicBezTo>
                  <a:cubicBezTo>
                    <a:pt x="10939" y="16457"/>
                    <a:pt x="10939" y="12343"/>
                    <a:pt x="14025" y="12343"/>
                  </a:cubicBezTo>
                  <a:cubicBezTo>
                    <a:pt x="15567" y="12343"/>
                    <a:pt x="15567" y="17486"/>
                    <a:pt x="17110" y="17486"/>
                  </a:cubicBezTo>
                  <a:cubicBezTo>
                    <a:pt x="17110" y="17486"/>
                    <a:pt x="18653" y="14400"/>
                    <a:pt x="18653" y="14400"/>
                  </a:cubicBezTo>
                  <a:cubicBezTo>
                    <a:pt x="20196" y="12343"/>
                    <a:pt x="20196" y="11314"/>
                    <a:pt x="18653" y="10286"/>
                  </a:cubicBezTo>
                  <a:cubicBezTo>
                    <a:pt x="18653" y="7200"/>
                    <a:pt x="18653" y="1029"/>
                    <a:pt x="14025" y="0"/>
                  </a:cubicBezTo>
                  <a:cubicBezTo>
                    <a:pt x="12482" y="0"/>
                    <a:pt x="14025" y="1029"/>
                    <a:pt x="14025"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2" name="Shape 1871">
              <a:extLst>
                <a:ext uri="{FF2B5EF4-FFF2-40B4-BE49-F238E27FC236}">
                  <a16:creationId xmlns:a16="http://schemas.microsoft.com/office/drawing/2014/main" id="{94296538-6BC0-A501-7F14-D952D107DC79}"/>
                </a:ext>
              </a:extLst>
            </p:cNvPr>
            <p:cNvSpPr/>
            <p:nvPr/>
          </p:nvSpPr>
          <p:spPr>
            <a:xfrm>
              <a:off x="9463632" y="3472067"/>
              <a:ext cx="62826" cy="61779"/>
            </a:xfrm>
            <a:custGeom>
              <a:avLst/>
              <a:gdLst/>
              <a:ahLst/>
              <a:cxnLst>
                <a:cxn ang="0">
                  <a:pos x="wd2" y="hd2"/>
                </a:cxn>
                <a:cxn ang="5400000">
                  <a:pos x="wd2" y="hd2"/>
                </a:cxn>
                <a:cxn ang="10800000">
                  <a:pos x="wd2" y="hd2"/>
                </a:cxn>
                <a:cxn ang="16200000">
                  <a:pos x="wd2" y="hd2"/>
                </a:cxn>
              </a:cxnLst>
              <a:rect l="0" t="0" r="r" b="b"/>
              <a:pathLst>
                <a:path w="17252" h="19787" extrusionOk="0">
                  <a:moveTo>
                    <a:pt x="14400" y="347"/>
                  </a:moveTo>
                  <a:cubicBezTo>
                    <a:pt x="10800" y="-1813"/>
                    <a:pt x="9000" y="6827"/>
                    <a:pt x="3600" y="6827"/>
                  </a:cubicBezTo>
                  <a:cubicBezTo>
                    <a:pt x="0" y="8987"/>
                    <a:pt x="0" y="17627"/>
                    <a:pt x="0" y="19787"/>
                  </a:cubicBezTo>
                  <a:cubicBezTo>
                    <a:pt x="1800" y="17627"/>
                    <a:pt x="1800" y="13307"/>
                    <a:pt x="3600" y="11147"/>
                  </a:cubicBezTo>
                  <a:cubicBezTo>
                    <a:pt x="3600" y="11147"/>
                    <a:pt x="7200" y="8987"/>
                    <a:pt x="7200" y="11147"/>
                  </a:cubicBezTo>
                  <a:cubicBezTo>
                    <a:pt x="7200" y="13307"/>
                    <a:pt x="10800" y="13307"/>
                    <a:pt x="10800" y="13307"/>
                  </a:cubicBezTo>
                  <a:cubicBezTo>
                    <a:pt x="12600" y="13307"/>
                    <a:pt x="12600" y="15467"/>
                    <a:pt x="14400" y="13307"/>
                  </a:cubicBezTo>
                  <a:cubicBezTo>
                    <a:pt x="14400" y="13307"/>
                    <a:pt x="14400" y="8987"/>
                    <a:pt x="14400" y="8987"/>
                  </a:cubicBezTo>
                  <a:cubicBezTo>
                    <a:pt x="16200" y="4667"/>
                    <a:pt x="19800" y="2507"/>
                    <a:pt x="14400" y="347"/>
                  </a:cubicBezTo>
                  <a:cubicBezTo>
                    <a:pt x="12600" y="347"/>
                    <a:pt x="21600" y="4667"/>
                    <a:pt x="14400" y="34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3" name="Shape 1872">
              <a:extLst>
                <a:ext uri="{FF2B5EF4-FFF2-40B4-BE49-F238E27FC236}">
                  <a16:creationId xmlns:a16="http://schemas.microsoft.com/office/drawing/2014/main" id="{99B87091-93D1-61B6-AB0B-D4575B88DDE1}"/>
                </a:ext>
              </a:extLst>
            </p:cNvPr>
            <p:cNvSpPr/>
            <p:nvPr/>
          </p:nvSpPr>
          <p:spPr>
            <a:xfrm>
              <a:off x="9304066" y="3401214"/>
              <a:ext cx="74821" cy="78680"/>
            </a:xfrm>
            <a:custGeom>
              <a:avLst/>
              <a:gdLst/>
              <a:ahLst/>
              <a:cxnLst>
                <a:cxn ang="0">
                  <a:pos x="wd2" y="hd2"/>
                </a:cxn>
                <a:cxn ang="5400000">
                  <a:pos x="wd2" y="hd2"/>
                </a:cxn>
                <a:cxn ang="10800000">
                  <a:pos x="wd2" y="hd2"/>
                </a:cxn>
                <a:cxn ang="16200000">
                  <a:pos x="wd2" y="hd2"/>
                </a:cxn>
              </a:cxnLst>
              <a:rect l="0" t="0" r="r" b="b"/>
              <a:pathLst>
                <a:path w="20546" h="21600" extrusionOk="0">
                  <a:moveTo>
                    <a:pt x="19800" y="0"/>
                  </a:moveTo>
                  <a:cubicBezTo>
                    <a:pt x="16200" y="1800"/>
                    <a:pt x="12600" y="7200"/>
                    <a:pt x="10800" y="10800"/>
                  </a:cubicBezTo>
                  <a:cubicBezTo>
                    <a:pt x="9000" y="12600"/>
                    <a:pt x="0" y="18000"/>
                    <a:pt x="0" y="21600"/>
                  </a:cubicBezTo>
                  <a:cubicBezTo>
                    <a:pt x="0" y="21600"/>
                    <a:pt x="5400" y="19800"/>
                    <a:pt x="7200" y="18000"/>
                  </a:cubicBezTo>
                  <a:cubicBezTo>
                    <a:pt x="9000" y="18000"/>
                    <a:pt x="12600" y="14400"/>
                    <a:pt x="14400" y="12600"/>
                  </a:cubicBezTo>
                  <a:cubicBezTo>
                    <a:pt x="14400" y="9000"/>
                    <a:pt x="16200" y="7200"/>
                    <a:pt x="18000" y="5400"/>
                  </a:cubicBezTo>
                  <a:cubicBezTo>
                    <a:pt x="19800" y="5400"/>
                    <a:pt x="21600" y="0"/>
                    <a:pt x="19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4" name="Shape 1873">
              <a:extLst>
                <a:ext uri="{FF2B5EF4-FFF2-40B4-BE49-F238E27FC236}">
                  <a16:creationId xmlns:a16="http://schemas.microsoft.com/office/drawing/2014/main" id="{6B0A51E2-E23E-FD0F-F3FC-5EFA3B0F4B73}"/>
                </a:ext>
              </a:extLst>
            </p:cNvPr>
            <p:cNvSpPr/>
            <p:nvPr/>
          </p:nvSpPr>
          <p:spPr>
            <a:xfrm>
              <a:off x="9535550" y="3302303"/>
              <a:ext cx="9536" cy="6744"/>
            </a:xfrm>
            <a:custGeom>
              <a:avLst/>
              <a:gdLst/>
              <a:ahLst/>
              <a:cxnLst>
                <a:cxn ang="0">
                  <a:pos x="wd2" y="hd2"/>
                </a:cxn>
                <a:cxn ang="5400000">
                  <a:pos x="wd2" y="hd2"/>
                </a:cxn>
                <a:cxn ang="10800000">
                  <a:pos x="wd2" y="hd2"/>
                </a:cxn>
                <a:cxn ang="16200000">
                  <a:pos x="wd2" y="hd2"/>
                </a:cxn>
              </a:cxnLst>
              <a:rect l="0" t="0" r="r" b="b"/>
              <a:pathLst>
                <a:path w="15274" h="21600" extrusionOk="0">
                  <a:moveTo>
                    <a:pt x="0" y="21600"/>
                  </a:moveTo>
                  <a:cubicBezTo>
                    <a:pt x="10800" y="21600"/>
                    <a:pt x="21600" y="0"/>
                    <a:pt x="10800" y="0"/>
                  </a:cubicBezTo>
                  <a:cubicBezTo>
                    <a:pt x="0" y="0"/>
                    <a:pt x="0" y="21600"/>
                    <a:pt x="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5" name="Shape 1874">
              <a:extLst>
                <a:ext uri="{FF2B5EF4-FFF2-40B4-BE49-F238E27FC236}">
                  <a16:creationId xmlns:a16="http://schemas.microsoft.com/office/drawing/2014/main" id="{D96A0FB8-4CD2-A5CA-72ED-DA804F968840}"/>
                </a:ext>
              </a:extLst>
            </p:cNvPr>
            <p:cNvSpPr/>
            <p:nvPr/>
          </p:nvSpPr>
          <p:spPr>
            <a:xfrm>
              <a:off x="8588112" y="3578690"/>
              <a:ext cx="356126" cy="374098"/>
            </a:xfrm>
            <a:custGeom>
              <a:avLst/>
              <a:gdLst/>
              <a:ahLst/>
              <a:cxnLst>
                <a:cxn ang="0">
                  <a:pos x="wd2" y="hd2"/>
                </a:cxn>
                <a:cxn ang="5400000">
                  <a:pos x="wd2" y="hd2"/>
                </a:cxn>
                <a:cxn ang="10800000">
                  <a:pos x="wd2" y="hd2"/>
                </a:cxn>
                <a:cxn ang="16200000">
                  <a:pos x="wd2" y="hd2"/>
                </a:cxn>
              </a:cxnLst>
              <a:rect l="0" t="0" r="r" b="b"/>
              <a:pathLst>
                <a:path w="20870" h="21021" extrusionOk="0">
                  <a:moveTo>
                    <a:pt x="4177" y="745"/>
                  </a:moveTo>
                  <a:cubicBezTo>
                    <a:pt x="3019" y="745"/>
                    <a:pt x="2248" y="745"/>
                    <a:pt x="1091" y="373"/>
                  </a:cubicBezTo>
                  <a:cubicBezTo>
                    <a:pt x="319" y="0"/>
                    <a:pt x="-452" y="-372"/>
                    <a:pt x="319" y="745"/>
                  </a:cubicBezTo>
                  <a:cubicBezTo>
                    <a:pt x="705" y="1490"/>
                    <a:pt x="1091" y="2607"/>
                    <a:pt x="1862" y="2980"/>
                  </a:cubicBezTo>
                  <a:cubicBezTo>
                    <a:pt x="2634" y="3352"/>
                    <a:pt x="3405" y="3725"/>
                    <a:pt x="3791" y="4469"/>
                  </a:cubicBezTo>
                  <a:cubicBezTo>
                    <a:pt x="4177" y="4842"/>
                    <a:pt x="4177" y="5587"/>
                    <a:pt x="4562" y="5959"/>
                  </a:cubicBezTo>
                  <a:cubicBezTo>
                    <a:pt x="5334" y="6331"/>
                    <a:pt x="5719" y="6331"/>
                    <a:pt x="6105" y="6704"/>
                  </a:cubicBezTo>
                  <a:cubicBezTo>
                    <a:pt x="6877" y="7449"/>
                    <a:pt x="6877" y="8566"/>
                    <a:pt x="7262" y="9311"/>
                  </a:cubicBezTo>
                  <a:cubicBezTo>
                    <a:pt x="7648" y="9683"/>
                    <a:pt x="8034" y="10056"/>
                    <a:pt x="8034" y="10056"/>
                  </a:cubicBezTo>
                  <a:cubicBezTo>
                    <a:pt x="8805" y="10800"/>
                    <a:pt x="9191" y="11173"/>
                    <a:pt x="9577" y="11918"/>
                  </a:cubicBezTo>
                  <a:cubicBezTo>
                    <a:pt x="10348" y="13035"/>
                    <a:pt x="10348" y="14152"/>
                    <a:pt x="11119" y="15269"/>
                  </a:cubicBezTo>
                  <a:cubicBezTo>
                    <a:pt x="12662" y="16387"/>
                    <a:pt x="13819" y="17876"/>
                    <a:pt x="15362" y="18994"/>
                  </a:cubicBezTo>
                  <a:cubicBezTo>
                    <a:pt x="16134" y="19738"/>
                    <a:pt x="16519" y="20111"/>
                    <a:pt x="17291" y="20856"/>
                  </a:cubicBezTo>
                  <a:cubicBezTo>
                    <a:pt x="17677" y="20856"/>
                    <a:pt x="19991" y="21228"/>
                    <a:pt x="20377" y="20856"/>
                  </a:cubicBezTo>
                  <a:cubicBezTo>
                    <a:pt x="20762" y="20483"/>
                    <a:pt x="19991" y="17504"/>
                    <a:pt x="20377" y="16759"/>
                  </a:cubicBezTo>
                  <a:cubicBezTo>
                    <a:pt x="20377" y="16387"/>
                    <a:pt x="21148" y="16387"/>
                    <a:pt x="20762" y="16014"/>
                  </a:cubicBezTo>
                  <a:cubicBezTo>
                    <a:pt x="20377" y="15642"/>
                    <a:pt x="19991" y="15269"/>
                    <a:pt x="19605" y="14897"/>
                  </a:cubicBezTo>
                  <a:cubicBezTo>
                    <a:pt x="19605" y="14897"/>
                    <a:pt x="19219" y="14525"/>
                    <a:pt x="18834" y="14525"/>
                  </a:cubicBezTo>
                  <a:cubicBezTo>
                    <a:pt x="18448" y="14525"/>
                    <a:pt x="18448" y="15269"/>
                    <a:pt x="18062" y="15269"/>
                  </a:cubicBezTo>
                  <a:cubicBezTo>
                    <a:pt x="18448" y="15269"/>
                    <a:pt x="18062" y="13780"/>
                    <a:pt x="18062" y="13780"/>
                  </a:cubicBezTo>
                  <a:cubicBezTo>
                    <a:pt x="17677" y="13407"/>
                    <a:pt x="17677" y="13407"/>
                    <a:pt x="17677" y="13035"/>
                  </a:cubicBezTo>
                  <a:cubicBezTo>
                    <a:pt x="17677" y="12662"/>
                    <a:pt x="16905" y="12290"/>
                    <a:pt x="16519" y="12290"/>
                  </a:cubicBezTo>
                  <a:cubicBezTo>
                    <a:pt x="16134" y="11918"/>
                    <a:pt x="15362" y="11545"/>
                    <a:pt x="15748" y="10800"/>
                  </a:cubicBezTo>
                  <a:cubicBezTo>
                    <a:pt x="15748" y="10800"/>
                    <a:pt x="15362" y="10428"/>
                    <a:pt x="15748" y="10428"/>
                  </a:cubicBezTo>
                  <a:cubicBezTo>
                    <a:pt x="15748" y="10056"/>
                    <a:pt x="16134" y="10428"/>
                    <a:pt x="16134" y="10056"/>
                  </a:cubicBezTo>
                  <a:cubicBezTo>
                    <a:pt x="16519" y="9311"/>
                    <a:pt x="14205" y="9311"/>
                    <a:pt x="14205" y="9683"/>
                  </a:cubicBezTo>
                  <a:cubicBezTo>
                    <a:pt x="14205" y="9311"/>
                    <a:pt x="15748" y="8938"/>
                    <a:pt x="14205" y="8938"/>
                  </a:cubicBezTo>
                  <a:cubicBezTo>
                    <a:pt x="13819" y="8938"/>
                    <a:pt x="13434" y="8566"/>
                    <a:pt x="13434" y="8566"/>
                  </a:cubicBezTo>
                  <a:cubicBezTo>
                    <a:pt x="13434" y="8194"/>
                    <a:pt x="13819" y="8194"/>
                    <a:pt x="13819" y="8194"/>
                  </a:cubicBezTo>
                  <a:cubicBezTo>
                    <a:pt x="13819" y="7821"/>
                    <a:pt x="13048" y="7821"/>
                    <a:pt x="13048" y="7821"/>
                  </a:cubicBezTo>
                  <a:cubicBezTo>
                    <a:pt x="13048" y="7821"/>
                    <a:pt x="13434" y="7449"/>
                    <a:pt x="12662" y="7449"/>
                  </a:cubicBezTo>
                  <a:cubicBezTo>
                    <a:pt x="12277" y="7076"/>
                    <a:pt x="11891" y="7076"/>
                    <a:pt x="11505" y="6704"/>
                  </a:cubicBezTo>
                  <a:cubicBezTo>
                    <a:pt x="10348" y="5214"/>
                    <a:pt x="11119" y="6704"/>
                    <a:pt x="11119" y="6704"/>
                  </a:cubicBezTo>
                  <a:cubicBezTo>
                    <a:pt x="10734" y="6704"/>
                    <a:pt x="9577" y="5587"/>
                    <a:pt x="9191" y="5587"/>
                  </a:cubicBezTo>
                  <a:cubicBezTo>
                    <a:pt x="8805" y="4842"/>
                    <a:pt x="8419" y="4097"/>
                    <a:pt x="7648" y="3725"/>
                  </a:cubicBezTo>
                  <a:cubicBezTo>
                    <a:pt x="6877" y="3352"/>
                    <a:pt x="6491" y="2980"/>
                    <a:pt x="5719" y="2235"/>
                  </a:cubicBezTo>
                  <a:cubicBezTo>
                    <a:pt x="5334" y="1862"/>
                    <a:pt x="4948" y="745"/>
                    <a:pt x="4177" y="74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6" name="Shape 1875">
              <a:extLst>
                <a:ext uri="{FF2B5EF4-FFF2-40B4-BE49-F238E27FC236}">
                  <a16:creationId xmlns:a16="http://schemas.microsoft.com/office/drawing/2014/main" id="{8C7EA1E9-805B-04D3-9F62-81A4341058CA}"/>
                </a:ext>
              </a:extLst>
            </p:cNvPr>
            <p:cNvSpPr/>
            <p:nvPr/>
          </p:nvSpPr>
          <p:spPr>
            <a:xfrm>
              <a:off x="8650958" y="3711439"/>
              <a:ext cx="22941" cy="28051"/>
            </a:xfrm>
            <a:custGeom>
              <a:avLst/>
              <a:gdLst/>
              <a:ahLst/>
              <a:cxnLst>
                <a:cxn ang="0">
                  <a:pos x="wd2" y="hd2"/>
                </a:cxn>
                <a:cxn ang="5400000">
                  <a:pos x="wd2" y="hd2"/>
                </a:cxn>
                <a:cxn ang="10800000">
                  <a:pos x="wd2" y="hd2"/>
                </a:cxn>
                <a:cxn ang="16200000">
                  <a:pos x="wd2" y="hd2"/>
                </a:cxn>
              </a:cxnLst>
              <a:rect l="0" t="0" r="r" b="b"/>
              <a:pathLst>
                <a:path w="14699" h="17968" extrusionOk="0">
                  <a:moveTo>
                    <a:pt x="13829" y="17280"/>
                  </a:moveTo>
                  <a:cubicBezTo>
                    <a:pt x="18149" y="12960"/>
                    <a:pt x="5189" y="0"/>
                    <a:pt x="869" y="0"/>
                  </a:cubicBezTo>
                  <a:cubicBezTo>
                    <a:pt x="-3451" y="4320"/>
                    <a:pt x="9509" y="21600"/>
                    <a:pt x="13829"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7" name="Shape 1876">
              <a:extLst>
                <a:ext uri="{FF2B5EF4-FFF2-40B4-BE49-F238E27FC236}">
                  <a16:creationId xmlns:a16="http://schemas.microsoft.com/office/drawing/2014/main" id="{9F3BE352-D8F8-B5EF-E8DE-2759D7F01768}"/>
                </a:ext>
              </a:extLst>
            </p:cNvPr>
            <p:cNvSpPr/>
            <p:nvPr/>
          </p:nvSpPr>
          <p:spPr>
            <a:xfrm>
              <a:off x="8697797" y="3790119"/>
              <a:ext cx="21412" cy="28051"/>
            </a:xfrm>
            <a:custGeom>
              <a:avLst/>
              <a:gdLst/>
              <a:ahLst/>
              <a:cxnLst>
                <a:cxn ang="0">
                  <a:pos x="wd2" y="hd2"/>
                </a:cxn>
                <a:cxn ang="5400000">
                  <a:pos x="wd2" y="hd2"/>
                </a:cxn>
                <a:cxn ang="10800000">
                  <a:pos x="wd2" y="hd2"/>
                </a:cxn>
                <a:cxn ang="16200000">
                  <a:pos x="wd2" y="hd2"/>
                </a:cxn>
              </a:cxnLst>
              <a:rect l="0" t="0" r="r" b="b"/>
              <a:pathLst>
                <a:path w="14699" h="17968" extrusionOk="0">
                  <a:moveTo>
                    <a:pt x="13829" y="17280"/>
                  </a:moveTo>
                  <a:cubicBezTo>
                    <a:pt x="18149" y="12960"/>
                    <a:pt x="5189" y="0"/>
                    <a:pt x="869" y="0"/>
                  </a:cubicBezTo>
                  <a:cubicBezTo>
                    <a:pt x="-3451" y="4320"/>
                    <a:pt x="9509" y="21600"/>
                    <a:pt x="13829"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8" name="Shape 1877">
              <a:extLst>
                <a:ext uri="{FF2B5EF4-FFF2-40B4-BE49-F238E27FC236}">
                  <a16:creationId xmlns:a16="http://schemas.microsoft.com/office/drawing/2014/main" id="{C1E7A4A0-9BCF-5126-69FF-797BF8C717E8}"/>
                </a:ext>
              </a:extLst>
            </p:cNvPr>
            <p:cNvSpPr/>
            <p:nvPr/>
          </p:nvSpPr>
          <p:spPr>
            <a:xfrm>
              <a:off x="8915264" y="3814447"/>
              <a:ext cx="47196" cy="43110"/>
            </a:xfrm>
            <a:custGeom>
              <a:avLst/>
              <a:gdLst/>
              <a:ahLst/>
              <a:cxnLst>
                <a:cxn ang="0">
                  <a:pos x="wd2" y="hd2"/>
                </a:cxn>
                <a:cxn ang="5400000">
                  <a:pos x="wd2" y="hd2"/>
                </a:cxn>
                <a:cxn ang="10800000">
                  <a:pos x="wd2" y="hd2"/>
                </a:cxn>
                <a:cxn ang="16200000">
                  <a:pos x="wd2" y="hd2"/>
                </a:cxn>
              </a:cxnLst>
              <a:rect l="0" t="0" r="r" b="b"/>
              <a:pathLst>
                <a:path w="21600" h="19725" extrusionOk="0">
                  <a:moveTo>
                    <a:pt x="21600" y="19725"/>
                  </a:moveTo>
                  <a:cubicBezTo>
                    <a:pt x="21600" y="13554"/>
                    <a:pt x="15429" y="13554"/>
                    <a:pt x="15429" y="7382"/>
                  </a:cubicBezTo>
                  <a:cubicBezTo>
                    <a:pt x="15429" y="1211"/>
                    <a:pt x="6171" y="-1875"/>
                    <a:pt x="0" y="1211"/>
                  </a:cubicBezTo>
                  <a:cubicBezTo>
                    <a:pt x="0" y="4296"/>
                    <a:pt x="0" y="7382"/>
                    <a:pt x="3086" y="7382"/>
                  </a:cubicBezTo>
                  <a:cubicBezTo>
                    <a:pt x="9257" y="7382"/>
                    <a:pt x="6171" y="10468"/>
                    <a:pt x="9257" y="13554"/>
                  </a:cubicBezTo>
                  <a:cubicBezTo>
                    <a:pt x="9257" y="16639"/>
                    <a:pt x="21600" y="19725"/>
                    <a:pt x="21600" y="197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59" name="Shape 1878">
              <a:extLst>
                <a:ext uri="{FF2B5EF4-FFF2-40B4-BE49-F238E27FC236}">
                  <a16:creationId xmlns:a16="http://schemas.microsoft.com/office/drawing/2014/main" id="{1E977455-3802-5D9D-1892-29C6EBF68E15}"/>
                </a:ext>
              </a:extLst>
            </p:cNvPr>
            <p:cNvSpPr/>
            <p:nvPr/>
          </p:nvSpPr>
          <p:spPr>
            <a:xfrm>
              <a:off x="8992520" y="3844069"/>
              <a:ext cx="18542" cy="21295"/>
            </a:xfrm>
            <a:custGeom>
              <a:avLst/>
              <a:gdLst/>
              <a:ahLst/>
              <a:cxnLst>
                <a:cxn ang="0">
                  <a:pos x="wd2" y="hd2"/>
                </a:cxn>
                <a:cxn ang="5400000">
                  <a:pos x="wd2" y="hd2"/>
                </a:cxn>
                <a:cxn ang="10800000">
                  <a:pos x="wd2" y="hd2"/>
                </a:cxn>
                <a:cxn ang="16200000">
                  <a:pos x="wd2" y="hd2"/>
                </a:cxn>
              </a:cxnLst>
              <a:rect l="0" t="0" r="r" b="b"/>
              <a:pathLst>
                <a:path w="16200" h="18600" extrusionOk="0">
                  <a:moveTo>
                    <a:pt x="8100" y="16200"/>
                  </a:moveTo>
                  <a:cubicBezTo>
                    <a:pt x="-2700" y="21600"/>
                    <a:pt x="-2700" y="5400"/>
                    <a:pt x="8100" y="0"/>
                  </a:cubicBezTo>
                  <a:cubicBezTo>
                    <a:pt x="18900" y="0"/>
                    <a:pt x="18900" y="16200"/>
                    <a:pt x="8100" y="16200"/>
                  </a:cubicBezTo>
                  <a:cubicBezTo>
                    <a:pt x="2700" y="21600"/>
                    <a:pt x="13500" y="16200"/>
                    <a:pt x="8100"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0" name="Shape 1879">
              <a:extLst>
                <a:ext uri="{FF2B5EF4-FFF2-40B4-BE49-F238E27FC236}">
                  <a16:creationId xmlns:a16="http://schemas.microsoft.com/office/drawing/2014/main" id="{8C93CB5B-A13F-4947-1725-772E498EC61B}"/>
                </a:ext>
              </a:extLst>
            </p:cNvPr>
            <p:cNvSpPr/>
            <p:nvPr/>
          </p:nvSpPr>
          <p:spPr>
            <a:xfrm>
              <a:off x="8922006" y="3956469"/>
              <a:ext cx="298604" cy="91585"/>
            </a:xfrm>
            <a:custGeom>
              <a:avLst/>
              <a:gdLst/>
              <a:ahLst/>
              <a:cxnLst>
                <a:cxn ang="0">
                  <a:pos x="wd2" y="hd2"/>
                </a:cxn>
                <a:cxn ang="5400000">
                  <a:pos x="wd2" y="hd2"/>
                </a:cxn>
                <a:cxn ang="10800000">
                  <a:pos x="wd2" y="hd2"/>
                </a:cxn>
                <a:cxn ang="16200000">
                  <a:pos x="wd2" y="hd2"/>
                </a:cxn>
              </a:cxnLst>
              <a:rect l="0" t="0" r="r" b="b"/>
              <a:pathLst>
                <a:path w="21258" h="20000" extrusionOk="0">
                  <a:moveTo>
                    <a:pt x="4226" y="0"/>
                  </a:moveTo>
                  <a:cubicBezTo>
                    <a:pt x="3287" y="1440"/>
                    <a:pt x="2817" y="0"/>
                    <a:pt x="1409" y="0"/>
                  </a:cubicBezTo>
                  <a:cubicBezTo>
                    <a:pt x="1409" y="0"/>
                    <a:pt x="0" y="4320"/>
                    <a:pt x="0" y="5760"/>
                  </a:cubicBezTo>
                  <a:cubicBezTo>
                    <a:pt x="0" y="7200"/>
                    <a:pt x="1878" y="5760"/>
                    <a:pt x="2348" y="8640"/>
                  </a:cubicBezTo>
                  <a:cubicBezTo>
                    <a:pt x="2817" y="11520"/>
                    <a:pt x="4226" y="11520"/>
                    <a:pt x="5165" y="12960"/>
                  </a:cubicBezTo>
                  <a:cubicBezTo>
                    <a:pt x="6104" y="12960"/>
                    <a:pt x="6574" y="12960"/>
                    <a:pt x="7043" y="12960"/>
                  </a:cubicBezTo>
                  <a:cubicBezTo>
                    <a:pt x="8452" y="12960"/>
                    <a:pt x="9861" y="14400"/>
                    <a:pt x="11270" y="15840"/>
                  </a:cubicBezTo>
                  <a:cubicBezTo>
                    <a:pt x="13617" y="17280"/>
                    <a:pt x="16435" y="15840"/>
                    <a:pt x="18783" y="18720"/>
                  </a:cubicBezTo>
                  <a:cubicBezTo>
                    <a:pt x="19252" y="18720"/>
                    <a:pt x="20661" y="21600"/>
                    <a:pt x="21130" y="18720"/>
                  </a:cubicBezTo>
                  <a:cubicBezTo>
                    <a:pt x="21600" y="18720"/>
                    <a:pt x="20661" y="12960"/>
                    <a:pt x="20191" y="12960"/>
                  </a:cubicBezTo>
                  <a:cubicBezTo>
                    <a:pt x="19722" y="11520"/>
                    <a:pt x="19722" y="12960"/>
                    <a:pt x="19252" y="12960"/>
                  </a:cubicBezTo>
                  <a:cubicBezTo>
                    <a:pt x="18313" y="14400"/>
                    <a:pt x="17843" y="12960"/>
                    <a:pt x="17374" y="12960"/>
                  </a:cubicBezTo>
                  <a:cubicBezTo>
                    <a:pt x="16904" y="11520"/>
                    <a:pt x="16904" y="10080"/>
                    <a:pt x="16435" y="8640"/>
                  </a:cubicBezTo>
                  <a:cubicBezTo>
                    <a:pt x="16435" y="7200"/>
                    <a:pt x="15496" y="7200"/>
                    <a:pt x="15026" y="5760"/>
                  </a:cubicBezTo>
                  <a:cubicBezTo>
                    <a:pt x="14557" y="5760"/>
                    <a:pt x="13148" y="4320"/>
                    <a:pt x="12678" y="4320"/>
                  </a:cubicBezTo>
                  <a:cubicBezTo>
                    <a:pt x="12209" y="4320"/>
                    <a:pt x="11739" y="5760"/>
                    <a:pt x="11739" y="5760"/>
                  </a:cubicBezTo>
                  <a:cubicBezTo>
                    <a:pt x="11270" y="7200"/>
                    <a:pt x="10800" y="7200"/>
                    <a:pt x="9861" y="7200"/>
                  </a:cubicBezTo>
                  <a:cubicBezTo>
                    <a:pt x="8922" y="7200"/>
                    <a:pt x="7983" y="5760"/>
                    <a:pt x="7043" y="4320"/>
                  </a:cubicBezTo>
                  <a:cubicBezTo>
                    <a:pt x="6574" y="2880"/>
                    <a:pt x="5635" y="2880"/>
                    <a:pt x="5165" y="2880"/>
                  </a:cubicBezTo>
                  <a:cubicBezTo>
                    <a:pt x="5165" y="2880"/>
                    <a:pt x="4696" y="0"/>
                    <a:pt x="4226" y="0"/>
                  </a:cubicBezTo>
                  <a:cubicBezTo>
                    <a:pt x="3757" y="1440"/>
                    <a:pt x="4696" y="0"/>
                    <a:pt x="4226"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1" name="Shape 1880">
              <a:extLst>
                <a:ext uri="{FF2B5EF4-FFF2-40B4-BE49-F238E27FC236}">
                  <a16:creationId xmlns:a16="http://schemas.microsoft.com/office/drawing/2014/main" id="{954D071D-3881-0038-7D4A-60A2D0602CFC}"/>
                </a:ext>
              </a:extLst>
            </p:cNvPr>
            <p:cNvSpPr/>
            <p:nvPr/>
          </p:nvSpPr>
          <p:spPr>
            <a:xfrm>
              <a:off x="9161336" y="3986100"/>
              <a:ext cx="37101" cy="15327"/>
            </a:xfrm>
            <a:custGeom>
              <a:avLst/>
              <a:gdLst/>
              <a:ahLst/>
              <a:cxnLst>
                <a:cxn ang="0">
                  <a:pos x="wd2" y="hd2"/>
                </a:cxn>
                <a:cxn ang="5400000">
                  <a:pos x="wd2" y="hd2"/>
                </a:cxn>
                <a:cxn ang="10800000">
                  <a:pos x="wd2" y="hd2"/>
                </a:cxn>
                <a:cxn ang="16200000">
                  <a:pos x="wd2" y="hd2"/>
                </a:cxn>
              </a:cxnLst>
              <a:rect l="0" t="0" r="r" b="b"/>
              <a:pathLst>
                <a:path w="15503" h="16362" extrusionOk="0">
                  <a:moveTo>
                    <a:pt x="2003" y="16362"/>
                  </a:moveTo>
                  <a:cubicBezTo>
                    <a:pt x="-6097" y="9162"/>
                    <a:pt x="12803" y="-5238"/>
                    <a:pt x="15503" y="1962"/>
                  </a:cubicBezTo>
                  <a:cubicBezTo>
                    <a:pt x="15503" y="9162"/>
                    <a:pt x="4703" y="16362"/>
                    <a:pt x="2003" y="16362"/>
                  </a:cubicBezTo>
                  <a:cubicBezTo>
                    <a:pt x="-697" y="16362"/>
                    <a:pt x="4703" y="16362"/>
                    <a:pt x="2003" y="1636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2" name="Shape 1881">
              <a:extLst>
                <a:ext uri="{FF2B5EF4-FFF2-40B4-BE49-F238E27FC236}">
                  <a16:creationId xmlns:a16="http://schemas.microsoft.com/office/drawing/2014/main" id="{42CAC2A5-46BF-EAD7-782D-99B86711C23C}"/>
                </a:ext>
              </a:extLst>
            </p:cNvPr>
            <p:cNvSpPr/>
            <p:nvPr/>
          </p:nvSpPr>
          <p:spPr>
            <a:xfrm>
              <a:off x="9223568" y="4028403"/>
              <a:ext cx="28087" cy="26977"/>
            </a:xfrm>
            <a:custGeom>
              <a:avLst/>
              <a:gdLst/>
              <a:ahLst/>
              <a:cxnLst>
                <a:cxn ang="0">
                  <a:pos x="wd2" y="hd2"/>
                </a:cxn>
                <a:cxn ang="5400000">
                  <a:pos x="wd2" y="hd2"/>
                </a:cxn>
                <a:cxn ang="10800000">
                  <a:pos x="wd2" y="hd2"/>
                </a:cxn>
                <a:cxn ang="16200000">
                  <a:pos x="wd2" y="hd2"/>
                </a:cxn>
              </a:cxnLst>
              <a:rect l="0" t="0" r="r" b="b"/>
              <a:pathLst>
                <a:path w="14997" h="21600" extrusionOk="0">
                  <a:moveTo>
                    <a:pt x="8181" y="0"/>
                  </a:moveTo>
                  <a:cubicBezTo>
                    <a:pt x="4581" y="0"/>
                    <a:pt x="-2619" y="0"/>
                    <a:pt x="981" y="5400"/>
                  </a:cubicBezTo>
                  <a:cubicBezTo>
                    <a:pt x="981" y="5400"/>
                    <a:pt x="8181" y="21600"/>
                    <a:pt x="8181" y="21600"/>
                  </a:cubicBezTo>
                  <a:cubicBezTo>
                    <a:pt x="15381" y="21600"/>
                    <a:pt x="18981" y="0"/>
                    <a:pt x="8181"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3" name="Shape 1882">
              <a:extLst>
                <a:ext uri="{FF2B5EF4-FFF2-40B4-BE49-F238E27FC236}">
                  <a16:creationId xmlns:a16="http://schemas.microsoft.com/office/drawing/2014/main" id="{2A327B8E-10EC-6E75-B626-00FC7D83FDF7}"/>
                </a:ext>
              </a:extLst>
            </p:cNvPr>
            <p:cNvSpPr/>
            <p:nvPr/>
          </p:nvSpPr>
          <p:spPr>
            <a:xfrm>
              <a:off x="9263649" y="4035147"/>
              <a:ext cx="23438" cy="16486"/>
            </a:xfrm>
            <a:custGeom>
              <a:avLst/>
              <a:gdLst/>
              <a:ahLst/>
              <a:cxnLst>
                <a:cxn ang="0">
                  <a:pos x="wd2" y="hd2"/>
                </a:cxn>
                <a:cxn ang="5400000">
                  <a:pos x="wd2" y="hd2"/>
                </a:cxn>
                <a:cxn ang="10800000">
                  <a:pos x="wd2" y="hd2"/>
                </a:cxn>
                <a:cxn ang="16200000">
                  <a:pos x="wd2" y="hd2"/>
                </a:cxn>
              </a:cxnLst>
              <a:rect l="0" t="0" r="r" b="b"/>
              <a:pathLst>
                <a:path w="16090" h="17600" extrusionOk="0">
                  <a:moveTo>
                    <a:pt x="14170" y="7200"/>
                  </a:moveTo>
                  <a:cubicBezTo>
                    <a:pt x="14170" y="7200"/>
                    <a:pt x="9850" y="0"/>
                    <a:pt x="5530" y="0"/>
                  </a:cubicBezTo>
                  <a:cubicBezTo>
                    <a:pt x="5530" y="7200"/>
                    <a:pt x="-3110" y="14400"/>
                    <a:pt x="1210" y="14400"/>
                  </a:cubicBezTo>
                  <a:cubicBezTo>
                    <a:pt x="1210" y="14400"/>
                    <a:pt x="5530" y="21600"/>
                    <a:pt x="5530" y="14400"/>
                  </a:cubicBezTo>
                  <a:cubicBezTo>
                    <a:pt x="9850" y="14400"/>
                    <a:pt x="18490" y="14400"/>
                    <a:pt x="14170" y="7200"/>
                  </a:cubicBezTo>
                  <a:cubicBezTo>
                    <a:pt x="14170" y="7200"/>
                    <a:pt x="18490" y="14400"/>
                    <a:pt x="14170"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4" name="Shape 1883">
              <a:extLst>
                <a:ext uri="{FF2B5EF4-FFF2-40B4-BE49-F238E27FC236}">
                  <a16:creationId xmlns:a16="http://schemas.microsoft.com/office/drawing/2014/main" id="{DA0BAF27-AE26-B7DD-4EB3-83FFB46E2C59}"/>
                </a:ext>
              </a:extLst>
            </p:cNvPr>
            <p:cNvSpPr/>
            <p:nvPr/>
          </p:nvSpPr>
          <p:spPr>
            <a:xfrm>
              <a:off x="9289539" y="4036833"/>
              <a:ext cx="36643" cy="25291"/>
            </a:xfrm>
            <a:custGeom>
              <a:avLst/>
              <a:gdLst/>
              <a:ahLst/>
              <a:cxnLst>
                <a:cxn ang="0">
                  <a:pos x="wd2" y="hd2"/>
                </a:cxn>
                <a:cxn ang="5400000">
                  <a:pos x="wd2" y="hd2"/>
                </a:cxn>
                <a:cxn ang="10800000">
                  <a:pos x="wd2" y="hd2"/>
                </a:cxn>
                <a:cxn ang="16200000">
                  <a:pos x="wd2" y="hd2"/>
                </a:cxn>
              </a:cxnLst>
              <a:rect l="0" t="0" r="r" b="b"/>
              <a:pathLst>
                <a:path w="16770" h="20250" extrusionOk="0">
                  <a:moveTo>
                    <a:pt x="3563" y="4050"/>
                  </a:moveTo>
                  <a:cubicBezTo>
                    <a:pt x="478" y="9450"/>
                    <a:pt x="-2608" y="20250"/>
                    <a:pt x="3563" y="20250"/>
                  </a:cubicBezTo>
                  <a:cubicBezTo>
                    <a:pt x="9735" y="20250"/>
                    <a:pt x="12821" y="20250"/>
                    <a:pt x="15906" y="14850"/>
                  </a:cubicBezTo>
                  <a:cubicBezTo>
                    <a:pt x="18992" y="14850"/>
                    <a:pt x="12821" y="9450"/>
                    <a:pt x="12821" y="4050"/>
                  </a:cubicBezTo>
                  <a:cubicBezTo>
                    <a:pt x="9735" y="-1350"/>
                    <a:pt x="6649" y="-1350"/>
                    <a:pt x="3563" y="40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5" name="Shape 1884">
              <a:extLst>
                <a:ext uri="{FF2B5EF4-FFF2-40B4-BE49-F238E27FC236}">
                  <a16:creationId xmlns:a16="http://schemas.microsoft.com/office/drawing/2014/main" id="{E7112693-5A69-151A-0156-3DE4801D5BDE}"/>
                </a:ext>
              </a:extLst>
            </p:cNvPr>
            <p:cNvSpPr/>
            <p:nvPr/>
          </p:nvSpPr>
          <p:spPr>
            <a:xfrm>
              <a:off x="9317548" y="4028403"/>
              <a:ext cx="52252" cy="29772"/>
            </a:xfrm>
            <a:custGeom>
              <a:avLst/>
              <a:gdLst/>
              <a:ahLst/>
              <a:cxnLst>
                <a:cxn ang="0">
                  <a:pos x="wd2" y="hd2"/>
                </a:cxn>
                <a:cxn ang="5400000">
                  <a:pos x="wd2" y="hd2"/>
                </a:cxn>
                <a:cxn ang="10800000">
                  <a:pos x="wd2" y="hd2"/>
                </a:cxn>
                <a:cxn ang="16200000">
                  <a:pos x="wd2" y="hd2"/>
                </a:cxn>
              </a:cxnLst>
              <a:rect l="0" t="0" r="r" b="b"/>
              <a:pathLst>
                <a:path w="20925" h="19069" extrusionOk="0">
                  <a:moveTo>
                    <a:pt x="2700" y="0"/>
                  </a:moveTo>
                  <a:cubicBezTo>
                    <a:pt x="0" y="0"/>
                    <a:pt x="0" y="0"/>
                    <a:pt x="0" y="4320"/>
                  </a:cubicBezTo>
                  <a:cubicBezTo>
                    <a:pt x="0" y="4320"/>
                    <a:pt x="5400" y="4320"/>
                    <a:pt x="5400" y="8640"/>
                  </a:cubicBezTo>
                  <a:cubicBezTo>
                    <a:pt x="5400" y="8640"/>
                    <a:pt x="5400" y="12960"/>
                    <a:pt x="5400" y="12960"/>
                  </a:cubicBezTo>
                  <a:cubicBezTo>
                    <a:pt x="5400" y="17280"/>
                    <a:pt x="16200" y="21600"/>
                    <a:pt x="18900" y="17280"/>
                  </a:cubicBezTo>
                  <a:cubicBezTo>
                    <a:pt x="21600" y="12960"/>
                    <a:pt x="21600" y="8640"/>
                    <a:pt x="18900" y="4320"/>
                  </a:cubicBezTo>
                  <a:cubicBezTo>
                    <a:pt x="13500" y="4320"/>
                    <a:pt x="8100" y="4320"/>
                    <a:pt x="27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6" name="Shape 1885">
              <a:extLst>
                <a:ext uri="{FF2B5EF4-FFF2-40B4-BE49-F238E27FC236}">
                  <a16:creationId xmlns:a16="http://schemas.microsoft.com/office/drawing/2014/main" id="{DE8FE1B7-A97C-0810-B50A-E38EC012EF16}"/>
                </a:ext>
              </a:extLst>
            </p:cNvPr>
            <p:cNvSpPr/>
            <p:nvPr/>
          </p:nvSpPr>
          <p:spPr>
            <a:xfrm>
              <a:off x="9389467" y="4035147"/>
              <a:ext cx="80908" cy="19484"/>
            </a:xfrm>
            <a:custGeom>
              <a:avLst/>
              <a:gdLst/>
              <a:ahLst/>
              <a:cxnLst>
                <a:cxn ang="0">
                  <a:pos x="wd2" y="hd2"/>
                </a:cxn>
                <a:cxn ang="5400000">
                  <a:pos x="wd2" y="hd2"/>
                </a:cxn>
                <a:cxn ang="10800000">
                  <a:pos x="wd2" y="hd2"/>
                </a:cxn>
                <a:cxn ang="16200000">
                  <a:pos x="wd2" y="hd2"/>
                </a:cxn>
              </a:cxnLst>
              <a:rect l="0" t="0" r="r" b="b"/>
              <a:pathLst>
                <a:path w="21600" h="15600" extrusionOk="0">
                  <a:moveTo>
                    <a:pt x="3600" y="0"/>
                  </a:moveTo>
                  <a:cubicBezTo>
                    <a:pt x="3600" y="0"/>
                    <a:pt x="0" y="5400"/>
                    <a:pt x="0" y="10800"/>
                  </a:cubicBezTo>
                  <a:cubicBezTo>
                    <a:pt x="0" y="10800"/>
                    <a:pt x="19800" y="21600"/>
                    <a:pt x="21600" y="10800"/>
                  </a:cubicBezTo>
                  <a:cubicBezTo>
                    <a:pt x="21600" y="5400"/>
                    <a:pt x="16200" y="10800"/>
                    <a:pt x="16200" y="10800"/>
                  </a:cubicBezTo>
                  <a:cubicBezTo>
                    <a:pt x="12600" y="10800"/>
                    <a:pt x="7200" y="5400"/>
                    <a:pt x="3600" y="0"/>
                  </a:cubicBezTo>
                  <a:cubicBezTo>
                    <a:pt x="3600" y="0"/>
                    <a:pt x="5400" y="0"/>
                    <a:pt x="3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7" name="Shape 1886">
              <a:extLst>
                <a:ext uri="{FF2B5EF4-FFF2-40B4-BE49-F238E27FC236}">
                  <a16:creationId xmlns:a16="http://schemas.microsoft.com/office/drawing/2014/main" id="{E5D19524-32DF-EFA3-DEE9-F85466B90AFA}"/>
                </a:ext>
              </a:extLst>
            </p:cNvPr>
            <p:cNvSpPr/>
            <p:nvPr/>
          </p:nvSpPr>
          <p:spPr>
            <a:xfrm>
              <a:off x="9364746" y="4073363"/>
              <a:ext cx="55960" cy="29729"/>
            </a:xfrm>
            <a:custGeom>
              <a:avLst/>
              <a:gdLst/>
              <a:ahLst/>
              <a:cxnLst>
                <a:cxn ang="0">
                  <a:pos x="wd2" y="hd2"/>
                </a:cxn>
                <a:cxn ang="5400000">
                  <a:pos x="wd2" y="hd2"/>
                </a:cxn>
                <a:cxn ang="10800000">
                  <a:pos x="wd2" y="hd2"/>
                </a:cxn>
                <a:cxn ang="16200000">
                  <a:pos x="wd2" y="hd2"/>
                </a:cxn>
              </a:cxnLst>
              <a:rect l="0" t="0" r="r" b="b"/>
              <a:pathLst>
                <a:path w="16807" h="15869" extrusionOk="0">
                  <a:moveTo>
                    <a:pt x="0" y="0"/>
                  </a:moveTo>
                  <a:cubicBezTo>
                    <a:pt x="1964" y="0"/>
                    <a:pt x="13745" y="21600"/>
                    <a:pt x="15709" y="14400"/>
                  </a:cubicBezTo>
                  <a:cubicBezTo>
                    <a:pt x="21600" y="3600"/>
                    <a:pt x="1964" y="0"/>
                    <a:pt x="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8" name="Shape 1887">
              <a:extLst>
                <a:ext uri="{FF2B5EF4-FFF2-40B4-BE49-F238E27FC236}">
                  <a16:creationId xmlns:a16="http://schemas.microsoft.com/office/drawing/2014/main" id="{4BCCDE29-4A6B-A80B-6A29-1823E197A9AC}"/>
                </a:ext>
              </a:extLst>
            </p:cNvPr>
            <p:cNvSpPr/>
            <p:nvPr/>
          </p:nvSpPr>
          <p:spPr>
            <a:xfrm>
              <a:off x="9601992" y="3862054"/>
              <a:ext cx="26306" cy="23230"/>
            </a:xfrm>
            <a:custGeom>
              <a:avLst/>
              <a:gdLst/>
              <a:ahLst/>
              <a:cxnLst>
                <a:cxn ang="0">
                  <a:pos x="wd2" y="hd2"/>
                </a:cxn>
                <a:cxn ang="5400000">
                  <a:pos x="wd2" y="hd2"/>
                </a:cxn>
                <a:cxn ang="10800000">
                  <a:pos x="wd2" y="hd2"/>
                </a:cxn>
                <a:cxn ang="16200000">
                  <a:pos x="wd2" y="hd2"/>
                </a:cxn>
              </a:cxnLst>
              <a:rect l="0" t="0" r="r" b="b"/>
              <a:pathLst>
                <a:path w="14046" h="18600" extrusionOk="0">
                  <a:moveTo>
                    <a:pt x="6521" y="16200"/>
                  </a:moveTo>
                  <a:cubicBezTo>
                    <a:pt x="-4279" y="21600"/>
                    <a:pt x="-679" y="0"/>
                    <a:pt x="10121" y="0"/>
                  </a:cubicBezTo>
                  <a:cubicBezTo>
                    <a:pt x="17321" y="0"/>
                    <a:pt x="13721" y="16200"/>
                    <a:pt x="6521" y="16200"/>
                  </a:cubicBezTo>
                  <a:cubicBezTo>
                    <a:pt x="2921" y="21600"/>
                    <a:pt x="13721" y="16200"/>
                    <a:pt x="6521"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69" name="Shape 1888">
              <a:extLst>
                <a:ext uri="{FF2B5EF4-FFF2-40B4-BE49-F238E27FC236}">
                  <a16:creationId xmlns:a16="http://schemas.microsoft.com/office/drawing/2014/main" id="{9AD042C3-D9D5-F157-008A-869AF1025CD4}"/>
                </a:ext>
              </a:extLst>
            </p:cNvPr>
            <p:cNvSpPr/>
            <p:nvPr/>
          </p:nvSpPr>
          <p:spPr>
            <a:xfrm>
              <a:off x="9665266" y="3857558"/>
              <a:ext cx="95025" cy="31473"/>
            </a:xfrm>
            <a:custGeom>
              <a:avLst/>
              <a:gdLst/>
              <a:ahLst/>
              <a:cxnLst>
                <a:cxn ang="0">
                  <a:pos x="wd2" y="hd2"/>
                </a:cxn>
                <a:cxn ang="5400000">
                  <a:pos x="wd2" y="hd2"/>
                </a:cxn>
                <a:cxn ang="10800000">
                  <a:pos x="wd2" y="hd2"/>
                </a:cxn>
                <a:cxn ang="16200000">
                  <a:pos x="wd2" y="hd2"/>
                </a:cxn>
              </a:cxnLst>
              <a:rect l="0" t="0" r="r" b="b"/>
              <a:pathLst>
                <a:path w="20756" h="21600" extrusionOk="0">
                  <a:moveTo>
                    <a:pt x="2036" y="12960"/>
                  </a:moveTo>
                  <a:cubicBezTo>
                    <a:pt x="596" y="12960"/>
                    <a:pt x="-844" y="8640"/>
                    <a:pt x="596" y="4320"/>
                  </a:cubicBezTo>
                  <a:cubicBezTo>
                    <a:pt x="2036" y="0"/>
                    <a:pt x="3476" y="0"/>
                    <a:pt x="6356" y="0"/>
                  </a:cubicBezTo>
                  <a:cubicBezTo>
                    <a:pt x="10676" y="0"/>
                    <a:pt x="13556" y="0"/>
                    <a:pt x="17876" y="8640"/>
                  </a:cubicBezTo>
                  <a:cubicBezTo>
                    <a:pt x="19316" y="12960"/>
                    <a:pt x="20756" y="17280"/>
                    <a:pt x="20756" y="21600"/>
                  </a:cubicBezTo>
                  <a:cubicBezTo>
                    <a:pt x="19316" y="21600"/>
                    <a:pt x="14996" y="12960"/>
                    <a:pt x="14996" y="12960"/>
                  </a:cubicBezTo>
                  <a:cubicBezTo>
                    <a:pt x="10676" y="8640"/>
                    <a:pt x="6356" y="12960"/>
                    <a:pt x="2036" y="12960"/>
                  </a:cubicBezTo>
                  <a:cubicBezTo>
                    <a:pt x="596" y="12960"/>
                    <a:pt x="3476" y="12960"/>
                    <a:pt x="2036" y="12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0" name="Shape 1889">
              <a:extLst>
                <a:ext uri="{FF2B5EF4-FFF2-40B4-BE49-F238E27FC236}">
                  <a16:creationId xmlns:a16="http://schemas.microsoft.com/office/drawing/2014/main" id="{FD7FD071-A3C4-0AB4-C5EE-099DC0C2FEC9}"/>
                </a:ext>
              </a:extLst>
            </p:cNvPr>
            <p:cNvSpPr/>
            <p:nvPr/>
          </p:nvSpPr>
          <p:spPr>
            <a:xfrm>
              <a:off x="9360269" y="3710249"/>
              <a:ext cx="208993" cy="232731"/>
            </a:xfrm>
            <a:custGeom>
              <a:avLst/>
              <a:gdLst/>
              <a:ahLst/>
              <a:cxnLst>
                <a:cxn ang="0">
                  <a:pos x="wd2" y="hd2"/>
                </a:cxn>
                <a:cxn ang="5400000">
                  <a:pos x="wd2" y="hd2"/>
                </a:cxn>
                <a:cxn ang="10800000">
                  <a:pos x="wd2" y="hd2"/>
                </a:cxn>
                <a:cxn ang="16200000">
                  <a:pos x="wd2" y="hd2"/>
                </a:cxn>
              </a:cxnLst>
              <a:rect l="0" t="0" r="r" b="b"/>
              <a:pathLst>
                <a:path w="21368" h="21096" extrusionOk="0">
                  <a:moveTo>
                    <a:pt x="8543" y="18696"/>
                  </a:moveTo>
                  <a:cubicBezTo>
                    <a:pt x="8543" y="18096"/>
                    <a:pt x="9218" y="18096"/>
                    <a:pt x="9218" y="17496"/>
                  </a:cubicBezTo>
                  <a:cubicBezTo>
                    <a:pt x="9218" y="16896"/>
                    <a:pt x="7868" y="16296"/>
                    <a:pt x="7193" y="16296"/>
                  </a:cubicBezTo>
                  <a:cubicBezTo>
                    <a:pt x="6518" y="15096"/>
                    <a:pt x="7868" y="14496"/>
                    <a:pt x="7868" y="13296"/>
                  </a:cubicBezTo>
                  <a:cubicBezTo>
                    <a:pt x="7868" y="12696"/>
                    <a:pt x="5168" y="12696"/>
                    <a:pt x="5168" y="13296"/>
                  </a:cubicBezTo>
                  <a:cubicBezTo>
                    <a:pt x="4493" y="14496"/>
                    <a:pt x="5168" y="15696"/>
                    <a:pt x="5168" y="16896"/>
                  </a:cubicBezTo>
                  <a:cubicBezTo>
                    <a:pt x="4493" y="16896"/>
                    <a:pt x="5168" y="17496"/>
                    <a:pt x="5168" y="17496"/>
                  </a:cubicBezTo>
                  <a:cubicBezTo>
                    <a:pt x="5168" y="18696"/>
                    <a:pt x="4493" y="19296"/>
                    <a:pt x="4493" y="19896"/>
                  </a:cubicBezTo>
                  <a:cubicBezTo>
                    <a:pt x="3818" y="21096"/>
                    <a:pt x="4493" y="21096"/>
                    <a:pt x="2468" y="21096"/>
                  </a:cubicBezTo>
                  <a:cubicBezTo>
                    <a:pt x="443" y="21096"/>
                    <a:pt x="2468" y="18696"/>
                    <a:pt x="2468" y="18096"/>
                  </a:cubicBezTo>
                  <a:cubicBezTo>
                    <a:pt x="3143" y="17496"/>
                    <a:pt x="2468" y="15696"/>
                    <a:pt x="1118" y="15096"/>
                  </a:cubicBezTo>
                  <a:cubicBezTo>
                    <a:pt x="-232" y="14496"/>
                    <a:pt x="-232" y="13296"/>
                    <a:pt x="443" y="12096"/>
                  </a:cubicBezTo>
                  <a:cubicBezTo>
                    <a:pt x="1118" y="10896"/>
                    <a:pt x="1118" y="9096"/>
                    <a:pt x="1793" y="7896"/>
                  </a:cubicBezTo>
                  <a:cubicBezTo>
                    <a:pt x="3143" y="6096"/>
                    <a:pt x="2468" y="2496"/>
                    <a:pt x="5843" y="2496"/>
                  </a:cubicBezTo>
                  <a:cubicBezTo>
                    <a:pt x="6518" y="2496"/>
                    <a:pt x="5843" y="696"/>
                    <a:pt x="7193" y="696"/>
                  </a:cubicBezTo>
                  <a:cubicBezTo>
                    <a:pt x="9218" y="1296"/>
                    <a:pt x="10568" y="1896"/>
                    <a:pt x="11918" y="1896"/>
                  </a:cubicBezTo>
                  <a:cubicBezTo>
                    <a:pt x="13268" y="1896"/>
                    <a:pt x="15293" y="2496"/>
                    <a:pt x="16643" y="1896"/>
                  </a:cubicBezTo>
                  <a:cubicBezTo>
                    <a:pt x="17318" y="1896"/>
                    <a:pt x="21368" y="-504"/>
                    <a:pt x="21368" y="96"/>
                  </a:cubicBezTo>
                  <a:cubicBezTo>
                    <a:pt x="21368" y="696"/>
                    <a:pt x="19343" y="2496"/>
                    <a:pt x="19343" y="3096"/>
                  </a:cubicBezTo>
                  <a:cubicBezTo>
                    <a:pt x="17993" y="3696"/>
                    <a:pt x="16643" y="3696"/>
                    <a:pt x="15293" y="3696"/>
                  </a:cubicBezTo>
                  <a:cubicBezTo>
                    <a:pt x="11918" y="3096"/>
                    <a:pt x="9218" y="3696"/>
                    <a:pt x="6518" y="3696"/>
                  </a:cubicBezTo>
                  <a:cubicBezTo>
                    <a:pt x="4493" y="3096"/>
                    <a:pt x="3818" y="3696"/>
                    <a:pt x="3818" y="5496"/>
                  </a:cubicBezTo>
                  <a:cubicBezTo>
                    <a:pt x="3818" y="7296"/>
                    <a:pt x="5843" y="7296"/>
                    <a:pt x="6518" y="8496"/>
                  </a:cubicBezTo>
                  <a:cubicBezTo>
                    <a:pt x="7193" y="9696"/>
                    <a:pt x="7868" y="8496"/>
                    <a:pt x="8543" y="7896"/>
                  </a:cubicBezTo>
                  <a:cubicBezTo>
                    <a:pt x="8543" y="7296"/>
                    <a:pt x="13268" y="6696"/>
                    <a:pt x="13268" y="7296"/>
                  </a:cubicBezTo>
                  <a:cubicBezTo>
                    <a:pt x="13943" y="7296"/>
                    <a:pt x="11918" y="9096"/>
                    <a:pt x="11243" y="9096"/>
                  </a:cubicBezTo>
                  <a:cubicBezTo>
                    <a:pt x="9893" y="10296"/>
                    <a:pt x="9893" y="10296"/>
                    <a:pt x="8543" y="9696"/>
                  </a:cubicBezTo>
                  <a:cubicBezTo>
                    <a:pt x="8543" y="9696"/>
                    <a:pt x="9218" y="11496"/>
                    <a:pt x="9218" y="11496"/>
                  </a:cubicBezTo>
                  <a:cubicBezTo>
                    <a:pt x="9893" y="12096"/>
                    <a:pt x="11918" y="13296"/>
                    <a:pt x="11918" y="14496"/>
                  </a:cubicBezTo>
                  <a:cubicBezTo>
                    <a:pt x="11918" y="15096"/>
                    <a:pt x="11918" y="15696"/>
                    <a:pt x="12593" y="16296"/>
                  </a:cubicBezTo>
                  <a:cubicBezTo>
                    <a:pt x="12593" y="16296"/>
                    <a:pt x="13943" y="17496"/>
                    <a:pt x="14618" y="17496"/>
                  </a:cubicBezTo>
                  <a:cubicBezTo>
                    <a:pt x="13268" y="18096"/>
                    <a:pt x="9893" y="19296"/>
                    <a:pt x="8543" y="18696"/>
                  </a:cubicBezTo>
                  <a:cubicBezTo>
                    <a:pt x="8543" y="18096"/>
                    <a:pt x="9218" y="19296"/>
                    <a:pt x="8543" y="1869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1" name="Shape 1890">
              <a:extLst>
                <a:ext uri="{FF2B5EF4-FFF2-40B4-BE49-F238E27FC236}">
                  <a16:creationId xmlns:a16="http://schemas.microsoft.com/office/drawing/2014/main" id="{65AB1FF1-F19A-BFC4-60ED-BD87E24ACC2B}"/>
                </a:ext>
              </a:extLst>
            </p:cNvPr>
            <p:cNvSpPr/>
            <p:nvPr/>
          </p:nvSpPr>
          <p:spPr>
            <a:xfrm>
              <a:off x="9641175" y="3691204"/>
              <a:ext cx="46990" cy="98912"/>
            </a:xfrm>
            <a:custGeom>
              <a:avLst/>
              <a:gdLst/>
              <a:ahLst/>
              <a:cxnLst>
                <a:cxn ang="0">
                  <a:pos x="wd2" y="hd2"/>
                </a:cxn>
                <a:cxn ang="5400000">
                  <a:pos x="wd2" y="hd2"/>
                </a:cxn>
                <a:cxn ang="10800000">
                  <a:pos x="wd2" y="hd2"/>
                </a:cxn>
                <a:cxn ang="16200000">
                  <a:pos x="wd2" y="hd2"/>
                </a:cxn>
              </a:cxnLst>
              <a:rect l="0" t="0" r="r" b="b"/>
              <a:pathLst>
                <a:path w="19636" h="21600" extrusionOk="0">
                  <a:moveTo>
                    <a:pt x="8100" y="2880"/>
                  </a:moveTo>
                  <a:cubicBezTo>
                    <a:pt x="8100" y="1440"/>
                    <a:pt x="8100" y="1440"/>
                    <a:pt x="8100" y="0"/>
                  </a:cubicBezTo>
                  <a:cubicBezTo>
                    <a:pt x="5400" y="0"/>
                    <a:pt x="0" y="4320"/>
                    <a:pt x="0" y="5760"/>
                  </a:cubicBezTo>
                  <a:cubicBezTo>
                    <a:pt x="0" y="7200"/>
                    <a:pt x="2700" y="8640"/>
                    <a:pt x="2700" y="11520"/>
                  </a:cubicBezTo>
                  <a:cubicBezTo>
                    <a:pt x="2700" y="12960"/>
                    <a:pt x="2700" y="15840"/>
                    <a:pt x="5400" y="17280"/>
                  </a:cubicBezTo>
                  <a:cubicBezTo>
                    <a:pt x="5400" y="17280"/>
                    <a:pt x="13500" y="21600"/>
                    <a:pt x="13500" y="21600"/>
                  </a:cubicBezTo>
                  <a:cubicBezTo>
                    <a:pt x="13500" y="21600"/>
                    <a:pt x="10800" y="18720"/>
                    <a:pt x="10800" y="18720"/>
                  </a:cubicBezTo>
                  <a:cubicBezTo>
                    <a:pt x="8100" y="17280"/>
                    <a:pt x="8100" y="14400"/>
                    <a:pt x="8100" y="12960"/>
                  </a:cubicBezTo>
                  <a:cubicBezTo>
                    <a:pt x="8100" y="11520"/>
                    <a:pt x="18900" y="12960"/>
                    <a:pt x="18900" y="12960"/>
                  </a:cubicBezTo>
                  <a:cubicBezTo>
                    <a:pt x="21600" y="12960"/>
                    <a:pt x="16200" y="11520"/>
                    <a:pt x="13500" y="10080"/>
                  </a:cubicBezTo>
                  <a:cubicBezTo>
                    <a:pt x="13500" y="10080"/>
                    <a:pt x="16200" y="8640"/>
                    <a:pt x="16200" y="7200"/>
                  </a:cubicBezTo>
                  <a:cubicBezTo>
                    <a:pt x="18900" y="1440"/>
                    <a:pt x="8100" y="8640"/>
                    <a:pt x="5400" y="8640"/>
                  </a:cubicBezTo>
                  <a:cubicBezTo>
                    <a:pt x="5400" y="8640"/>
                    <a:pt x="10800" y="4320"/>
                    <a:pt x="8100" y="2880"/>
                  </a:cubicBezTo>
                  <a:cubicBezTo>
                    <a:pt x="8100" y="1440"/>
                    <a:pt x="10800" y="4320"/>
                    <a:pt x="8100" y="28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2" name="Shape 1891">
              <a:extLst>
                <a:ext uri="{FF2B5EF4-FFF2-40B4-BE49-F238E27FC236}">
                  <a16:creationId xmlns:a16="http://schemas.microsoft.com/office/drawing/2014/main" id="{0AC0B8A5-EC73-9EF6-0463-AA6D9D3856EC}"/>
                </a:ext>
              </a:extLst>
            </p:cNvPr>
            <p:cNvSpPr/>
            <p:nvPr/>
          </p:nvSpPr>
          <p:spPr>
            <a:xfrm>
              <a:off x="9671658" y="3677717"/>
              <a:ext cx="10959" cy="13489"/>
            </a:xfrm>
            <a:custGeom>
              <a:avLst/>
              <a:gdLst/>
              <a:ahLst/>
              <a:cxnLst>
                <a:cxn ang="0">
                  <a:pos x="wd2" y="hd2"/>
                </a:cxn>
                <a:cxn ang="5400000">
                  <a:pos x="wd2" y="hd2"/>
                </a:cxn>
                <a:cxn ang="10800000">
                  <a:pos x="wd2" y="hd2"/>
                </a:cxn>
                <a:cxn ang="16200000">
                  <a:pos x="wd2" y="hd2"/>
                </a:cxn>
              </a:cxnLst>
              <a:rect l="0" t="0" r="r" b="b"/>
              <a:pathLst>
                <a:path w="13165" h="21600" extrusionOk="0">
                  <a:moveTo>
                    <a:pt x="2982" y="21600"/>
                  </a:moveTo>
                  <a:cubicBezTo>
                    <a:pt x="-4218" y="21600"/>
                    <a:pt x="2982" y="0"/>
                    <a:pt x="10182" y="0"/>
                  </a:cubicBezTo>
                  <a:cubicBezTo>
                    <a:pt x="17382" y="0"/>
                    <a:pt x="10182" y="21600"/>
                    <a:pt x="2982"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3" name="Shape 1892">
              <a:extLst>
                <a:ext uri="{FF2B5EF4-FFF2-40B4-BE49-F238E27FC236}">
                  <a16:creationId xmlns:a16="http://schemas.microsoft.com/office/drawing/2014/main" id="{66A94ABD-865D-6785-9552-C79FB2668856}"/>
                </a:ext>
              </a:extLst>
            </p:cNvPr>
            <p:cNvSpPr/>
            <p:nvPr/>
          </p:nvSpPr>
          <p:spPr>
            <a:xfrm>
              <a:off x="9740063" y="3764826"/>
              <a:ext cx="31465" cy="8057"/>
            </a:xfrm>
            <a:custGeom>
              <a:avLst/>
              <a:gdLst/>
              <a:ahLst/>
              <a:cxnLst>
                <a:cxn ang="0">
                  <a:pos x="wd2" y="hd2"/>
                </a:cxn>
                <a:cxn ang="5400000">
                  <a:pos x="wd2" y="hd2"/>
                </a:cxn>
                <a:cxn ang="10800000">
                  <a:pos x="wd2" y="hd2"/>
                </a:cxn>
                <a:cxn ang="16200000">
                  <a:pos x="wd2" y="hd2"/>
                </a:cxn>
              </a:cxnLst>
              <a:rect l="0" t="0" r="r" b="b"/>
              <a:pathLst>
                <a:path w="21600" h="12900" extrusionOk="0">
                  <a:moveTo>
                    <a:pt x="21600" y="8100"/>
                  </a:moveTo>
                  <a:cubicBezTo>
                    <a:pt x="21600" y="-2700"/>
                    <a:pt x="0" y="-2700"/>
                    <a:pt x="0" y="8100"/>
                  </a:cubicBezTo>
                  <a:cubicBezTo>
                    <a:pt x="0" y="8100"/>
                    <a:pt x="21600" y="18900"/>
                    <a:pt x="21600" y="81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4" name="Shape 1893">
              <a:extLst>
                <a:ext uri="{FF2B5EF4-FFF2-40B4-BE49-F238E27FC236}">
                  <a16:creationId xmlns:a16="http://schemas.microsoft.com/office/drawing/2014/main" id="{060DD987-5FA5-F3EC-8E2A-20467D625C39}"/>
                </a:ext>
              </a:extLst>
            </p:cNvPr>
            <p:cNvSpPr/>
            <p:nvPr/>
          </p:nvSpPr>
          <p:spPr>
            <a:xfrm>
              <a:off x="9751538" y="3774790"/>
              <a:ext cx="114717" cy="65533"/>
            </a:xfrm>
            <a:custGeom>
              <a:avLst/>
              <a:gdLst/>
              <a:ahLst/>
              <a:cxnLst>
                <a:cxn ang="0">
                  <a:pos x="wd2" y="hd2"/>
                </a:cxn>
                <a:cxn ang="5400000">
                  <a:pos x="wd2" y="hd2"/>
                </a:cxn>
                <a:cxn ang="10800000">
                  <a:pos x="wd2" y="hd2"/>
                </a:cxn>
                <a:cxn ang="16200000">
                  <a:pos x="wd2" y="hd2"/>
                </a:cxn>
              </a:cxnLst>
              <a:rect l="0" t="0" r="r" b="b"/>
              <a:pathLst>
                <a:path w="20046" h="19081" extrusionOk="0">
                  <a:moveTo>
                    <a:pt x="10541" y="536"/>
                  </a:moveTo>
                  <a:cubicBezTo>
                    <a:pt x="9405" y="-1428"/>
                    <a:pt x="4857" y="2499"/>
                    <a:pt x="3720" y="4463"/>
                  </a:cubicBezTo>
                  <a:cubicBezTo>
                    <a:pt x="2584" y="4463"/>
                    <a:pt x="3720" y="4463"/>
                    <a:pt x="2584" y="6427"/>
                  </a:cubicBezTo>
                  <a:cubicBezTo>
                    <a:pt x="2584" y="8390"/>
                    <a:pt x="1447" y="4463"/>
                    <a:pt x="310" y="4463"/>
                  </a:cubicBezTo>
                  <a:cubicBezTo>
                    <a:pt x="-827" y="4463"/>
                    <a:pt x="1447" y="10354"/>
                    <a:pt x="2584" y="10354"/>
                  </a:cubicBezTo>
                  <a:cubicBezTo>
                    <a:pt x="2584" y="12317"/>
                    <a:pt x="4857" y="12317"/>
                    <a:pt x="5994" y="12317"/>
                  </a:cubicBezTo>
                  <a:cubicBezTo>
                    <a:pt x="8268" y="12317"/>
                    <a:pt x="8268" y="16245"/>
                    <a:pt x="9405" y="18208"/>
                  </a:cubicBezTo>
                  <a:cubicBezTo>
                    <a:pt x="10541" y="20172"/>
                    <a:pt x="13952" y="18208"/>
                    <a:pt x="15089" y="18208"/>
                  </a:cubicBezTo>
                  <a:cubicBezTo>
                    <a:pt x="19636" y="18208"/>
                    <a:pt x="20773" y="14281"/>
                    <a:pt x="19636" y="8390"/>
                  </a:cubicBezTo>
                  <a:cubicBezTo>
                    <a:pt x="19636" y="4463"/>
                    <a:pt x="18499" y="2499"/>
                    <a:pt x="16226" y="2499"/>
                  </a:cubicBezTo>
                  <a:cubicBezTo>
                    <a:pt x="15089" y="2499"/>
                    <a:pt x="12815" y="536"/>
                    <a:pt x="10541" y="536"/>
                  </a:cubicBezTo>
                  <a:cubicBezTo>
                    <a:pt x="10541" y="536"/>
                    <a:pt x="11678" y="536"/>
                    <a:pt x="10541" y="53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5" name="Shape 1894">
              <a:extLst>
                <a:ext uri="{FF2B5EF4-FFF2-40B4-BE49-F238E27FC236}">
                  <a16:creationId xmlns:a16="http://schemas.microsoft.com/office/drawing/2014/main" id="{BE0C14D5-2EF2-23F8-2A62-DEE1C431B40F}"/>
                </a:ext>
              </a:extLst>
            </p:cNvPr>
            <p:cNvSpPr/>
            <p:nvPr/>
          </p:nvSpPr>
          <p:spPr>
            <a:xfrm>
              <a:off x="10333380" y="3905413"/>
              <a:ext cx="131613" cy="64943"/>
            </a:xfrm>
            <a:custGeom>
              <a:avLst/>
              <a:gdLst/>
              <a:ahLst/>
              <a:cxnLst>
                <a:cxn ang="0">
                  <a:pos x="wd2" y="hd2"/>
                </a:cxn>
                <a:cxn ang="5400000">
                  <a:pos x="wd2" y="hd2"/>
                </a:cxn>
                <a:cxn ang="10800000">
                  <a:pos x="wd2" y="hd2"/>
                </a:cxn>
                <a:cxn ang="16200000">
                  <a:pos x="wd2" y="hd2"/>
                </a:cxn>
              </a:cxnLst>
              <a:rect l="0" t="0" r="r" b="b"/>
              <a:pathLst>
                <a:path w="20737" h="17829" extrusionOk="0">
                  <a:moveTo>
                    <a:pt x="0" y="11754"/>
                  </a:moveTo>
                  <a:cubicBezTo>
                    <a:pt x="1029" y="9954"/>
                    <a:pt x="5143" y="11754"/>
                    <a:pt x="6171" y="11754"/>
                  </a:cubicBezTo>
                  <a:cubicBezTo>
                    <a:pt x="7200" y="11754"/>
                    <a:pt x="8229" y="8154"/>
                    <a:pt x="9257" y="9954"/>
                  </a:cubicBezTo>
                  <a:cubicBezTo>
                    <a:pt x="10286" y="11754"/>
                    <a:pt x="12343" y="11754"/>
                    <a:pt x="13371" y="9954"/>
                  </a:cubicBezTo>
                  <a:cubicBezTo>
                    <a:pt x="13371" y="8154"/>
                    <a:pt x="14400" y="6354"/>
                    <a:pt x="14400" y="6354"/>
                  </a:cubicBezTo>
                  <a:cubicBezTo>
                    <a:pt x="15429" y="6354"/>
                    <a:pt x="17486" y="6354"/>
                    <a:pt x="17486" y="2754"/>
                  </a:cubicBezTo>
                  <a:cubicBezTo>
                    <a:pt x="17486" y="-2646"/>
                    <a:pt x="21600" y="954"/>
                    <a:pt x="20571" y="4554"/>
                  </a:cubicBezTo>
                  <a:cubicBezTo>
                    <a:pt x="19543" y="6354"/>
                    <a:pt x="18514" y="9954"/>
                    <a:pt x="18514" y="9954"/>
                  </a:cubicBezTo>
                  <a:cubicBezTo>
                    <a:pt x="15429" y="11754"/>
                    <a:pt x="14400" y="15354"/>
                    <a:pt x="11314" y="17154"/>
                  </a:cubicBezTo>
                  <a:cubicBezTo>
                    <a:pt x="9257" y="18954"/>
                    <a:pt x="0" y="17154"/>
                    <a:pt x="0" y="11754"/>
                  </a:cubicBezTo>
                  <a:cubicBezTo>
                    <a:pt x="0" y="9954"/>
                    <a:pt x="0" y="15354"/>
                    <a:pt x="0" y="117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6" name="Shape 1895">
              <a:extLst>
                <a:ext uri="{FF2B5EF4-FFF2-40B4-BE49-F238E27FC236}">
                  <a16:creationId xmlns:a16="http://schemas.microsoft.com/office/drawing/2014/main" id="{C1FEB257-CD0B-7BFD-A0B7-EDC9F5F1BFA2}"/>
                </a:ext>
              </a:extLst>
            </p:cNvPr>
            <p:cNvSpPr/>
            <p:nvPr/>
          </p:nvSpPr>
          <p:spPr>
            <a:xfrm>
              <a:off x="10535771" y="3936236"/>
              <a:ext cx="48630" cy="55974"/>
            </a:xfrm>
            <a:custGeom>
              <a:avLst/>
              <a:gdLst/>
              <a:ahLst/>
              <a:cxnLst>
                <a:cxn ang="0">
                  <a:pos x="wd2" y="hd2"/>
                </a:cxn>
                <a:cxn ang="5400000">
                  <a:pos x="wd2" y="hd2"/>
                </a:cxn>
                <a:cxn ang="10800000">
                  <a:pos x="wd2" y="hd2"/>
                </a:cxn>
                <a:cxn ang="16200000">
                  <a:pos x="wd2" y="hd2"/>
                </a:cxn>
              </a:cxnLst>
              <a:rect l="0" t="0" r="r" b="b"/>
              <a:pathLst>
                <a:path w="17976" h="16807" extrusionOk="0">
                  <a:moveTo>
                    <a:pt x="693" y="0"/>
                  </a:moveTo>
                  <a:cubicBezTo>
                    <a:pt x="-1707" y="1964"/>
                    <a:pt x="10293" y="21600"/>
                    <a:pt x="17493" y="15709"/>
                  </a:cubicBezTo>
                  <a:cubicBezTo>
                    <a:pt x="19893" y="11782"/>
                    <a:pt x="12693" y="7855"/>
                    <a:pt x="10293" y="7855"/>
                  </a:cubicBezTo>
                  <a:cubicBezTo>
                    <a:pt x="7893" y="5891"/>
                    <a:pt x="693" y="0"/>
                    <a:pt x="693" y="0"/>
                  </a:cubicBezTo>
                  <a:cubicBezTo>
                    <a:pt x="-1707" y="1964"/>
                    <a:pt x="3093" y="0"/>
                    <a:pt x="69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7" name="Shape 1896">
              <a:extLst>
                <a:ext uri="{FF2B5EF4-FFF2-40B4-BE49-F238E27FC236}">
                  <a16:creationId xmlns:a16="http://schemas.microsoft.com/office/drawing/2014/main" id="{675FCC92-FB30-8AEE-E04D-D595F66715FF}"/>
                </a:ext>
              </a:extLst>
            </p:cNvPr>
            <p:cNvSpPr/>
            <p:nvPr/>
          </p:nvSpPr>
          <p:spPr>
            <a:xfrm>
              <a:off x="10707604" y="4076331"/>
              <a:ext cx="32555" cy="22501"/>
            </a:xfrm>
            <a:custGeom>
              <a:avLst/>
              <a:gdLst/>
              <a:ahLst/>
              <a:cxnLst>
                <a:cxn ang="0">
                  <a:pos x="wd2" y="hd2"/>
                </a:cxn>
                <a:cxn ang="5400000">
                  <a:pos x="wd2" y="hd2"/>
                </a:cxn>
                <a:cxn ang="10800000">
                  <a:pos x="wd2" y="hd2"/>
                </a:cxn>
                <a:cxn ang="16200000">
                  <a:pos x="wd2" y="hd2"/>
                </a:cxn>
              </a:cxnLst>
              <a:rect l="0" t="0" r="r" b="b"/>
              <a:pathLst>
                <a:path w="18405" h="12717" extrusionOk="0">
                  <a:moveTo>
                    <a:pt x="18405" y="10182"/>
                  </a:moveTo>
                  <a:cubicBezTo>
                    <a:pt x="18405" y="2982"/>
                    <a:pt x="-3195" y="-4218"/>
                    <a:pt x="405" y="2982"/>
                  </a:cubicBezTo>
                  <a:cubicBezTo>
                    <a:pt x="405" y="6582"/>
                    <a:pt x="18405" y="13782"/>
                    <a:pt x="18405" y="10182"/>
                  </a:cubicBezTo>
                  <a:cubicBezTo>
                    <a:pt x="18405" y="6582"/>
                    <a:pt x="18405" y="17382"/>
                    <a:pt x="18405" y="101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8" name="Shape 1897">
              <a:extLst>
                <a:ext uri="{FF2B5EF4-FFF2-40B4-BE49-F238E27FC236}">
                  <a16:creationId xmlns:a16="http://schemas.microsoft.com/office/drawing/2014/main" id="{16439307-8CDD-FF73-62C1-04FE486DF1E4}"/>
                </a:ext>
              </a:extLst>
            </p:cNvPr>
            <p:cNvSpPr/>
            <p:nvPr/>
          </p:nvSpPr>
          <p:spPr>
            <a:xfrm>
              <a:off x="10661498" y="4014030"/>
              <a:ext cx="55358" cy="34606"/>
            </a:xfrm>
            <a:custGeom>
              <a:avLst/>
              <a:gdLst/>
              <a:ahLst/>
              <a:cxnLst>
                <a:cxn ang="0">
                  <a:pos x="wd2" y="hd2"/>
                </a:cxn>
                <a:cxn ang="5400000">
                  <a:pos x="wd2" y="hd2"/>
                </a:cxn>
                <a:cxn ang="10800000">
                  <a:pos x="wd2" y="hd2"/>
                </a:cxn>
                <a:cxn ang="16200000">
                  <a:pos x="wd2" y="hd2"/>
                </a:cxn>
              </a:cxnLst>
              <a:rect l="0" t="0" r="r" b="b"/>
              <a:pathLst>
                <a:path w="19705" h="18473" extrusionOk="0">
                  <a:moveTo>
                    <a:pt x="19200" y="18473"/>
                  </a:moveTo>
                  <a:cubicBezTo>
                    <a:pt x="14400" y="14873"/>
                    <a:pt x="7200" y="-3127"/>
                    <a:pt x="0" y="473"/>
                  </a:cubicBezTo>
                  <a:cubicBezTo>
                    <a:pt x="0" y="4073"/>
                    <a:pt x="7200" y="7673"/>
                    <a:pt x="7200" y="11273"/>
                  </a:cubicBezTo>
                  <a:cubicBezTo>
                    <a:pt x="12000" y="11273"/>
                    <a:pt x="14400" y="14873"/>
                    <a:pt x="19200" y="18473"/>
                  </a:cubicBezTo>
                  <a:cubicBezTo>
                    <a:pt x="21600" y="18473"/>
                    <a:pt x="14400" y="14873"/>
                    <a:pt x="19200" y="184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79" name="Shape 1898">
              <a:extLst>
                <a:ext uri="{FF2B5EF4-FFF2-40B4-BE49-F238E27FC236}">
                  <a16:creationId xmlns:a16="http://schemas.microsoft.com/office/drawing/2014/main" id="{85828A57-DCF7-198F-3C28-7734F06B0AA3}"/>
                </a:ext>
              </a:extLst>
            </p:cNvPr>
            <p:cNvSpPr/>
            <p:nvPr/>
          </p:nvSpPr>
          <p:spPr>
            <a:xfrm>
              <a:off x="10603066" y="3981196"/>
              <a:ext cx="26970" cy="28051"/>
            </a:xfrm>
            <a:custGeom>
              <a:avLst/>
              <a:gdLst/>
              <a:ahLst/>
              <a:cxnLst>
                <a:cxn ang="0">
                  <a:pos x="wd2" y="hd2"/>
                </a:cxn>
                <a:cxn ang="5400000">
                  <a:pos x="wd2" y="hd2"/>
                </a:cxn>
                <a:cxn ang="10800000">
                  <a:pos x="wd2" y="hd2"/>
                </a:cxn>
                <a:cxn ang="16200000">
                  <a:pos x="wd2" y="hd2"/>
                </a:cxn>
              </a:cxnLst>
              <a:rect l="0" t="0" r="r" b="b"/>
              <a:pathLst>
                <a:path w="21600" h="17968" extrusionOk="0">
                  <a:moveTo>
                    <a:pt x="21600" y="17280"/>
                  </a:moveTo>
                  <a:cubicBezTo>
                    <a:pt x="21600" y="8640"/>
                    <a:pt x="0" y="0"/>
                    <a:pt x="0" y="0"/>
                  </a:cubicBezTo>
                  <a:cubicBezTo>
                    <a:pt x="0" y="4320"/>
                    <a:pt x="21600" y="21600"/>
                    <a:pt x="21600"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0" name="Shape 1899">
              <a:extLst>
                <a:ext uri="{FF2B5EF4-FFF2-40B4-BE49-F238E27FC236}">
                  <a16:creationId xmlns:a16="http://schemas.microsoft.com/office/drawing/2014/main" id="{88FFE6A1-4362-8FA7-666E-97A6FEC80574}"/>
                </a:ext>
              </a:extLst>
            </p:cNvPr>
            <p:cNvSpPr/>
            <p:nvPr/>
          </p:nvSpPr>
          <p:spPr>
            <a:xfrm>
              <a:off x="10856711" y="4444282"/>
              <a:ext cx="88464" cy="72512"/>
            </a:xfrm>
            <a:custGeom>
              <a:avLst/>
              <a:gdLst/>
              <a:ahLst/>
              <a:cxnLst>
                <a:cxn ang="0">
                  <a:pos x="wd2" y="hd2"/>
                </a:cxn>
                <a:cxn ang="5400000">
                  <a:pos x="wd2" y="hd2"/>
                </a:cxn>
                <a:cxn ang="10800000">
                  <a:pos x="wd2" y="hd2"/>
                </a:cxn>
                <a:cxn ang="16200000">
                  <a:pos x="wd2" y="hd2"/>
                </a:cxn>
              </a:cxnLst>
              <a:rect l="0" t="0" r="r" b="b"/>
              <a:pathLst>
                <a:path w="18090" h="19907" extrusionOk="0">
                  <a:moveTo>
                    <a:pt x="18016" y="19800"/>
                  </a:moveTo>
                  <a:cubicBezTo>
                    <a:pt x="19366" y="21600"/>
                    <a:pt x="1816" y="0"/>
                    <a:pt x="466" y="0"/>
                  </a:cubicBezTo>
                  <a:cubicBezTo>
                    <a:pt x="-2234" y="0"/>
                    <a:pt x="7216" y="16200"/>
                    <a:pt x="18016" y="19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1" name="Shape 1900">
              <a:extLst>
                <a:ext uri="{FF2B5EF4-FFF2-40B4-BE49-F238E27FC236}">
                  <a16:creationId xmlns:a16="http://schemas.microsoft.com/office/drawing/2014/main" id="{CEADD0CB-AB50-6FBA-E7A1-EAFBB50F944F}"/>
                </a:ext>
              </a:extLst>
            </p:cNvPr>
            <p:cNvSpPr/>
            <p:nvPr/>
          </p:nvSpPr>
          <p:spPr>
            <a:xfrm>
              <a:off x="11128960" y="4945584"/>
              <a:ext cx="74165" cy="9217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9636" y="18514"/>
                    <a:pt x="21600" y="16971"/>
                    <a:pt x="17673" y="15429"/>
                  </a:cubicBezTo>
                  <a:cubicBezTo>
                    <a:pt x="15709" y="12343"/>
                    <a:pt x="17673" y="12343"/>
                    <a:pt x="17673" y="10800"/>
                  </a:cubicBezTo>
                  <a:cubicBezTo>
                    <a:pt x="15709" y="7714"/>
                    <a:pt x="0" y="1543"/>
                    <a:pt x="0" y="0"/>
                  </a:cubicBezTo>
                  <a:cubicBezTo>
                    <a:pt x="0" y="1543"/>
                    <a:pt x="5891" y="4629"/>
                    <a:pt x="5891" y="6171"/>
                  </a:cubicBezTo>
                  <a:cubicBezTo>
                    <a:pt x="7855" y="9257"/>
                    <a:pt x="7855" y="10800"/>
                    <a:pt x="9818" y="12343"/>
                  </a:cubicBezTo>
                  <a:cubicBezTo>
                    <a:pt x="11782" y="13886"/>
                    <a:pt x="17673" y="15429"/>
                    <a:pt x="15709" y="16971"/>
                  </a:cubicBezTo>
                  <a:cubicBezTo>
                    <a:pt x="15709" y="20057"/>
                    <a:pt x="17673" y="20057"/>
                    <a:pt x="216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2" name="Shape 1901">
              <a:extLst>
                <a:ext uri="{FF2B5EF4-FFF2-40B4-BE49-F238E27FC236}">
                  <a16:creationId xmlns:a16="http://schemas.microsoft.com/office/drawing/2014/main" id="{3D27B541-2A1B-0616-0E95-6C13AC7B21AC}"/>
                </a:ext>
              </a:extLst>
            </p:cNvPr>
            <p:cNvSpPr/>
            <p:nvPr/>
          </p:nvSpPr>
          <p:spPr>
            <a:xfrm>
              <a:off x="11169126" y="5031009"/>
              <a:ext cx="150865" cy="190069"/>
            </a:xfrm>
            <a:custGeom>
              <a:avLst/>
              <a:gdLst/>
              <a:ahLst/>
              <a:cxnLst>
                <a:cxn ang="0">
                  <a:pos x="wd2" y="hd2"/>
                </a:cxn>
                <a:cxn ang="5400000">
                  <a:pos x="wd2" y="hd2"/>
                </a:cxn>
                <a:cxn ang="10800000">
                  <a:pos x="wd2" y="hd2"/>
                </a:cxn>
                <a:cxn ang="16200000">
                  <a:pos x="wd2" y="hd2"/>
                </a:cxn>
              </a:cxnLst>
              <a:rect l="0" t="0" r="r" b="b"/>
              <a:pathLst>
                <a:path w="19079" h="20520" extrusionOk="0">
                  <a:moveTo>
                    <a:pt x="4125" y="1440"/>
                  </a:moveTo>
                  <a:cubicBezTo>
                    <a:pt x="3294" y="1440"/>
                    <a:pt x="3294" y="6480"/>
                    <a:pt x="3294" y="7920"/>
                  </a:cubicBezTo>
                  <a:cubicBezTo>
                    <a:pt x="2464" y="9360"/>
                    <a:pt x="-2521" y="11520"/>
                    <a:pt x="1633" y="12960"/>
                  </a:cubicBezTo>
                  <a:cubicBezTo>
                    <a:pt x="4125" y="13680"/>
                    <a:pt x="6617" y="15120"/>
                    <a:pt x="4956" y="18000"/>
                  </a:cubicBezTo>
                  <a:cubicBezTo>
                    <a:pt x="2464" y="21600"/>
                    <a:pt x="6617" y="20880"/>
                    <a:pt x="9110" y="18720"/>
                  </a:cubicBezTo>
                  <a:cubicBezTo>
                    <a:pt x="9941" y="18000"/>
                    <a:pt x="10771" y="16560"/>
                    <a:pt x="11602" y="15840"/>
                  </a:cubicBezTo>
                  <a:cubicBezTo>
                    <a:pt x="13264" y="13680"/>
                    <a:pt x="12433" y="13680"/>
                    <a:pt x="12433" y="11520"/>
                  </a:cubicBezTo>
                  <a:cubicBezTo>
                    <a:pt x="13264" y="10080"/>
                    <a:pt x="14925" y="10080"/>
                    <a:pt x="15756" y="10080"/>
                  </a:cubicBezTo>
                  <a:cubicBezTo>
                    <a:pt x="16587" y="10800"/>
                    <a:pt x="18248" y="7920"/>
                    <a:pt x="19079" y="7200"/>
                  </a:cubicBezTo>
                  <a:cubicBezTo>
                    <a:pt x="19079" y="6480"/>
                    <a:pt x="19079" y="4320"/>
                    <a:pt x="18248" y="4320"/>
                  </a:cubicBezTo>
                  <a:cubicBezTo>
                    <a:pt x="16587" y="4320"/>
                    <a:pt x="14925" y="5760"/>
                    <a:pt x="14094" y="5760"/>
                  </a:cubicBezTo>
                  <a:cubicBezTo>
                    <a:pt x="12433" y="5760"/>
                    <a:pt x="9941" y="5040"/>
                    <a:pt x="9110" y="3600"/>
                  </a:cubicBezTo>
                  <a:cubicBezTo>
                    <a:pt x="8279" y="2880"/>
                    <a:pt x="8279" y="0"/>
                    <a:pt x="6617" y="0"/>
                  </a:cubicBezTo>
                  <a:cubicBezTo>
                    <a:pt x="6617" y="0"/>
                    <a:pt x="6617" y="2160"/>
                    <a:pt x="6617" y="2160"/>
                  </a:cubicBezTo>
                  <a:cubicBezTo>
                    <a:pt x="5787" y="2160"/>
                    <a:pt x="4956" y="720"/>
                    <a:pt x="4125" y="1440"/>
                  </a:cubicBezTo>
                  <a:cubicBezTo>
                    <a:pt x="3294" y="1440"/>
                    <a:pt x="4956" y="720"/>
                    <a:pt x="4125" y="14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3" name="Shape 1902">
              <a:extLst>
                <a:ext uri="{FF2B5EF4-FFF2-40B4-BE49-F238E27FC236}">
                  <a16:creationId xmlns:a16="http://schemas.microsoft.com/office/drawing/2014/main" id="{3435DB29-E01E-D8EF-1CA0-40BD61A6DC54}"/>
                </a:ext>
              </a:extLst>
            </p:cNvPr>
            <p:cNvSpPr/>
            <p:nvPr/>
          </p:nvSpPr>
          <p:spPr>
            <a:xfrm>
              <a:off x="10928330" y="5182690"/>
              <a:ext cx="249800" cy="241351"/>
            </a:xfrm>
            <a:custGeom>
              <a:avLst/>
              <a:gdLst/>
              <a:ahLst/>
              <a:cxnLst>
                <a:cxn ang="0">
                  <a:pos x="wd2" y="hd2"/>
                </a:cxn>
                <a:cxn ang="5400000">
                  <a:pos x="wd2" y="hd2"/>
                </a:cxn>
                <a:cxn ang="10800000">
                  <a:pos x="wd2" y="hd2"/>
                </a:cxn>
                <a:cxn ang="16200000">
                  <a:pos x="wd2" y="hd2"/>
                </a:cxn>
              </a:cxnLst>
              <a:rect l="0" t="0" r="r" b="b"/>
              <a:pathLst>
                <a:path w="20877" h="20706" extrusionOk="0">
                  <a:moveTo>
                    <a:pt x="17953" y="1797"/>
                  </a:moveTo>
                  <a:cubicBezTo>
                    <a:pt x="17953" y="1797"/>
                    <a:pt x="17399" y="-477"/>
                    <a:pt x="16291" y="91"/>
                  </a:cubicBezTo>
                  <a:cubicBezTo>
                    <a:pt x="14630" y="1228"/>
                    <a:pt x="15184" y="2365"/>
                    <a:pt x="14076" y="4070"/>
                  </a:cubicBezTo>
                  <a:cubicBezTo>
                    <a:pt x="13522" y="4639"/>
                    <a:pt x="12968" y="6344"/>
                    <a:pt x="11861" y="6912"/>
                  </a:cubicBezTo>
                  <a:cubicBezTo>
                    <a:pt x="10753" y="8618"/>
                    <a:pt x="9645" y="9186"/>
                    <a:pt x="7984" y="9755"/>
                  </a:cubicBezTo>
                  <a:cubicBezTo>
                    <a:pt x="6876" y="10323"/>
                    <a:pt x="6322" y="11460"/>
                    <a:pt x="4661" y="12028"/>
                  </a:cubicBezTo>
                  <a:cubicBezTo>
                    <a:pt x="3553" y="12597"/>
                    <a:pt x="3553" y="14870"/>
                    <a:pt x="1891" y="14870"/>
                  </a:cubicBezTo>
                  <a:cubicBezTo>
                    <a:pt x="-324" y="15439"/>
                    <a:pt x="1891" y="17144"/>
                    <a:pt x="784" y="18281"/>
                  </a:cubicBezTo>
                  <a:cubicBezTo>
                    <a:pt x="230" y="18281"/>
                    <a:pt x="-324" y="18281"/>
                    <a:pt x="230" y="18849"/>
                  </a:cubicBezTo>
                  <a:cubicBezTo>
                    <a:pt x="230" y="19418"/>
                    <a:pt x="230" y="19418"/>
                    <a:pt x="1338" y="19418"/>
                  </a:cubicBezTo>
                  <a:cubicBezTo>
                    <a:pt x="2445" y="19418"/>
                    <a:pt x="4107" y="20555"/>
                    <a:pt x="5214" y="20555"/>
                  </a:cubicBezTo>
                  <a:cubicBezTo>
                    <a:pt x="7430" y="21123"/>
                    <a:pt x="8538" y="19986"/>
                    <a:pt x="10199" y="18849"/>
                  </a:cubicBezTo>
                  <a:cubicBezTo>
                    <a:pt x="11307" y="17712"/>
                    <a:pt x="11861" y="16576"/>
                    <a:pt x="11861" y="14870"/>
                  </a:cubicBezTo>
                  <a:cubicBezTo>
                    <a:pt x="12414" y="13165"/>
                    <a:pt x="12968" y="13165"/>
                    <a:pt x="14630" y="12028"/>
                  </a:cubicBezTo>
                  <a:cubicBezTo>
                    <a:pt x="15184" y="12028"/>
                    <a:pt x="15184" y="11460"/>
                    <a:pt x="15738" y="11460"/>
                  </a:cubicBezTo>
                  <a:cubicBezTo>
                    <a:pt x="16291" y="11460"/>
                    <a:pt x="16845" y="11460"/>
                    <a:pt x="17953" y="11460"/>
                  </a:cubicBezTo>
                  <a:cubicBezTo>
                    <a:pt x="18507" y="10891"/>
                    <a:pt x="17953" y="10323"/>
                    <a:pt x="17399" y="10323"/>
                  </a:cubicBezTo>
                  <a:cubicBezTo>
                    <a:pt x="16845" y="9755"/>
                    <a:pt x="16845" y="9755"/>
                    <a:pt x="17399" y="9186"/>
                  </a:cubicBezTo>
                  <a:cubicBezTo>
                    <a:pt x="18507" y="7481"/>
                    <a:pt x="19614" y="6344"/>
                    <a:pt x="20722" y="4639"/>
                  </a:cubicBezTo>
                  <a:cubicBezTo>
                    <a:pt x="20722" y="4070"/>
                    <a:pt x="20722" y="3502"/>
                    <a:pt x="20722" y="2934"/>
                  </a:cubicBezTo>
                  <a:cubicBezTo>
                    <a:pt x="20722" y="2365"/>
                    <a:pt x="20722" y="2365"/>
                    <a:pt x="20722" y="1797"/>
                  </a:cubicBezTo>
                  <a:cubicBezTo>
                    <a:pt x="21276" y="1228"/>
                    <a:pt x="20168" y="1797"/>
                    <a:pt x="20168" y="1797"/>
                  </a:cubicBezTo>
                  <a:cubicBezTo>
                    <a:pt x="20168" y="1228"/>
                    <a:pt x="20168" y="1228"/>
                    <a:pt x="20168" y="660"/>
                  </a:cubicBezTo>
                  <a:cubicBezTo>
                    <a:pt x="19614" y="1228"/>
                    <a:pt x="19061" y="2365"/>
                    <a:pt x="17953" y="17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4" name="Shape 1903">
              <a:extLst>
                <a:ext uri="{FF2B5EF4-FFF2-40B4-BE49-F238E27FC236}">
                  <a16:creationId xmlns:a16="http://schemas.microsoft.com/office/drawing/2014/main" id="{411D5FF1-CC49-CCDF-E324-22388562A2AA}"/>
                </a:ext>
              </a:extLst>
            </p:cNvPr>
            <p:cNvSpPr/>
            <p:nvPr/>
          </p:nvSpPr>
          <p:spPr>
            <a:xfrm>
              <a:off x="10964898" y="5428904"/>
              <a:ext cx="13486" cy="1348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10800"/>
                    <a:pt x="10800" y="10800"/>
                    <a:pt x="10800" y="0"/>
                  </a:cubicBezTo>
                  <a:cubicBezTo>
                    <a:pt x="0" y="10800"/>
                    <a:pt x="0" y="10800"/>
                    <a:pt x="0" y="21600"/>
                  </a:cubicBezTo>
                  <a:cubicBezTo>
                    <a:pt x="10800" y="21600"/>
                    <a:pt x="21600" y="21600"/>
                    <a:pt x="216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5" name="Shape 1904">
              <a:extLst>
                <a:ext uri="{FF2B5EF4-FFF2-40B4-BE49-F238E27FC236}">
                  <a16:creationId xmlns:a16="http://schemas.microsoft.com/office/drawing/2014/main" id="{E3E55506-C0AE-2DD5-42F3-1884AC2D7E1C}"/>
                </a:ext>
              </a:extLst>
            </p:cNvPr>
            <p:cNvSpPr/>
            <p:nvPr/>
          </p:nvSpPr>
          <p:spPr>
            <a:xfrm>
              <a:off x="10207525" y="5189751"/>
              <a:ext cx="120292" cy="113267"/>
            </a:xfrm>
            <a:custGeom>
              <a:avLst/>
              <a:gdLst/>
              <a:ahLst/>
              <a:cxnLst>
                <a:cxn ang="0">
                  <a:pos x="wd2" y="hd2"/>
                </a:cxn>
                <a:cxn ang="5400000">
                  <a:pos x="wd2" y="hd2"/>
                </a:cxn>
                <a:cxn ang="10800000">
                  <a:pos x="wd2" y="hd2"/>
                </a:cxn>
                <a:cxn ang="16200000">
                  <a:pos x="wd2" y="hd2"/>
                </a:cxn>
              </a:cxnLst>
              <a:rect l="0" t="0" r="r" b="b"/>
              <a:pathLst>
                <a:path w="20645" h="20534" extrusionOk="0">
                  <a:moveTo>
                    <a:pt x="0" y="1334"/>
                  </a:moveTo>
                  <a:cubicBezTo>
                    <a:pt x="0" y="2534"/>
                    <a:pt x="2274" y="6134"/>
                    <a:pt x="2274" y="7334"/>
                  </a:cubicBezTo>
                  <a:cubicBezTo>
                    <a:pt x="3411" y="8534"/>
                    <a:pt x="4547" y="9734"/>
                    <a:pt x="4547" y="10934"/>
                  </a:cubicBezTo>
                  <a:cubicBezTo>
                    <a:pt x="4547" y="12134"/>
                    <a:pt x="3411" y="12134"/>
                    <a:pt x="3411" y="13334"/>
                  </a:cubicBezTo>
                  <a:cubicBezTo>
                    <a:pt x="4547" y="16934"/>
                    <a:pt x="7958" y="19334"/>
                    <a:pt x="10232" y="20534"/>
                  </a:cubicBezTo>
                  <a:cubicBezTo>
                    <a:pt x="12505" y="20534"/>
                    <a:pt x="12505" y="18134"/>
                    <a:pt x="13642" y="16934"/>
                  </a:cubicBezTo>
                  <a:cubicBezTo>
                    <a:pt x="13642" y="16934"/>
                    <a:pt x="14779" y="19334"/>
                    <a:pt x="14779" y="19334"/>
                  </a:cubicBezTo>
                  <a:cubicBezTo>
                    <a:pt x="14779" y="18134"/>
                    <a:pt x="14779" y="15734"/>
                    <a:pt x="15916" y="15734"/>
                  </a:cubicBezTo>
                  <a:cubicBezTo>
                    <a:pt x="17053" y="14534"/>
                    <a:pt x="17053" y="16934"/>
                    <a:pt x="18189" y="16934"/>
                  </a:cubicBezTo>
                  <a:cubicBezTo>
                    <a:pt x="17053" y="16934"/>
                    <a:pt x="20463" y="8534"/>
                    <a:pt x="20463" y="7334"/>
                  </a:cubicBezTo>
                  <a:cubicBezTo>
                    <a:pt x="20463" y="6134"/>
                    <a:pt x="21600" y="-1066"/>
                    <a:pt x="18189" y="134"/>
                  </a:cubicBezTo>
                  <a:cubicBezTo>
                    <a:pt x="14779" y="1334"/>
                    <a:pt x="11368" y="3734"/>
                    <a:pt x="7958" y="2534"/>
                  </a:cubicBezTo>
                  <a:cubicBezTo>
                    <a:pt x="6821" y="2534"/>
                    <a:pt x="1137" y="-1066"/>
                    <a:pt x="0" y="1334"/>
                  </a:cubicBezTo>
                  <a:cubicBezTo>
                    <a:pt x="0" y="2534"/>
                    <a:pt x="1137" y="-1066"/>
                    <a:pt x="0" y="133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6" name="Shape 1905">
              <a:extLst>
                <a:ext uri="{FF2B5EF4-FFF2-40B4-BE49-F238E27FC236}">
                  <a16:creationId xmlns:a16="http://schemas.microsoft.com/office/drawing/2014/main" id="{97F28D74-FB9A-518F-1472-296CC937E50D}"/>
                </a:ext>
              </a:extLst>
            </p:cNvPr>
            <p:cNvSpPr/>
            <p:nvPr/>
          </p:nvSpPr>
          <p:spPr>
            <a:xfrm>
              <a:off x="10311777" y="5150153"/>
              <a:ext cx="14861" cy="28052"/>
            </a:xfrm>
            <a:custGeom>
              <a:avLst/>
              <a:gdLst/>
              <a:ahLst/>
              <a:cxnLst>
                <a:cxn ang="0">
                  <a:pos x="wd2" y="hd2"/>
                </a:cxn>
                <a:cxn ang="5400000">
                  <a:pos x="wd2" y="hd2"/>
                </a:cxn>
                <a:cxn ang="10800000">
                  <a:pos x="wd2" y="hd2"/>
                </a:cxn>
                <a:cxn ang="16200000">
                  <a:pos x="wd2" y="hd2"/>
                </a:cxn>
              </a:cxnLst>
              <a:rect l="0" t="0" r="r" b="b"/>
              <a:pathLst>
                <a:path w="15869" h="17968" extrusionOk="0">
                  <a:moveTo>
                    <a:pt x="15869" y="17280"/>
                  </a:moveTo>
                  <a:cubicBezTo>
                    <a:pt x="15869" y="21600"/>
                    <a:pt x="-5731" y="4320"/>
                    <a:pt x="1469" y="0"/>
                  </a:cubicBezTo>
                  <a:cubicBezTo>
                    <a:pt x="8669" y="0"/>
                    <a:pt x="15869" y="4320"/>
                    <a:pt x="15869"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7" name="Shape 1906">
              <a:extLst>
                <a:ext uri="{FF2B5EF4-FFF2-40B4-BE49-F238E27FC236}">
                  <a16:creationId xmlns:a16="http://schemas.microsoft.com/office/drawing/2014/main" id="{CC4F60B5-0B0F-5790-C7B5-DFF921204497}"/>
                </a:ext>
              </a:extLst>
            </p:cNvPr>
            <p:cNvSpPr/>
            <p:nvPr/>
          </p:nvSpPr>
          <p:spPr>
            <a:xfrm>
              <a:off x="10175499" y="5150153"/>
              <a:ext cx="10114" cy="13490"/>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8" name="Shape 1907">
              <a:extLst>
                <a:ext uri="{FF2B5EF4-FFF2-40B4-BE49-F238E27FC236}">
                  <a16:creationId xmlns:a16="http://schemas.microsoft.com/office/drawing/2014/main" id="{9EF31C81-4B72-EACA-EAD3-09E3AB51FAA8}"/>
                </a:ext>
              </a:extLst>
            </p:cNvPr>
            <p:cNvSpPr/>
            <p:nvPr/>
          </p:nvSpPr>
          <p:spPr>
            <a:xfrm>
              <a:off x="8119681" y="3439431"/>
              <a:ext cx="64653" cy="119145"/>
            </a:xfrm>
            <a:custGeom>
              <a:avLst/>
              <a:gdLst/>
              <a:ahLst/>
              <a:cxnLst>
                <a:cxn ang="0">
                  <a:pos x="wd2" y="hd2"/>
                </a:cxn>
                <a:cxn ang="5400000">
                  <a:pos x="wd2" y="hd2"/>
                </a:cxn>
                <a:cxn ang="10800000">
                  <a:pos x="wd2" y="hd2"/>
                </a:cxn>
                <a:cxn ang="16200000">
                  <a:pos x="wd2" y="hd2"/>
                </a:cxn>
              </a:cxnLst>
              <a:rect l="0" t="0" r="r" b="b"/>
              <a:pathLst>
                <a:path w="19418" h="21600" extrusionOk="0">
                  <a:moveTo>
                    <a:pt x="3927" y="0"/>
                  </a:moveTo>
                  <a:cubicBezTo>
                    <a:pt x="3927" y="0"/>
                    <a:pt x="3927" y="0"/>
                    <a:pt x="1964" y="0"/>
                  </a:cubicBezTo>
                  <a:cubicBezTo>
                    <a:pt x="1964" y="0"/>
                    <a:pt x="1964" y="3600"/>
                    <a:pt x="1964" y="3600"/>
                  </a:cubicBezTo>
                  <a:cubicBezTo>
                    <a:pt x="1964" y="6000"/>
                    <a:pt x="0" y="7200"/>
                    <a:pt x="0" y="9600"/>
                  </a:cubicBezTo>
                  <a:cubicBezTo>
                    <a:pt x="0" y="13200"/>
                    <a:pt x="0" y="21600"/>
                    <a:pt x="7855" y="21600"/>
                  </a:cubicBezTo>
                  <a:cubicBezTo>
                    <a:pt x="11782" y="21600"/>
                    <a:pt x="17673" y="20400"/>
                    <a:pt x="17673" y="18000"/>
                  </a:cubicBezTo>
                  <a:cubicBezTo>
                    <a:pt x="21600" y="15600"/>
                    <a:pt x="17673" y="12000"/>
                    <a:pt x="17673" y="9600"/>
                  </a:cubicBezTo>
                  <a:cubicBezTo>
                    <a:pt x="13745" y="7200"/>
                    <a:pt x="9818" y="0"/>
                    <a:pt x="3927" y="0"/>
                  </a:cubicBezTo>
                  <a:cubicBezTo>
                    <a:pt x="1964" y="0"/>
                    <a:pt x="5891" y="0"/>
                    <a:pt x="3927"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89" name="Shape 1908">
              <a:extLst>
                <a:ext uri="{FF2B5EF4-FFF2-40B4-BE49-F238E27FC236}">
                  <a16:creationId xmlns:a16="http://schemas.microsoft.com/office/drawing/2014/main" id="{D61BDE05-04A1-C435-5A25-D35A1B00EABC}"/>
                </a:ext>
              </a:extLst>
            </p:cNvPr>
            <p:cNvSpPr/>
            <p:nvPr/>
          </p:nvSpPr>
          <p:spPr>
            <a:xfrm>
              <a:off x="6906083" y="4154293"/>
              <a:ext cx="238225" cy="457547"/>
            </a:xfrm>
            <a:custGeom>
              <a:avLst/>
              <a:gdLst/>
              <a:ahLst/>
              <a:cxnLst>
                <a:cxn ang="0">
                  <a:pos x="wd2" y="hd2"/>
                </a:cxn>
                <a:cxn ang="5400000">
                  <a:pos x="wd2" y="hd2"/>
                </a:cxn>
                <a:cxn ang="10800000">
                  <a:pos x="wd2" y="hd2"/>
                </a:cxn>
                <a:cxn ang="16200000">
                  <a:pos x="wd2" y="hd2"/>
                </a:cxn>
              </a:cxnLst>
              <a:rect l="0" t="0" r="r" b="b"/>
              <a:pathLst>
                <a:path w="21600" h="21446" extrusionOk="0">
                  <a:moveTo>
                    <a:pt x="18600" y="617"/>
                  </a:moveTo>
                  <a:cubicBezTo>
                    <a:pt x="18600" y="617"/>
                    <a:pt x="18000" y="0"/>
                    <a:pt x="17400" y="0"/>
                  </a:cubicBezTo>
                  <a:cubicBezTo>
                    <a:pt x="17400" y="309"/>
                    <a:pt x="16800" y="617"/>
                    <a:pt x="16800" y="926"/>
                  </a:cubicBezTo>
                  <a:cubicBezTo>
                    <a:pt x="16200" y="1543"/>
                    <a:pt x="16200" y="1851"/>
                    <a:pt x="15600" y="2469"/>
                  </a:cubicBezTo>
                  <a:cubicBezTo>
                    <a:pt x="15000" y="2777"/>
                    <a:pt x="14400" y="2469"/>
                    <a:pt x="13800" y="2469"/>
                  </a:cubicBezTo>
                  <a:cubicBezTo>
                    <a:pt x="13800" y="2469"/>
                    <a:pt x="14400" y="2777"/>
                    <a:pt x="13800" y="3086"/>
                  </a:cubicBezTo>
                  <a:cubicBezTo>
                    <a:pt x="13800" y="3394"/>
                    <a:pt x="13200" y="3394"/>
                    <a:pt x="13200" y="3703"/>
                  </a:cubicBezTo>
                  <a:cubicBezTo>
                    <a:pt x="13200" y="3703"/>
                    <a:pt x="13800" y="4011"/>
                    <a:pt x="13800" y="4011"/>
                  </a:cubicBezTo>
                  <a:cubicBezTo>
                    <a:pt x="13800" y="4320"/>
                    <a:pt x="13200" y="4011"/>
                    <a:pt x="12600" y="4320"/>
                  </a:cubicBezTo>
                  <a:cubicBezTo>
                    <a:pt x="12000" y="4320"/>
                    <a:pt x="12000" y="4629"/>
                    <a:pt x="11400" y="4937"/>
                  </a:cubicBezTo>
                  <a:cubicBezTo>
                    <a:pt x="10800" y="5246"/>
                    <a:pt x="10200" y="5246"/>
                    <a:pt x="9000" y="5554"/>
                  </a:cubicBezTo>
                  <a:cubicBezTo>
                    <a:pt x="8400" y="5554"/>
                    <a:pt x="9600" y="5863"/>
                    <a:pt x="9000" y="5863"/>
                  </a:cubicBezTo>
                  <a:cubicBezTo>
                    <a:pt x="9000" y="6171"/>
                    <a:pt x="7800" y="5554"/>
                    <a:pt x="7800" y="5863"/>
                  </a:cubicBezTo>
                  <a:cubicBezTo>
                    <a:pt x="6600" y="6171"/>
                    <a:pt x="6000" y="6171"/>
                    <a:pt x="4800" y="6480"/>
                  </a:cubicBezTo>
                  <a:cubicBezTo>
                    <a:pt x="4200" y="6480"/>
                    <a:pt x="3600" y="6171"/>
                    <a:pt x="3600" y="6480"/>
                  </a:cubicBezTo>
                  <a:cubicBezTo>
                    <a:pt x="3000" y="7097"/>
                    <a:pt x="3000" y="7714"/>
                    <a:pt x="2400" y="8331"/>
                  </a:cubicBezTo>
                  <a:cubicBezTo>
                    <a:pt x="1800" y="9874"/>
                    <a:pt x="4800" y="12034"/>
                    <a:pt x="2400" y="13577"/>
                  </a:cubicBezTo>
                  <a:cubicBezTo>
                    <a:pt x="1800" y="14194"/>
                    <a:pt x="600" y="14811"/>
                    <a:pt x="0" y="15737"/>
                  </a:cubicBezTo>
                  <a:cubicBezTo>
                    <a:pt x="0" y="16046"/>
                    <a:pt x="0" y="16663"/>
                    <a:pt x="0" y="16971"/>
                  </a:cubicBezTo>
                  <a:cubicBezTo>
                    <a:pt x="600" y="17280"/>
                    <a:pt x="1800" y="17589"/>
                    <a:pt x="1200" y="18206"/>
                  </a:cubicBezTo>
                  <a:cubicBezTo>
                    <a:pt x="600" y="19131"/>
                    <a:pt x="1200" y="20366"/>
                    <a:pt x="3000" y="20983"/>
                  </a:cubicBezTo>
                  <a:cubicBezTo>
                    <a:pt x="4800" y="21600"/>
                    <a:pt x="6600" y="21600"/>
                    <a:pt x="9600" y="20983"/>
                  </a:cubicBezTo>
                  <a:cubicBezTo>
                    <a:pt x="12600" y="20366"/>
                    <a:pt x="13200" y="16971"/>
                    <a:pt x="14400" y="15429"/>
                  </a:cubicBezTo>
                  <a:cubicBezTo>
                    <a:pt x="15600" y="13269"/>
                    <a:pt x="17400" y="11417"/>
                    <a:pt x="18600" y="9257"/>
                  </a:cubicBezTo>
                  <a:cubicBezTo>
                    <a:pt x="18600" y="8640"/>
                    <a:pt x="18600" y="7714"/>
                    <a:pt x="19200" y="7097"/>
                  </a:cubicBezTo>
                  <a:cubicBezTo>
                    <a:pt x="19800" y="6789"/>
                    <a:pt x="18600" y="4320"/>
                    <a:pt x="20400" y="5863"/>
                  </a:cubicBezTo>
                  <a:cubicBezTo>
                    <a:pt x="21000" y="6171"/>
                    <a:pt x="21000" y="5554"/>
                    <a:pt x="21600" y="5246"/>
                  </a:cubicBezTo>
                  <a:cubicBezTo>
                    <a:pt x="21600" y="4629"/>
                    <a:pt x="21000" y="4011"/>
                    <a:pt x="21000" y="3394"/>
                  </a:cubicBezTo>
                  <a:cubicBezTo>
                    <a:pt x="20400" y="2777"/>
                    <a:pt x="19800" y="1234"/>
                    <a:pt x="18600" y="617"/>
                  </a:cubicBezTo>
                  <a:cubicBezTo>
                    <a:pt x="18000" y="309"/>
                    <a:pt x="19200" y="617"/>
                    <a:pt x="18600" y="6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0" name="Shape 1909">
              <a:extLst>
                <a:ext uri="{FF2B5EF4-FFF2-40B4-BE49-F238E27FC236}">
                  <a16:creationId xmlns:a16="http://schemas.microsoft.com/office/drawing/2014/main" id="{B0F4378F-284A-666D-DC9F-1098B6BE4587}"/>
                </a:ext>
              </a:extLst>
            </p:cNvPr>
            <p:cNvSpPr/>
            <p:nvPr/>
          </p:nvSpPr>
          <p:spPr>
            <a:xfrm>
              <a:off x="7438979" y="923924"/>
              <a:ext cx="59680" cy="48566"/>
            </a:xfrm>
            <a:custGeom>
              <a:avLst/>
              <a:gdLst/>
              <a:ahLst/>
              <a:cxnLst>
                <a:cxn ang="0">
                  <a:pos x="wd2" y="hd2"/>
                </a:cxn>
                <a:cxn ang="5400000">
                  <a:pos x="wd2" y="hd2"/>
                </a:cxn>
                <a:cxn ang="10800000">
                  <a:pos x="wd2" y="hd2"/>
                </a:cxn>
                <a:cxn ang="16200000">
                  <a:pos x="wd2" y="hd2"/>
                </a:cxn>
              </a:cxnLst>
              <a:rect l="0" t="0" r="r" b="b"/>
              <a:pathLst>
                <a:path w="17925" h="19443" extrusionOk="0">
                  <a:moveTo>
                    <a:pt x="16245" y="18900"/>
                  </a:moveTo>
                  <a:cubicBezTo>
                    <a:pt x="20172" y="21600"/>
                    <a:pt x="16245" y="13500"/>
                    <a:pt x="14281" y="10800"/>
                  </a:cubicBezTo>
                  <a:cubicBezTo>
                    <a:pt x="12317" y="8100"/>
                    <a:pt x="6427" y="2700"/>
                    <a:pt x="4463" y="0"/>
                  </a:cubicBezTo>
                  <a:cubicBezTo>
                    <a:pt x="2499" y="0"/>
                    <a:pt x="536" y="2700"/>
                    <a:pt x="536" y="5400"/>
                  </a:cubicBezTo>
                  <a:cubicBezTo>
                    <a:pt x="-1428" y="8100"/>
                    <a:pt x="2499" y="10800"/>
                    <a:pt x="4463" y="13500"/>
                  </a:cubicBezTo>
                  <a:cubicBezTo>
                    <a:pt x="8390" y="16200"/>
                    <a:pt x="12317" y="18900"/>
                    <a:pt x="16245" y="18900"/>
                  </a:cubicBezTo>
                  <a:cubicBezTo>
                    <a:pt x="18208" y="18900"/>
                    <a:pt x="12317" y="18900"/>
                    <a:pt x="16245" y="189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1" name="Shape 1910">
              <a:extLst>
                <a:ext uri="{FF2B5EF4-FFF2-40B4-BE49-F238E27FC236}">
                  <a16:creationId xmlns:a16="http://schemas.microsoft.com/office/drawing/2014/main" id="{890AA082-A967-6524-E6D2-D0510D424CA1}"/>
                </a:ext>
              </a:extLst>
            </p:cNvPr>
            <p:cNvSpPr/>
            <p:nvPr/>
          </p:nvSpPr>
          <p:spPr>
            <a:xfrm>
              <a:off x="7090367" y="986119"/>
              <a:ext cx="68285" cy="43462"/>
            </a:xfrm>
            <a:custGeom>
              <a:avLst/>
              <a:gdLst/>
              <a:ahLst/>
              <a:cxnLst>
                <a:cxn ang="0">
                  <a:pos x="wd2" y="hd2"/>
                </a:cxn>
                <a:cxn ang="5400000">
                  <a:pos x="wd2" y="hd2"/>
                </a:cxn>
                <a:cxn ang="10800000">
                  <a:pos x="wd2" y="hd2"/>
                </a:cxn>
                <a:cxn ang="16200000">
                  <a:pos x="wd2" y="hd2"/>
                </a:cxn>
              </a:cxnLst>
              <a:rect l="0" t="0" r="r" b="b"/>
              <a:pathLst>
                <a:path w="20509" h="14400" extrusionOk="0">
                  <a:moveTo>
                    <a:pt x="19636" y="5760"/>
                  </a:moveTo>
                  <a:cubicBezTo>
                    <a:pt x="19636" y="10080"/>
                    <a:pt x="13745" y="12240"/>
                    <a:pt x="11782" y="14400"/>
                  </a:cubicBezTo>
                  <a:cubicBezTo>
                    <a:pt x="7855" y="14400"/>
                    <a:pt x="0" y="12240"/>
                    <a:pt x="0" y="5760"/>
                  </a:cubicBezTo>
                  <a:cubicBezTo>
                    <a:pt x="1964" y="-7200"/>
                    <a:pt x="21600" y="5760"/>
                    <a:pt x="19636" y="5760"/>
                  </a:cubicBezTo>
                  <a:cubicBezTo>
                    <a:pt x="19636" y="7920"/>
                    <a:pt x="21600" y="3600"/>
                    <a:pt x="19636" y="57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2" name="Shape 1911">
              <a:extLst>
                <a:ext uri="{FF2B5EF4-FFF2-40B4-BE49-F238E27FC236}">
                  <a16:creationId xmlns:a16="http://schemas.microsoft.com/office/drawing/2014/main" id="{917CA1A2-B12E-B207-7030-933339C26F02}"/>
                </a:ext>
              </a:extLst>
            </p:cNvPr>
            <p:cNvSpPr/>
            <p:nvPr/>
          </p:nvSpPr>
          <p:spPr>
            <a:xfrm>
              <a:off x="7814305" y="741274"/>
              <a:ext cx="53668" cy="32036"/>
            </a:xfrm>
            <a:custGeom>
              <a:avLst/>
              <a:gdLst/>
              <a:ahLst/>
              <a:cxnLst>
                <a:cxn ang="0">
                  <a:pos x="wd2" y="hd2"/>
                </a:cxn>
                <a:cxn ang="5400000">
                  <a:pos x="wd2" y="hd2"/>
                </a:cxn>
                <a:cxn ang="10800000">
                  <a:pos x="wd2" y="hd2"/>
                </a:cxn>
                <a:cxn ang="16200000">
                  <a:pos x="wd2" y="hd2"/>
                </a:cxn>
              </a:cxnLst>
              <a:rect l="0" t="0" r="r" b="b"/>
              <a:pathLst>
                <a:path w="19838" h="20520" extrusionOk="0">
                  <a:moveTo>
                    <a:pt x="19838" y="11880"/>
                  </a:moveTo>
                  <a:cubicBezTo>
                    <a:pt x="15038" y="16200"/>
                    <a:pt x="12638" y="16200"/>
                    <a:pt x="7838" y="20520"/>
                  </a:cubicBezTo>
                  <a:cubicBezTo>
                    <a:pt x="3038" y="20520"/>
                    <a:pt x="-1762" y="11880"/>
                    <a:pt x="638" y="3240"/>
                  </a:cubicBezTo>
                  <a:cubicBezTo>
                    <a:pt x="638" y="-1080"/>
                    <a:pt x="10238" y="-1080"/>
                    <a:pt x="12638" y="3240"/>
                  </a:cubicBezTo>
                  <a:cubicBezTo>
                    <a:pt x="15038" y="3240"/>
                    <a:pt x="17438" y="11880"/>
                    <a:pt x="19838" y="118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3" name="Shape 1912">
              <a:extLst>
                <a:ext uri="{FF2B5EF4-FFF2-40B4-BE49-F238E27FC236}">
                  <a16:creationId xmlns:a16="http://schemas.microsoft.com/office/drawing/2014/main" id="{6B8B526F-92AB-880E-1DFC-FECD8C1F1FB2}"/>
                </a:ext>
              </a:extLst>
            </p:cNvPr>
            <p:cNvSpPr/>
            <p:nvPr/>
          </p:nvSpPr>
          <p:spPr>
            <a:xfrm>
              <a:off x="9131725" y="675971"/>
              <a:ext cx="54764" cy="29900"/>
            </a:xfrm>
            <a:custGeom>
              <a:avLst/>
              <a:gdLst/>
              <a:ahLst/>
              <a:cxnLst>
                <a:cxn ang="0">
                  <a:pos x="wd2" y="hd2"/>
                </a:cxn>
                <a:cxn ang="5400000">
                  <a:pos x="wd2" y="hd2"/>
                </a:cxn>
                <a:cxn ang="10800000">
                  <a:pos x="wd2" y="hd2"/>
                </a:cxn>
                <a:cxn ang="16200000">
                  <a:pos x="wd2" y="hd2"/>
                </a:cxn>
              </a:cxnLst>
              <a:rect l="0" t="0" r="r" b="b"/>
              <a:pathLst>
                <a:path w="18149" h="20520" extrusionOk="0">
                  <a:moveTo>
                    <a:pt x="11235" y="20520"/>
                  </a:moveTo>
                  <a:cubicBezTo>
                    <a:pt x="6915" y="20520"/>
                    <a:pt x="2595" y="16200"/>
                    <a:pt x="435" y="16200"/>
                  </a:cubicBezTo>
                  <a:cubicBezTo>
                    <a:pt x="-1725" y="11880"/>
                    <a:pt x="4755" y="3240"/>
                    <a:pt x="6915" y="3240"/>
                  </a:cubicBezTo>
                  <a:cubicBezTo>
                    <a:pt x="9075" y="-1080"/>
                    <a:pt x="15555" y="-1080"/>
                    <a:pt x="17715" y="3240"/>
                  </a:cubicBezTo>
                  <a:cubicBezTo>
                    <a:pt x="19875" y="7560"/>
                    <a:pt x="13395" y="20520"/>
                    <a:pt x="11235" y="20520"/>
                  </a:cubicBezTo>
                  <a:cubicBezTo>
                    <a:pt x="6915" y="20520"/>
                    <a:pt x="11235" y="20520"/>
                    <a:pt x="11235" y="205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4" name="Shape 1913">
              <a:extLst>
                <a:ext uri="{FF2B5EF4-FFF2-40B4-BE49-F238E27FC236}">
                  <a16:creationId xmlns:a16="http://schemas.microsoft.com/office/drawing/2014/main" id="{BA6A2FFA-283B-35BF-CDD5-81012129981C}"/>
                </a:ext>
              </a:extLst>
            </p:cNvPr>
            <p:cNvSpPr/>
            <p:nvPr/>
          </p:nvSpPr>
          <p:spPr>
            <a:xfrm>
              <a:off x="8461287" y="199510"/>
              <a:ext cx="40453" cy="10117"/>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5" name="Shape 1914">
              <a:extLst>
                <a:ext uri="{FF2B5EF4-FFF2-40B4-BE49-F238E27FC236}">
                  <a16:creationId xmlns:a16="http://schemas.microsoft.com/office/drawing/2014/main" id="{59A0F787-D8DB-7A82-3B27-B3C975FFB789}"/>
                </a:ext>
              </a:extLst>
            </p:cNvPr>
            <p:cNvSpPr/>
            <p:nvPr/>
          </p:nvSpPr>
          <p:spPr>
            <a:xfrm>
              <a:off x="8101934" y="772229"/>
              <a:ext cx="25008" cy="21315"/>
            </a:xfrm>
            <a:custGeom>
              <a:avLst/>
              <a:gdLst/>
              <a:ahLst/>
              <a:cxnLst>
                <a:cxn ang="0">
                  <a:pos x="wd2" y="hd2"/>
                </a:cxn>
                <a:cxn ang="5400000">
                  <a:pos x="wd2" y="hd2"/>
                </a:cxn>
                <a:cxn ang="10800000">
                  <a:pos x="wd2" y="hd2"/>
                </a:cxn>
                <a:cxn ang="16200000">
                  <a:pos x="wd2" y="hd2"/>
                </a:cxn>
              </a:cxnLst>
              <a:rect l="0" t="0" r="r" b="b"/>
              <a:pathLst>
                <a:path w="14138" h="17067" extrusionOk="0">
                  <a:moveTo>
                    <a:pt x="12788" y="17067"/>
                  </a:moveTo>
                  <a:cubicBezTo>
                    <a:pt x="9188" y="17067"/>
                    <a:pt x="-5212" y="11667"/>
                    <a:pt x="1988" y="867"/>
                  </a:cubicBezTo>
                  <a:cubicBezTo>
                    <a:pt x="12788" y="-4533"/>
                    <a:pt x="16388" y="17067"/>
                    <a:pt x="12788"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6" name="Shape 1915">
              <a:extLst>
                <a:ext uri="{FF2B5EF4-FFF2-40B4-BE49-F238E27FC236}">
                  <a16:creationId xmlns:a16="http://schemas.microsoft.com/office/drawing/2014/main" id="{D79E7757-9D96-D0AA-5907-5C2D8958ADBF}"/>
                </a:ext>
              </a:extLst>
            </p:cNvPr>
            <p:cNvSpPr/>
            <p:nvPr/>
          </p:nvSpPr>
          <p:spPr>
            <a:xfrm>
              <a:off x="5804224" y="2243652"/>
              <a:ext cx="30799" cy="62061"/>
            </a:xfrm>
            <a:custGeom>
              <a:avLst/>
              <a:gdLst/>
              <a:ahLst/>
              <a:cxnLst>
                <a:cxn ang="0">
                  <a:pos x="wd2" y="hd2"/>
                </a:cxn>
                <a:cxn ang="5400000">
                  <a:pos x="wd2" y="hd2"/>
                </a:cxn>
                <a:cxn ang="10800000">
                  <a:pos x="wd2" y="hd2"/>
                </a:cxn>
                <a:cxn ang="16200000">
                  <a:pos x="wd2" y="hd2"/>
                </a:cxn>
              </a:cxnLst>
              <a:rect l="0" t="0" r="r" b="b"/>
              <a:pathLst>
                <a:path w="17412" h="18635" extrusionOk="0">
                  <a:moveTo>
                    <a:pt x="15812" y="567"/>
                  </a:moveTo>
                  <a:cubicBezTo>
                    <a:pt x="15812" y="4494"/>
                    <a:pt x="19412" y="8421"/>
                    <a:pt x="15812" y="12348"/>
                  </a:cubicBezTo>
                  <a:cubicBezTo>
                    <a:pt x="12212" y="14312"/>
                    <a:pt x="15812" y="20203"/>
                    <a:pt x="8612" y="18239"/>
                  </a:cubicBezTo>
                  <a:cubicBezTo>
                    <a:pt x="1412" y="14312"/>
                    <a:pt x="-2188" y="10385"/>
                    <a:pt x="1412" y="6458"/>
                  </a:cubicBezTo>
                  <a:cubicBezTo>
                    <a:pt x="1412" y="4494"/>
                    <a:pt x="15812" y="-1397"/>
                    <a:pt x="15812" y="567"/>
                  </a:cubicBezTo>
                  <a:cubicBezTo>
                    <a:pt x="15812" y="2530"/>
                    <a:pt x="15812" y="-1397"/>
                    <a:pt x="15812" y="5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7" name="Shape 1916">
              <a:extLst>
                <a:ext uri="{FF2B5EF4-FFF2-40B4-BE49-F238E27FC236}">
                  <a16:creationId xmlns:a16="http://schemas.microsoft.com/office/drawing/2014/main" id="{E8E198B4-AFFC-C939-C91C-9D9C08F7F505}"/>
                </a:ext>
              </a:extLst>
            </p:cNvPr>
            <p:cNvSpPr/>
            <p:nvPr/>
          </p:nvSpPr>
          <p:spPr>
            <a:xfrm>
              <a:off x="5786870" y="2312848"/>
              <a:ext cx="53565" cy="86395"/>
            </a:xfrm>
            <a:custGeom>
              <a:avLst/>
              <a:gdLst/>
              <a:ahLst/>
              <a:cxnLst>
                <a:cxn ang="0">
                  <a:pos x="wd2" y="hd2"/>
                </a:cxn>
                <a:cxn ang="5400000">
                  <a:pos x="wd2" y="hd2"/>
                </a:cxn>
                <a:cxn ang="10800000">
                  <a:pos x="wd2" y="hd2"/>
                </a:cxn>
                <a:cxn ang="16200000">
                  <a:pos x="wd2" y="hd2"/>
                </a:cxn>
              </a:cxnLst>
              <a:rect l="0" t="0" r="r" b="b"/>
              <a:pathLst>
                <a:path w="19800" h="18866" extrusionOk="0">
                  <a:moveTo>
                    <a:pt x="16800" y="2430"/>
                  </a:moveTo>
                  <a:cubicBezTo>
                    <a:pt x="14400" y="2430"/>
                    <a:pt x="16800" y="-1890"/>
                    <a:pt x="12000" y="990"/>
                  </a:cubicBezTo>
                  <a:cubicBezTo>
                    <a:pt x="4800" y="3870"/>
                    <a:pt x="7200" y="3870"/>
                    <a:pt x="0" y="990"/>
                  </a:cubicBezTo>
                  <a:cubicBezTo>
                    <a:pt x="0" y="990"/>
                    <a:pt x="2400" y="9630"/>
                    <a:pt x="2400" y="9630"/>
                  </a:cubicBezTo>
                  <a:cubicBezTo>
                    <a:pt x="4800" y="12510"/>
                    <a:pt x="4800" y="13950"/>
                    <a:pt x="4800" y="16830"/>
                  </a:cubicBezTo>
                  <a:cubicBezTo>
                    <a:pt x="4800" y="18270"/>
                    <a:pt x="4800" y="19710"/>
                    <a:pt x="9600" y="18270"/>
                  </a:cubicBezTo>
                  <a:cubicBezTo>
                    <a:pt x="14400" y="16830"/>
                    <a:pt x="19200" y="16830"/>
                    <a:pt x="19200" y="12510"/>
                  </a:cubicBezTo>
                  <a:cubicBezTo>
                    <a:pt x="19200" y="11070"/>
                    <a:pt x="21600" y="2430"/>
                    <a:pt x="16800" y="243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8" name="Shape 1917">
              <a:extLst>
                <a:ext uri="{FF2B5EF4-FFF2-40B4-BE49-F238E27FC236}">
                  <a16:creationId xmlns:a16="http://schemas.microsoft.com/office/drawing/2014/main" id="{1FD17C22-F307-F23C-8C47-68CA963B7201}"/>
                </a:ext>
              </a:extLst>
            </p:cNvPr>
            <p:cNvSpPr/>
            <p:nvPr/>
          </p:nvSpPr>
          <p:spPr>
            <a:xfrm>
              <a:off x="5923964" y="2426958"/>
              <a:ext cx="100374" cy="54111"/>
            </a:xfrm>
            <a:custGeom>
              <a:avLst/>
              <a:gdLst/>
              <a:ahLst/>
              <a:cxnLst>
                <a:cxn ang="0">
                  <a:pos x="wd2" y="hd2"/>
                </a:cxn>
                <a:cxn ang="5400000">
                  <a:pos x="wd2" y="hd2"/>
                </a:cxn>
                <a:cxn ang="10800000">
                  <a:pos x="wd2" y="hd2"/>
                </a:cxn>
                <a:cxn ang="16200000">
                  <a:pos x="wd2" y="hd2"/>
                </a:cxn>
              </a:cxnLst>
              <a:rect l="0" t="0" r="r" b="b"/>
              <a:pathLst>
                <a:path w="20526" h="17928" extrusionOk="0">
                  <a:moveTo>
                    <a:pt x="6750" y="960"/>
                  </a:moveTo>
                  <a:cubicBezTo>
                    <a:pt x="5400" y="960"/>
                    <a:pt x="1350" y="960"/>
                    <a:pt x="0" y="3120"/>
                  </a:cubicBezTo>
                  <a:cubicBezTo>
                    <a:pt x="0" y="5280"/>
                    <a:pt x="2700" y="7440"/>
                    <a:pt x="4050" y="9600"/>
                  </a:cubicBezTo>
                  <a:cubicBezTo>
                    <a:pt x="6750" y="9600"/>
                    <a:pt x="9450" y="11760"/>
                    <a:pt x="10800" y="13920"/>
                  </a:cubicBezTo>
                  <a:cubicBezTo>
                    <a:pt x="13500" y="16080"/>
                    <a:pt x="16200" y="20400"/>
                    <a:pt x="18900" y="16080"/>
                  </a:cubicBezTo>
                  <a:cubicBezTo>
                    <a:pt x="21600" y="13920"/>
                    <a:pt x="16200" y="11760"/>
                    <a:pt x="17550" y="7440"/>
                  </a:cubicBezTo>
                  <a:cubicBezTo>
                    <a:pt x="17550" y="7440"/>
                    <a:pt x="21600" y="3120"/>
                    <a:pt x="20250" y="960"/>
                  </a:cubicBezTo>
                  <a:cubicBezTo>
                    <a:pt x="20250" y="-1200"/>
                    <a:pt x="14850" y="960"/>
                    <a:pt x="14850" y="960"/>
                  </a:cubicBezTo>
                  <a:cubicBezTo>
                    <a:pt x="12150" y="3120"/>
                    <a:pt x="9450" y="960"/>
                    <a:pt x="6750" y="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99" name="Shape 1918">
              <a:extLst>
                <a:ext uri="{FF2B5EF4-FFF2-40B4-BE49-F238E27FC236}">
                  <a16:creationId xmlns:a16="http://schemas.microsoft.com/office/drawing/2014/main" id="{95535A4D-F754-3EAE-B4A8-D8D8E85282EA}"/>
                </a:ext>
              </a:extLst>
            </p:cNvPr>
            <p:cNvSpPr/>
            <p:nvPr/>
          </p:nvSpPr>
          <p:spPr>
            <a:xfrm>
              <a:off x="6560501" y="2520301"/>
              <a:ext cx="71218" cy="40725"/>
            </a:xfrm>
            <a:custGeom>
              <a:avLst/>
              <a:gdLst/>
              <a:ahLst/>
              <a:cxnLst>
                <a:cxn ang="0">
                  <a:pos x="wd2" y="hd2"/>
                </a:cxn>
                <a:cxn ang="5400000">
                  <a:pos x="wd2" y="hd2"/>
                </a:cxn>
                <a:cxn ang="10800000">
                  <a:pos x="wd2" y="hd2"/>
                </a:cxn>
                <a:cxn ang="16200000">
                  <a:pos x="wd2" y="hd2"/>
                </a:cxn>
              </a:cxnLst>
              <a:rect l="0" t="0" r="r" b="b"/>
              <a:pathLst>
                <a:path w="18013" h="18634" extrusionOk="0">
                  <a:moveTo>
                    <a:pt x="17533" y="891"/>
                  </a:moveTo>
                  <a:cubicBezTo>
                    <a:pt x="17533" y="891"/>
                    <a:pt x="14210" y="3976"/>
                    <a:pt x="14210" y="3976"/>
                  </a:cubicBezTo>
                  <a:cubicBezTo>
                    <a:pt x="12549" y="7062"/>
                    <a:pt x="14210" y="13234"/>
                    <a:pt x="14210" y="13234"/>
                  </a:cubicBezTo>
                  <a:cubicBezTo>
                    <a:pt x="12549" y="13234"/>
                    <a:pt x="9226" y="13234"/>
                    <a:pt x="7564" y="16319"/>
                  </a:cubicBezTo>
                  <a:cubicBezTo>
                    <a:pt x="4241" y="19405"/>
                    <a:pt x="2580" y="19405"/>
                    <a:pt x="918" y="16319"/>
                  </a:cubicBezTo>
                  <a:cubicBezTo>
                    <a:pt x="-2405" y="10148"/>
                    <a:pt x="4241" y="7062"/>
                    <a:pt x="5903" y="7062"/>
                  </a:cubicBezTo>
                  <a:cubicBezTo>
                    <a:pt x="9226" y="7062"/>
                    <a:pt x="14210" y="3976"/>
                    <a:pt x="17533" y="891"/>
                  </a:cubicBezTo>
                  <a:cubicBezTo>
                    <a:pt x="19195" y="-2195"/>
                    <a:pt x="15872" y="3976"/>
                    <a:pt x="17533" y="8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0" name="Shape 1919">
              <a:extLst>
                <a:ext uri="{FF2B5EF4-FFF2-40B4-BE49-F238E27FC236}">
                  <a16:creationId xmlns:a16="http://schemas.microsoft.com/office/drawing/2014/main" id="{2EC88A79-6D82-9939-A7EF-39864A97A1E5}"/>
                </a:ext>
              </a:extLst>
            </p:cNvPr>
            <p:cNvSpPr/>
            <p:nvPr/>
          </p:nvSpPr>
          <p:spPr>
            <a:xfrm>
              <a:off x="6273766" y="2525994"/>
              <a:ext cx="92937" cy="23230"/>
            </a:xfrm>
            <a:custGeom>
              <a:avLst/>
              <a:gdLst/>
              <a:ahLst/>
              <a:cxnLst>
                <a:cxn ang="0">
                  <a:pos x="wd2" y="hd2"/>
                </a:cxn>
                <a:cxn ang="5400000">
                  <a:pos x="wd2" y="hd2"/>
                </a:cxn>
                <a:cxn ang="10800000">
                  <a:pos x="wd2" y="hd2"/>
                </a:cxn>
                <a:cxn ang="16200000">
                  <a:pos x="wd2" y="hd2"/>
                </a:cxn>
              </a:cxnLst>
              <a:rect l="0" t="0" r="r" b="b"/>
              <a:pathLst>
                <a:path w="20300" h="18600" extrusionOk="0">
                  <a:moveTo>
                    <a:pt x="10220" y="18600"/>
                  </a:moveTo>
                  <a:cubicBezTo>
                    <a:pt x="8780" y="18600"/>
                    <a:pt x="-1300" y="7800"/>
                    <a:pt x="140" y="2400"/>
                  </a:cubicBezTo>
                  <a:cubicBezTo>
                    <a:pt x="140" y="-3000"/>
                    <a:pt x="8780" y="2400"/>
                    <a:pt x="8780" y="2400"/>
                  </a:cubicBezTo>
                  <a:cubicBezTo>
                    <a:pt x="13100" y="7800"/>
                    <a:pt x="15980" y="7800"/>
                    <a:pt x="20300" y="7800"/>
                  </a:cubicBezTo>
                  <a:cubicBezTo>
                    <a:pt x="20300" y="7800"/>
                    <a:pt x="17420" y="13200"/>
                    <a:pt x="17420" y="13200"/>
                  </a:cubicBezTo>
                  <a:cubicBezTo>
                    <a:pt x="15980" y="18600"/>
                    <a:pt x="13100" y="18600"/>
                    <a:pt x="10220" y="18600"/>
                  </a:cubicBezTo>
                  <a:cubicBezTo>
                    <a:pt x="7340" y="18600"/>
                    <a:pt x="11660" y="18600"/>
                    <a:pt x="10220" y="18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1" name="Shape 1920">
              <a:extLst>
                <a:ext uri="{FF2B5EF4-FFF2-40B4-BE49-F238E27FC236}">
                  <a16:creationId xmlns:a16="http://schemas.microsoft.com/office/drawing/2014/main" id="{5BBDA24E-582E-7891-1B48-C355B9F4D7E4}"/>
                </a:ext>
              </a:extLst>
            </p:cNvPr>
            <p:cNvSpPr/>
            <p:nvPr/>
          </p:nvSpPr>
          <p:spPr>
            <a:xfrm>
              <a:off x="6224368" y="1554862"/>
              <a:ext cx="43450" cy="29070"/>
            </a:xfrm>
            <a:custGeom>
              <a:avLst/>
              <a:gdLst/>
              <a:ahLst/>
              <a:cxnLst>
                <a:cxn ang="0">
                  <a:pos x="wd2" y="hd2"/>
                </a:cxn>
                <a:cxn ang="5400000">
                  <a:pos x="wd2" y="hd2"/>
                </a:cxn>
                <a:cxn ang="10800000">
                  <a:pos x="wd2" y="hd2"/>
                </a:cxn>
                <a:cxn ang="16200000">
                  <a:pos x="wd2" y="hd2"/>
                </a:cxn>
              </a:cxnLst>
              <a:rect l="0" t="0" r="r" b="b"/>
              <a:pathLst>
                <a:path w="19886" h="13301" extrusionOk="0">
                  <a:moveTo>
                    <a:pt x="1372" y="10629"/>
                  </a:moveTo>
                  <a:cubicBezTo>
                    <a:pt x="1372" y="7543"/>
                    <a:pt x="-1714" y="1372"/>
                    <a:pt x="1372" y="1372"/>
                  </a:cubicBezTo>
                  <a:cubicBezTo>
                    <a:pt x="4457" y="1372"/>
                    <a:pt x="19886" y="-1714"/>
                    <a:pt x="19886" y="1372"/>
                  </a:cubicBezTo>
                  <a:cubicBezTo>
                    <a:pt x="19886" y="4457"/>
                    <a:pt x="4457" y="16800"/>
                    <a:pt x="1372" y="10629"/>
                  </a:cubicBezTo>
                  <a:cubicBezTo>
                    <a:pt x="1372" y="1372"/>
                    <a:pt x="4457" y="19886"/>
                    <a:pt x="1372" y="106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2" name="Shape 1921">
              <a:extLst>
                <a:ext uri="{FF2B5EF4-FFF2-40B4-BE49-F238E27FC236}">
                  <a16:creationId xmlns:a16="http://schemas.microsoft.com/office/drawing/2014/main" id="{B3D67C98-95D5-F15E-6972-150F462E87C0}"/>
                </a:ext>
              </a:extLst>
            </p:cNvPr>
            <p:cNvSpPr/>
            <p:nvPr/>
          </p:nvSpPr>
          <p:spPr>
            <a:xfrm>
              <a:off x="6227364" y="1536462"/>
              <a:ext cx="29762" cy="11324"/>
            </a:xfrm>
            <a:custGeom>
              <a:avLst/>
              <a:gdLst/>
              <a:ahLst/>
              <a:cxnLst>
                <a:cxn ang="0">
                  <a:pos x="wd2" y="hd2"/>
                </a:cxn>
                <a:cxn ang="5400000">
                  <a:pos x="wd2" y="hd2"/>
                </a:cxn>
                <a:cxn ang="10800000">
                  <a:pos x="wd2" y="hd2"/>
                </a:cxn>
                <a:cxn ang="16200000">
                  <a:pos x="wd2" y="hd2"/>
                </a:cxn>
              </a:cxnLst>
              <a:rect l="0" t="0" r="r" b="b"/>
              <a:pathLst>
                <a:path w="19069" h="13600" extrusionOk="0">
                  <a:moveTo>
                    <a:pt x="12960" y="10400"/>
                  </a:moveTo>
                  <a:cubicBezTo>
                    <a:pt x="8640" y="10400"/>
                    <a:pt x="0" y="3200"/>
                    <a:pt x="0" y="3200"/>
                  </a:cubicBezTo>
                  <a:cubicBezTo>
                    <a:pt x="0" y="3200"/>
                    <a:pt x="17280" y="-4000"/>
                    <a:pt x="17280" y="3200"/>
                  </a:cubicBezTo>
                  <a:cubicBezTo>
                    <a:pt x="21600" y="10400"/>
                    <a:pt x="17280" y="17600"/>
                    <a:pt x="12960" y="10400"/>
                  </a:cubicBezTo>
                  <a:cubicBezTo>
                    <a:pt x="4320" y="10400"/>
                    <a:pt x="21600" y="17600"/>
                    <a:pt x="12960" y="10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3" name="Shape 1922">
              <a:extLst>
                <a:ext uri="{FF2B5EF4-FFF2-40B4-BE49-F238E27FC236}">
                  <a16:creationId xmlns:a16="http://schemas.microsoft.com/office/drawing/2014/main" id="{8889A06F-8C15-456F-DB9E-760C25363168}"/>
                </a:ext>
              </a:extLst>
            </p:cNvPr>
            <p:cNvSpPr/>
            <p:nvPr/>
          </p:nvSpPr>
          <p:spPr>
            <a:xfrm>
              <a:off x="6104026" y="1589246"/>
              <a:ext cx="24452" cy="47977"/>
            </a:xfrm>
            <a:custGeom>
              <a:avLst/>
              <a:gdLst/>
              <a:ahLst/>
              <a:cxnLst>
                <a:cxn ang="0">
                  <a:pos x="wd2" y="hd2"/>
                </a:cxn>
                <a:cxn ang="5400000">
                  <a:pos x="wd2" y="hd2"/>
                </a:cxn>
                <a:cxn ang="10800000">
                  <a:pos x="wd2" y="hd2"/>
                </a:cxn>
                <a:cxn ang="16200000">
                  <a:pos x="wd2" y="hd2"/>
                </a:cxn>
              </a:cxnLst>
              <a:rect l="0" t="0" r="r" b="b"/>
              <a:pathLst>
                <a:path w="13824" h="15896" extrusionOk="0">
                  <a:moveTo>
                    <a:pt x="13824" y="624"/>
                  </a:moveTo>
                  <a:cubicBezTo>
                    <a:pt x="13824" y="-3696"/>
                    <a:pt x="-7776" y="17904"/>
                    <a:pt x="3024" y="15744"/>
                  </a:cubicBezTo>
                  <a:cubicBezTo>
                    <a:pt x="6624" y="15744"/>
                    <a:pt x="13824" y="2784"/>
                    <a:pt x="13824" y="624"/>
                  </a:cubicBezTo>
                  <a:cubicBezTo>
                    <a:pt x="13824" y="-1536"/>
                    <a:pt x="13824" y="2784"/>
                    <a:pt x="13824" y="62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4" name="Shape 1923">
              <a:extLst>
                <a:ext uri="{FF2B5EF4-FFF2-40B4-BE49-F238E27FC236}">
                  <a16:creationId xmlns:a16="http://schemas.microsoft.com/office/drawing/2014/main" id="{564715A5-170F-7EC9-066F-134C19A48D42}"/>
                </a:ext>
              </a:extLst>
            </p:cNvPr>
            <p:cNvSpPr/>
            <p:nvPr/>
          </p:nvSpPr>
          <p:spPr>
            <a:xfrm>
              <a:off x="6153611" y="1465690"/>
              <a:ext cx="20380" cy="22180"/>
            </a:xfrm>
            <a:custGeom>
              <a:avLst/>
              <a:gdLst/>
              <a:ahLst/>
              <a:cxnLst>
                <a:cxn ang="0">
                  <a:pos x="wd2" y="hd2"/>
                </a:cxn>
                <a:cxn ang="5400000">
                  <a:pos x="wd2" y="hd2"/>
                </a:cxn>
                <a:cxn ang="10800000">
                  <a:pos x="wd2" y="hd2"/>
                </a:cxn>
                <a:cxn ang="16200000">
                  <a:pos x="wd2" y="hd2"/>
                </a:cxn>
              </a:cxnLst>
              <a:rect l="0" t="0" r="r" b="b"/>
              <a:pathLst>
                <a:path w="16322" h="17759" extrusionOk="0">
                  <a:moveTo>
                    <a:pt x="12272" y="16200"/>
                  </a:moveTo>
                  <a:cubicBezTo>
                    <a:pt x="6872" y="16200"/>
                    <a:pt x="-3928" y="10800"/>
                    <a:pt x="1472" y="5400"/>
                  </a:cubicBezTo>
                  <a:cubicBezTo>
                    <a:pt x="6872" y="5400"/>
                    <a:pt x="12272" y="0"/>
                    <a:pt x="12272" y="0"/>
                  </a:cubicBezTo>
                  <a:cubicBezTo>
                    <a:pt x="17672" y="0"/>
                    <a:pt x="17672" y="10800"/>
                    <a:pt x="12272" y="16200"/>
                  </a:cubicBezTo>
                  <a:cubicBezTo>
                    <a:pt x="6872" y="21600"/>
                    <a:pt x="17672" y="10800"/>
                    <a:pt x="12272"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5" name="Shape 1924">
              <a:extLst>
                <a:ext uri="{FF2B5EF4-FFF2-40B4-BE49-F238E27FC236}">
                  <a16:creationId xmlns:a16="http://schemas.microsoft.com/office/drawing/2014/main" id="{FD1093DE-3226-A06B-D81F-ED7D890CD823}"/>
                </a:ext>
              </a:extLst>
            </p:cNvPr>
            <p:cNvSpPr/>
            <p:nvPr/>
          </p:nvSpPr>
          <p:spPr>
            <a:xfrm>
              <a:off x="5885756" y="1678996"/>
              <a:ext cx="38206" cy="51958"/>
            </a:xfrm>
            <a:custGeom>
              <a:avLst/>
              <a:gdLst/>
              <a:ahLst/>
              <a:cxnLst>
                <a:cxn ang="0">
                  <a:pos x="wd2" y="hd2"/>
                </a:cxn>
                <a:cxn ang="5400000">
                  <a:pos x="wd2" y="hd2"/>
                </a:cxn>
                <a:cxn ang="10800000">
                  <a:pos x="wd2" y="hd2"/>
                </a:cxn>
                <a:cxn ang="16200000">
                  <a:pos x="wd2" y="hd2"/>
                </a:cxn>
              </a:cxnLst>
              <a:rect l="0" t="0" r="r" b="b"/>
              <a:pathLst>
                <a:path w="21600" h="18490" extrusionOk="0">
                  <a:moveTo>
                    <a:pt x="21600" y="1690"/>
                  </a:moveTo>
                  <a:cubicBezTo>
                    <a:pt x="21600" y="-710"/>
                    <a:pt x="21600" y="6490"/>
                    <a:pt x="21600" y="6490"/>
                  </a:cubicBezTo>
                  <a:cubicBezTo>
                    <a:pt x="21600" y="11290"/>
                    <a:pt x="21600" y="16090"/>
                    <a:pt x="18000" y="18490"/>
                  </a:cubicBezTo>
                  <a:cubicBezTo>
                    <a:pt x="18000" y="18490"/>
                    <a:pt x="0" y="8890"/>
                    <a:pt x="0" y="4090"/>
                  </a:cubicBezTo>
                  <a:cubicBezTo>
                    <a:pt x="0" y="4090"/>
                    <a:pt x="7200" y="1690"/>
                    <a:pt x="10800" y="4090"/>
                  </a:cubicBezTo>
                  <a:cubicBezTo>
                    <a:pt x="14400" y="6490"/>
                    <a:pt x="18000" y="6490"/>
                    <a:pt x="21600" y="1690"/>
                  </a:cubicBezTo>
                  <a:cubicBezTo>
                    <a:pt x="21600" y="-3110"/>
                    <a:pt x="21600" y="4090"/>
                    <a:pt x="21600" y="169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6" name="Shape 1925">
              <a:extLst>
                <a:ext uri="{FF2B5EF4-FFF2-40B4-BE49-F238E27FC236}">
                  <a16:creationId xmlns:a16="http://schemas.microsoft.com/office/drawing/2014/main" id="{3D736C06-5557-6CE7-B973-9F5AB4080EEA}"/>
                </a:ext>
              </a:extLst>
            </p:cNvPr>
            <p:cNvSpPr/>
            <p:nvPr/>
          </p:nvSpPr>
          <p:spPr>
            <a:xfrm>
              <a:off x="5844419" y="1700552"/>
              <a:ext cx="37722" cy="32349"/>
            </a:xfrm>
            <a:custGeom>
              <a:avLst/>
              <a:gdLst/>
              <a:ahLst/>
              <a:cxnLst>
                <a:cxn ang="0">
                  <a:pos x="wd2" y="hd2"/>
                </a:cxn>
                <a:cxn ang="5400000">
                  <a:pos x="wd2" y="hd2"/>
                </a:cxn>
                <a:cxn ang="10800000">
                  <a:pos x="wd2" y="hd2"/>
                </a:cxn>
                <a:cxn ang="16200000">
                  <a:pos x="wd2" y="hd2"/>
                </a:cxn>
              </a:cxnLst>
              <a:rect l="0" t="0" r="r" b="b"/>
              <a:pathLst>
                <a:path w="15106" h="12951" extrusionOk="0">
                  <a:moveTo>
                    <a:pt x="13855" y="12171"/>
                  </a:moveTo>
                  <a:cubicBezTo>
                    <a:pt x="11155" y="14871"/>
                    <a:pt x="-2345" y="6771"/>
                    <a:pt x="355" y="4071"/>
                  </a:cubicBezTo>
                  <a:cubicBezTo>
                    <a:pt x="5755" y="-6729"/>
                    <a:pt x="19255" y="6771"/>
                    <a:pt x="13855" y="12171"/>
                  </a:cubicBezTo>
                  <a:cubicBezTo>
                    <a:pt x="11155" y="14871"/>
                    <a:pt x="16555" y="9471"/>
                    <a:pt x="13855" y="12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7" name="Shape 1926">
              <a:extLst>
                <a:ext uri="{FF2B5EF4-FFF2-40B4-BE49-F238E27FC236}">
                  <a16:creationId xmlns:a16="http://schemas.microsoft.com/office/drawing/2014/main" id="{F20E07CC-BD68-821A-516D-E4410F1B098C}"/>
                </a:ext>
              </a:extLst>
            </p:cNvPr>
            <p:cNvSpPr/>
            <p:nvPr/>
          </p:nvSpPr>
          <p:spPr>
            <a:xfrm>
              <a:off x="5602584" y="2364888"/>
              <a:ext cx="27778" cy="19828"/>
            </a:xfrm>
            <a:custGeom>
              <a:avLst/>
              <a:gdLst/>
              <a:ahLst/>
              <a:cxnLst>
                <a:cxn ang="0">
                  <a:pos x="wd2" y="hd2"/>
                </a:cxn>
                <a:cxn ang="5400000">
                  <a:pos x="wd2" y="hd2"/>
                </a:cxn>
                <a:cxn ang="10800000">
                  <a:pos x="wd2" y="hd2"/>
                </a:cxn>
                <a:cxn ang="16200000">
                  <a:pos x="wd2" y="hd2"/>
                </a:cxn>
              </a:cxnLst>
              <a:rect l="0" t="0" r="r" b="b"/>
              <a:pathLst>
                <a:path w="19069" h="17318" extrusionOk="0">
                  <a:moveTo>
                    <a:pt x="17280" y="10800"/>
                  </a:moveTo>
                  <a:cubicBezTo>
                    <a:pt x="21600" y="5400"/>
                    <a:pt x="17280" y="21600"/>
                    <a:pt x="12960" y="16200"/>
                  </a:cubicBezTo>
                  <a:cubicBezTo>
                    <a:pt x="12960" y="16200"/>
                    <a:pt x="0" y="10800"/>
                    <a:pt x="0" y="10800"/>
                  </a:cubicBezTo>
                  <a:cubicBezTo>
                    <a:pt x="0" y="10800"/>
                    <a:pt x="12960" y="0"/>
                    <a:pt x="17280" y="0"/>
                  </a:cubicBezTo>
                  <a:cubicBezTo>
                    <a:pt x="17280" y="0"/>
                    <a:pt x="12960" y="10800"/>
                    <a:pt x="17280" y="10800"/>
                  </a:cubicBezTo>
                  <a:cubicBezTo>
                    <a:pt x="21600" y="5400"/>
                    <a:pt x="12960" y="10800"/>
                    <a:pt x="17280"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8" name="Shape 1927">
              <a:extLst>
                <a:ext uri="{FF2B5EF4-FFF2-40B4-BE49-F238E27FC236}">
                  <a16:creationId xmlns:a16="http://schemas.microsoft.com/office/drawing/2014/main" id="{CD35D3D8-3B6A-D319-D8AF-31179DD5D12D}"/>
                </a:ext>
              </a:extLst>
            </p:cNvPr>
            <p:cNvSpPr/>
            <p:nvPr/>
          </p:nvSpPr>
          <p:spPr>
            <a:xfrm>
              <a:off x="5284805" y="1562656"/>
              <a:ext cx="30857" cy="33980"/>
            </a:xfrm>
            <a:custGeom>
              <a:avLst/>
              <a:gdLst/>
              <a:ahLst/>
              <a:cxnLst>
                <a:cxn ang="0">
                  <a:pos x="wd2" y="hd2"/>
                </a:cxn>
                <a:cxn ang="5400000">
                  <a:pos x="wd2" y="hd2"/>
                </a:cxn>
                <a:cxn ang="10800000">
                  <a:pos x="wd2" y="hd2"/>
                </a:cxn>
                <a:cxn ang="16200000">
                  <a:pos x="wd2" y="hd2"/>
                </a:cxn>
              </a:cxnLst>
              <a:rect l="0" t="0" r="r" b="b"/>
              <a:pathLst>
                <a:path w="16476" h="18139" extrusionOk="0">
                  <a:moveTo>
                    <a:pt x="14876" y="1039"/>
                  </a:moveTo>
                  <a:cubicBezTo>
                    <a:pt x="18476" y="4639"/>
                    <a:pt x="11276" y="8239"/>
                    <a:pt x="11276" y="15439"/>
                  </a:cubicBezTo>
                  <a:cubicBezTo>
                    <a:pt x="7676" y="19039"/>
                    <a:pt x="4076" y="19039"/>
                    <a:pt x="476" y="15439"/>
                  </a:cubicBezTo>
                  <a:cubicBezTo>
                    <a:pt x="-3124" y="11839"/>
                    <a:pt x="14876" y="-2561"/>
                    <a:pt x="14876" y="1039"/>
                  </a:cubicBezTo>
                  <a:cubicBezTo>
                    <a:pt x="18476" y="4639"/>
                    <a:pt x="14876" y="-2561"/>
                    <a:pt x="14876" y="10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09" name="Shape 1928">
              <a:extLst>
                <a:ext uri="{FF2B5EF4-FFF2-40B4-BE49-F238E27FC236}">
                  <a16:creationId xmlns:a16="http://schemas.microsoft.com/office/drawing/2014/main" id="{90F47114-22DF-DB69-8EBC-B90958443A3E}"/>
                </a:ext>
              </a:extLst>
            </p:cNvPr>
            <p:cNvSpPr/>
            <p:nvPr/>
          </p:nvSpPr>
          <p:spPr>
            <a:xfrm>
              <a:off x="5299185" y="1610434"/>
              <a:ext cx="20228" cy="14865"/>
            </a:xfrm>
            <a:custGeom>
              <a:avLst/>
              <a:gdLst/>
              <a:ahLst/>
              <a:cxnLst>
                <a:cxn ang="0">
                  <a:pos x="wd2" y="hd2"/>
                </a:cxn>
                <a:cxn ang="5400000">
                  <a:pos x="wd2" y="hd2"/>
                </a:cxn>
                <a:cxn ang="10800000">
                  <a:pos x="wd2" y="hd2"/>
                </a:cxn>
                <a:cxn ang="16200000">
                  <a:pos x="wd2" y="hd2"/>
                </a:cxn>
              </a:cxnLst>
              <a:rect l="0" t="0" r="r" b="b"/>
              <a:pathLst>
                <a:path w="21600" h="15869" extrusionOk="0">
                  <a:moveTo>
                    <a:pt x="21600" y="1469"/>
                  </a:moveTo>
                  <a:cubicBezTo>
                    <a:pt x="14400" y="1469"/>
                    <a:pt x="0" y="1469"/>
                    <a:pt x="0" y="8669"/>
                  </a:cubicBezTo>
                  <a:cubicBezTo>
                    <a:pt x="0" y="15869"/>
                    <a:pt x="14400" y="15869"/>
                    <a:pt x="14400" y="15869"/>
                  </a:cubicBezTo>
                  <a:cubicBezTo>
                    <a:pt x="21600" y="15869"/>
                    <a:pt x="21600" y="-5731"/>
                    <a:pt x="21600" y="1469"/>
                  </a:cubicBezTo>
                  <a:cubicBezTo>
                    <a:pt x="14400" y="1469"/>
                    <a:pt x="21600" y="1469"/>
                    <a:pt x="21600" y="146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0" name="Shape 1929">
              <a:extLst>
                <a:ext uri="{FF2B5EF4-FFF2-40B4-BE49-F238E27FC236}">
                  <a16:creationId xmlns:a16="http://schemas.microsoft.com/office/drawing/2014/main" id="{CD83A281-C075-1FB5-261C-C2857CD2D0BB}"/>
                </a:ext>
              </a:extLst>
            </p:cNvPr>
            <p:cNvSpPr/>
            <p:nvPr/>
          </p:nvSpPr>
          <p:spPr>
            <a:xfrm>
              <a:off x="5322702" y="1625300"/>
              <a:ext cx="7947" cy="6744"/>
            </a:xfrm>
            <a:custGeom>
              <a:avLst/>
              <a:gdLst/>
              <a:ahLst/>
              <a:cxnLst>
                <a:cxn ang="0">
                  <a:pos x="wd2" y="hd2"/>
                </a:cxn>
                <a:cxn ang="5400000">
                  <a:pos x="wd2" y="hd2"/>
                </a:cxn>
                <a:cxn ang="10800000">
                  <a:pos x="wd2" y="hd2"/>
                </a:cxn>
                <a:cxn ang="16200000">
                  <a:pos x="wd2" y="hd2"/>
                </a:cxn>
              </a:cxnLst>
              <a:rect l="0" t="0" r="r" b="b"/>
              <a:pathLst>
                <a:path w="15274" h="21600" extrusionOk="0">
                  <a:moveTo>
                    <a:pt x="15274" y="0"/>
                  </a:moveTo>
                  <a:cubicBezTo>
                    <a:pt x="4474" y="0"/>
                    <a:pt x="-6326" y="21600"/>
                    <a:pt x="4474" y="21600"/>
                  </a:cubicBezTo>
                  <a:cubicBezTo>
                    <a:pt x="15274" y="21600"/>
                    <a:pt x="15274" y="0"/>
                    <a:pt x="1527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1" name="Shape 1930">
              <a:extLst>
                <a:ext uri="{FF2B5EF4-FFF2-40B4-BE49-F238E27FC236}">
                  <a16:creationId xmlns:a16="http://schemas.microsoft.com/office/drawing/2014/main" id="{F3E61729-D8A8-6AE1-13F3-754C2552FF9F}"/>
                </a:ext>
              </a:extLst>
            </p:cNvPr>
            <p:cNvSpPr/>
            <p:nvPr/>
          </p:nvSpPr>
          <p:spPr>
            <a:xfrm>
              <a:off x="5319410" y="1643283"/>
              <a:ext cx="6743" cy="1349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10800"/>
                    <a:pt x="0" y="21600"/>
                    <a:pt x="0" y="21600"/>
                  </a:cubicBezTo>
                  <a:cubicBezTo>
                    <a:pt x="21600" y="2160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2" name="Shape 1931">
              <a:extLst>
                <a:ext uri="{FF2B5EF4-FFF2-40B4-BE49-F238E27FC236}">
                  <a16:creationId xmlns:a16="http://schemas.microsoft.com/office/drawing/2014/main" id="{2A87BDB9-F0C3-EE59-5571-BFC500597407}"/>
                </a:ext>
              </a:extLst>
            </p:cNvPr>
            <p:cNvSpPr/>
            <p:nvPr/>
          </p:nvSpPr>
          <p:spPr>
            <a:xfrm>
              <a:off x="5322702" y="1656770"/>
              <a:ext cx="7947" cy="6744"/>
            </a:xfrm>
            <a:custGeom>
              <a:avLst/>
              <a:gdLst/>
              <a:ahLst/>
              <a:cxnLst>
                <a:cxn ang="0">
                  <a:pos x="wd2" y="hd2"/>
                </a:cxn>
                <a:cxn ang="5400000">
                  <a:pos x="wd2" y="hd2"/>
                </a:cxn>
                <a:cxn ang="10800000">
                  <a:pos x="wd2" y="hd2"/>
                </a:cxn>
                <a:cxn ang="16200000">
                  <a:pos x="wd2" y="hd2"/>
                </a:cxn>
              </a:cxnLst>
              <a:rect l="0" t="0" r="r" b="b"/>
              <a:pathLst>
                <a:path w="15274" h="21600" extrusionOk="0">
                  <a:moveTo>
                    <a:pt x="15274" y="0"/>
                  </a:moveTo>
                  <a:cubicBezTo>
                    <a:pt x="4474" y="0"/>
                    <a:pt x="-6326" y="21600"/>
                    <a:pt x="4474" y="21600"/>
                  </a:cubicBezTo>
                  <a:cubicBezTo>
                    <a:pt x="15274" y="21600"/>
                    <a:pt x="15274" y="0"/>
                    <a:pt x="15274"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3" name="Shape 1932">
              <a:extLst>
                <a:ext uri="{FF2B5EF4-FFF2-40B4-BE49-F238E27FC236}">
                  <a16:creationId xmlns:a16="http://schemas.microsoft.com/office/drawing/2014/main" id="{181C09CD-ACE0-2884-3581-C8825F6E8686}"/>
                </a:ext>
              </a:extLst>
            </p:cNvPr>
            <p:cNvSpPr/>
            <p:nvPr/>
          </p:nvSpPr>
          <p:spPr>
            <a:xfrm>
              <a:off x="5371100" y="1755680"/>
              <a:ext cx="2998" cy="13490"/>
            </a:xfrm>
            <a:custGeom>
              <a:avLst/>
              <a:gdLst/>
              <a:ahLst/>
              <a:cxnLst>
                <a:cxn ang="0">
                  <a:pos x="wd2" y="hd2"/>
                </a:cxn>
                <a:cxn ang="5400000">
                  <a:pos x="wd2" y="hd2"/>
                </a:cxn>
                <a:cxn ang="10800000">
                  <a:pos x="wd2" y="hd2"/>
                </a:cxn>
                <a:cxn ang="16200000">
                  <a:pos x="wd2" y="hd2"/>
                </a:cxn>
              </a:cxnLst>
              <a:rect l="0" t="0" r="r" b="b"/>
              <a:pathLst>
                <a:path w="9600" h="21600" extrusionOk="0">
                  <a:moveTo>
                    <a:pt x="0" y="0"/>
                  </a:moveTo>
                  <a:cubicBezTo>
                    <a:pt x="0" y="10800"/>
                    <a:pt x="0" y="21600"/>
                    <a:pt x="0" y="21600"/>
                  </a:cubicBezTo>
                  <a:cubicBezTo>
                    <a:pt x="0" y="21600"/>
                    <a:pt x="21600" y="0"/>
                    <a:pt x="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4" name="Shape 1933">
              <a:extLst>
                <a:ext uri="{FF2B5EF4-FFF2-40B4-BE49-F238E27FC236}">
                  <a16:creationId xmlns:a16="http://schemas.microsoft.com/office/drawing/2014/main" id="{0B886568-90E9-E768-0BA4-5677ACAE141B}"/>
                </a:ext>
              </a:extLst>
            </p:cNvPr>
            <p:cNvSpPr/>
            <p:nvPr/>
          </p:nvSpPr>
          <p:spPr>
            <a:xfrm>
              <a:off x="5472302" y="1464610"/>
              <a:ext cx="11172" cy="21315"/>
            </a:xfrm>
            <a:custGeom>
              <a:avLst/>
              <a:gdLst/>
              <a:ahLst/>
              <a:cxnLst>
                <a:cxn ang="0">
                  <a:pos x="wd2" y="hd2"/>
                </a:cxn>
                <a:cxn ang="5400000">
                  <a:pos x="wd2" y="hd2"/>
                </a:cxn>
                <a:cxn ang="10800000">
                  <a:pos x="wd2" y="hd2"/>
                </a:cxn>
                <a:cxn ang="16200000">
                  <a:pos x="wd2" y="hd2"/>
                </a:cxn>
              </a:cxnLst>
              <a:rect l="0" t="0" r="r" b="b"/>
              <a:pathLst>
                <a:path w="17894" h="17067" extrusionOk="0">
                  <a:moveTo>
                    <a:pt x="7094" y="17067"/>
                  </a:moveTo>
                  <a:cubicBezTo>
                    <a:pt x="-3706" y="11667"/>
                    <a:pt x="-3706" y="867"/>
                    <a:pt x="17894" y="867"/>
                  </a:cubicBezTo>
                  <a:cubicBezTo>
                    <a:pt x="17894" y="-4533"/>
                    <a:pt x="17894" y="17067"/>
                    <a:pt x="7094" y="17067"/>
                  </a:cubicBezTo>
                  <a:cubicBezTo>
                    <a:pt x="-3706" y="11667"/>
                    <a:pt x="7094" y="17067"/>
                    <a:pt x="7094"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5" name="Shape 1934">
              <a:extLst>
                <a:ext uri="{FF2B5EF4-FFF2-40B4-BE49-F238E27FC236}">
                  <a16:creationId xmlns:a16="http://schemas.microsoft.com/office/drawing/2014/main" id="{BE18572A-8C40-7846-AAE7-F6018FC06D64}"/>
                </a:ext>
              </a:extLst>
            </p:cNvPr>
            <p:cNvSpPr/>
            <p:nvPr/>
          </p:nvSpPr>
          <p:spPr>
            <a:xfrm>
              <a:off x="3092229" y="5669798"/>
              <a:ext cx="72105" cy="31862"/>
            </a:xfrm>
            <a:custGeom>
              <a:avLst/>
              <a:gdLst/>
              <a:ahLst/>
              <a:cxnLst>
                <a:cxn ang="0">
                  <a:pos x="wd2" y="hd2"/>
                </a:cxn>
                <a:cxn ang="5400000">
                  <a:pos x="wd2" y="hd2"/>
                </a:cxn>
                <a:cxn ang="10800000">
                  <a:pos x="wd2" y="hd2"/>
                </a:cxn>
                <a:cxn ang="16200000">
                  <a:pos x="wd2" y="hd2"/>
                </a:cxn>
              </a:cxnLst>
              <a:rect l="0" t="0" r="r" b="b"/>
              <a:pathLst>
                <a:path w="19800" h="17008" extrusionOk="0">
                  <a:moveTo>
                    <a:pt x="18000" y="8208"/>
                  </a:moveTo>
                  <a:cubicBezTo>
                    <a:pt x="16200" y="8208"/>
                    <a:pt x="16200" y="4608"/>
                    <a:pt x="14400" y="4608"/>
                  </a:cubicBezTo>
                  <a:cubicBezTo>
                    <a:pt x="12600" y="4608"/>
                    <a:pt x="10800" y="4608"/>
                    <a:pt x="9000" y="4608"/>
                  </a:cubicBezTo>
                  <a:cubicBezTo>
                    <a:pt x="7200" y="4608"/>
                    <a:pt x="7200" y="-2592"/>
                    <a:pt x="5400" y="1008"/>
                  </a:cubicBezTo>
                  <a:cubicBezTo>
                    <a:pt x="5400" y="1008"/>
                    <a:pt x="0" y="8208"/>
                    <a:pt x="0" y="8208"/>
                  </a:cubicBezTo>
                  <a:cubicBezTo>
                    <a:pt x="0" y="8208"/>
                    <a:pt x="3600" y="15408"/>
                    <a:pt x="3600" y="15408"/>
                  </a:cubicBezTo>
                  <a:cubicBezTo>
                    <a:pt x="5400" y="19008"/>
                    <a:pt x="9000" y="15408"/>
                    <a:pt x="10800" y="15408"/>
                  </a:cubicBezTo>
                  <a:cubicBezTo>
                    <a:pt x="12600" y="15408"/>
                    <a:pt x="19800" y="11808"/>
                    <a:pt x="19800" y="8208"/>
                  </a:cubicBezTo>
                  <a:cubicBezTo>
                    <a:pt x="18000" y="8208"/>
                    <a:pt x="18000" y="8208"/>
                    <a:pt x="18000" y="8208"/>
                  </a:cubicBezTo>
                  <a:cubicBezTo>
                    <a:pt x="16200" y="8208"/>
                    <a:pt x="21600" y="4608"/>
                    <a:pt x="18000" y="82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6" name="Shape 1935">
              <a:extLst>
                <a:ext uri="{FF2B5EF4-FFF2-40B4-BE49-F238E27FC236}">
                  <a16:creationId xmlns:a16="http://schemas.microsoft.com/office/drawing/2014/main" id="{A6A04520-479F-59BF-827A-336914470051}"/>
                </a:ext>
              </a:extLst>
            </p:cNvPr>
            <p:cNvSpPr/>
            <p:nvPr/>
          </p:nvSpPr>
          <p:spPr>
            <a:xfrm>
              <a:off x="3085485" y="5710312"/>
              <a:ext cx="49034" cy="31811"/>
            </a:xfrm>
            <a:custGeom>
              <a:avLst/>
              <a:gdLst/>
              <a:ahLst/>
              <a:cxnLst>
                <a:cxn ang="0">
                  <a:pos x="wd2" y="hd2"/>
                </a:cxn>
                <a:cxn ang="5400000">
                  <a:pos x="wd2" y="hd2"/>
                </a:cxn>
                <a:cxn ang="10800000">
                  <a:pos x="wd2" y="hd2"/>
                </a:cxn>
                <a:cxn ang="16200000">
                  <a:pos x="wd2" y="hd2"/>
                </a:cxn>
              </a:cxnLst>
              <a:rect l="0" t="0" r="r" b="b"/>
              <a:pathLst>
                <a:path w="18125" h="16981" extrusionOk="0">
                  <a:moveTo>
                    <a:pt x="16800" y="8181"/>
                  </a:moveTo>
                  <a:cubicBezTo>
                    <a:pt x="16800" y="4581"/>
                    <a:pt x="0" y="-2619"/>
                    <a:pt x="0" y="981"/>
                  </a:cubicBezTo>
                  <a:cubicBezTo>
                    <a:pt x="0" y="981"/>
                    <a:pt x="4800" y="4581"/>
                    <a:pt x="4800" y="4581"/>
                  </a:cubicBezTo>
                  <a:cubicBezTo>
                    <a:pt x="7200" y="8181"/>
                    <a:pt x="2400" y="11781"/>
                    <a:pt x="2400" y="15381"/>
                  </a:cubicBezTo>
                  <a:cubicBezTo>
                    <a:pt x="2400" y="18981"/>
                    <a:pt x="7200" y="15381"/>
                    <a:pt x="7200" y="15381"/>
                  </a:cubicBezTo>
                  <a:cubicBezTo>
                    <a:pt x="9600" y="11781"/>
                    <a:pt x="7200" y="15381"/>
                    <a:pt x="9600" y="15381"/>
                  </a:cubicBezTo>
                  <a:cubicBezTo>
                    <a:pt x="12000" y="18981"/>
                    <a:pt x="21600" y="11781"/>
                    <a:pt x="16800" y="8181"/>
                  </a:cubicBezTo>
                  <a:cubicBezTo>
                    <a:pt x="14400" y="4581"/>
                    <a:pt x="19200" y="8181"/>
                    <a:pt x="16800" y="818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7" name="Shape 1936">
              <a:extLst>
                <a:ext uri="{FF2B5EF4-FFF2-40B4-BE49-F238E27FC236}">
                  <a16:creationId xmlns:a16="http://schemas.microsoft.com/office/drawing/2014/main" id="{57BF4D2D-B258-5D9F-5A6F-6406CD637744}"/>
                </a:ext>
              </a:extLst>
            </p:cNvPr>
            <p:cNvSpPr/>
            <p:nvPr/>
          </p:nvSpPr>
          <p:spPr>
            <a:xfrm>
              <a:off x="3078747" y="5653703"/>
              <a:ext cx="44298" cy="24271"/>
            </a:xfrm>
            <a:custGeom>
              <a:avLst/>
              <a:gdLst/>
              <a:ahLst/>
              <a:cxnLst>
                <a:cxn ang="0">
                  <a:pos x="wd2" y="hd2"/>
                </a:cxn>
                <a:cxn ang="5400000">
                  <a:pos x="wd2" y="hd2"/>
                </a:cxn>
                <a:cxn ang="10800000">
                  <a:pos x="wd2" y="hd2"/>
                </a:cxn>
                <a:cxn ang="16200000">
                  <a:pos x="wd2" y="hd2"/>
                </a:cxn>
              </a:cxnLst>
              <a:rect l="0" t="0" r="r" b="b"/>
              <a:pathLst>
                <a:path w="18511" h="16657" extrusionOk="0">
                  <a:moveTo>
                    <a:pt x="16200" y="0"/>
                  </a:moveTo>
                  <a:cubicBezTo>
                    <a:pt x="13500" y="0"/>
                    <a:pt x="10800" y="4320"/>
                    <a:pt x="8100" y="4320"/>
                  </a:cubicBezTo>
                  <a:cubicBezTo>
                    <a:pt x="5400" y="0"/>
                    <a:pt x="0" y="4320"/>
                    <a:pt x="0" y="4320"/>
                  </a:cubicBezTo>
                  <a:cubicBezTo>
                    <a:pt x="2700" y="0"/>
                    <a:pt x="0" y="17280"/>
                    <a:pt x="0" y="12960"/>
                  </a:cubicBezTo>
                  <a:cubicBezTo>
                    <a:pt x="2700" y="21600"/>
                    <a:pt x="10800" y="12960"/>
                    <a:pt x="13500" y="8640"/>
                  </a:cubicBezTo>
                  <a:cubicBezTo>
                    <a:pt x="16200" y="8640"/>
                    <a:pt x="21600" y="0"/>
                    <a:pt x="16200" y="0"/>
                  </a:cubicBezTo>
                  <a:cubicBezTo>
                    <a:pt x="13500" y="0"/>
                    <a:pt x="21600" y="0"/>
                    <a:pt x="162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8" name="Shape 1937">
              <a:extLst>
                <a:ext uri="{FF2B5EF4-FFF2-40B4-BE49-F238E27FC236}">
                  <a16:creationId xmlns:a16="http://schemas.microsoft.com/office/drawing/2014/main" id="{C76CA9F3-B1CF-5397-118D-62041243E629}"/>
                </a:ext>
              </a:extLst>
            </p:cNvPr>
            <p:cNvSpPr/>
            <p:nvPr/>
          </p:nvSpPr>
          <p:spPr>
            <a:xfrm>
              <a:off x="3057764" y="5683818"/>
              <a:ext cx="41964" cy="22949"/>
            </a:xfrm>
            <a:custGeom>
              <a:avLst/>
              <a:gdLst/>
              <a:ahLst/>
              <a:cxnLst>
                <a:cxn ang="0">
                  <a:pos x="wd2" y="hd2"/>
                </a:cxn>
                <a:cxn ang="5400000">
                  <a:pos x="wd2" y="hd2"/>
                </a:cxn>
                <a:cxn ang="10800000">
                  <a:pos x="wd2" y="hd2"/>
                </a:cxn>
                <a:cxn ang="16200000">
                  <a:pos x="wd2" y="hd2"/>
                </a:cxn>
              </a:cxnLst>
              <a:rect l="0" t="0" r="r" b="b"/>
              <a:pathLst>
                <a:path w="16805" h="14699" extrusionOk="0">
                  <a:moveTo>
                    <a:pt x="16502" y="13829"/>
                  </a:moveTo>
                  <a:cubicBezTo>
                    <a:pt x="13802" y="9509"/>
                    <a:pt x="-2398" y="-3451"/>
                    <a:pt x="302" y="869"/>
                  </a:cubicBezTo>
                  <a:cubicBezTo>
                    <a:pt x="3002" y="5189"/>
                    <a:pt x="19202" y="18149"/>
                    <a:pt x="16502" y="138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19" name="Shape 1938">
              <a:extLst>
                <a:ext uri="{FF2B5EF4-FFF2-40B4-BE49-F238E27FC236}">
                  <a16:creationId xmlns:a16="http://schemas.microsoft.com/office/drawing/2014/main" id="{FC4EE735-60F0-F5DA-E0CC-8115E69A087F}"/>
                </a:ext>
              </a:extLst>
            </p:cNvPr>
            <p:cNvSpPr/>
            <p:nvPr/>
          </p:nvSpPr>
          <p:spPr>
            <a:xfrm>
              <a:off x="3038291" y="5635784"/>
              <a:ext cx="14861" cy="13968"/>
            </a:xfrm>
            <a:custGeom>
              <a:avLst/>
              <a:gdLst/>
              <a:ahLst/>
              <a:cxnLst>
                <a:cxn ang="0">
                  <a:pos x="wd2" y="hd2"/>
                </a:cxn>
                <a:cxn ang="5400000">
                  <a:pos x="wd2" y="hd2"/>
                </a:cxn>
                <a:cxn ang="10800000">
                  <a:pos x="wd2" y="hd2"/>
                </a:cxn>
                <a:cxn ang="16200000">
                  <a:pos x="wd2" y="hd2"/>
                </a:cxn>
              </a:cxnLst>
              <a:rect l="0" t="0" r="r" b="b"/>
              <a:pathLst>
                <a:path w="15869" h="14912" extrusionOk="0">
                  <a:moveTo>
                    <a:pt x="14400" y="11929"/>
                  </a:moveTo>
                  <a:cubicBezTo>
                    <a:pt x="14400" y="19129"/>
                    <a:pt x="7200" y="11929"/>
                    <a:pt x="0" y="4729"/>
                  </a:cubicBezTo>
                  <a:cubicBezTo>
                    <a:pt x="0" y="-2471"/>
                    <a:pt x="21600" y="-2471"/>
                    <a:pt x="14400" y="11929"/>
                  </a:cubicBezTo>
                  <a:cubicBezTo>
                    <a:pt x="14400" y="19129"/>
                    <a:pt x="14400" y="4729"/>
                    <a:pt x="14400" y="119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0" name="Shape 1939">
              <a:extLst>
                <a:ext uri="{FF2B5EF4-FFF2-40B4-BE49-F238E27FC236}">
                  <a16:creationId xmlns:a16="http://schemas.microsoft.com/office/drawing/2014/main" id="{23DA75DB-248B-8070-161D-6FFCF0E90C49}"/>
                </a:ext>
              </a:extLst>
            </p:cNvPr>
            <p:cNvSpPr/>
            <p:nvPr/>
          </p:nvSpPr>
          <p:spPr>
            <a:xfrm>
              <a:off x="3038291" y="5579519"/>
              <a:ext cx="40454" cy="43258"/>
            </a:xfrm>
            <a:custGeom>
              <a:avLst/>
              <a:gdLst/>
              <a:ahLst/>
              <a:cxnLst>
                <a:cxn ang="0">
                  <a:pos x="wd2" y="hd2"/>
                </a:cxn>
                <a:cxn ang="5400000">
                  <a:pos x="wd2" y="hd2"/>
                </a:cxn>
                <a:cxn ang="10800000">
                  <a:pos x="wd2" y="hd2"/>
                </a:cxn>
                <a:cxn ang="16200000">
                  <a:pos x="wd2" y="hd2"/>
                </a:cxn>
              </a:cxnLst>
              <a:rect l="0" t="0" r="r" b="b"/>
              <a:pathLst>
                <a:path w="18514" h="19792" extrusionOk="0">
                  <a:moveTo>
                    <a:pt x="15429" y="6171"/>
                  </a:moveTo>
                  <a:cubicBezTo>
                    <a:pt x="15429" y="3086"/>
                    <a:pt x="12343" y="3086"/>
                    <a:pt x="12343" y="0"/>
                  </a:cubicBezTo>
                  <a:cubicBezTo>
                    <a:pt x="9257" y="0"/>
                    <a:pt x="3086" y="0"/>
                    <a:pt x="6171" y="3086"/>
                  </a:cubicBezTo>
                  <a:cubicBezTo>
                    <a:pt x="12343" y="9257"/>
                    <a:pt x="3086" y="6171"/>
                    <a:pt x="0" y="3086"/>
                  </a:cubicBezTo>
                  <a:cubicBezTo>
                    <a:pt x="3086" y="9257"/>
                    <a:pt x="6171" y="9257"/>
                    <a:pt x="6171" y="12343"/>
                  </a:cubicBezTo>
                  <a:cubicBezTo>
                    <a:pt x="9257" y="18514"/>
                    <a:pt x="3086" y="15429"/>
                    <a:pt x="0" y="18514"/>
                  </a:cubicBezTo>
                  <a:cubicBezTo>
                    <a:pt x="0" y="21600"/>
                    <a:pt x="12343" y="18514"/>
                    <a:pt x="9257" y="15429"/>
                  </a:cubicBezTo>
                  <a:cubicBezTo>
                    <a:pt x="9257" y="15429"/>
                    <a:pt x="12343" y="9257"/>
                    <a:pt x="12343" y="6171"/>
                  </a:cubicBezTo>
                  <a:cubicBezTo>
                    <a:pt x="12343" y="6171"/>
                    <a:pt x="12343" y="9257"/>
                    <a:pt x="12343" y="12343"/>
                  </a:cubicBezTo>
                  <a:cubicBezTo>
                    <a:pt x="12343" y="9257"/>
                    <a:pt x="18514" y="6171"/>
                    <a:pt x="18514" y="6171"/>
                  </a:cubicBezTo>
                  <a:cubicBezTo>
                    <a:pt x="18514" y="6171"/>
                    <a:pt x="18514" y="6171"/>
                    <a:pt x="15429" y="6171"/>
                  </a:cubicBezTo>
                  <a:cubicBezTo>
                    <a:pt x="15429" y="3086"/>
                    <a:pt x="21600" y="6171"/>
                    <a:pt x="15429" y="6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1" name="Shape 1940">
              <a:extLst>
                <a:ext uri="{FF2B5EF4-FFF2-40B4-BE49-F238E27FC236}">
                  <a16:creationId xmlns:a16="http://schemas.microsoft.com/office/drawing/2014/main" id="{F42BDE7A-730A-A97A-D20A-31DE7EE366C7}"/>
                </a:ext>
              </a:extLst>
            </p:cNvPr>
            <p:cNvSpPr/>
            <p:nvPr/>
          </p:nvSpPr>
          <p:spPr>
            <a:xfrm>
              <a:off x="3031549" y="5504524"/>
              <a:ext cx="33711" cy="48428"/>
            </a:xfrm>
            <a:custGeom>
              <a:avLst/>
              <a:gdLst/>
              <a:ahLst/>
              <a:cxnLst>
                <a:cxn ang="0">
                  <a:pos x="wd2" y="hd2"/>
                </a:cxn>
                <a:cxn ang="5400000">
                  <a:pos x="wd2" y="hd2"/>
                </a:cxn>
                <a:cxn ang="10800000">
                  <a:pos x="wd2" y="hd2"/>
                </a:cxn>
                <a:cxn ang="16200000">
                  <a:pos x="wd2" y="hd2"/>
                </a:cxn>
              </a:cxnLst>
              <a:rect l="0" t="0" r="r" b="b"/>
              <a:pathLst>
                <a:path w="21600" h="14541" extrusionOk="0">
                  <a:moveTo>
                    <a:pt x="21600" y="10614"/>
                  </a:moveTo>
                  <a:cubicBezTo>
                    <a:pt x="21600" y="8651"/>
                    <a:pt x="17280" y="-3131"/>
                    <a:pt x="8640" y="796"/>
                  </a:cubicBezTo>
                  <a:cubicBezTo>
                    <a:pt x="8640" y="2760"/>
                    <a:pt x="12960" y="8651"/>
                    <a:pt x="4320" y="8651"/>
                  </a:cubicBezTo>
                  <a:cubicBezTo>
                    <a:pt x="0" y="8651"/>
                    <a:pt x="0" y="10614"/>
                    <a:pt x="0" y="14542"/>
                  </a:cubicBezTo>
                  <a:cubicBezTo>
                    <a:pt x="4320" y="14542"/>
                    <a:pt x="8640" y="10614"/>
                    <a:pt x="8640" y="10614"/>
                  </a:cubicBezTo>
                  <a:cubicBezTo>
                    <a:pt x="4320" y="10614"/>
                    <a:pt x="21600" y="18469"/>
                    <a:pt x="21600" y="10614"/>
                  </a:cubicBezTo>
                  <a:cubicBezTo>
                    <a:pt x="21600" y="8651"/>
                    <a:pt x="21600" y="12578"/>
                    <a:pt x="21600" y="1061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2" name="Shape 1941">
              <a:extLst>
                <a:ext uri="{FF2B5EF4-FFF2-40B4-BE49-F238E27FC236}">
                  <a16:creationId xmlns:a16="http://schemas.microsoft.com/office/drawing/2014/main" id="{304D6CCD-BF54-A5FD-B47F-1EC7E477499F}"/>
                </a:ext>
              </a:extLst>
            </p:cNvPr>
            <p:cNvSpPr/>
            <p:nvPr/>
          </p:nvSpPr>
          <p:spPr>
            <a:xfrm>
              <a:off x="3029713" y="5562875"/>
              <a:ext cx="15323" cy="30131"/>
            </a:xfrm>
            <a:custGeom>
              <a:avLst/>
              <a:gdLst/>
              <a:ahLst/>
              <a:cxnLst>
                <a:cxn ang="0">
                  <a:pos x="wd2" y="hd2"/>
                </a:cxn>
                <a:cxn ang="5400000">
                  <a:pos x="wd2" y="hd2"/>
                </a:cxn>
                <a:cxn ang="10800000">
                  <a:pos x="wd2" y="hd2"/>
                </a:cxn>
                <a:cxn ang="16200000">
                  <a:pos x="wd2" y="hd2"/>
                </a:cxn>
              </a:cxnLst>
              <a:rect l="0" t="0" r="r" b="b"/>
              <a:pathLst>
                <a:path w="16362" h="16084" extrusionOk="0">
                  <a:moveTo>
                    <a:pt x="16362" y="1684"/>
                  </a:moveTo>
                  <a:cubicBezTo>
                    <a:pt x="9162" y="-5516"/>
                    <a:pt x="-5238" y="12484"/>
                    <a:pt x="1962" y="16084"/>
                  </a:cubicBezTo>
                  <a:cubicBezTo>
                    <a:pt x="-5238" y="12484"/>
                    <a:pt x="16362" y="5284"/>
                    <a:pt x="16362" y="1684"/>
                  </a:cubicBezTo>
                  <a:cubicBezTo>
                    <a:pt x="9162" y="-1916"/>
                    <a:pt x="16362" y="1684"/>
                    <a:pt x="16362" y="16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3" name="Shape 1942">
              <a:extLst>
                <a:ext uri="{FF2B5EF4-FFF2-40B4-BE49-F238E27FC236}">
                  <a16:creationId xmlns:a16="http://schemas.microsoft.com/office/drawing/2014/main" id="{AD4865C6-3E5F-AEE3-F933-9C86F096B119}"/>
                </a:ext>
              </a:extLst>
            </p:cNvPr>
            <p:cNvSpPr/>
            <p:nvPr/>
          </p:nvSpPr>
          <p:spPr>
            <a:xfrm>
              <a:off x="3024808" y="5467119"/>
              <a:ext cx="33711" cy="47209"/>
            </a:xfrm>
            <a:custGeom>
              <a:avLst/>
              <a:gdLst/>
              <a:ahLst/>
              <a:cxnLst>
                <a:cxn ang="0">
                  <a:pos x="wd2" y="hd2"/>
                </a:cxn>
                <a:cxn ang="5400000">
                  <a:pos x="wd2" y="hd2"/>
                </a:cxn>
                <a:cxn ang="10800000">
                  <a:pos x="wd2" y="hd2"/>
                </a:cxn>
                <a:cxn ang="16200000">
                  <a:pos x="wd2" y="hd2"/>
                </a:cxn>
              </a:cxnLst>
              <a:rect l="0" t="0" r="r" b="b"/>
              <a:pathLst>
                <a:path w="21600" h="21600" extrusionOk="0">
                  <a:moveTo>
                    <a:pt x="17280" y="6171"/>
                  </a:moveTo>
                  <a:cubicBezTo>
                    <a:pt x="12960" y="9257"/>
                    <a:pt x="12960" y="0"/>
                    <a:pt x="12960" y="0"/>
                  </a:cubicBezTo>
                  <a:cubicBezTo>
                    <a:pt x="12960" y="0"/>
                    <a:pt x="12960" y="9257"/>
                    <a:pt x="8640" y="9257"/>
                  </a:cubicBezTo>
                  <a:cubicBezTo>
                    <a:pt x="8640" y="9257"/>
                    <a:pt x="8640" y="6171"/>
                    <a:pt x="4320" y="6171"/>
                  </a:cubicBezTo>
                  <a:cubicBezTo>
                    <a:pt x="8640" y="6171"/>
                    <a:pt x="0" y="15429"/>
                    <a:pt x="0" y="15429"/>
                  </a:cubicBezTo>
                  <a:cubicBezTo>
                    <a:pt x="0" y="12343"/>
                    <a:pt x="17280" y="15429"/>
                    <a:pt x="8640" y="21600"/>
                  </a:cubicBezTo>
                  <a:cubicBezTo>
                    <a:pt x="12960" y="18514"/>
                    <a:pt x="21600" y="18514"/>
                    <a:pt x="21600" y="15429"/>
                  </a:cubicBezTo>
                  <a:cubicBezTo>
                    <a:pt x="21600" y="12343"/>
                    <a:pt x="17280" y="3086"/>
                    <a:pt x="17280" y="6171"/>
                  </a:cubicBezTo>
                  <a:cubicBezTo>
                    <a:pt x="12960" y="9257"/>
                    <a:pt x="17280" y="3086"/>
                    <a:pt x="17280" y="6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4" name="Shape 1943">
              <a:extLst>
                <a:ext uri="{FF2B5EF4-FFF2-40B4-BE49-F238E27FC236}">
                  <a16:creationId xmlns:a16="http://schemas.microsoft.com/office/drawing/2014/main" id="{EFE3CE5F-89B7-CBE3-4E00-A2FBFD8A82F4}"/>
                </a:ext>
              </a:extLst>
            </p:cNvPr>
            <p:cNvSpPr/>
            <p:nvPr/>
          </p:nvSpPr>
          <p:spPr>
            <a:xfrm>
              <a:off x="3058521" y="5336735"/>
              <a:ext cx="24975" cy="26996"/>
            </a:xfrm>
            <a:custGeom>
              <a:avLst/>
              <a:gdLst/>
              <a:ahLst/>
              <a:cxnLst>
                <a:cxn ang="0">
                  <a:pos x="wd2" y="hd2"/>
                </a:cxn>
                <a:cxn ang="5400000">
                  <a:pos x="wd2" y="hd2"/>
                </a:cxn>
                <a:cxn ang="10800000">
                  <a:pos x="wd2" y="hd2"/>
                </a:cxn>
                <a:cxn ang="16200000">
                  <a:pos x="wd2" y="hd2"/>
                </a:cxn>
              </a:cxnLst>
              <a:rect l="0" t="0" r="r" b="b"/>
              <a:pathLst>
                <a:path w="16002" h="18527" extrusionOk="0">
                  <a:moveTo>
                    <a:pt x="12960" y="17280"/>
                  </a:moveTo>
                  <a:cubicBezTo>
                    <a:pt x="21600" y="8640"/>
                    <a:pt x="8640" y="8640"/>
                    <a:pt x="12960" y="0"/>
                  </a:cubicBezTo>
                  <a:cubicBezTo>
                    <a:pt x="12960" y="0"/>
                    <a:pt x="4320" y="0"/>
                    <a:pt x="0" y="0"/>
                  </a:cubicBezTo>
                  <a:cubicBezTo>
                    <a:pt x="0" y="0"/>
                    <a:pt x="8640" y="4320"/>
                    <a:pt x="8640" y="4320"/>
                  </a:cubicBezTo>
                  <a:cubicBezTo>
                    <a:pt x="8640" y="8640"/>
                    <a:pt x="12960" y="17280"/>
                    <a:pt x="12960" y="17280"/>
                  </a:cubicBezTo>
                  <a:cubicBezTo>
                    <a:pt x="17280" y="12960"/>
                    <a:pt x="8640" y="21600"/>
                    <a:pt x="12960"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5" name="Shape 1944">
              <a:extLst>
                <a:ext uri="{FF2B5EF4-FFF2-40B4-BE49-F238E27FC236}">
                  <a16:creationId xmlns:a16="http://schemas.microsoft.com/office/drawing/2014/main" id="{5BEFBB16-44C4-3B7B-D9E4-B159E7007A64}"/>
                </a:ext>
              </a:extLst>
            </p:cNvPr>
            <p:cNvSpPr/>
            <p:nvPr/>
          </p:nvSpPr>
          <p:spPr>
            <a:xfrm>
              <a:off x="3065263" y="5221557"/>
              <a:ext cx="31372" cy="65728"/>
            </a:xfrm>
            <a:custGeom>
              <a:avLst/>
              <a:gdLst/>
              <a:ahLst/>
              <a:cxnLst>
                <a:cxn ang="0">
                  <a:pos x="wd2" y="hd2"/>
                </a:cxn>
                <a:cxn ang="5400000">
                  <a:pos x="wd2" y="hd2"/>
                </a:cxn>
                <a:cxn ang="10800000">
                  <a:pos x="wd2" y="hd2"/>
                </a:cxn>
                <a:cxn ang="16200000">
                  <a:pos x="wd2" y="hd2"/>
                </a:cxn>
              </a:cxnLst>
              <a:rect l="0" t="0" r="r" b="b"/>
              <a:pathLst>
                <a:path w="16751" h="19736" extrusionOk="0">
                  <a:moveTo>
                    <a:pt x="10800" y="18446"/>
                  </a:moveTo>
                  <a:cubicBezTo>
                    <a:pt x="3600" y="20410"/>
                    <a:pt x="0" y="20410"/>
                    <a:pt x="0" y="16483"/>
                  </a:cubicBezTo>
                  <a:cubicBezTo>
                    <a:pt x="3600" y="12555"/>
                    <a:pt x="3600" y="6665"/>
                    <a:pt x="3600" y="2737"/>
                  </a:cubicBezTo>
                  <a:cubicBezTo>
                    <a:pt x="3600" y="-1190"/>
                    <a:pt x="18000" y="-1190"/>
                    <a:pt x="14400" y="4701"/>
                  </a:cubicBezTo>
                  <a:cubicBezTo>
                    <a:pt x="14400" y="8628"/>
                    <a:pt x="21600" y="14519"/>
                    <a:pt x="10800" y="18446"/>
                  </a:cubicBezTo>
                  <a:cubicBezTo>
                    <a:pt x="7200" y="18446"/>
                    <a:pt x="14400" y="16483"/>
                    <a:pt x="10800" y="1844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6" name="Shape 1945">
              <a:extLst>
                <a:ext uri="{FF2B5EF4-FFF2-40B4-BE49-F238E27FC236}">
                  <a16:creationId xmlns:a16="http://schemas.microsoft.com/office/drawing/2014/main" id="{A936F848-669A-5F74-4808-E71D14974946}"/>
                </a:ext>
              </a:extLst>
            </p:cNvPr>
            <p:cNvSpPr/>
            <p:nvPr/>
          </p:nvSpPr>
          <p:spPr>
            <a:xfrm>
              <a:off x="3202436" y="3352167"/>
              <a:ext cx="18733" cy="17973"/>
            </a:xfrm>
            <a:custGeom>
              <a:avLst/>
              <a:gdLst/>
              <a:ahLst/>
              <a:cxnLst>
                <a:cxn ang="0">
                  <a:pos x="wd2" y="hd2"/>
                </a:cxn>
                <a:cxn ang="5400000">
                  <a:pos x="wd2" y="hd2"/>
                </a:cxn>
                <a:cxn ang="10800000">
                  <a:pos x="wd2" y="hd2"/>
                </a:cxn>
                <a:cxn ang="16200000">
                  <a:pos x="wd2" y="hd2"/>
                </a:cxn>
              </a:cxnLst>
              <a:rect l="0" t="0" r="r" b="b"/>
              <a:pathLst>
                <a:path w="12860" h="14390" extrusionOk="0">
                  <a:moveTo>
                    <a:pt x="9817" y="12272"/>
                  </a:moveTo>
                  <a:cubicBezTo>
                    <a:pt x="5497" y="17672"/>
                    <a:pt x="-3143" y="12272"/>
                    <a:pt x="1177" y="1472"/>
                  </a:cubicBezTo>
                  <a:cubicBezTo>
                    <a:pt x="1177" y="-3928"/>
                    <a:pt x="18457" y="6872"/>
                    <a:pt x="9817" y="12272"/>
                  </a:cubicBezTo>
                  <a:cubicBezTo>
                    <a:pt x="5497" y="17672"/>
                    <a:pt x="18457" y="6872"/>
                    <a:pt x="9817" y="122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7" name="Shape 1946">
              <a:extLst>
                <a:ext uri="{FF2B5EF4-FFF2-40B4-BE49-F238E27FC236}">
                  <a16:creationId xmlns:a16="http://schemas.microsoft.com/office/drawing/2014/main" id="{AA1CA78A-D018-70EB-457D-A2EF57456BBB}"/>
                </a:ext>
              </a:extLst>
            </p:cNvPr>
            <p:cNvSpPr/>
            <p:nvPr/>
          </p:nvSpPr>
          <p:spPr>
            <a:xfrm>
              <a:off x="3484567" y="3397032"/>
              <a:ext cx="25451" cy="29982"/>
            </a:xfrm>
            <a:custGeom>
              <a:avLst/>
              <a:gdLst/>
              <a:ahLst/>
              <a:cxnLst>
                <a:cxn ang="0">
                  <a:pos x="wd2" y="hd2"/>
                </a:cxn>
                <a:cxn ang="5400000">
                  <a:pos x="wd2" y="hd2"/>
                </a:cxn>
                <a:cxn ang="10800000">
                  <a:pos x="wd2" y="hd2"/>
                </a:cxn>
                <a:cxn ang="16200000">
                  <a:pos x="wd2" y="hd2"/>
                </a:cxn>
              </a:cxnLst>
              <a:rect l="0" t="0" r="r" b="b"/>
              <a:pathLst>
                <a:path w="14388" h="12525" extrusionOk="0">
                  <a:moveTo>
                    <a:pt x="1600" y="9612"/>
                  </a:moveTo>
                  <a:cubicBezTo>
                    <a:pt x="-2000" y="6912"/>
                    <a:pt x="5200" y="6912"/>
                    <a:pt x="5200" y="6912"/>
                  </a:cubicBezTo>
                  <a:cubicBezTo>
                    <a:pt x="8800" y="6912"/>
                    <a:pt x="8800" y="-3888"/>
                    <a:pt x="12400" y="1512"/>
                  </a:cubicBezTo>
                  <a:cubicBezTo>
                    <a:pt x="19600" y="6912"/>
                    <a:pt x="5200" y="17712"/>
                    <a:pt x="1600" y="9612"/>
                  </a:cubicBezTo>
                  <a:cubicBezTo>
                    <a:pt x="-2000" y="6912"/>
                    <a:pt x="1600" y="12312"/>
                    <a:pt x="1600" y="961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8" name="Shape 1947">
              <a:extLst>
                <a:ext uri="{FF2B5EF4-FFF2-40B4-BE49-F238E27FC236}">
                  <a16:creationId xmlns:a16="http://schemas.microsoft.com/office/drawing/2014/main" id="{1FEA8461-A357-1298-8D30-605FBF2B7889}"/>
                </a:ext>
              </a:extLst>
            </p:cNvPr>
            <p:cNvSpPr/>
            <p:nvPr/>
          </p:nvSpPr>
          <p:spPr>
            <a:xfrm>
              <a:off x="3846721" y="3746799"/>
              <a:ext cx="80976" cy="79002"/>
            </a:xfrm>
            <a:custGeom>
              <a:avLst/>
              <a:gdLst/>
              <a:ahLst/>
              <a:cxnLst>
                <a:cxn ang="0">
                  <a:pos x="wd2" y="hd2"/>
                </a:cxn>
                <a:cxn ang="5400000">
                  <a:pos x="wd2" y="hd2"/>
                </a:cxn>
                <a:cxn ang="10800000">
                  <a:pos x="wd2" y="hd2"/>
                </a:cxn>
                <a:cxn ang="16200000">
                  <a:pos x="wd2" y="hd2"/>
                </a:cxn>
              </a:cxnLst>
              <a:rect l="0" t="0" r="r" b="b"/>
              <a:pathLst>
                <a:path w="18982" h="19976" extrusionOk="0">
                  <a:moveTo>
                    <a:pt x="17610" y="6231"/>
                  </a:moveTo>
                  <a:cubicBezTo>
                    <a:pt x="17610" y="4570"/>
                    <a:pt x="16067" y="4570"/>
                    <a:pt x="14525" y="4570"/>
                  </a:cubicBezTo>
                  <a:cubicBezTo>
                    <a:pt x="11439" y="2908"/>
                    <a:pt x="11439" y="1247"/>
                    <a:pt x="8353" y="1247"/>
                  </a:cubicBezTo>
                  <a:cubicBezTo>
                    <a:pt x="6810" y="-415"/>
                    <a:pt x="3725" y="-415"/>
                    <a:pt x="2182" y="1247"/>
                  </a:cubicBezTo>
                  <a:cubicBezTo>
                    <a:pt x="2182" y="1247"/>
                    <a:pt x="2182" y="2908"/>
                    <a:pt x="639" y="2908"/>
                  </a:cubicBezTo>
                  <a:cubicBezTo>
                    <a:pt x="-904" y="6231"/>
                    <a:pt x="639" y="4570"/>
                    <a:pt x="2182" y="6231"/>
                  </a:cubicBezTo>
                  <a:cubicBezTo>
                    <a:pt x="2182" y="6231"/>
                    <a:pt x="639" y="11216"/>
                    <a:pt x="639" y="11216"/>
                  </a:cubicBezTo>
                  <a:cubicBezTo>
                    <a:pt x="639" y="14539"/>
                    <a:pt x="639" y="14539"/>
                    <a:pt x="2182" y="16200"/>
                  </a:cubicBezTo>
                  <a:cubicBezTo>
                    <a:pt x="3725" y="17862"/>
                    <a:pt x="3725" y="16200"/>
                    <a:pt x="5267" y="16200"/>
                  </a:cubicBezTo>
                  <a:cubicBezTo>
                    <a:pt x="8353" y="16200"/>
                    <a:pt x="6810" y="19523"/>
                    <a:pt x="9896" y="19523"/>
                  </a:cubicBezTo>
                  <a:cubicBezTo>
                    <a:pt x="12982" y="21185"/>
                    <a:pt x="11439" y="17862"/>
                    <a:pt x="14525" y="16200"/>
                  </a:cubicBezTo>
                  <a:cubicBezTo>
                    <a:pt x="17610" y="12877"/>
                    <a:pt x="20696" y="11216"/>
                    <a:pt x="17610" y="6231"/>
                  </a:cubicBezTo>
                  <a:cubicBezTo>
                    <a:pt x="17610" y="2908"/>
                    <a:pt x="20696" y="12877"/>
                    <a:pt x="17610" y="62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29" name="Shape 1948">
              <a:extLst>
                <a:ext uri="{FF2B5EF4-FFF2-40B4-BE49-F238E27FC236}">
                  <a16:creationId xmlns:a16="http://schemas.microsoft.com/office/drawing/2014/main" id="{368EAD48-F107-FBD1-4075-28375CF5EC16}"/>
                </a:ext>
              </a:extLst>
            </p:cNvPr>
            <p:cNvSpPr/>
            <p:nvPr/>
          </p:nvSpPr>
          <p:spPr>
            <a:xfrm>
              <a:off x="3308691" y="3135951"/>
              <a:ext cx="54527" cy="22121"/>
            </a:xfrm>
            <a:custGeom>
              <a:avLst/>
              <a:gdLst/>
              <a:ahLst/>
              <a:cxnLst>
                <a:cxn ang="0">
                  <a:pos x="wd2" y="hd2"/>
                </a:cxn>
                <a:cxn ang="5400000">
                  <a:pos x="wd2" y="hd2"/>
                </a:cxn>
                <a:cxn ang="10800000">
                  <a:pos x="wd2" y="hd2"/>
                </a:cxn>
                <a:cxn ang="16200000">
                  <a:pos x="wd2" y="hd2"/>
                </a:cxn>
              </a:cxnLst>
              <a:rect l="0" t="0" r="r" b="b"/>
              <a:pathLst>
                <a:path w="18071" h="17712" extrusionOk="0">
                  <a:moveTo>
                    <a:pt x="17715" y="10800"/>
                  </a:moveTo>
                  <a:cubicBezTo>
                    <a:pt x="13395" y="5400"/>
                    <a:pt x="11235" y="0"/>
                    <a:pt x="6915" y="0"/>
                  </a:cubicBezTo>
                  <a:cubicBezTo>
                    <a:pt x="4755" y="0"/>
                    <a:pt x="-1725" y="5400"/>
                    <a:pt x="435" y="16200"/>
                  </a:cubicBezTo>
                  <a:cubicBezTo>
                    <a:pt x="2595" y="21600"/>
                    <a:pt x="17715" y="10800"/>
                    <a:pt x="17715" y="10800"/>
                  </a:cubicBezTo>
                  <a:cubicBezTo>
                    <a:pt x="11235" y="5400"/>
                    <a:pt x="19875" y="16200"/>
                    <a:pt x="17715"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0" name="Shape 1949">
              <a:extLst>
                <a:ext uri="{FF2B5EF4-FFF2-40B4-BE49-F238E27FC236}">
                  <a16:creationId xmlns:a16="http://schemas.microsoft.com/office/drawing/2014/main" id="{53DAB9F6-5840-42AB-E5F9-F32C37C0693E}"/>
                </a:ext>
              </a:extLst>
            </p:cNvPr>
            <p:cNvSpPr/>
            <p:nvPr/>
          </p:nvSpPr>
          <p:spPr>
            <a:xfrm>
              <a:off x="2932663" y="3135677"/>
              <a:ext cx="70420" cy="27251"/>
            </a:xfrm>
            <a:custGeom>
              <a:avLst/>
              <a:gdLst/>
              <a:ahLst/>
              <a:cxnLst>
                <a:cxn ang="0">
                  <a:pos x="wd2" y="hd2"/>
                </a:cxn>
                <a:cxn ang="5400000">
                  <a:pos x="wd2" y="hd2"/>
                </a:cxn>
                <a:cxn ang="10800000">
                  <a:pos x="wd2" y="hd2"/>
                </a:cxn>
                <a:cxn ang="16200000">
                  <a:pos x="wd2" y="hd2"/>
                </a:cxn>
              </a:cxnLst>
              <a:rect l="0" t="0" r="r" b="b"/>
              <a:pathLst>
                <a:path w="20509" h="17455" extrusionOk="0">
                  <a:moveTo>
                    <a:pt x="19636" y="13135"/>
                  </a:moveTo>
                  <a:cubicBezTo>
                    <a:pt x="19636" y="175"/>
                    <a:pt x="3927" y="-4145"/>
                    <a:pt x="0" y="4495"/>
                  </a:cubicBezTo>
                  <a:cubicBezTo>
                    <a:pt x="0" y="4495"/>
                    <a:pt x="7855" y="17455"/>
                    <a:pt x="9818" y="17455"/>
                  </a:cubicBezTo>
                  <a:cubicBezTo>
                    <a:pt x="11782" y="17455"/>
                    <a:pt x="21600" y="13135"/>
                    <a:pt x="19636" y="13135"/>
                  </a:cubicBezTo>
                  <a:cubicBezTo>
                    <a:pt x="19636" y="8815"/>
                    <a:pt x="21600" y="17455"/>
                    <a:pt x="19636" y="1313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1" name="Shape 1950">
              <a:extLst>
                <a:ext uri="{FF2B5EF4-FFF2-40B4-BE49-F238E27FC236}">
                  <a16:creationId xmlns:a16="http://schemas.microsoft.com/office/drawing/2014/main" id="{1274AF58-702A-E24B-93F3-D8C3A703D41B}"/>
                </a:ext>
              </a:extLst>
            </p:cNvPr>
            <p:cNvSpPr/>
            <p:nvPr/>
          </p:nvSpPr>
          <p:spPr>
            <a:xfrm>
              <a:off x="2730398" y="2978591"/>
              <a:ext cx="341607" cy="115468"/>
            </a:xfrm>
            <a:custGeom>
              <a:avLst/>
              <a:gdLst/>
              <a:ahLst/>
              <a:cxnLst>
                <a:cxn ang="0">
                  <a:pos x="wd2" y="hd2"/>
                </a:cxn>
                <a:cxn ang="5400000">
                  <a:pos x="wd2" y="hd2"/>
                </a:cxn>
                <a:cxn ang="10800000">
                  <a:pos x="wd2" y="hd2"/>
                </a:cxn>
                <a:cxn ang="16200000">
                  <a:pos x="wd2" y="hd2"/>
                </a:cxn>
              </a:cxnLst>
              <a:rect l="0" t="0" r="r" b="b"/>
              <a:pathLst>
                <a:path w="21600" h="20933" extrusionOk="0">
                  <a:moveTo>
                    <a:pt x="21600" y="19200"/>
                  </a:moveTo>
                  <a:cubicBezTo>
                    <a:pt x="21600" y="20400"/>
                    <a:pt x="17446" y="20400"/>
                    <a:pt x="17031" y="20400"/>
                  </a:cubicBezTo>
                  <a:cubicBezTo>
                    <a:pt x="16200" y="20400"/>
                    <a:pt x="15369" y="21600"/>
                    <a:pt x="14538" y="20400"/>
                  </a:cubicBezTo>
                  <a:cubicBezTo>
                    <a:pt x="14123" y="19200"/>
                    <a:pt x="17031" y="18000"/>
                    <a:pt x="15369" y="16800"/>
                  </a:cubicBezTo>
                  <a:cubicBezTo>
                    <a:pt x="14538" y="15600"/>
                    <a:pt x="13708" y="15600"/>
                    <a:pt x="13292" y="13200"/>
                  </a:cubicBezTo>
                  <a:cubicBezTo>
                    <a:pt x="12462" y="10800"/>
                    <a:pt x="12877" y="9600"/>
                    <a:pt x="11631" y="9600"/>
                  </a:cubicBezTo>
                  <a:cubicBezTo>
                    <a:pt x="9969" y="10800"/>
                    <a:pt x="9554" y="7200"/>
                    <a:pt x="8308" y="6000"/>
                  </a:cubicBezTo>
                  <a:cubicBezTo>
                    <a:pt x="7892" y="6000"/>
                    <a:pt x="6231" y="7200"/>
                    <a:pt x="5815" y="6000"/>
                  </a:cubicBezTo>
                  <a:cubicBezTo>
                    <a:pt x="5815" y="4800"/>
                    <a:pt x="6646" y="4800"/>
                    <a:pt x="6646" y="3600"/>
                  </a:cubicBezTo>
                  <a:cubicBezTo>
                    <a:pt x="6646" y="2400"/>
                    <a:pt x="3738" y="3600"/>
                    <a:pt x="3323" y="3600"/>
                  </a:cubicBezTo>
                  <a:cubicBezTo>
                    <a:pt x="3323" y="4800"/>
                    <a:pt x="0" y="8400"/>
                    <a:pt x="0" y="7200"/>
                  </a:cubicBezTo>
                  <a:cubicBezTo>
                    <a:pt x="0" y="4800"/>
                    <a:pt x="1662" y="2400"/>
                    <a:pt x="2492" y="2400"/>
                  </a:cubicBezTo>
                  <a:cubicBezTo>
                    <a:pt x="3738" y="0"/>
                    <a:pt x="4985" y="0"/>
                    <a:pt x="6646" y="0"/>
                  </a:cubicBezTo>
                  <a:cubicBezTo>
                    <a:pt x="7477" y="0"/>
                    <a:pt x="9138" y="0"/>
                    <a:pt x="9969" y="1200"/>
                  </a:cubicBezTo>
                  <a:cubicBezTo>
                    <a:pt x="10800" y="2400"/>
                    <a:pt x="11631" y="4800"/>
                    <a:pt x="12877" y="4800"/>
                  </a:cubicBezTo>
                  <a:cubicBezTo>
                    <a:pt x="12877" y="4800"/>
                    <a:pt x="12877" y="3600"/>
                    <a:pt x="13292" y="4800"/>
                  </a:cubicBezTo>
                  <a:cubicBezTo>
                    <a:pt x="13708" y="6000"/>
                    <a:pt x="13708" y="6000"/>
                    <a:pt x="14123" y="6000"/>
                  </a:cubicBezTo>
                  <a:cubicBezTo>
                    <a:pt x="14538" y="7200"/>
                    <a:pt x="15369" y="8400"/>
                    <a:pt x="15785" y="9600"/>
                  </a:cubicBezTo>
                  <a:cubicBezTo>
                    <a:pt x="16615" y="10800"/>
                    <a:pt x="18277" y="10800"/>
                    <a:pt x="18692" y="13200"/>
                  </a:cubicBezTo>
                  <a:cubicBezTo>
                    <a:pt x="19523" y="15600"/>
                    <a:pt x="21600" y="15600"/>
                    <a:pt x="21600" y="19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2" name="Shape 1951">
              <a:extLst>
                <a:ext uri="{FF2B5EF4-FFF2-40B4-BE49-F238E27FC236}">
                  <a16:creationId xmlns:a16="http://schemas.microsoft.com/office/drawing/2014/main" id="{E7416EE5-A54E-E39A-08F6-9D54B08EE0A0}"/>
                </a:ext>
              </a:extLst>
            </p:cNvPr>
            <p:cNvSpPr/>
            <p:nvPr/>
          </p:nvSpPr>
          <p:spPr>
            <a:xfrm>
              <a:off x="2937720" y="2906655"/>
              <a:ext cx="14199" cy="24730"/>
            </a:xfrm>
            <a:custGeom>
              <a:avLst/>
              <a:gdLst/>
              <a:ahLst/>
              <a:cxnLst>
                <a:cxn ang="0">
                  <a:pos x="wd2" y="hd2"/>
                </a:cxn>
                <a:cxn ang="5400000">
                  <a:pos x="wd2" y="hd2"/>
                </a:cxn>
                <a:cxn ang="10800000">
                  <a:pos x="wd2" y="hd2"/>
                </a:cxn>
                <a:cxn ang="16200000">
                  <a:pos x="wd2" y="hd2"/>
                </a:cxn>
              </a:cxnLst>
              <a:rect l="0" t="0" r="r" b="b"/>
              <a:pathLst>
                <a:path w="11371" h="21600" extrusionOk="0">
                  <a:moveTo>
                    <a:pt x="6750" y="21600"/>
                  </a:moveTo>
                  <a:cubicBezTo>
                    <a:pt x="-4050" y="21600"/>
                    <a:pt x="1350" y="5400"/>
                    <a:pt x="1350" y="0"/>
                  </a:cubicBezTo>
                  <a:cubicBezTo>
                    <a:pt x="6750" y="0"/>
                    <a:pt x="17550" y="21600"/>
                    <a:pt x="6750" y="21600"/>
                  </a:cubicBezTo>
                  <a:cubicBezTo>
                    <a:pt x="1350" y="21600"/>
                    <a:pt x="17550" y="21600"/>
                    <a:pt x="675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3" name="Shape 1952">
              <a:extLst>
                <a:ext uri="{FF2B5EF4-FFF2-40B4-BE49-F238E27FC236}">
                  <a16:creationId xmlns:a16="http://schemas.microsoft.com/office/drawing/2014/main" id="{F3B1602A-839F-8ABD-9789-258169A27EA6}"/>
                </a:ext>
              </a:extLst>
            </p:cNvPr>
            <p:cNvSpPr/>
            <p:nvPr/>
          </p:nvSpPr>
          <p:spPr>
            <a:xfrm>
              <a:off x="3098972" y="3045469"/>
              <a:ext cx="13486" cy="8056"/>
            </a:xfrm>
            <a:custGeom>
              <a:avLst/>
              <a:gdLst/>
              <a:ahLst/>
              <a:cxnLst>
                <a:cxn ang="0">
                  <a:pos x="wd2" y="hd2"/>
                </a:cxn>
                <a:cxn ang="5400000">
                  <a:pos x="wd2" y="hd2"/>
                </a:cxn>
                <a:cxn ang="10800000">
                  <a:pos x="wd2" y="hd2"/>
                </a:cxn>
                <a:cxn ang="16200000">
                  <a:pos x="wd2" y="hd2"/>
                </a:cxn>
              </a:cxnLst>
              <a:rect l="0" t="0" r="r" b="b"/>
              <a:pathLst>
                <a:path w="21600" h="12900" extrusionOk="0">
                  <a:moveTo>
                    <a:pt x="21600" y="8100"/>
                  </a:moveTo>
                  <a:cubicBezTo>
                    <a:pt x="21600" y="-2700"/>
                    <a:pt x="0" y="-2700"/>
                    <a:pt x="0" y="8100"/>
                  </a:cubicBezTo>
                  <a:cubicBezTo>
                    <a:pt x="0" y="8100"/>
                    <a:pt x="21600" y="18900"/>
                    <a:pt x="21600" y="81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4" name="Shape 1953">
              <a:extLst>
                <a:ext uri="{FF2B5EF4-FFF2-40B4-BE49-F238E27FC236}">
                  <a16:creationId xmlns:a16="http://schemas.microsoft.com/office/drawing/2014/main" id="{9BD4E03C-260B-A943-96B5-04537A4EDD9A}"/>
                </a:ext>
              </a:extLst>
            </p:cNvPr>
            <p:cNvSpPr/>
            <p:nvPr/>
          </p:nvSpPr>
          <p:spPr>
            <a:xfrm>
              <a:off x="3494516" y="2081601"/>
              <a:ext cx="38206" cy="52354"/>
            </a:xfrm>
            <a:custGeom>
              <a:avLst/>
              <a:gdLst/>
              <a:ahLst/>
              <a:cxnLst>
                <a:cxn ang="0">
                  <a:pos x="wd2" y="hd2"/>
                </a:cxn>
                <a:cxn ang="5400000">
                  <a:pos x="wd2" y="hd2"/>
                </a:cxn>
                <a:cxn ang="10800000">
                  <a:pos x="wd2" y="hd2"/>
                </a:cxn>
                <a:cxn ang="16200000">
                  <a:pos x="wd2" y="hd2"/>
                </a:cxn>
              </a:cxnLst>
              <a:rect l="0" t="0" r="r" b="b"/>
              <a:pathLst>
                <a:path w="21600" h="16768" extrusionOk="0">
                  <a:moveTo>
                    <a:pt x="10800" y="14413"/>
                  </a:moveTo>
                  <a:cubicBezTo>
                    <a:pt x="7200" y="18733"/>
                    <a:pt x="0" y="16573"/>
                    <a:pt x="0" y="12253"/>
                  </a:cubicBezTo>
                  <a:cubicBezTo>
                    <a:pt x="3600" y="10093"/>
                    <a:pt x="10800" y="3613"/>
                    <a:pt x="14400" y="1453"/>
                  </a:cubicBezTo>
                  <a:cubicBezTo>
                    <a:pt x="21600" y="-2867"/>
                    <a:pt x="21600" y="3613"/>
                    <a:pt x="21600" y="5773"/>
                  </a:cubicBezTo>
                  <a:cubicBezTo>
                    <a:pt x="21600" y="10093"/>
                    <a:pt x="10800" y="10093"/>
                    <a:pt x="10800" y="14413"/>
                  </a:cubicBezTo>
                  <a:cubicBezTo>
                    <a:pt x="7200" y="18733"/>
                    <a:pt x="10800" y="14413"/>
                    <a:pt x="10800" y="1441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5" name="Shape 1954">
              <a:extLst>
                <a:ext uri="{FF2B5EF4-FFF2-40B4-BE49-F238E27FC236}">
                  <a16:creationId xmlns:a16="http://schemas.microsoft.com/office/drawing/2014/main" id="{E6C9BAC5-4EFD-49C0-F81C-72667B8CE577}"/>
                </a:ext>
              </a:extLst>
            </p:cNvPr>
            <p:cNvSpPr/>
            <p:nvPr/>
          </p:nvSpPr>
          <p:spPr>
            <a:xfrm>
              <a:off x="3524165" y="2112031"/>
              <a:ext cx="26578" cy="21316"/>
            </a:xfrm>
            <a:custGeom>
              <a:avLst/>
              <a:gdLst/>
              <a:ahLst/>
              <a:cxnLst>
                <a:cxn ang="0">
                  <a:pos x="wd2" y="hd2"/>
                </a:cxn>
                <a:cxn ang="5400000">
                  <a:pos x="wd2" y="hd2"/>
                </a:cxn>
                <a:cxn ang="10800000">
                  <a:pos x="wd2" y="hd2"/>
                </a:cxn>
                <a:cxn ang="16200000">
                  <a:pos x="wd2" y="hd2"/>
                </a:cxn>
              </a:cxnLst>
              <a:rect l="0" t="0" r="r" b="b"/>
              <a:pathLst>
                <a:path w="12164" h="17067" extrusionOk="0">
                  <a:moveTo>
                    <a:pt x="3916" y="17067"/>
                  </a:moveTo>
                  <a:cubicBezTo>
                    <a:pt x="-5341" y="17067"/>
                    <a:pt x="3916" y="-4533"/>
                    <a:pt x="10088" y="867"/>
                  </a:cubicBezTo>
                  <a:cubicBezTo>
                    <a:pt x="16259" y="867"/>
                    <a:pt x="7002" y="17067"/>
                    <a:pt x="3916" y="17067"/>
                  </a:cubicBezTo>
                  <a:cubicBezTo>
                    <a:pt x="830" y="17067"/>
                    <a:pt x="7002" y="17067"/>
                    <a:pt x="3916"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6" name="Shape 1955">
              <a:extLst>
                <a:ext uri="{FF2B5EF4-FFF2-40B4-BE49-F238E27FC236}">
                  <a16:creationId xmlns:a16="http://schemas.microsoft.com/office/drawing/2014/main" id="{AADE8E59-C09A-8DC2-5930-E3180C91D010}"/>
                </a:ext>
              </a:extLst>
            </p:cNvPr>
            <p:cNvSpPr/>
            <p:nvPr/>
          </p:nvSpPr>
          <p:spPr>
            <a:xfrm>
              <a:off x="3396993" y="2079392"/>
              <a:ext cx="84037" cy="43462"/>
            </a:xfrm>
            <a:custGeom>
              <a:avLst/>
              <a:gdLst/>
              <a:ahLst/>
              <a:cxnLst>
                <a:cxn ang="0">
                  <a:pos x="wd2" y="hd2"/>
                </a:cxn>
                <a:cxn ang="5400000">
                  <a:pos x="wd2" y="hd2"/>
                </a:cxn>
                <a:cxn ang="10800000">
                  <a:pos x="wd2" y="hd2"/>
                </a:cxn>
                <a:cxn ang="16200000">
                  <a:pos x="wd2" y="hd2"/>
                </a:cxn>
              </a:cxnLst>
              <a:rect l="0" t="0" r="r" b="b"/>
              <a:pathLst>
                <a:path w="18356" h="19886" extrusionOk="0">
                  <a:moveTo>
                    <a:pt x="12596" y="18514"/>
                  </a:moveTo>
                  <a:cubicBezTo>
                    <a:pt x="11156" y="18514"/>
                    <a:pt x="11156" y="18514"/>
                    <a:pt x="11156" y="15429"/>
                  </a:cubicBezTo>
                  <a:cubicBezTo>
                    <a:pt x="11156" y="15429"/>
                    <a:pt x="8276" y="18514"/>
                    <a:pt x="6836" y="15429"/>
                  </a:cubicBezTo>
                  <a:cubicBezTo>
                    <a:pt x="6836" y="12343"/>
                    <a:pt x="-3244" y="3086"/>
                    <a:pt x="1076" y="0"/>
                  </a:cubicBezTo>
                  <a:cubicBezTo>
                    <a:pt x="2516" y="0"/>
                    <a:pt x="3956" y="6171"/>
                    <a:pt x="5396" y="6171"/>
                  </a:cubicBezTo>
                  <a:cubicBezTo>
                    <a:pt x="6836" y="9257"/>
                    <a:pt x="6836" y="6171"/>
                    <a:pt x="8276" y="9257"/>
                  </a:cubicBezTo>
                  <a:cubicBezTo>
                    <a:pt x="9716" y="12343"/>
                    <a:pt x="15476" y="6171"/>
                    <a:pt x="18356" y="9257"/>
                  </a:cubicBezTo>
                  <a:cubicBezTo>
                    <a:pt x="16916" y="9257"/>
                    <a:pt x="14036" y="18514"/>
                    <a:pt x="12596" y="18514"/>
                  </a:cubicBezTo>
                  <a:cubicBezTo>
                    <a:pt x="9716" y="21600"/>
                    <a:pt x="14036" y="18514"/>
                    <a:pt x="12596" y="1851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7" name="Shape 1956">
              <a:extLst>
                <a:ext uri="{FF2B5EF4-FFF2-40B4-BE49-F238E27FC236}">
                  <a16:creationId xmlns:a16="http://schemas.microsoft.com/office/drawing/2014/main" id="{B83135BE-C381-4E43-C698-6417D02215F4}"/>
                </a:ext>
              </a:extLst>
            </p:cNvPr>
            <p:cNvSpPr/>
            <p:nvPr/>
          </p:nvSpPr>
          <p:spPr>
            <a:xfrm>
              <a:off x="3402374" y="1958412"/>
              <a:ext cx="86418" cy="32899"/>
            </a:xfrm>
            <a:custGeom>
              <a:avLst/>
              <a:gdLst/>
              <a:ahLst/>
              <a:cxnLst>
                <a:cxn ang="0">
                  <a:pos x="wd2" y="hd2"/>
                </a:cxn>
                <a:cxn ang="5400000">
                  <a:pos x="wd2" y="hd2"/>
                </a:cxn>
                <a:cxn ang="10800000">
                  <a:pos x="wd2" y="hd2"/>
                </a:cxn>
                <a:cxn ang="16200000">
                  <a:pos x="wd2" y="hd2"/>
                </a:cxn>
              </a:cxnLst>
              <a:rect l="0" t="0" r="r" b="b"/>
              <a:pathLst>
                <a:path w="18056" h="13743" extrusionOk="0">
                  <a:moveTo>
                    <a:pt x="17550" y="12272"/>
                  </a:moveTo>
                  <a:cubicBezTo>
                    <a:pt x="14850" y="17672"/>
                    <a:pt x="1350" y="6872"/>
                    <a:pt x="0" y="1472"/>
                  </a:cubicBezTo>
                  <a:cubicBezTo>
                    <a:pt x="0" y="-3928"/>
                    <a:pt x="21600" y="6872"/>
                    <a:pt x="17550" y="12272"/>
                  </a:cubicBezTo>
                  <a:cubicBezTo>
                    <a:pt x="16200" y="14972"/>
                    <a:pt x="18900" y="9572"/>
                    <a:pt x="17550" y="122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8" name="Shape 1957">
              <a:extLst>
                <a:ext uri="{FF2B5EF4-FFF2-40B4-BE49-F238E27FC236}">
                  <a16:creationId xmlns:a16="http://schemas.microsoft.com/office/drawing/2014/main" id="{7B5B9EA4-7528-8C12-AA33-C8FBF334F754}"/>
                </a:ext>
              </a:extLst>
            </p:cNvPr>
            <p:cNvSpPr/>
            <p:nvPr/>
          </p:nvSpPr>
          <p:spPr>
            <a:xfrm>
              <a:off x="3566434" y="1881570"/>
              <a:ext cx="211258" cy="199315"/>
            </a:xfrm>
            <a:custGeom>
              <a:avLst/>
              <a:gdLst/>
              <a:ahLst/>
              <a:cxnLst>
                <a:cxn ang="0">
                  <a:pos x="wd2" y="hd2"/>
                </a:cxn>
                <a:cxn ang="5400000">
                  <a:pos x="wd2" y="hd2"/>
                </a:cxn>
                <a:cxn ang="10800000">
                  <a:pos x="wd2" y="hd2"/>
                </a:cxn>
                <a:cxn ang="16200000">
                  <a:pos x="wd2" y="hd2"/>
                </a:cxn>
              </a:cxnLst>
              <a:rect l="0" t="0" r="r" b="b"/>
              <a:pathLst>
                <a:path w="21600" h="21045" extrusionOk="0">
                  <a:moveTo>
                    <a:pt x="12825" y="697"/>
                  </a:moveTo>
                  <a:cubicBezTo>
                    <a:pt x="13500" y="0"/>
                    <a:pt x="11475" y="0"/>
                    <a:pt x="11475" y="0"/>
                  </a:cubicBezTo>
                  <a:cubicBezTo>
                    <a:pt x="10800" y="0"/>
                    <a:pt x="10125" y="697"/>
                    <a:pt x="9450" y="1394"/>
                  </a:cubicBezTo>
                  <a:cubicBezTo>
                    <a:pt x="8775" y="2090"/>
                    <a:pt x="8100" y="2787"/>
                    <a:pt x="7425" y="3484"/>
                  </a:cubicBezTo>
                  <a:cubicBezTo>
                    <a:pt x="7425" y="4181"/>
                    <a:pt x="6750" y="4877"/>
                    <a:pt x="6075" y="4877"/>
                  </a:cubicBezTo>
                  <a:cubicBezTo>
                    <a:pt x="6075" y="6271"/>
                    <a:pt x="5400" y="7665"/>
                    <a:pt x="4725" y="9058"/>
                  </a:cubicBezTo>
                  <a:cubicBezTo>
                    <a:pt x="4725" y="10452"/>
                    <a:pt x="4050" y="11148"/>
                    <a:pt x="3375" y="11845"/>
                  </a:cubicBezTo>
                  <a:cubicBezTo>
                    <a:pt x="2700" y="12542"/>
                    <a:pt x="1350" y="13239"/>
                    <a:pt x="1350" y="13239"/>
                  </a:cubicBezTo>
                  <a:cubicBezTo>
                    <a:pt x="1350" y="13935"/>
                    <a:pt x="2700" y="13935"/>
                    <a:pt x="2700" y="14632"/>
                  </a:cubicBezTo>
                  <a:cubicBezTo>
                    <a:pt x="2700" y="15329"/>
                    <a:pt x="0" y="16723"/>
                    <a:pt x="0" y="17419"/>
                  </a:cubicBezTo>
                  <a:cubicBezTo>
                    <a:pt x="0" y="18813"/>
                    <a:pt x="2025" y="18116"/>
                    <a:pt x="2700" y="17419"/>
                  </a:cubicBezTo>
                  <a:cubicBezTo>
                    <a:pt x="4050" y="17419"/>
                    <a:pt x="5400" y="18116"/>
                    <a:pt x="6750" y="18116"/>
                  </a:cubicBezTo>
                  <a:cubicBezTo>
                    <a:pt x="8775" y="18813"/>
                    <a:pt x="10800" y="18116"/>
                    <a:pt x="12825" y="18813"/>
                  </a:cubicBezTo>
                  <a:cubicBezTo>
                    <a:pt x="12825" y="18813"/>
                    <a:pt x="14850" y="17419"/>
                    <a:pt x="14850" y="18116"/>
                  </a:cubicBezTo>
                  <a:cubicBezTo>
                    <a:pt x="14850" y="18813"/>
                    <a:pt x="12825" y="20903"/>
                    <a:pt x="12825" y="20903"/>
                  </a:cubicBezTo>
                  <a:cubicBezTo>
                    <a:pt x="13500" y="21600"/>
                    <a:pt x="14850" y="19510"/>
                    <a:pt x="14850" y="19510"/>
                  </a:cubicBezTo>
                  <a:cubicBezTo>
                    <a:pt x="16200" y="18813"/>
                    <a:pt x="17550" y="18813"/>
                    <a:pt x="18225" y="18116"/>
                  </a:cubicBezTo>
                  <a:cubicBezTo>
                    <a:pt x="18225" y="17419"/>
                    <a:pt x="21600" y="13935"/>
                    <a:pt x="21600" y="13935"/>
                  </a:cubicBezTo>
                  <a:cubicBezTo>
                    <a:pt x="20925" y="13239"/>
                    <a:pt x="20250" y="13935"/>
                    <a:pt x="19575" y="13935"/>
                  </a:cubicBezTo>
                  <a:cubicBezTo>
                    <a:pt x="19575" y="13935"/>
                    <a:pt x="17550" y="12542"/>
                    <a:pt x="17550" y="12542"/>
                  </a:cubicBezTo>
                  <a:cubicBezTo>
                    <a:pt x="17550" y="11845"/>
                    <a:pt x="20250" y="11148"/>
                    <a:pt x="19575" y="10452"/>
                  </a:cubicBezTo>
                  <a:cubicBezTo>
                    <a:pt x="19575" y="9755"/>
                    <a:pt x="18225" y="10452"/>
                    <a:pt x="17550" y="10452"/>
                  </a:cubicBezTo>
                  <a:cubicBezTo>
                    <a:pt x="16875" y="10452"/>
                    <a:pt x="16875" y="9058"/>
                    <a:pt x="16200" y="9058"/>
                  </a:cubicBezTo>
                  <a:cubicBezTo>
                    <a:pt x="16200" y="9058"/>
                    <a:pt x="14175" y="11148"/>
                    <a:pt x="14175" y="11148"/>
                  </a:cubicBezTo>
                  <a:cubicBezTo>
                    <a:pt x="13500" y="9755"/>
                    <a:pt x="13500" y="9755"/>
                    <a:pt x="12150" y="9058"/>
                  </a:cubicBezTo>
                  <a:cubicBezTo>
                    <a:pt x="10800" y="8361"/>
                    <a:pt x="12825" y="8361"/>
                    <a:pt x="12825" y="7665"/>
                  </a:cubicBezTo>
                  <a:cubicBezTo>
                    <a:pt x="12825" y="7665"/>
                    <a:pt x="11475" y="6271"/>
                    <a:pt x="10800" y="6271"/>
                  </a:cubicBezTo>
                  <a:cubicBezTo>
                    <a:pt x="10800" y="6968"/>
                    <a:pt x="9450" y="9058"/>
                    <a:pt x="9450" y="8361"/>
                  </a:cubicBezTo>
                  <a:cubicBezTo>
                    <a:pt x="8100" y="7665"/>
                    <a:pt x="10125" y="4877"/>
                    <a:pt x="10800" y="4877"/>
                  </a:cubicBezTo>
                  <a:cubicBezTo>
                    <a:pt x="11475" y="4181"/>
                    <a:pt x="11475" y="3484"/>
                    <a:pt x="12150" y="2787"/>
                  </a:cubicBezTo>
                  <a:cubicBezTo>
                    <a:pt x="12150" y="2090"/>
                    <a:pt x="12150" y="1394"/>
                    <a:pt x="12150" y="1394"/>
                  </a:cubicBezTo>
                  <a:cubicBezTo>
                    <a:pt x="12150" y="1394"/>
                    <a:pt x="12825" y="697"/>
                    <a:pt x="12825" y="697"/>
                  </a:cubicBezTo>
                  <a:cubicBezTo>
                    <a:pt x="13500" y="0"/>
                    <a:pt x="12825" y="697"/>
                    <a:pt x="12825" y="6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39" name="Shape 1958">
              <a:extLst>
                <a:ext uri="{FF2B5EF4-FFF2-40B4-BE49-F238E27FC236}">
                  <a16:creationId xmlns:a16="http://schemas.microsoft.com/office/drawing/2014/main" id="{DC5F8B89-0CD0-0CD6-9E8A-2740A76DC0AA}"/>
                </a:ext>
              </a:extLst>
            </p:cNvPr>
            <p:cNvSpPr/>
            <p:nvPr/>
          </p:nvSpPr>
          <p:spPr>
            <a:xfrm>
              <a:off x="3743093" y="2031310"/>
              <a:ext cx="48082" cy="61570"/>
            </a:xfrm>
            <a:custGeom>
              <a:avLst/>
              <a:gdLst/>
              <a:ahLst/>
              <a:cxnLst>
                <a:cxn ang="0">
                  <a:pos x="wd2" y="hd2"/>
                </a:cxn>
                <a:cxn ang="5400000">
                  <a:pos x="wd2" y="hd2"/>
                </a:cxn>
                <a:cxn ang="10800000">
                  <a:pos x="wd2" y="hd2"/>
                </a:cxn>
                <a:cxn ang="16200000">
                  <a:pos x="wd2" y="hd2"/>
                </a:cxn>
              </a:cxnLst>
              <a:rect l="0" t="0" r="r" b="b"/>
              <a:pathLst>
                <a:path w="19255" h="20400" extrusionOk="0">
                  <a:moveTo>
                    <a:pt x="13855" y="960"/>
                  </a:moveTo>
                  <a:cubicBezTo>
                    <a:pt x="11155" y="3120"/>
                    <a:pt x="-2345" y="11760"/>
                    <a:pt x="355" y="18240"/>
                  </a:cubicBezTo>
                  <a:cubicBezTo>
                    <a:pt x="355" y="18240"/>
                    <a:pt x="5755" y="11760"/>
                    <a:pt x="8455" y="13920"/>
                  </a:cubicBezTo>
                  <a:cubicBezTo>
                    <a:pt x="8455" y="13920"/>
                    <a:pt x="5755" y="20400"/>
                    <a:pt x="5755" y="20400"/>
                  </a:cubicBezTo>
                  <a:cubicBezTo>
                    <a:pt x="8455" y="20400"/>
                    <a:pt x="13855" y="18240"/>
                    <a:pt x="13855" y="16080"/>
                  </a:cubicBezTo>
                  <a:cubicBezTo>
                    <a:pt x="13855" y="13920"/>
                    <a:pt x="16555" y="11760"/>
                    <a:pt x="19255" y="7440"/>
                  </a:cubicBezTo>
                  <a:cubicBezTo>
                    <a:pt x="19255" y="3120"/>
                    <a:pt x="13855" y="7440"/>
                    <a:pt x="11155" y="7440"/>
                  </a:cubicBezTo>
                  <a:cubicBezTo>
                    <a:pt x="13855" y="7440"/>
                    <a:pt x="13855" y="-1200"/>
                    <a:pt x="13855" y="960"/>
                  </a:cubicBezTo>
                  <a:cubicBezTo>
                    <a:pt x="11155" y="960"/>
                    <a:pt x="16555" y="-1200"/>
                    <a:pt x="13855" y="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0" name="Shape 1959">
              <a:extLst>
                <a:ext uri="{FF2B5EF4-FFF2-40B4-BE49-F238E27FC236}">
                  <a16:creationId xmlns:a16="http://schemas.microsoft.com/office/drawing/2014/main" id="{CC438FFB-6764-6967-49C1-75917E5583AA}"/>
                </a:ext>
              </a:extLst>
            </p:cNvPr>
            <p:cNvSpPr/>
            <p:nvPr/>
          </p:nvSpPr>
          <p:spPr>
            <a:xfrm>
              <a:off x="3368663" y="1398841"/>
              <a:ext cx="20227" cy="24876"/>
            </a:xfrm>
            <a:custGeom>
              <a:avLst/>
              <a:gdLst/>
              <a:ahLst/>
              <a:cxnLst>
                <a:cxn ang="0">
                  <a:pos x="wd2" y="hd2"/>
                </a:cxn>
                <a:cxn ang="5400000">
                  <a:pos x="wd2" y="hd2"/>
                </a:cxn>
                <a:cxn ang="10800000">
                  <a:pos x="wd2" y="hd2"/>
                </a:cxn>
                <a:cxn ang="16200000">
                  <a:pos x="wd2" y="hd2"/>
                </a:cxn>
              </a:cxnLst>
              <a:rect l="0" t="0" r="r" b="b"/>
              <a:pathLst>
                <a:path w="21600" h="14060" extrusionOk="0">
                  <a:moveTo>
                    <a:pt x="21600" y="11525"/>
                  </a:moveTo>
                  <a:cubicBezTo>
                    <a:pt x="21600" y="7925"/>
                    <a:pt x="7200" y="-2875"/>
                    <a:pt x="7200" y="725"/>
                  </a:cubicBezTo>
                  <a:cubicBezTo>
                    <a:pt x="7200" y="725"/>
                    <a:pt x="7200" y="725"/>
                    <a:pt x="7200" y="4325"/>
                  </a:cubicBezTo>
                  <a:cubicBezTo>
                    <a:pt x="7200" y="4325"/>
                    <a:pt x="0" y="4325"/>
                    <a:pt x="0" y="4325"/>
                  </a:cubicBezTo>
                  <a:cubicBezTo>
                    <a:pt x="0" y="4325"/>
                    <a:pt x="21600" y="18725"/>
                    <a:pt x="21600" y="11525"/>
                  </a:cubicBezTo>
                  <a:cubicBezTo>
                    <a:pt x="21600" y="7925"/>
                    <a:pt x="21600" y="18725"/>
                    <a:pt x="21600" y="115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1" name="Shape 1960">
              <a:extLst>
                <a:ext uri="{FF2B5EF4-FFF2-40B4-BE49-F238E27FC236}">
                  <a16:creationId xmlns:a16="http://schemas.microsoft.com/office/drawing/2014/main" id="{38BECD3E-504F-C2B4-54AB-8D12A9A4100A}"/>
                </a:ext>
              </a:extLst>
            </p:cNvPr>
            <p:cNvSpPr/>
            <p:nvPr/>
          </p:nvSpPr>
          <p:spPr>
            <a:xfrm>
              <a:off x="3269777" y="1463803"/>
              <a:ext cx="15323" cy="11427"/>
            </a:xfrm>
            <a:custGeom>
              <a:avLst/>
              <a:gdLst/>
              <a:ahLst/>
              <a:cxnLst>
                <a:cxn ang="0">
                  <a:pos x="wd2" y="hd2"/>
                </a:cxn>
                <a:cxn ang="5400000">
                  <a:pos x="wd2" y="hd2"/>
                </a:cxn>
                <a:cxn ang="10800000">
                  <a:pos x="wd2" y="hd2"/>
                </a:cxn>
                <a:cxn ang="16200000">
                  <a:pos x="wd2" y="hd2"/>
                </a:cxn>
              </a:cxnLst>
              <a:rect l="0" t="0" r="r" b="b"/>
              <a:pathLst>
                <a:path w="16362" h="12198" extrusionOk="0">
                  <a:moveTo>
                    <a:pt x="14400" y="2016"/>
                  </a:moveTo>
                  <a:cubicBezTo>
                    <a:pt x="14400" y="-5184"/>
                    <a:pt x="0" y="9216"/>
                    <a:pt x="0" y="9216"/>
                  </a:cubicBezTo>
                  <a:cubicBezTo>
                    <a:pt x="7200" y="16416"/>
                    <a:pt x="21600" y="9216"/>
                    <a:pt x="14400" y="20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2" name="Shape 1961">
              <a:extLst>
                <a:ext uri="{FF2B5EF4-FFF2-40B4-BE49-F238E27FC236}">
                  <a16:creationId xmlns:a16="http://schemas.microsoft.com/office/drawing/2014/main" id="{D68DDCCF-B001-71E7-EC33-AA9CAB1D0F74}"/>
                </a:ext>
              </a:extLst>
            </p:cNvPr>
            <p:cNvSpPr/>
            <p:nvPr/>
          </p:nvSpPr>
          <p:spPr>
            <a:xfrm>
              <a:off x="2821592" y="1812345"/>
              <a:ext cx="39157" cy="18899"/>
            </a:xfrm>
            <a:custGeom>
              <a:avLst/>
              <a:gdLst/>
              <a:ahLst/>
              <a:cxnLst>
                <a:cxn ang="0">
                  <a:pos x="wd2" y="hd2"/>
                </a:cxn>
                <a:cxn ang="5400000">
                  <a:pos x="wd2" y="hd2"/>
                </a:cxn>
                <a:cxn ang="10800000">
                  <a:pos x="wd2" y="hd2"/>
                </a:cxn>
                <a:cxn ang="16200000">
                  <a:pos x="wd2" y="hd2"/>
                </a:cxn>
              </a:cxnLst>
              <a:rect l="0" t="0" r="r" b="b"/>
              <a:pathLst>
                <a:path w="18816" h="15132" extrusionOk="0">
                  <a:moveTo>
                    <a:pt x="18816" y="14030"/>
                  </a:moveTo>
                  <a:cubicBezTo>
                    <a:pt x="18816" y="-2170"/>
                    <a:pt x="6473" y="-2170"/>
                    <a:pt x="302" y="3230"/>
                  </a:cubicBezTo>
                  <a:cubicBezTo>
                    <a:pt x="-2784" y="3230"/>
                    <a:pt x="18816" y="19430"/>
                    <a:pt x="18816" y="14030"/>
                  </a:cubicBezTo>
                  <a:cubicBezTo>
                    <a:pt x="18816" y="-2170"/>
                    <a:pt x="18816" y="19430"/>
                    <a:pt x="18816" y="1403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3" name="Shape 1962">
              <a:extLst>
                <a:ext uri="{FF2B5EF4-FFF2-40B4-BE49-F238E27FC236}">
                  <a16:creationId xmlns:a16="http://schemas.microsoft.com/office/drawing/2014/main" id="{338009BF-6F83-F1C1-8EA0-6493CACB63F1}"/>
                </a:ext>
              </a:extLst>
            </p:cNvPr>
            <p:cNvSpPr/>
            <p:nvPr/>
          </p:nvSpPr>
          <p:spPr>
            <a:xfrm>
              <a:off x="2887715" y="1658880"/>
              <a:ext cx="34319" cy="26815"/>
            </a:xfrm>
            <a:custGeom>
              <a:avLst/>
              <a:gdLst/>
              <a:ahLst/>
              <a:cxnLst>
                <a:cxn ang="0">
                  <a:pos x="wd2" y="hd2"/>
                </a:cxn>
                <a:cxn ang="5400000">
                  <a:pos x="wd2" y="hd2"/>
                </a:cxn>
                <a:cxn ang="10800000">
                  <a:pos x="wd2" y="hd2"/>
                </a:cxn>
                <a:cxn ang="16200000">
                  <a:pos x="wd2" y="hd2"/>
                </a:cxn>
              </a:cxnLst>
              <a:rect l="0" t="0" r="r" b="b"/>
              <a:pathLst>
                <a:path w="18325" h="14314" extrusionOk="0">
                  <a:moveTo>
                    <a:pt x="10800" y="13275"/>
                  </a:moveTo>
                  <a:cubicBezTo>
                    <a:pt x="7200" y="9675"/>
                    <a:pt x="3600" y="9675"/>
                    <a:pt x="0" y="6075"/>
                  </a:cubicBezTo>
                  <a:cubicBezTo>
                    <a:pt x="3600" y="6075"/>
                    <a:pt x="10800" y="-4725"/>
                    <a:pt x="14400" y="2475"/>
                  </a:cubicBezTo>
                  <a:cubicBezTo>
                    <a:pt x="21600" y="6075"/>
                    <a:pt x="18000" y="16875"/>
                    <a:pt x="10800" y="13275"/>
                  </a:cubicBezTo>
                  <a:cubicBezTo>
                    <a:pt x="7200" y="9675"/>
                    <a:pt x="14400" y="16875"/>
                    <a:pt x="10800" y="1327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4" name="Shape 1963">
              <a:extLst>
                <a:ext uri="{FF2B5EF4-FFF2-40B4-BE49-F238E27FC236}">
                  <a16:creationId xmlns:a16="http://schemas.microsoft.com/office/drawing/2014/main" id="{3EF94BCB-230F-3FDD-D8F8-1E87919270A2}"/>
                </a:ext>
              </a:extLst>
            </p:cNvPr>
            <p:cNvSpPr/>
            <p:nvPr/>
          </p:nvSpPr>
          <p:spPr>
            <a:xfrm>
              <a:off x="2875502" y="1372861"/>
              <a:ext cx="26306" cy="35043"/>
            </a:xfrm>
            <a:custGeom>
              <a:avLst/>
              <a:gdLst/>
              <a:ahLst/>
              <a:cxnLst>
                <a:cxn ang="0">
                  <a:pos x="wd2" y="hd2"/>
                </a:cxn>
                <a:cxn ang="5400000">
                  <a:pos x="wd2" y="hd2"/>
                </a:cxn>
                <a:cxn ang="10800000">
                  <a:pos x="wd2" y="hd2"/>
                </a:cxn>
                <a:cxn ang="16200000">
                  <a:pos x="wd2" y="hd2"/>
                </a:cxn>
              </a:cxnLst>
              <a:rect l="0" t="0" r="r" b="b"/>
              <a:pathLst>
                <a:path w="14046" h="16034" extrusionOk="0">
                  <a:moveTo>
                    <a:pt x="6521" y="15731"/>
                  </a:moveTo>
                  <a:cubicBezTo>
                    <a:pt x="-4279" y="18817"/>
                    <a:pt x="-679" y="-2783"/>
                    <a:pt x="10121" y="303"/>
                  </a:cubicBezTo>
                  <a:cubicBezTo>
                    <a:pt x="17321" y="303"/>
                    <a:pt x="13721" y="15731"/>
                    <a:pt x="6521" y="15731"/>
                  </a:cubicBezTo>
                  <a:cubicBezTo>
                    <a:pt x="2921" y="15731"/>
                    <a:pt x="17321" y="15731"/>
                    <a:pt x="6521" y="157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5" name="Shape 1964">
              <a:extLst>
                <a:ext uri="{FF2B5EF4-FFF2-40B4-BE49-F238E27FC236}">
                  <a16:creationId xmlns:a16="http://schemas.microsoft.com/office/drawing/2014/main" id="{498EBF36-4A4C-9AEF-FE57-9B30F00CC0D5}"/>
                </a:ext>
              </a:extLst>
            </p:cNvPr>
            <p:cNvSpPr/>
            <p:nvPr/>
          </p:nvSpPr>
          <p:spPr>
            <a:xfrm>
              <a:off x="2759931" y="1339803"/>
              <a:ext cx="56449" cy="40464"/>
            </a:xfrm>
            <a:custGeom>
              <a:avLst/>
              <a:gdLst/>
              <a:ahLst/>
              <a:cxnLst>
                <a:cxn ang="0">
                  <a:pos x="wd2" y="hd2"/>
                </a:cxn>
                <a:cxn ang="5400000">
                  <a:pos x="wd2" y="hd2"/>
                </a:cxn>
                <a:cxn ang="10800000">
                  <a:pos x="wd2" y="hd2"/>
                </a:cxn>
                <a:cxn ang="16200000">
                  <a:pos x="wd2" y="hd2"/>
                </a:cxn>
              </a:cxnLst>
              <a:rect l="0" t="0" r="r" b="b"/>
              <a:pathLst>
                <a:path w="15501" h="21600" extrusionOk="0">
                  <a:moveTo>
                    <a:pt x="5879" y="21600"/>
                  </a:moveTo>
                  <a:cubicBezTo>
                    <a:pt x="2279" y="21600"/>
                    <a:pt x="-1321" y="18000"/>
                    <a:pt x="479" y="10800"/>
                  </a:cubicBezTo>
                  <a:cubicBezTo>
                    <a:pt x="2279" y="3600"/>
                    <a:pt x="7679" y="3600"/>
                    <a:pt x="13079" y="0"/>
                  </a:cubicBezTo>
                  <a:cubicBezTo>
                    <a:pt x="20279" y="0"/>
                    <a:pt x="9479" y="21600"/>
                    <a:pt x="5879"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6" name="Shape 1965">
              <a:extLst>
                <a:ext uri="{FF2B5EF4-FFF2-40B4-BE49-F238E27FC236}">
                  <a16:creationId xmlns:a16="http://schemas.microsoft.com/office/drawing/2014/main" id="{AFAD3C21-6B95-4F94-D6C6-CB28FDA81308}"/>
                </a:ext>
              </a:extLst>
            </p:cNvPr>
            <p:cNvSpPr/>
            <p:nvPr/>
          </p:nvSpPr>
          <p:spPr>
            <a:xfrm>
              <a:off x="2933649" y="1315075"/>
              <a:ext cx="32726" cy="17984"/>
            </a:xfrm>
            <a:custGeom>
              <a:avLst/>
              <a:gdLst/>
              <a:ahLst/>
              <a:cxnLst>
                <a:cxn ang="0">
                  <a:pos x="wd2" y="hd2"/>
                </a:cxn>
                <a:cxn ang="5400000">
                  <a:pos x="wd2" y="hd2"/>
                </a:cxn>
                <a:cxn ang="10800000">
                  <a:pos x="wd2" y="hd2"/>
                </a:cxn>
                <a:cxn ang="16200000">
                  <a:pos x="wd2" y="hd2"/>
                </a:cxn>
              </a:cxnLst>
              <a:rect l="0" t="0" r="r" b="b"/>
              <a:pathLst>
                <a:path w="15726" h="21600" extrusionOk="0">
                  <a:moveTo>
                    <a:pt x="9555" y="21600"/>
                  </a:moveTo>
                  <a:cubicBezTo>
                    <a:pt x="6469" y="21600"/>
                    <a:pt x="-5874" y="0"/>
                    <a:pt x="3383" y="0"/>
                  </a:cubicBezTo>
                  <a:cubicBezTo>
                    <a:pt x="6469" y="0"/>
                    <a:pt x="12640" y="0"/>
                    <a:pt x="15726" y="7200"/>
                  </a:cubicBezTo>
                  <a:cubicBezTo>
                    <a:pt x="15726" y="7200"/>
                    <a:pt x="12640" y="21600"/>
                    <a:pt x="9555" y="21600"/>
                  </a:cubicBezTo>
                  <a:cubicBezTo>
                    <a:pt x="6469" y="21600"/>
                    <a:pt x="15726" y="21600"/>
                    <a:pt x="9555"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7" name="Shape 1966">
              <a:extLst>
                <a:ext uri="{FF2B5EF4-FFF2-40B4-BE49-F238E27FC236}">
                  <a16:creationId xmlns:a16="http://schemas.microsoft.com/office/drawing/2014/main" id="{C3B8BBAB-05F5-6636-3CEA-E0A396722D78}"/>
                </a:ext>
              </a:extLst>
            </p:cNvPr>
            <p:cNvSpPr/>
            <p:nvPr/>
          </p:nvSpPr>
          <p:spPr>
            <a:xfrm>
              <a:off x="2652266" y="1187362"/>
              <a:ext cx="215225" cy="146931"/>
            </a:xfrm>
            <a:custGeom>
              <a:avLst/>
              <a:gdLst/>
              <a:ahLst/>
              <a:cxnLst>
                <a:cxn ang="0">
                  <a:pos x="wd2" y="hd2"/>
                </a:cxn>
                <a:cxn ang="5400000">
                  <a:pos x="wd2" y="hd2"/>
                </a:cxn>
                <a:cxn ang="10800000">
                  <a:pos x="wd2" y="hd2"/>
                </a:cxn>
                <a:cxn ang="16200000">
                  <a:pos x="wd2" y="hd2"/>
                </a:cxn>
              </a:cxnLst>
              <a:rect l="0" t="0" r="r" b="b"/>
              <a:pathLst>
                <a:path w="20685" h="20168" extrusionOk="0">
                  <a:moveTo>
                    <a:pt x="18779" y="18225"/>
                  </a:moveTo>
                  <a:cubicBezTo>
                    <a:pt x="18144" y="17325"/>
                    <a:pt x="16238" y="16425"/>
                    <a:pt x="14967" y="15525"/>
                  </a:cubicBezTo>
                  <a:cubicBezTo>
                    <a:pt x="14332" y="15525"/>
                    <a:pt x="14967" y="14625"/>
                    <a:pt x="14332" y="13725"/>
                  </a:cubicBezTo>
                  <a:cubicBezTo>
                    <a:pt x="14332" y="13725"/>
                    <a:pt x="13061" y="14625"/>
                    <a:pt x="13061" y="14625"/>
                  </a:cubicBezTo>
                  <a:cubicBezTo>
                    <a:pt x="11791" y="14625"/>
                    <a:pt x="11791" y="12825"/>
                    <a:pt x="10520" y="13725"/>
                  </a:cubicBezTo>
                  <a:cubicBezTo>
                    <a:pt x="10520" y="14625"/>
                    <a:pt x="9885" y="15525"/>
                    <a:pt x="9250" y="16425"/>
                  </a:cubicBezTo>
                  <a:cubicBezTo>
                    <a:pt x="7979" y="17325"/>
                    <a:pt x="7344" y="19125"/>
                    <a:pt x="6073" y="20025"/>
                  </a:cubicBezTo>
                  <a:cubicBezTo>
                    <a:pt x="4167" y="20925"/>
                    <a:pt x="5438" y="17325"/>
                    <a:pt x="4167" y="16425"/>
                  </a:cubicBezTo>
                  <a:cubicBezTo>
                    <a:pt x="4167" y="15525"/>
                    <a:pt x="991" y="16425"/>
                    <a:pt x="356" y="16425"/>
                  </a:cubicBezTo>
                  <a:cubicBezTo>
                    <a:pt x="-915" y="16425"/>
                    <a:pt x="1626" y="13725"/>
                    <a:pt x="1626" y="13725"/>
                  </a:cubicBezTo>
                  <a:cubicBezTo>
                    <a:pt x="2897" y="11925"/>
                    <a:pt x="2261" y="10125"/>
                    <a:pt x="2261" y="8325"/>
                  </a:cubicBezTo>
                  <a:cubicBezTo>
                    <a:pt x="2261" y="6525"/>
                    <a:pt x="2261" y="3825"/>
                    <a:pt x="2897" y="2025"/>
                  </a:cubicBezTo>
                  <a:cubicBezTo>
                    <a:pt x="3532" y="-675"/>
                    <a:pt x="5438" y="-675"/>
                    <a:pt x="6073" y="2025"/>
                  </a:cubicBezTo>
                  <a:cubicBezTo>
                    <a:pt x="6073" y="2925"/>
                    <a:pt x="6073" y="4725"/>
                    <a:pt x="6709" y="3825"/>
                  </a:cubicBezTo>
                  <a:cubicBezTo>
                    <a:pt x="7344" y="3825"/>
                    <a:pt x="7344" y="2925"/>
                    <a:pt x="7979" y="2925"/>
                  </a:cubicBezTo>
                  <a:cubicBezTo>
                    <a:pt x="8614" y="3825"/>
                    <a:pt x="9250" y="4725"/>
                    <a:pt x="9885" y="4725"/>
                  </a:cubicBezTo>
                  <a:cubicBezTo>
                    <a:pt x="10520" y="5625"/>
                    <a:pt x="11156" y="5625"/>
                    <a:pt x="11791" y="5625"/>
                  </a:cubicBezTo>
                  <a:cubicBezTo>
                    <a:pt x="12426" y="6525"/>
                    <a:pt x="13697" y="7425"/>
                    <a:pt x="14967" y="8325"/>
                  </a:cubicBezTo>
                  <a:cubicBezTo>
                    <a:pt x="16873" y="9225"/>
                    <a:pt x="16873" y="10125"/>
                    <a:pt x="16873" y="12825"/>
                  </a:cubicBezTo>
                  <a:cubicBezTo>
                    <a:pt x="16873" y="13725"/>
                    <a:pt x="18144" y="13725"/>
                    <a:pt x="18144" y="12825"/>
                  </a:cubicBezTo>
                  <a:cubicBezTo>
                    <a:pt x="19414" y="12825"/>
                    <a:pt x="19414" y="13725"/>
                    <a:pt x="20050" y="14625"/>
                  </a:cubicBezTo>
                  <a:cubicBezTo>
                    <a:pt x="20685" y="14625"/>
                    <a:pt x="20685" y="14625"/>
                    <a:pt x="20685" y="15525"/>
                  </a:cubicBezTo>
                  <a:cubicBezTo>
                    <a:pt x="20050" y="16425"/>
                    <a:pt x="20050" y="18225"/>
                    <a:pt x="18779" y="18225"/>
                  </a:cubicBezTo>
                  <a:cubicBezTo>
                    <a:pt x="18144" y="17325"/>
                    <a:pt x="20050" y="18225"/>
                    <a:pt x="18779" y="182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8" name="Shape 1967">
              <a:extLst>
                <a:ext uri="{FF2B5EF4-FFF2-40B4-BE49-F238E27FC236}">
                  <a16:creationId xmlns:a16="http://schemas.microsoft.com/office/drawing/2014/main" id="{BBE8A308-9F66-548C-101C-3896FCB77FC0}"/>
                </a:ext>
              </a:extLst>
            </p:cNvPr>
            <p:cNvSpPr/>
            <p:nvPr/>
          </p:nvSpPr>
          <p:spPr>
            <a:xfrm>
              <a:off x="2735545" y="1168954"/>
              <a:ext cx="29965" cy="27870"/>
            </a:xfrm>
            <a:custGeom>
              <a:avLst/>
              <a:gdLst/>
              <a:ahLst/>
              <a:cxnLst>
                <a:cxn ang="0">
                  <a:pos x="wd2" y="hd2"/>
                </a:cxn>
                <a:cxn ang="5400000">
                  <a:pos x="wd2" y="hd2"/>
                </a:cxn>
                <a:cxn ang="10800000">
                  <a:pos x="wd2" y="hd2"/>
                </a:cxn>
                <a:cxn ang="16200000">
                  <a:pos x="wd2" y="hd2"/>
                </a:cxn>
              </a:cxnLst>
              <a:rect l="0" t="0" r="r" b="b"/>
              <a:pathLst>
                <a:path w="14399" h="17851" extrusionOk="0">
                  <a:moveTo>
                    <a:pt x="12956" y="17280"/>
                  </a:moveTo>
                  <a:cubicBezTo>
                    <a:pt x="6784" y="21600"/>
                    <a:pt x="-2473" y="0"/>
                    <a:pt x="613" y="0"/>
                  </a:cubicBezTo>
                  <a:cubicBezTo>
                    <a:pt x="3698" y="4320"/>
                    <a:pt x="19127" y="12960"/>
                    <a:pt x="12956"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49" name="Shape 1968">
              <a:extLst>
                <a:ext uri="{FF2B5EF4-FFF2-40B4-BE49-F238E27FC236}">
                  <a16:creationId xmlns:a16="http://schemas.microsoft.com/office/drawing/2014/main" id="{6E7F1962-8836-0CB5-CDB4-FADF65ED932B}"/>
                </a:ext>
              </a:extLst>
            </p:cNvPr>
            <p:cNvSpPr/>
            <p:nvPr/>
          </p:nvSpPr>
          <p:spPr>
            <a:xfrm>
              <a:off x="2716914" y="1181086"/>
              <a:ext cx="19786" cy="22948"/>
            </a:xfrm>
            <a:custGeom>
              <a:avLst/>
              <a:gdLst/>
              <a:ahLst/>
              <a:cxnLst>
                <a:cxn ang="0">
                  <a:pos x="wd2" y="hd2"/>
                </a:cxn>
                <a:cxn ang="5400000">
                  <a:pos x="wd2" y="hd2"/>
                </a:cxn>
                <a:cxn ang="10800000">
                  <a:pos x="wd2" y="hd2"/>
                </a:cxn>
                <a:cxn ang="16200000">
                  <a:pos x="wd2" y="hd2"/>
                </a:cxn>
              </a:cxnLst>
              <a:rect l="0" t="0" r="r" b="b"/>
              <a:pathLst>
                <a:path w="17287" h="14699" extrusionOk="0">
                  <a:moveTo>
                    <a:pt x="16200" y="13829"/>
                  </a:moveTo>
                  <a:cubicBezTo>
                    <a:pt x="5400" y="18149"/>
                    <a:pt x="0" y="5189"/>
                    <a:pt x="0" y="869"/>
                  </a:cubicBezTo>
                  <a:cubicBezTo>
                    <a:pt x="5400" y="-3451"/>
                    <a:pt x="21600" y="9509"/>
                    <a:pt x="16200" y="138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0" name="Shape 1969">
              <a:extLst>
                <a:ext uri="{FF2B5EF4-FFF2-40B4-BE49-F238E27FC236}">
                  <a16:creationId xmlns:a16="http://schemas.microsoft.com/office/drawing/2014/main" id="{D4DC7CBC-FBEF-7BB6-1A9F-1E2FA2EE32EF}"/>
                </a:ext>
              </a:extLst>
            </p:cNvPr>
            <p:cNvSpPr/>
            <p:nvPr/>
          </p:nvSpPr>
          <p:spPr>
            <a:xfrm>
              <a:off x="2659977" y="1054669"/>
              <a:ext cx="16482" cy="31658"/>
            </a:xfrm>
            <a:custGeom>
              <a:avLst/>
              <a:gdLst/>
              <a:ahLst/>
              <a:cxnLst>
                <a:cxn ang="0">
                  <a:pos x="wd2" y="hd2"/>
                </a:cxn>
                <a:cxn ang="5400000">
                  <a:pos x="wd2" y="hd2"/>
                </a:cxn>
                <a:cxn ang="10800000">
                  <a:pos x="wd2" y="hd2"/>
                </a:cxn>
                <a:cxn ang="16200000">
                  <a:pos x="wd2" y="hd2"/>
                </a:cxn>
              </a:cxnLst>
              <a:rect l="0" t="0" r="r" b="b"/>
              <a:pathLst>
                <a:path w="17600" h="16899" extrusionOk="0">
                  <a:moveTo>
                    <a:pt x="17600" y="15408"/>
                  </a:moveTo>
                  <a:cubicBezTo>
                    <a:pt x="17600" y="11808"/>
                    <a:pt x="17600" y="8208"/>
                    <a:pt x="17600" y="4608"/>
                  </a:cubicBezTo>
                  <a:cubicBezTo>
                    <a:pt x="17600" y="4608"/>
                    <a:pt x="3200" y="-2592"/>
                    <a:pt x="3200" y="1008"/>
                  </a:cubicBezTo>
                  <a:cubicBezTo>
                    <a:pt x="3200" y="4608"/>
                    <a:pt x="-4000" y="11808"/>
                    <a:pt x="3200" y="11808"/>
                  </a:cubicBezTo>
                  <a:cubicBezTo>
                    <a:pt x="3200" y="15408"/>
                    <a:pt x="10400" y="19008"/>
                    <a:pt x="17600" y="15408"/>
                  </a:cubicBezTo>
                  <a:cubicBezTo>
                    <a:pt x="17600" y="11808"/>
                    <a:pt x="10400" y="19008"/>
                    <a:pt x="17600" y="154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1" name="Shape 1970">
              <a:extLst>
                <a:ext uri="{FF2B5EF4-FFF2-40B4-BE49-F238E27FC236}">
                  <a16:creationId xmlns:a16="http://schemas.microsoft.com/office/drawing/2014/main" id="{E59ACC84-489D-58F2-8638-6AB048B55859}"/>
                </a:ext>
              </a:extLst>
            </p:cNvPr>
            <p:cNvSpPr/>
            <p:nvPr/>
          </p:nvSpPr>
          <p:spPr>
            <a:xfrm>
              <a:off x="2557347" y="714781"/>
              <a:ext cx="943616" cy="683060"/>
            </a:xfrm>
            <a:custGeom>
              <a:avLst/>
              <a:gdLst/>
              <a:ahLst/>
              <a:cxnLst>
                <a:cxn ang="0">
                  <a:pos x="wd2" y="hd2"/>
                </a:cxn>
                <a:cxn ang="5400000">
                  <a:pos x="wd2" y="hd2"/>
                </a:cxn>
                <a:cxn ang="10800000">
                  <a:pos x="wd2" y="hd2"/>
                </a:cxn>
                <a:cxn ang="16200000">
                  <a:pos x="wd2" y="hd2"/>
                </a:cxn>
              </a:cxnLst>
              <a:rect l="0" t="0" r="r" b="b"/>
              <a:pathLst>
                <a:path w="21491" h="21240" extrusionOk="0">
                  <a:moveTo>
                    <a:pt x="11550" y="16797"/>
                  </a:moveTo>
                  <a:cubicBezTo>
                    <a:pt x="11400" y="17414"/>
                    <a:pt x="11100" y="16797"/>
                    <a:pt x="10650" y="17003"/>
                  </a:cubicBezTo>
                  <a:cubicBezTo>
                    <a:pt x="10500" y="17003"/>
                    <a:pt x="10350" y="17209"/>
                    <a:pt x="10200" y="17414"/>
                  </a:cubicBezTo>
                  <a:cubicBezTo>
                    <a:pt x="9900" y="17620"/>
                    <a:pt x="9750" y="17414"/>
                    <a:pt x="9450" y="17414"/>
                  </a:cubicBezTo>
                  <a:cubicBezTo>
                    <a:pt x="9000" y="17209"/>
                    <a:pt x="8400" y="16797"/>
                    <a:pt x="9000" y="16180"/>
                  </a:cubicBezTo>
                  <a:cubicBezTo>
                    <a:pt x="9300" y="15769"/>
                    <a:pt x="9300" y="15357"/>
                    <a:pt x="9750" y="15357"/>
                  </a:cubicBezTo>
                  <a:cubicBezTo>
                    <a:pt x="10200" y="15563"/>
                    <a:pt x="10650" y="15769"/>
                    <a:pt x="11250" y="15563"/>
                  </a:cubicBezTo>
                  <a:cubicBezTo>
                    <a:pt x="11550" y="15563"/>
                    <a:pt x="11850" y="15357"/>
                    <a:pt x="12150" y="15357"/>
                  </a:cubicBezTo>
                  <a:cubicBezTo>
                    <a:pt x="12300" y="15357"/>
                    <a:pt x="12150" y="15152"/>
                    <a:pt x="12150" y="14946"/>
                  </a:cubicBezTo>
                  <a:cubicBezTo>
                    <a:pt x="11700" y="14534"/>
                    <a:pt x="11550" y="14329"/>
                    <a:pt x="12000" y="13917"/>
                  </a:cubicBezTo>
                  <a:cubicBezTo>
                    <a:pt x="12300" y="13300"/>
                    <a:pt x="12600" y="13300"/>
                    <a:pt x="13050" y="13300"/>
                  </a:cubicBezTo>
                  <a:cubicBezTo>
                    <a:pt x="13200" y="13300"/>
                    <a:pt x="13500" y="13300"/>
                    <a:pt x="13650" y="13506"/>
                  </a:cubicBezTo>
                  <a:cubicBezTo>
                    <a:pt x="13950" y="13712"/>
                    <a:pt x="13950" y="13917"/>
                    <a:pt x="13950" y="14329"/>
                  </a:cubicBezTo>
                  <a:cubicBezTo>
                    <a:pt x="14100" y="14740"/>
                    <a:pt x="14250" y="14123"/>
                    <a:pt x="14400" y="14123"/>
                  </a:cubicBezTo>
                  <a:cubicBezTo>
                    <a:pt x="14400" y="13917"/>
                    <a:pt x="14850" y="14123"/>
                    <a:pt x="14850" y="14123"/>
                  </a:cubicBezTo>
                  <a:cubicBezTo>
                    <a:pt x="15000" y="14123"/>
                    <a:pt x="15450" y="14123"/>
                    <a:pt x="15450" y="13712"/>
                  </a:cubicBezTo>
                  <a:cubicBezTo>
                    <a:pt x="15450" y="13506"/>
                    <a:pt x="15000" y="13300"/>
                    <a:pt x="14850" y="13300"/>
                  </a:cubicBezTo>
                  <a:cubicBezTo>
                    <a:pt x="14550" y="13094"/>
                    <a:pt x="14400" y="12889"/>
                    <a:pt x="14250" y="12683"/>
                  </a:cubicBezTo>
                  <a:cubicBezTo>
                    <a:pt x="14100" y="12683"/>
                    <a:pt x="13950" y="13094"/>
                    <a:pt x="13950" y="13300"/>
                  </a:cubicBezTo>
                  <a:cubicBezTo>
                    <a:pt x="13800" y="13506"/>
                    <a:pt x="13200" y="13300"/>
                    <a:pt x="13050" y="13300"/>
                  </a:cubicBezTo>
                  <a:cubicBezTo>
                    <a:pt x="12150" y="13094"/>
                    <a:pt x="13350" y="12683"/>
                    <a:pt x="13200" y="12272"/>
                  </a:cubicBezTo>
                  <a:cubicBezTo>
                    <a:pt x="13050" y="11654"/>
                    <a:pt x="12900" y="10832"/>
                    <a:pt x="12600" y="10420"/>
                  </a:cubicBezTo>
                  <a:cubicBezTo>
                    <a:pt x="12450" y="10420"/>
                    <a:pt x="12150" y="10626"/>
                    <a:pt x="12150" y="10420"/>
                  </a:cubicBezTo>
                  <a:cubicBezTo>
                    <a:pt x="12150" y="10214"/>
                    <a:pt x="12150" y="9803"/>
                    <a:pt x="12000" y="9597"/>
                  </a:cubicBezTo>
                  <a:cubicBezTo>
                    <a:pt x="11850" y="9392"/>
                    <a:pt x="11700" y="10626"/>
                    <a:pt x="11850" y="10626"/>
                  </a:cubicBezTo>
                  <a:cubicBezTo>
                    <a:pt x="11700" y="10626"/>
                    <a:pt x="11250" y="9186"/>
                    <a:pt x="11250" y="9186"/>
                  </a:cubicBezTo>
                  <a:cubicBezTo>
                    <a:pt x="10950" y="9186"/>
                    <a:pt x="10800" y="9392"/>
                    <a:pt x="10650" y="9597"/>
                  </a:cubicBezTo>
                  <a:cubicBezTo>
                    <a:pt x="10500" y="9597"/>
                    <a:pt x="10050" y="10009"/>
                    <a:pt x="10050" y="9803"/>
                  </a:cubicBezTo>
                  <a:cubicBezTo>
                    <a:pt x="10050" y="9186"/>
                    <a:pt x="9900" y="9186"/>
                    <a:pt x="10350" y="9186"/>
                  </a:cubicBezTo>
                  <a:cubicBezTo>
                    <a:pt x="10500" y="9186"/>
                    <a:pt x="10650" y="8980"/>
                    <a:pt x="10650" y="8774"/>
                  </a:cubicBezTo>
                  <a:cubicBezTo>
                    <a:pt x="10800" y="8569"/>
                    <a:pt x="10350" y="8569"/>
                    <a:pt x="10350" y="8569"/>
                  </a:cubicBezTo>
                  <a:cubicBezTo>
                    <a:pt x="10200" y="8363"/>
                    <a:pt x="9600" y="7952"/>
                    <a:pt x="9600" y="7952"/>
                  </a:cubicBezTo>
                  <a:cubicBezTo>
                    <a:pt x="9600" y="7334"/>
                    <a:pt x="9450" y="7746"/>
                    <a:pt x="9300" y="7746"/>
                  </a:cubicBezTo>
                  <a:cubicBezTo>
                    <a:pt x="9150" y="7746"/>
                    <a:pt x="9300" y="6717"/>
                    <a:pt x="9000" y="6923"/>
                  </a:cubicBezTo>
                  <a:cubicBezTo>
                    <a:pt x="8850" y="6923"/>
                    <a:pt x="8850" y="7129"/>
                    <a:pt x="8550" y="6717"/>
                  </a:cubicBezTo>
                  <a:cubicBezTo>
                    <a:pt x="8400" y="6717"/>
                    <a:pt x="8250" y="6306"/>
                    <a:pt x="8100" y="6306"/>
                  </a:cubicBezTo>
                  <a:cubicBezTo>
                    <a:pt x="8100" y="6306"/>
                    <a:pt x="8250" y="6512"/>
                    <a:pt x="8250" y="6512"/>
                  </a:cubicBezTo>
                  <a:cubicBezTo>
                    <a:pt x="8250" y="6512"/>
                    <a:pt x="7800" y="6512"/>
                    <a:pt x="7800" y="6717"/>
                  </a:cubicBezTo>
                  <a:cubicBezTo>
                    <a:pt x="7950" y="6923"/>
                    <a:pt x="8250" y="6717"/>
                    <a:pt x="8400" y="7129"/>
                  </a:cubicBezTo>
                  <a:cubicBezTo>
                    <a:pt x="8400" y="7540"/>
                    <a:pt x="8100" y="7540"/>
                    <a:pt x="7950" y="7540"/>
                  </a:cubicBezTo>
                  <a:cubicBezTo>
                    <a:pt x="7650" y="7746"/>
                    <a:pt x="6900" y="6923"/>
                    <a:pt x="6600" y="7334"/>
                  </a:cubicBezTo>
                  <a:cubicBezTo>
                    <a:pt x="6450" y="7334"/>
                    <a:pt x="6750" y="7540"/>
                    <a:pt x="6900" y="7746"/>
                  </a:cubicBezTo>
                  <a:cubicBezTo>
                    <a:pt x="6900" y="7952"/>
                    <a:pt x="7050" y="7746"/>
                    <a:pt x="7200" y="7746"/>
                  </a:cubicBezTo>
                  <a:cubicBezTo>
                    <a:pt x="7350" y="7746"/>
                    <a:pt x="7800" y="7540"/>
                    <a:pt x="7800" y="7746"/>
                  </a:cubicBezTo>
                  <a:cubicBezTo>
                    <a:pt x="7800" y="7952"/>
                    <a:pt x="7650" y="8157"/>
                    <a:pt x="7500" y="8363"/>
                  </a:cubicBezTo>
                  <a:cubicBezTo>
                    <a:pt x="7500" y="8363"/>
                    <a:pt x="5850" y="6923"/>
                    <a:pt x="5550" y="7129"/>
                  </a:cubicBezTo>
                  <a:cubicBezTo>
                    <a:pt x="5700" y="7129"/>
                    <a:pt x="5850" y="7334"/>
                    <a:pt x="6000" y="7334"/>
                  </a:cubicBezTo>
                  <a:cubicBezTo>
                    <a:pt x="6300" y="7746"/>
                    <a:pt x="5550" y="7540"/>
                    <a:pt x="5550" y="7540"/>
                  </a:cubicBezTo>
                  <a:cubicBezTo>
                    <a:pt x="5100" y="7129"/>
                    <a:pt x="4500" y="7540"/>
                    <a:pt x="4050" y="7334"/>
                  </a:cubicBezTo>
                  <a:cubicBezTo>
                    <a:pt x="3450" y="7129"/>
                    <a:pt x="3000" y="7334"/>
                    <a:pt x="2550" y="6717"/>
                  </a:cubicBezTo>
                  <a:cubicBezTo>
                    <a:pt x="2100" y="6306"/>
                    <a:pt x="1800" y="6923"/>
                    <a:pt x="1350" y="6717"/>
                  </a:cubicBezTo>
                  <a:cubicBezTo>
                    <a:pt x="1200" y="6512"/>
                    <a:pt x="900" y="6512"/>
                    <a:pt x="750" y="6306"/>
                  </a:cubicBezTo>
                  <a:cubicBezTo>
                    <a:pt x="750" y="6100"/>
                    <a:pt x="300" y="5483"/>
                    <a:pt x="600" y="5483"/>
                  </a:cubicBezTo>
                  <a:cubicBezTo>
                    <a:pt x="1050" y="5483"/>
                    <a:pt x="1650" y="6100"/>
                    <a:pt x="2100" y="5689"/>
                  </a:cubicBezTo>
                  <a:cubicBezTo>
                    <a:pt x="2250" y="5483"/>
                    <a:pt x="1950" y="5277"/>
                    <a:pt x="1950" y="5277"/>
                  </a:cubicBezTo>
                  <a:cubicBezTo>
                    <a:pt x="1650" y="5072"/>
                    <a:pt x="1350" y="5072"/>
                    <a:pt x="1200" y="5072"/>
                  </a:cubicBezTo>
                  <a:cubicBezTo>
                    <a:pt x="750" y="5072"/>
                    <a:pt x="0" y="5072"/>
                    <a:pt x="0" y="4454"/>
                  </a:cubicBezTo>
                  <a:cubicBezTo>
                    <a:pt x="0" y="3632"/>
                    <a:pt x="0" y="3014"/>
                    <a:pt x="300" y="2192"/>
                  </a:cubicBezTo>
                  <a:cubicBezTo>
                    <a:pt x="450" y="1574"/>
                    <a:pt x="900" y="1163"/>
                    <a:pt x="1350" y="752"/>
                  </a:cubicBezTo>
                  <a:cubicBezTo>
                    <a:pt x="1650" y="340"/>
                    <a:pt x="1950" y="340"/>
                    <a:pt x="2400" y="134"/>
                  </a:cubicBezTo>
                  <a:cubicBezTo>
                    <a:pt x="2700" y="134"/>
                    <a:pt x="3600" y="-277"/>
                    <a:pt x="3750" y="340"/>
                  </a:cubicBezTo>
                  <a:cubicBezTo>
                    <a:pt x="3750" y="134"/>
                    <a:pt x="3000" y="1163"/>
                    <a:pt x="2850" y="1163"/>
                  </a:cubicBezTo>
                  <a:cubicBezTo>
                    <a:pt x="2550" y="1574"/>
                    <a:pt x="2250" y="1986"/>
                    <a:pt x="2550" y="2397"/>
                  </a:cubicBezTo>
                  <a:cubicBezTo>
                    <a:pt x="2850" y="2809"/>
                    <a:pt x="2550" y="3014"/>
                    <a:pt x="2700" y="3426"/>
                  </a:cubicBezTo>
                  <a:cubicBezTo>
                    <a:pt x="2700" y="3837"/>
                    <a:pt x="3000" y="4043"/>
                    <a:pt x="3150" y="4249"/>
                  </a:cubicBezTo>
                  <a:cubicBezTo>
                    <a:pt x="3300" y="4454"/>
                    <a:pt x="3600" y="4660"/>
                    <a:pt x="3750" y="4866"/>
                  </a:cubicBezTo>
                  <a:cubicBezTo>
                    <a:pt x="3900" y="5072"/>
                    <a:pt x="3300" y="5072"/>
                    <a:pt x="3300" y="5277"/>
                  </a:cubicBezTo>
                  <a:cubicBezTo>
                    <a:pt x="3300" y="5072"/>
                    <a:pt x="3900" y="5689"/>
                    <a:pt x="3900" y="5689"/>
                  </a:cubicBezTo>
                  <a:cubicBezTo>
                    <a:pt x="4050" y="5483"/>
                    <a:pt x="3900" y="5072"/>
                    <a:pt x="3900" y="4866"/>
                  </a:cubicBezTo>
                  <a:cubicBezTo>
                    <a:pt x="3900" y="4866"/>
                    <a:pt x="4200" y="4660"/>
                    <a:pt x="4050" y="4454"/>
                  </a:cubicBezTo>
                  <a:cubicBezTo>
                    <a:pt x="3900" y="4249"/>
                    <a:pt x="3300" y="4043"/>
                    <a:pt x="3150" y="3837"/>
                  </a:cubicBezTo>
                  <a:cubicBezTo>
                    <a:pt x="3000" y="3837"/>
                    <a:pt x="2850" y="3632"/>
                    <a:pt x="3000" y="3632"/>
                  </a:cubicBezTo>
                  <a:cubicBezTo>
                    <a:pt x="3300" y="3632"/>
                    <a:pt x="3300" y="3426"/>
                    <a:pt x="3450" y="3220"/>
                  </a:cubicBezTo>
                  <a:cubicBezTo>
                    <a:pt x="3750" y="3014"/>
                    <a:pt x="4200" y="3426"/>
                    <a:pt x="4350" y="3632"/>
                  </a:cubicBezTo>
                  <a:cubicBezTo>
                    <a:pt x="4200" y="3426"/>
                    <a:pt x="4050" y="3220"/>
                    <a:pt x="4050" y="3014"/>
                  </a:cubicBezTo>
                  <a:cubicBezTo>
                    <a:pt x="4050" y="2603"/>
                    <a:pt x="3300" y="2809"/>
                    <a:pt x="3300" y="2397"/>
                  </a:cubicBezTo>
                  <a:cubicBezTo>
                    <a:pt x="3000" y="1163"/>
                    <a:pt x="4350" y="2192"/>
                    <a:pt x="4350" y="2192"/>
                  </a:cubicBezTo>
                  <a:cubicBezTo>
                    <a:pt x="4350" y="1986"/>
                    <a:pt x="3450" y="1574"/>
                    <a:pt x="3450" y="1574"/>
                  </a:cubicBezTo>
                  <a:cubicBezTo>
                    <a:pt x="3450" y="1369"/>
                    <a:pt x="4200" y="1574"/>
                    <a:pt x="4200" y="1574"/>
                  </a:cubicBezTo>
                  <a:cubicBezTo>
                    <a:pt x="4200" y="1369"/>
                    <a:pt x="3750" y="1163"/>
                    <a:pt x="3750" y="1163"/>
                  </a:cubicBezTo>
                  <a:cubicBezTo>
                    <a:pt x="3600" y="957"/>
                    <a:pt x="3750" y="957"/>
                    <a:pt x="3900" y="957"/>
                  </a:cubicBezTo>
                  <a:cubicBezTo>
                    <a:pt x="4050" y="1163"/>
                    <a:pt x="4050" y="957"/>
                    <a:pt x="4200" y="957"/>
                  </a:cubicBezTo>
                  <a:cubicBezTo>
                    <a:pt x="4500" y="752"/>
                    <a:pt x="4500" y="957"/>
                    <a:pt x="4800" y="957"/>
                  </a:cubicBezTo>
                  <a:cubicBezTo>
                    <a:pt x="4350" y="752"/>
                    <a:pt x="4950" y="340"/>
                    <a:pt x="5100" y="340"/>
                  </a:cubicBezTo>
                  <a:cubicBezTo>
                    <a:pt x="5400" y="134"/>
                    <a:pt x="6300" y="134"/>
                    <a:pt x="6450" y="546"/>
                  </a:cubicBezTo>
                  <a:cubicBezTo>
                    <a:pt x="6600" y="752"/>
                    <a:pt x="6600" y="957"/>
                    <a:pt x="6600" y="1163"/>
                  </a:cubicBezTo>
                  <a:cubicBezTo>
                    <a:pt x="6750" y="1369"/>
                    <a:pt x="6900" y="1574"/>
                    <a:pt x="7050" y="1780"/>
                  </a:cubicBezTo>
                  <a:cubicBezTo>
                    <a:pt x="7200" y="2192"/>
                    <a:pt x="6450" y="3014"/>
                    <a:pt x="6450" y="3014"/>
                  </a:cubicBezTo>
                  <a:cubicBezTo>
                    <a:pt x="6600" y="3220"/>
                    <a:pt x="6900" y="2603"/>
                    <a:pt x="7050" y="2603"/>
                  </a:cubicBezTo>
                  <a:cubicBezTo>
                    <a:pt x="7050" y="2603"/>
                    <a:pt x="6750" y="3837"/>
                    <a:pt x="6900" y="3632"/>
                  </a:cubicBezTo>
                  <a:cubicBezTo>
                    <a:pt x="7050" y="3632"/>
                    <a:pt x="7050" y="3220"/>
                    <a:pt x="7200" y="3220"/>
                  </a:cubicBezTo>
                  <a:cubicBezTo>
                    <a:pt x="7500" y="3220"/>
                    <a:pt x="7500" y="3426"/>
                    <a:pt x="7800" y="3014"/>
                  </a:cubicBezTo>
                  <a:cubicBezTo>
                    <a:pt x="7950" y="2809"/>
                    <a:pt x="7950" y="3014"/>
                    <a:pt x="8100" y="3220"/>
                  </a:cubicBezTo>
                  <a:cubicBezTo>
                    <a:pt x="8250" y="3426"/>
                    <a:pt x="8100" y="3426"/>
                    <a:pt x="8100" y="3632"/>
                  </a:cubicBezTo>
                  <a:cubicBezTo>
                    <a:pt x="8100" y="3837"/>
                    <a:pt x="8850" y="4043"/>
                    <a:pt x="9000" y="4043"/>
                  </a:cubicBezTo>
                  <a:cubicBezTo>
                    <a:pt x="9000" y="4043"/>
                    <a:pt x="8250" y="3014"/>
                    <a:pt x="8100" y="2809"/>
                  </a:cubicBezTo>
                  <a:cubicBezTo>
                    <a:pt x="8100" y="2809"/>
                    <a:pt x="9450" y="3426"/>
                    <a:pt x="9450" y="3220"/>
                  </a:cubicBezTo>
                  <a:cubicBezTo>
                    <a:pt x="9450" y="3220"/>
                    <a:pt x="8550" y="3014"/>
                    <a:pt x="8550" y="2603"/>
                  </a:cubicBezTo>
                  <a:cubicBezTo>
                    <a:pt x="8550" y="2397"/>
                    <a:pt x="9000" y="2192"/>
                    <a:pt x="9150" y="2192"/>
                  </a:cubicBezTo>
                  <a:cubicBezTo>
                    <a:pt x="9450" y="1986"/>
                    <a:pt x="9600" y="2192"/>
                    <a:pt x="9900" y="2397"/>
                  </a:cubicBezTo>
                  <a:cubicBezTo>
                    <a:pt x="10350" y="2603"/>
                    <a:pt x="10950" y="2397"/>
                    <a:pt x="11100" y="3220"/>
                  </a:cubicBezTo>
                  <a:cubicBezTo>
                    <a:pt x="11100" y="3220"/>
                    <a:pt x="10050" y="3220"/>
                    <a:pt x="10200" y="3837"/>
                  </a:cubicBezTo>
                  <a:cubicBezTo>
                    <a:pt x="10200" y="3632"/>
                    <a:pt x="10650" y="3426"/>
                    <a:pt x="10650" y="3426"/>
                  </a:cubicBezTo>
                  <a:cubicBezTo>
                    <a:pt x="10950" y="3426"/>
                    <a:pt x="10500" y="3837"/>
                    <a:pt x="10500" y="4043"/>
                  </a:cubicBezTo>
                  <a:cubicBezTo>
                    <a:pt x="10500" y="4043"/>
                    <a:pt x="10950" y="3632"/>
                    <a:pt x="10950" y="3632"/>
                  </a:cubicBezTo>
                  <a:cubicBezTo>
                    <a:pt x="10950" y="3426"/>
                    <a:pt x="11550" y="3426"/>
                    <a:pt x="11700" y="3632"/>
                  </a:cubicBezTo>
                  <a:cubicBezTo>
                    <a:pt x="12300" y="3632"/>
                    <a:pt x="10950" y="4249"/>
                    <a:pt x="11100" y="4454"/>
                  </a:cubicBezTo>
                  <a:cubicBezTo>
                    <a:pt x="11100" y="4454"/>
                    <a:pt x="11400" y="4043"/>
                    <a:pt x="11400" y="4249"/>
                  </a:cubicBezTo>
                  <a:cubicBezTo>
                    <a:pt x="11400" y="4454"/>
                    <a:pt x="11100" y="4866"/>
                    <a:pt x="11250" y="5072"/>
                  </a:cubicBezTo>
                  <a:cubicBezTo>
                    <a:pt x="11100" y="4866"/>
                    <a:pt x="11700" y="4043"/>
                    <a:pt x="11850" y="4249"/>
                  </a:cubicBezTo>
                  <a:cubicBezTo>
                    <a:pt x="11850" y="4660"/>
                    <a:pt x="11700" y="5072"/>
                    <a:pt x="11850" y="5277"/>
                  </a:cubicBezTo>
                  <a:cubicBezTo>
                    <a:pt x="11850" y="5277"/>
                    <a:pt x="11850" y="4454"/>
                    <a:pt x="12150" y="4454"/>
                  </a:cubicBezTo>
                  <a:cubicBezTo>
                    <a:pt x="12450" y="4660"/>
                    <a:pt x="12000" y="5277"/>
                    <a:pt x="12150" y="5483"/>
                  </a:cubicBezTo>
                  <a:cubicBezTo>
                    <a:pt x="12150" y="5483"/>
                    <a:pt x="12300" y="4866"/>
                    <a:pt x="12450" y="4866"/>
                  </a:cubicBezTo>
                  <a:cubicBezTo>
                    <a:pt x="12450" y="4866"/>
                    <a:pt x="12300" y="5483"/>
                    <a:pt x="12450" y="5483"/>
                  </a:cubicBezTo>
                  <a:cubicBezTo>
                    <a:pt x="12300" y="5483"/>
                    <a:pt x="12750" y="4660"/>
                    <a:pt x="12900" y="4454"/>
                  </a:cubicBezTo>
                  <a:cubicBezTo>
                    <a:pt x="13050" y="4249"/>
                    <a:pt x="13500" y="4454"/>
                    <a:pt x="13650" y="4660"/>
                  </a:cubicBezTo>
                  <a:cubicBezTo>
                    <a:pt x="13950" y="4866"/>
                    <a:pt x="14100" y="5277"/>
                    <a:pt x="13650" y="5277"/>
                  </a:cubicBezTo>
                  <a:cubicBezTo>
                    <a:pt x="13500" y="5277"/>
                    <a:pt x="12900" y="5277"/>
                    <a:pt x="12900" y="5894"/>
                  </a:cubicBezTo>
                  <a:cubicBezTo>
                    <a:pt x="12900" y="5689"/>
                    <a:pt x="13800" y="5277"/>
                    <a:pt x="13800" y="5483"/>
                  </a:cubicBezTo>
                  <a:cubicBezTo>
                    <a:pt x="13800" y="5483"/>
                    <a:pt x="13200" y="5894"/>
                    <a:pt x="13200" y="6100"/>
                  </a:cubicBezTo>
                  <a:cubicBezTo>
                    <a:pt x="13200" y="5894"/>
                    <a:pt x="13800" y="5894"/>
                    <a:pt x="13800" y="5894"/>
                  </a:cubicBezTo>
                  <a:cubicBezTo>
                    <a:pt x="13950" y="5689"/>
                    <a:pt x="14250" y="5072"/>
                    <a:pt x="14400" y="5277"/>
                  </a:cubicBezTo>
                  <a:cubicBezTo>
                    <a:pt x="14550" y="5689"/>
                    <a:pt x="14400" y="6100"/>
                    <a:pt x="14100" y="6100"/>
                  </a:cubicBezTo>
                  <a:cubicBezTo>
                    <a:pt x="13950" y="6306"/>
                    <a:pt x="13800" y="6512"/>
                    <a:pt x="13650" y="6717"/>
                  </a:cubicBezTo>
                  <a:cubicBezTo>
                    <a:pt x="13650" y="6717"/>
                    <a:pt x="13950" y="6306"/>
                    <a:pt x="14100" y="6306"/>
                  </a:cubicBezTo>
                  <a:cubicBezTo>
                    <a:pt x="14100" y="6306"/>
                    <a:pt x="13950" y="7129"/>
                    <a:pt x="13950" y="7129"/>
                  </a:cubicBezTo>
                  <a:cubicBezTo>
                    <a:pt x="13800" y="6717"/>
                    <a:pt x="14850" y="5277"/>
                    <a:pt x="15000" y="5689"/>
                  </a:cubicBezTo>
                  <a:cubicBezTo>
                    <a:pt x="15150" y="5894"/>
                    <a:pt x="14850" y="6100"/>
                    <a:pt x="14700" y="6100"/>
                  </a:cubicBezTo>
                  <a:cubicBezTo>
                    <a:pt x="14850" y="6100"/>
                    <a:pt x="15300" y="6100"/>
                    <a:pt x="15450" y="6100"/>
                  </a:cubicBezTo>
                  <a:cubicBezTo>
                    <a:pt x="15600" y="6100"/>
                    <a:pt x="15900" y="6100"/>
                    <a:pt x="16050" y="6306"/>
                  </a:cubicBezTo>
                  <a:cubicBezTo>
                    <a:pt x="16200" y="6923"/>
                    <a:pt x="14700" y="6923"/>
                    <a:pt x="14850" y="7540"/>
                  </a:cubicBezTo>
                  <a:cubicBezTo>
                    <a:pt x="14850" y="7540"/>
                    <a:pt x="15300" y="6923"/>
                    <a:pt x="15450" y="6923"/>
                  </a:cubicBezTo>
                  <a:cubicBezTo>
                    <a:pt x="15600" y="6923"/>
                    <a:pt x="15900" y="6923"/>
                    <a:pt x="15900" y="7129"/>
                  </a:cubicBezTo>
                  <a:cubicBezTo>
                    <a:pt x="16050" y="7334"/>
                    <a:pt x="15150" y="7746"/>
                    <a:pt x="15150" y="7746"/>
                  </a:cubicBezTo>
                  <a:cubicBezTo>
                    <a:pt x="15150" y="7746"/>
                    <a:pt x="15600" y="7540"/>
                    <a:pt x="15600" y="7540"/>
                  </a:cubicBezTo>
                  <a:cubicBezTo>
                    <a:pt x="15750" y="7540"/>
                    <a:pt x="16050" y="7334"/>
                    <a:pt x="16200" y="7129"/>
                  </a:cubicBezTo>
                  <a:cubicBezTo>
                    <a:pt x="16350" y="7129"/>
                    <a:pt x="16200" y="6923"/>
                    <a:pt x="16350" y="6717"/>
                  </a:cubicBezTo>
                  <a:cubicBezTo>
                    <a:pt x="16500" y="6717"/>
                    <a:pt x="16800" y="7129"/>
                    <a:pt x="16800" y="7334"/>
                  </a:cubicBezTo>
                  <a:cubicBezTo>
                    <a:pt x="17400" y="7952"/>
                    <a:pt x="16800" y="7746"/>
                    <a:pt x="16350" y="7952"/>
                  </a:cubicBezTo>
                  <a:cubicBezTo>
                    <a:pt x="16350" y="7952"/>
                    <a:pt x="15300" y="8363"/>
                    <a:pt x="15300" y="8157"/>
                  </a:cubicBezTo>
                  <a:cubicBezTo>
                    <a:pt x="15300" y="8363"/>
                    <a:pt x="17700" y="8363"/>
                    <a:pt x="17550" y="8774"/>
                  </a:cubicBezTo>
                  <a:cubicBezTo>
                    <a:pt x="17400" y="8980"/>
                    <a:pt x="16650" y="8980"/>
                    <a:pt x="16500" y="8774"/>
                  </a:cubicBezTo>
                  <a:cubicBezTo>
                    <a:pt x="16500" y="8774"/>
                    <a:pt x="15900" y="8980"/>
                    <a:pt x="15900" y="8980"/>
                  </a:cubicBezTo>
                  <a:cubicBezTo>
                    <a:pt x="16050" y="9186"/>
                    <a:pt x="16500" y="8980"/>
                    <a:pt x="16500" y="9186"/>
                  </a:cubicBezTo>
                  <a:cubicBezTo>
                    <a:pt x="16650" y="9186"/>
                    <a:pt x="16050" y="9392"/>
                    <a:pt x="16050" y="9597"/>
                  </a:cubicBezTo>
                  <a:cubicBezTo>
                    <a:pt x="16050" y="10009"/>
                    <a:pt x="16650" y="10214"/>
                    <a:pt x="16800" y="10214"/>
                  </a:cubicBezTo>
                  <a:cubicBezTo>
                    <a:pt x="17100" y="10420"/>
                    <a:pt x="17550" y="10420"/>
                    <a:pt x="17700" y="10832"/>
                  </a:cubicBezTo>
                  <a:cubicBezTo>
                    <a:pt x="17850" y="11037"/>
                    <a:pt x="17850" y="11243"/>
                    <a:pt x="18000" y="11243"/>
                  </a:cubicBezTo>
                  <a:cubicBezTo>
                    <a:pt x="18000" y="11243"/>
                    <a:pt x="18300" y="11037"/>
                    <a:pt x="18300" y="11037"/>
                  </a:cubicBezTo>
                  <a:cubicBezTo>
                    <a:pt x="18300" y="11037"/>
                    <a:pt x="18300" y="11449"/>
                    <a:pt x="18450" y="11449"/>
                  </a:cubicBezTo>
                  <a:cubicBezTo>
                    <a:pt x="18450" y="11449"/>
                    <a:pt x="18450" y="11037"/>
                    <a:pt x="18600" y="11037"/>
                  </a:cubicBezTo>
                  <a:cubicBezTo>
                    <a:pt x="18600" y="11037"/>
                    <a:pt x="18600" y="11449"/>
                    <a:pt x="18600" y="11449"/>
                  </a:cubicBezTo>
                  <a:cubicBezTo>
                    <a:pt x="18600" y="11654"/>
                    <a:pt x="18900" y="11449"/>
                    <a:pt x="19050" y="11449"/>
                  </a:cubicBezTo>
                  <a:cubicBezTo>
                    <a:pt x="19050" y="11449"/>
                    <a:pt x="19350" y="11654"/>
                    <a:pt x="19350" y="11860"/>
                  </a:cubicBezTo>
                  <a:cubicBezTo>
                    <a:pt x="19350" y="12066"/>
                    <a:pt x="19200" y="11860"/>
                    <a:pt x="19200" y="12066"/>
                  </a:cubicBezTo>
                  <a:cubicBezTo>
                    <a:pt x="19350" y="11860"/>
                    <a:pt x="20700" y="12477"/>
                    <a:pt x="20700" y="12477"/>
                  </a:cubicBezTo>
                  <a:cubicBezTo>
                    <a:pt x="20550" y="12683"/>
                    <a:pt x="20550" y="12683"/>
                    <a:pt x="20550" y="12683"/>
                  </a:cubicBezTo>
                  <a:cubicBezTo>
                    <a:pt x="20550" y="12889"/>
                    <a:pt x="20850" y="12683"/>
                    <a:pt x="20850" y="12683"/>
                  </a:cubicBezTo>
                  <a:cubicBezTo>
                    <a:pt x="21000" y="12477"/>
                    <a:pt x="21000" y="12683"/>
                    <a:pt x="21150" y="12889"/>
                  </a:cubicBezTo>
                  <a:cubicBezTo>
                    <a:pt x="21300" y="12889"/>
                    <a:pt x="21600" y="13300"/>
                    <a:pt x="21450" y="13506"/>
                  </a:cubicBezTo>
                  <a:cubicBezTo>
                    <a:pt x="21450" y="13506"/>
                    <a:pt x="21150" y="13506"/>
                    <a:pt x="21150" y="13506"/>
                  </a:cubicBezTo>
                  <a:cubicBezTo>
                    <a:pt x="21150" y="13712"/>
                    <a:pt x="21450" y="13712"/>
                    <a:pt x="21300" y="13917"/>
                  </a:cubicBezTo>
                  <a:cubicBezTo>
                    <a:pt x="21300" y="13917"/>
                    <a:pt x="20850" y="13917"/>
                    <a:pt x="20850" y="13917"/>
                  </a:cubicBezTo>
                  <a:cubicBezTo>
                    <a:pt x="20550" y="14123"/>
                    <a:pt x="20850" y="14123"/>
                    <a:pt x="20850" y="14329"/>
                  </a:cubicBezTo>
                  <a:cubicBezTo>
                    <a:pt x="21000" y="14740"/>
                    <a:pt x="20400" y="14329"/>
                    <a:pt x="20250" y="14329"/>
                  </a:cubicBezTo>
                  <a:cubicBezTo>
                    <a:pt x="20400" y="14534"/>
                    <a:pt x="20700" y="14740"/>
                    <a:pt x="20550" y="14946"/>
                  </a:cubicBezTo>
                  <a:cubicBezTo>
                    <a:pt x="20400" y="14946"/>
                    <a:pt x="19800" y="14946"/>
                    <a:pt x="19950" y="14740"/>
                  </a:cubicBezTo>
                  <a:cubicBezTo>
                    <a:pt x="19800" y="14946"/>
                    <a:pt x="20250" y="15357"/>
                    <a:pt x="20100" y="15563"/>
                  </a:cubicBezTo>
                  <a:cubicBezTo>
                    <a:pt x="19950" y="15563"/>
                    <a:pt x="19950" y="15152"/>
                    <a:pt x="19800" y="15357"/>
                  </a:cubicBezTo>
                  <a:cubicBezTo>
                    <a:pt x="19650" y="15563"/>
                    <a:pt x="20250" y="16592"/>
                    <a:pt x="19650" y="15974"/>
                  </a:cubicBezTo>
                  <a:cubicBezTo>
                    <a:pt x="19650" y="15974"/>
                    <a:pt x="19200" y="15563"/>
                    <a:pt x="19200" y="15563"/>
                  </a:cubicBezTo>
                  <a:cubicBezTo>
                    <a:pt x="19050" y="15769"/>
                    <a:pt x="19050" y="15974"/>
                    <a:pt x="18900" y="15974"/>
                  </a:cubicBezTo>
                  <a:cubicBezTo>
                    <a:pt x="18900" y="15769"/>
                    <a:pt x="19050" y="15563"/>
                    <a:pt x="19050" y="15357"/>
                  </a:cubicBezTo>
                  <a:cubicBezTo>
                    <a:pt x="19050" y="15563"/>
                    <a:pt x="18750" y="15563"/>
                    <a:pt x="18750" y="15563"/>
                  </a:cubicBezTo>
                  <a:cubicBezTo>
                    <a:pt x="18600" y="15357"/>
                    <a:pt x="18900" y="15152"/>
                    <a:pt x="18750" y="14946"/>
                  </a:cubicBezTo>
                  <a:cubicBezTo>
                    <a:pt x="18750" y="14946"/>
                    <a:pt x="18450" y="15152"/>
                    <a:pt x="18450" y="15152"/>
                  </a:cubicBezTo>
                  <a:cubicBezTo>
                    <a:pt x="18300" y="14946"/>
                    <a:pt x="18450" y="14534"/>
                    <a:pt x="18450" y="14534"/>
                  </a:cubicBezTo>
                  <a:cubicBezTo>
                    <a:pt x="18600" y="14534"/>
                    <a:pt x="19200" y="14123"/>
                    <a:pt x="19050" y="14123"/>
                  </a:cubicBezTo>
                  <a:cubicBezTo>
                    <a:pt x="18900" y="13917"/>
                    <a:pt x="18300" y="14740"/>
                    <a:pt x="18000" y="14534"/>
                  </a:cubicBezTo>
                  <a:cubicBezTo>
                    <a:pt x="18000" y="14534"/>
                    <a:pt x="18450" y="13917"/>
                    <a:pt x="18300" y="13917"/>
                  </a:cubicBezTo>
                  <a:cubicBezTo>
                    <a:pt x="18150" y="13917"/>
                    <a:pt x="18000" y="14329"/>
                    <a:pt x="17850" y="14123"/>
                  </a:cubicBezTo>
                  <a:cubicBezTo>
                    <a:pt x="17700" y="13917"/>
                    <a:pt x="17550" y="13917"/>
                    <a:pt x="17400" y="13712"/>
                  </a:cubicBezTo>
                  <a:cubicBezTo>
                    <a:pt x="17250" y="13506"/>
                    <a:pt x="17100" y="13300"/>
                    <a:pt x="16950" y="13506"/>
                  </a:cubicBezTo>
                  <a:cubicBezTo>
                    <a:pt x="16950" y="13712"/>
                    <a:pt x="16950" y="13712"/>
                    <a:pt x="16950" y="13917"/>
                  </a:cubicBezTo>
                  <a:cubicBezTo>
                    <a:pt x="16950" y="13917"/>
                    <a:pt x="16800" y="13917"/>
                    <a:pt x="16800" y="13917"/>
                  </a:cubicBezTo>
                  <a:cubicBezTo>
                    <a:pt x="16800" y="14123"/>
                    <a:pt x="17400" y="14534"/>
                    <a:pt x="16800" y="14534"/>
                  </a:cubicBezTo>
                  <a:cubicBezTo>
                    <a:pt x="16650" y="14534"/>
                    <a:pt x="16050" y="14329"/>
                    <a:pt x="16200" y="14123"/>
                  </a:cubicBezTo>
                  <a:cubicBezTo>
                    <a:pt x="16050" y="14534"/>
                    <a:pt x="16650" y="14946"/>
                    <a:pt x="16800" y="15152"/>
                  </a:cubicBezTo>
                  <a:cubicBezTo>
                    <a:pt x="17100" y="15152"/>
                    <a:pt x="17100" y="15769"/>
                    <a:pt x="17250" y="15974"/>
                  </a:cubicBezTo>
                  <a:cubicBezTo>
                    <a:pt x="17400" y="16180"/>
                    <a:pt x="17400" y="16386"/>
                    <a:pt x="17550" y="16386"/>
                  </a:cubicBezTo>
                  <a:cubicBezTo>
                    <a:pt x="17700" y="16386"/>
                    <a:pt x="17550" y="16180"/>
                    <a:pt x="17700" y="16180"/>
                  </a:cubicBezTo>
                  <a:cubicBezTo>
                    <a:pt x="17700" y="16180"/>
                    <a:pt x="17850" y="16386"/>
                    <a:pt x="17850" y="16592"/>
                  </a:cubicBezTo>
                  <a:cubicBezTo>
                    <a:pt x="18000" y="16797"/>
                    <a:pt x="18000" y="16592"/>
                    <a:pt x="18150" y="16386"/>
                  </a:cubicBezTo>
                  <a:cubicBezTo>
                    <a:pt x="18300" y="16386"/>
                    <a:pt x="18150" y="17209"/>
                    <a:pt x="18300" y="17003"/>
                  </a:cubicBezTo>
                  <a:cubicBezTo>
                    <a:pt x="18450" y="17003"/>
                    <a:pt x="18300" y="16797"/>
                    <a:pt x="18450" y="16592"/>
                  </a:cubicBezTo>
                  <a:cubicBezTo>
                    <a:pt x="18450" y="16592"/>
                    <a:pt x="18450" y="17003"/>
                    <a:pt x="18450" y="17209"/>
                  </a:cubicBezTo>
                  <a:cubicBezTo>
                    <a:pt x="18450" y="17414"/>
                    <a:pt x="18450" y="17414"/>
                    <a:pt x="18600" y="17620"/>
                  </a:cubicBezTo>
                  <a:cubicBezTo>
                    <a:pt x="18750" y="17620"/>
                    <a:pt x="18900" y="17826"/>
                    <a:pt x="18900" y="18032"/>
                  </a:cubicBezTo>
                  <a:cubicBezTo>
                    <a:pt x="19050" y="18032"/>
                    <a:pt x="19200" y="18854"/>
                    <a:pt x="19200" y="18854"/>
                  </a:cubicBezTo>
                  <a:cubicBezTo>
                    <a:pt x="19050" y="18649"/>
                    <a:pt x="19050" y="18443"/>
                    <a:pt x="19050" y="18443"/>
                  </a:cubicBezTo>
                  <a:cubicBezTo>
                    <a:pt x="18900" y="18443"/>
                    <a:pt x="19050" y="19266"/>
                    <a:pt x="19050" y="19266"/>
                  </a:cubicBezTo>
                  <a:cubicBezTo>
                    <a:pt x="19050" y="19266"/>
                    <a:pt x="18750" y="18443"/>
                    <a:pt x="18600" y="18237"/>
                  </a:cubicBezTo>
                  <a:cubicBezTo>
                    <a:pt x="18600" y="18237"/>
                    <a:pt x="18750" y="19060"/>
                    <a:pt x="18900" y="19266"/>
                  </a:cubicBezTo>
                  <a:cubicBezTo>
                    <a:pt x="18900" y="19883"/>
                    <a:pt x="18600" y="19266"/>
                    <a:pt x="18600" y="19472"/>
                  </a:cubicBezTo>
                  <a:cubicBezTo>
                    <a:pt x="18450" y="19677"/>
                    <a:pt x="19200" y="20089"/>
                    <a:pt x="19200" y="20294"/>
                  </a:cubicBezTo>
                  <a:cubicBezTo>
                    <a:pt x="19200" y="20500"/>
                    <a:pt x="17850" y="19266"/>
                    <a:pt x="17700" y="19266"/>
                  </a:cubicBezTo>
                  <a:cubicBezTo>
                    <a:pt x="17700" y="19266"/>
                    <a:pt x="17700" y="19472"/>
                    <a:pt x="17700" y="19472"/>
                  </a:cubicBezTo>
                  <a:cubicBezTo>
                    <a:pt x="17700" y="19677"/>
                    <a:pt x="17400" y="18854"/>
                    <a:pt x="17250" y="18854"/>
                  </a:cubicBezTo>
                  <a:cubicBezTo>
                    <a:pt x="17250" y="18854"/>
                    <a:pt x="17400" y="19266"/>
                    <a:pt x="17400" y="19266"/>
                  </a:cubicBezTo>
                  <a:cubicBezTo>
                    <a:pt x="17250" y="19472"/>
                    <a:pt x="16950" y="18649"/>
                    <a:pt x="16800" y="18443"/>
                  </a:cubicBezTo>
                  <a:cubicBezTo>
                    <a:pt x="16650" y="18237"/>
                    <a:pt x="16650" y="18649"/>
                    <a:pt x="16500" y="18854"/>
                  </a:cubicBezTo>
                  <a:cubicBezTo>
                    <a:pt x="16500" y="19060"/>
                    <a:pt x="16200" y="18237"/>
                    <a:pt x="16200" y="18237"/>
                  </a:cubicBezTo>
                  <a:cubicBezTo>
                    <a:pt x="16200" y="18237"/>
                    <a:pt x="15750" y="18237"/>
                    <a:pt x="15750" y="18237"/>
                  </a:cubicBezTo>
                  <a:cubicBezTo>
                    <a:pt x="15750" y="18443"/>
                    <a:pt x="15900" y="18649"/>
                    <a:pt x="16050" y="18649"/>
                  </a:cubicBezTo>
                  <a:cubicBezTo>
                    <a:pt x="16200" y="18854"/>
                    <a:pt x="16200" y="18854"/>
                    <a:pt x="16350" y="19060"/>
                  </a:cubicBezTo>
                  <a:cubicBezTo>
                    <a:pt x="16500" y="19266"/>
                    <a:pt x="16800" y="19472"/>
                    <a:pt x="17100" y="19677"/>
                  </a:cubicBezTo>
                  <a:cubicBezTo>
                    <a:pt x="17400" y="20089"/>
                    <a:pt x="17550" y="20294"/>
                    <a:pt x="17700" y="20706"/>
                  </a:cubicBezTo>
                  <a:cubicBezTo>
                    <a:pt x="18000" y="21323"/>
                    <a:pt x="18000" y="21323"/>
                    <a:pt x="17550" y="21117"/>
                  </a:cubicBezTo>
                  <a:cubicBezTo>
                    <a:pt x="16950" y="20706"/>
                    <a:pt x="15900" y="20912"/>
                    <a:pt x="15450" y="20089"/>
                  </a:cubicBezTo>
                  <a:cubicBezTo>
                    <a:pt x="15300" y="19677"/>
                    <a:pt x="14850" y="20089"/>
                    <a:pt x="14550" y="19677"/>
                  </a:cubicBezTo>
                  <a:cubicBezTo>
                    <a:pt x="14400" y="19472"/>
                    <a:pt x="13500" y="19060"/>
                    <a:pt x="13500" y="18854"/>
                  </a:cubicBezTo>
                  <a:cubicBezTo>
                    <a:pt x="13500" y="18649"/>
                    <a:pt x="13950" y="18854"/>
                    <a:pt x="13950" y="18649"/>
                  </a:cubicBezTo>
                  <a:cubicBezTo>
                    <a:pt x="14100" y="18443"/>
                    <a:pt x="13650" y="18237"/>
                    <a:pt x="13650" y="18237"/>
                  </a:cubicBezTo>
                  <a:cubicBezTo>
                    <a:pt x="13200" y="18032"/>
                    <a:pt x="12900" y="17620"/>
                    <a:pt x="12600" y="17414"/>
                  </a:cubicBezTo>
                  <a:cubicBezTo>
                    <a:pt x="12450" y="17209"/>
                    <a:pt x="12600" y="17003"/>
                    <a:pt x="12300" y="17003"/>
                  </a:cubicBezTo>
                  <a:cubicBezTo>
                    <a:pt x="12300" y="16797"/>
                    <a:pt x="11550" y="16797"/>
                    <a:pt x="11550" y="16797"/>
                  </a:cubicBezTo>
                  <a:cubicBezTo>
                    <a:pt x="11550" y="17003"/>
                    <a:pt x="11700" y="16592"/>
                    <a:pt x="11550" y="167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2" name="Shape 1971">
              <a:extLst>
                <a:ext uri="{FF2B5EF4-FFF2-40B4-BE49-F238E27FC236}">
                  <a16:creationId xmlns:a16="http://schemas.microsoft.com/office/drawing/2014/main" id="{0B406BFC-FAEC-791C-1653-2D7C9C565233}"/>
                </a:ext>
              </a:extLst>
            </p:cNvPr>
            <p:cNvSpPr/>
            <p:nvPr/>
          </p:nvSpPr>
          <p:spPr>
            <a:xfrm>
              <a:off x="3176738" y="1353293"/>
              <a:ext cx="29200" cy="8634"/>
            </a:xfrm>
            <a:custGeom>
              <a:avLst/>
              <a:gdLst/>
              <a:ahLst/>
              <a:cxnLst>
                <a:cxn ang="0">
                  <a:pos x="wd2" y="hd2"/>
                </a:cxn>
                <a:cxn ang="5400000">
                  <a:pos x="wd2" y="hd2"/>
                </a:cxn>
                <a:cxn ang="10800000">
                  <a:pos x="wd2" y="hd2"/>
                </a:cxn>
                <a:cxn ang="16200000">
                  <a:pos x="wd2" y="hd2"/>
                </a:cxn>
              </a:cxnLst>
              <a:rect l="0" t="0" r="r" b="b"/>
              <a:pathLst>
                <a:path w="15591" h="13824" extrusionOk="0">
                  <a:moveTo>
                    <a:pt x="14876" y="10800"/>
                  </a:moveTo>
                  <a:cubicBezTo>
                    <a:pt x="14876" y="21600"/>
                    <a:pt x="-3124" y="0"/>
                    <a:pt x="476" y="0"/>
                  </a:cubicBezTo>
                  <a:cubicBezTo>
                    <a:pt x="7676" y="0"/>
                    <a:pt x="18476" y="0"/>
                    <a:pt x="14876"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3" name="Shape 1972">
              <a:extLst>
                <a:ext uri="{FF2B5EF4-FFF2-40B4-BE49-F238E27FC236}">
                  <a16:creationId xmlns:a16="http://schemas.microsoft.com/office/drawing/2014/main" id="{AB81D62B-924A-1238-3811-AC6E6562F539}"/>
                </a:ext>
              </a:extLst>
            </p:cNvPr>
            <p:cNvSpPr/>
            <p:nvPr/>
          </p:nvSpPr>
          <p:spPr>
            <a:xfrm>
              <a:off x="3059491" y="1063302"/>
              <a:ext cx="42478" cy="13489"/>
            </a:xfrm>
            <a:custGeom>
              <a:avLst/>
              <a:gdLst/>
              <a:ahLst/>
              <a:cxnLst>
                <a:cxn ang="0">
                  <a:pos x="wd2" y="hd2"/>
                </a:cxn>
                <a:cxn ang="5400000">
                  <a:pos x="wd2" y="hd2"/>
                </a:cxn>
                <a:cxn ang="10800000">
                  <a:pos x="wd2" y="hd2"/>
                </a:cxn>
                <a:cxn ang="16200000">
                  <a:pos x="wd2" y="hd2"/>
                </a:cxn>
              </a:cxnLst>
              <a:rect l="0" t="0" r="r" b="b"/>
              <a:pathLst>
                <a:path w="17011" h="21600" extrusionOk="0">
                  <a:moveTo>
                    <a:pt x="15811" y="10800"/>
                  </a:moveTo>
                  <a:cubicBezTo>
                    <a:pt x="18511" y="21600"/>
                    <a:pt x="5011" y="21600"/>
                    <a:pt x="2311" y="21600"/>
                  </a:cubicBezTo>
                  <a:cubicBezTo>
                    <a:pt x="-3089" y="10800"/>
                    <a:pt x="2311" y="0"/>
                    <a:pt x="5011" y="0"/>
                  </a:cubicBezTo>
                  <a:cubicBezTo>
                    <a:pt x="10411" y="0"/>
                    <a:pt x="15811" y="0"/>
                    <a:pt x="15811" y="10800"/>
                  </a:cubicBezTo>
                  <a:cubicBezTo>
                    <a:pt x="18511" y="21600"/>
                    <a:pt x="15811" y="0"/>
                    <a:pt x="15811"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4" name="Shape 1973">
              <a:extLst>
                <a:ext uri="{FF2B5EF4-FFF2-40B4-BE49-F238E27FC236}">
                  <a16:creationId xmlns:a16="http://schemas.microsoft.com/office/drawing/2014/main" id="{BB5E7A2C-327C-0769-4276-200BBC71D52D}"/>
                </a:ext>
              </a:extLst>
            </p:cNvPr>
            <p:cNvSpPr/>
            <p:nvPr/>
          </p:nvSpPr>
          <p:spPr>
            <a:xfrm>
              <a:off x="2977090" y="1049813"/>
              <a:ext cx="68723" cy="60450"/>
            </a:xfrm>
            <a:custGeom>
              <a:avLst/>
              <a:gdLst/>
              <a:ahLst/>
              <a:cxnLst>
                <a:cxn ang="0">
                  <a:pos x="wd2" y="hd2"/>
                </a:cxn>
                <a:cxn ang="5400000">
                  <a:pos x="wd2" y="hd2"/>
                </a:cxn>
                <a:cxn ang="10800000">
                  <a:pos x="wd2" y="hd2"/>
                </a:cxn>
                <a:cxn ang="16200000">
                  <a:pos x="wd2" y="hd2"/>
                </a:cxn>
              </a:cxnLst>
              <a:rect l="0" t="0" r="r" b="b"/>
              <a:pathLst>
                <a:path w="18871" h="20029" extrusionOk="0">
                  <a:moveTo>
                    <a:pt x="16909" y="15120"/>
                  </a:moveTo>
                  <a:cubicBezTo>
                    <a:pt x="13309" y="17280"/>
                    <a:pt x="9709" y="21600"/>
                    <a:pt x="4309" y="19440"/>
                  </a:cubicBezTo>
                  <a:cubicBezTo>
                    <a:pt x="-1091" y="15120"/>
                    <a:pt x="-1091" y="8640"/>
                    <a:pt x="2509" y="4320"/>
                  </a:cubicBezTo>
                  <a:cubicBezTo>
                    <a:pt x="4309" y="0"/>
                    <a:pt x="11509" y="0"/>
                    <a:pt x="15109" y="0"/>
                  </a:cubicBezTo>
                  <a:cubicBezTo>
                    <a:pt x="18709" y="0"/>
                    <a:pt x="20509" y="10800"/>
                    <a:pt x="16909" y="15120"/>
                  </a:cubicBezTo>
                  <a:cubicBezTo>
                    <a:pt x="15109" y="17280"/>
                    <a:pt x="20509" y="12960"/>
                    <a:pt x="16909" y="1512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5" name="Shape 1974">
              <a:extLst>
                <a:ext uri="{FF2B5EF4-FFF2-40B4-BE49-F238E27FC236}">
                  <a16:creationId xmlns:a16="http://schemas.microsoft.com/office/drawing/2014/main" id="{5CCBF5AE-E763-B146-D6C3-8A81B9B2C615}"/>
                </a:ext>
              </a:extLst>
            </p:cNvPr>
            <p:cNvSpPr/>
            <p:nvPr/>
          </p:nvSpPr>
          <p:spPr>
            <a:xfrm>
              <a:off x="2906600" y="991365"/>
              <a:ext cx="30208" cy="24729"/>
            </a:xfrm>
            <a:custGeom>
              <a:avLst/>
              <a:gdLst/>
              <a:ahLst/>
              <a:cxnLst>
                <a:cxn ang="0">
                  <a:pos x="wd2" y="hd2"/>
                </a:cxn>
                <a:cxn ang="5400000">
                  <a:pos x="wd2" y="hd2"/>
                </a:cxn>
                <a:cxn ang="10800000">
                  <a:pos x="wd2" y="hd2"/>
                </a:cxn>
                <a:cxn ang="16200000">
                  <a:pos x="wd2" y="hd2"/>
                </a:cxn>
              </a:cxnLst>
              <a:rect l="0" t="0" r="r" b="b"/>
              <a:pathLst>
                <a:path w="14516" h="21600" extrusionOk="0">
                  <a:moveTo>
                    <a:pt x="491" y="21600"/>
                  </a:moveTo>
                  <a:cubicBezTo>
                    <a:pt x="-2595" y="21600"/>
                    <a:pt x="9748" y="0"/>
                    <a:pt x="12834" y="0"/>
                  </a:cubicBezTo>
                  <a:cubicBezTo>
                    <a:pt x="19005" y="5400"/>
                    <a:pt x="6662" y="21600"/>
                    <a:pt x="491"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6" name="Shape 1975">
              <a:extLst>
                <a:ext uri="{FF2B5EF4-FFF2-40B4-BE49-F238E27FC236}">
                  <a16:creationId xmlns:a16="http://schemas.microsoft.com/office/drawing/2014/main" id="{29D75297-2366-5444-512A-2F203656788C}"/>
                </a:ext>
              </a:extLst>
            </p:cNvPr>
            <p:cNvSpPr/>
            <p:nvPr/>
          </p:nvSpPr>
          <p:spPr>
            <a:xfrm>
              <a:off x="2973868" y="989988"/>
              <a:ext cx="19623" cy="14864"/>
            </a:xfrm>
            <a:custGeom>
              <a:avLst/>
              <a:gdLst/>
              <a:ahLst/>
              <a:cxnLst>
                <a:cxn ang="0">
                  <a:pos x="wd2" y="hd2"/>
                </a:cxn>
                <a:cxn ang="5400000">
                  <a:pos x="wd2" y="hd2"/>
                </a:cxn>
                <a:cxn ang="10800000">
                  <a:pos x="wd2" y="hd2"/>
                </a:cxn>
                <a:cxn ang="16200000">
                  <a:pos x="wd2" y="hd2"/>
                </a:cxn>
              </a:cxnLst>
              <a:rect l="0" t="0" r="r" b="b"/>
              <a:pathLst>
                <a:path w="10478" h="15869" extrusionOk="0">
                  <a:moveTo>
                    <a:pt x="3200" y="15869"/>
                  </a:moveTo>
                  <a:cubicBezTo>
                    <a:pt x="3200" y="15869"/>
                    <a:pt x="-4000" y="1469"/>
                    <a:pt x="3200" y="1469"/>
                  </a:cubicBezTo>
                  <a:cubicBezTo>
                    <a:pt x="6800" y="-5731"/>
                    <a:pt x="17600" y="15869"/>
                    <a:pt x="3200" y="1586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7" name="Shape 1976">
              <a:extLst>
                <a:ext uri="{FF2B5EF4-FFF2-40B4-BE49-F238E27FC236}">
                  <a16:creationId xmlns:a16="http://schemas.microsoft.com/office/drawing/2014/main" id="{259157CF-2513-23E9-43C1-445B62B15985}"/>
                </a:ext>
              </a:extLst>
            </p:cNvPr>
            <p:cNvSpPr/>
            <p:nvPr/>
          </p:nvSpPr>
          <p:spPr>
            <a:xfrm>
              <a:off x="2928169" y="971133"/>
              <a:ext cx="26422" cy="9539"/>
            </a:xfrm>
            <a:custGeom>
              <a:avLst/>
              <a:gdLst/>
              <a:ahLst/>
              <a:cxnLst>
                <a:cxn ang="0">
                  <a:pos x="wd2" y="hd2"/>
                </a:cxn>
                <a:cxn ang="5400000">
                  <a:pos x="wd2" y="hd2"/>
                </a:cxn>
                <a:cxn ang="10800000">
                  <a:pos x="wd2" y="hd2"/>
                </a:cxn>
                <a:cxn ang="16200000">
                  <a:pos x="wd2" y="hd2"/>
                </a:cxn>
              </a:cxnLst>
              <a:rect l="0" t="0" r="r" b="b"/>
              <a:pathLst>
                <a:path w="18138" h="15274" extrusionOk="0">
                  <a:moveTo>
                    <a:pt x="0" y="10800"/>
                  </a:moveTo>
                  <a:cubicBezTo>
                    <a:pt x="8640" y="21600"/>
                    <a:pt x="21600" y="10800"/>
                    <a:pt x="17280" y="0"/>
                  </a:cubicBezTo>
                  <a:cubicBezTo>
                    <a:pt x="8640" y="0"/>
                    <a:pt x="0" y="10800"/>
                    <a:pt x="0"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8" name="Shape 1977">
              <a:extLst>
                <a:ext uri="{FF2B5EF4-FFF2-40B4-BE49-F238E27FC236}">
                  <a16:creationId xmlns:a16="http://schemas.microsoft.com/office/drawing/2014/main" id="{E92DD3B8-B0EA-405B-26D4-9BF0511326B4}"/>
                </a:ext>
              </a:extLst>
            </p:cNvPr>
            <p:cNvSpPr/>
            <p:nvPr/>
          </p:nvSpPr>
          <p:spPr>
            <a:xfrm>
              <a:off x="2854879" y="724213"/>
              <a:ext cx="160180" cy="63659"/>
            </a:xfrm>
            <a:custGeom>
              <a:avLst/>
              <a:gdLst/>
              <a:ahLst/>
              <a:cxnLst>
                <a:cxn ang="0">
                  <a:pos x="wd2" y="hd2"/>
                </a:cxn>
                <a:cxn ang="5400000">
                  <a:pos x="wd2" y="hd2"/>
                </a:cxn>
                <a:cxn ang="10800000">
                  <a:pos x="wd2" y="hd2"/>
                </a:cxn>
                <a:cxn ang="16200000">
                  <a:pos x="wd2" y="hd2"/>
                </a:cxn>
              </a:cxnLst>
              <a:rect l="0" t="0" r="r" b="b"/>
              <a:pathLst>
                <a:path w="19993" h="18535" extrusionOk="0">
                  <a:moveTo>
                    <a:pt x="19818" y="16259"/>
                  </a:moveTo>
                  <a:cubicBezTo>
                    <a:pt x="17326" y="16259"/>
                    <a:pt x="15664" y="14295"/>
                    <a:pt x="14003" y="14295"/>
                  </a:cubicBezTo>
                  <a:cubicBezTo>
                    <a:pt x="11511" y="14295"/>
                    <a:pt x="9849" y="18222"/>
                    <a:pt x="7357" y="18222"/>
                  </a:cubicBezTo>
                  <a:cubicBezTo>
                    <a:pt x="4864" y="20186"/>
                    <a:pt x="4034" y="12331"/>
                    <a:pt x="1541" y="10368"/>
                  </a:cubicBezTo>
                  <a:cubicBezTo>
                    <a:pt x="711" y="8404"/>
                    <a:pt x="-951" y="4477"/>
                    <a:pt x="711" y="550"/>
                  </a:cubicBezTo>
                  <a:cubicBezTo>
                    <a:pt x="1541" y="-1414"/>
                    <a:pt x="4864" y="2513"/>
                    <a:pt x="5695" y="2513"/>
                  </a:cubicBezTo>
                  <a:cubicBezTo>
                    <a:pt x="8187" y="4477"/>
                    <a:pt x="10680" y="550"/>
                    <a:pt x="13172" y="2513"/>
                  </a:cubicBezTo>
                  <a:cubicBezTo>
                    <a:pt x="14834" y="2513"/>
                    <a:pt x="15664" y="6441"/>
                    <a:pt x="17326" y="8404"/>
                  </a:cubicBezTo>
                  <a:cubicBezTo>
                    <a:pt x="17326" y="10368"/>
                    <a:pt x="19818" y="16259"/>
                    <a:pt x="19818" y="16259"/>
                  </a:cubicBezTo>
                  <a:cubicBezTo>
                    <a:pt x="18157" y="16259"/>
                    <a:pt x="20649" y="16259"/>
                    <a:pt x="19818" y="1625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59" name="Shape 1978">
              <a:extLst>
                <a:ext uri="{FF2B5EF4-FFF2-40B4-BE49-F238E27FC236}">
                  <a16:creationId xmlns:a16="http://schemas.microsoft.com/office/drawing/2014/main" id="{4FBCB99D-D932-7247-43B1-C666490672A2}"/>
                </a:ext>
              </a:extLst>
            </p:cNvPr>
            <p:cNvSpPr/>
            <p:nvPr/>
          </p:nvSpPr>
          <p:spPr>
            <a:xfrm>
              <a:off x="1298049" y="1915291"/>
              <a:ext cx="173764" cy="111527"/>
            </a:xfrm>
            <a:custGeom>
              <a:avLst/>
              <a:gdLst/>
              <a:ahLst/>
              <a:cxnLst>
                <a:cxn ang="0">
                  <a:pos x="wd2" y="hd2"/>
                </a:cxn>
                <a:cxn ang="5400000">
                  <a:pos x="wd2" y="hd2"/>
                </a:cxn>
                <a:cxn ang="10800000">
                  <a:pos x="wd2" y="hd2"/>
                </a:cxn>
                <a:cxn ang="16200000">
                  <a:pos x="wd2" y="hd2"/>
                </a:cxn>
              </a:cxnLst>
              <a:rect l="0" t="0" r="r" b="b"/>
              <a:pathLst>
                <a:path w="19648" h="19136" extrusionOk="0">
                  <a:moveTo>
                    <a:pt x="19432" y="18189"/>
                  </a:moveTo>
                  <a:cubicBezTo>
                    <a:pt x="18688" y="17053"/>
                    <a:pt x="17943" y="14779"/>
                    <a:pt x="17198" y="13642"/>
                  </a:cubicBezTo>
                  <a:cubicBezTo>
                    <a:pt x="16453" y="11368"/>
                    <a:pt x="14963" y="11368"/>
                    <a:pt x="13474" y="11368"/>
                  </a:cubicBezTo>
                  <a:cubicBezTo>
                    <a:pt x="11984" y="9095"/>
                    <a:pt x="11984" y="4547"/>
                    <a:pt x="9750" y="3411"/>
                  </a:cubicBezTo>
                  <a:cubicBezTo>
                    <a:pt x="9005" y="3411"/>
                    <a:pt x="6770" y="3411"/>
                    <a:pt x="5281" y="2274"/>
                  </a:cubicBezTo>
                  <a:cubicBezTo>
                    <a:pt x="4536" y="1137"/>
                    <a:pt x="3046" y="0"/>
                    <a:pt x="812" y="0"/>
                  </a:cubicBezTo>
                  <a:cubicBezTo>
                    <a:pt x="-678" y="0"/>
                    <a:pt x="67" y="2274"/>
                    <a:pt x="1556" y="2274"/>
                  </a:cubicBezTo>
                  <a:cubicBezTo>
                    <a:pt x="2301" y="2274"/>
                    <a:pt x="2301" y="2274"/>
                    <a:pt x="3046" y="3411"/>
                  </a:cubicBezTo>
                  <a:cubicBezTo>
                    <a:pt x="3046" y="3411"/>
                    <a:pt x="3791" y="4547"/>
                    <a:pt x="3791" y="4547"/>
                  </a:cubicBezTo>
                  <a:cubicBezTo>
                    <a:pt x="3046" y="4547"/>
                    <a:pt x="2301" y="3411"/>
                    <a:pt x="2301" y="2274"/>
                  </a:cubicBezTo>
                  <a:cubicBezTo>
                    <a:pt x="2301" y="2274"/>
                    <a:pt x="2301" y="4547"/>
                    <a:pt x="2301" y="4547"/>
                  </a:cubicBezTo>
                  <a:cubicBezTo>
                    <a:pt x="2301" y="6821"/>
                    <a:pt x="3791" y="6821"/>
                    <a:pt x="4536" y="6821"/>
                  </a:cubicBezTo>
                  <a:cubicBezTo>
                    <a:pt x="4536" y="6821"/>
                    <a:pt x="8260" y="10232"/>
                    <a:pt x="8260" y="10232"/>
                  </a:cubicBezTo>
                  <a:cubicBezTo>
                    <a:pt x="8260" y="10232"/>
                    <a:pt x="7515" y="10232"/>
                    <a:pt x="6770" y="11368"/>
                  </a:cubicBezTo>
                  <a:cubicBezTo>
                    <a:pt x="6770" y="11368"/>
                    <a:pt x="9750" y="11368"/>
                    <a:pt x="9750" y="11368"/>
                  </a:cubicBezTo>
                  <a:cubicBezTo>
                    <a:pt x="11239" y="12505"/>
                    <a:pt x="9750" y="13642"/>
                    <a:pt x="9750" y="13642"/>
                  </a:cubicBezTo>
                  <a:cubicBezTo>
                    <a:pt x="10494" y="14779"/>
                    <a:pt x="12729" y="13642"/>
                    <a:pt x="13474" y="13642"/>
                  </a:cubicBezTo>
                  <a:cubicBezTo>
                    <a:pt x="9750" y="14779"/>
                    <a:pt x="20922" y="21600"/>
                    <a:pt x="19432" y="18189"/>
                  </a:cubicBezTo>
                  <a:cubicBezTo>
                    <a:pt x="18688" y="17053"/>
                    <a:pt x="20177" y="20463"/>
                    <a:pt x="19432" y="1818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0" name="Shape 1979">
              <a:extLst>
                <a:ext uri="{FF2B5EF4-FFF2-40B4-BE49-F238E27FC236}">
                  <a16:creationId xmlns:a16="http://schemas.microsoft.com/office/drawing/2014/main" id="{6281297A-24B4-D448-F1F3-EEE42C85C01E}"/>
                </a:ext>
              </a:extLst>
            </p:cNvPr>
            <p:cNvSpPr/>
            <p:nvPr/>
          </p:nvSpPr>
          <p:spPr>
            <a:xfrm>
              <a:off x="1146260" y="1769171"/>
              <a:ext cx="70685" cy="92169"/>
            </a:xfrm>
            <a:custGeom>
              <a:avLst/>
              <a:gdLst/>
              <a:ahLst/>
              <a:cxnLst>
                <a:cxn ang="0">
                  <a:pos x="wd2" y="hd2"/>
                </a:cxn>
                <a:cxn ang="5400000">
                  <a:pos x="wd2" y="hd2"/>
                </a:cxn>
                <a:cxn ang="10800000">
                  <a:pos x="wd2" y="hd2"/>
                </a:cxn>
                <a:cxn ang="16200000">
                  <a:pos x="wd2" y="hd2"/>
                </a:cxn>
              </a:cxnLst>
              <a:rect l="0" t="0" r="r" b="b"/>
              <a:pathLst>
                <a:path w="17878" h="21600" extrusionOk="0">
                  <a:moveTo>
                    <a:pt x="17068" y="21600"/>
                  </a:moveTo>
                  <a:cubicBezTo>
                    <a:pt x="17068" y="21600"/>
                    <a:pt x="17068" y="21600"/>
                    <a:pt x="17068" y="21600"/>
                  </a:cubicBezTo>
                  <a:cubicBezTo>
                    <a:pt x="17068" y="20057"/>
                    <a:pt x="13745" y="16971"/>
                    <a:pt x="12083" y="16971"/>
                  </a:cubicBezTo>
                  <a:cubicBezTo>
                    <a:pt x="10422" y="13886"/>
                    <a:pt x="12083" y="12343"/>
                    <a:pt x="10422" y="10800"/>
                  </a:cubicBezTo>
                  <a:cubicBezTo>
                    <a:pt x="8760" y="9257"/>
                    <a:pt x="8760" y="9257"/>
                    <a:pt x="8760" y="7714"/>
                  </a:cubicBezTo>
                  <a:cubicBezTo>
                    <a:pt x="7099" y="4629"/>
                    <a:pt x="8760" y="4629"/>
                    <a:pt x="10422" y="3086"/>
                  </a:cubicBezTo>
                  <a:cubicBezTo>
                    <a:pt x="13745" y="0"/>
                    <a:pt x="3776" y="4629"/>
                    <a:pt x="5437" y="6171"/>
                  </a:cubicBezTo>
                  <a:cubicBezTo>
                    <a:pt x="3776" y="4629"/>
                    <a:pt x="8760" y="1543"/>
                    <a:pt x="8760" y="1543"/>
                  </a:cubicBezTo>
                  <a:cubicBezTo>
                    <a:pt x="7099" y="0"/>
                    <a:pt x="453" y="0"/>
                    <a:pt x="453" y="0"/>
                  </a:cubicBezTo>
                  <a:cubicBezTo>
                    <a:pt x="-1209" y="1543"/>
                    <a:pt x="2114" y="7714"/>
                    <a:pt x="3776" y="9257"/>
                  </a:cubicBezTo>
                  <a:cubicBezTo>
                    <a:pt x="7099" y="12343"/>
                    <a:pt x="12083" y="20057"/>
                    <a:pt x="17068" y="21600"/>
                  </a:cubicBezTo>
                  <a:cubicBezTo>
                    <a:pt x="20391" y="21600"/>
                    <a:pt x="12083" y="20057"/>
                    <a:pt x="17068"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1" name="Shape 1980">
              <a:extLst>
                <a:ext uri="{FF2B5EF4-FFF2-40B4-BE49-F238E27FC236}">
                  <a16:creationId xmlns:a16="http://schemas.microsoft.com/office/drawing/2014/main" id="{31F8AB84-639D-DED4-80AA-2E5667CC4DEA}"/>
                </a:ext>
              </a:extLst>
            </p:cNvPr>
            <p:cNvSpPr/>
            <p:nvPr/>
          </p:nvSpPr>
          <p:spPr>
            <a:xfrm>
              <a:off x="1155939" y="1668882"/>
              <a:ext cx="15306" cy="16812"/>
            </a:xfrm>
            <a:custGeom>
              <a:avLst/>
              <a:gdLst/>
              <a:ahLst/>
              <a:cxnLst>
                <a:cxn ang="0">
                  <a:pos x="wd2" y="hd2"/>
                </a:cxn>
                <a:cxn ang="5400000">
                  <a:pos x="wd2" y="hd2"/>
                </a:cxn>
                <a:cxn ang="10800000">
                  <a:pos x="wd2" y="hd2"/>
                </a:cxn>
                <a:cxn ang="16200000">
                  <a:pos x="wd2" y="hd2"/>
                </a:cxn>
              </a:cxnLst>
              <a:rect l="0" t="0" r="r" b="b"/>
              <a:pathLst>
                <a:path w="12258" h="13461" extrusionOk="0">
                  <a:moveTo>
                    <a:pt x="10021" y="11902"/>
                  </a:moveTo>
                  <a:cubicBezTo>
                    <a:pt x="4621" y="6502"/>
                    <a:pt x="-6179" y="6502"/>
                    <a:pt x="4621" y="1102"/>
                  </a:cubicBezTo>
                  <a:cubicBezTo>
                    <a:pt x="10021" y="-4298"/>
                    <a:pt x="15421" y="11902"/>
                    <a:pt x="10021" y="11902"/>
                  </a:cubicBezTo>
                  <a:cubicBezTo>
                    <a:pt x="10021" y="11902"/>
                    <a:pt x="10021" y="11902"/>
                    <a:pt x="10021" y="11902"/>
                  </a:cubicBezTo>
                  <a:cubicBezTo>
                    <a:pt x="4621" y="6502"/>
                    <a:pt x="15421" y="17302"/>
                    <a:pt x="10021" y="119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2" name="Shape 1981">
              <a:extLst>
                <a:ext uri="{FF2B5EF4-FFF2-40B4-BE49-F238E27FC236}">
                  <a16:creationId xmlns:a16="http://schemas.microsoft.com/office/drawing/2014/main" id="{15B2B592-5D21-2EB2-0DD0-34B092518CE8}"/>
                </a:ext>
              </a:extLst>
            </p:cNvPr>
            <p:cNvSpPr/>
            <p:nvPr/>
          </p:nvSpPr>
          <p:spPr>
            <a:xfrm>
              <a:off x="1114511" y="1636630"/>
              <a:ext cx="35658" cy="33630"/>
            </a:xfrm>
            <a:custGeom>
              <a:avLst/>
              <a:gdLst/>
              <a:ahLst/>
              <a:cxnLst>
                <a:cxn ang="0">
                  <a:pos x="wd2" y="hd2"/>
                </a:cxn>
                <a:cxn ang="5400000">
                  <a:pos x="wd2" y="hd2"/>
                </a:cxn>
                <a:cxn ang="10800000">
                  <a:pos x="wd2" y="hd2"/>
                </a:cxn>
                <a:cxn ang="16200000">
                  <a:pos x="wd2" y="hd2"/>
                </a:cxn>
              </a:cxnLst>
              <a:rect l="0" t="0" r="r" b="b"/>
              <a:pathLst>
                <a:path w="19039" h="19008" extrusionOk="0">
                  <a:moveTo>
                    <a:pt x="18000" y="4608"/>
                  </a:moveTo>
                  <a:cubicBezTo>
                    <a:pt x="14400" y="4608"/>
                    <a:pt x="3600" y="-2592"/>
                    <a:pt x="0" y="1008"/>
                  </a:cubicBezTo>
                  <a:cubicBezTo>
                    <a:pt x="3600" y="-2592"/>
                    <a:pt x="7200" y="11808"/>
                    <a:pt x="3600" y="8208"/>
                  </a:cubicBezTo>
                  <a:cubicBezTo>
                    <a:pt x="3600" y="11808"/>
                    <a:pt x="3600" y="15408"/>
                    <a:pt x="3600" y="19008"/>
                  </a:cubicBezTo>
                  <a:cubicBezTo>
                    <a:pt x="3600" y="15408"/>
                    <a:pt x="18000" y="11808"/>
                    <a:pt x="18000" y="15408"/>
                  </a:cubicBezTo>
                  <a:cubicBezTo>
                    <a:pt x="18000" y="11808"/>
                    <a:pt x="14400" y="11808"/>
                    <a:pt x="10800" y="8208"/>
                  </a:cubicBezTo>
                  <a:cubicBezTo>
                    <a:pt x="14400" y="11808"/>
                    <a:pt x="21600" y="4608"/>
                    <a:pt x="18000" y="4608"/>
                  </a:cubicBezTo>
                  <a:cubicBezTo>
                    <a:pt x="14400" y="4608"/>
                    <a:pt x="21600" y="4608"/>
                    <a:pt x="18000" y="46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3" name="Shape 1982">
              <a:extLst>
                <a:ext uri="{FF2B5EF4-FFF2-40B4-BE49-F238E27FC236}">
                  <a16:creationId xmlns:a16="http://schemas.microsoft.com/office/drawing/2014/main" id="{D5255863-84EE-34FD-3593-3FE7D244AAFB}"/>
                </a:ext>
              </a:extLst>
            </p:cNvPr>
            <p:cNvSpPr/>
            <p:nvPr/>
          </p:nvSpPr>
          <p:spPr>
            <a:xfrm>
              <a:off x="1103400" y="1643283"/>
              <a:ext cx="13221" cy="35096"/>
            </a:xfrm>
            <a:custGeom>
              <a:avLst/>
              <a:gdLst/>
              <a:ahLst/>
              <a:cxnLst>
                <a:cxn ang="0">
                  <a:pos x="wd2" y="hd2"/>
                </a:cxn>
                <a:cxn ang="5400000">
                  <a:pos x="wd2" y="hd2"/>
                </a:cxn>
                <a:cxn ang="10800000">
                  <a:pos x="wd2" y="hd2"/>
                </a:cxn>
                <a:cxn ang="16200000">
                  <a:pos x="wd2" y="hd2"/>
                </a:cxn>
              </a:cxnLst>
              <a:rect l="0" t="0" r="r" b="b"/>
              <a:pathLst>
                <a:path w="11550" h="18735" extrusionOk="0">
                  <a:moveTo>
                    <a:pt x="4800" y="0"/>
                  </a:moveTo>
                  <a:cubicBezTo>
                    <a:pt x="-6000" y="0"/>
                    <a:pt x="4800" y="3600"/>
                    <a:pt x="4800" y="7200"/>
                  </a:cubicBezTo>
                  <a:cubicBezTo>
                    <a:pt x="4800" y="10800"/>
                    <a:pt x="-600" y="18000"/>
                    <a:pt x="4800" y="18000"/>
                  </a:cubicBezTo>
                  <a:cubicBezTo>
                    <a:pt x="10200" y="21600"/>
                    <a:pt x="10200" y="10800"/>
                    <a:pt x="10200" y="10800"/>
                  </a:cubicBezTo>
                  <a:cubicBezTo>
                    <a:pt x="10200" y="7200"/>
                    <a:pt x="15600" y="0"/>
                    <a:pt x="48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4" name="Shape 1983">
              <a:extLst>
                <a:ext uri="{FF2B5EF4-FFF2-40B4-BE49-F238E27FC236}">
                  <a16:creationId xmlns:a16="http://schemas.microsoft.com/office/drawing/2014/main" id="{D029FFF2-A786-F211-5AE9-7410A72DCF21}"/>
                </a:ext>
              </a:extLst>
            </p:cNvPr>
            <p:cNvSpPr/>
            <p:nvPr/>
          </p:nvSpPr>
          <p:spPr>
            <a:xfrm>
              <a:off x="1061719" y="1618416"/>
              <a:ext cx="28071" cy="53934"/>
            </a:xfrm>
            <a:custGeom>
              <a:avLst/>
              <a:gdLst/>
              <a:ahLst/>
              <a:cxnLst>
                <a:cxn ang="0">
                  <a:pos x="wd2" y="hd2"/>
                </a:cxn>
                <a:cxn ang="5400000">
                  <a:pos x="wd2" y="hd2"/>
                </a:cxn>
                <a:cxn ang="10800000">
                  <a:pos x="wd2" y="hd2"/>
                </a:cxn>
                <a:cxn ang="16200000">
                  <a:pos x="wd2" y="hd2"/>
                </a:cxn>
              </a:cxnLst>
              <a:rect l="0" t="0" r="r" b="b"/>
              <a:pathLst>
                <a:path w="17986" h="16195" extrusionOk="0">
                  <a:moveTo>
                    <a:pt x="13666" y="15627"/>
                  </a:moveTo>
                  <a:cubicBezTo>
                    <a:pt x="13666" y="13664"/>
                    <a:pt x="5026" y="7773"/>
                    <a:pt x="5026" y="7773"/>
                  </a:cubicBezTo>
                  <a:cubicBezTo>
                    <a:pt x="13666" y="3846"/>
                    <a:pt x="-3614" y="3846"/>
                    <a:pt x="706" y="1882"/>
                  </a:cubicBezTo>
                  <a:cubicBezTo>
                    <a:pt x="5026" y="-4009"/>
                    <a:pt x="17986" y="5809"/>
                    <a:pt x="17986" y="5809"/>
                  </a:cubicBezTo>
                  <a:cubicBezTo>
                    <a:pt x="17986" y="7773"/>
                    <a:pt x="17986" y="17591"/>
                    <a:pt x="13666" y="15627"/>
                  </a:cubicBezTo>
                  <a:cubicBezTo>
                    <a:pt x="13666" y="13664"/>
                    <a:pt x="17986" y="17591"/>
                    <a:pt x="13666" y="1562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5" name="Shape 1984">
              <a:extLst>
                <a:ext uri="{FF2B5EF4-FFF2-40B4-BE49-F238E27FC236}">
                  <a16:creationId xmlns:a16="http://schemas.microsoft.com/office/drawing/2014/main" id="{5E1DAEDC-550B-0CD1-6365-7F92917FA903}"/>
                </a:ext>
              </a:extLst>
            </p:cNvPr>
            <p:cNvSpPr/>
            <p:nvPr/>
          </p:nvSpPr>
          <p:spPr>
            <a:xfrm>
              <a:off x="1029110" y="1582041"/>
              <a:ext cx="47196" cy="38402"/>
            </a:xfrm>
            <a:custGeom>
              <a:avLst/>
              <a:gdLst/>
              <a:ahLst/>
              <a:cxnLst>
                <a:cxn ang="0">
                  <a:pos x="wd2" y="hd2"/>
                </a:cxn>
                <a:cxn ang="5400000">
                  <a:pos x="wd2" y="hd2"/>
                </a:cxn>
                <a:cxn ang="10800000">
                  <a:pos x="wd2" y="hd2"/>
                </a:cxn>
                <a:cxn ang="16200000">
                  <a:pos x="wd2" y="hd2"/>
                </a:cxn>
              </a:cxnLst>
              <a:rect l="0" t="0" r="r" b="b"/>
              <a:pathLst>
                <a:path w="21600" h="17571" extrusionOk="0">
                  <a:moveTo>
                    <a:pt x="12343" y="16706"/>
                  </a:moveTo>
                  <a:cubicBezTo>
                    <a:pt x="6171" y="10535"/>
                    <a:pt x="3086" y="10535"/>
                    <a:pt x="6171" y="7449"/>
                  </a:cubicBezTo>
                  <a:cubicBezTo>
                    <a:pt x="6171" y="4363"/>
                    <a:pt x="0" y="4363"/>
                    <a:pt x="0" y="4363"/>
                  </a:cubicBezTo>
                  <a:cubicBezTo>
                    <a:pt x="0" y="1278"/>
                    <a:pt x="12343" y="-1808"/>
                    <a:pt x="15429" y="1278"/>
                  </a:cubicBezTo>
                  <a:cubicBezTo>
                    <a:pt x="15429" y="1278"/>
                    <a:pt x="9257" y="4363"/>
                    <a:pt x="12343" y="7449"/>
                  </a:cubicBezTo>
                  <a:cubicBezTo>
                    <a:pt x="15429" y="7449"/>
                    <a:pt x="21600" y="10535"/>
                    <a:pt x="21600" y="10535"/>
                  </a:cubicBezTo>
                  <a:cubicBezTo>
                    <a:pt x="21600" y="13621"/>
                    <a:pt x="15429" y="13621"/>
                    <a:pt x="15429" y="13621"/>
                  </a:cubicBezTo>
                  <a:cubicBezTo>
                    <a:pt x="12343" y="13621"/>
                    <a:pt x="15429" y="19792"/>
                    <a:pt x="12343" y="16706"/>
                  </a:cubicBezTo>
                  <a:cubicBezTo>
                    <a:pt x="6171" y="13621"/>
                    <a:pt x="12343" y="16706"/>
                    <a:pt x="12343" y="1670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6" name="Shape 1985">
              <a:extLst>
                <a:ext uri="{FF2B5EF4-FFF2-40B4-BE49-F238E27FC236}">
                  <a16:creationId xmlns:a16="http://schemas.microsoft.com/office/drawing/2014/main" id="{53C09546-C278-5EDC-11D1-F2B6AF2EC438}"/>
                </a:ext>
              </a:extLst>
            </p:cNvPr>
            <p:cNvSpPr/>
            <p:nvPr/>
          </p:nvSpPr>
          <p:spPr>
            <a:xfrm>
              <a:off x="1086746" y="1583476"/>
              <a:ext cx="29117" cy="50514"/>
            </a:xfrm>
            <a:custGeom>
              <a:avLst/>
              <a:gdLst/>
              <a:ahLst/>
              <a:cxnLst>
                <a:cxn ang="0">
                  <a:pos x="wd2" y="hd2"/>
                </a:cxn>
                <a:cxn ang="5400000">
                  <a:pos x="wd2" y="hd2"/>
                </a:cxn>
                <a:cxn ang="10800000">
                  <a:pos x="wd2" y="hd2"/>
                </a:cxn>
                <a:cxn ang="16200000">
                  <a:pos x="wd2" y="hd2"/>
                </a:cxn>
              </a:cxnLst>
              <a:rect l="0" t="0" r="r" b="b"/>
              <a:pathLst>
                <a:path w="13992" h="17976" extrusionOk="0">
                  <a:moveTo>
                    <a:pt x="4239" y="17283"/>
                  </a:moveTo>
                  <a:cubicBezTo>
                    <a:pt x="7325" y="14883"/>
                    <a:pt x="10411" y="14883"/>
                    <a:pt x="7325" y="12483"/>
                  </a:cubicBezTo>
                  <a:cubicBezTo>
                    <a:pt x="7325" y="10083"/>
                    <a:pt x="1153" y="10083"/>
                    <a:pt x="1153" y="7683"/>
                  </a:cubicBezTo>
                  <a:cubicBezTo>
                    <a:pt x="4239" y="5283"/>
                    <a:pt x="-5018" y="-1917"/>
                    <a:pt x="4239" y="483"/>
                  </a:cubicBezTo>
                  <a:cubicBezTo>
                    <a:pt x="13496" y="2883"/>
                    <a:pt x="13496" y="5283"/>
                    <a:pt x="13496" y="10083"/>
                  </a:cubicBezTo>
                  <a:cubicBezTo>
                    <a:pt x="16582" y="14883"/>
                    <a:pt x="4239" y="17283"/>
                    <a:pt x="4239" y="17283"/>
                  </a:cubicBezTo>
                  <a:cubicBezTo>
                    <a:pt x="4239" y="17283"/>
                    <a:pt x="4239" y="17283"/>
                    <a:pt x="4239" y="17283"/>
                  </a:cubicBezTo>
                  <a:cubicBezTo>
                    <a:pt x="7325" y="14883"/>
                    <a:pt x="1153" y="19683"/>
                    <a:pt x="4239" y="1728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7" name="Shape 1986">
              <a:extLst>
                <a:ext uri="{FF2B5EF4-FFF2-40B4-BE49-F238E27FC236}">
                  <a16:creationId xmlns:a16="http://schemas.microsoft.com/office/drawing/2014/main" id="{AC92F68B-C16C-9D9B-A45F-29B480138AF2}"/>
                </a:ext>
              </a:extLst>
            </p:cNvPr>
            <p:cNvSpPr/>
            <p:nvPr/>
          </p:nvSpPr>
          <p:spPr>
            <a:xfrm>
              <a:off x="1062819" y="1591578"/>
              <a:ext cx="20227" cy="6745"/>
            </a:xfrm>
            <a:custGeom>
              <a:avLst/>
              <a:gdLst/>
              <a:ahLst/>
              <a:cxnLst>
                <a:cxn ang="0">
                  <a:pos x="wd2" y="hd2"/>
                </a:cxn>
                <a:cxn ang="5400000">
                  <a:pos x="wd2" y="hd2"/>
                </a:cxn>
                <a:cxn ang="10800000">
                  <a:pos x="wd2" y="hd2"/>
                </a:cxn>
                <a:cxn ang="16200000">
                  <a:pos x="wd2" y="hd2"/>
                </a:cxn>
              </a:cxnLst>
              <a:rect l="0" t="0" r="r" b="b"/>
              <a:pathLst>
                <a:path w="21600" h="21600" extrusionOk="0">
                  <a:moveTo>
                    <a:pt x="14400" y="21600"/>
                  </a:moveTo>
                  <a:cubicBezTo>
                    <a:pt x="7200" y="21600"/>
                    <a:pt x="0" y="21600"/>
                    <a:pt x="0" y="0"/>
                  </a:cubicBezTo>
                  <a:cubicBezTo>
                    <a:pt x="0" y="0"/>
                    <a:pt x="14400" y="0"/>
                    <a:pt x="21600" y="0"/>
                  </a:cubicBezTo>
                  <a:cubicBezTo>
                    <a:pt x="21600" y="0"/>
                    <a:pt x="14400" y="21600"/>
                    <a:pt x="144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8" name="Shape 1987">
              <a:extLst>
                <a:ext uri="{FF2B5EF4-FFF2-40B4-BE49-F238E27FC236}">
                  <a16:creationId xmlns:a16="http://schemas.microsoft.com/office/drawing/2014/main" id="{0D5B31F6-0018-AA2D-3E4F-1FD0A1BEC163}"/>
                </a:ext>
              </a:extLst>
            </p:cNvPr>
            <p:cNvSpPr/>
            <p:nvPr/>
          </p:nvSpPr>
          <p:spPr>
            <a:xfrm>
              <a:off x="430738" y="1601892"/>
              <a:ext cx="81058" cy="36720"/>
            </a:xfrm>
            <a:custGeom>
              <a:avLst/>
              <a:gdLst/>
              <a:ahLst/>
              <a:cxnLst>
                <a:cxn ang="0">
                  <a:pos x="wd2" y="hd2"/>
                </a:cxn>
                <a:cxn ang="5400000">
                  <a:pos x="wd2" y="hd2"/>
                </a:cxn>
                <a:cxn ang="10800000">
                  <a:pos x="wd2" y="hd2"/>
                </a:cxn>
                <a:cxn ang="16200000">
                  <a:pos x="wd2" y="hd2"/>
                </a:cxn>
              </a:cxnLst>
              <a:rect l="0" t="0" r="r" b="b"/>
              <a:pathLst>
                <a:path w="19976" h="17641" extrusionOk="0">
                  <a:moveTo>
                    <a:pt x="16200" y="1372"/>
                  </a:moveTo>
                  <a:cubicBezTo>
                    <a:pt x="14539" y="1372"/>
                    <a:pt x="12877" y="1372"/>
                    <a:pt x="11216" y="1372"/>
                  </a:cubicBezTo>
                  <a:cubicBezTo>
                    <a:pt x="9554" y="1372"/>
                    <a:pt x="9554" y="1372"/>
                    <a:pt x="7893" y="1372"/>
                  </a:cubicBezTo>
                  <a:cubicBezTo>
                    <a:pt x="4570" y="4457"/>
                    <a:pt x="6231" y="10629"/>
                    <a:pt x="7893" y="10629"/>
                  </a:cubicBezTo>
                  <a:cubicBezTo>
                    <a:pt x="6231" y="10629"/>
                    <a:pt x="2908" y="1372"/>
                    <a:pt x="1247" y="7543"/>
                  </a:cubicBezTo>
                  <a:cubicBezTo>
                    <a:pt x="-415" y="10629"/>
                    <a:pt x="-415" y="13715"/>
                    <a:pt x="1247" y="16800"/>
                  </a:cubicBezTo>
                  <a:cubicBezTo>
                    <a:pt x="2908" y="19886"/>
                    <a:pt x="16200" y="13715"/>
                    <a:pt x="17862" y="10629"/>
                  </a:cubicBezTo>
                  <a:cubicBezTo>
                    <a:pt x="17862" y="10629"/>
                    <a:pt x="16200" y="7543"/>
                    <a:pt x="14539" y="7543"/>
                  </a:cubicBezTo>
                  <a:cubicBezTo>
                    <a:pt x="16200" y="7543"/>
                    <a:pt x="19523" y="7543"/>
                    <a:pt x="19523" y="7543"/>
                  </a:cubicBezTo>
                  <a:cubicBezTo>
                    <a:pt x="21185" y="4457"/>
                    <a:pt x="17862" y="-1714"/>
                    <a:pt x="16200" y="1372"/>
                  </a:cubicBezTo>
                  <a:cubicBezTo>
                    <a:pt x="14539" y="1372"/>
                    <a:pt x="17862" y="-1714"/>
                    <a:pt x="16200" y="13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69" name="Shape 1988">
              <a:extLst>
                <a:ext uri="{FF2B5EF4-FFF2-40B4-BE49-F238E27FC236}">
                  <a16:creationId xmlns:a16="http://schemas.microsoft.com/office/drawing/2014/main" id="{85967896-DCCB-F291-2AF2-37A3259CD267}"/>
                </a:ext>
              </a:extLst>
            </p:cNvPr>
            <p:cNvSpPr/>
            <p:nvPr/>
          </p:nvSpPr>
          <p:spPr>
            <a:xfrm>
              <a:off x="472354" y="1567570"/>
              <a:ext cx="44347" cy="32700"/>
            </a:xfrm>
            <a:custGeom>
              <a:avLst/>
              <a:gdLst/>
              <a:ahLst/>
              <a:cxnLst>
                <a:cxn ang="0">
                  <a:pos x="wd2" y="hd2"/>
                </a:cxn>
                <a:cxn ang="5400000">
                  <a:pos x="wd2" y="hd2"/>
                </a:cxn>
                <a:cxn ang="10800000">
                  <a:pos x="wd2" y="hd2"/>
                </a:cxn>
                <a:cxn ang="16200000">
                  <a:pos x="wd2" y="hd2"/>
                </a:cxn>
              </a:cxnLst>
              <a:rect l="0" t="0" r="r" b="b"/>
              <a:pathLst>
                <a:path w="17759" h="14962" extrusionOk="0">
                  <a:moveTo>
                    <a:pt x="1559" y="14071"/>
                  </a:moveTo>
                  <a:cubicBezTo>
                    <a:pt x="4259" y="10986"/>
                    <a:pt x="6959" y="10986"/>
                    <a:pt x="9659" y="7900"/>
                  </a:cubicBezTo>
                  <a:cubicBezTo>
                    <a:pt x="12359" y="7900"/>
                    <a:pt x="17759" y="7900"/>
                    <a:pt x="17759" y="7900"/>
                  </a:cubicBezTo>
                  <a:cubicBezTo>
                    <a:pt x="17759" y="7900"/>
                    <a:pt x="15059" y="-4443"/>
                    <a:pt x="9659" y="1728"/>
                  </a:cubicBezTo>
                  <a:cubicBezTo>
                    <a:pt x="9659" y="1728"/>
                    <a:pt x="-1141" y="10986"/>
                    <a:pt x="1559" y="14071"/>
                  </a:cubicBezTo>
                  <a:cubicBezTo>
                    <a:pt x="1559" y="14071"/>
                    <a:pt x="1559" y="14071"/>
                    <a:pt x="1559" y="14071"/>
                  </a:cubicBezTo>
                  <a:cubicBezTo>
                    <a:pt x="6959" y="10986"/>
                    <a:pt x="-3841" y="17157"/>
                    <a:pt x="1559" y="140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0" name="Shape 1989">
              <a:extLst>
                <a:ext uri="{FF2B5EF4-FFF2-40B4-BE49-F238E27FC236}">
                  <a16:creationId xmlns:a16="http://schemas.microsoft.com/office/drawing/2014/main" id="{71016024-9BD7-EB99-2129-AEA9D11B1EA6}"/>
                </a:ext>
              </a:extLst>
            </p:cNvPr>
            <p:cNvSpPr/>
            <p:nvPr/>
          </p:nvSpPr>
          <p:spPr>
            <a:xfrm>
              <a:off x="94903" y="1737697"/>
              <a:ext cx="53082" cy="24730"/>
            </a:xfrm>
            <a:custGeom>
              <a:avLst/>
              <a:gdLst/>
              <a:ahLst/>
              <a:cxnLst>
                <a:cxn ang="0">
                  <a:pos x="wd2" y="hd2"/>
                </a:cxn>
                <a:cxn ang="5400000">
                  <a:pos x="wd2" y="hd2"/>
                </a:cxn>
                <a:cxn ang="10800000">
                  <a:pos x="wd2" y="hd2"/>
                </a:cxn>
                <a:cxn ang="16200000">
                  <a:pos x="wd2" y="hd2"/>
                </a:cxn>
              </a:cxnLst>
              <a:rect l="0" t="0" r="r" b="b"/>
              <a:pathLst>
                <a:path w="17592" h="21600" extrusionOk="0">
                  <a:moveTo>
                    <a:pt x="16968" y="10800"/>
                  </a:moveTo>
                  <a:cubicBezTo>
                    <a:pt x="19128" y="10800"/>
                    <a:pt x="14808" y="5400"/>
                    <a:pt x="16968" y="5400"/>
                  </a:cubicBezTo>
                  <a:cubicBezTo>
                    <a:pt x="14808" y="0"/>
                    <a:pt x="12648" y="0"/>
                    <a:pt x="10488" y="0"/>
                  </a:cubicBezTo>
                  <a:cubicBezTo>
                    <a:pt x="8328" y="5400"/>
                    <a:pt x="4008" y="5400"/>
                    <a:pt x="1848" y="10800"/>
                  </a:cubicBezTo>
                  <a:cubicBezTo>
                    <a:pt x="-2472" y="16200"/>
                    <a:pt x="1848" y="21600"/>
                    <a:pt x="4008" y="21600"/>
                  </a:cubicBezTo>
                  <a:cubicBezTo>
                    <a:pt x="8328" y="21600"/>
                    <a:pt x="12648" y="5400"/>
                    <a:pt x="16968" y="10800"/>
                  </a:cubicBezTo>
                  <a:cubicBezTo>
                    <a:pt x="19128" y="10800"/>
                    <a:pt x="12648" y="5400"/>
                    <a:pt x="16968"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1" name="Shape 1990">
              <a:extLst>
                <a:ext uri="{FF2B5EF4-FFF2-40B4-BE49-F238E27FC236}">
                  <a16:creationId xmlns:a16="http://schemas.microsoft.com/office/drawing/2014/main" id="{80D2CE0F-CD13-09D7-665C-8F2ED2418C16}"/>
                </a:ext>
              </a:extLst>
            </p:cNvPr>
            <p:cNvSpPr/>
            <p:nvPr/>
          </p:nvSpPr>
          <p:spPr>
            <a:xfrm>
              <a:off x="8787" y="1781615"/>
              <a:ext cx="38206" cy="28021"/>
            </a:xfrm>
            <a:custGeom>
              <a:avLst/>
              <a:gdLst/>
              <a:ahLst/>
              <a:cxnLst>
                <a:cxn ang="0">
                  <a:pos x="wd2" y="hd2"/>
                </a:cxn>
                <a:cxn ang="5400000">
                  <a:pos x="wd2" y="hd2"/>
                </a:cxn>
                <a:cxn ang="10800000">
                  <a:pos x="wd2" y="hd2"/>
                </a:cxn>
                <a:cxn ang="16200000">
                  <a:pos x="wd2" y="hd2"/>
                </a:cxn>
              </a:cxnLst>
              <a:rect l="0" t="0" r="r" b="b"/>
              <a:pathLst>
                <a:path w="21600" h="17948" extrusionOk="0">
                  <a:moveTo>
                    <a:pt x="21600" y="4988"/>
                  </a:moveTo>
                  <a:cubicBezTo>
                    <a:pt x="21600" y="-3652"/>
                    <a:pt x="14400" y="668"/>
                    <a:pt x="10800" y="4988"/>
                  </a:cubicBezTo>
                  <a:cubicBezTo>
                    <a:pt x="10800" y="4988"/>
                    <a:pt x="10800" y="9308"/>
                    <a:pt x="10800" y="13628"/>
                  </a:cubicBezTo>
                  <a:cubicBezTo>
                    <a:pt x="7200" y="13628"/>
                    <a:pt x="0" y="17948"/>
                    <a:pt x="0" y="17948"/>
                  </a:cubicBezTo>
                  <a:cubicBezTo>
                    <a:pt x="0" y="17948"/>
                    <a:pt x="21600" y="17948"/>
                    <a:pt x="21600" y="498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2" name="Shape 1991">
              <a:extLst>
                <a:ext uri="{FF2B5EF4-FFF2-40B4-BE49-F238E27FC236}">
                  <a16:creationId xmlns:a16="http://schemas.microsoft.com/office/drawing/2014/main" id="{8A9D35C6-63AF-7110-6BE6-2058C41F9E2E}"/>
                </a:ext>
              </a:extLst>
            </p:cNvPr>
            <p:cNvSpPr/>
            <p:nvPr/>
          </p:nvSpPr>
          <p:spPr>
            <a:xfrm>
              <a:off x="2249451" y="963350"/>
              <a:ext cx="130564" cy="75868"/>
            </a:xfrm>
            <a:custGeom>
              <a:avLst/>
              <a:gdLst/>
              <a:ahLst/>
              <a:cxnLst>
                <a:cxn ang="0">
                  <a:pos x="wd2" y="hd2"/>
                </a:cxn>
                <a:cxn ang="5400000">
                  <a:pos x="wd2" y="hd2"/>
                </a:cxn>
                <a:cxn ang="10800000">
                  <a:pos x="wd2" y="hd2"/>
                </a:cxn>
                <a:cxn ang="16200000">
                  <a:pos x="wd2" y="hd2"/>
                </a:cxn>
              </a:cxnLst>
              <a:rect l="0" t="0" r="r" b="b"/>
              <a:pathLst>
                <a:path w="20571" h="19184" extrusionOk="0">
                  <a:moveTo>
                    <a:pt x="19543" y="13511"/>
                  </a:moveTo>
                  <a:cubicBezTo>
                    <a:pt x="15429" y="15172"/>
                    <a:pt x="19543" y="11849"/>
                    <a:pt x="18514" y="10188"/>
                  </a:cubicBezTo>
                  <a:cubicBezTo>
                    <a:pt x="17486" y="10188"/>
                    <a:pt x="15429" y="5203"/>
                    <a:pt x="14400" y="5203"/>
                  </a:cubicBezTo>
                  <a:cubicBezTo>
                    <a:pt x="12343" y="5203"/>
                    <a:pt x="10286" y="219"/>
                    <a:pt x="8229" y="219"/>
                  </a:cubicBezTo>
                  <a:cubicBezTo>
                    <a:pt x="6171" y="-1443"/>
                    <a:pt x="6171" y="6865"/>
                    <a:pt x="5143" y="8526"/>
                  </a:cubicBezTo>
                  <a:cubicBezTo>
                    <a:pt x="4114" y="8526"/>
                    <a:pt x="0" y="8526"/>
                    <a:pt x="0" y="11849"/>
                  </a:cubicBezTo>
                  <a:cubicBezTo>
                    <a:pt x="1029" y="15172"/>
                    <a:pt x="6171" y="16834"/>
                    <a:pt x="7200" y="16834"/>
                  </a:cubicBezTo>
                  <a:cubicBezTo>
                    <a:pt x="9257" y="18495"/>
                    <a:pt x="13371" y="20157"/>
                    <a:pt x="15429" y="18495"/>
                  </a:cubicBezTo>
                  <a:cubicBezTo>
                    <a:pt x="15429" y="18495"/>
                    <a:pt x="20571" y="15172"/>
                    <a:pt x="20571" y="13511"/>
                  </a:cubicBezTo>
                  <a:cubicBezTo>
                    <a:pt x="20571" y="13511"/>
                    <a:pt x="19543" y="13511"/>
                    <a:pt x="19543" y="13511"/>
                  </a:cubicBezTo>
                  <a:cubicBezTo>
                    <a:pt x="18514" y="15172"/>
                    <a:pt x="21600" y="13511"/>
                    <a:pt x="19543" y="135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3" name="Shape 1992">
              <a:extLst>
                <a:ext uri="{FF2B5EF4-FFF2-40B4-BE49-F238E27FC236}">
                  <a16:creationId xmlns:a16="http://schemas.microsoft.com/office/drawing/2014/main" id="{015DDED0-6911-2D06-0F3F-CAF241C816F1}"/>
                </a:ext>
              </a:extLst>
            </p:cNvPr>
            <p:cNvSpPr/>
            <p:nvPr/>
          </p:nvSpPr>
          <p:spPr>
            <a:xfrm>
              <a:off x="2211966" y="1003298"/>
              <a:ext cx="19098" cy="19540"/>
            </a:xfrm>
            <a:custGeom>
              <a:avLst/>
              <a:gdLst/>
              <a:ahLst/>
              <a:cxnLst>
                <a:cxn ang="0">
                  <a:pos x="wd2" y="hd2"/>
                </a:cxn>
                <a:cxn ang="5400000">
                  <a:pos x="wd2" y="hd2"/>
                </a:cxn>
                <a:cxn ang="10800000">
                  <a:pos x="wd2" y="hd2"/>
                </a:cxn>
                <a:cxn ang="16200000">
                  <a:pos x="wd2" y="hd2"/>
                </a:cxn>
              </a:cxnLst>
              <a:rect l="0" t="0" r="r" b="b"/>
              <a:pathLst>
                <a:path w="12237" h="17067" extrusionOk="0">
                  <a:moveTo>
                    <a:pt x="2419" y="17067"/>
                  </a:moveTo>
                  <a:cubicBezTo>
                    <a:pt x="-6221" y="17067"/>
                    <a:pt x="11059" y="-4533"/>
                    <a:pt x="11059" y="867"/>
                  </a:cubicBezTo>
                  <a:cubicBezTo>
                    <a:pt x="15379" y="867"/>
                    <a:pt x="6739" y="17067"/>
                    <a:pt x="2419" y="17067"/>
                  </a:cubicBezTo>
                  <a:cubicBezTo>
                    <a:pt x="-1901" y="17067"/>
                    <a:pt x="11059" y="17067"/>
                    <a:pt x="2419" y="170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4" name="Shape 1993">
              <a:extLst>
                <a:ext uri="{FF2B5EF4-FFF2-40B4-BE49-F238E27FC236}">
                  <a16:creationId xmlns:a16="http://schemas.microsoft.com/office/drawing/2014/main" id="{43C46891-884A-7D67-638A-E1505E0C8385}"/>
                </a:ext>
              </a:extLst>
            </p:cNvPr>
            <p:cNvSpPr/>
            <p:nvPr/>
          </p:nvSpPr>
          <p:spPr>
            <a:xfrm>
              <a:off x="2163490" y="1022835"/>
              <a:ext cx="10115" cy="13490"/>
            </a:xfrm>
            <a:custGeom>
              <a:avLst/>
              <a:gdLst/>
              <a:ahLst/>
              <a:cxnLst>
                <a:cxn ang="0">
                  <a:pos x="wd2" y="hd2"/>
                </a:cxn>
                <a:cxn ang="5400000">
                  <a:pos x="wd2" y="hd2"/>
                </a:cxn>
                <a:cxn ang="10800000">
                  <a:pos x="wd2" y="hd2"/>
                </a:cxn>
                <a:cxn ang="16200000">
                  <a:pos x="wd2" y="hd2"/>
                </a:cxn>
              </a:cxnLst>
              <a:rect l="0" t="0" r="r" b="b"/>
              <a:pathLst>
                <a:path w="16200" h="21600" extrusionOk="0">
                  <a:moveTo>
                    <a:pt x="8100" y="21600"/>
                  </a:moveTo>
                  <a:cubicBezTo>
                    <a:pt x="-2700" y="21600"/>
                    <a:pt x="-2700" y="10800"/>
                    <a:pt x="8100" y="0"/>
                  </a:cubicBezTo>
                  <a:cubicBezTo>
                    <a:pt x="18900" y="0"/>
                    <a:pt x="18900" y="21600"/>
                    <a:pt x="81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5" name="Shape 1994">
              <a:extLst>
                <a:ext uri="{FF2B5EF4-FFF2-40B4-BE49-F238E27FC236}">
                  <a16:creationId xmlns:a16="http://schemas.microsoft.com/office/drawing/2014/main" id="{F073F6EA-190C-0410-185F-B066E8192E47}"/>
                </a:ext>
              </a:extLst>
            </p:cNvPr>
            <p:cNvSpPr/>
            <p:nvPr/>
          </p:nvSpPr>
          <p:spPr>
            <a:xfrm>
              <a:off x="1601406" y="751024"/>
              <a:ext cx="600850" cy="284718"/>
            </a:xfrm>
            <a:custGeom>
              <a:avLst/>
              <a:gdLst/>
              <a:ahLst/>
              <a:cxnLst>
                <a:cxn ang="0">
                  <a:pos x="wd2" y="hd2"/>
                </a:cxn>
                <a:cxn ang="5400000">
                  <a:pos x="wd2" y="hd2"/>
                </a:cxn>
                <a:cxn ang="10800000">
                  <a:pos x="wd2" y="hd2"/>
                </a:cxn>
                <a:cxn ang="16200000">
                  <a:pos x="wd2" y="hd2"/>
                </a:cxn>
              </a:cxnLst>
              <a:rect l="0" t="0" r="r" b="b"/>
              <a:pathLst>
                <a:path w="21388" h="20725" extrusionOk="0">
                  <a:moveTo>
                    <a:pt x="19275" y="19339"/>
                  </a:moveTo>
                  <a:cubicBezTo>
                    <a:pt x="18805" y="19339"/>
                    <a:pt x="18336" y="19339"/>
                    <a:pt x="17631" y="19339"/>
                  </a:cubicBezTo>
                  <a:cubicBezTo>
                    <a:pt x="17397" y="19339"/>
                    <a:pt x="17162" y="19339"/>
                    <a:pt x="16927" y="19339"/>
                  </a:cubicBezTo>
                  <a:cubicBezTo>
                    <a:pt x="16692" y="19339"/>
                    <a:pt x="16692" y="18859"/>
                    <a:pt x="16458" y="18379"/>
                  </a:cubicBezTo>
                  <a:cubicBezTo>
                    <a:pt x="16223" y="18379"/>
                    <a:pt x="15284" y="18859"/>
                    <a:pt x="15049" y="17899"/>
                  </a:cubicBezTo>
                  <a:cubicBezTo>
                    <a:pt x="15049" y="16459"/>
                    <a:pt x="14579" y="17419"/>
                    <a:pt x="14110" y="17899"/>
                  </a:cubicBezTo>
                  <a:cubicBezTo>
                    <a:pt x="13405" y="18859"/>
                    <a:pt x="12936" y="18379"/>
                    <a:pt x="12466" y="18859"/>
                  </a:cubicBezTo>
                  <a:cubicBezTo>
                    <a:pt x="11762" y="19339"/>
                    <a:pt x="11058" y="19819"/>
                    <a:pt x="10353" y="20299"/>
                  </a:cubicBezTo>
                  <a:cubicBezTo>
                    <a:pt x="9414" y="20299"/>
                    <a:pt x="8005" y="21259"/>
                    <a:pt x="7066" y="20299"/>
                  </a:cubicBezTo>
                  <a:cubicBezTo>
                    <a:pt x="7066" y="20299"/>
                    <a:pt x="6597" y="19819"/>
                    <a:pt x="6597" y="19339"/>
                  </a:cubicBezTo>
                  <a:cubicBezTo>
                    <a:pt x="6597" y="18859"/>
                    <a:pt x="6597" y="17899"/>
                    <a:pt x="6127" y="17899"/>
                  </a:cubicBezTo>
                  <a:cubicBezTo>
                    <a:pt x="5658" y="17899"/>
                    <a:pt x="5188" y="17899"/>
                    <a:pt x="4718" y="17899"/>
                  </a:cubicBezTo>
                  <a:cubicBezTo>
                    <a:pt x="4249" y="17899"/>
                    <a:pt x="3779" y="17899"/>
                    <a:pt x="3310" y="16939"/>
                  </a:cubicBezTo>
                  <a:cubicBezTo>
                    <a:pt x="3075" y="16939"/>
                    <a:pt x="1901" y="15019"/>
                    <a:pt x="2136" y="14539"/>
                  </a:cubicBezTo>
                  <a:cubicBezTo>
                    <a:pt x="3545" y="13099"/>
                    <a:pt x="5188" y="13579"/>
                    <a:pt x="6362" y="13579"/>
                  </a:cubicBezTo>
                  <a:cubicBezTo>
                    <a:pt x="6597" y="13579"/>
                    <a:pt x="9179" y="13579"/>
                    <a:pt x="9179" y="13579"/>
                  </a:cubicBezTo>
                  <a:cubicBezTo>
                    <a:pt x="9179" y="12619"/>
                    <a:pt x="5892" y="11659"/>
                    <a:pt x="5658" y="11659"/>
                  </a:cubicBezTo>
                  <a:cubicBezTo>
                    <a:pt x="4484" y="11659"/>
                    <a:pt x="3075" y="13099"/>
                    <a:pt x="1901" y="12139"/>
                  </a:cubicBezTo>
                  <a:cubicBezTo>
                    <a:pt x="1431" y="11659"/>
                    <a:pt x="492" y="10699"/>
                    <a:pt x="1431" y="9739"/>
                  </a:cubicBezTo>
                  <a:cubicBezTo>
                    <a:pt x="2136" y="9259"/>
                    <a:pt x="2840" y="8779"/>
                    <a:pt x="3545" y="8779"/>
                  </a:cubicBezTo>
                  <a:cubicBezTo>
                    <a:pt x="4014" y="8299"/>
                    <a:pt x="4484" y="8299"/>
                    <a:pt x="4718" y="8299"/>
                  </a:cubicBezTo>
                  <a:cubicBezTo>
                    <a:pt x="4249" y="8779"/>
                    <a:pt x="3545" y="8299"/>
                    <a:pt x="3075" y="8299"/>
                  </a:cubicBezTo>
                  <a:cubicBezTo>
                    <a:pt x="2840" y="8299"/>
                    <a:pt x="1431" y="8779"/>
                    <a:pt x="1197" y="8299"/>
                  </a:cubicBezTo>
                  <a:cubicBezTo>
                    <a:pt x="1197" y="8299"/>
                    <a:pt x="1431" y="7819"/>
                    <a:pt x="1431" y="7819"/>
                  </a:cubicBezTo>
                  <a:cubicBezTo>
                    <a:pt x="1431" y="7339"/>
                    <a:pt x="-212" y="7819"/>
                    <a:pt x="23" y="6859"/>
                  </a:cubicBezTo>
                  <a:cubicBezTo>
                    <a:pt x="258" y="6379"/>
                    <a:pt x="492" y="5419"/>
                    <a:pt x="727" y="4939"/>
                  </a:cubicBezTo>
                  <a:cubicBezTo>
                    <a:pt x="1666" y="4459"/>
                    <a:pt x="727" y="4459"/>
                    <a:pt x="727" y="3979"/>
                  </a:cubicBezTo>
                  <a:cubicBezTo>
                    <a:pt x="727" y="3979"/>
                    <a:pt x="1431" y="3019"/>
                    <a:pt x="1666" y="3019"/>
                  </a:cubicBezTo>
                  <a:cubicBezTo>
                    <a:pt x="2136" y="2539"/>
                    <a:pt x="2371" y="2059"/>
                    <a:pt x="2840" y="1579"/>
                  </a:cubicBezTo>
                  <a:cubicBezTo>
                    <a:pt x="3779" y="619"/>
                    <a:pt x="4484" y="139"/>
                    <a:pt x="5423" y="139"/>
                  </a:cubicBezTo>
                  <a:cubicBezTo>
                    <a:pt x="6597" y="139"/>
                    <a:pt x="5423" y="3019"/>
                    <a:pt x="5423" y="3019"/>
                  </a:cubicBezTo>
                  <a:cubicBezTo>
                    <a:pt x="5892" y="3499"/>
                    <a:pt x="6362" y="3499"/>
                    <a:pt x="6597" y="3019"/>
                  </a:cubicBezTo>
                  <a:cubicBezTo>
                    <a:pt x="6831" y="3019"/>
                    <a:pt x="6831" y="1579"/>
                    <a:pt x="7066" y="1579"/>
                  </a:cubicBezTo>
                  <a:cubicBezTo>
                    <a:pt x="7536" y="1579"/>
                    <a:pt x="8475" y="1579"/>
                    <a:pt x="8945" y="2539"/>
                  </a:cubicBezTo>
                  <a:cubicBezTo>
                    <a:pt x="9649" y="3499"/>
                    <a:pt x="8005" y="4939"/>
                    <a:pt x="9179" y="4459"/>
                  </a:cubicBezTo>
                  <a:cubicBezTo>
                    <a:pt x="9414" y="4459"/>
                    <a:pt x="9649" y="3979"/>
                    <a:pt x="9884" y="3499"/>
                  </a:cubicBezTo>
                  <a:cubicBezTo>
                    <a:pt x="10118" y="3499"/>
                    <a:pt x="10118" y="3499"/>
                    <a:pt x="10353" y="3499"/>
                  </a:cubicBezTo>
                  <a:cubicBezTo>
                    <a:pt x="10588" y="3499"/>
                    <a:pt x="10588" y="3499"/>
                    <a:pt x="10823" y="3979"/>
                  </a:cubicBezTo>
                  <a:cubicBezTo>
                    <a:pt x="11058" y="3979"/>
                    <a:pt x="11058" y="3019"/>
                    <a:pt x="11058" y="2539"/>
                  </a:cubicBezTo>
                  <a:cubicBezTo>
                    <a:pt x="10823" y="2539"/>
                    <a:pt x="10118" y="1579"/>
                    <a:pt x="9884" y="1579"/>
                  </a:cubicBezTo>
                  <a:cubicBezTo>
                    <a:pt x="10353" y="1099"/>
                    <a:pt x="11292" y="2059"/>
                    <a:pt x="11527" y="2539"/>
                  </a:cubicBezTo>
                  <a:cubicBezTo>
                    <a:pt x="12231" y="3019"/>
                    <a:pt x="12231" y="3499"/>
                    <a:pt x="12466" y="4459"/>
                  </a:cubicBezTo>
                  <a:cubicBezTo>
                    <a:pt x="12466" y="4939"/>
                    <a:pt x="12466" y="7339"/>
                    <a:pt x="12936" y="7339"/>
                  </a:cubicBezTo>
                  <a:cubicBezTo>
                    <a:pt x="13171" y="7339"/>
                    <a:pt x="14110" y="7339"/>
                    <a:pt x="13875" y="6379"/>
                  </a:cubicBezTo>
                  <a:cubicBezTo>
                    <a:pt x="13640" y="4459"/>
                    <a:pt x="13171" y="3019"/>
                    <a:pt x="12936" y="1099"/>
                  </a:cubicBezTo>
                  <a:cubicBezTo>
                    <a:pt x="12701" y="-341"/>
                    <a:pt x="13405" y="139"/>
                    <a:pt x="13640" y="139"/>
                  </a:cubicBezTo>
                  <a:cubicBezTo>
                    <a:pt x="14345" y="619"/>
                    <a:pt x="14345" y="-341"/>
                    <a:pt x="14814" y="139"/>
                  </a:cubicBezTo>
                  <a:cubicBezTo>
                    <a:pt x="15284" y="1099"/>
                    <a:pt x="15988" y="1579"/>
                    <a:pt x="15988" y="2539"/>
                  </a:cubicBezTo>
                  <a:cubicBezTo>
                    <a:pt x="16223" y="3979"/>
                    <a:pt x="16458" y="4939"/>
                    <a:pt x="16927" y="5899"/>
                  </a:cubicBezTo>
                  <a:cubicBezTo>
                    <a:pt x="17162" y="7339"/>
                    <a:pt x="17397" y="7819"/>
                    <a:pt x="17162" y="8779"/>
                  </a:cubicBezTo>
                  <a:cubicBezTo>
                    <a:pt x="16927" y="10219"/>
                    <a:pt x="17631" y="11659"/>
                    <a:pt x="18101" y="12139"/>
                  </a:cubicBezTo>
                  <a:cubicBezTo>
                    <a:pt x="18336" y="12139"/>
                    <a:pt x="18805" y="12139"/>
                    <a:pt x="19040" y="12139"/>
                  </a:cubicBezTo>
                  <a:cubicBezTo>
                    <a:pt x="19275" y="12619"/>
                    <a:pt x="19510" y="13099"/>
                    <a:pt x="19745" y="13099"/>
                  </a:cubicBezTo>
                  <a:cubicBezTo>
                    <a:pt x="20449" y="13579"/>
                    <a:pt x="21388" y="13579"/>
                    <a:pt x="21388" y="15499"/>
                  </a:cubicBezTo>
                  <a:cubicBezTo>
                    <a:pt x="21388" y="16459"/>
                    <a:pt x="19275" y="15019"/>
                    <a:pt x="19275" y="15019"/>
                  </a:cubicBezTo>
                  <a:cubicBezTo>
                    <a:pt x="19275" y="15499"/>
                    <a:pt x="19275" y="15979"/>
                    <a:pt x="19275" y="16459"/>
                  </a:cubicBezTo>
                  <a:cubicBezTo>
                    <a:pt x="19275" y="16459"/>
                    <a:pt x="18571" y="16459"/>
                    <a:pt x="18571" y="16459"/>
                  </a:cubicBezTo>
                  <a:cubicBezTo>
                    <a:pt x="18805" y="16459"/>
                    <a:pt x="18805" y="16939"/>
                    <a:pt x="18805" y="16939"/>
                  </a:cubicBezTo>
                  <a:cubicBezTo>
                    <a:pt x="18805" y="17419"/>
                    <a:pt x="18805" y="17899"/>
                    <a:pt x="18805" y="17899"/>
                  </a:cubicBezTo>
                  <a:cubicBezTo>
                    <a:pt x="18805" y="17899"/>
                    <a:pt x="19745" y="16939"/>
                    <a:pt x="19745" y="16939"/>
                  </a:cubicBezTo>
                  <a:cubicBezTo>
                    <a:pt x="20214" y="16939"/>
                    <a:pt x="19979" y="17419"/>
                    <a:pt x="19979" y="17899"/>
                  </a:cubicBezTo>
                  <a:cubicBezTo>
                    <a:pt x="19979" y="17899"/>
                    <a:pt x="20449" y="17899"/>
                    <a:pt x="20684" y="18379"/>
                  </a:cubicBezTo>
                  <a:cubicBezTo>
                    <a:pt x="20684" y="18379"/>
                    <a:pt x="19275" y="19339"/>
                    <a:pt x="19275" y="19339"/>
                  </a:cubicBezTo>
                  <a:cubicBezTo>
                    <a:pt x="18805" y="19339"/>
                    <a:pt x="19979" y="19339"/>
                    <a:pt x="19275" y="193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6" name="Shape 1995">
              <a:extLst>
                <a:ext uri="{FF2B5EF4-FFF2-40B4-BE49-F238E27FC236}">
                  <a16:creationId xmlns:a16="http://schemas.microsoft.com/office/drawing/2014/main" id="{CED41F4C-34EC-03D1-D4CB-A3536A2621BB}"/>
                </a:ext>
              </a:extLst>
            </p:cNvPr>
            <p:cNvSpPr/>
            <p:nvPr/>
          </p:nvSpPr>
          <p:spPr>
            <a:xfrm>
              <a:off x="1997744" y="719357"/>
              <a:ext cx="84434" cy="55026"/>
            </a:xfrm>
            <a:custGeom>
              <a:avLst/>
              <a:gdLst/>
              <a:ahLst/>
              <a:cxnLst>
                <a:cxn ang="0">
                  <a:pos x="wd2" y="hd2"/>
                </a:cxn>
                <a:cxn ang="5400000">
                  <a:pos x="wd2" y="hd2"/>
                </a:cxn>
                <a:cxn ang="10800000">
                  <a:pos x="wd2" y="hd2"/>
                </a:cxn>
                <a:cxn ang="16200000">
                  <a:pos x="wd2" y="hd2"/>
                </a:cxn>
              </a:cxnLst>
              <a:rect l="0" t="0" r="r" b="b"/>
              <a:pathLst>
                <a:path w="19792" h="19582" extrusionOk="0">
                  <a:moveTo>
                    <a:pt x="13886" y="19200"/>
                  </a:moveTo>
                  <a:cubicBezTo>
                    <a:pt x="10800" y="19200"/>
                    <a:pt x="9257" y="12000"/>
                    <a:pt x="7714" y="12000"/>
                  </a:cubicBezTo>
                  <a:cubicBezTo>
                    <a:pt x="6171" y="9600"/>
                    <a:pt x="0" y="7200"/>
                    <a:pt x="0" y="7200"/>
                  </a:cubicBezTo>
                  <a:cubicBezTo>
                    <a:pt x="1543" y="4800"/>
                    <a:pt x="4629" y="2400"/>
                    <a:pt x="6171" y="0"/>
                  </a:cubicBezTo>
                  <a:cubicBezTo>
                    <a:pt x="9257" y="0"/>
                    <a:pt x="12343" y="0"/>
                    <a:pt x="15429" y="2400"/>
                  </a:cubicBezTo>
                  <a:cubicBezTo>
                    <a:pt x="18514" y="4800"/>
                    <a:pt x="21600" y="4800"/>
                    <a:pt x="18514" y="9600"/>
                  </a:cubicBezTo>
                  <a:cubicBezTo>
                    <a:pt x="16971" y="12000"/>
                    <a:pt x="15429" y="21600"/>
                    <a:pt x="13886" y="19200"/>
                  </a:cubicBezTo>
                  <a:cubicBezTo>
                    <a:pt x="12343" y="19200"/>
                    <a:pt x="13886" y="19200"/>
                    <a:pt x="13886" y="19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7" name="Shape 1996">
              <a:extLst>
                <a:ext uri="{FF2B5EF4-FFF2-40B4-BE49-F238E27FC236}">
                  <a16:creationId xmlns:a16="http://schemas.microsoft.com/office/drawing/2014/main" id="{38399BCB-897D-F2D3-AE80-8788186E6F53}"/>
                </a:ext>
              </a:extLst>
            </p:cNvPr>
            <p:cNvSpPr/>
            <p:nvPr/>
          </p:nvSpPr>
          <p:spPr>
            <a:xfrm>
              <a:off x="2143824" y="697181"/>
              <a:ext cx="205184" cy="179890"/>
            </a:xfrm>
            <a:custGeom>
              <a:avLst/>
              <a:gdLst/>
              <a:ahLst/>
              <a:cxnLst>
                <a:cxn ang="0">
                  <a:pos x="wd2" y="hd2"/>
                </a:cxn>
                <a:cxn ang="5400000">
                  <a:pos x="wd2" y="hd2"/>
                </a:cxn>
                <a:cxn ang="10800000">
                  <a:pos x="wd2" y="hd2"/>
                </a:cxn>
                <a:cxn ang="16200000">
                  <a:pos x="wd2" y="hd2"/>
                </a:cxn>
              </a:cxnLst>
              <a:rect l="0" t="0" r="r" b="b"/>
              <a:pathLst>
                <a:path w="21205" h="20099" extrusionOk="0">
                  <a:moveTo>
                    <a:pt x="12150" y="19574"/>
                  </a:moveTo>
                  <a:cubicBezTo>
                    <a:pt x="10125" y="18085"/>
                    <a:pt x="8775" y="15105"/>
                    <a:pt x="6750" y="13616"/>
                  </a:cubicBezTo>
                  <a:cubicBezTo>
                    <a:pt x="4725" y="12871"/>
                    <a:pt x="2700" y="11381"/>
                    <a:pt x="675" y="10636"/>
                  </a:cubicBezTo>
                  <a:cubicBezTo>
                    <a:pt x="0" y="9892"/>
                    <a:pt x="0" y="9892"/>
                    <a:pt x="0" y="9147"/>
                  </a:cubicBezTo>
                  <a:cubicBezTo>
                    <a:pt x="0" y="6912"/>
                    <a:pt x="1350" y="7657"/>
                    <a:pt x="2700" y="8402"/>
                  </a:cubicBezTo>
                  <a:cubicBezTo>
                    <a:pt x="4050" y="9147"/>
                    <a:pt x="5400" y="10636"/>
                    <a:pt x="7425" y="9892"/>
                  </a:cubicBezTo>
                  <a:cubicBezTo>
                    <a:pt x="8100" y="9892"/>
                    <a:pt x="7425" y="8402"/>
                    <a:pt x="7425" y="8402"/>
                  </a:cubicBezTo>
                  <a:cubicBezTo>
                    <a:pt x="7425" y="7657"/>
                    <a:pt x="8775" y="8402"/>
                    <a:pt x="8775" y="7657"/>
                  </a:cubicBezTo>
                  <a:cubicBezTo>
                    <a:pt x="9450" y="6912"/>
                    <a:pt x="4725" y="5423"/>
                    <a:pt x="4725" y="5423"/>
                  </a:cubicBezTo>
                  <a:cubicBezTo>
                    <a:pt x="3375" y="4678"/>
                    <a:pt x="4050" y="3933"/>
                    <a:pt x="4725" y="3933"/>
                  </a:cubicBezTo>
                  <a:cubicBezTo>
                    <a:pt x="6075" y="3188"/>
                    <a:pt x="6075" y="3933"/>
                    <a:pt x="6750" y="4678"/>
                  </a:cubicBezTo>
                  <a:cubicBezTo>
                    <a:pt x="6750" y="4678"/>
                    <a:pt x="7425" y="3188"/>
                    <a:pt x="7425" y="3188"/>
                  </a:cubicBezTo>
                  <a:cubicBezTo>
                    <a:pt x="8100" y="3188"/>
                    <a:pt x="5400" y="2443"/>
                    <a:pt x="5400" y="2443"/>
                  </a:cubicBezTo>
                  <a:cubicBezTo>
                    <a:pt x="5400" y="2443"/>
                    <a:pt x="6750" y="1698"/>
                    <a:pt x="6750" y="1698"/>
                  </a:cubicBezTo>
                  <a:cubicBezTo>
                    <a:pt x="7425" y="1698"/>
                    <a:pt x="8775" y="2443"/>
                    <a:pt x="9450" y="2443"/>
                  </a:cubicBezTo>
                  <a:cubicBezTo>
                    <a:pt x="9450" y="2443"/>
                    <a:pt x="8775" y="1698"/>
                    <a:pt x="8775" y="1698"/>
                  </a:cubicBezTo>
                  <a:cubicBezTo>
                    <a:pt x="9450" y="954"/>
                    <a:pt x="12150" y="3188"/>
                    <a:pt x="12825" y="3188"/>
                  </a:cubicBezTo>
                  <a:cubicBezTo>
                    <a:pt x="13500" y="2443"/>
                    <a:pt x="12150" y="2443"/>
                    <a:pt x="12150" y="1698"/>
                  </a:cubicBezTo>
                  <a:cubicBezTo>
                    <a:pt x="12150" y="1698"/>
                    <a:pt x="12825" y="1698"/>
                    <a:pt x="12825" y="1698"/>
                  </a:cubicBezTo>
                  <a:cubicBezTo>
                    <a:pt x="12825" y="1698"/>
                    <a:pt x="11475" y="1698"/>
                    <a:pt x="11475" y="954"/>
                  </a:cubicBezTo>
                  <a:cubicBezTo>
                    <a:pt x="11475" y="954"/>
                    <a:pt x="16200" y="-536"/>
                    <a:pt x="16875" y="209"/>
                  </a:cubicBezTo>
                  <a:cubicBezTo>
                    <a:pt x="17550" y="209"/>
                    <a:pt x="15525" y="954"/>
                    <a:pt x="15525" y="1698"/>
                  </a:cubicBezTo>
                  <a:cubicBezTo>
                    <a:pt x="16200" y="2443"/>
                    <a:pt x="18225" y="1698"/>
                    <a:pt x="18900" y="2443"/>
                  </a:cubicBezTo>
                  <a:cubicBezTo>
                    <a:pt x="18900" y="3188"/>
                    <a:pt x="16200" y="4678"/>
                    <a:pt x="18225" y="4678"/>
                  </a:cubicBezTo>
                  <a:cubicBezTo>
                    <a:pt x="18900" y="4678"/>
                    <a:pt x="18225" y="5423"/>
                    <a:pt x="17550" y="5423"/>
                  </a:cubicBezTo>
                  <a:cubicBezTo>
                    <a:pt x="16875" y="5423"/>
                    <a:pt x="16200" y="5423"/>
                    <a:pt x="15525" y="6912"/>
                  </a:cubicBezTo>
                  <a:cubicBezTo>
                    <a:pt x="15525" y="6912"/>
                    <a:pt x="14175" y="9147"/>
                    <a:pt x="14175" y="9147"/>
                  </a:cubicBezTo>
                  <a:cubicBezTo>
                    <a:pt x="14850" y="9147"/>
                    <a:pt x="15525" y="7657"/>
                    <a:pt x="16200" y="7657"/>
                  </a:cubicBezTo>
                  <a:cubicBezTo>
                    <a:pt x="16875" y="7657"/>
                    <a:pt x="16875" y="8402"/>
                    <a:pt x="17550" y="9147"/>
                  </a:cubicBezTo>
                  <a:cubicBezTo>
                    <a:pt x="18225" y="9147"/>
                    <a:pt x="20250" y="12126"/>
                    <a:pt x="19575" y="9147"/>
                  </a:cubicBezTo>
                  <a:cubicBezTo>
                    <a:pt x="19575" y="8402"/>
                    <a:pt x="18225" y="7657"/>
                    <a:pt x="18900" y="6912"/>
                  </a:cubicBezTo>
                  <a:cubicBezTo>
                    <a:pt x="19575" y="6912"/>
                    <a:pt x="20250" y="6912"/>
                    <a:pt x="20250" y="7657"/>
                  </a:cubicBezTo>
                  <a:cubicBezTo>
                    <a:pt x="20250" y="8402"/>
                    <a:pt x="19575" y="9147"/>
                    <a:pt x="20250" y="9892"/>
                  </a:cubicBezTo>
                  <a:cubicBezTo>
                    <a:pt x="20925" y="10636"/>
                    <a:pt x="21600" y="11381"/>
                    <a:pt x="20925" y="12126"/>
                  </a:cubicBezTo>
                  <a:cubicBezTo>
                    <a:pt x="19575" y="13616"/>
                    <a:pt x="21600" y="15850"/>
                    <a:pt x="18900" y="16595"/>
                  </a:cubicBezTo>
                  <a:cubicBezTo>
                    <a:pt x="18900" y="16595"/>
                    <a:pt x="14175" y="18085"/>
                    <a:pt x="14850" y="16595"/>
                  </a:cubicBezTo>
                  <a:cubicBezTo>
                    <a:pt x="14850" y="15850"/>
                    <a:pt x="14175" y="15850"/>
                    <a:pt x="14175" y="16595"/>
                  </a:cubicBezTo>
                  <a:cubicBezTo>
                    <a:pt x="14850" y="17340"/>
                    <a:pt x="14850" y="18085"/>
                    <a:pt x="15525" y="18830"/>
                  </a:cubicBezTo>
                  <a:cubicBezTo>
                    <a:pt x="15525" y="20319"/>
                    <a:pt x="12825" y="19574"/>
                    <a:pt x="12150" y="19574"/>
                  </a:cubicBezTo>
                  <a:cubicBezTo>
                    <a:pt x="11475" y="18830"/>
                    <a:pt x="14850" y="21064"/>
                    <a:pt x="12150" y="195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8" name="Shape 1997">
              <a:extLst>
                <a:ext uri="{FF2B5EF4-FFF2-40B4-BE49-F238E27FC236}">
                  <a16:creationId xmlns:a16="http://schemas.microsoft.com/office/drawing/2014/main" id="{61ED1A01-60BE-A35F-EECF-26594879634F}"/>
                </a:ext>
              </a:extLst>
            </p:cNvPr>
            <p:cNvSpPr/>
            <p:nvPr/>
          </p:nvSpPr>
          <p:spPr>
            <a:xfrm>
              <a:off x="2369973" y="696271"/>
              <a:ext cx="169239" cy="142230"/>
            </a:xfrm>
            <a:custGeom>
              <a:avLst/>
              <a:gdLst/>
              <a:ahLst/>
              <a:cxnLst>
                <a:cxn ang="0">
                  <a:pos x="wd2" y="hd2"/>
                </a:cxn>
                <a:cxn ang="5400000">
                  <a:pos x="wd2" y="hd2"/>
                </a:cxn>
                <a:cxn ang="10800000">
                  <a:pos x="wd2" y="hd2"/>
                </a:cxn>
                <a:cxn ang="16200000">
                  <a:pos x="wd2" y="hd2"/>
                </a:cxn>
              </a:cxnLst>
              <a:rect l="0" t="0" r="r" b="b"/>
              <a:pathLst>
                <a:path w="19836" h="21025" extrusionOk="0">
                  <a:moveTo>
                    <a:pt x="4971" y="21025"/>
                  </a:moveTo>
                  <a:cubicBezTo>
                    <a:pt x="3428" y="20043"/>
                    <a:pt x="1885" y="20043"/>
                    <a:pt x="1885" y="18080"/>
                  </a:cubicBezTo>
                  <a:cubicBezTo>
                    <a:pt x="1885" y="15134"/>
                    <a:pt x="-429" y="13170"/>
                    <a:pt x="342" y="10225"/>
                  </a:cubicBezTo>
                  <a:cubicBezTo>
                    <a:pt x="342" y="8261"/>
                    <a:pt x="-429" y="5316"/>
                    <a:pt x="342" y="3352"/>
                  </a:cubicBezTo>
                  <a:cubicBezTo>
                    <a:pt x="1114" y="3352"/>
                    <a:pt x="4200" y="4334"/>
                    <a:pt x="4200" y="3352"/>
                  </a:cubicBezTo>
                  <a:cubicBezTo>
                    <a:pt x="4200" y="2370"/>
                    <a:pt x="-429" y="2370"/>
                    <a:pt x="3428" y="407"/>
                  </a:cubicBezTo>
                  <a:cubicBezTo>
                    <a:pt x="6514" y="-575"/>
                    <a:pt x="8828" y="407"/>
                    <a:pt x="11914" y="1389"/>
                  </a:cubicBezTo>
                  <a:cubicBezTo>
                    <a:pt x="14228" y="1389"/>
                    <a:pt x="16542" y="1389"/>
                    <a:pt x="18857" y="2370"/>
                  </a:cubicBezTo>
                  <a:cubicBezTo>
                    <a:pt x="21171" y="3352"/>
                    <a:pt x="18857" y="5316"/>
                    <a:pt x="17314" y="7280"/>
                  </a:cubicBezTo>
                  <a:cubicBezTo>
                    <a:pt x="16542" y="9243"/>
                    <a:pt x="15771" y="11207"/>
                    <a:pt x="14228" y="12189"/>
                  </a:cubicBezTo>
                  <a:cubicBezTo>
                    <a:pt x="13457" y="14152"/>
                    <a:pt x="10371" y="12189"/>
                    <a:pt x="8828" y="12189"/>
                  </a:cubicBezTo>
                  <a:cubicBezTo>
                    <a:pt x="8828" y="12189"/>
                    <a:pt x="6514" y="12189"/>
                    <a:pt x="7285" y="13170"/>
                  </a:cubicBezTo>
                  <a:cubicBezTo>
                    <a:pt x="7285" y="14152"/>
                    <a:pt x="8828" y="14152"/>
                    <a:pt x="8057" y="16116"/>
                  </a:cubicBezTo>
                  <a:cubicBezTo>
                    <a:pt x="7285" y="16116"/>
                    <a:pt x="5742" y="21025"/>
                    <a:pt x="4971" y="21025"/>
                  </a:cubicBezTo>
                  <a:cubicBezTo>
                    <a:pt x="3428" y="20043"/>
                    <a:pt x="5742" y="21025"/>
                    <a:pt x="4971" y="210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79" name="Shape 1998">
              <a:extLst>
                <a:ext uri="{FF2B5EF4-FFF2-40B4-BE49-F238E27FC236}">
                  <a16:creationId xmlns:a16="http://schemas.microsoft.com/office/drawing/2014/main" id="{96C52683-ECF8-DC7E-A95F-F47DB1391A8C}"/>
                </a:ext>
              </a:extLst>
            </p:cNvPr>
            <p:cNvSpPr/>
            <p:nvPr/>
          </p:nvSpPr>
          <p:spPr>
            <a:xfrm>
              <a:off x="1379706" y="674397"/>
              <a:ext cx="346571" cy="213250"/>
            </a:xfrm>
            <a:custGeom>
              <a:avLst/>
              <a:gdLst/>
              <a:ahLst/>
              <a:cxnLst>
                <a:cxn ang="0">
                  <a:pos x="wd2" y="hd2"/>
                </a:cxn>
                <a:cxn ang="5400000">
                  <a:pos x="wd2" y="hd2"/>
                </a:cxn>
                <a:cxn ang="10800000">
                  <a:pos x="wd2" y="hd2"/>
                </a:cxn>
                <a:cxn ang="16200000">
                  <a:pos x="wd2" y="hd2"/>
                </a:cxn>
              </a:cxnLst>
              <a:rect l="0" t="0" r="r" b="b"/>
              <a:pathLst>
                <a:path w="21082" h="21124" extrusionOk="0">
                  <a:moveTo>
                    <a:pt x="20800" y="6545"/>
                  </a:moveTo>
                  <a:cubicBezTo>
                    <a:pt x="20000" y="5236"/>
                    <a:pt x="19200" y="3927"/>
                    <a:pt x="18000" y="2618"/>
                  </a:cubicBezTo>
                  <a:cubicBezTo>
                    <a:pt x="17600" y="2618"/>
                    <a:pt x="16800" y="1964"/>
                    <a:pt x="16400" y="1964"/>
                  </a:cubicBezTo>
                  <a:cubicBezTo>
                    <a:pt x="15200" y="1309"/>
                    <a:pt x="14800" y="1964"/>
                    <a:pt x="14000" y="2618"/>
                  </a:cubicBezTo>
                  <a:cubicBezTo>
                    <a:pt x="13600" y="2618"/>
                    <a:pt x="13200" y="1964"/>
                    <a:pt x="12800" y="1964"/>
                  </a:cubicBezTo>
                  <a:cubicBezTo>
                    <a:pt x="12400" y="1309"/>
                    <a:pt x="11600" y="1309"/>
                    <a:pt x="10800" y="655"/>
                  </a:cubicBezTo>
                  <a:cubicBezTo>
                    <a:pt x="10000" y="655"/>
                    <a:pt x="8800" y="0"/>
                    <a:pt x="8000" y="0"/>
                  </a:cubicBezTo>
                  <a:cubicBezTo>
                    <a:pt x="6800" y="0"/>
                    <a:pt x="5600" y="655"/>
                    <a:pt x="4400" y="655"/>
                  </a:cubicBezTo>
                  <a:cubicBezTo>
                    <a:pt x="3600" y="1309"/>
                    <a:pt x="2400" y="655"/>
                    <a:pt x="3200" y="1964"/>
                  </a:cubicBezTo>
                  <a:cubicBezTo>
                    <a:pt x="4000" y="4582"/>
                    <a:pt x="4000" y="5236"/>
                    <a:pt x="2800" y="7200"/>
                  </a:cubicBezTo>
                  <a:cubicBezTo>
                    <a:pt x="2000" y="8509"/>
                    <a:pt x="2800" y="9164"/>
                    <a:pt x="2800" y="9818"/>
                  </a:cubicBezTo>
                  <a:cubicBezTo>
                    <a:pt x="2400" y="10473"/>
                    <a:pt x="1600" y="10473"/>
                    <a:pt x="1600" y="11782"/>
                  </a:cubicBezTo>
                  <a:cubicBezTo>
                    <a:pt x="1200" y="13091"/>
                    <a:pt x="400" y="14400"/>
                    <a:pt x="0" y="15709"/>
                  </a:cubicBezTo>
                  <a:cubicBezTo>
                    <a:pt x="0" y="16364"/>
                    <a:pt x="2400" y="17018"/>
                    <a:pt x="2800" y="17018"/>
                  </a:cubicBezTo>
                  <a:cubicBezTo>
                    <a:pt x="4000" y="18327"/>
                    <a:pt x="4800" y="20945"/>
                    <a:pt x="6000" y="20945"/>
                  </a:cubicBezTo>
                  <a:cubicBezTo>
                    <a:pt x="6400" y="21600"/>
                    <a:pt x="7200" y="20291"/>
                    <a:pt x="7600" y="19636"/>
                  </a:cubicBezTo>
                  <a:cubicBezTo>
                    <a:pt x="8400" y="18982"/>
                    <a:pt x="9200" y="19636"/>
                    <a:pt x="10000" y="18982"/>
                  </a:cubicBezTo>
                  <a:cubicBezTo>
                    <a:pt x="10800" y="18982"/>
                    <a:pt x="10800" y="18327"/>
                    <a:pt x="11200" y="17018"/>
                  </a:cubicBezTo>
                  <a:cubicBezTo>
                    <a:pt x="11200" y="15709"/>
                    <a:pt x="11200" y="15055"/>
                    <a:pt x="12400" y="13745"/>
                  </a:cubicBezTo>
                  <a:cubicBezTo>
                    <a:pt x="13200" y="13091"/>
                    <a:pt x="13600" y="11782"/>
                    <a:pt x="14800" y="11127"/>
                  </a:cubicBezTo>
                  <a:cubicBezTo>
                    <a:pt x="16000" y="9818"/>
                    <a:pt x="17200" y="9164"/>
                    <a:pt x="18400" y="8509"/>
                  </a:cubicBezTo>
                  <a:cubicBezTo>
                    <a:pt x="18400" y="8509"/>
                    <a:pt x="21200" y="6545"/>
                    <a:pt x="20800" y="6545"/>
                  </a:cubicBezTo>
                  <a:cubicBezTo>
                    <a:pt x="20400" y="5891"/>
                    <a:pt x="21600" y="7200"/>
                    <a:pt x="20800" y="654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0" name="Shape 1999">
              <a:extLst>
                <a:ext uri="{FF2B5EF4-FFF2-40B4-BE49-F238E27FC236}">
                  <a16:creationId xmlns:a16="http://schemas.microsoft.com/office/drawing/2014/main" id="{A7FA52CF-3E35-E7B4-E609-BDEE99B14F1F}"/>
                </a:ext>
              </a:extLst>
            </p:cNvPr>
            <p:cNvSpPr/>
            <p:nvPr/>
          </p:nvSpPr>
          <p:spPr>
            <a:xfrm>
              <a:off x="2075026" y="613701"/>
              <a:ext cx="33816" cy="26977"/>
            </a:xfrm>
            <a:custGeom>
              <a:avLst/>
              <a:gdLst/>
              <a:ahLst/>
              <a:cxnLst>
                <a:cxn ang="0">
                  <a:pos x="wd2" y="hd2"/>
                </a:cxn>
                <a:cxn ang="5400000">
                  <a:pos x="wd2" y="hd2"/>
                </a:cxn>
                <a:cxn ang="10800000">
                  <a:pos x="wd2" y="hd2"/>
                </a:cxn>
                <a:cxn ang="16200000">
                  <a:pos x="wd2" y="hd2"/>
                </a:cxn>
              </a:cxnLst>
              <a:rect l="0" t="0" r="r" b="b"/>
              <a:pathLst>
                <a:path w="15476" h="21600" extrusionOk="0">
                  <a:moveTo>
                    <a:pt x="9887" y="21600"/>
                  </a:moveTo>
                  <a:cubicBezTo>
                    <a:pt x="6801" y="21600"/>
                    <a:pt x="630" y="21600"/>
                    <a:pt x="630" y="16200"/>
                  </a:cubicBezTo>
                  <a:cubicBezTo>
                    <a:pt x="-2456" y="10800"/>
                    <a:pt x="6801" y="0"/>
                    <a:pt x="6801" y="0"/>
                  </a:cubicBezTo>
                  <a:cubicBezTo>
                    <a:pt x="16058" y="0"/>
                    <a:pt x="19144" y="21600"/>
                    <a:pt x="9887" y="21600"/>
                  </a:cubicBezTo>
                  <a:cubicBezTo>
                    <a:pt x="630" y="16200"/>
                    <a:pt x="16058" y="21600"/>
                    <a:pt x="9887"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1" name="Shape 2000">
              <a:extLst>
                <a:ext uri="{FF2B5EF4-FFF2-40B4-BE49-F238E27FC236}">
                  <a16:creationId xmlns:a16="http://schemas.microsoft.com/office/drawing/2014/main" id="{519999F8-087D-7216-D39D-AF68C2970A48}"/>
                </a:ext>
              </a:extLst>
            </p:cNvPr>
            <p:cNvSpPr/>
            <p:nvPr/>
          </p:nvSpPr>
          <p:spPr>
            <a:xfrm>
              <a:off x="1662879" y="507244"/>
              <a:ext cx="390749" cy="173899"/>
            </a:xfrm>
            <a:custGeom>
              <a:avLst/>
              <a:gdLst/>
              <a:ahLst/>
              <a:cxnLst>
                <a:cxn ang="0">
                  <a:pos x="wd2" y="hd2"/>
                </a:cxn>
                <a:cxn ang="5400000">
                  <a:pos x="wd2" y="hd2"/>
                </a:cxn>
                <a:cxn ang="10800000">
                  <a:pos x="wd2" y="hd2"/>
                </a:cxn>
                <a:cxn ang="16200000">
                  <a:pos x="wd2" y="hd2"/>
                </a:cxn>
              </a:cxnLst>
              <a:rect l="0" t="0" r="r" b="b"/>
              <a:pathLst>
                <a:path w="21338" h="20131" extrusionOk="0">
                  <a:moveTo>
                    <a:pt x="18000" y="15502"/>
                  </a:moveTo>
                  <a:cubicBezTo>
                    <a:pt x="17640" y="15502"/>
                    <a:pt x="17640" y="14731"/>
                    <a:pt x="17280" y="14731"/>
                  </a:cubicBezTo>
                  <a:cubicBezTo>
                    <a:pt x="17280" y="14731"/>
                    <a:pt x="16560" y="15502"/>
                    <a:pt x="16560" y="16274"/>
                  </a:cubicBezTo>
                  <a:cubicBezTo>
                    <a:pt x="16200" y="16274"/>
                    <a:pt x="15840" y="16274"/>
                    <a:pt x="15480" y="15502"/>
                  </a:cubicBezTo>
                  <a:cubicBezTo>
                    <a:pt x="15120" y="15502"/>
                    <a:pt x="14760" y="15502"/>
                    <a:pt x="14400" y="16274"/>
                  </a:cubicBezTo>
                  <a:cubicBezTo>
                    <a:pt x="12600" y="17817"/>
                    <a:pt x="10800" y="18588"/>
                    <a:pt x="8640" y="19360"/>
                  </a:cubicBezTo>
                  <a:cubicBezTo>
                    <a:pt x="8280" y="19360"/>
                    <a:pt x="7200" y="20131"/>
                    <a:pt x="6840" y="20131"/>
                  </a:cubicBezTo>
                  <a:cubicBezTo>
                    <a:pt x="6120" y="19360"/>
                    <a:pt x="4680" y="18588"/>
                    <a:pt x="6120" y="17045"/>
                  </a:cubicBezTo>
                  <a:cubicBezTo>
                    <a:pt x="6840" y="17045"/>
                    <a:pt x="7920" y="15502"/>
                    <a:pt x="8640" y="15502"/>
                  </a:cubicBezTo>
                  <a:cubicBezTo>
                    <a:pt x="9360" y="15502"/>
                    <a:pt x="10080" y="15502"/>
                    <a:pt x="10440" y="15502"/>
                  </a:cubicBezTo>
                  <a:cubicBezTo>
                    <a:pt x="10440" y="15502"/>
                    <a:pt x="11520" y="13960"/>
                    <a:pt x="11160" y="13960"/>
                  </a:cubicBezTo>
                  <a:cubicBezTo>
                    <a:pt x="10800" y="13188"/>
                    <a:pt x="9000" y="13960"/>
                    <a:pt x="8640" y="13960"/>
                  </a:cubicBezTo>
                  <a:cubicBezTo>
                    <a:pt x="7920" y="14731"/>
                    <a:pt x="7560" y="14731"/>
                    <a:pt x="6840" y="14731"/>
                  </a:cubicBezTo>
                  <a:cubicBezTo>
                    <a:pt x="6120" y="14731"/>
                    <a:pt x="6840" y="13960"/>
                    <a:pt x="6840" y="13188"/>
                  </a:cubicBezTo>
                  <a:cubicBezTo>
                    <a:pt x="6840" y="10874"/>
                    <a:pt x="4680" y="14731"/>
                    <a:pt x="4320" y="14731"/>
                  </a:cubicBezTo>
                  <a:cubicBezTo>
                    <a:pt x="4320" y="14731"/>
                    <a:pt x="3960" y="15502"/>
                    <a:pt x="3960" y="15502"/>
                  </a:cubicBezTo>
                  <a:cubicBezTo>
                    <a:pt x="3240" y="13960"/>
                    <a:pt x="3240" y="15502"/>
                    <a:pt x="3240" y="16274"/>
                  </a:cubicBezTo>
                  <a:cubicBezTo>
                    <a:pt x="3240" y="16274"/>
                    <a:pt x="2160" y="14731"/>
                    <a:pt x="1800" y="14731"/>
                  </a:cubicBezTo>
                  <a:cubicBezTo>
                    <a:pt x="1440" y="14731"/>
                    <a:pt x="0" y="15502"/>
                    <a:pt x="0" y="13960"/>
                  </a:cubicBezTo>
                  <a:cubicBezTo>
                    <a:pt x="0" y="12417"/>
                    <a:pt x="720" y="13188"/>
                    <a:pt x="1440" y="12417"/>
                  </a:cubicBezTo>
                  <a:cubicBezTo>
                    <a:pt x="2160" y="12417"/>
                    <a:pt x="2880" y="12417"/>
                    <a:pt x="3240" y="11645"/>
                  </a:cubicBezTo>
                  <a:cubicBezTo>
                    <a:pt x="3240" y="11645"/>
                    <a:pt x="4320" y="10874"/>
                    <a:pt x="3960" y="10874"/>
                  </a:cubicBezTo>
                  <a:cubicBezTo>
                    <a:pt x="3240" y="10102"/>
                    <a:pt x="2160" y="10874"/>
                    <a:pt x="1800" y="10874"/>
                  </a:cubicBezTo>
                  <a:cubicBezTo>
                    <a:pt x="720" y="10874"/>
                    <a:pt x="0" y="9331"/>
                    <a:pt x="1440" y="9331"/>
                  </a:cubicBezTo>
                  <a:cubicBezTo>
                    <a:pt x="2160" y="9331"/>
                    <a:pt x="3600" y="8560"/>
                    <a:pt x="4320" y="8560"/>
                  </a:cubicBezTo>
                  <a:cubicBezTo>
                    <a:pt x="3960" y="8560"/>
                    <a:pt x="1440" y="9331"/>
                    <a:pt x="1440" y="7788"/>
                  </a:cubicBezTo>
                  <a:cubicBezTo>
                    <a:pt x="1080" y="6245"/>
                    <a:pt x="4320" y="7017"/>
                    <a:pt x="4680" y="6245"/>
                  </a:cubicBezTo>
                  <a:cubicBezTo>
                    <a:pt x="4680" y="6245"/>
                    <a:pt x="3240" y="5474"/>
                    <a:pt x="3240" y="4702"/>
                  </a:cubicBezTo>
                  <a:cubicBezTo>
                    <a:pt x="2880" y="3931"/>
                    <a:pt x="5040" y="3160"/>
                    <a:pt x="5040" y="3160"/>
                  </a:cubicBezTo>
                  <a:cubicBezTo>
                    <a:pt x="6120" y="3160"/>
                    <a:pt x="5400" y="6245"/>
                    <a:pt x="6120" y="6245"/>
                  </a:cubicBezTo>
                  <a:cubicBezTo>
                    <a:pt x="7200" y="6245"/>
                    <a:pt x="7920" y="6245"/>
                    <a:pt x="9000" y="7017"/>
                  </a:cubicBezTo>
                  <a:cubicBezTo>
                    <a:pt x="9360" y="7788"/>
                    <a:pt x="10080" y="8560"/>
                    <a:pt x="10440" y="9331"/>
                  </a:cubicBezTo>
                  <a:cubicBezTo>
                    <a:pt x="11160" y="10874"/>
                    <a:pt x="10800" y="11645"/>
                    <a:pt x="11520" y="11645"/>
                  </a:cubicBezTo>
                  <a:cubicBezTo>
                    <a:pt x="12600" y="11645"/>
                    <a:pt x="13320" y="11645"/>
                    <a:pt x="14040" y="10874"/>
                  </a:cubicBezTo>
                  <a:cubicBezTo>
                    <a:pt x="15480" y="10102"/>
                    <a:pt x="13320" y="9331"/>
                    <a:pt x="13320" y="8560"/>
                  </a:cubicBezTo>
                  <a:cubicBezTo>
                    <a:pt x="13320" y="8560"/>
                    <a:pt x="16200" y="7788"/>
                    <a:pt x="13680" y="5474"/>
                  </a:cubicBezTo>
                  <a:cubicBezTo>
                    <a:pt x="13320" y="5474"/>
                    <a:pt x="12600" y="5474"/>
                    <a:pt x="12960" y="4702"/>
                  </a:cubicBezTo>
                  <a:cubicBezTo>
                    <a:pt x="13320" y="3931"/>
                    <a:pt x="13680" y="3160"/>
                    <a:pt x="13680" y="2388"/>
                  </a:cubicBezTo>
                  <a:cubicBezTo>
                    <a:pt x="14040" y="1617"/>
                    <a:pt x="15480" y="-1469"/>
                    <a:pt x="15480" y="845"/>
                  </a:cubicBezTo>
                  <a:cubicBezTo>
                    <a:pt x="15480" y="1617"/>
                    <a:pt x="15840" y="2388"/>
                    <a:pt x="15840" y="3931"/>
                  </a:cubicBezTo>
                  <a:cubicBezTo>
                    <a:pt x="16200" y="3931"/>
                    <a:pt x="16200" y="4702"/>
                    <a:pt x="16200" y="5474"/>
                  </a:cubicBezTo>
                  <a:cubicBezTo>
                    <a:pt x="16560" y="6245"/>
                    <a:pt x="15840" y="5474"/>
                    <a:pt x="15840" y="6245"/>
                  </a:cubicBezTo>
                  <a:cubicBezTo>
                    <a:pt x="15840" y="7788"/>
                    <a:pt x="16920" y="6245"/>
                    <a:pt x="16920" y="7017"/>
                  </a:cubicBezTo>
                  <a:cubicBezTo>
                    <a:pt x="16920" y="8560"/>
                    <a:pt x="18000" y="9331"/>
                    <a:pt x="18360" y="9331"/>
                  </a:cubicBezTo>
                  <a:cubicBezTo>
                    <a:pt x="19080" y="9331"/>
                    <a:pt x="19080" y="10102"/>
                    <a:pt x="19080" y="8560"/>
                  </a:cubicBezTo>
                  <a:cubicBezTo>
                    <a:pt x="19080" y="7017"/>
                    <a:pt x="19800" y="7017"/>
                    <a:pt x="20520" y="7788"/>
                  </a:cubicBezTo>
                  <a:cubicBezTo>
                    <a:pt x="20880" y="7788"/>
                    <a:pt x="21600" y="9331"/>
                    <a:pt x="21240" y="10102"/>
                  </a:cubicBezTo>
                  <a:cubicBezTo>
                    <a:pt x="21240" y="10874"/>
                    <a:pt x="20880" y="13188"/>
                    <a:pt x="20880" y="13960"/>
                  </a:cubicBezTo>
                  <a:cubicBezTo>
                    <a:pt x="20520" y="14731"/>
                    <a:pt x="18360" y="15502"/>
                    <a:pt x="18000" y="15502"/>
                  </a:cubicBezTo>
                  <a:cubicBezTo>
                    <a:pt x="17280" y="14731"/>
                    <a:pt x="18360" y="15502"/>
                    <a:pt x="18000" y="155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2" name="Shape 2001">
              <a:extLst>
                <a:ext uri="{FF2B5EF4-FFF2-40B4-BE49-F238E27FC236}">
                  <a16:creationId xmlns:a16="http://schemas.microsoft.com/office/drawing/2014/main" id="{15782BE2-D944-5372-49C5-6C3029520E06}"/>
                </a:ext>
              </a:extLst>
            </p:cNvPr>
            <p:cNvSpPr/>
            <p:nvPr/>
          </p:nvSpPr>
          <p:spPr>
            <a:xfrm>
              <a:off x="1595456" y="572311"/>
              <a:ext cx="62099" cy="35963"/>
            </a:xfrm>
            <a:custGeom>
              <a:avLst/>
              <a:gdLst/>
              <a:ahLst/>
              <a:cxnLst>
                <a:cxn ang="0">
                  <a:pos x="wd2" y="hd2"/>
                </a:cxn>
                <a:cxn ang="5400000">
                  <a:pos x="wd2" y="hd2"/>
                </a:cxn>
                <a:cxn ang="10800000">
                  <a:pos x="wd2" y="hd2"/>
                </a:cxn>
                <a:cxn ang="16200000">
                  <a:pos x="wd2" y="hd2"/>
                </a:cxn>
              </a:cxnLst>
              <a:rect l="0" t="0" r="r" b="b"/>
              <a:pathLst>
                <a:path w="19894" h="17277" extrusionOk="0">
                  <a:moveTo>
                    <a:pt x="19440" y="1372"/>
                  </a:moveTo>
                  <a:cubicBezTo>
                    <a:pt x="17280" y="1372"/>
                    <a:pt x="0" y="13715"/>
                    <a:pt x="0" y="13715"/>
                  </a:cubicBezTo>
                  <a:cubicBezTo>
                    <a:pt x="4320" y="16800"/>
                    <a:pt x="10800" y="19886"/>
                    <a:pt x="12960" y="13715"/>
                  </a:cubicBezTo>
                  <a:cubicBezTo>
                    <a:pt x="15120" y="10629"/>
                    <a:pt x="19440" y="-1714"/>
                    <a:pt x="19440" y="1372"/>
                  </a:cubicBezTo>
                  <a:cubicBezTo>
                    <a:pt x="15120" y="1372"/>
                    <a:pt x="21600" y="-1714"/>
                    <a:pt x="19440" y="137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3" name="Shape 2002">
              <a:extLst>
                <a:ext uri="{FF2B5EF4-FFF2-40B4-BE49-F238E27FC236}">
                  <a16:creationId xmlns:a16="http://schemas.microsoft.com/office/drawing/2014/main" id="{E8F8B456-5720-EF18-95BC-A5CC23D8D54C}"/>
                </a:ext>
              </a:extLst>
            </p:cNvPr>
            <p:cNvSpPr/>
            <p:nvPr/>
          </p:nvSpPr>
          <p:spPr>
            <a:xfrm>
              <a:off x="1478591" y="469832"/>
              <a:ext cx="237501" cy="112402"/>
            </a:xfrm>
            <a:custGeom>
              <a:avLst/>
              <a:gdLst/>
              <a:ahLst/>
              <a:cxnLst>
                <a:cxn ang="0">
                  <a:pos x="wd2" y="hd2"/>
                </a:cxn>
                <a:cxn ang="5400000">
                  <a:pos x="wd2" y="hd2"/>
                </a:cxn>
                <a:cxn ang="10800000">
                  <a:pos x="wd2" y="hd2"/>
                </a:cxn>
                <a:cxn ang="16200000">
                  <a:pos x="wd2" y="hd2"/>
                </a:cxn>
              </a:cxnLst>
              <a:rect l="0" t="0" r="r" b="b"/>
              <a:pathLst>
                <a:path w="21135" h="21600" extrusionOk="0">
                  <a:moveTo>
                    <a:pt x="17514" y="15247"/>
                  </a:moveTo>
                  <a:cubicBezTo>
                    <a:pt x="16930" y="16518"/>
                    <a:pt x="15762" y="16518"/>
                    <a:pt x="15762" y="16518"/>
                  </a:cubicBezTo>
                  <a:cubicBezTo>
                    <a:pt x="14011" y="16518"/>
                    <a:pt x="14595" y="13976"/>
                    <a:pt x="15178" y="12706"/>
                  </a:cubicBezTo>
                  <a:cubicBezTo>
                    <a:pt x="15762" y="10165"/>
                    <a:pt x="14011" y="8894"/>
                    <a:pt x="13427" y="10165"/>
                  </a:cubicBezTo>
                  <a:cubicBezTo>
                    <a:pt x="13427" y="11435"/>
                    <a:pt x="13427" y="12706"/>
                    <a:pt x="12843" y="12706"/>
                  </a:cubicBezTo>
                  <a:cubicBezTo>
                    <a:pt x="12843" y="12706"/>
                    <a:pt x="12259" y="12706"/>
                    <a:pt x="12259" y="11435"/>
                  </a:cubicBezTo>
                  <a:cubicBezTo>
                    <a:pt x="11676" y="12706"/>
                    <a:pt x="12259" y="15247"/>
                    <a:pt x="11676" y="16518"/>
                  </a:cubicBezTo>
                  <a:cubicBezTo>
                    <a:pt x="11092" y="19059"/>
                    <a:pt x="10508" y="16518"/>
                    <a:pt x="9924" y="17788"/>
                  </a:cubicBezTo>
                  <a:cubicBezTo>
                    <a:pt x="9341" y="17788"/>
                    <a:pt x="9924" y="20329"/>
                    <a:pt x="9341" y="20329"/>
                  </a:cubicBezTo>
                  <a:cubicBezTo>
                    <a:pt x="9341" y="21600"/>
                    <a:pt x="7589" y="21600"/>
                    <a:pt x="7005" y="21600"/>
                  </a:cubicBezTo>
                  <a:cubicBezTo>
                    <a:pt x="6422" y="20329"/>
                    <a:pt x="6422" y="17788"/>
                    <a:pt x="5838" y="19059"/>
                  </a:cubicBezTo>
                  <a:cubicBezTo>
                    <a:pt x="4670" y="20329"/>
                    <a:pt x="4086" y="20329"/>
                    <a:pt x="2919" y="20329"/>
                  </a:cubicBezTo>
                  <a:cubicBezTo>
                    <a:pt x="2335" y="20329"/>
                    <a:pt x="1168" y="21600"/>
                    <a:pt x="584" y="21600"/>
                  </a:cubicBezTo>
                  <a:cubicBezTo>
                    <a:pt x="0" y="21600"/>
                    <a:pt x="1751" y="17788"/>
                    <a:pt x="1168" y="16518"/>
                  </a:cubicBezTo>
                  <a:cubicBezTo>
                    <a:pt x="1168" y="16518"/>
                    <a:pt x="584" y="17788"/>
                    <a:pt x="0" y="17788"/>
                  </a:cubicBezTo>
                  <a:cubicBezTo>
                    <a:pt x="0" y="16518"/>
                    <a:pt x="2919" y="15247"/>
                    <a:pt x="3503" y="15247"/>
                  </a:cubicBezTo>
                  <a:cubicBezTo>
                    <a:pt x="4670" y="15247"/>
                    <a:pt x="4670" y="13976"/>
                    <a:pt x="5254" y="12706"/>
                  </a:cubicBezTo>
                  <a:cubicBezTo>
                    <a:pt x="6422" y="10165"/>
                    <a:pt x="7005" y="10165"/>
                    <a:pt x="7589" y="8894"/>
                  </a:cubicBezTo>
                  <a:cubicBezTo>
                    <a:pt x="8757" y="6353"/>
                    <a:pt x="9341" y="3812"/>
                    <a:pt x="10508" y="3812"/>
                  </a:cubicBezTo>
                  <a:cubicBezTo>
                    <a:pt x="11676" y="2541"/>
                    <a:pt x="12843" y="2541"/>
                    <a:pt x="14011" y="3812"/>
                  </a:cubicBezTo>
                  <a:cubicBezTo>
                    <a:pt x="15178" y="3812"/>
                    <a:pt x="16930" y="5082"/>
                    <a:pt x="17514" y="3812"/>
                  </a:cubicBezTo>
                  <a:cubicBezTo>
                    <a:pt x="18097" y="2541"/>
                    <a:pt x="17514" y="0"/>
                    <a:pt x="18681" y="0"/>
                  </a:cubicBezTo>
                  <a:cubicBezTo>
                    <a:pt x="18681" y="0"/>
                    <a:pt x="21016" y="1271"/>
                    <a:pt x="21016" y="2541"/>
                  </a:cubicBezTo>
                  <a:cubicBezTo>
                    <a:pt x="21600" y="2541"/>
                    <a:pt x="19849" y="3812"/>
                    <a:pt x="19849" y="5082"/>
                  </a:cubicBezTo>
                  <a:cubicBezTo>
                    <a:pt x="19849" y="6353"/>
                    <a:pt x="21600" y="7624"/>
                    <a:pt x="19849" y="8894"/>
                  </a:cubicBezTo>
                  <a:cubicBezTo>
                    <a:pt x="19265" y="10165"/>
                    <a:pt x="21016" y="11435"/>
                    <a:pt x="20432" y="11435"/>
                  </a:cubicBezTo>
                  <a:cubicBezTo>
                    <a:pt x="19265" y="12706"/>
                    <a:pt x="18681" y="12706"/>
                    <a:pt x="18097" y="12706"/>
                  </a:cubicBezTo>
                  <a:cubicBezTo>
                    <a:pt x="18097" y="13976"/>
                    <a:pt x="18097" y="13976"/>
                    <a:pt x="17514" y="15247"/>
                  </a:cubicBezTo>
                  <a:cubicBezTo>
                    <a:pt x="16930" y="16518"/>
                    <a:pt x="18097" y="13976"/>
                    <a:pt x="17514" y="1524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4" name="Shape 2003">
              <a:extLst>
                <a:ext uri="{FF2B5EF4-FFF2-40B4-BE49-F238E27FC236}">
                  <a16:creationId xmlns:a16="http://schemas.microsoft.com/office/drawing/2014/main" id="{94A0405D-8455-B819-F212-70B9E8E477FC}"/>
                </a:ext>
              </a:extLst>
            </p:cNvPr>
            <p:cNvSpPr/>
            <p:nvPr/>
          </p:nvSpPr>
          <p:spPr>
            <a:xfrm>
              <a:off x="1753951" y="514788"/>
              <a:ext cx="30617" cy="13489"/>
            </a:xfrm>
            <a:custGeom>
              <a:avLst/>
              <a:gdLst/>
              <a:ahLst/>
              <a:cxnLst>
                <a:cxn ang="0">
                  <a:pos x="wd2" y="hd2"/>
                </a:cxn>
                <a:cxn ang="5400000">
                  <a:pos x="wd2" y="hd2"/>
                </a:cxn>
                <a:cxn ang="10800000">
                  <a:pos x="wd2" y="hd2"/>
                </a:cxn>
                <a:cxn ang="16200000">
                  <a:pos x="wd2" y="hd2"/>
                </a:cxn>
              </a:cxnLst>
              <a:rect l="0" t="0" r="r" b="b"/>
              <a:pathLst>
                <a:path w="12793" h="21600" extrusionOk="0">
                  <a:moveTo>
                    <a:pt x="11013" y="21600"/>
                  </a:moveTo>
                  <a:cubicBezTo>
                    <a:pt x="5613" y="21600"/>
                    <a:pt x="-5187" y="10800"/>
                    <a:pt x="2913" y="0"/>
                  </a:cubicBezTo>
                  <a:cubicBezTo>
                    <a:pt x="8313" y="0"/>
                    <a:pt x="16413" y="21600"/>
                    <a:pt x="11013"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5" name="Shape 2004">
              <a:extLst>
                <a:ext uri="{FF2B5EF4-FFF2-40B4-BE49-F238E27FC236}">
                  <a16:creationId xmlns:a16="http://schemas.microsoft.com/office/drawing/2014/main" id="{477EC07A-8852-418A-FB29-35BAF6A8EC63}"/>
                </a:ext>
              </a:extLst>
            </p:cNvPr>
            <p:cNvSpPr/>
            <p:nvPr/>
          </p:nvSpPr>
          <p:spPr>
            <a:xfrm>
              <a:off x="1797068" y="422624"/>
              <a:ext cx="119953" cy="61571"/>
            </a:xfrm>
            <a:custGeom>
              <a:avLst/>
              <a:gdLst/>
              <a:ahLst/>
              <a:cxnLst>
                <a:cxn ang="0">
                  <a:pos x="wd2" y="hd2"/>
                </a:cxn>
                <a:cxn ang="5400000">
                  <a:pos x="wd2" y="hd2"/>
                </a:cxn>
                <a:cxn ang="10800000">
                  <a:pos x="wd2" y="hd2"/>
                </a:cxn>
                <a:cxn ang="16200000">
                  <a:pos x="wd2" y="hd2"/>
                </a:cxn>
              </a:cxnLst>
              <a:rect l="0" t="0" r="r" b="b"/>
              <a:pathLst>
                <a:path w="18595" h="20400" extrusionOk="0">
                  <a:moveTo>
                    <a:pt x="5560" y="19440"/>
                  </a:moveTo>
                  <a:cubicBezTo>
                    <a:pt x="4531" y="19440"/>
                    <a:pt x="-1640" y="12960"/>
                    <a:pt x="417" y="8640"/>
                  </a:cubicBezTo>
                  <a:cubicBezTo>
                    <a:pt x="2474" y="4320"/>
                    <a:pt x="5560" y="4320"/>
                    <a:pt x="7617" y="4320"/>
                  </a:cubicBezTo>
                  <a:cubicBezTo>
                    <a:pt x="10703" y="2160"/>
                    <a:pt x="13789" y="0"/>
                    <a:pt x="15846" y="0"/>
                  </a:cubicBezTo>
                  <a:cubicBezTo>
                    <a:pt x="16874" y="0"/>
                    <a:pt x="19960" y="2160"/>
                    <a:pt x="17903" y="4320"/>
                  </a:cubicBezTo>
                  <a:cubicBezTo>
                    <a:pt x="16874" y="6480"/>
                    <a:pt x="13789" y="4320"/>
                    <a:pt x="12760" y="8640"/>
                  </a:cubicBezTo>
                  <a:cubicBezTo>
                    <a:pt x="12760" y="8640"/>
                    <a:pt x="17903" y="12960"/>
                    <a:pt x="13789" y="15120"/>
                  </a:cubicBezTo>
                  <a:cubicBezTo>
                    <a:pt x="11731" y="17280"/>
                    <a:pt x="8646" y="21600"/>
                    <a:pt x="5560" y="19440"/>
                  </a:cubicBezTo>
                  <a:cubicBezTo>
                    <a:pt x="3503" y="19440"/>
                    <a:pt x="7617" y="21600"/>
                    <a:pt x="5560" y="194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6" name="Shape 2005">
              <a:extLst>
                <a:ext uri="{FF2B5EF4-FFF2-40B4-BE49-F238E27FC236}">
                  <a16:creationId xmlns:a16="http://schemas.microsoft.com/office/drawing/2014/main" id="{EBC96996-D469-0312-4D65-803C47DC3A76}"/>
                </a:ext>
              </a:extLst>
            </p:cNvPr>
            <p:cNvSpPr/>
            <p:nvPr/>
          </p:nvSpPr>
          <p:spPr>
            <a:xfrm>
              <a:off x="1740468" y="436110"/>
              <a:ext cx="31556" cy="26978"/>
            </a:xfrm>
            <a:custGeom>
              <a:avLst/>
              <a:gdLst/>
              <a:ahLst/>
              <a:cxnLst>
                <a:cxn ang="0">
                  <a:pos x="wd2" y="hd2"/>
                </a:cxn>
                <a:cxn ang="5400000">
                  <a:pos x="wd2" y="hd2"/>
                </a:cxn>
                <a:cxn ang="10800000">
                  <a:pos x="wd2" y="hd2"/>
                </a:cxn>
                <a:cxn ang="16200000">
                  <a:pos x="wd2" y="hd2"/>
                </a:cxn>
              </a:cxnLst>
              <a:rect l="0" t="0" r="r" b="b"/>
              <a:pathLst>
                <a:path w="13186" h="21600" extrusionOk="0">
                  <a:moveTo>
                    <a:pt x="11013" y="21600"/>
                  </a:moveTo>
                  <a:cubicBezTo>
                    <a:pt x="5613" y="21600"/>
                    <a:pt x="-5187" y="0"/>
                    <a:pt x="2913" y="0"/>
                  </a:cubicBezTo>
                  <a:cubicBezTo>
                    <a:pt x="11013" y="0"/>
                    <a:pt x="16413" y="16200"/>
                    <a:pt x="11013"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7" name="Shape 2006">
              <a:extLst>
                <a:ext uri="{FF2B5EF4-FFF2-40B4-BE49-F238E27FC236}">
                  <a16:creationId xmlns:a16="http://schemas.microsoft.com/office/drawing/2014/main" id="{79BEC9C3-FF3B-4CDD-C390-78042C78A26F}"/>
                </a:ext>
              </a:extLst>
            </p:cNvPr>
            <p:cNvSpPr/>
            <p:nvPr/>
          </p:nvSpPr>
          <p:spPr>
            <a:xfrm>
              <a:off x="1804690" y="379513"/>
              <a:ext cx="118759" cy="39363"/>
            </a:xfrm>
            <a:custGeom>
              <a:avLst/>
              <a:gdLst/>
              <a:ahLst/>
              <a:cxnLst>
                <a:cxn ang="0">
                  <a:pos x="wd2" y="hd2"/>
                </a:cxn>
                <a:cxn ang="5400000">
                  <a:pos x="wd2" y="hd2"/>
                </a:cxn>
                <a:cxn ang="10800000">
                  <a:pos x="wd2" y="hd2"/>
                </a:cxn>
                <a:cxn ang="16200000">
                  <a:pos x="wd2" y="hd2"/>
                </a:cxn>
              </a:cxnLst>
              <a:rect l="0" t="0" r="r" b="b"/>
              <a:pathLst>
                <a:path w="18409" h="18011" extrusionOk="0">
                  <a:moveTo>
                    <a:pt x="297" y="13554"/>
                  </a:moveTo>
                  <a:cubicBezTo>
                    <a:pt x="-732" y="13554"/>
                    <a:pt x="2354" y="10468"/>
                    <a:pt x="3382" y="10468"/>
                  </a:cubicBezTo>
                  <a:cubicBezTo>
                    <a:pt x="5439" y="7382"/>
                    <a:pt x="6468" y="4296"/>
                    <a:pt x="8525" y="1211"/>
                  </a:cubicBezTo>
                  <a:cubicBezTo>
                    <a:pt x="11611" y="-1875"/>
                    <a:pt x="14697" y="1211"/>
                    <a:pt x="17782" y="7382"/>
                  </a:cubicBezTo>
                  <a:cubicBezTo>
                    <a:pt x="20868" y="16639"/>
                    <a:pt x="11611" y="16639"/>
                    <a:pt x="10582" y="16639"/>
                  </a:cubicBezTo>
                  <a:cubicBezTo>
                    <a:pt x="8525" y="16639"/>
                    <a:pt x="7497" y="19725"/>
                    <a:pt x="5439" y="16639"/>
                  </a:cubicBezTo>
                  <a:cubicBezTo>
                    <a:pt x="3382" y="13554"/>
                    <a:pt x="1325" y="16639"/>
                    <a:pt x="297" y="13554"/>
                  </a:cubicBezTo>
                  <a:cubicBezTo>
                    <a:pt x="-732" y="10468"/>
                    <a:pt x="1325" y="16639"/>
                    <a:pt x="297" y="135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8" name="Shape 2007">
              <a:extLst>
                <a:ext uri="{FF2B5EF4-FFF2-40B4-BE49-F238E27FC236}">
                  <a16:creationId xmlns:a16="http://schemas.microsoft.com/office/drawing/2014/main" id="{8661476B-2266-D720-1E6D-B713ED75A3FB}"/>
                </a:ext>
              </a:extLst>
            </p:cNvPr>
            <p:cNvSpPr/>
            <p:nvPr/>
          </p:nvSpPr>
          <p:spPr>
            <a:xfrm>
              <a:off x="2141820" y="521414"/>
              <a:ext cx="177290" cy="119264"/>
            </a:xfrm>
            <a:custGeom>
              <a:avLst/>
              <a:gdLst/>
              <a:ahLst/>
              <a:cxnLst>
                <a:cxn ang="0">
                  <a:pos x="wd2" y="hd2"/>
                </a:cxn>
                <a:cxn ang="5400000">
                  <a:pos x="wd2" y="hd2"/>
                </a:cxn>
                <a:cxn ang="10800000">
                  <a:pos x="wd2" y="hd2"/>
                </a:cxn>
                <a:cxn ang="16200000">
                  <a:pos x="wd2" y="hd2"/>
                </a:cxn>
              </a:cxnLst>
              <a:rect l="0" t="0" r="r" b="b"/>
              <a:pathLst>
                <a:path w="20780" h="20463" extrusionOk="0">
                  <a:moveTo>
                    <a:pt x="16416" y="20463"/>
                  </a:moveTo>
                  <a:cubicBezTo>
                    <a:pt x="14874" y="20463"/>
                    <a:pt x="12559" y="20463"/>
                    <a:pt x="11016" y="20463"/>
                  </a:cubicBezTo>
                  <a:cubicBezTo>
                    <a:pt x="8702" y="20463"/>
                    <a:pt x="11016" y="19326"/>
                    <a:pt x="11016" y="18189"/>
                  </a:cubicBezTo>
                  <a:cubicBezTo>
                    <a:pt x="11788" y="17052"/>
                    <a:pt x="7931" y="17052"/>
                    <a:pt x="8702" y="15916"/>
                  </a:cubicBezTo>
                  <a:cubicBezTo>
                    <a:pt x="9474" y="14779"/>
                    <a:pt x="11016" y="13642"/>
                    <a:pt x="12559" y="13642"/>
                  </a:cubicBezTo>
                  <a:cubicBezTo>
                    <a:pt x="13331" y="12505"/>
                    <a:pt x="12559" y="12505"/>
                    <a:pt x="11788" y="12505"/>
                  </a:cubicBezTo>
                  <a:cubicBezTo>
                    <a:pt x="10245" y="11368"/>
                    <a:pt x="8702" y="12505"/>
                    <a:pt x="6388" y="13642"/>
                  </a:cubicBezTo>
                  <a:cubicBezTo>
                    <a:pt x="4845" y="13642"/>
                    <a:pt x="3302" y="13642"/>
                    <a:pt x="988" y="13642"/>
                  </a:cubicBezTo>
                  <a:cubicBezTo>
                    <a:pt x="988" y="14779"/>
                    <a:pt x="-555" y="14779"/>
                    <a:pt x="216" y="12505"/>
                  </a:cubicBezTo>
                  <a:cubicBezTo>
                    <a:pt x="1759" y="10231"/>
                    <a:pt x="3302" y="11368"/>
                    <a:pt x="4845" y="10231"/>
                  </a:cubicBezTo>
                  <a:cubicBezTo>
                    <a:pt x="7931" y="9095"/>
                    <a:pt x="2531" y="9095"/>
                    <a:pt x="2531" y="7958"/>
                  </a:cubicBezTo>
                  <a:cubicBezTo>
                    <a:pt x="1759" y="7958"/>
                    <a:pt x="4845" y="5684"/>
                    <a:pt x="4845" y="5684"/>
                  </a:cubicBezTo>
                  <a:cubicBezTo>
                    <a:pt x="4845" y="5684"/>
                    <a:pt x="2531" y="5684"/>
                    <a:pt x="1759" y="5684"/>
                  </a:cubicBezTo>
                  <a:cubicBezTo>
                    <a:pt x="1759" y="4547"/>
                    <a:pt x="4074" y="3410"/>
                    <a:pt x="4845" y="3410"/>
                  </a:cubicBezTo>
                  <a:cubicBezTo>
                    <a:pt x="6388" y="3410"/>
                    <a:pt x="7931" y="6821"/>
                    <a:pt x="9474" y="7958"/>
                  </a:cubicBezTo>
                  <a:cubicBezTo>
                    <a:pt x="10245" y="7958"/>
                    <a:pt x="11016" y="10231"/>
                    <a:pt x="11788" y="9095"/>
                  </a:cubicBezTo>
                  <a:cubicBezTo>
                    <a:pt x="14102" y="6821"/>
                    <a:pt x="9474" y="6821"/>
                    <a:pt x="9474" y="6821"/>
                  </a:cubicBezTo>
                  <a:cubicBezTo>
                    <a:pt x="10245" y="6821"/>
                    <a:pt x="13331" y="5684"/>
                    <a:pt x="10245" y="4547"/>
                  </a:cubicBezTo>
                  <a:cubicBezTo>
                    <a:pt x="9474" y="4547"/>
                    <a:pt x="8702" y="4547"/>
                    <a:pt x="7931" y="3410"/>
                  </a:cubicBezTo>
                  <a:cubicBezTo>
                    <a:pt x="6388" y="2274"/>
                    <a:pt x="7931" y="2274"/>
                    <a:pt x="7931" y="1137"/>
                  </a:cubicBezTo>
                  <a:cubicBezTo>
                    <a:pt x="7159" y="1137"/>
                    <a:pt x="4845" y="2274"/>
                    <a:pt x="4845" y="2274"/>
                  </a:cubicBezTo>
                  <a:cubicBezTo>
                    <a:pt x="4074" y="1137"/>
                    <a:pt x="9474" y="0"/>
                    <a:pt x="9474" y="0"/>
                  </a:cubicBezTo>
                  <a:cubicBezTo>
                    <a:pt x="9474" y="0"/>
                    <a:pt x="8702" y="1137"/>
                    <a:pt x="8702" y="1137"/>
                  </a:cubicBezTo>
                  <a:cubicBezTo>
                    <a:pt x="7931" y="2274"/>
                    <a:pt x="10245" y="2274"/>
                    <a:pt x="11016" y="2274"/>
                  </a:cubicBezTo>
                  <a:cubicBezTo>
                    <a:pt x="13331" y="3410"/>
                    <a:pt x="14102" y="3410"/>
                    <a:pt x="15645" y="1137"/>
                  </a:cubicBezTo>
                  <a:cubicBezTo>
                    <a:pt x="17959" y="-1137"/>
                    <a:pt x="20274" y="5684"/>
                    <a:pt x="19502" y="7958"/>
                  </a:cubicBezTo>
                  <a:cubicBezTo>
                    <a:pt x="19502" y="10231"/>
                    <a:pt x="19502" y="11368"/>
                    <a:pt x="20274" y="12505"/>
                  </a:cubicBezTo>
                  <a:cubicBezTo>
                    <a:pt x="21045" y="14779"/>
                    <a:pt x="21045" y="15916"/>
                    <a:pt x="19502" y="14779"/>
                  </a:cubicBezTo>
                  <a:cubicBezTo>
                    <a:pt x="17959" y="12505"/>
                    <a:pt x="18731" y="17052"/>
                    <a:pt x="19502" y="18189"/>
                  </a:cubicBezTo>
                  <a:cubicBezTo>
                    <a:pt x="20274" y="19326"/>
                    <a:pt x="17188" y="20463"/>
                    <a:pt x="16416" y="2046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89" name="Shape 2008">
              <a:extLst>
                <a:ext uri="{FF2B5EF4-FFF2-40B4-BE49-F238E27FC236}">
                  <a16:creationId xmlns:a16="http://schemas.microsoft.com/office/drawing/2014/main" id="{D4B165DF-6715-9C25-5129-39D5CFC3F7BF}"/>
                </a:ext>
              </a:extLst>
            </p:cNvPr>
            <p:cNvSpPr/>
            <p:nvPr/>
          </p:nvSpPr>
          <p:spPr>
            <a:xfrm>
              <a:off x="2122331" y="575486"/>
              <a:ext cx="42955" cy="17985"/>
            </a:xfrm>
            <a:custGeom>
              <a:avLst/>
              <a:gdLst/>
              <a:ahLst/>
              <a:cxnLst>
                <a:cxn ang="0">
                  <a:pos x="wd2" y="hd2"/>
                </a:cxn>
                <a:cxn ang="5400000">
                  <a:pos x="wd2" y="hd2"/>
                </a:cxn>
                <a:cxn ang="10800000">
                  <a:pos x="wd2" y="hd2"/>
                </a:cxn>
                <a:cxn ang="16200000">
                  <a:pos x="wd2" y="hd2"/>
                </a:cxn>
              </a:cxnLst>
              <a:rect l="0" t="0" r="r" b="b"/>
              <a:pathLst>
                <a:path w="15878" h="21600" extrusionOk="0">
                  <a:moveTo>
                    <a:pt x="376" y="21600"/>
                  </a:moveTo>
                  <a:cubicBezTo>
                    <a:pt x="7576" y="14400"/>
                    <a:pt x="19576" y="0"/>
                    <a:pt x="14776" y="0"/>
                  </a:cubicBezTo>
                  <a:cubicBezTo>
                    <a:pt x="7576" y="0"/>
                    <a:pt x="-2024" y="21600"/>
                    <a:pt x="376"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0" name="Shape 2009">
              <a:extLst>
                <a:ext uri="{FF2B5EF4-FFF2-40B4-BE49-F238E27FC236}">
                  <a16:creationId xmlns:a16="http://schemas.microsoft.com/office/drawing/2014/main" id="{E0E1691A-8F8B-DD74-192F-9EFD437E4675}"/>
                </a:ext>
              </a:extLst>
            </p:cNvPr>
            <p:cNvSpPr/>
            <p:nvPr/>
          </p:nvSpPr>
          <p:spPr>
            <a:xfrm>
              <a:off x="2109048" y="568743"/>
              <a:ext cx="38406" cy="13489"/>
            </a:xfrm>
            <a:custGeom>
              <a:avLst/>
              <a:gdLst/>
              <a:ahLst/>
              <a:cxnLst>
                <a:cxn ang="0">
                  <a:pos x="wd2" y="hd2"/>
                </a:cxn>
                <a:cxn ang="5400000">
                  <a:pos x="wd2" y="hd2"/>
                </a:cxn>
                <a:cxn ang="10800000">
                  <a:pos x="wd2" y="hd2"/>
                </a:cxn>
                <a:cxn ang="16200000">
                  <a:pos x="wd2" y="hd2"/>
                </a:cxn>
              </a:cxnLst>
              <a:rect l="0" t="0" r="r" b="b"/>
              <a:pathLst>
                <a:path w="15380" h="21600" extrusionOk="0">
                  <a:moveTo>
                    <a:pt x="426" y="21600"/>
                  </a:moveTo>
                  <a:cubicBezTo>
                    <a:pt x="-2274" y="21600"/>
                    <a:pt x="8526" y="0"/>
                    <a:pt x="13926" y="0"/>
                  </a:cubicBezTo>
                  <a:cubicBezTo>
                    <a:pt x="19326" y="0"/>
                    <a:pt x="8526" y="21600"/>
                    <a:pt x="426"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1" name="Shape 2010">
              <a:extLst>
                <a:ext uri="{FF2B5EF4-FFF2-40B4-BE49-F238E27FC236}">
                  <a16:creationId xmlns:a16="http://schemas.microsoft.com/office/drawing/2014/main" id="{11C7446C-758F-B7CF-3876-D91664F3B6E8}"/>
                </a:ext>
              </a:extLst>
            </p:cNvPr>
            <p:cNvSpPr/>
            <p:nvPr/>
          </p:nvSpPr>
          <p:spPr>
            <a:xfrm>
              <a:off x="2088102" y="553415"/>
              <a:ext cx="55722" cy="19865"/>
            </a:xfrm>
            <a:custGeom>
              <a:avLst/>
              <a:gdLst/>
              <a:ahLst/>
              <a:cxnLst>
                <a:cxn ang="0">
                  <a:pos x="wd2" y="hd2"/>
                </a:cxn>
                <a:cxn ang="5400000">
                  <a:pos x="wd2" y="hd2"/>
                </a:cxn>
                <a:cxn ang="10800000">
                  <a:pos x="wd2" y="hd2"/>
                </a:cxn>
                <a:cxn ang="16200000">
                  <a:pos x="wd2" y="hd2"/>
                </a:cxn>
              </a:cxnLst>
              <a:rect l="0" t="0" r="r" b="b"/>
              <a:pathLst>
                <a:path w="17851" h="12724" extrusionOk="0">
                  <a:moveTo>
                    <a:pt x="571" y="9817"/>
                  </a:moveTo>
                  <a:cubicBezTo>
                    <a:pt x="-3749" y="5497"/>
                    <a:pt x="17851" y="-3143"/>
                    <a:pt x="17851" y="1177"/>
                  </a:cubicBezTo>
                  <a:cubicBezTo>
                    <a:pt x="17851" y="5497"/>
                    <a:pt x="9211" y="18457"/>
                    <a:pt x="571" y="98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2" name="Shape 2011">
              <a:extLst>
                <a:ext uri="{FF2B5EF4-FFF2-40B4-BE49-F238E27FC236}">
                  <a16:creationId xmlns:a16="http://schemas.microsoft.com/office/drawing/2014/main" id="{CA4928C1-98AD-F276-528C-931A9BDE3214}"/>
                </a:ext>
              </a:extLst>
            </p:cNvPr>
            <p:cNvSpPr/>
            <p:nvPr/>
          </p:nvSpPr>
          <p:spPr>
            <a:xfrm>
              <a:off x="2083144" y="525486"/>
              <a:ext cx="47197" cy="29771"/>
            </a:xfrm>
            <a:custGeom>
              <a:avLst/>
              <a:gdLst/>
              <a:ahLst/>
              <a:cxnLst>
                <a:cxn ang="0">
                  <a:pos x="wd2" y="hd2"/>
                </a:cxn>
                <a:cxn ang="5400000">
                  <a:pos x="wd2" y="hd2"/>
                </a:cxn>
                <a:cxn ang="10800000">
                  <a:pos x="wd2" y="hd2"/>
                </a:cxn>
                <a:cxn ang="16200000">
                  <a:pos x="wd2" y="hd2"/>
                </a:cxn>
              </a:cxnLst>
              <a:rect l="0" t="0" r="r" b="b"/>
              <a:pathLst>
                <a:path w="21600" h="19069" extrusionOk="0">
                  <a:moveTo>
                    <a:pt x="3086" y="19069"/>
                  </a:moveTo>
                  <a:cubicBezTo>
                    <a:pt x="0" y="14749"/>
                    <a:pt x="0" y="6109"/>
                    <a:pt x="0" y="1789"/>
                  </a:cubicBezTo>
                  <a:cubicBezTo>
                    <a:pt x="3086" y="-2531"/>
                    <a:pt x="9257" y="1789"/>
                    <a:pt x="12343" y="6109"/>
                  </a:cubicBezTo>
                  <a:cubicBezTo>
                    <a:pt x="12343" y="6109"/>
                    <a:pt x="21600" y="10429"/>
                    <a:pt x="21600" y="14749"/>
                  </a:cubicBezTo>
                  <a:cubicBezTo>
                    <a:pt x="21600" y="14749"/>
                    <a:pt x="6171" y="19069"/>
                    <a:pt x="3086" y="19069"/>
                  </a:cubicBezTo>
                  <a:cubicBezTo>
                    <a:pt x="0" y="14749"/>
                    <a:pt x="12343" y="19069"/>
                    <a:pt x="3086" y="1906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3" name="Shape 2012">
              <a:extLst>
                <a:ext uri="{FF2B5EF4-FFF2-40B4-BE49-F238E27FC236}">
                  <a16:creationId xmlns:a16="http://schemas.microsoft.com/office/drawing/2014/main" id="{433BBAF6-466D-A9E7-910B-D3941F610EBF}"/>
                </a:ext>
              </a:extLst>
            </p:cNvPr>
            <p:cNvSpPr/>
            <p:nvPr/>
          </p:nvSpPr>
          <p:spPr>
            <a:xfrm>
              <a:off x="2032228" y="448843"/>
              <a:ext cx="46913" cy="46471"/>
            </a:xfrm>
            <a:custGeom>
              <a:avLst/>
              <a:gdLst/>
              <a:ahLst/>
              <a:cxnLst>
                <a:cxn ang="0">
                  <a:pos x="wd2" y="hd2"/>
                </a:cxn>
                <a:cxn ang="5400000">
                  <a:pos x="wd2" y="hd2"/>
                </a:cxn>
                <a:cxn ang="10800000">
                  <a:pos x="wd2" y="hd2"/>
                </a:cxn>
                <a:cxn ang="16200000">
                  <a:pos x="wd2" y="hd2"/>
                </a:cxn>
              </a:cxnLst>
              <a:rect l="0" t="0" r="r" b="b"/>
              <a:pathLst>
                <a:path w="12882" h="17173" extrusionOk="0">
                  <a:moveTo>
                    <a:pt x="10485" y="16987"/>
                  </a:moveTo>
                  <a:cubicBezTo>
                    <a:pt x="6885" y="19387"/>
                    <a:pt x="-3915" y="-2213"/>
                    <a:pt x="1485" y="187"/>
                  </a:cubicBezTo>
                  <a:cubicBezTo>
                    <a:pt x="6885" y="4987"/>
                    <a:pt x="17685" y="16987"/>
                    <a:pt x="10485" y="1698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4" name="Shape 2013">
              <a:extLst>
                <a:ext uri="{FF2B5EF4-FFF2-40B4-BE49-F238E27FC236}">
                  <a16:creationId xmlns:a16="http://schemas.microsoft.com/office/drawing/2014/main" id="{AFF6C762-AA13-E5C3-7127-BD04D7D93B11}"/>
                </a:ext>
              </a:extLst>
            </p:cNvPr>
            <p:cNvSpPr/>
            <p:nvPr/>
          </p:nvSpPr>
          <p:spPr>
            <a:xfrm>
              <a:off x="2152742" y="440966"/>
              <a:ext cx="44040" cy="11426"/>
            </a:xfrm>
            <a:custGeom>
              <a:avLst/>
              <a:gdLst/>
              <a:ahLst/>
              <a:cxnLst>
                <a:cxn ang="0">
                  <a:pos x="wd2" y="hd2"/>
                </a:cxn>
                <a:cxn ang="5400000">
                  <a:pos x="wd2" y="hd2"/>
                </a:cxn>
                <a:cxn ang="10800000">
                  <a:pos x="wd2" y="hd2"/>
                </a:cxn>
                <a:cxn ang="16200000">
                  <a:pos x="wd2" y="hd2"/>
                </a:cxn>
              </a:cxnLst>
              <a:rect l="0" t="0" r="r" b="b"/>
              <a:pathLst>
                <a:path w="16279" h="12198" extrusionOk="0">
                  <a:moveTo>
                    <a:pt x="1504" y="2016"/>
                  </a:moveTo>
                  <a:cubicBezTo>
                    <a:pt x="8704" y="-5184"/>
                    <a:pt x="18304" y="9216"/>
                    <a:pt x="15904" y="9216"/>
                  </a:cubicBezTo>
                  <a:cubicBezTo>
                    <a:pt x="3904" y="16416"/>
                    <a:pt x="-3296" y="9216"/>
                    <a:pt x="1504" y="20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5" name="Shape 2014">
              <a:extLst>
                <a:ext uri="{FF2B5EF4-FFF2-40B4-BE49-F238E27FC236}">
                  <a16:creationId xmlns:a16="http://schemas.microsoft.com/office/drawing/2014/main" id="{A1FC72ED-1006-8041-E4D8-DD4CA2F77E73}"/>
                </a:ext>
              </a:extLst>
            </p:cNvPr>
            <p:cNvSpPr/>
            <p:nvPr/>
          </p:nvSpPr>
          <p:spPr>
            <a:xfrm>
              <a:off x="2046288" y="334336"/>
              <a:ext cx="213643" cy="113423"/>
            </a:xfrm>
            <a:custGeom>
              <a:avLst/>
              <a:gdLst/>
              <a:ahLst/>
              <a:cxnLst>
                <a:cxn ang="0">
                  <a:pos x="wd2" y="hd2"/>
                </a:cxn>
                <a:cxn ang="5400000">
                  <a:pos x="wd2" y="hd2"/>
                </a:cxn>
                <a:cxn ang="10800000">
                  <a:pos x="wd2" y="hd2"/>
                </a:cxn>
                <a:cxn ang="16200000">
                  <a:pos x="wd2" y="hd2"/>
                </a:cxn>
              </a:cxnLst>
              <a:rect l="0" t="0" r="r" b="b"/>
              <a:pathLst>
                <a:path w="19556" h="19461" extrusionOk="0">
                  <a:moveTo>
                    <a:pt x="15442" y="18660"/>
                  </a:moveTo>
                  <a:cubicBezTo>
                    <a:pt x="14842" y="18660"/>
                    <a:pt x="14842" y="17523"/>
                    <a:pt x="14842" y="16387"/>
                  </a:cubicBezTo>
                  <a:cubicBezTo>
                    <a:pt x="14242" y="15250"/>
                    <a:pt x="12442" y="14113"/>
                    <a:pt x="11842" y="14113"/>
                  </a:cubicBezTo>
                  <a:cubicBezTo>
                    <a:pt x="11242" y="14113"/>
                    <a:pt x="7042" y="16387"/>
                    <a:pt x="7042" y="15250"/>
                  </a:cubicBezTo>
                  <a:cubicBezTo>
                    <a:pt x="7042" y="15250"/>
                    <a:pt x="9442" y="12976"/>
                    <a:pt x="9442" y="12976"/>
                  </a:cubicBezTo>
                  <a:cubicBezTo>
                    <a:pt x="7642" y="11839"/>
                    <a:pt x="5242" y="15250"/>
                    <a:pt x="3442" y="12976"/>
                  </a:cubicBezTo>
                  <a:cubicBezTo>
                    <a:pt x="-158" y="9566"/>
                    <a:pt x="6442" y="10702"/>
                    <a:pt x="6442" y="10702"/>
                  </a:cubicBezTo>
                  <a:cubicBezTo>
                    <a:pt x="6442" y="10702"/>
                    <a:pt x="5842" y="9566"/>
                    <a:pt x="5842" y="9566"/>
                  </a:cubicBezTo>
                  <a:cubicBezTo>
                    <a:pt x="5842" y="9566"/>
                    <a:pt x="6442" y="8429"/>
                    <a:pt x="6442" y="8429"/>
                  </a:cubicBezTo>
                  <a:cubicBezTo>
                    <a:pt x="7042" y="7292"/>
                    <a:pt x="5242" y="8429"/>
                    <a:pt x="5242" y="8429"/>
                  </a:cubicBezTo>
                  <a:cubicBezTo>
                    <a:pt x="4642" y="7292"/>
                    <a:pt x="5842" y="6155"/>
                    <a:pt x="4642" y="6155"/>
                  </a:cubicBezTo>
                  <a:cubicBezTo>
                    <a:pt x="4042" y="6155"/>
                    <a:pt x="2842" y="7292"/>
                    <a:pt x="2242" y="6155"/>
                  </a:cubicBezTo>
                  <a:cubicBezTo>
                    <a:pt x="2242" y="5018"/>
                    <a:pt x="1042" y="6155"/>
                    <a:pt x="442" y="5018"/>
                  </a:cubicBezTo>
                  <a:cubicBezTo>
                    <a:pt x="-1358" y="-666"/>
                    <a:pt x="2842" y="1608"/>
                    <a:pt x="4042" y="1608"/>
                  </a:cubicBezTo>
                  <a:cubicBezTo>
                    <a:pt x="5242" y="471"/>
                    <a:pt x="7042" y="-666"/>
                    <a:pt x="8242" y="471"/>
                  </a:cubicBezTo>
                  <a:cubicBezTo>
                    <a:pt x="10042" y="1608"/>
                    <a:pt x="7042" y="7292"/>
                    <a:pt x="9442" y="5018"/>
                  </a:cubicBezTo>
                  <a:cubicBezTo>
                    <a:pt x="10042" y="5018"/>
                    <a:pt x="11242" y="2745"/>
                    <a:pt x="11842" y="3881"/>
                  </a:cubicBezTo>
                  <a:cubicBezTo>
                    <a:pt x="12442" y="5018"/>
                    <a:pt x="13042" y="7292"/>
                    <a:pt x="13642" y="7292"/>
                  </a:cubicBezTo>
                  <a:cubicBezTo>
                    <a:pt x="14242" y="7292"/>
                    <a:pt x="16042" y="6155"/>
                    <a:pt x="16642" y="7292"/>
                  </a:cubicBezTo>
                  <a:cubicBezTo>
                    <a:pt x="17842" y="8429"/>
                    <a:pt x="17842" y="11839"/>
                    <a:pt x="18442" y="12976"/>
                  </a:cubicBezTo>
                  <a:cubicBezTo>
                    <a:pt x="19042" y="15250"/>
                    <a:pt x="20242" y="16387"/>
                    <a:pt x="19042" y="17523"/>
                  </a:cubicBezTo>
                  <a:cubicBezTo>
                    <a:pt x="18442" y="19797"/>
                    <a:pt x="16642" y="19797"/>
                    <a:pt x="15442" y="18660"/>
                  </a:cubicBezTo>
                  <a:cubicBezTo>
                    <a:pt x="14842" y="17523"/>
                    <a:pt x="17242" y="20934"/>
                    <a:pt x="15442" y="186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6" name="Shape 2015">
              <a:extLst>
                <a:ext uri="{FF2B5EF4-FFF2-40B4-BE49-F238E27FC236}">
                  <a16:creationId xmlns:a16="http://schemas.microsoft.com/office/drawing/2014/main" id="{A315FB3C-1E59-190B-6260-B885EA3E3DD0}"/>
                </a:ext>
              </a:extLst>
            </p:cNvPr>
            <p:cNvSpPr/>
            <p:nvPr/>
          </p:nvSpPr>
          <p:spPr>
            <a:xfrm>
              <a:off x="2225154" y="275895"/>
              <a:ext cx="52891" cy="27586"/>
            </a:xfrm>
            <a:custGeom>
              <a:avLst/>
              <a:gdLst/>
              <a:ahLst/>
              <a:cxnLst>
                <a:cxn ang="0">
                  <a:pos x="wd2" y="hd2"/>
                </a:cxn>
                <a:cxn ang="5400000">
                  <a:pos x="wd2" y="hd2"/>
                </a:cxn>
                <a:cxn ang="10800000">
                  <a:pos x="wd2" y="hd2"/>
                </a:cxn>
                <a:cxn ang="16200000">
                  <a:pos x="wd2" y="hd2"/>
                </a:cxn>
              </a:cxnLst>
              <a:rect l="0" t="0" r="r" b="b"/>
              <a:pathLst>
                <a:path w="15885" h="17670" extrusionOk="0">
                  <a:moveTo>
                    <a:pt x="12881" y="17670"/>
                  </a:moveTo>
                  <a:cubicBezTo>
                    <a:pt x="8954" y="17670"/>
                    <a:pt x="8954" y="13350"/>
                    <a:pt x="5027" y="13350"/>
                  </a:cubicBezTo>
                  <a:cubicBezTo>
                    <a:pt x="5027" y="13350"/>
                    <a:pt x="-2828" y="13350"/>
                    <a:pt x="1099" y="9030"/>
                  </a:cubicBezTo>
                  <a:cubicBezTo>
                    <a:pt x="3063" y="390"/>
                    <a:pt x="8954" y="-3930"/>
                    <a:pt x="10917" y="4710"/>
                  </a:cubicBezTo>
                  <a:cubicBezTo>
                    <a:pt x="14845" y="9030"/>
                    <a:pt x="18772" y="17670"/>
                    <a:pt x="12881" y="1767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7" name="Shape 2016">
              <a:extLst>
                <a:ext uri="{FF2B5EF4-FFF2-40B4-BE49-F238E27FC236}">
                  <a16:creationId xmlns:a16="http://schemas.microsoft.com/office/drawing/2014/main" id="{2B210679-1D2B-2432-206F-4A1B38C2D760}"/>
                </a:ext>
              </a:extLst>
            </p:cNvPr>
            <p:cNvSpPr/>
            <p:nvPr/>
          </p:nvSpPr>
          <p:spPr>
            <a:xfrm>
              <a:off x="2280802" y="379161"/>
              <a:ext cx="120672" cy="70439"/>
            </a:xfrm>
            <a:custGeom>
              <a:avLst/>
              <a:gdLst/>
              <a:ahLst/>
              <a:cxnLst>
                <a:cxn ang="0">
                  <a:pos x="wd2" y="hd2"/>
                </a:cxn>
                <a:cxn ang="5400000">
                  <a:pos x="wd2" y="hd2"/>
                </a:cxn>
                <a:cxn ang="10800000">
                  <a:pos x="wd2" y="hd2"/>
                </a:cxn>
                <a:cxn ang="16200000">
                  <a:pos x="wd2" y="hd2"/>
                </a:cxn>
              </a:cxnLst>
              <a:rect l="0" t="0" r="r" b="b"/>
              <a:pathLst>
                <a:path w="19657" h="20509" extrusionOk="0">
                  <a:moveTo>
                    <a:pt x="7560" y="12654"/>
                  </a:moveTo>
                  <a:cubicBezTo>
                    <a:pt x="5400" y="12654"/>
                    <a:pt x="3240" y="10691"/>
                    <a:pt x="2160" y="8727"/>
                  </a:cubicBezTo>
                  <a:cubicBezTo>
                    <a:pt x="-1080" y="6764"/>
                    <a:pt x="3240" y="4800"/>
                    <a:pt x="3240" y="4800"/>
                  </a:cubicBezTo>
                  <a:cubicBezTo>
                    <a:pt x="3240" y="2836"/>
                    <a:pt x="1080" y="873"/>
                    <a:pt x="0" y="873"/>
                  </a:cubicBezTo>
                  <a:cubicBezTo>
                    <a:pt x="0" y="-1091"/>
                    <a:pt x="5400" y="873"/>
                    <a:pt x="5400" y="873"/>
                  </a:cubicBezTo>
                  <a:cubicBezTo>
                    <a:pt x="7560" y="873"/>
                    <a:pt x="9720" y="2836"/>
                    <a:pt x="11880" y="4800"/>
                  </a:cubicBezTo>
                  <a:cubicBezTo>
                    <a:pt x="14040" y="4800"/>
                    <a:pt x="15120" y="4800"/>
                    <a:pt x="16200" y="4800"/>
                  </a:cubicBezTo>
                  <a:cubicBezTo>
                    <a:pt x="17280" y="4800"/>
                    <a:pt x="20520" y="6764"/>
                    <a:pt x="19440" y="6764"/>
                  </a:cubicBezTo>
                  <a:cubicBezTo>
                    <a:pt x="17280" y="10691"/>
                    <a:pt x="16200" y="8727"/>
                    <a:pt x="18360" y="14618"/>
                  </a:cubicBezTo>
                  <a:cubicBezTo>
                    <a:pt x="19440" y="16582"/>
                    <a:pt x="16200" y="16582"/>
                    <a:pt x="15120" y="18545"/>
                  </a:cubicBezTo>
                  <a:cubicBezTo>
                    <a:pt x="12960" y="18545"/>
                    <a:pt x="10800" y="20509"/>
                    <a:pt x="8640" y="20509"/>
                  </a:cubicBezTo>
                  <a:cubicBezTo>
                    <a:pt x="7560" y="18545"/>
                    <a:pt x="3240" y="16582"/>
                    <a:pt x="3240" y="14618"/>
                  </a:cubicBezTo>
                  <a:cubicBezTo>
                    <a:pt x="3240" y="14618"/>
                    <a:pt x="9720" y="12654"/>
                    <a:pt x="7560" y="12654"/>
                  </a:cubicBezTo>
                  <a:cubicBezTo>
                    <a:pt x="4320" y="10691"/>
                    <a:pt x="9720" y="12654"/>
                    <a:pt x="7560" y="126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8" name="Shape 2017">
              <a:extLst>
                <a:ext uri="{FF2B5EF4-FFF2-40B4-BE49-F238E27FC236}">
                  <a16:creationId xmlns:a16="http://schemas.microsoft.com/office/drawing/2014/main" id="{E6C42B51-93E0-7B59-EA85-0F61BD7F633A}"/>
                </a:ext>
              </a:extLst>
            </p:cNvPr>
            <p:cNvSpPr/>
            <p:nvPr/>
          </p:nvSpPr>
          <p:spPr>
            <a:xfrm>
              <a:off x="2356056" y="446601"/>
              <a:ext cx="99800" cy="29975"/>
            </a:xfrm>
            <a:custGeom>
              <a:avLst/>
              <a:gdLst/>
              <a:ahLst/>
              <a:cxnLst>
                <a:cxn ang="0">
                  <a:pos x="wd2" y="hd2"/>
                </a:cxn>
                <a:cxn ang="5400000">
                  <a:pos x="wd2" y="hd2"/>
                </a:cxn>
                <a:cxn ang="10800000">
                  <a:pos x="wd2" y="hd2"/>
                </a:cxn>
                <a:cxn ang="16200000">
                  <a:pos x="wd2" y="hd2"/>
                </a:cxn>
              </a:cxnLst>
              <a:rect l="0" t="0" r="r" b="b"/>
              <a:pathLst>
                <a:path w="18446" h="19200" extrusionOk="0">
                  <a:moveTo>
                    <a:pt x="15374" y="19200"/>
                  </a:moveTo>
                  <a:cubicBezTo>
                    <a:pt x="15374" y="14880"/>
                    <a:pt x="20174" y="6240"/>
                    <a:pt x="17774" y="6240"/>
                  </a:cubicBezTo>
                  <a:cubicBezTo>
                    <a:pt x="16574" y="1920"/>
                    <a:pt x="15374" y="1920"/>
                    <a:pt x="14174" y="1920"/>
                  </a:cubicBezTo>
                  <a:cubicBezTo>
                    <a:pt x="10574" y="1920"/>
                    <a:pt x="5774" y="-2400"/>
                    <a:pt x="2174" y="1920"/>
                  </a:cubicBezTo>
                  <a:cubicBezTo>
                    <a:pt x="-1426" y="1920"/>
                    <a:pt x="-226" y="14880"/>
                    <a:pt x="3374" y="14880"/>
                  </a:cubicBezTo>
                  <a:cubicBezTo>
                    <a:pt x="6974" y="14880"/>
                    <a:pt x="11774" y="19200"/>
                    <a:pt x="15374" y="19200"/>
                  </a:cubicBezTo>
                  <a:cubicBezTo>
                    <a:pt x="17774" y="14880"/>
                    <a:pt x="12974" y="19200"/>
                    <a:pt x="15374" y="19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199" name="Shape 2018">
              <a:extLst>
                <a:ext uri="{FF2B5EF4-FFF2-40B4-BE49-F238E27FC236}">
                  <a16:creationId xmlns:a16="http://schemas.microsoft.com/office/drawing/2014/main" id="{6C3EAE75-05E0-C450-DF3D-82DF658018EE}"/>
                </a:ext>
              </a:extLst>
            </p:cNvPr>
            <p:cNvSpPr/>
            <p:nvPr/>
          </p:nvSpPr>
          <p:spPr>
            <a:xfrm>
              <a:off x="2347517" y="597217"/>
              <a:ext cx="98284" cy="68752"/>
            </a:xfrm>
            <a:custGeom>
              <a:avLst/>
              <a:gdLst/>
              <a:ahLst/>
              <a:cxnLst>
                <a:cxn ang="0">
                  <a:pos x="wd2" y="hd2"/>
                </a:cxn>
                <a:cxn ang="5400000">
                  <a:pos x="wd2" y="hd2"/>
                </a:cxn>
                <a:cxn ang="10800000">
                  <a:pos x="wd2" y="hd2"/>
                </a:cxn>
                <a:cxn ang="16200000">
                  <a:pos x="wd2" y="hd2"/>
                </a:cxn>
              </a:cxnLst>
              <a:rect l="0" t="0" r="r" b="b"/>
              <a:pathLst>
                <a:path w="19278" h="20018" extrusionOk="0">
                  <a:moveTo>
                    <a:pt x="7733" y="873"/>
                  </a:moveTo>
                  <a:cubicBezTo>
                    <a:pt x="5192" y="-1091"/>
                    <a:pt x="1380" y="6764"/>
                    <a:pt x="110" y="10691"/>
                  </a:cubicBezTo>
                  <a:cubicBezTo>
                    <a:pt x="-1161" y="14618"/>
                    <a:pt x="9004" y="18545"/>
                    <a:pt x="11545" y="18545"/>
                  </a:cubicBezTo>
                  <a:cubicBezTo>
                    <a:pt x="12815" y="20509"/>
                    <a:pt x="16627" y="20509"/>
                    <a:pt x="17898" y="18545"/>
                  </a:cubicBezTo>
                  <a:cubicBezTo>
                    <a:pt x="19168" y="18545"/>
                    <a:pt x="17898" y="16582"/>
                    <a:pt x="17898" y="14618"/>
                  </a:cubicBezTo>
                  <a:cubicBezTo>
                    <a:pt x="17898" y="12654"/>
                    <a:pt x="17898" y="10691"/>
                    <a:pt x="19168" y="10691"/>
                  </a:cubicBezTo>
                  <a:cubicBezTo>
                    <a:pt x="20439" y="6764"/>
                    <a:pt x="10274" y="873"/>
                    <a:pt x="7733" y="873"/>
                  </a:cubicBezTo>
                  <a:cubicBezTo>
                    <a:pt x="5192" y="-1091"/>
                    <a:pt x="9004" y="873"/>
                    <a:pt x="7733" y="8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0" name="Shape 2019">
              <a:extLst>
                <a:ext uri="{FF2B5EF4-FFF2-40B4-BE49-F238E27FC236}">
                  <a16:creationId xmlns:a16="http://schemas.microsoft.com/office/drawing/2014/main" id="{31200CB3-833F-BD28-6915-8E837913EFF3}"/>
                </a:ext>
              </a:extLst>
            </p:cNvPr>
            <p:cNvSpPr/>
            <p:nvPr/>
          </p:nvSpPr>
          <p:spPr>
            <a:xfrm>
              <a:off x="2397383" y="579802"/>
              <a:ext cx="17968" cy="9353"/>
            </a:xfrm>
            <a:custGeom>
              <a:avLst/>
              <a:gdLst/>
              <a:ahLst/>
              <a:cxnLst>
                <a:cxn ang="0">
                  <a:pos x="wd2" y="hd2"/>
                </a:cxn>
                <a:cxn ang="5400000">
                  <a:pos x="wd2" y="hd2"/>
                </a:cxn>
                <a:cxn ang="10800000">
                  <a:pos x="wd2" y="hd2"/>
                </a:cxn>
                <a:cxn ang="16200000">
                  <a:pos x="wd2" y="hd2"/>
                </a:cxn>
              </a:cxnLst>
              <a:rect l="0" t="0" r="r" b="b"/>
              <a:pathLst>
                <a:path w="14390" h="11232" extrusionOk="0">
                  <a:moveTo>
                    <a:pt x="12918" y="9216"/>
                  </a:moveTo>
                  <a:cubicBezTo>
                    <a:pt x="2118" y="16416"/>
                    <a:pt x="-3282" y="2016"/>
                    <a:pt x="2118" y="2016"/>
                  </a:cubicBezTo>
                  <a:cubicBezTo>
                    <a:pt x="7518" y="-5184"/>
                    <a:pt x="18318" y="9216"/>
                    <a:pt x="12918" y="92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1" name="Shape 2020">
              <a:extLst>
                <a:ext uri="{FF2B5EF4-FFF2-40B4-BE49-F238E27FC236}">
                  <a16:creationId xmlns:a16="http://schemas.microsoft.com/office/drawing/2014/main" id="{1656BDF4-0C52-CE6C-AE14-340A482D7A40}"/>
                </a:ext>
              </a:extLst>
            </p:cNvPr>
            <p:cNvSpPr/>
            <p:nvPr/>
          </p:nvSpPr>
          <p:spPr>
            <a:xfrm>
              <a:off x="2517016" y="459880"/>
              <a:ext cx="53815" cy="33085"/>
            </a:xfrm>
            <a:custGeom>
              <a:avLst/>
              <a:gdLst/>
              <a:ahLst/>
              <a:cxnLst>
                <a:cxn ang="0">
                  <a:pos x="wd2" y="hd2"/>
                </a:cxn>
                <a:cxn ang="5400000">
                  <a:pos x="wd2" y="hd2"/>
                </a:cxn>
                <a:cxn ang="10800000">
                  <a:pos x="wd2" y="hd2"/>
                </a:cxn>
                <a:cxn ang="16200000">
                  <a:pos x="wd2" y="hd2"/>
                </a:cxn>
              </a:cxnLst>
              <a:rect l="0" t="0" r="r" b="b"/>
              <a:pathLst>
                <a:path w="19893" h="18700" extrusionOk="0">
                  <a:moveTo>
                    <a:pt x="693" y="16000"/>
                  </a:moveTo>
                  <a:cubicBezTo>
                    <a:pt x="693" y="16000"/>
                    <a:pt x="3093" y="5200"/>
                    <a:pt x="693" y="1600"/>
                  </a:cubicBezTo>
                  <a:cubicBezTo>
                    <a:pt x="693" y="-2000"/>
                    <a:pt x="7893" y="1600"/>
                    <a:pt x="10293" y="1600"/>
                  </a:cubicBezTo>
                  <a:cubicBezTo>
                    <a:pt x="12693" y="1600"/>
                    <a:pt x="19893" y="5200"/>
                    <a:pt x="19893" y="8800"/>
                  </a:cubicBezTo>
                  <a:cubicBezTo>
                    <a:pt x="17493" y="12400"/>
                    <a:pt x="12693" y="16000"/>
                    <a:pt x="10293" y="16000"/>
                  </a:cubicBezTo>
                  <a:cubicBezTo>
                    <a:pt x="5493" y="19600"/>
                    <a:pt x="5493" y="19600"/>
                    <a:pt x="693" y="16000"/>
                  </a:cubicBezTo>
                  <a:cubicBezTo>
                    <a:pt x="-1707" y="12400"/>
                    <a:pt x="3093" y="19600"/>
                    <a:pt x="693" y="16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2" name="Shape 2021">
              <a:extLst>
                <a:ext uri="{FF2B5EF4-FFF2-40B4-BE49-F238E27FC236}">
                  <a16:creationId xmlns:a16="http://schemas.microsoft.com/office/drawing/2014/main" id="{11639489-03E0-C602-EC44-AE6FA87361F6}"/>
                </a:ext>
              </a:extLst>
            </p:cNvPr>
            <p:cNvSpPr/>
            <p:nvPr/>
          </p:nvSpPr>
          <p:spPr>
            <a:xfrm>
              <a:off x="2546175" y="520156"/>
              <a:ext cx="13964" cy="16703"/>
            </a:xfrm>
            <a:custGeom>
              <a:avLst/>
              <a:gdLst/>
              <a:ahLst/>
              <a:cxnLst>
                <a:cxn ang="0">
                  <a:pos x="wd2" y="hd2"/>
                </a:cxn>
                <a:cxn ang="5400000">
                  <a:pos x="wd2" y="hd2"/>
                </a:cxn>
                <a:cxn ang="10800000">
                  <a:pos x="wd2" y="hd2"/>
                </a:cxn>
                <a:cxn ang="16200000">
                  <a:pos x="wd2" y="hd2"/>
                </a:cxn>
              </a:cxnLst>
              <a:rect l="0" t="0" r="r" b="b"/>
              <a:pathLst>
                <a:path w="14912" h="13374" extrusionOk="0">
                  <a:moveTo>
                    <a:pt x="11929" y="1102"/>
                  </a:moveTo>
                  <a:cubicBezTo>
                    <a:pt x="-2471" y="-4298"/>
                    <a:pt x="-2471" y="11902"/>
                    <a:pt x="4729" y="11902"/>
                  </a:cubicBezTo>
                  <a:cubicBezTo>
                    <a:pt x="11929" y="17302"/>
                    <a:pt x="19129" y="6502"/>
                    <a:pt x="11929" y="11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3" name="Shape 2022">
              <a:extLst>
                <a:ext uri="{FF2B5EF4-FFF2-40B4-BE49-F238E27FC236}">
                  <a16:creationId xmlns:a16="http://schemas.microsoft.com/office/drawing/2014/main" id="{598DE3B4-068E-C08A-7118-0069FEBFD971}"/>
                </a:ext>
              </a:extLst>
            </p:cNvPr>
            <p:cNvSpPr/>
            <p:nvPr/>
          </p:nvSpPr>
          <p:spPr>
            <a:xfrm>
              <a:off x="2328111" y="498461"/>
              <a:ext cx="568349" cy="175939"/>
            </a:xfrm>
            <a:custGeom>
              <a:avLst/>
              <a:gdLst/>
              <a:ahLst/>
              <a:cxnLst>
                <a:cxn ang="0">
                  <a:pos x="wd2" y="hd2"/>
                </a:cxn>
                <a:cxn ang="5400000">
                  <a:pos x="wd2" y="hd2"/>
                </a:cxn>
                <a:cxn ang="10800000">
                  <a:pos x="wd2" y="hd2"/>
                </a:cxn>
                <a:cxn ang="16200000">
                  <a:pos x="wd2" y="hd2"/>
                </a:cxn>
              </a:cxnLst>
              <a:rect l="0" t="0" r="r" b="b"/>
              <a:pathLst>
                <a:path w="20929" h="21131" extrusionOk="0">
                  <a:moveTo>
                    <a:pt x="4126" y="5131"/>
                  </a:moveTo>
                  <a:cubicBezTo>
                    <a:pt x="4369" y="5131"/>
                    <a:pt x="4854" y="3531"/>
                    <a:pt x="4611" y="2731"/>
                  </a:cubicBezTo>
                  <a:cubicBezTo>
                    <a:pt x="4369" y="1931"/>
                    <a:pt x="3883" y="1131"/>
                    <a:pt x="3640" y="1131"/>
                  </a:cubicBezTo>
                  <a:cubicBezTo>
                    <a:pt x="3398" y="1131"/>
                    <a:pt x="3155" y="1131"/>
                    <a:pt x="2912" y="1131"/>
                  </a:cubicBezTo>
                  <a:cubicBezTo>
                    <a:pt x="2184" y="331"/>
                    <a:pt x="1699" y="-469"/>
                    <a:pt x="971" y="331"/>
                  </a:cubicBezTo>
                  <a:cubicBezTo>
                    <a:pt x="0" y="1131"/>
                    <a:pt x="728" y="1131"/>
                    <a:pt x="971" y="1931"/>
                  </a:cubicBezTo>
                  <a:cubicBezTo>
                    <a:pt x="971" y="1931"/>
                    <a:pt x="0" y="1931"/>
                    <a:pt x="0" y="2731"/>
                  </a:cubicBezTo>
                  <a:cubicBezTo>
                    <a:pt x="0" y="3531"/>
                    <a:pt x="971" y="3531"/>
                    <a:pt x="1213" y="3531"/>
                  </a:cubicBezTo>
                  <a:cubicBezTo>
                    <a:pt x="1213" y="4331"/>
                    <a:pt x="1699" y="4331"/>
                    <a:pt x="1699" y="4331"/>
                  </a:cubicBezTo>
                  <a:cubicBezTo>
                    <a:pt x="1699" y="5131"/>
                    <a:pt x="1456" y="5131"/>
                    <a:pt x="1456" y="5131"/>
                  </a:cubicBezTo>
                  <a:cubicBezTo>
                    <a:pt x="2912" y="8331"/>
                    <a:pt x="5097" y="3531"/>
                    <a:pt x="5825" y="9931"/>
                  </a:cubicBezTo>
                  <a:cubicBezTo>
                    <a:pt x="5825" y="10731"/>
                    <a:pt x="6310" y="11531"/>
                    <a:pt x="6067" y="12331"/>
                  </a:cubicBezTo>
                  <a:cubicBezTo>
                    <a:pt x="5825" y="13931"/>
                    <a:pt x="5582" y="14731"/>
                    <a:pt x="5825" y="16331"/>
                  </a:cubicBezTo>
                  <a:cubicBezTo>
                    <a:pt x="5825" y="16331"/>
                    <a:pt x="6310" y="19531"/>
                    <a:pt x="6553" y="19531"/>
                  </a:cubicBezTo>
                  <a:cubicBezTo>
                    <a:pt x="6796" y="20331"/>
                    <a:pt x="7281" y="17931"/>
                    <a:pt x="7281" y="18731"/>
                  </a:cubicBezTo>
                  <a:cubicBezTo>
                    <a:pt x="7524" y="18731"/>
                    <a:pt x="7766" y="20331"/>
                    <a:pt x="8009" y="20331"/>
                  </a:cubicBezTo>
                  <a:cubicBezTo>
                    <a:pt x="8494" y="21131"/>
                    <a:pt x="8980" y="20331"/>
                    <a:pt x="9222" y="20331"/>
                  </a:cubicBezTo>
                  <a:cubicBezTo>
                    <a:pt x="9465" y="19531"/>
                    <a:pt x="9951" y="17931"/>
                    <a:pt x="10193" y="17931"/>
                  </a:cubicBezTo>
                  <a:cubicBezTo>
                    <a:pt x="10193" y="17931"/>
                    <a:pt x="10679" y="20331"/>
                    <a:pt x="10921" y="20331"/>
                  </a:cubicBezTo>
                  <a:cubicBezTo>
                    <a:pt x="11407" y="21131"/>
                    <a:pt x="12135" y="21131"/>
                    <a:pt x="12620" y="21131"/>
                  </a:cubicBezTo>
                  <a:cubicBezTo>
                    <a:pt x="13591" y="21131"/>
                    <a:pt x="14319" y="21131"/>
                    <a:pt x="15047" y="21131"/>
                  </a:cubicBezTo>
                  <a:cubicBezTo>
                    <a:pt x="15290" y="21131"/>
                    <a:pt x="15533" y="21131"/>
                    <a:pt x="15775" y="21131"/>
                  </a:cubicBezTo>
                  <a:cubicBezTo>
                    <a:pt x="16261" y="20331"/>
                    <a:pt x="16018" y="18731"/>
                    <a:pt x="16261" y="18731"/>
                  </a:cubicBezTo>
                  <a:cubicBezTo>
                    <a:pt x="16503" y="17931"/>
                    <a:pt x="16746" y="18731"/>
                    <a:pt x="16989" y="19531"/>
                  </a:cubicBezTo>
                  <a:cubicBezTo>
                    <a:pt x="17231" y="20331"/>
                    <a:pt x="17960" y="21131"/>
                    <a:pt x="18445" y="21131"/>
                  </a:cubicBezTo>
                  <a:cubicBezTo>
                    <a:pt x="18930" y="21131"/>
                    <a:pt x="19416" y="21131"/>
                    <a:pt x="19901" y="20331"/>
                  </a:cubicBezTo>
                  <a:cubicBezTo>
                    <a:pt x="20387" y="20331"/>
                    <a:pt x="20144" y="18731"/>
                    <a:pt x="20629" y="18731"/>
                  </a:cubicBezTo>
                  <a:cubicBezTo>
                    <a:pt x="20872" y="18731"/>
                    <a:pt x="21115" y="16331"/>
                    <a:pt x="20629" y="17131"/>
                  </a:cubicBezTo>
                  <a:cubicBezTo>
                    <a:pt x="20629" y="17131"/>
                    <a:pt x="20144" y="17131"/>
                    <a:pt x="19901" y="17131"/>
                  </a:cubicBezTo>
                  <a:cubicBezTo>
                    <a:pt x="19901" y="17131"/>
                    <a:pt x="21600" y="13931"/>
                    <a:pt x="20629" y="13131"/>
                  </a:cubicBezTo>
                  <a:cubicBezTo>
                    <a:pt x="20387" y="13131"/>
                    <a:pt x="19901" y="12331"/>
                    <a:pt x="19416" y="12331"/>
                  </a:cubicBezTo>
                  <a:cubicBezTo>
                    <a:pt x="18930" y="12331"/>
                    <a:pt x="19416" y="10731"/>
                    <a:pt x="18930" y="10731"/>
                  </a:cubicBezTo>
                  <a:cubicBezTo>
                    <a:pt x="18202" y="10731"/>
                    <a:pt x="17717" y="10731"/>
                    <a:pt x="16989" y="10731"/>
                  </a:cubicBezTo>
                  <a:cubicBezTo>
                    <a:pt x="16503" y="10731"/>
                    <a:pt x="16261" y="9931"/>
                    <a:pt x="15775" y="10731"/>
                  </a:cubicBezTo>
                  <a:cubicBezTo>
                    <a:pt x="15533" y="10731"/>
                    <a:pt x="13348" y="12331"/>
                    <a:pt x="13348" y="13131"/>
                  </a:cubicBezTo>
                  <a:cubicBezTo>
                    <a:pt x="13348" y="13131"/>
                    <a:pt x="13591" y="13131"/>
                    <a:pt x="13591" y="13931"/>
                  </a:cubicBezTo>
                  <a:cubicBezTo>
                    <a:pt x="13591" y="13931"/>
                    <a:pt x="12863" y="13931"/>
                    <a:pt x="12620" y="13931"/>
                  </a:cubicBezTo>
                  <a:cubicBezTo>
                    <a:pt x="12378" y="13931"/>
                    <a:pt x="12135" y="13131"/>
                    <a:pt x="11892" y="12331"/>
                  </a:cubicBezTo>
                  <a:cubicBezTo>
                    <a:pt x="11649" y="12331"/>
                    <a:pt x="11407" y="13131"/>
                    <a:pt x="11164" y="13131"/>
                  </a:cubicBezTo>
                  <a:cubicBezTo>
                    <a:pt x="10921" y="13131"/>
                    <a:pt x="10436" y="12331"/>
                    <a:pt x="10193" y="12331"/>
                  </a:cubicBezTo>
                  <a:cubicBezTo>
                    <a:pt x="9951" y="12331"/>
                    <a:pt x="10193" y="13931"/>
                    <a:pt x="9951" y="13931"/>
                  </a:cubicBezTo>
                  <a:cubicBezTo>
                    <a:pt x="9708" y="13931"/>
                    <a:pt x="9465" y="12331"/>
                    <a:pt x="9222" y="12331"/>
                  </a:cubicBezTo>
                  <a:cubicBezTo>
                    <a:pt x="8494" y="12331"/>
                    <a:pt x="9465" y="11531"/>
                    <a:pt x="9465" y="10731"/>
                  </a:cubicBezTo>
                  <a:cubicBezTo>
                    <a:pt x="9465" y="9931"/>
                    <a:pt x="8494" y="9131"/>
                    <a:pt x="8252" y="9131"/>
                  </a:cubicBezTo>
                  <a:cubicBezTo>
                    <a:pt x="8252" y="9131"/>
                    <a:pt x="7281" y="9931"/>
                    <a:pt x="7281" y="9931"/>
                  </a:cubicBezTo>
                  <a:cubicBezTo>
                    <a:pt x="7281" y="9131"/>
                    <a:pt x="7766" y="9131"/>
                    <a:pt x="7766" y="9131"/>
                  </a:cubicBezTo>
                  <a:cubicBezTo>
                    <a:pt x="7766" y="8331"/>
                    <a:pt x="6553" y="7531"/>
                    <a:pt x="6796" y="6731"/>
                  </a:cubicBezTo>
                  <a:cubicBezTo>
                    <a:pt x="6796" y="6731"/>
                    <a:pt x="9222" y="7531"/>
                    <a:pt x="9222" y="7531"/>
                  </a:cubicBezTo>
                  <a:cubicBezTo>
                    <a:pt x="9222" y="6731"/>
                    <a:pt x="8252" y="5931"/>
                    <a:pt x="8009" y="5131"/>
                  </a:cubicBezTo>
                  <a:cubicBezTo>
                    <a:pt x="7766" y="5131"/>
                    <a:pt x="7281" y="5131"/>
                    <a:pt x="6796" y="5131"/>
                  </a:cubicBezTo>
                  <a:cubicBezTo>
                    <a:pt x="7038" y="5131"/>
                    <a:pt x="7524" y="5131"/>
                    <a:pt x="7766" y="4331"/>
                  </a:cubicBezTo>
                  <a:cubicBezTo>
                    <a:pt x="7766" y="3531"/>
                    <a:pt x="6553" y="3531"/>
                    <a:pt x="6553" y="3531"/>
                  </a:cubicBezTo>
                  <a:cubicBezTo>
                    <a:pt x="5582" y="3531"/>
                    <a:pt x="5097" y="4331"/>
                    <a:pt x="4126" y="5131"/>
                  </a:cubicBezTo>
                  <a:cubicBezTo>
                    <a:pt x="4126" y="5131"/>
                    <a:pt x="4369" y="5131"/>
                    <a:pt x="4126" y="51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4" name="Shape 2023">
              <a:extLst>
                <a:ext uri="{FF2B5EF4-FFF2-40B4-BE49-F238E27FC236}">
                  <a16:creationId xmlns:a16="http://schemas.microsoft.com/office/drawing/2014/main" id="{B09227D2-C966-B6F5-65B0-E343AA70668D}"/>
                </a:ext>
              </a:extLst>
            </p:cNvPr>
            <p:cNvSpPr/>
            <p:nvPr/>
          </p:nvSpPr>
          <p:spPr>
            <a:xfrm>
              <a:off x="2341597" y="184336"/>
              <a:ext cx="383084" cy="238410"/>
            </a:xfrm>
            <a:custGeom>
              <a:avLst/>
              <a:gdLst/>
              <a:ahLst/>
              <a:cxnLst>
                <a:cxn ang="0">
                  <a:pos x="wd2" y="hd2"/>
                </a:cxn>
                <a:cxn ang="5400000">
                  <a:pos x="wd2" y="hd2"/>
                </a:cxn>
                <a:cxn ang="10800000">
                  <a:pos x="wd2" y="hd2"/>
                </a:cxn>
                <a:cxn ang="16200000">
                  <a:pos x="wd2" y="hd2"/>
                </a:cxn>
              </a:cxnLst>
              <a:rect l="0" t="0" r="r" b="b"/>
              <a:pathLst>
                <a:path w="21282" h="21016" extrusionOk="0">
                  <a:moveTo>
                    <a:pt x="21234" y="14011"/>
                  </a:moveTo>
                  <a:cubicBezTo>
                    <a:pt x="21234" y="12843"/>
                    <a:pt x="20502" y="12843"/>
                    <a:pt x="20136" y="12259"/>
                  </a:cubicBezTo>
                  <a:cubicBezTo>
                    <a:pt x="19769" y="11676"/>
                    <a:pt x="19403" y="12843"/>
                    <a:pt x="19037" y="12259"/>
                  </a:cubicBezTo>
                  <a:cubicBezTo>
                    <a:pt x="18305" y="11092"/>
                    <a:pt x="17573" y="12259"/>
                    <a:pt x="16841" y="11676"/>
                  </a:cubicBezTo>
                  <a:cubicBezTo>
                    <a:pt x="16841" y="11676"/>
                    <a:pt x="17573" y="11092"/>
                    <a:pt x="17573" y="10508"/>
                  </a:cubicBezTo>
                  <a:cubicBezTo>
                    <a:pt x="17573" y="10508"/>
                    <a:pt x="16841" y="10508"/>
                    <a:pt x="16841" y="10508"/>
                  </a:cubicBezTo>
                  <a:cubicBezTo>
                    <a:pt x="16841" y="9924"/>
                    <a:pt x="17207" y="9924"/>
                    <a:pt x="17207" y="9341"/>
                  </a:cubicBezTo>
                  <a:cubicBezTo>
                    <a:pt x="17207" y="8757"/>
                    <a:pt x="16108" y="9341"/>
                    <a:pt x="16108" y="8757"/>
                  </a:cubicBezTo>
                  <a:cubicBezTo>
                    <a:pt x="15742" y="8757"/>
                    <a:pt x="16475" y="8173"/>
                    <a:pt x="16475" y="8173"/>
                  </a:cubicBezTo>
                  <a:cubicBezTo>
                    <a:pt x="16841" y="7589"/>
                    <a:pt x="16108" y="7005"/>
                    <a:pt x="16108" y="6422"/>
                  </a:cubicBezTo>
                  <a:cubicBezTo>
                    <a:pt x="15742" y="5838"/>
                    <a:pt x="13912" y="6422"/>
                    <a:pt x="13912" y="6422"/>
                  </a:cubicBezTo>
                  <a:cubicBezTo>
                    <a:pt x="13912" y="7005"/>
                    <a:pt x="15742" y="8173"/>
                    <a:pt x="15742" y="8757"/>
                  </a:cubicBezTo>
                  <a:cubicBezTo>
                    <a:pt x="15376" y="9341"/>
                    <a:pt x="14278" y="8173"/>
                    <a:pt x="13912" y="7589"/>
                  </a:cubicBezTo>
                  <a:cubicBezTo>
                    <a:pt x="13180" y="7005"/>
                    <a:pt x="14278" y="5838"/>
                    <a:pt x="12814" y="5838"/>
                  </a:cubicBezTo>
                  <a:cubicBezTo>
                    <a:pt x="12081" y="5838"/>
                    <a:pt x="10983" y="5838"/>
                    <a:pt x="10617" y="4670"/>
                  </a:cubicBezTo>
                  <a:cubicBezTo>
                    <a:pt x="10251" y="3503"/>
                    <a:pt x="9519" y="1751"/>
                    <a:pt x="8786" y="1168"/>
                  </a:cubicBezTo>
                  <a:cubicBezTo>
                    <a:pt x="7688" y="584"/>
                    <a:pt x="6590" y="0"/>
                    <a:pt x="5858" y="0"/>
                  </a:cubicBezTo>
                  <a:cubicBezTo>
                    <a:pt x="5492" y="0"/>
                    <a:pt x="3661" y="0"/>
                    <a:pt x="4393" y="584"/>
                  </a:cubicBezTo>
                  <a:cubicBezTo>
                    <a:pt x="4759" y="584"/>
                    <a:pt x="6224" y="1168"/>
                    <a:pt x="6224" y="1168"/>
                  </a:cubicBezTo>
                  <a:cubicBezTo>
                    <a:pt x="6224" y="2335"/>
                    <a:pt x="4759" y="1751"/>
                    <a:pt x="4393" y="1751"/>
                  </a:cubicBezTo>
                  <a:cubicBezTo>
                    <a:pt x="4393" y="1751"/>
                    <a:pt x="4759" y="2335"/>
                    <a:pt x="4759" y="2335"/>
                  </a:cubicBezTo>
                  <a:cubicBezTo>
                    <a:pt x="4759" y="2919"/>
                    <a:pt x="2563" y="1168"/>
                    <a:pt x="2197" y="2919"/>
                  </a:cubicBezTo>
                  <a:cubicBezTo>
                    <a:pt x="2197" y="2919"/>
                    <a:pt x="4027" y="4086"/>
                    <a:pt x="4393" y="4086"/>
                  </a:cubicBezTo>
                  <a:cubicBezTo>
                    <a:pt x="3661" y="3503"/>
                    <a:pt x="4027" y="5254"/>
                    <a:pt x="4027" y="5254"/>
                  </a:cubicBezTo>
                  <a:cubicBezTo>
                    <a:pt x="4027" y="5838"/>
                    <a:pt x="1464" y="4086"/>
                    <a:pt x="1098" y="4670"/>
                  </a:cubicBezTo>
                  <a:cubicBezTo>
                    <a:pt x="1098" y="4086"/>
                    <a:pt x="2197" y="4670"/>
                    <a:pt x="2197" y="5254"/>
                  </a:cubicBezTo>
                  <a:cubicBezTo>
                    <a:pt x="2197" y="4670"/>
                    <a:pt x="1464" y="5254"/>
                    <a:pt x="1464" y="5254"/>
                  </a:cubicBezTo>
                  <a:cubicBezTo>
                    <a:pt x="1098" y="5838"/>
                    <a:pt x="1831" y="6422"/>
                    <a:pt x="1831" y="6422"/>
                  </a:cubicBezTo>
                  <a:cubicBezTo>
                    <a:pt x="2197" y="7005"/>
                    <a:pt x="732" y="7005"/>
                    <a:pt x="366" y="7005"/>
                  </a:cubicBezTo>
                  <a:cubicBezTo>
                    <a:pt x="732" y="7005"/>
                    <a:pt x="1464" y="7589"/>
                    <a:pt x="2197" y="8173"/>
                  </a:cubicBezTo>
                  <a:cubicBezTo>
                    <a:pt x="2929" y="8173"/>
                    <a:pt x="3661" y="7589"/>
                    <a:pt x="4393" y="7589"/>
                  </a:cubicBezTo>
                  <a:cubicBezTo>
                    <a:pt x="4393" y="7589"/>
                    <a:pt x="3661" y="8173"/>
                    <a:pt x="3661" y="8173"/>
                  </a:cubicBezTo>
                  <a:cubicBezTo>
                    <a:pt x="3661" y="8757"/>
                    <a:pt x="4027" y="8757"/>
                    <a:pt x="4027" y="8757"/>
                  </a:cubicBezTo>
                  <a:cubicBezTo>
                    <a:pt x="4027" y="9341"/>
                    <a:pt x="0" y="8757"/>
                    <a:pt x="0" y="8757"/>
                  </a:cubicBezTo>
                  <a:cubicBezTo>
                    <a:pt x="0" y="8757"/>
                    <a:pt x="732" y="10508"/>
                    <a:pt x="732" y="10508"/>
                  </a:cubicBezTo>
                  <a:cubicBezTo>
                    <a:pt x="1098" y="11092"/>
                    <a:pt x="2563" y="12259"/>
                    <a:pt x="2563" y="11676"/>
                  </a:cubicBezTo>
                  <a:cubicBezTo>
                    <a:pt x="2563" y="12259"/>
                    <a:pt x="1831" y="11676"/>
                    <a:pt x="2197" y="12843"/>
                  </a:cubicBezTo>
                  <a:cubicBezTo>
                    <a:pt x="2197" y="12843"/>
                    <a:pt x="2563" y="13427"/>
                    <a:pt x="2929" y="13427"/>
                  </a:cubicBezTo>
                  <a:cubicBezTo>
                    <a:pt x="3295" y="14011"/>
                    <a:pt x="3661" y="13427"/>
                    <a:pt x="4027" y="13427"/>
                  </a:cubicBezTo>
                  <a:cubicBezTo>
                    <a:pt x="4393" y="12843"/>
                    <a:pt x="4759" y="14011"/>
                    <a:pt x="5125" y="13427"/>
                  </a:cubicBezTo>
                  <a:cubicBezTo>
                    <a:pt x="6224" y="12843"/>
                    <a:pt x="6956" y="12259"/>
                    <a:pt x="7688" y="12843"/>
                  </a:cubicBezTo>
                  <a:cubicBezTo>
                    <a:pt x="8420" y="13427"/>
                    <a:pt x="8786" y="13427"/>
                    <a:pt x="9519" y="13427"/>
                  </a:cubicBezTo>
                  <a:cubicBezTo>
                    <a:pt x="9153" y="13427"/>
                    <a:pt x="8420" y="13427"/>
                    <a:pt x="7688" y="13427"/>
                  </a:cubicBezTo>
                  <a:cubicBezTo>
                    <a:pt x="8420" y="13427"/>
                    <a:pt x="9885" y="13427"/>
                    <a:pt x="10251" y="14011"/>
                  </a:cubicBezTo>
                  <a:cubicBezTo>
                    <a:pt x="10251" y="14011"/>
                    <a:pt x="8420" y="14595"/>
                    <a:pt x="8420" y="14595"/>
                  </a:cubicBezTo>
                  <a:cubicBezTo>
                    <a:pt x="7688" y="14595"/>
                    <a:pt x="6590" y="14595"/>
                    <a:pt x="5858" y="14595"/>
                  </a:cubicBezTo>
                  <a:cubicBezTo>
                    <a:pt x="5858" y="15178"/>
                    <a:pt x="4393" y="15762"/>
                    <a:pt x="4759" y="15762"/>
                  </a:cubicBezTo>
                  <a:cubicBezTo>
                    <a:pt x="5125" y="16346"/>
                    <a:pt x="5492" y="16346"/>
                    <a:pt x="5858" y="17514"/>
                  </a:cubicBezTo>
                  <a:cubicBezTo>
                    <a:pt x="5858" y="18681"/>
                    <a:pt x="8054" y="17514"/>
                    <a:pt x="8420" y="18681"/>
                  </a:cubicBezTo>
                  <a:cubicBezTo>
                    <a:pt x="8420" y="18681"/>
                    <a:pt x="6956" y="18681"/>
                    <a:pt x="6956" y="19265"/>
                  </a:cubicBezTo>
                  <a:cubicBezTo>
                    <a:pt x="7322" y="19849"/>
                    <a:pt x="9153" y="21016"/>
                    <a:pt x="9519" y="21016"/>
                  </a:cubicBezTo>
                  <a:cubicBezTo>
                    <a:pt x="9519" y="21016"/>
                    <a:pt x="11715" y="21016"/>
                    <a:pt x="11715" y="20432"/>
                  </a:cubicBezTo>
                  <a:cubicBezTo>
                    <a:pt x="11715" y="20432"/>
                    <a:pt x="11349" y="20432"/>
                    <a:pt x="11349" y="20432"/>
                  </a:cubicBezTo>
                  <a:cubicBezTo>
                    <a:pt x="11349" y="19265"/>
                    <a:pt x="12814" y="21016"/>
                    <a:pt x="12447" y="21016"/>
                  </a:cubicBezTo>
                  <a:cubicBezTo>
                    <a:pt x="12814" y="21016"/>
                    <a:pt x="12081" y="19265"/>
                    <a:pt x="12081" y="18681"/>
                  </a:cubicBezTo>
                  <a:cubicBezTo>
                    <a:pt x="12814" y="18097"/>
                    <a:pt x="13546" y="21600"/>
                    <a:pt x="14644" y="20432"/>
                  </a:cubicBezTo>
                  <a:cubicBezTo>
                    <a:pt x="15010" y="19849"/>
                    <a:pt x="14278" y="18681"/>
                    <a:pt x="14644" y="18681"/>
                  </a:cubicBezTo>
                  <a:cubicBezTo>
                    <a:pt x="15010" y="18681"/>
                    <a:pt x="15010" y="19849"/>
                    <a:pt x="15010" y="20432"/>
                  </a:cubicBezTo>
                  <a:cubicBezTo>
                    <a:pt x="15376" y="20432"/>
                    <a:pt x="15742" y="18097"/>
                    <a:pt x="15376" y="18097"/>
                  </a:cubicBezTo>
                  <a:cubicBezTo>
                    <a:pt x="15376" y="17514"/>
                    <a:pt x="15376" y="16930"/>
                    <a:pt x="15010" y="16930"/>
                  </a:cubicBezTo>
                  <a:cubicBezTo>
                    <a:pt x="15010" y="16346"/>
                    <a:pt x="15376" y="15178"/>
                    <a:pt x="15742" y="15762"/>
                  </a:cubicBezTo>
                  <a:cubicBezTo>
                    <a:pt x="16108" y="16346"/>
                    <a:pt x="15742" y="18681"/>
                    <a:pt x="16841" y="17514"/>
                  </a:cubicBezTo>
                  <a:cubicBezTo>
                    <a:pt x="17207" y="16930"/>
                    <a:pt x="18305" y="14595"/>
                    <a:pt x="19037" y="15762"/>
                  </a:cubicBezTo>
                  <a:cubicBezTo>
                    <a:pt x="19403" y="15762"/>
                    <a:pt x="18671" y="16346"/>
                    <a:pt x="18671" y="16346"/>
                  </a:cubicBezTo>
                  <a:cubicBezTo>
                    <a:pt x="18671" y="16346"/>
                    <a:pt x="20502" y="15762"/>
                    <a:pt x="20502" y="15762"/>
                  </a:cubicBezTo>
                  <a:cubicBezTo>
                    <a:pt x="20502" y="15762"/>
                    <a:pt x="19769" y="15762"/>
                    <a:pt x="19769" y="15178"/>
                  </a:cubicBezTo>
                  <a:cubicBezTo>
                    <a:pt x="19769" y="14595"/>
                    <a:pt x="21600" y="14595"/>
                    <a:pt x="21234" y="14011"/>
                  </a:cubicBezTo>
                  <a:cubicBezTo>
                    <a:pt x="21234" y="12843"/>
                    <a:pt x="21234" y="14595"/>
                    <a:pt x="21234" y="140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5" name="Shape 2024">
              <a:extLst>
                <a:ext uri="{FF2B5EF4-FFF2-40B4-BE49-F238E27FC236}">
                  <a16:creationId xmlns:a16="http://schemas.microsoft.com/office/drawing/2014/main" id="{8D5ED4CD-A620-9DAF-059E-C5062F3CEE5D}"/>
                </a:ext>
              </a:extLst>
            </p:cNvPr>
            <p:cNvSpPr/>
            <p:nvPr/>
          </p:nvSpPr>
          <p:spPr>
            <a:xfrm>
              <a:off x="2498913" y="43996"/>
              <a:ext cx="1012236" cy="519016"/>
            </a:xfrm>
            <a:custGeom>
              <a:avLst/>
              <a:gdLst/>
              <a:ahLst/>
              <a:cxnLst>
                <a:cxn ang="0">
                  <a:pos x="wd2" y="hd2"/>
                </a:cxn>
                <a:cxn ang="5400000">
                  <a:pos x="wd2" y="hd2"/>
                </a:cxn>
                <a:cxn ang="10800000">
                  <a:pos x="wd2" y="hd2"/>
                </a:cxn>
                <a:cxn ang="16200000">
                  <a:pos x="wd2" y="hd2"/>
                </a:cxn>
              </a:cxnLst>
              <a:rect l="0" t="0" r="r" b="b"/>
              <a:pathLst>
                <a:path w="21288" h="20954" extrusionOk="0">
                  <a:moveTo>
                    <a:pt x="3600" y="18252"/>
                  </a:moveTo>
                  <a:cubicBezTo>
                    <a:pt x="3046" y="18252"/>
                    <a:pt x="2354" y="18252"/>
                    <a:pt x="1800" y="18518"/>
                  </a:cubicBezTo>
                  <a:cubicBezTo>
                    <a:pt x="1523" y="18785"/>
                    <a:pt x="1523" y="19585"/>
                    <a:pt x="1662" y="19852"/>
                  </a:cubicBezTo>
                  <a:cubicBezTo>
                    <a:pt x="1800" y="20118"/>
                    <a:pt x="2077" y="20385"/>
                    <a:pt x="2077" y="20118"/>
                  </a:cubicBezTo>
                  <a:cubicBezTo>
                    <a:pt x="2354" y="20118"/>
                    <a:pt x="2215" y="19852"/>
                    <a:pt x="2354" y="19585"/>
                  </a:cubicBezTo>
                  <a:cubicBezTo>
                    <a:pt x="2354" y="19585"/>
                    <a:pt x="2354" y="20385"/>
                    <a:pt x="2354" y="20385"/>
                  </a:cubicBezTo>
                  <a:cubicBezTo>
                    <a:pt x="2631" y="20385"/>
                    <a:pt x="3046" y="20385"/>
                    <a:pt x="3323" y="20385"/>
                  </a:cubicBezTo>
                  <a:cubicBezTo>
                    <a:pt x="3600" y="20385"/>
                    <a:pt x="3600" y="19852"/>
                    <a:pt x="3738" y="19852"/>
                  </a:cubicBezTo>
                  <a:cubicBezTo>
                    <a:pt x="4015" y="19852"/>
                    <a:pt x="3738" y="20385"/>
                    <a:pt x="3738" y="20385"/>
                  </a:cubicBezTo>
                  <a:cubicBezTo>
                    <a:pt x="3738" y="20385"/>
                    <a:pt x="5123" y="20652"/>
                    <a:pt x="5123" y="20385"/>
                  </a:cubicBezTo>
                  <a:cubicBezTo>
                    <a:pt x="5123" y="20385"/>
                    <a:pt x="4846" y="20118"/>
                    <a:pt x="4708" y="19852"/>
                  </a:cubicBezTo>
                  <a:cubicBezTo>
                    <a:pt x="4708" y="19852"/>
                    <a:pt x="5262" y="20118"/>
                    <a:pt x="5123" y="20385"/>
                  </a:cubicBezTo>
                  <a:cubicBezTo>
                    <a:pt x="5262" y="20118"/>
                    <a:pt x="5123" y="19852"/>
                    <a:pt x="5262" y="19852"/>
                  </a:cubicBezTo>
                  <a:cubicBezTo>
                    <a:pt x="5262" y="19852"/>
                    <a:pt x="5538" y="20118"/>
                    <a:pt x="5677" y="20118"/>
                  </a:cubicBezTo>
                  <a:cubicBezTo>
                    <a:pt x="5954" y="20652"/>
                    <a:pt x="5677" y="19852"/>
                    <a:pt x="5815" y="19585"/>
                  </a:cubicBezTo>
                  <a:cubicBezTo>
                    <a:pt x="5815" y="19585"/>
                    <a:pt x="6646" y="20385"/>
                    <a:pt x="6646" y="20118"/>
                  </a:cubicBezTo>
                  <a:cubicBezTo>
                    <a:pt x="6646" y="19852"/>
                    <a:pt x="6369" y="19852"/>
                    <a:pt x="6369" y="19585"/>
                  </a:cubicBezTo>
                  <a:cubicBezTo>
                    <a:pt x="6369" y="19585"/>
                    <a:pt x="7338" y="19852"/>
                    <a:pt x="7338" y="19852"/>
                  </a:cubicBezTo>
                  <a:cubicBezTo>
                    <a:pt x="7892" y="19852"/>
                    <a:pt x="7200" y="20652"/>
                    <a:pt x="7200" y="20918"/>
                  </a:cubicBezTo>
                  <a:cubicBezTo>
                    <a:pt x="7200" y="21185"/>
                    <a:pt x="8862" y="19852"/>
                    <a:pt x="9000" y="19852"/>
                  </a:cubicBezTo>
                  <a:cubicBezTo>
                    <a:pt x="9277" y="19852"/>
                    <a:pt x="9969" y="19052"/>
                    <a:pt x="9415" y="18785"/>
                  </a:cubicBezTo>
                  <a:cubicBezTo>
                    <a:pt x="9138" y="18518"/>
                    <a:pt x="8723" y="19052"/>
                    <a:pt x="8446" y="18785"/>
                  </a:cubicBezTo>
                  <a:cubicBezTo>
                    <a:pt x="8446" y="18785"/>
                    <a:pt x="8723" y="18252"/>
                    <a:pt x="8723" y="18252"/>
                  </a:cubicBezTo>
                  <a:cubicBezTo>
                    <a:pt x="8723" y="17985"/>
                    <a:pt x="8308" y="18252"/>
                    <a:pt x="8169" y="18252"/>
                  </a:cubicBezTo>
                  <a:cubicBezTo>
                    <a:pt x="7892" y="18252"/>
                    <a:pt x="7754" y="17718"/>
                    <a:pt x="7477" y="17718"/>
                  </a:cubicBezTo>
                  <a:cubicBezTo>
                    <a:pt x="7338" y="17985"/>
                    <a:pt x="6923" y="18252"/>
                    <a:pt x="6646" y="17985"/>
                  </a:cubicBezTo>
                  <a:cubicBezTo>
                    <a:pt x="6785" y="17985"/>
                    <a:pt x="6923" y="17985"/>
                    <a:pt x="7062" y="17985"/>
                  </a:cubicBezTo>
                  <a:cubicBezTo>
                    <a:pt x="7200" y="17718"/>
                    <a:pt x="6923" y="17185"/>
                    <a:pt x="6923" y="16918"/>
                  </a:cubicBezTo>
                  <a:cubicBezTo>
                    <a:pt x="6923" y="17452"/>
                    <a:pt x="8169" y="17718"/>
                    <a:pt x="8308" y="17718"/>
                  </a:cubicBezTo>
                  <a:cubicBezTo>
                    <a:pt x="8446" y="17718"/>
                    <a:pt x="8723" y="17718"/>
                    <a:pt x="9000" y="17718"/>
                  </a:cubicBezTo>
                  <a:cubicBezTo>
                    <a:pt x="9277" y="17718"/>
                    <a:pt x="9554" y="16918"/>
                    <a:pt x="9415" y="16652"/>
                  </a:cubicBezTo>
                  <a:cubicBezTo>
                    <a:pt x="9000" y="15852"/>
                    <a:pt x="9831" y="15852"/>
                    <a:pt x="10108" y="15852"/>
                  </a:cubicBezTo>
                  <a:cubicBezTo>
                    <a:pt x="10246" y="15852"/>
                    <a:pt x="10938" y="15852"/>
                    <a:pt x="11077" y="15585"/>
                  </a:cubicBezTo>
                  <a:cubicBezTo>
                    <a:pt x="11077" y="15585"/>
                    <a:pt x="10385" y="15052"/>
                    <a:pt x="10385" y="15052"/>
                  </a:cubicBezTo>
                  <a:cubicBezTo>
                    <a:pt x="10662" y="14785"/>
                    <a:pt x="11215" y="15318"/>
                    <a:pt x="11354" y="14785"/>
                  </a:cubicBezTo>
                  <a:cubicBezTo>
                    <a:pt x="11492" y="14518"/>
                    <a:pt x="10662" y="14252"/>
                    <a:pt x="10523" y="14252"/>
                  </a:cubicBezTo>
                  <a:cubicBezTo>
                    <a:pt x="10662" y="14252"/>
                    <a:pt x="11631" y="13985"/>
                    <a:pt x="11769" y="13718"/>
                  </a:cubicBezTo>
                  <a:cubicBezTo>
                    <a:pt x="12046" y="13452"/>
                    <a:pt x="10662" y="12918"/>
                    <a:pt x="10662" y="13185"/>
                  </a:cubicBezTo>
                  <a:cubicBezTo>
                    <a:pt x="10662" y="12918"/>
                    <a:pt x="10938" y="12918"/>
                    <a:pt x="10938" y="12918"/>
                  </a:cubicBezTo>
                  <a:cubicBezTo>
                    <a:pt x="10938" y="12652"/>
                    <a:pt x="9969" y="12918"/>
                    <a:pt x="9831" y="12918"/>
                  </a:cubicBezTo>
                  <a:cubicBezTo>
                    <a:pt x="9554" y="12918"/>
                    <a:pt x="9415" y="13185"/>
                    <a:pt x="9138" y="13452"/>
                  </a:cubicBezTo>
                  <a:cubicBezTo>
                    <a:pt x="9277" y="13452"/>
                    <a:pt x="9692" y="12652"/>
                    <a:pt x="9415" y="12652"/>
                  </a:cubicBezTo>
                  <a:cubicBezTo>
                    <a:pt x="9415" y="12652"/>
                    <a:pt x="8862" y="12652"/>
                    <a:pt x="8862" y="12385"/>
                  </a:cubicBezTo>
                  <a:cubicBezTo>
                    <a:pt x="8862" y="12385"/>
                    <a:pt x="9831" y="12385"/>
                    <a:pt x="9969" y="12385"/>
                  </a:cubicBezTo>
                  <a:cubicBezTo>
                    <a:pt x="9831" y="12385"/>
                    <a:pt x="9415" y="12118"/>
                    <a:pt x="9415" y="12118"/>
                  </a:cubicBezTo>
                  <a:cubicBezTo>
                    <a:pt x="9554" y="11852"/>
                    <a:pt x="9969" y="12385"/>
                    <a:pt x="10246" y="12118"/>
                  </a:cubicBezTo>
                  <a:cubicBezTo>
                    <a:pt x="10108" y="12118"/>
                    <a:pt x="9554" y="11852"/>
                    <a:pt x="9554" y="11852"/>
                  </a:cubicBezTo>
                  <a:cubicBezTo>
                    <a:pt x="9554" y="11585"/>
                    <a:pt x="10662" y="11852"/>
                    <a:pt x="10800" y="11585"/>
                  </a:cubicBezTo>
                  <a:cubicBezTo>
                    <a:pt x="10800" y="11585"/>
                    <a:pt x="10385" y="11318"/>
                    <a:pt x="10385" y="11318"/>
                  </a:cubicBezTo>
                  <a:cubicBezTo>
                    <a:pt x="10246" y="11318"/>
                    <a:pt x="10662" y="11318"/>
                    <a:pt x="10662" y="11318"/>
                  </a:cubicBezTo>
                  <a:cubicBezTo>
                    <a:pt x="10938" y="11585"/>
                    <a:pt x="11077" y="11852"/>
                    <a:pt x="11354" y="11852"/>
                  </a:cubicBezTo>
                  <a:cubicBezTo>
                    <a:pt x="11631" y="11852"/>
                    <a:pt x="12046" y="11585"/>
                    <a:pt x="12462" y="11318"/>
                  </a:cubicBezTo>
                  <a:cubicBezTo>
                    <a:pt x="13569" y="11052"/>
                    <a:pt x="11769" y="10785"/>
                    <a:pt x="11631" y="10252"/>
                  </a:cubicBezTo>
                  <a:cubicBezTo>
                    <a:pt x="11631" y="9985"/>
                    <a:pt x="12877" y="10252"/>
                    <a:pt x="13015" y="10518"/>
                  </a:cubicBezTo>
                  <a:cubicBezTo>
                    <a:pt x="13292" y="10785"/>
                    <a:pt x="13431" y="10785"/>
                    <a:pt x="13846" y="10518"/>
                  </a:cubicBezTo>
                  <a:cubicBezTo>
                    <a:pt x="13985" y="10518"/>
                    <a:pt x="14677" y="9985"/>
                    <a:pt x="14538" y="9452"/>
                  </a:cubicBezTo>
                  <a:cubicBezTo>
                    <a:pt x="14538" y="9185"/>
                    <a:pt x="13015" y="10518"/>
                    <a:pt x="13431" y="9185"/>
                  </a:cubicBezTo>
                  <a:cubicBezTo>
                    <a:pt x="13292" y="9452"/>
                    <a:pt x="13985" y="9452"/>
                    <a:pt x="13985" y="9452"/>
                  </a:cubicBezTo>
                  <a:cubicBezTo>
                    <a:pt x="14400" y="9452"/>
                    <a:pt x="14677" y="9185"/>
                    <a:pt x="14954" y="9185"/>
                  </a:cubicBezTo>
                  <a:cubicBezTo>
                    <a:pt x="14954" y="8918"/>
                    <a:pt x="14538" y="8118"/>
                    <a:pt x="14538" y="8118"/>
                  </a:cubicBezTo>
                  <a:cubicBezTo>
                    <a:pt x="14677" y="8118"/>
                    <a:pt x="14815" y="8385"/>
                    <a:pt x="14815" y="8652"/>
                  </a:cubicBezTo>
                  <a:cubicBezTo>
                    <a:pt x="14954" y="8918"/>
                    <a:pt x="15231" y="8652"/>
                    <a:pt x="15369" y="8652"/>
                  </a:cubicBezTo>
                  <a:cubicBezTo>
                    <a:pt x="15785" y="8118"/>
                    <a:pt x="16062" y="7585"/>
                    <a:pt x="16477" y="7318"/>
                  </a:cubicBezTo>
                  <a:cubicBezTo>
                    <a:pt x="16754" y="7052"/>
                    <a:pt x="18831" y="5452"/>
                    <a:pt x="18831" y="5185"/>
                  </a:cubicBezTo>
                  <a:cubicBezTo>
                    <a:pt x="18831" y="4918"/>
                    <a:pt x="17031" y="5718"/>
                    <a:pt x="16892" y="5718"/>
                  </a:cubicBezTo>
                  <a:cubicBezTo>
                    <a:pt x="16477" y="5985"/>
                    <a:pt x="16062" y="5985"/>
                    <a:pt x="15508" y="6252"/>
                  </a:cubicBezTo>
                  <a:cubicBezTo>
                    <a:pt x="15508" y="6252"/>
                    <a:pt x="14954" y="6252"/>
                    <a:pt x="14954" y="6252"/>
                  </a:cubicBezTo>
                  <a:cubicBezTo>
                    <a:pt x="14954" y="5985"/>
                    <a:pt x="15785" y="5985"/>
                    <a:pt x="15923" y="5718"/>
                  </a:cubicBezTo>
                  <a:cubicBezTo>
                    <a:pt x="16062" y="5718"/>
                    <a:pt x="17031" y="5452"/>
                    <a:pt x="17031" y="5185"/>
                  </a:cubicBezTo>
                  <a:cubicBezTo>
                    <a:pt x="17031" y="5452"/>
                    <a:pt x="15646" y="4918"/>
                    <a:pt x="15785" y="4652"/>
                  </a:cubicBezTo>
                  <a:cubicBezTo>
                    <a:pt x="15785" y="4652"/>
                    <a:pt x="17446" y="4918"/>
                    <a:pt x="17585" y="4652"/>
                  </a:cubicBezTo>
                  <a:cubicBezTo>
                    <a:pt x="17862" y="4652"/>
                    <a:pt x="18277" y="4385"/>
                    <a:pt x="18554" y="4385"/>
                  </a:cubicBezTo>
                  <a:cubicBezTo>
                    <a:pt x="18692" y="4385"/>
                    <a:pt x="18969" y="4385"/>
                    <a:pt x="19108" y="4385"/>
                  </a:cubicBezTo>
                  <a:cubicBezTo>
                    <a:pt x="19662" y="4118"/>
                    <a:pt x="20215" y="3852"/>
                    <a:pt x="20631" y="3585"/>
                  </a:cubicBezTo>
                  <a:cubicBezTo>
                    <a:pt x="20631" y="3585"/>
                    <a:pt x="21600" y="2518"/>
                    <a:pt x="21185" y="2252"/>
                  </a:cubicBezTo>
                  <a:cubicBezTo>
                    <a:pt x="20908" y="2252"/>
                    <a:pt x="20492" y="2252"/>
                    <a:pt x="20215" y="2252"/>
                  </a:cubicBezTo>
                  <a:cubicBezTo>
                    <a:pt x="20077" y="1985"/>
                    <a:pt x="19800" y="2252"/>
                    <a:pt x="19800" y="1985"/>
                  </a:cubicBezTo>
                  <a:cubicBezTo>
                    <a:pt x="19800" y="1452"/>
                    <a:pt x="19523" y="1452"/>
                    <a:pt x="19523" y="918"/>
                  </a:cubicBezTo>
                  <a:cubicBezTo>
                    <a:pt x="19523" y="918"/>
                    <a:pt x="18969" y="1185"/>
                    <a:pt x="18831" y="1185"/>
                  </a:cubicBezTo>
                  <a:cubicBezTo>
                    <a:pt x="18692" y="918"/>
                    <a:pt x="18554" y="385"/>
                    <a:pt x="18415" y="918"/>
                  </a:cubicBezTo>
                  <a:cubicBezTo>
                    <a:pt x="18415" y="918"/>
                    <a:pt x="17585" y="1185"/>
                    <a:pt x="17446" y="1185"/>
                  </a:cubicBezTo>
                  <a:cubicBezTo>
                    <a:pt x="17169" y="1452"/>
                    <a:pt x="16892" y="1452"/>
                    <a:pt x="16615" y="1452"/>
                  </a:cubicBezTo>
                  <a:cubicBezTo>
                    <a:pt x="16615" y="1452"/>
                    <a:pt x="16062" y="1452"/>
                    <a:pt x="16062" y="1452"/>
                  </a:cubicBezTo>
                  <a:cubicBezTo>
                    <a:pt x="16062" y="1185"/>
                    <a:pt x="16615" y="1185"/>
                    <a:pt x="16754" y="918"/>
                  </a:cubicBezTo>
                  <a:cubicBezTo>
                    <a:pt x="17031" y="918"/>
                    <a:pt x="17308" y="652"/>
                    <a:pt x="17446" y="385"/>
                  </a:cubicBezTo>
                  <a:cubicBezTo>
                    <a:pt x="17169" y="1185"/>
                    <a:pt x="14262" y="-415"/>
                    <a:pt x="14123" y="118"/>
                  </a:cubicBezTo>
                  <a:cubicBezTo>
                    <a:pt x="14123" y="385"/>
                    <a:pt x="14400" y="385"/>
                    <a:pt x="14538" y="652"/>
                  </a:cubicBezTo>
                  <a:cubicBezTo>
                    <a:pt x="14538" y="918"/>
                    <a:pt x="13846" y="118"/>
                    <a:pt x="13846" y="118"/>
                  </a:cubicBezTo>
                  <a:cubicBezTo>
                    <a:pt x="13569" y="-148"/>
                    <a:pt x="13154" y="118"/>
                    <a:pt x="13015" y="118"/>
                  </a:cubicBezTo>
                  <a:cubicBezTo>
                    <a:pt x="12877" y="118"/>
                    <a:pt x="12462" y="118"/>
                    <a:pt x="12600" y="385"/>
                  </a:cubicBezTo>
                  <a:cubicBezTo>
                    <a:pt x="12738" y="652"/>
                    <a:pt x="13015" y="1452"/>
                    <a:pt x="13154" y="1185"/>
                  </a:cubicBezTo>
                  <a:cubicBezTo>
                    <a:pt x="13154" y="1452"/>
                    <a:pt x="12600" y="1185"/>
                    <a:pt x="12600" y="918"/>
                  </a:cubicBezTo>
                  <a:cubicBezTo>
                    <a:pt x="12185" y="918"/>
                    <a:pt x="12046" y="118"/>
                    <a:pt x="11769" y="118"/>
                  </a:cubicBezTo>
                  <a:cubicBezTo>
                    <a:pt x="11215" y="118"/>
                    <a:pt x="10800" y="118"/>
                    <a:pt x="10385" y="118"/>
                  </a:cubicBezTo>
                  <a:cubicBezTo>
                    <a:pt x="9692" y="385"/>
                    <a:pt x="10108" y="652"/>
                    <a:pt x="10523" y="918"/>
                  </a:cubicBezTo>
                  <a:cubicBezTo>
                    <a:pt x="10662" y="1185"/>
                    <a:pt x="10938" y="1452"/>
                    <a:pt x="11077" y="1718"/>
                  </a:cubicBezTo>
                  <a:cubicBezTo>
                    <a:pt x="11077" y="1718"/>
                    <a:pt x="10662" y="2252"/>
                    <a:pt x="10662" y="2252"/>
                  </a:cubicBezTo>
                  <a:cubicBezTo>
                    <a:pt x="10523" y="2252"/>
                    <a:pt x="10800" y="1985"/>
                    <a:pt x="10800" y="1985"/>
                  </a:cubicBezTo>
                  <a:cubicBezTo>
                    <a:pt x="10800" y="1718"/>
                    <a:pt x="9831" y="652"/>
                    <a:pt x="9692" y="652"/>
                  </a:cubicBezTo>
                  <a:cubicBezTo>
                    <a:pt x="9138" y="652"/>
                    <a:pt x="8585" y="385"/>
                    <a:pt x="8031" y="652"/>
                  </a:cubicBezTo>
                  <a:cubicBezTo>
                    <a:pt x="8031" y="652"/>
                    <a:pt x="8308" y="1185"/>
                    <a:pt x="8446" y="1185"/>
                  </a:cubicBezTo>
                  <a:cubicBezTo>
                    <a:pt x="8585" y="1185"/>
                    <a:pt x="8862" y="1452"/>
                    <a:pt x="9138" y="1185"/>
                  </a:cubicBezTo>
                  <a:cubicBezTo>
                    <a:pt x="8862" y="1452"/>
                    <a:pt x="8446" y="1718"/>
                    <a:pt x="8169" y="1452"/>
                  </a:cubicBezTo>
                  <a:cubicBezTo>
                    <a:pt x="8031" y="1452"/>
                    <a:pt x="7062" y="652"/>
                    <a:pt x="7200" y="918"/>
                  </a:cubicBezTo>
                  <a:cubicBezTo>
                    <a:pt x="7200" y="652"/>
                    <a:pt x="7892" y="2252"/>
                    <a:pt x="7338" y="1985"/>
                  </a:cubicBezTo>
                  <a:cubicBezTo>
                    <a:pt x="7200" y="1718"/>
                    <a:pt x="6785" y="1452"/>
                    <a:pt x="6508" y="1718"/>
                  </a:cubicBezTo>
                  <a:cubicBezTo>
                    <a:pt x="6646" y="1718"/>
                    <a:pt x="7062" y="1985"/>
                    <a:pt x="7062" y="1985"/>
                  </a:cubicBezTo>
                  <a:cubicBezTo>
                    <a:pt x="6923" y="2252"/>
                    <a:pt x="6369" y="1718"/>
                    <a:pt x="6369" y="2252"/>
                  </a:cubicBezTo>
                  <a:cubicBezTo>
                    <a:pt x="6369" y="2518"/>
                    <a:pt x="6923" y="2785"/>
                    <a:pt x="7062" y="3052"/>
                  </a:cubicBezTo>
                  <a:cubicBezTo>
                    <a:pt x="7477" y="3052"/>
                    <a:pt x="8446" y="3318"/>
                    <a:pt x="8446" y="4118"/>
                  </a:cubicBezTo>
                  <a:cubicBezTo>
                    <a:pt x="8446" y="3852"/>
                    <a:pt x="7477" y="3585"/>
                    <a:pt x="7200" y="3318"/>
                  </a:cubicBezTo>
                  <a:cubicBezTo>
                    <a:pt x="6923" y="3318"/>
                    <a:pt x="6508" y="2518"/>
                    <a:pt x="6231" y="2785"/>
                  </a:cubicBezTo>
                  <a:cubicBezTo>
                    <a:pt x="6231" y="2785"/>
                    <a:pt x="6646" y="3318"/>
                    <a:pt x="6646" y="3318"/>
                  </a:cubicBezTo>
                  <a:cubicBezTo>
                    <a:pt x="6646" y="3318"/>
                    <a:pt x="6231" y="3585"/>
                    <a:pt x="6231" y="3318"/>
                  </a:cubicBezTo>
                  <a:cubicBezTo>
                    <a:pt x="5954" y="3052"/>
                    <a:pt x="5815" y="2785"/>
                    <a:pt x="5538" y="2518"/>
                  </a:cubicBezTo>
                  <a:cubicBezTo>
                    <a:pt x="5400" y="2252"/>
                    <a:pt x="4292" y="2252"/>
                    <a:pt x="4292" y="2252"/>
                  </a:cubicBezTo>
                  <a:cubicBezTo>
                    <a:pt x="4292" y="2518"/>
                    <a:pt x="4708" y="2518"/>
                    <a:pt x="4292" y="2785"/>
                  </a:cubicBezTo>
                  <a:cubicBezTo>
                    <a:pt x="4154" y="2785"/>
                    <a:pt x="3462" y="3318"/>
                    <a:pt x="3462" y="3318"/>
                  </a:cubicBezTo>
                  <a:cubicBezTo>
                    <a:pt x="3600" y="3318"/>
                    <a:pt x="4015" y="3052"/>
                    <a:pt x="4015" y="3052"/>
                  </a:cubicBezTo>
                  <a:cubicBezTo>
                    <a:pt x="4154" y="3318"/>
                    <a:pt x="4708" y="3852"/>
                    <a:pt x="4708" y="3852"/>
                  </a:cubicBezTo>
                  <a:cubicBezTo>
                    <a:pt x="4708" y="3852"/>
                    <a:pt x="4292" y="3585"/>
                    <a:pt x="4292" y="3852"/>
                  </a:cubicBezTo>
                  <a:cubicBezTo>
                    <a:pt x="4292" y="3852"/>
                    <a:pt x="4431" y="4652"/>
                    <a:pt x="4154" y="4118"/>
                  </a:cubicBezTo>
                  <a:cubicBezTo>
                    <a:pt x="4015" y="3852"/>
                    <a:pt x="3877" y="3318"/>
                    <a:pt x="3600" y="3585"/>
                  </a:cubicBezTo>
                  <a:cubicBezTo>
                    <a:pt x="3462" y="3585"/>
                    <a:pt x="3323" y="4118"/>
                    <a:pt x="3185" y="3852"/>
                  </a:cubicBezTo>
                  <a:cubicBezTo>
                    <a:pt x="3046" y="3585"/>
                    <a:pt x="2908" y="3318"/>
                    <a:pt x="2631" y="3318"/>
                  </a:cubicBezTo>
                  <a:cubicBezTo>
                    <a:pt x="2492" y="3318"/>
                    <a:pt x="2077" y="3585"/>
                    <a:pt x="1938" y="3852"/>
                  </a:cubicBezTo>
                  <a:cubicBezTo>
                    <a:pt x="1662" y="4118"/>
                    <a:pt x="1800" y="4385"/>
                    <a:pt x="1385" y="4118"/>
                  </a:cubicBezTo>
                  <a:cubicBezTo>
                    <a:pt x="1108" y="3852"/>
                    <a:pt x="969" y="4118"/>
                    <a:pt x="692" y="4118"/>
                  </a:cubicBezTo>
                  <a:cubicBezTo>
                    <a:pt x="554" y="4385"/>
                    <a:pt x="0" y="4385"/>
                    <a:pt x="0" y="4652"/>
                  </a:cubicBezTo>
                  <a:cubicBezTo>
                    <a:pt x="0" y="5185"/>
                    <a:pt x="1246" y="4652"/>
                    <a:pt x="1246" y="4918"/>
                  </a:cubicBezTo>
                  <a:cubicBezTo>
                    <a:pt x="1246" y="5185"/>
                    <a:pt x="831" y="5185"/>
                    <a:pt x="692" y="5452"/>
                  </a:cubicBezTo>
                  <a:cubicBezTo>
                    <a:pt x="692" y="5185"/>
                    <a:pt x="1385" y="5185"/>
                    <a:pt x="1523" y="5185"/>
                  </a:cubicBezTo>
                  <a:cubicBezTo>
                    <a:pt x="1662" y="5185"/>
                    <a:pt x="2354" y="5185"/>
                    <a:pt x="2354" y="5185"/>
                  </a:cubicBezTo>
                  <a:cubicBezTo>
                    <a:pt x="2354" y="5185"/>
                    <a:pt x="2077" y="5452"/>
                    <a:pt x="1938" y="5452"/>
                  </a:cubicBezTo>
                  <a:cubicBezTo>
                    <a:pt x="1662" y="5452"/>
                    <a:pt x="1523" y="5452"/>
                    <a:pt x="1246" y="5985"/>
                  </a:cubicBezTo>
                  <a:cubicBezTo>
                    <a:pt x="692" y="6518"/>
                    <a:pt x="1662" y="6518"/>
                    <a:pt x="1800" y="6518"/>
                  </a:cubicBezTo>
                  <a:cubicBezTo>
                    <a:pt x="2354" y="6785"/>
                    <a:pt x="2769" y="6785"/>
                    <a:pt x="3323" y="6518"/>
                  </a:cubicBezTo>
                  <a:cubicBezTo>
                    <a:pt x="3600" y="6252"/>
                    <a:pt x="4292" y="5452"/>
                    <a:pt x="4708" y="5985"/>
                  </a:cubicBezTo>
                  <a:cubicBezTo>
                    <a:pt x="4708" y="5985"/>
                    <a:pt x="4015" y="6518"/>
                    <a:pt x="4015" y="6518"/>
                  </a:cubicBezTo>
                  <a:cubicBezTo>
                    <a:pt x="3738" y="6518"/>
                    <a:pt x="3462" y="6518"/>
                    <a:pt x="3185" y="6785"/>
                  </a:cubicBezTo>
                  <a:cubicBezTo>
                    <a:pt x="3046" y="6785"/>
                    <a:pt x="2769" y="6785"/>
                    <a:pt x="2492" y="6785"/>
                  </a:cubicBezTo>
                  <a:cubicBezTo>
                    <a:pt x="2215" y="7052"/>
                    <a:pt x="1938" y="6785"/>
                    <a:pt x="1662" y="7052"/>
                  </a:cubicBezTo>
                  <a:cubicBezTo>
                    <a:pt x="1800" y="7052"/>
                    <a:pt x="2215" y="7318"/>
                    <a:pt x="2215" y="7318"/>
                  </a:cubicBezTo>
                  <a:cubicBezTo>
                    <a:pt x="2354" y="7585"/>
                    <a:pt x="2492" y="7852"/>
                    <a:pt x="2769" y="7852"/>
                  </a:cubicBezTo>
                  <a:cubicBezTo>
                    <a:pt x="3323" y="7852"/>
                    <a:pt x="3600" y="7052"/>
                    <a:pt x="4154" y="6785"/>
                  </a:cubicBezTo>
                  <a:cubicBezTo>
                    <a:pt x="4292" y="6785"/>
                    <a:pt x="6092" y="6518"/>
                    <a:pt x="6092" y="6252"/>
                  </a:cubicBezTo>
                  <a:cubicBezTo>
                    <a:pt x="6092" y="6518"/>
                    <a:pt x="5262" y="6518"/>
                    <a:pt x="5123" y="6518"/>
                  </a:cubicBezTo>
                  <a:cubicBezTo>
                    <a:pt x="4708" y="6785"/>
                    <a:pt x="4015" y="7052"/>
                    <a:pt x="3600" y="7585"/>
                  </a:cubicBezTo>
                  <a:cubicBezTo>
                    <a:pt x="3185" y="8385"/>
                    <a:pt x="4431" y="8118"/>
                    <a:pt x="4569" y="8118"/>
                  </a:cubicBezTo>
                  <a:cubicBezTo>
                    <a:pt x="4846" y="8118"/>
                    <a:pt x="5123" y="8385"/>
                    <a:pt x="5400" y="7852"/>
                  </a:cubicBezTo>
                  <a:cubicBezTo>
                    <a:pt x="5538" y="7852"/>
                    <a:pt x="5538" y="7585"/>
                    <a:pt x="5538" y="7318"/>
                  </a:cubicBezTo>
                  <a:cubicBezTo>
                    <a:pt x="5677" y="7318"/>
                    <a:pt x="5815" y="7318"/>
                    <a:pt x="5815" y="7585"/>
                  </a:cubicBezTo>
                  <a:cubicBezTo>
                    <a:pt x="5815" y="7585"/>
                    <a:pt x="5815" y="7585"/>
                    <a:pt x="5677" y="7585"/>
                  </a:cubicBezTo>
                  <a:cubicBezTo>
                    <a:pt x="5954" y="7585"/>
                    <a:pt x="6646" y="7052"/>
                    <a:pt x="6923" y="7318"/>
                  </a:cubicBezTo>
                  <a:cubicBezTo>
                    <a:pt x="6785" y="7052"/>
                    <a:pt x="6092" y="8118"/>
                    <a:pt x="5954" y="8118"/>
                  </a:cubicBezTo>
                  <a:cubicBezTo>
                    <a:pt x="6092" y="8385"/>
                    <a:pt x="6923" y="7852"/>
                    <a:pt x="7200" y="7852"/>
                  </a:cubicBezTo>
                  <a:cubicBezTo>
                    <a:pt x="7615" y="7852"/>
                    <a:pt x="8031" y="7585"/>
                    <a:pt x="8446" y="7052"/>
                  </a:cubicBezTo>
                  <a:cubicBezTo>
                    <a:pt x="8585" y="6785"/>
                    <a:pt x="8585" y="6252"/>
                    <a:pt x="8585" y="6252"/>
                  </a:cubicBezTo>
                  <a:cubicBezTo>
                    <a:pt x="8862" y="6252"/>
                    <a:pt x="8862" y="6252"/>
                    <a:pt x="9000" y="5985"/>
                  </a:cubicBezTo>
                  <a:cubicBezTo>
                    <a:pt x="9138" y="5985"/>
                    <a:pt x="10108" y="4918"/>
                    <a:pt x="10108" y="5185"/>
                  </a:cubicBezTo>
                  <a:cubicBezTo>
                    <a:pt x="10108" y="5185"/>
                    <a:pt x="9554" y="5985"/>
                    <a:pt x="9554" y="5985"/>
                  </a:cubicBezTo>
                  <a:cubicBezTo>
                    <a:pt x="9415" y="6252"/>
                    <a:pt x="8862" y="6785"/>
                    <a:pt x="8862" y="7052"/>
                  </a:cubicBezTo>
                  <a:cubicBezTo>
                    <a:pt x="8862" y="7318"/>
                    <a:pt x="10385" y="7052"/>
                    <a:pt x="10385" y="7318"/>
                  </a:cubicBezTo>
                  <a:cubicBezTo>
                    <a:pt x="10385" y="7052"/>
                    <a:pt x="8308" y="8118"/>
                    <a:pt x="8308" y="7852"/>
                  </a:cubicBezTo>
                  <a:cubicBezTo>
                    <a:pt x="8308" y="7852"/>
                    <a:pt x="9554" y="8118"/>
                    <a:pt x="9415" y="8118"/>
                  </a:cubicBezTo>
                  <a:cubicBezTo>
                    <a:pt x="9415" y="8385"/>
                    <a:pt x="8862" y="8385"/>
                    <a:pt x="8723" y="8385"/>
                  </a:cubicBezTo>
                  <a:cubicBezTo>
                    <a:pt x="8446" y="8385"/>
                    <a:pt x="8031" y="8385"/>
                    <a:pt x="7754" y="8652"/>
                  </a:cubicBezTo>
                  <a:cubicBezTo>
                    <a:pt x="7200" y="8652"/>
                    <a:pt x="6646" y="8652"/>
                    <a:pt x="6092" y="8918"/>
                  </a:cubicBezTo>
                  <a:cubicBezTo>
                    <a:pt x="5954" y="8918"/>
                    <a:pt x="5954" y="9185"/>
                    <a:pt x="6231" y="9185"/>
                  </a:cubicBezTo>
                  <a:cubicBezTo>
                    <a:pt x="6369" y="9452"/>
                    <a:pt x="6785" y="9718"/>
                    <a:pt x="6923" y="9985"/>
                  </a:cubicBezTo>
                  <a:cubicBezTo>
                    <a:pt x="7200" y="10518"/>
                    <a:pt x="6923" y="11052"/>
                    <a:pt x="7338" y="11052"/>
                  </a:cubicBezTo>
                  <a:cubicBezTo>
                    <a:pt x="7477" y="10785"/>
                    <a:pt x="7892" y="11052"/>
                    <a:pt x="8031" y="10785"/>
                  </a:cubicBezTo>
                  <a:cubicBezTo>
                    <a:pt x="6785" y="12118"/>
                    <a:pt x="6092" y="9185"/>
                    <a:pt x="5123" y="9185"/>
                  </a:cubicBezTo>
                  <a:cubicBezTo>
                    <a:pt x="4846" y="9185"/>
                    <a:pt x="3600" y="8652"/>
                    <a:pt x="3600" y="9185"/>
                  </a:cubicBezTo>
                  <a:cubicBezTo>
                    <a:pt x="3600" y="9185"/>
                    <a:pt x="3462" y="9718"/>
                    <a:pt x="3462" y="9718"/>
                  </a:cubicBezTo>
                  <a:cubicBezTo>
                    <a:pt x="3600" y="9718"/>
                    <a:pt x="4431" y="9718"/>
                    <a:pt x="4431" y="9985"/>
                  </a:cubicBezTo>
                  <a:cubicBezTo>
                    <a:pt x="4431" y="9985"/>
                    <a:pt x="3600" y="9985"/>
                    <a:pt x="3600" y="10518"/>
                  </a:cubicBezTo>
                  <a:cubicBezTo>
                    <a:pt x="3600" y="10785"/>
                    <a:pt x="4431" y="10785"/>
                    <a:pt x="4708" y="11052"/>
                  </a:cubicBezTo>
                  <a:cubicBezTo>
                    <a:pt x="4846" y="11318"/>
                    <a:pt x="4985" y="11585"/>
                    <a:pt x="5123" y="11852"/>
                  </a:cubicBezTo>
                  <a:cubicBezTo>
                    <a:pt x="5262" y="12385"/>
                    <a:pt x="5538" y="12652"/>
                    <a:pt x="5815" y="12918"/>
                  </a:cubicBezTo>
                  <a:cubicBezTo>
                    <a:pt x="6092" y="13185"/>
                    <a:pt x="6231" y="13185"/>
                    <a:pt x="6508" y="12918"/>
                  </a:cubicBezTo>
                  <a:cubicBezTo>
                    <a:pt x="6646" y="12918"/>
                    <a:pt x="6923" y="12652"/>
                    <a:pt x="7062" y="12918"/>
                  </a:cubicBezTo>
                  <a:cubicBezTo>
                    <a:pt x="7062" y="12918"/>
                    <a:pt x="6923" y="13452"/>
                    <a:pt x="6923" y="13452"/>
                  </a:cubicBezTo>
                  <a:cubicBezTo>
                    <a:pt x="6646" y="13452"/>
                    <a:pt x="6231" y="13185"/>
                    <a:pt x="6092" y="13452"/>
                  </a:cubicBezTo>
                  <a:cubicBezTo>
                    <a:pt x="6092" y="13185"/>
                    <a:pt x="6646" y="13985"/>
                    <a:pt x="6646" y="13985"/>
                  </a:cubicBezTo>
                  <a:cubicBezTo>
                    <a:pt x="6646" y="14252"/>
                    <a:pt x="5954" y="13718"/>
                    <a:pt x="5954" y="13718"/>
                  </a:cubicBezTo>
                  <a:cubicBezTo>
                    <a:pt x="5538" y="13185"/>
                    <a:pt x="5262" y="13185"/>
                    <a:pt x="4846" y="13185"/>
                  </a:cubicBezTo>
                  <a:cubicBezTo>
                    <a:pt x="4569" y="13185"/>
                    <a:pt x="4431" y="13185"/>
                    <a:pt x="4154" y="13452"/>
                  </a:cubicBezTo>
                  <a:cubicBezTo>
                    <a:pt x="3877" y="13718"/>
                    <a:pt x="3738" y="13452"/>
                    <a:pt x="3600" y="13718"/>
                  </a:cubicBezTo>
                  <a:cubicBezTo>
                    <a:pt x="3462" y="13985"/>
                    <a:pt x="3462" y="14252"/>
                    <a:pt x="3185" y="14252"/>
                  </a:cubicBezTo>
                  <a:cubicBezTo>
                    <a:pt x="3046" y="14518"/>
                    <a:pt x="2908" y="15318"/>
                    <a:pt x="3185" y="15318"/>
                  </a:cubicBezTo>
                  <a:cubicBezTo>
                    <a:pt x="3462" y="15318"/>
                    <a:pt x="3738" y="15052"/>
                    <a:pt x="3738" y="15318"/>
                  </a:cubicBezTo>
                  <a:cubicBezTo>
                    <a:pt x="3877" y="15852"/>
                    <a:pt x="4431" y="15585"/>
                    <a:pt x="4431" y="15318"/>
                  </a:cubicBezTo>
                  <a:cubicBezTo>
                    <a:pt x="4569" y="15318"/>
                    <a:pt x="4846" y="14518"/>
                    <a:pt x="4846" y="14252"/>
                  </a:cubicBezTo>
                  <a:cubicBezTo>
                    <a:pt x="4846" y="14518"/>
                    <a:pt x="4846" y="14518"/>
                    <a:pt x="4846" y="14785"/>
                  </a:cubicBezTo>
                  <a:cubicBezTo>
                    <a:pt x="4846" y="14785"/>
                    <a:pt x="4985" y="14785"/>
                    <a:pt x="4985" y="14785"/>
                  </a:cubicBezTo>
                  <a:cubicBezTo>
                    <a:pt x="4985" y="14785"/>
                    <a:pt x="4846" y="15052"/>
                    <a:pt x="4846" y="15318"/>
                  </a:cubicBezTo>
                  <a:cubicBezTo>
                    <a:pt x="4846" y="15318"/>
                    <a:pt x="4846" y="15318"/>
                    <a:pt x="4985" y="15318"/>
                  </a:cubicBezTo>
                  <a:cubicBezTo>
                    <a:pt x="4985" y="15318"/>
                    <a:pt x="4569" y="15585"/>
                    <a:pt x="4708" y="15585"/>
                  </a:cubicBezTo>
                  <a:cubicBezTo>
                    <a:pt x="4708" y="15585"/>
                    <a:pt x="4708" y="15585"/>
                    <a:pt x="4708" y="15585"/>
                  </a:cubicBezTo>
                  <a:cubicBezTo>
                    <a:pt x="4708" y="15852"/>
                    <a:pt x="4292" y="15585"/>
                    <a:pt x="4154" y="15852"/>
                  </a:cubicBezTo>
                  <a:cubicBezTo>
                    <a:pt x="4292" y="15852"/>
                    <a:pt x="4846" y="15852"/>
                    <a:pt x="4985" y="16118"/>
                  </a:cubicBezTo>
                  <a:cubicBezTo>
                    <a:pt x="4985" y="16118"/>
                    <a:pt x="4292" y="16918"/>
                    <a:pt x="4431" y="16918"/>
                  </a:cubicBezTo>
                  <a:cubicBezTo>
                    <a:pt x="4431" y="17185"/>
                    <a:pt x="5123" y="16918"/>
                    <a:pt x="5123" y="16918"/>
                  </a:cubicBezTo>
                  <a:cubicBezTo>
                    <a:pt x="5123" y="16918"/>
                    <a:pt x="4985" y="16918"/>
                    <a:pt x="4985" y="16918"/>
                  </a:cubicBezTo>
                  <a:cubicBezTo>
                    <a:pt x="4985" y="17185"/>
                    <a:pt x="5677" y="16918"/>
                    <a:pt x="5815" y="16652"/>
                  </a:cubicBezTo>
                  <a:cubicBezTo>
                    <a:pt x="5815" y="16652"/>
                    <a:pt x="6369" y="15318"/>
                    <a:pt x="6508" y="15585"/>
                  </a:cubicBezTo>
                  <a:cubicBezTo>
                    <a:pt x="6646" y="15852"/>
                    <a:pt x="5538" y="17452"/>
                    <a:pt x="5262" y="17718"/>
                  </a:cubicBezTo>
                  <a:cubicBezTo>
                    <a:pt x="4846" y="17718"/>
                    <a:pt x="4569" y="17718"/>
                    <a:pt x="4154" y="17185"/>
                  </a:cubicBezTo>
                  <a:cubicBezTo>
                    <a:pt x="3877" y="16918"/>
                    <a:pt x="3877" y="16385"/>
                    <a:pt x="3600" y="16385"/>
                  </a:cubicBezTo>
                  <a:cubicBezTo>
                    <a:pt x="3323" y="16118"/>
                    <a:pt x="3046" y="16118"/>
                    <a:pt x="2769" y="16118"/>
                  </a:cubicBezTo>
                  <a:cubicBezTo>
                    <a:pt x="2354" y="16118"/>
                    <a:pt x="2354" y="16385"/>
                    <a:pt x="2631" y="16918"/>
                  </a:cubicBezTo>
                  <a:cubicBezTo>
                    <a:pt x="2769" y="17185"/>
                    <a:pt x="2769" y="17452"/>
                    <a:pt x="3046" y="17452"/>
                  </a:cubicBezTo>
                  <a:cubicBezTo>
                    <a:pt x="3462" y="17452"/>
                    <a:pt x="3046" y="17452"/>
                    <a:pt x="3046" y="17718"/>
                  </a:cubicBezTo>
                  <a:cubicBezTo>
                    <a:pt x="3046" y="17718"/>
                    <a:pt x="3600" y="18252"/>
                    <a:pt x="3600" y="1825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6" name="Shape 2025">
              <a:extLst>
                <a:ext uri="{FF2B5EF4-FFF2-40B4-BE49-F238E27FC236}">
                  <a16:creationId xmlns:a16="http://schemas.microsoft.com/office/drawing/2014/main" id="{A8E37A77-A4A4-799C-4FED-A875DECA1E81}"/>
                </a:ext>
              </a:extLst>
            </p:cNvPr>
            <p:cNvSpPr/>
            <p:nvPr/>
          </p:nvSpPr>
          <p:spPr>
            <a:xfrm>
              <a:off x="2979860" y="335310"/>
              <a:ext cx="87464" cy="24069"/>
            </a:xfrm>
            <a:custGeom>
              <a:avLst/>
              <a:gdLst/>
              <a:ahLst/>
              <a:cxnLst>
                <a:cxn ang="0">
                  <a:pos x="wd2" y="hd2"/>
                </a:cxn>
                <a:cxn ang="5400000">
                  <a:pos x="wd2" y="hd2"/>
                </a:cxn>
                <a:cxn ang="10800000">
                  <a:pos x="wd2" y="hd2"/>
                </a:cxn>
                <a:cxn ang="16200000">
                  <a:pos x="wd2" y="hd2"/>
                </a:cxn>
              </a:cxnLst>
              <a:rect l="0" t="0" r="r" b="b"/>
              <a:pathLst>
                <a:path w="20503" h="15417" extrusionOk="0">
                  <a:moveTo>
                    <a:pt x="20057" y="14170"/>
                  </a:moveTo>
                  <a:cubicBezTo>
                    <a:pt x="18514" y="9850"/>
                    <a:pt x="20057" y="9850"/>
                    <a:pt x="16971" y="5530"/>
                  </a:cubicBezTo>
                  <a:cubicBezTo>
                    <a:pt x="15429" y="5530"/>
                    <a:pt x="13886" y="5530"/>
                    <a:pt x="12343" y="5530"/>
                  </a:cubicBezTo>
                  <a:cubicBezTo>
                    <a:pt x="10800" y="5530"/>
                    <a:pt x="3086" y="-3110"/>
                    <a:pt x="1543" y="1210"/>
                  </a:cubicBezTo>
                  <a:cubicBezTo>
                    <a:pt x="1543" y="1210"/>
                    <a:pt x="4629" y="5530"/>
                    <a:pt x="3086" y="5530"/>
                  </a:cubicBezTo>
                  <a:cubicBezTo>
                    <a:pt x="3086" y="9850"/>
                    <a:pt x="0" y="14170"/>
                    <a:pt x="0" y="9850"/>
                  </a:cubicBezTo>
                  <a:cubicBezTo>
                    <a:pt x="0" y="14170"/>
                    <a:pt x="3086" y="9850"/>
                    <a:pt x="4629" y="9850"/>
                  </a:cubicBezTo>
                  <a:cubicBezTo>
                    <a:pt x="6171" y="9850"/>
                    <a:pt x="9257" y="14170"/>
                    <a:pt x="12343" y="14170"/>
                  </a:cubicBezTo>
                  <a:cubicBezTo>
                    <a:pt x="13886" y="14170"/>
                    <a:pt x="20057" y="14170"/>
                    <a:pt x="20057" y="14170"/>
                  </a:cubicBezTo>
                  <a:cubicBezTo>
                    <a:pt x="18514" y="9850"/>
                    <a:pt x="21600" y="18490"/>
                    <a:pt x="20057" y="1417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7" name="Shape 2026">
              <a:extLst>
                <a:ext uri="{FF2B5EF4-FFF2-40B4-BE49-F238E27FC236}">
                  <a16:creationId xmlns:a16="http://schemas.microsoft.com/office/drawing/2014/main" id="{534FE270-898E-428F-E0E1-AEE19CEF2A3E}"/>
                </a:ext>
              </a:extLst>
            </p:cNvPr>
            <p:cNvSpPr/>
            <p:nvPr/>
          </p:nvSpPr>
          <p:spPr>
            <a:xfrm>
              <a:off x="2732874" y="357429"/>
              <a:ext cx="23903" cy="8633"/>
            </a:xfrm>
            <a:custGeom>
              <a:avLst/>
              <a:gdLst/>
              <a:ahLst/>
              <a:cxnLst>
                <a:cxn ang="0">
                  <a:pos x="wd2" y="hd2"/>
                </a:cxn>
                <a:cxn ang="5400000">
                  <a:pos x="wd2" y="hd2"/>
                </a:cxn>
                <a:cxn ang="10800000">
                  <a:pos x="wd2" y="hd2"/>
                </a:cxn>
                <a:cxn ang="16200000">
                  <a:pos x="wd2" y="hd2"/>
                </a:cxn>
              </a:cxnLst>
              <a:rect l="0" t="0" r="r" b="b"/>
              <a:pathLst>
                <a:path w="13513" h="13824" extrusionOk="0">
                  <a:moveTo>
                    <a:pt x="12788" y="10800"/>
                  </a:moveTo>
                  <a:cubicBezTo>
                    <a:pt x="9188" y="21600"/>
                    <a:pt x="-5212" y="0"/>
                    <a:pt x="1988" y="0"/>
                  </a:cubicBezTo>
                  <a:cubicBezTo>
                    <a:pt x="5588" y="0"/>
                    <a:pt x="16388" y="10800"/>
                    <a:pt x="12788"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8" name="Shape 2027">
              <a:extLst>
                <a:ext uri="{FF2B5EF4-FFF2-40B4-BE49-F238E27FC236}">
                  <a16:creationId xmlns:a16="http://schemas.microsoft.com/office/drawing/2014/main" id="{7CAEBC84-E334-DA5D-F0A1-504FB6FB0684}"/>
                </a:ext>
              </a:extLst>
            </p:cNvPr>
            <p:cNvSpPr/>
            <p:nvPr/>
          </p:nvSpPr>
          <p:spPr>
            <a:xfrm>
              <a:off x="2899544" y="566854"/>
              <a:ext cx="23903" cy="10522"/>
            </a:xfrm>
            <a:custGeom>
              <a:avLst/>
              <a:gdLst/>
              <a:ahLst/>
              <a:cxnLst>
                <a:cxn ang="0">
                  <a:pos x="wd2" y="hd2"/>
                </a:cxn>
                <a:cxn ang="5400000">
                  <a:pos x="wd2" y="hd2"/>
                </a:cxn>
                <a:cxn ang="10800000">
                  <a:pos x="wd2" y="hd2"/>
                </a:cxn>
                <a:cxn ang="16200000">
                  <a:pos x="wd2" y="hd2"/>
                </a:cxn>
              </a:cxnLst>
              <a:rect l="0" t="0" r="r" b="b"/>
              <a:pathLst>
                <a:path w="13513" h="11232" extrusionOk="0">
                  <a:moveTo>
                    <a:pt x="11525" y="2016"/>
                  </a:moveTo>
                  <a:cubicBezTo>
                    <a:pt x="7925" y="-5184"/>
                    <a:pt x="-2875" y="9216"/>
                    <a:pt x="725" y="9216"/>
                  </a:cubicBezTo>
                  <a:cubicBezTo>
                    <a:pt x="4325" y="16416"/>
                    <a:pt x="18725" y="2016"/>
                    <a:pt x="11525" y="201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09" name="Shape 2028">
              <a:extLst>
                <a:ext uri="{FF2B5EF4-FFF2-40B4-BE49-F238E27FC236}">
                  <a16:creationId xmlns:a16="http://schemas.microsoft.com/office/drawing/2014/main" id="{965E81F3-F42F-7809-311E-EB0E475853DE}"/>
                </a:ext>
              </a:extLst>
            </p:cNvPr>
            <p:cNvSpPr/>
            <p:nvPr/>
          </p:nvSpPr>
          <p:spPr>
            <a:xfrm>
              <a:off x="659177" y="1484841"/>
              <a:ext cx="22666" cy="21315"/>
            </a:xfrm>
            <a:custGeom>
              <a:avLst/>
              <a:gdLst/>
              <a:ahLst/>
              <a:cxnLst>
                <a:cxn ang="0">
                  <a:pos x="wd2" y="hd2"/>
                </a:cxn>
                <a:cxn ang="5400000">
                  <a:pos x="wd2" y="hd2"/>
                </a:cxn>
                <a:cxn ang="10800000">
                  <a:pos x="wd2" y="hd2"/>
                </a:cxn>
                <a:cxn ang="16200000">
                  <a:pos x="wd2" y="hd2"/>
                </a:cxn>
              </a:cxnLst>
              <a:rect l="0" t="0" r="r" b="b"/>
              <a:pathLst>
                <a:path w="14523" h="17067" extrusionOk="0">
                  <a:moveTo>
                    <a:pt x="13829" y="867"/>
                  </a:moveTo>
                  <a:cubicBezTo>
                    <a:pt x="9509" y="-4533"/>
                    <a:pt x="-3451" y="17067"/>
                    <a:pt x="869" y="17067"/>
                  </a:cubicBezTo>
                  <a:cubicBezTo>
                    <a:pt x="869" y="17067"/>
                    <a:pt x="18149" y="867"/>
                    <a:pt x="13829" y="8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0" name="Shape 2029">
              <a:extLst>
                <a:ext uri="{FF2B5EF4-FFF2-40B4-BE49-F238E27FC236}">
                  <a16:creationId xmlns:a16="http://schemas.microsoft.com/office/drawing/2014/main" id="{1CBB2EB9-F3D9-554D-715C-CD1117F8FD2E}"/>
                </a:ext>
              </a:extLst>
            </p:cNvPr>
            <p:cNvSpPr/>
            <p:nvPr/>
          </p:nvSpPr>
          <p:spPr>
            <a:xfrm>
              <a:off x="700989" y="1472434"/>
              <a:ext cx="6745" cy="674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21600"/>
                    <a:pt x="21600" y="21600"/>
                    <a:pt x="21600" y="21600"/>
                  </a:cubicBezTo>
                  <a:cubicBezTo>
                    <a:pt x="21600" y="0"/>
                    <a:pt x="0" y="0"/>
                    <a:pt x="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1" name="Shape 2030">
              <a:extLst>
                <a:ext uri="{FF2B5EF4-FFF2-40B4-BE49-F238E27FC236}">
                  <a16:creationId xmlns:a16="http://schemas.microsoft.com/office/drawing/2014/main" id="{EBAFAD01-1518-E600-41CA-112A5D9C9470}"/>
                </a:ext>
              </a:extLst>
            </p:cNvPr>
            <p:cNvSpPr/>
            <p:nvPr/>
          </p:nvSpPr>
          <p:spPr>
            <a:xfrm>
              <a:off x="34411" y="1482551"/>
              <a:ext cx="29711" cy="20802"/>
            </a:xfrm>
            <a:custGeom>
              <a:avLst/>
              <a:gdLst/>
              <a:ahLst/>
              <a:cxnLst>
                <a:cxn ang="0">
                  <a:pos x="wd2" y="hd2"/>
                </a:cxn>
                <a:cxn ang="5400000">
                  <a:pos x="wd2" y="hd2"/>
                </a:cxn>
                <a:cxn ang="10800000">
                  <a:pos x="wd2" y="hd2"/>
                </a:cxn>
                <a:cxn ang="16200000">
                  <a:pos x="wd2" y="hd2"/>
                </a:cxn>
              </a:cxnLst>
              <a:rect l="0" t="0" r="r" b="b"/>
              <a:pathLst>
                <a:path w="14277" h="11104" extrusionOk="0">
                  <a:moveTo>
                    <a:pt x="12834" y="5400"/>
                  </a:moveTo>
                  <a:cubicBezTo>
                    <a:pt x="19005" y="-1800"/>
                    <a:pt x="3576" y="-1800"/>
                    <a:pt x="491" y="5400"/>
                  </a:cubicBezTo>
                  <a:cubicBezTo>
                    <a:pt x="-2595" y="9000"/>
                    <a:pt x="9748" y="16200"/>
                    <a:pt x="12834" y="5400"/>
                  </a:cubicBezTo>
                  <a:cubicBezTo>
                    <a:pt x="15919" y="1800"/>
                    <a:pt x="6662" y="19800"/>
                    <a:pt x="12834" y="5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2" name="Shape 2031">
              <a:extLst>
                <a:ext uri="{FF2B5EF4-FFF2-40B4-BE49-F238E27FC236}">
                  <a16:creationId xmlns:a16="http://schemas.microsoft.com/office/drawing/2014/main" id="{0613F5A4-8027-FC9D-28B9-8B85EFC5C225}"/>
                </a:ext>
              </a:extLst>
            </p:cNvPr>
            <p:cNvSpPr/>
            <p:nvPr/>
          </p:nvSpPr>
          <p:spPr>
            <a:xfrm>
              <a:off x="9726577" y="3823834"/>
              <a:ext cx="13486" cy="2999"/>
            </a:xfrm>
            <a:custGeom>
              <a:avLst/>
              <a:gdLst/>
              <a:ahLst/>
              <a:cxnLst>
                <a:cxn ang="0">
                  <a:pos x="wd2" y="hd2"/>
                </a:cxn>
                <a:cxn ang="5400000">
                  <a:pos x="wd2" y="hd2"/>
                </a:cxn>
                <a:cxn ang="10800000">
                  <a:pos x="wd2" y="hd2"/>
                </a:cxn>
                <a:cxn ang="16200000">
                  <a:pos x="wd2" y="hd2"/>
                </a:cxn>
              </a:cxnLst>
              <a:rect l="0" t="0" r="r" b="b"/>
              <a:pathLst>
                <a:path w="21600" h="9600" extrusionOk="0">
                  <a:moveTo>
                    <a:pt x="21600" y="0"/>
                  </a:moveTo>
                  <a:cubicBezTo>
                    <a:pt x="21600" y="21600"/>
                    <a:pt x="0" y="0"/>
                    <a:pt x="0" y="0"/>
                  </a:cubicBezTo>
                  <a:cubicBezTo>
                    <a:pt x="10800" y="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3" name="Shape 2032">
              <a:extLst>
                <a:ext uri="{FF2B5EF4-FFF2-40B4-BE49-F238E27FC236}">
                  <a16:creationId xmlns:a16="http://schemas.microsoft.com/office/drawing/2014/main" id="{BCEBF2A1-EB6B-F97E-0066-58B63F29AFEE}"/>
                </a:ext>
              </a:extLst>
            </p:cNvPr>
            <p:cNvSpPr/>
            <p:nvPr/>
          </p:nvSpPr>
          <p:spPr>
            <a:xfrm>
              <a:off x="9641175" y="3810346"/>
              <a:ext cx="13486" cy="9539"/>
            </a:xfrm>
            <a:custGeom>
              <a:avLst/>
              <a:gdLst/>
              <a:ahLst/>
              <a:cxnLst>
                <a:cxn ang="0">
                  <a:pos x="wd2" y="hd2"/>
                </a:cxn>
                <a:cxn ang="5400000">
                  <a:pos x="wd2" y="hd2"/>
                </a:cxn>
                <a:cxn ang="10800000">
                  <a:pos x="wd2" y="hd2"/>
                </a:cxn>
                <a:cxn ang="16200000">
                  <a:pos x="wd2" y="hd2"/>
                </a:cxn>
              </a:cxnLst>
              <a:rect l="0" t="0" r="r" b="b"/>
              <a:pathLst>
                <a:path w="21600" h="15274" extrusionOk="0">
                  <a:moveTo>
                    <a:pt x="21600" y="0"/>
                  </a:moveTo>
                  <a:cubicBezTo>
                    <a:pt x="21600" y="10800"/>
                    <a:pt x="0" y="21600"/>
                    <a:pt x="0" y="10800"/>
                  </a:cubicBezTo>
                  <a:cubicBezTo>
                    <a:pt x="0" y="0"/>
                    <a:pt x="21600" y="0"/>
                    <a:pt x="216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4" name="Shape 2033">
              <a:extLst>
                <a:ext uri="{FF2B5EF4-FFF2-40B4-BE49-F238E27FC236}">
                  <a16:creationId xmlns:a16="http://schemas.microsoft.com/office/drawing/2014/main" id="{8D17E09F-BFD3-D348-0DC3-EC443C90AB85}"/>
                </a:ext>
              </a:extLst>
            </p:cNvPr>
            <p:cNvSpPr/>
            <p:nvPr/>
          </p:nvSpPr>
          <p:spPr>
            <a:xfrm>
              <a:off x="9943626" y="4991748"/>
              <a:ext cx="33367" cy="18475"/>
            </a:xfrm>
            <a:custGeom>
              <a:avLst/>
              <a:gdLst/>
              <a:ahLst/>
              <a:cxnLst>
                <a:cxn ang="0">
                  <a:pos x="wd2" y="hd2"/>
                </a:cxn>
                <a:cxn ang="5400000">
                  <a:pos x="wd2" y="hd2"/>
                </a:cxn>
                <a:cxn ang="10800000">
                  <a:pos x="wd2" y="hd2"/>
                </a:cxn>
                <a:cxn ang="16200000">
                  <a:pos x="wd2" y="hd2"/>
                </a:cxn>
              </a:cxnLst>
              <a:rect l="0" t="0" r="r" b="b"/>
              <a:pathLst>
                <a:path w="16034" h="11833" extrusionOk="0">
                  <a:moveTo>
                    <a:pt x="15731" y="4988"/>
                  </a:moveTo>
                  <a:cubicBezTo>
                    <a:pt x="18817" y="-3652"/>
                    <a:pt x="-2783" y="668"/>
                    <a:pt x="303" y="4988"/>
                  </a:cubicBezTo>
                  <a:cubicBezTo>
                    <a:pt x="303" y="9308"/>
                    <a:pt x="12646" y="17948"/>
                    <a:pt x="15731" y="498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5" name="Shape 2034">
              <a:extLst>
                <a:ext uri="{FF2B5EF4-FFF2-40B4-BE49-F238E27FC236}">
                  <a16:creationId xmlns:a16="http://schemas.microsoft.com/office/drawing/2014/main" id="{64939797-826C-F63A-28DC-022266F245AA}"/>
                </a:ext>
              </a:extLst>
            </p:cNvPr>
            <p:cNvSpPr/>
            <p:nvPr/>
          </p:nvSpPr>
          <p:spPr>
            <a:xfrm>
              <a:off x="6049519" y="1042768"/>
              <a:ext cx="2851" cy="2851"/>
            </a:xfrm>
            <a:prstGeom prst="rect">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6" name="Shape 2035">
              <a:extLst>
                <a:ext uri="{FF2B5EF4-FFF2-40B4-BE49-F238E27FC236}">
                  <a16:creationId xmlns:a16="http://schemas.microsoft.com/office/drawing/2014/main" id="{E2ED67C4-AF82-4F47-D273-098C5F264EB0}"/>
                </a:ext>
              </a:extLst>
            </p:cNvPr>
            <p:cNvSpPr/>
            <p:nvPr/>
          </p:nvSpPr>
          <p:spPr>
            <a:xfrm>
              <a:off x="3795669" y="4788226"/>
              <a:ext cx="57662" cy="54843"/>
            </a:xfrm>
            <a:custGeom>
              <a:avLst/>
              <a:gdLst/>
              <a:ahLst/>
              <a:cxnLst>
                <a:cxn ang="0">
                  <a:pos x="wd2" y="hd2"/>
                </a:cxn>
                <a:cxn ang="5400000">
                  <a:pos x="wd2" y="hd2"/>
                </a:cxn>
                <a:cxn ang="10800000">
                  <a:pos x="wd2" y="hd2"/>
                </a:cxn>
                <a:cxn ang="16200000">
                  <a:pos x="wd2" y="hd2"/>
                </a:cxn>
              </a:cxnLst>
              <a:rect l="0" t="0" r="r" b="b"/>
              <a:pathLst>
                <a:path w="18473" h="20267" extrusionOk="0">
                  <a:moveTo>
                    <a:pt x="8640" y="9600"/>
                  </a:moveTo>
                  <a:cubicBezTo>
                    <a:pt x="8640" y="12000"/>
                    <a:pt x="2160" y="16800"/>
                    <a:pt x="0" y="19200"/>
                  </a:cubicBezTo>
                  <a:cubicBezTo>
                    <a:pt x="0" y="21600"/>
                    <a:pt x="4320" y="19200"/>
                    <a:pt x="4320" y="19200"/>
                  </a:cubicBezTo>
                  <a:cubicBezTo>
                    <a:pt x="6480" y="16800"/>
                    <a:pt x="8640" y="14400"/>
                    <a:pt x="10800" y="12000"/>
                  </a:cubicBezTo>
                  <a:cubicBezTo>
                    <a:pt x="12960" y="9600"/>
                    <a:pt x="21600" y="0"/>
                    <a:pt x="17280" y="0"/>
                  </a:cubicBezTo>
                  <a:cubicBezTo>
                    <a:pt x="15120" y="0"/>
                    <a:pt x="8640" y="7200"/>
                    <a:pt x="8640" y="9600"/>
                  </a:cubicBezTo>
                  <a:cubicBezTo>
                    <a:pt x="8640" y="12000"/>
                    <a:pt x="8640" y="7200"/>
                    <a:pt x="8640" y="9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7" name="Shape 2036">
              <a:extLst>
                <a:ext uri="{FF2B5EF4-FFF2-40B4-BE49-F238E27FC236}">
                  <a16:creationId xmlns:a16="http://schemas.microsoft.com/office/drawing/2014/main" id="{D9B1D757-6A0D-75E4-FB1E-A7DE612EB075}"/>
                </a:ext>
              </a:extLst>
            </p:cNvPr>
            <p:cNvSpPr/>
            <p:nvPr/>
          </p:nvSpPr>
          <p:spPr>
            <a:xfrm>
              <a:off x="2788173" y="2126601"/>
              <a:ext cx="41113" cy="11383"/>
            </a:xfrm>
            <a:custGeom>
              <a:avLst/>
              <a:gdLst/>
              <a:ahLst/>
              <a:cxnLst>
                <a:cxn ang="0">
                  <a:pos x="wd2" y="hd2"/>
                </a:cxn>
                <a:cxn ang="5400000">
                  <a:pos x="wd2" y="hd2"/>
                </a:cxn>
                <a:cxn ang="10800000">
                  <a:pos x="wd2" y="hd2"/>
                </a:cxn>
                <a:cxn ang="16200000">
                  <a:pos x="wd2" y="hd2"/>
                </a:cxn>
              </a:cxnLst>
              <a:rect l="0" t="0" r="r" b="b"/>
              <a:pathLst>
                <a:path w="18816" h="12150" extrusionOk="0">
                  <a:moveTo>
                    <a:pt x="18816" y="7200"/>
                  </a:moveTo>
                  <a:cubicBezTo>
                    <a:pt x="18816" y="0"/>
                    <a:pt x="-2784" y="0"/>
                    <a:pt x="302" y="0"/>
                  </a:cubicBezTo>
                  <a:cubicBezTo>
                    <a:pt x="3387" y="0"/>
                    <a:pt x="15730" y="21600"/>
                    <a:pt x="18816"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8" name="Shape 2037">
              <a:extLst>
                <a:ext uri="{FF2B5EF4-FFF2-40B4-BE49-F238E27FC236}">
                  <a16:creationId xmlns:a16="http://schemas.microsoft.com/office/drawing/2014/main" id="{2D949F31-D1FB-E2A3-9D44-B6EE198A8CE9}"/>
                </a:ext>
              </a:extLst>
            </p:cNvPr>
            <p:cNvSpPr/>
            <p:nvPr/>
          </p:nvSpPr>
          <p:spPr>
            <a:xfrm>
              <a:off x="3249548" y="5678429"/>
              <a:ext cx="119114" cy="105657"/>
            </a:xfrm>
            <a:custGeom>
              <a:avLst/>
              <a:gdLst/>
              <a:ahLst/>
              <a:cxnLst>
                <a:cxn ang="0">
                  <a:pos x="wd2" y="hd2"/>
                </a:cxn>
                <a:cxn ang="5400000">
                  <a:pos x="wd2" y="hd2"/>
                </a:cxn>
                <a:cxn ang="10800000">
                  <a:pos x="wd2" y="hd2"/>
                </a:cxn>
                <a:cxn ang="16200000">
                  <a:pos x="wd2" y="hd2"/>
                </a:cxn>
              </a:cxnLst>
              <a:rect l="0" t="0" r="r" b="b"/>
              <a:pathLst>
                <a:path w="21600" h="21600" extrusionOk="0">
                  <a:moveTo>
                    <a:pt x="20400" y="18900"/>
                  </a:moveTo>
                  <a:cubicBezTo>
                    <a:pt x="15600" y="18900"/>
                    <a:pt x="13200" y="14850"/>
                    <a:pt x="9600" y="12150"/>
                  </a:cubicBezTo>
                  <a:cubicBezTo>
                    <a:pt x="8400" y="9450"/>
                    <a:pt x="6000" y="8100"/>
                    <a:pt x="4800" y="6750"/>
                  </a:cubicBezTo>
                  <a:cubicBezTo>
                    <a:pt x="3600" y="6750"/>
                    <a:pt x="1200" y="5400"/>
                    <a:pt x="1200" y="4050"/>
                  </a:cubicBezTo>
                  <a:cubicBezTo>
                    <a:pt x="1200" y="4050"/>
                    <a:pt x="2400" y="4050"/>
                    <a:pt x="2400" y="2700"/>
                  </a:cubicBezTo>
                  <a:cubicBezTo>
                    <a:pt x="3600" y="2700"/>
                    <a:pt x="1200" y="0"/>
                    <a:pt x="0" y="0"/>
                  </a:cubicBezTo>
                  <a:cubicBezTo>
                    <a:pt x="0" y="6750"/>
                    <a:pt x="0" y="13500"/>
                    <a:pt x="0" y="18900"/>
                  </a:cubicBezTo>
                  <a:cubicBezTo>
                    <a:pt x="0" y="20250"/>
                    <a:pt x="7200" y="20250"/>
                    <a:pt x="8400" y="20250"/>
                  </a:cubicBezTo>
                  <a:cubicBezTo>
                    <a:pt x="9600" y="20250"/>
                    <a:pt x="10800" y="20250"/>
                    <a:pt x="12000" y="21600"/>
                  </a:cubicBezTo>
                  <a:cubicBezTo>
                    <a:pt x="14400" y="21600"/>
                    <a:pt x="14400" y="21600"/>
                    <a:pt x="15600" y="20250"/>
                  </a:cubicBezTo>
                  <a:cubicBezTo>
                    <a:pt x="16800" y="20250"/>
                    <a:pt x="21600" y="20250"/>
                    <a:pt x="21600" y="18900"/>
                  </a:cubicBezTo>
                  <a:cubicBezTo>
                    <a:pt x="21600" y="18900"/>
                    <a:pt x="21600" y="17550"/>
                    <a:pt x="20400" y="189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19" name="Shape 2038">
              <a:extLst>
                <a:ext uri="{FF2B5EF4-FFF2-40B4-BE49-F238E27FC236}">
                  <a16:creationId xmlns:a16="http://schemas.microsoft.com/office/drawing/2014/main" id="{C68C62E1-E278-4146-E2DA-8977FFCE51C4}"/>
                </a:ext>
              </a:extLst>
            </p:cNvPr>
            <p:cNvSpPr/>
            <p:nvPr/>
          </p:nvSpPr>
          <p:spPr>
            <a:xfrm>
              <a:off x="3123695" y="5669779"/>
              <a:ext cx="197773" cy="148028"/>
            </a:xfrm>
            <a:custGeom>
              <a:avLst/>
              <a:gdLst/>
              <a:ahLst/>
              <a:cxnLst>
                <a:cxn ang="0">
                  <a:pos x="wd2" y="hd2"/>
                </a:cxn>
                <a:cxn ang="5400000">
                  <a:pos x="wd2" y="hd2"/>
                </a:cxn>
                <a:cxn ang="10800000">
                  <a:pos x="wd2" y="hd2"/>
                </a:cxn>
                <a:cxn ang="16200000">
                  <a:pos x="wd2" y="hd2"/>
                </a:cxn>
              </a:cxnLst>
              <a:rect l="0" t="0" r="r" b="b"/>
              <a:pathLst>
                <a:path w="21600" h="20917" extrusionOk="0">
                  <a:moveTo>
                    <a:pt x="13680" y="15282"/>
                  </a:moveTo>
                  <a:cubicBezTo>
                    <a:pt x="13680" y="11526"/>
                    <a:pt x="13680" y="8708"/>
                    <a:pt x="13680" y="5891"/>
                  </a:cubicBezTo>
                  <a:cubicBezTo>
                    <a:pt x="13680" y="4952"/>
                    <a:pt x="13680" y="3074"/>
                    <a:pt x="13680" y="2134"/>
                  </a:cubicBezTo>
                  <a:cubicBezTo>
                    <a:pt x="13680" y="1195"/>
                    <a:pt x="11520" y="-683"/>
                    <a:pt x="10800" y="256"/>
                  </a:cubicBezTo>
                  <a:cubicBezTo>
                    <a:pt x="10080" y="1195"/>
                    <a:pt x="8640" y="256"/>
                    <a:pt x="8640" y="2134"/>
                  </a:cubicBezTo>
                  <a:cubicBezTo>
                    <a:pt x="7920" y="4013"/>
                    <a:pt x="6480" y="5891"/>
                    <a:pt x="9360" y="4952"/>
                  </a:cubicBezTo>
                  <a:cubicBezTo>
                    <a:pt x="9360" y="4952"/>
                    <a:pt x="10800" y="4952"/>
                    <a:pt x="10800" y="4952"/>
                  </a:cubicBezTo>
                  <a:cubicBezTo>
                    <a:pt x="11520" y="4952"/>
                    <a:pt x="10080" y="6830"/>
                    <a:pt x="10080" y="6830"/>
                  </a:cubicBezTo>
                  <a:cubicBezTo>
                    <a:pt x="9360" y="6830"/>
                    <a:pt x="7920" y="8708"/>
                    <a:pt x="9360" y="9647"/>
                  </a:cubicBezTo>
                  <a:cubicBezTo>
                    <a:pt x="9360" y="10587"/>
                    <a:pt x="11520" y="10587"/>
                    <a:pt x="11520" y="11526"/>
                  </a:cubicBezTo>
                  <a:cubicBezTo>
                    <a:pt x="11520" y="11526"/>
                    <a:pt x="8640" y="11526"/>
                    <a:pt x="8640" y="11526"/>
                  </a:cubicBezTo>
                  <a:cubicBezTo>
                    <a:pt x="7920" y="11526"/>
                    <a:pt x="6480" y="10587"/>
                    <a:pt x="6480" y="10587"/>
                  </a:cubicBezTo>
                  <a:cubicBezTo>
                    <a:pt x="6480" y="10587"/>
                    <a:pt x="7200" y="11526"/>
                    <a:pt x="7200" y="10587"/>
                  </a:cubicBezTo>
                  <a:cubicBezTo>
                    <a:pt x="7200" y="9647"/>
                    <a:pt x="7920" y="8708"/>
                    <a:pt x="7200" y="7769"/>
                  </a:cubicBezTo>
                  <a:cubicBezTo>
                    <a:pt x="7200" y="7769"/>
                    <a:pt x="5760" y="9647"/>
                    <a:pt x="5760" y="9647"/>
                  </a:cubicBezTo>
                  <a:cubicBezTo>
                    <a:pt x="5040" y="10587"/>
                    <a:pt x="4320" y="9647"/>
                    <a:pt x="3600" y="9647"/>
                  </a:cubicBezTo>
                  <a:cubicBezTo>
                    <a:pt x="2880" y="9647"/>
                    <a:pt x="0" y="8708"/>
                    <a:pt x="0" y="10587"/>
                  </a:cubicBezTo>
                  <a:cubicBezTo>
                    <a:pt x="0" y="11526"/>
                    <a:pt x="1440" y="10587"/>
                    <a:pt x="1440" y="10587"/>
                  </a:cubicBezTo>
                  <a:cubicBezTo>
                    <a:pt x="2160" y="9647"/>
                    <a:pt x="1440" y="10587"/>
                    <a:pt x="2160" y="10587"/>
                  </a:cubicBezTo>
                  <a:cubicBezTo>
                    <a:pt x="2880" y="11526"/>
                    <a:pt x="2880" y="9647"/>
                    <a:pt x="3600" y="10587"/>
                  </a:cubicBezTo>
                  <a:cubicBezTo>
                    <a:pt x="3600" y="10587"/>
                    <a:pt x="4320" y="11526"/>
                    <a:pt x="4320" y="11526"/>
                  </a:cubicBezTo>
                  <a:cubicBezTo>
                    <a:pt x="4320" y="11526"/>
                    <a:pt x="1440" y="12465"/>
                    <a:pt x="2880" y="13404"/>
                  </a:cubicBezTo>
                  <a:cubicBezTo>
                    <a:pt x="3600" y="14343"/>
                    <a:pt x="4320" y="12465"/>
                    <a:pt x="4320" y="13404"/>
                  </a:cubicBezTo>
                  <a:cubicBezTo>
                    <a:pt x="5040" y="13404"/>
                    <a:pt x="5760" y="14343"/>
                    <a:pt x="5760" y="14343"/>
                  </a:cubicBezTo>
                  <a:cubicBezTo>
                    <a:pt x="5760" y="14343"/>
                    <a:pt x="5760" y="14343"/>
                    <a:pt x="5040" y="14343"/>
                  </a:cubicBezTo>
                  <a:cubicBezTo>
                    <a:pt x="5040" y="15282"/>
                    <a:pt x="6480" y="15282"/>
                    <a:pt x="7200" y="15282"/>
                  </a:cubicBezTo>
                  <a:cubicBezTo>
                    <a:pt x="7920" y="15282"/>
                    <a:pt x="7920" y="13404"/>
                    <a:pt x="8640" y="15282"/>
                  </a:cubicBezTo>
                  <a:cubicBezTo>
                    <a:pt x="8640" y="15282"/>
                    <a:pt x="11520" y="19978"/>
                    <a:pt x="12240" y="19039"/>
                  </a:cubicBezTo>
                  <a:cubicBezTo>
                    <a:pt x="12240" y="19039"/>
                    <a:pt x="11520" y="18100"/>
                    <a:pt x="11520" y="18100"/>
                  </a:cubicBezTo>
                  <a:cubicBezTo>
                    <a:pt x="11520" y="17160"/>
                    <a:pt x="15840" y="20917"/>
                    <a:pt x="16560" y="20917"/>
                  </a:cubicBezTo>
                  <a:cubicBezTo>
                    <a:pt x="16560" y="19978"/>
                    <a:pt x="13680" y="17160"/>
                    <a:pt x="13680" y="16221"/>
                  </a:cubicBezTo>
                  <a:cubicBezTo>
                    <a:pt x="14400" y="16221"/>
                    <a:pt x="17280" y="17160"/>
                    <a:pt x="17280" y="17160"/>
                  </a:cubicBezTo>
                  <a:cubicBezTo>
                    <a:pt x="18720" y="17160"/>
                    <a:pt x="20160" y="17160"/>
                    <a:pt x="21600" y="16221"/>
                  </a:cubicBezTo>
                  <a:cubicBezTo>
                    <a:pt x="19440" y="14343"/>
                    <a:pt x="16560" y="15282"/>
                    <a:pt x="13680" y="152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0" name="Shape 2039">
              <a:extLst>
                <a:ext uri="{FF2B5EF4-FFF2-40B4-BE49-F238E27FC236}">
                  <a16:creationId xmlns:a16="http://schemas.microsoft.com/office/drawing/2014/main" id="{42EC01E5-1692-6FAA-AA4D-B65011351D21}"/>
                </a:ext>
              </a:extLst>
            </p:cNvPr>
            <p:cNvSpPr/>
            <p:nvPr/>
          </p:nvSpPr>
          <p:spPr>
            <a:xfrm>
              <a:off x="3103445" y="3374236"/>
              <a:ext cx="449572" cy="357554"/>
            </a:xfrm>
            <a:custGeom>
              <a:avLst/>
              <a:gdLst/>
              <a:ahLst/>
              <a:cxnLst>
                <a:cxn ang="0">
                  <a:pos x="wd2" y="hd2"/>
                </a:cxn>
                <a:cxn ang="5400000">
                  <a:pos x="wd2" y="hd2"/>
                </a:cxn>
                <a:cxn ang="10800000">
                  <a:pos x="wd2" y="hd2"/>
                </a:cxn>
                <a:cxn ang="16200000">
                  <a:pos x="wd2" y="hd2"/>
                </a:cxn>
              </a:cxnLst>
              <a:rect l="0" t="0" r="r" b="b"/>
              <a:pathLst>
                <a:path w="19376" h="21207" extrusionOk="0">
                  <a:moveTo>
                    <a:pt x="17422" y="10996"/>
                  </a:moveTo>
                  <a:cubicBezTo>
                    <a:pt x="17422" y="10211"/>
                    <a:pt x="17422" y="9818"/>
                    <a:pt x="18275" y="9425"/>
                  </a:cubicBezTo>
                  <a:cubicBezTo>
                    <a:pt x="18275" y="9033"/>
                    <a:pt x="18843" y="9033"/>
                    <a:pt x="18559" y="8640"/>
                  </a:cubicBezTo>
                  <a:cubicBezTo>
                    <a:pt x="18275" y="8247"/>
                    <a:pt x="17991" y="7462"/>
                    <a:pt x="18559" y="7069"/>
                  </a:cubicBezTo>
                  <a:cubicBezTo>
                    <a:pt x="21117" y="5498"/>
                    <a:pt x="16854" y="5891"/>
                    <a:pt x="16854" y="5891"/>
                  </a:cubicBezTo>
                  <a:cubicBezTo>
                    <a:pt x="16854" y="5498"/>
                    <a:pt x="17138" y="5498"/>
                    <a:pt x="17422" y="5498"/>
                  </a:cubicBezTo>
                  <a:cubicBezTo>
                    <a:pt x="17706" y="5498"/>
                    <a:pt x="17706" y="4713"/>
                    <a:pt x="17706" y="4320"/>
                  </a:cubicBezTo>
                  <a:cubicBezTo>
                    <a:pt x="17706" y="3927"/>
                    <a:pt x="16570" y="3142"/>
                    <a:pt x="16570" y="3535"/>
                  </a:cubicBezTo>
                  <a:cubicBezTo>
                    <a:pt x="16570" y="3927"/>
                    <a:pt x="16285" y="3142"/>
                    <a:pt x="16285" y="3142"/>
                  </a:cubicBezTo>
                  <a:cubicBezTo>
                    <a:pt x="16001" y="3142"/>
                    <a:pt x="16001" y="3927"/>
                    <a:pt x="15717" y="3535"/>
                  </a:cubicBezTo>
                  <a:cubicBezTo>
                    <a:pt x="15717" y="3535"/>
                    <a:pt x="15717" y="3142"/>
                    <a:pt x="15717" y="2749"/>
                  </a:cubicBezTo>
                  <a:cubicBezTo>
                    <a:pt x="15433" y="2356"/>
                    <a:pt x="15149" y="3142"/>
                    <a:pt x="14864" y="3142"/>
                  </a:cubicBezTo>
                  <a:cubicBezTo>
                    <a:pt x="14864" y="3142"/>
                    <a:pt x="14864" y="2356"/>
                    <a:pt x="14864" y="2356"/>
                  </a:cubicBezTo>
                  <a:cubicBezTo>
                    <a:pt x="14864" y="1571"/>
                    <a:pt x="15717" y="1964"/>
                    <a:pt x="16001" y="1964"/>
                  </a:cubicBezTo>
                  <a:cubicBezTo>
                    <a:pt x="16285" y="1571"/>
                    <a:pt x="15149" y="1571"/>
                    <a:pt x="15149" y="1571"/>
                  </a:cubicBezTo>
                  <a:cubicBezTo>
                    <a:pt x="14580" y="1571"/>
                    <a:pt x="14012" y="1178"/>
                    <a:pt x="13443" y="1571"/>
                  </a:cubicBezTo>
                  <a:cubicBezTo>
                    <a:pt x="12875" y="1964"/>
                    <a:pt x="12591" y="3142"/>
                    <a:pt x="12022" y="2749"/>
                  </a:cubicBezTo>
                  <a:cubicBezTo>
                    <a:pt x="11170" y="2749"/>
                    <a:pt x="10885" y="2749"/>
                    <a:pt x="10317" y="1964"/>
                  </a:cubicBezTo>
                  <a:cubicBezTo>
                    <a:pt x="9749" y="1178"/>
                    <a:pt x="8612" y="1964"/>
                    <a:pt x="7759" y="1964"/>
                  </a:cubicBezTo>
                  <a:cubicBezTo>
                    <a:pt x="7191" y="1964"/>
                    <a:pt x="7191" y="1571"/>
                    <a:pt x="6906" y="785"/>
                  </a:cubicBezTo>
                  <a:cubicBezTo>
                    <a:pt x="6622" y="0"/>
                    <a:pt x="6054" y="0"/>
                    <a:pt x="5201" y="0"/>
                  </a:cubicBezTo>
                  <a:cubicBezTo>
                    <a:pt x="4917" y="0"/>
                    <a:pt x="2643" y="393"/>
                    <a:pt x="2643" y="1571"/>
                  </a:cubicBezTo>
                  <a:cubicBezTo>
                    <a:pt x="2643" y="2749"/>
                    <a:pt x="3780" y="3142"/>
                    <a:pt x="3212" y="4713"/>
                  </a:cubicBezTo>
                  <a:cubicBezTo>
                    <a:pt x="2643" y="5498"/>
                    <a:pt x="1506" y="3927"/>
                    <a:pt x="1791" y="3142"/>
                  </a:cubicBezTo>
                  <a:cubicBezTo>
                    <a:pt x="1791" y="2749"/>
                    <a:pt x="2359" y="2356"/>
                    <a:pt x="2359" y="1964"/>
                  </a:cubicBezTo>
                  <a:cubicBezTo>
                    <a:pt x="2643" y="1178"/>
                    <a:pt x="1791" y="785"/>
                    <a:pt x="1791" y="393"/>
                  </a:cubicBezTo>
                  <a:cubicBezTo>
                    <a:pt x="938" y="1178"/>
                    <a:pt x="654" y="1571"/>
                    <a:pt x="654" y="2749"/>
                  </a:cubicBezTo>
                  <a:cubicBezTo>
                    <a:pt x="370" y="3142"/>
                    <a:pt x="-483" y="4713"/>
                    <a:pt x="370" y="4713"/>
                  </a:cubicBezTo>
                  <a:cubicBezTo>
                    <a:pt x="370" y="4713"/>
                    <a:pt x="654" y="4713"/>
                    <a:pt x="938" y="5105"/>
                  </a:cubicBezTo>
                  <a:cubicBezTo>
                    <a:pt x="938" y="5498"/>
                    <a:pt x="1222" y="5891"/>
                    <a:pt x="1506" y="6284"/>
                  </a:cubicBezTo>
                  <a:cubicBezTo>
                    <a:pt x="2075" y="7069"/>
                    <a:pt x="938" y="8640"/>
                    <a:pt x="2359" y="9033"/>
                  </a:cubicBezTo>
                  <a:cubicBezTo>
                    <a:pt x="2359" y="9033"/>
                    <a:pt x="2928" y="9033"/>
                    <a:pt x="3212" y="9033"/>
                  </a:cubicBezTo>
                  <a:cubicBezTo>
                    <a:pt x="3496" y="9033"/>
                    <a:pt x="3496" y="8640"/>
                    <a:pt x="3780" y="8640"/>
                  </a:cubicBezTo>
                  <a:cubicBezTo>
                    <a:pt x="4633" y="8640"/>
                    <a:pt x="4917" y="9818"/>
                    <a:pt x="5485" y="10604"/>
                  </a:cubicBezTo>
                  <a:cubicBezTo>
                    <a:pt x="5485" y="10604"/>
                    <a:pt x="5770" y="10996"/>
                    <a:pt x="6054" y="10604"/>
                  </a:cubicBezTo>
                  <a:cubicBezTo>
                    <a:pt x="6054" y="10211"/>
                    <a:pt x="6338" y="10604"/>
                    <a:pt x="6906" y="10604"/>
                  </a:cubicBezTo>
                  <a:cubicBezTo>
                    <a:pt x="7475" y="10996"/>
                    <a:pt x="8896" y="9818"/>
                    <a:pt x="8328" y="11389"/>
                  </a:cubicBezTo>
                  <a:cubicBezTo>
                    <a:pt x="7759" y="12567"/>
                    <a:pt x="7759" y="13745"/>
                    <a:pt x="8328" y="14924"/>
                  </a:cubicBezTo>
                  <a:cubicBezTo>
                    <a:pt x="8328" y="15316"/>
                    <a:pt x="8612" y="15709"/>
                    <a:pt x="8612" y="16102"/>
                  </a:cubicBezTo>
                  <a:cubicBezTo>
                    <a:pt x="8612" y="16495"/>
                    <a:pt x="7759" y="16887"/>
                    <a:pt x="8043" y="17280"/>
                  </a:cubicBezTo>
                  <a:cubicBezTo>
                    <a:pt x="8896" y="18458"/>
                    <a:pt x="9180" y="21600"/>
                    <a:pt x="10885" y="20815"/>
                  </a:cubicBezTo>
                  <a:cubicBezTo>
                    <a:pt x="11170" y="20815"/>
                    <a:pt x="11170" y="21207"/>
                    <a:pt x="11454" y="21207"/>
                  </a:cubicBezTo>
                  <a:cubicBezTo>
                    <a:pt x="11738" y="21207"/>
                    <a:pt x="12022" y="20815"/>
                    <a:pt x="12306" y="20422"/>
                  </a:cubicBezTo>
                  <a:cubicBezTo>
                    <a:pt x="12875" y="20029"/>
                    <a:pt x="13159" y="19244"/>
                    <a:pt x="14012" y="18458"/>
                  </a:cubicBezTo>
                  <a:cubicBezTo>
                    <a:pt x="14580" y="18065"/>
                    <a:pt x="13443" y="18065"/>
                    <a:pt x="13443" y="17280"/>
                  </a:cubicBezTo>
                  <a:cubicBezTo>
                    <a:pt x="13443" y="16887"/>
                    <a:pt x="13159" y="16495"/>
                    <a:pt x="13159" y="16102"/>
                  </a:cubicBezTo>
                  <a:cubicBezTo>
                    <a:pt x="13159" y="15709"/>
                    <a:pt x="12306" y="15316"/>
                    <a:pt x="12306" y="14924"/>
                  </a:cubicBezTo>
                  <a:cubicBezTo>
                    <a:pt x="12306" y="14531"/>
                    <a:pt x="14012" y="14924"/>
                    <a:pt x="14296" y="14924"/>
                  </a:cubicBezTo>
                  <a:cubicBezTo>
                    <a:pt x="14864" y="14924"/>
                    <a:pt x="14580" y="15316"/>
                    <a:pt x="14864" y="15709"/>
                  </a:cubicBezTo>
                  <a:cubicBezTo>
                    <a:pt x="15149" y="15709"/>
                    <a:pt x="15149" y="14924"/>
                    <a:pt x="15433" y="14924"/>
                  </a:cubicBezTo>
                  <a:cubicBezTo>
                    <a:pt x="15717" y="14531"/>
                    <a:pt x="16570" y="14531"/>
                    <a:pt x="17138" y="14138"/>
                  </a:cubicBezTo>
                  <a:cubicBezTo>
                    <a:pt x="17422" y="13745"/>
                    <a:pt x="17991" y="13353"/>
                    <a:pt x="18559" y="12960"/>
                  </a:cubicBezTo>
                  <a:cubicBezTo>
                    <a:pt x="18275" y="12175"/>
                    <a:pt x="17422" y="11782"/>
                    <a:pt x="17422" y="1099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1" name="Shape 2040">
              <a:extLst>
                <a:ext uri="{FF2B5EF4-FFF2-40B4-BE49-F238E27FC236}">
                  <a16:creationId xmlns:a16="http://schemas.microsoft.com/office/drawing/2014/main" id="{F7138149-ECEC-337F-CC88-CE5B34479CF3}"/>
                </a:ext>
              </a:extLst>
            </p:cNvPr>
            <p:cNvSpPr/>
            <p:nvPr/>
          </p:nvSpPr>
          <p:spPr>
            <a:xfrm>
              <a:off x="3504174" y="3473148"/>
              <a:ext cx="161144" cy="240733"/>
            </a:xfrm>
            <a:custGeom>
              <a:avLst/>
              <a:gdLst/>
              <a:ahLst/>
              <a:cxnLst>
                <a:cxn ang="0">
                  <a:pos x="wd2" y="hd2"/>
                </a:cxn>
                <a:cxn ang="5400000">
                  <a:pos x="wd2" y="hd2"/>
                </a:cxn>
                <a:cxn ang="10800000">
                  <a:pos x="wd2" y="hd2"/>
                </a:cxn>
                <a:cxn ang="16200000">
                  <a:pos x="wd2" y="hd2"/>
                </a:cxn>
              </a:cxnLst>
              <a:rect l="0" t="0" r="r" b="b"/>
              <a:pathLst>
                <a:path w="20379" h="20653" extrusionOk="0">
                  <a:moveTo>
                    <a:pt x="17056" y="16484"/>
                  </a:moveTo>
                  <a:cubicBezTo>
                    <a:pt x="17056" y="15916"/>
                    <a:pt x="12902" y="12505"/>
                    <a:pt x="13733" y="11937"/>
                  </a:cubicBezTo>
                  <a:cubicBezTo>
                    <a:pt x="14564" y="11368"/>
                    <a:pt x="13733" y="10800"/>
                    <a:pt x="15394" y="10232"/>
                  </a:cubicBezTo>
                  <a:cubicBezTo>
                    <a:pt x="17887" y="10232"/>
                    <a:pt x="17056" y="9095"/>
                    <a:pt x="17056" y="8526"/>
                  </a:cubicBezTo>
                  <a:cubicBezTo>
                    <a:pt x="17056" y="7958"/>
                    <a:pt x="17056" y="7389"/>
                    <a:pt x="17056" y="7389"/>
                  </a:cubicBezTo>
                  <a:cubicBezTo>
                    <a:pt x="17056" y="6821"/>
                    <a:pt x="16225" y="6821"/>
                    <a:pt x="15394" y="6253"/>
                  </a:cubicBezTo>
                  <a:cubicBezTo>
                    <a:pt x="14564" y="5116"/>
                    <a:pt x="12071" y="5116"/>
                    <a:pt x="12071" y="3979"/>
                  </a:cubicBezTo>
                  <a:cubicBezTo>
                    <a:pt x="11241" y="2274"/>
                    <a:pt x="7917" y="568"/>
                    <a:pt x="6256" y="0"/>
                  </a:cubicBezTo>
                  <a:cubicBezTo>
                    <a:pt x="6256" y="1705"/>
                    <a:pt x="2102" y="1705"/>
                    <a:pt x="2933" y="2842"/>
                  </a:cubicBezTo>
                  <a:cubicBezTo>
                    <a:pt x="2933" y="3411"/>
                    <a:pt x="4594" y="3979"/>
                    <a:pt x="3764" y="4547"/>
                  </a:cubicBezTo>
                  <a:cubicBezTo>
                    <a:pt x="2933" y="4547"/>
                    <a:pt x="1271" y="5116"/>
                    <a:pt x="1271" y="5684"/>
                  </a:cubicBezTo>
                  <a:cubicBezTo>
                    <a:pt x="-1221" y="6253"/>
                    <a:pt x="441" y="7958"/>
                    <a:pt x="2102" y="9095"/>
                  </a:cubicBezTo>
                  <a:cubicBezTo>
                    <a:pt x="2933" y="9663"/>
                    <a:pt x="2933" y="10232"/>
                    <a:pt x="4594" y="10232"/>
                  </a:cubicBezTo>
                  <a:cubicBezTo>
                    <a:pt x="5425" y="10232"/>
                    <a:pt x="4594" y="10800"/>
                    <a:pt x="5425" y="11368"/>
                  </a:cubicBezTo>
                  <a:cubicBezTo>
                    <a:pt x="7087" y="13074"/>
                    <a:pt x="6256" y="13642"/>
                    <a:pt x="5425" y="15347"/>
                  </a:cubicBezTo>
                  <a:cubicBezTo>
                    <a:pt x="5425" y="17053"/>
                    <a:pt x="7087" y="18758"/>
                    <a:pt x="7917" y="19895"/>
                  </a:cubicBezTo>
                  <a:cubicBezTo>
                    <a:pt x="10410" y="21600"/>
                    <a:pt x="11241" y="19895"/>
                    <a:pt x="12902" y="19895"/>
                  </a:cubicBezTo>
                  <a:cubicBezTo>
                    <a:pt x="14564" y="19895"/>
                    <a:pt x="15394" y="19326"/>
                    <a:pt x="16225" y="19326"/>
                  </a:cubicBezTo>
                  <a:cubicBezTo>
                    <a:pt x="17887" y="18758"/>
                    <a:pt x="18717" y="18758"/>
                    <a:pt x="20379" y="19326"/>
                  </a:cubicBezTo>
                  <a:cubicBezTo>
                    <a:pt x="19548" y="18189"/>
                    <a:pt x="18717" y="17053"/>
                    <a:pt x="17056" y="16484"/>
                  </a:cubicBezTo>
                  <a:cubicBezTo>
                    <a:pt x="16225" y="15347"/>
                    <a:pt x="17887" y="16484"/>
                    <a:pt x="17056" y="164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2" name="Shape 2041">
              <a:extLst>
                <a:ext uri="{FF2B5EF4-FFF2-40B4-BE49-F238E27FC236}">
                  <a16:creationId xmlns:a16="http://schemas.microsoft.com/office/drawing/2014/main" id="{F63AB594-E97D-881D-E781-3C8E9B771A1A}"/>
                </a:ext>
              </a:extLst>
            </p:cNvPr>
            <p:cNvSpPr/>
            <p:nvPr/>
          </p:nvSpPr>
          <p:spPr>
            <a:xfrm>
              <a:off x="3609512" y="3551828"/>
              <a:ext cx="141208" cy="147283"/>
            </a:xfrm>
            <a:custGeom>
              <a:avLst/>
              <a:gdLst/>
              <a:ahLst/>
              <a:cxnLst>
                <a:cxn ang="0">
                  <a:pos x="wd2" y="hd2"/>
                </a:cxn>
                <a:cxn ang="5400000">
                  <a:pos x="wd2" y="hd2"/>
                </a:cxn>
                <a:cxn ang="10800000">
                  <a:pos x="wd2" y="hd2"/>
                </a:cxn>
                <a:cxn ang="16200000">
                  <a:pos x="wd2" y="hd2"/>
                </a:cxn>
              </a:cxnLst>
              <a:rect l="0" t="0" r="r" b="b"/>
              <a:pathLst>
                <a:path w="20879" h="20812" extrusionOk="0">
                  <a:moveTo>
                    <a:pt x="17934" y="6574"/>
                  </a:moveTo>
                  <a:cubicBezTo>
                    <a:pt x="17934" y="4696"/>
                    <a:pt x="19897" y="2817"/>
                    <a:pt x="20879" y="1878"/>
                  </a:cubicBezTo>
                  <a:cubicBezTo>
                    <a:pt x="17934" y="939"/>
                    <a:pt x="13024" y="0"/>
                    <a:pt x="11061" y="1878"/>
                  </a:cubicBezTo>
                  <a:cubicBezTo>
                    <a:pt x="9097" y="2817"/>
                    <a:pt x="8115" y="939"/>
                    <a:pt x="8115" y="0"/>
                  </a:cubicBezTo>
                  <a:cubicBezTo>
                    <a:pt x="7134" y="0"/>
                    <a:pt x="6152" y="1878"/>
                    <a:pt x="4188" y="939"/>
                  </a:cubicBezTo>
                  <a:cubicBezTo>
                    <a:pt x="4188" y="1878"/>
                    <a:pt x="6152" y="5635"/>
                    <a:pt x="3206" y="5635"/>
                  </a:cubicBezTo>
                  <a:cubicBezTo>
                    <a:pt x="1243" y="6574"/>
                    <a:pt x="-721" y="7513"/>
                    <a:pt x="261" y="9391"/>
                  </a:cubicBezTo>
                  <a:cubicBezTo>
                    <a:pt x="1243" y="11270"/>
                    <a:pt x="2224" y="12209"/>
                    <a:pt x="3206" y="14087"/>
                  </a:cubicBezTo>
                  <a:cubicBezTo>
                    <a:pt x="4188" y="15965"/>
                    <a:pt x="6152" y="17843"/>
                    <a:pt x="8115" y="20661"/>
                  </a:cubicBezTo>
                  <a:cubicBezTo>
                    <a:pt x="11061" y="21600"/>
                    <a:pt x="9097" y="17843"/>
                    <a:pt x="11061" y="17843"/>
                  </a:cubicBezTo>
                  <a:cubicBezTo>
                    <a:pt x="13024" y="17843"/>
                    <a:pt x="14006" y="17843"/>
                    <a:pt x="14988" y="16904"/>
                  </a:cubicBezTo>
                  <a:cubicBezTo>
                    <a:pt x="15970" y="16904"/>
                    <a:pt x="15970" y="18783"/>
                    <a:pt x="17934" y="17843"/>
                  </a:cubicBezTo>
                  <a:cubicBezTo>
                    <a:pt x="18915" y="15965"/>
                    <a:pt x="19897" y="15026"/>
                    <a:pt x="18915" y="13148"/>
                  </a:cubicBezTo>
                  <a:cubicBezTo>
                    <a:pt x="18915" y="11270"/>
                    <a:pt x="17934" y="8452"/>
                    <a:pt x="17934" y="65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3" name="Shape 2042">
              <a:extLst>
                <a:ext uri="{FF2B5EF4-FFF2-40B4-BE49-F238E27FC236}">
                  <a16:creationId xmlns:a16="http://schemas.microsoft.com/office/drawing/2014/main" id="{78336DE1-0839-CC51-8EB6-942E77C3B9BA}"/>
                </a:ext>
              </a:extLst>
            </p:cNvPr>
            <p:cNvSpPr/>
            <p:nvPr/>
          </p:nvSpPr>
          <p:spPr>
            <a:xfrm>
              <a:off x="3723751" y="3570892"/>
              <a:ext cx="105630" cy="109896"/>
            </a:xfrm>
            <a:custGeom>
              <a:avLst/>
              <a:gdLst/>
              <a:ahLst/>
              <a:cxnLst>
                <a:cxn ang="0">
                  <a:pos x="wd2" y="hd2"/>
                </a:cxn>
                <a:cxn ang="5400000">
                  <a:pos x="wd2" y="hd2"/>
                </a:cxn>
                <a:cxn ang="10800000">
                  <a:pos x="wd2" y="hd2"/>
                </a:cxn>
                <a:cxn ang="16200000">
                  <a:pos x="wd2" y="hd2"/>
                </a:cxn>
              </a:cxnLst>
              <a:rect l="0" t="0" r="r" b="b"/>
              <a:pathLst>
                <a:path w="21600" h="19923" extrusionOk="0">
                  <a:moveTo>
                    <a:pt x="16200" y="4989"/>
                  </a:moveTo>
                  <a:cubicBezTo>
                    <a:pt x="13500" y="2589"/>
                    <a:pt x="10800" y="189"/>
                    <a:pt x="6750" y="189"/>
                  </a:cubicBezTo>
                  <a:cubicBezTo>
                    <a:pt x="4050" y="-1011"/>
                    <a:pt x="0" y="3789"/>
                    <a:pt x="1350" y="6189"/>
                  </a:cubicBezTo>
                  <a:cubicBezTo>
                    <a:pt x="1350" y="8589"/>
                    <a:pt x="2700" y="10989"/>
                    <a:pt x="2700" y="13389"/>
                  </a:cubicBezTo>
                  <a:cubicBezTo>
                    <a:pt x="4050" y="15789"/>
                    <a:pt x="1350" y="18189"/>
                    <a:pt x="0" y="19389"/>
                  </a:cubicBezTo>
                  <a:cubicBezTo>
                    <a:pt x="1350" y="20589"/>
                    <a:pt x="4050" y="19389"/>
                    <a:pt x="5400" y="19389"/>
                  </a:cubicBezTo>
                  <a:cubicBezTo>
                    <a:pt x="8100" y="19389"/>
                    <a:pt x="9450" y="20589"/>
                    <a:pt x="12150" y="19389"/>
                  </a:cubicBezTo>
                  <a:cubicBezTo>
                    <a:pt x="16200" y="18189"/>
                    <a:pt x="17550" y="10989"/>
                    <a:pt x="21600" y="8589"/>
                  </a:cubicBezTo>
                  <a:cubicBezTo>
                    <a:pt x="18900" y="7389"/>
                    <a:pt x="17550" y="6189"/>
                    <a:pt x="16200" y="4989"/>
                  </a:cubicBezTo>
                  <a:cubicBezTo>
                    <a:pt x="13500" y="3789"/>
                    <a:pt x="17550" y="6189"/>
                    <a:pt x="16200" y="498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4" name="Shape 2043">
              <a:extLst>
                <a:ext uri="{FF2B5EF4-FFF2-40B4-BE49-F238E27FC236}">
                  <a16:creationId xmlns:a16="http://schemas.microsoft.com/office/drawing/2014/main" id="{5DFC7001-5386-22D9-32A1-11FC7D76F609}"/>
                </a:ext>
              </a:extLst>
            </p:cNvPr>
            <p:cNvSpPr/>
            <p:nvPr/>
          </p:nvSpPr>
          <p:spPr>
            <a:xfrm>
              <a:off x="2785942" y="3342786"/>
              <a:ext cx="515634" cy="552988"/>
            </a:xfrm>
            <a:custGeom>
              <a:avLst/>
              <a:gdLst/>
              <a:ahLst/>
              <a:cxnLst>
                <a:cxn ang="0">
                  <a:pos x="wd2" y="hd2"/>
                </a:cxn>
                <a:cxn ang="5400000">
                  <a:pos x="wd2" y="hd2"/>
                </a:cxn>
                <a:cxn ang="10800000">
                  <a:pos x="wd2" y="hd2"/>
                </a:cxn>
                <a:cxn ang="16200000">
                  <a:pos x="wd2" y="hd2"/>
                </a:cxn>
              </a:cxnLst>
              <a:rect l="0" t="0" r="r" b="b"/>
              <a:pathLst>
                <a:path w="20910" h="21512" extrusionOk="0">
                  <a:moveTo>
                    <a:pt x="20377" y="12255"/>
                  </a:moveTo>
                  <a:cubicBezTo>
                    <a:pt x="21444" y="11483"/>
                    <a:pt x="20111" y="10712"/>
                    <a:pt x="20111" y="9941"/>
                  </a:cubicBezTo>
                  <a:cubicBezTo>
                    <a:pt x="20111" y="9426"/>
                    <a:pt x="20644" y="8912"/>
                    <a:pt x="20644" y="8398"/>
                  </a:cubicBezTo>
                  <a:cubicBezTo>
                    <a:pt x="20911" y="7626"/>
                    <a:pt x="19844" y="8141"/>
                    <a:pt x="19577" y="8141"/>
                  </a:cubicBezTo>
                  <a:cubicBezTo>
                    <a:pt x="19311" y="8141"/>
                    <a:pt x="19044" y="8141"/>
                    <a:pt x="18777" y="8141"/>
                  </a:cubicBezTo>
                  <a:cubicBezTo>
                    <a:pt x="18511" y="8141"/>
                    <a:pt x="18511" y="8398"/>
                    <a:pt x="18244" y="8398"/>
                  </a:cubicBezTo>
                  <a:cubicBezTo>
                    <a:pt x="17977" y="8398"/>
                    <a:pt x="17711" y="7626"/>
                    <a:pt x="17444" y="7626"/>
                  </a:cubicBezTo>
                  <a:cubicBezTo>
                    <a:pt x="16911" y="6598"/>
                    <a:pt x="16377" y="7112"/>
                    <a:pt x="15311" y="7112"/>
                  </a:cubicBezTo>
                  <a:cubicBezTo>
                    <a:pt x="14777" y="7112"/>
                    <a:pt x="14511" y="7112"/>
                    <a:pt x="14244" y="6598"/>
                  </a:cubicBezTo>
                  <a:cubicBezTo>
                    <a:pt x="13977" y="6083"/>
                    <a:pt x="14777" y="5569"/>
                    <a:pt x="13977" y="5055"/>
                  </a:cubicBezTo>
                  <a:cubicBezTo>
                    <a:pt x="13711" y="4798"/>
                    <a:pt x="13711" y="4283"/>
                    <a:pt x="13177" y="4283"/>
                  </a:cubicBezTo>
                  <a:cubicBezTo>
                    <a:pt x="12644" y="4283"/>
                    <a:pt x="12911" y="4283"/>
                    <a:pt x="13177" y="3769"/>
                  </a:cubicBezTo>
                  <a:cubicBezTo>
                    <a:pt x="13444" y="3255"/>
                    <a:pt x="13177" y="2741"/>
                    <a:pt x="13444" y="2226"/>
                  </a:cubicBezTo>
                  <a:cubicBezTo>
                    <a:pt x="13711" y="1712"/>
                    <a:pt x="14244" y="1455"/>
                    <a:pt x="14777" y="1198"/>
                  </a:cubicBezTo>
                  <a:cubicBezTo>
                    <a:pt x="15044" y="941"/>
                    <a:pt x="15577" y="941"/>
                    <a:pt x="15844" y="426"/>
                  </a:cubicBezTo>
                  <a:cubicBezTo>
                    <a:pt x="15844" y="-88"/>
                    <a:pt x="14777" y="-88"/>
                    <a:pt x="14777" y="169"/>
                  </a:cubicBezTo>
                  <a:cubicBezTo>
                    <a:pt x="14244" y="683"/>
                    <a:pt x="13444" y="1455"/>
                    <a:pt x="12644" y="1455"/>
                  </a:cubicBezTo>
                  <a:cubicBezTo>
                    <a:pt x="11844" y="1455"/>
                    <a:pt x="11844" y="1455"/>
                    <a:pt x="11577" y="1969"/>
                  </a:cubicBezTo>
                  <a:cubicBezTo>
                    <a:pt x="11311" y="2483"/>
                    <a:pt x="11311" y="1712"/>
                    <a:pt x="10777" y="1712"/>
                  </a:cubicBezTo>
                  <a:cubicBezTo>
                    <a:pt x="9711" y="1969"/>
                    <a:pt x="10244" y="3512"/>
                    <a:pt x="9444" y="4026"/>
                  </a:cubicBezTo>
                  <a:cubicBezTo>
                    <a:pt x="9177" y="4283"/>
                    <a:pt x="8644" y="4541"/>
                    <a:pt x="8377" y="5055"/>
                  </a:cubicBezTo>
                  <a:cubicBezTo>
                    <a:pt x="8377" y="5055"/>
                    <a:pt x="8377" y="5826"/>
                    <a:pt x="8111" y="5826"/>
                  </a:cubicBezTo>
                  <a:cubicBezTo>
                    <a:pt x="7844" y="5312"/>
                    <a:pt x="7577" y="5055"/>
                    <a:pt x="7311" y="4798"/>
                  </a:cubicBezTo>
                  <a:cubicBezTo>
                    <a:pt x="7044" y="4283"/>
                    <a:pt x="6777" y="4283"/>
                    <a:pt x="6511" y="4283"/>
                  </a:cubicBezTo>
                  <a:cubicBezTo>
                    <a:pt x="5444" y="4026"/>
                    <a:pt x="4911" y="3255"/>
                    <a:pt x="3844" y="4026"/>
                  </a:cubicBezTo>
                  <a:cubicBezTo>
                    <a:pt x="3311" y="4283"/>
                    <a:pt x="2244" y="5055"/>
                    <a:pt x="1711" y="4541"/>
                  </a:cubicBezTo>
                  <a:cubicBezTo>
                    <a:pt x="1444" y="4283"/>
                    <a:pt x="1177" y="4283"/>
                    <a:pt x="911" y="4026"/>
                  </a:cubicBezTo>
                  <a:cubicBezTo>
                    <a:pt x="377" y="4026"/>
                    <a:pt x="644" y="3512"/>
                    <a:pt x="111" y="4026"/>
                  </a:cubicBezTo>
                  <a:cubicBezTo>
                    <a:pt x="-156" y="4283"/>
                    <a:pt x="111" y="4283"/>
                    <a:pt x="377" y="4541"/>
                  </a:cubicBezTo>
                  <a:cubicBezTo>
                    <a:pt x="377" y="4798"/>
                    <a:pt x="111" y="5055"/>
                    <a:pt x="111" y="5312"/>
                  </a:cubicBezTo>
                  <a:cubicBezTo>
                    <a:pt x="644" y="5312"/>
                    <a:pt x="1177" y="5569"/>
                    <a:pt x="1444" y="5569"/>
                  </a:cubicBezTo>
                  <a:cubicBezTo>
                    <a:pt x="1711" y="5826"/>
                    <a:pt x="1977" y="5826"/>
                    <a:pt x="1977" y="6083"/>
                  </a:cubicBezTo>
                  <a:cubicBezTo>
                    <a:pt x="2244" y="6341"/>
                    <a:pt x="2244" y="6083"/>
                    <a:pt x="2511" y="6083"/>
                  </a:cubicBezTo>
                  <a:cubicBezTo>
                    <a:pt x="2511" y="5826"/>
                    <a:pt x="2511" y="6598"/>
                    <a:pt x="2777" y="6598"/>
                  </a:cubicBezTo>
                  <a:cubicBezTo>
                    <a:pt x="3044" y="6855"/>
                    <a:pt x="3311" y="6598"/>
                    <a:pt x="3844" y="6341"/>
                  </a:cubicBezTo>
                  <a:cubicBezTo>
                    <a:pt x="4111" y="6341"/>
                    <a:pt x="3311" y="5826"/>
                    <a:pt x="3311" y="5826"/>
                  </a:cubicBezTo>
                  <a:cubicBezTo>
                    <a:pt x="3311" y="5569"/>
                    <a:pt x="4111" y="5055"/>
                    <a:pt x="4111" y="4798"/>
                  </a:cubicBezTo>
                  <a:cubicBezTo>
                    <a:pt x="4377" y="4541"/>
                    <a:pt x="4911" y="4283"/>
                    <a:pt x="5177" y="4541"/>
                  </a:cubicBezTo>
                  <a:cubicBezTo>
                    <a:pt x="5444" y="4541"/>
                    <a:pt x="5977" y="4798"/>
                    <a:pt x="5977" y="4798"/>
                  </a:cubicBezTo>
                  <a:cubicBezTo>
                    <a:pt x="5977" y="5055"/>
                    <a:pt x="5977" y="5055"/>
                    <a:pt x="6244" y="5055"/>
                  </a:cubicBezTo>
                  <a:cubicBezTo>
                    <a:pt x="6244" y="5312"/>
                    <a:pt x="5977" y="5569"/>
                    <a:pt x="5977" y="5569"/>
                  </a:cubicBezTo>
                  <a:cubicBezTo>
                    <a:pt x="5977" y="5826"/>
                    <a:pt x="6511" y="6341"/>
                    <a:pt x="6511" y="6598"/>
                  </a:cubicBezTo>
                  <a:cubicBezTo>
                    <a:pt x="7044" y="7369"/>
                    <a:pt x="7577" y="7369"/>
                    <a:pt x="7577" y="8398"/>
                  </a:cubicBezTo>
                  <a:cubicBezTo>
                    <a:pt x="7577" y="9169"/>
                    <a:pt x="7577" y="9941"/>
                    <a:pt x="7311" y="10712"/>
                  </a:cubicBezTo>
                  <a:cubicBezTo>
                    <a:pt x="7311" y="10969"/>
                    <a:pt x="7844" y="10969"/>
                    <a:pt x="7844" y="11226"/>
                  </a:cubicBezTo>
                  <a:cubicBezTo>
                    <a:pt x="7577" y="11483"/>
                    <a:pt x="7311" y="11741"/>
                    <a:pt x="7311" y="11998"/>
                  </a:cubicBezTo>
                  <a:cubicBezTo>
                    <a:pt x="7044" y="12255"/>
                    <a:pt x="7044" y="12769"/>
                    <a:pt x="6777" y="12769"/>
                  </a:cubicBezTo>
                  <a:cubicBezTo>
                    <a:pt x="6244" y="13026"/>
                    <a:pt x="5711" y="12769"/>
                    <a:pt x="5711" y="13541"/>
                  </a:cubicBezTo>
                  <a:cubicBezTo>
                    <a:pt x="5711" y="14055"/>
                    <a:pt x="4911" y="14055"/>
                    <a:pt x="5711" y="14312"/>
                  </a:cubicBezTo>
                  <a:cubicBezTo>
                    <a:pt x="5977" y="14569"/>
                    <a:pt x="6244" y="14569"/>
                    <a:pt x="6777" y="14826"/>
                  </a:cubicBezTo>
                  <a:cubicBezTo>
                    <a:pt x="7044" y="15083"/>
                    <a:pt x="7311" y="15341"/>
                    <a:pt x="7577" y="15598"/>
                  </a:cubicBezTo>
                  <a:cubicBezTo>
                    <a:pt x="8111" y="15855"/>
                    <a:pt x="8377" y="15598"/>
                    <a:pt x="8911" y="15598"/>
                  </a:cubicBezTo>
                  <a:cubicBezTo>
                    <a:pt x="9177" y="15598"/>
                    <a:pt x="9444" y="15855"/>
                    <a:pt x="9977" y="16112"/>
                  </a:cubicBezTo>
                  <a:cubicBezTo>
                    <a:pt x="10244" y="16112"/>
                    <a:pt x="10511" y="16112"/>
                    <a:pt x="10777" y="16369"/>
                  </a:cubicBezTo>
                  <a:cubicBezTo>
                    <a:pt x="11577" y="16883"/>
                    <a:pt x="12111" y="17398"/>
                    <a:pt x="12644" y="18169"/>
                  </a:cubicBezTo>
                  <a:cubicBezTo>
                    <a:pt x="12911" y="18941"/>
                    <a:pt x="13177" y="19198"/>
                    <a:pt x="14244" y="19455"/>
                  </a:cubicBezTo>
                  <a:cubicBezTo>
                    <a:pt x="14511" y="19455"/>
                    <a:pt x="14777" y="19198"/>
                    <a:pt x="15044" y="18941"/>
                  </a:cubicBezTo>
                  <a:cubicBezTo>
                    <a:pt x="15311" y="18941"/>
                    <a:pt x="15577" y="19455"/>
                    <a:pt x="15844" y="19198"/>
                  </a:cubicBezTo>
                  <a:cubicBezTo>
                    <a:pt x="16377" y="18941"/>
                    <a:pt x="16911" y="19198"/>
                    <a:pt x="17177" y="19455"/>
                  </a:cubicBezTo>
                  <a:cubicBezTo>
                    <a:pt x="17177" y="19712"/>
                    <a:pt x="16911" y="20226"/>
                    <a:pt x="16911" y="20483"/>
                  </a:cubicBezTo>
                  <a:cubicBezTo>
                    <a:pt x="16644" y="20741"/>
                    <a:pt x="16377" y="20741"/>
                    <a:pt x="16911" y="20998"/>
                  </a:cubicBezTo>
                  <a:cubicBezTo>
                    <a:pt x="16911" y="20998"/>
                    <a:pt x="17444" y="21512"/>
                    <a:pt x="17177" y="21512"/>
                  </a:cubicBezTo>
                  <a:cubicBezTo>
                    <a:pt x="17711" y="21512"/>
                    <a:pt x="17977" y="18683"/>
                    <a:pt x="18244" y="18169"/>
                  </a:cubicBezTo>
                  <a:cubicBezTo>
                    <a:pt x="18244" y="17141"/>
                    <a:pt x="17444" y="16883"/>
                    <a:pt x="17177" y="16112"/>
                  </a:cubicBezTo>
                  <a:cubicBezTo>
                    <a:pt x="17177" y="15598"/>
                    <a:pt x="17177" y="15341"/>
                    <a:pt x="17444" y="15341"/>
                  </a:cubicBezTo>
                  <a:cubicBezTo>
                    <a:pt x="17711" y="15341"/>
                    <a:pt x="18511" y="15083"/>
                    <a:pt x="18511" y="14826"/>
                  </a:cubicBezTo>
                  <a:cubicBezTo>
                    <a:pt x="18244" y="14826"/>
                    <a:pt x="17711" y="14826"/>
                    <a:pt x="17711" y="14569"/>
                  </a:cubicBezTo>
                  <a:cubicBezTo>
                    <a:pt x="17444" y="14569"/>
                    <a:pt x="17444" y="14055"/>
                    <a:pt x="17444" y="14055"/>
                  </a:cubicBezTo>
                  <a:cubicBezTo>
                    <a:pt x="17977" y="14055"/>
                    <a:pt x="18511" y="14055"/>
                    <a:pt x="19044" y="14055"/>
                  </a:cubicBezTo>
                  <a:cubicBezTo>
                    <a:pt x="19311" y="14055"/>
                    <a:pt x="20911" y="13283"/>
                    <a:pt x="20911" y="13541"/>
                  </a:cubicBezTo>
                  <a:cubicBezTo>
                    <a:pt x="20911" y="13026"/>
                    <a:pt x="20111" y="12255"/>
                    <a:pt x="20377" y="12255"/>
                  </a:cubicBezTo>
                  <a:cubicBezTo>
                    <a:pt x="20644" y="11998"/>
                    <a:pt x="20111" y="12255"/>
                    <a:pt x="20377" y="1225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5" name="Shape 2044">
              <a:extLst>
                <a:ext uri="{FF2B5EF4-FFF2-40B4-BE49-F238E27FC236}">
                  <a16:creationId xmlns:a16="http://schemas.microsoft.com/office/drawing/2014/main" id="{FC9D38EF-62C9-0D5D-87ED-CDDBF3E47CFD}"/>
                </a:ext>
              </a:extLst>
            </p:cNvPr>
            <p:cNvSpPr/>
            <p:nvPr/>
          </p:nvSpPr>
          <p:spPr>
            <a:xfrm>
              <a:off x="2854004" y="3711436"/>
              <a:ext cx="180631" cy="212510"/>
            </a:xfrm>
            <a:custGeom>
              <a:avLst/>
              <a:gdLst/>
              <a:ahLst/>
              <a:cxnLst>
                <a:cxn ang="0">
                  <a:pos x="wd2" y="hd2"/>
                </a:cxn>
                <a:cxn ang="5400000">
                  <a:pos x="wd2" y="hd2"/>
                </a:cxn>
                <a:cxn ang="10800000">
                  <a:pos x="wd2" y="hd2"/>
                </a:cxn>
                <a:cxn ang="16200000">
                  <a:pos x="wd2" y="hd2"/>
                </a:cxn>
              </a:cxnLst>
              <a:rect l="0" t="0" r="r" b="b"/>
              <a:pathLst>
                <a:path w="21171" h="21051" extrusionOk="0">
                  <a:moveTo>
                    <a:pt x="15429" y="3927"/>
                  </a:moveTo>
                  <a:cubicBezTo>
                    <a:pt x="13886" y="3927"/>
                    <a:pt x="13114" y="2618"/>
                    <a:pt x="11571" y="1964"/>
                  </a:cubicBezTo>
                  <a:cubicBezTo>
                    <a:pt x="10800" y="1309"/>
                    <a:pt x="9257" y="0"/>
                    <a:pt x="7714" y="0"/>
                  </a:cubicBezTo>
                  <a:cubicBezTo>
                    <a:pt x="7714" y="1964"/>
                    <a:pt x="3086" y="655"/>
                    <a:pt x="3086" y="2618"/>
                  </a:cubicBezTo>
                  <a:cubicBezTo>
                    <a:pt x="3086" y="3927"/>
                    <a:pt x="3086" y="3927"/>
                    <a:pt x="2314" y="4582"/>
                  </a:cubicBezTo>
                  <a:cubicBezTo>
                    <a:pt x="771" y="5236"/>
                    <a:pt x="1543" y="5891"/>
                    <a:pt x="1543" y="6545"/>
                  </a:cubicBezTo>
                  <a:cubicBezTo>
                    <a:pt x="1543" y="7200"/>
                    <a:pt x="771" y="7855"/>
                    <a:pt x="0" y="8509"/>
                  </a:cubicBezTo>
                  <a:cubicBezTo>
                    <a:pt x="0" y="8509"/>
                    <a:pt x="0" y="9164"/>
                    <a:pt x="0" y="9818"/>
                  </a:cubicBezTo>
                  <a:cubicBezTo>
                    <a:pt x="771" y="10473"/>
                    <a:pt x="0" y="11127"/>
                    <a:pt x="0" y="11782"/>
                  </a:cubicBezTo>
                  <a:cubicBezTo>
                    <a:pt x="0" y="11782"/>
                    <a:pt x="771" y="13745"/>
                    <a:pt x="1543" y="13091"/>
                  </a:cubicBezTo>
                  <a:cubicBezTo>
                    <a:pt x="3086" y="13091"/>
                    <a:pt x="3086" y="11782"/>
                    <a:pt x="3857" y="11782"/>
                  </a:cubicBezTo>
                  <a:cubicBezTo>
                    <a:pt x="3086" y="11782"/>
                    <a:pt x="4629" y="13091"/>
                    <a:pt x="3857" y="13091"/>
                  </a:cubicBezTo>
                  <a:cubicBezTo>
                    <a:pt x="3857" y="14400"/>
                    <a:pt x="3857" y="15055"/>
                    <a:pt x="2314" y="15709"/>
                  </a:cubicBezTo>
                  <a:cubicBezTo>
                    <a:pt x="2314" y="15709"/>
                    <a:pt x="3086" y="17018"/>
                    <a:pt x="2314" y="17018"/>
                  </a:cubicBezTo>
                  <a:cubicBezTo>
                    <a:pt x="2314" y="17673"/>
                    <a:pt x="1543" y="17673"/>
                    <a:pt x="2314" y="18327"/>
                  </a:cubicBezTo>
                  <a:cubicBezTo>
                    <a:pt x="3857" y="18982"/>
                    <a:pt x="4629" y="18982"/>
                    <a:pt x="6171" y="20945"/>
                  </a:cubicBezTo>
                  <a:cubicBezTo>
                    <a:pt x="6943" y="21600"/>
                    <a:pt x="7714" y="18982"/>
                    <a:pt x="8486" y="18982"/>
                  </a:cubicBezTo>
                  <a:cubicBezTo>
                    <a:pt x="9257" y="17018"/>
                    <a:pt x="10029" y="15055"/>
                    <a:pt x="12343" y="14400"/>
                  </a:cubicBezTo>
                  <a:cubicBezTo>
                    <a:pt x="13886" y="13745"/>
                    <a:pt x="15429" y="13745"/>
                    <a:pt x="16971" y="12436"/>
                  </a:cubicBezTo>
                  <a:cubicBezTo>
                    <a:pt x="18514" y="11782"/>
                    <a:pt x="20057" y="10473"/>
                    <a:pt x="20829" y="8509"/>
                  </a:cubicBezTo>
                  <a:cubicBezTo>
                    <a:pt x="20829" y="7200"/>
                    <a:pt x="21600" y="6545"/>
                    <a:pt x="20829" y="5236"/>
                  </a:cubicBezTo>
                  <a:cubicBezTo>
                    <a:pt x="20057" y="4582"/>
                    <a:pt x="19286" y="3927"/>
                    <a:pt x="18514" y="3273"/>
                  </a:cubicBezTo>
                  <a:cubicBezTo>
                    <a:pt x="17743" y="3273"/>
                    <a:pt x="16200" y="3927"/>
                    <a:pt x="15429" y="392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6" name="Shape 2045">
              <a:extLst>
                <a:ext uri="{FF2B5EF4-FFF2-40B4-BE49-F238E27FC236}">
                  <a16:creationId xmlns:a16="http://schemas.microsoft.com/office/drawing/2014/main" id="{512E6A77-C32C-80B8-3448-58C37F737976}"/>
                </a:ext>
              </a:extLst>
            </p:cNvPr>
            <p:cNvSpPr/>
            <p:nvPr/>
          </p:nvSpPr>
          <p:spPr>
            <a:xfrm>
              <a:off x="2843383" y="3751900"/>
              <a:ext cx="412909" cy="617634"/>
            </a:xfrm>
            <a:custGeom>
              <a:avLst/>
              <a:gdLst/>
              <a:ahLst/>
              <a:cxnLst>
                <a:cxn ang="0">
                  <a:pos x="wd2" y="hd2"/>
                </a:cxn>
                <a:cxn ang="5400000">
                  <a:pos x="wd2" y="hd2"/>
                </a:cxn>
                <a:cxn ang="10800000">
                  <a:pos x="wd2" y="hd2"/>
                </a:cxn>
                <a:cxn ang="16200000">
                  <a:pos x="wd2" y="hd2"/>
                </a:cxn>
              </a:cxnLst>
              <a:rect l="0" t="0" r="r" b="b"/>
              <a:pathLst>
                <a:path w="21109" h="21271" extrusionOk="0">
                  <a:moveTo>
                    <a:pt x="18746" y="4775"/>
                  </a:moveTo>
                  <a:cubicBezTo>
                    <a:pt x="17396" y="4320"/>
                    <a:pt x="19421" y="3411"/>
                    <a:pt x="18409" y="3183"/>
                  </a:cubicBezTo>
                  <a:cubicBezTo>
                    <a:pt x="17734" y="2728"/>
                    <a:pt x="17059" y="2956"/>
                    <a:pt x="16384" y="2956"/>
                  </a:cubicBezTo>
                  <a:cubicBezTo>
                    <a:pt x="15709" y="2728"/>
                    <a:pt x="15709" y="3183"/>
                    <a:pt x="15034" y="3183"/>
                  </a:cubicBezTo>
                  <a:cubicBezTo>
                    <a:pt x="14359" y="2956"/>
                    <a:pt x="13684" y="2956"/>
                    <a:pt x="13346" y="2501"/>
                  </a:cubicBezTo>
                  <a:cubicBezTo>
                    <a:pt x="13009" y="2274"/>
                    <a:pt x="12671" y="1592"/>
                    <a:pt x="12334" y="1364"/>
                  </a:cubicBezTo>
                  <a:cubicBezTo>
                    <a:pt x="11659" y="1137"/>
                    <a:pt x="11321" y="682"/>
                    <a:pt x="10646" y="455"/>
                  </a:cubicBezTo>
                  <a:cubicBezTo>
                    <a:pt x="10309" y="0"/>
                    <a:pt x="9634" y="227"/>
                    <a:pt x="8959" y="0"/>
                  </a:cubicBezTo>
                  <a:cubicBezTo>
                    <a:pt x="9634" y="455"/>
                    <a:pt x="9971" y="682"/>
                    <a:pt x="9971" y="1137"/>
                  </a:cubicBezTo>
                  <a:cubicBezTo>
                    <a:pt x="9634" y="1592"/>
                    <a:pt x="9634" y="2046"/>
                    <a:pt x="8959" y="2274"/>
                  </a:cubicBezTo>
                  <a:cubicBezTo>
                    <a:pt x="8284" y="2728"/>
                    <a:pt x="7946" y="3183"/>
                    <a:pt x="7272" y="3183"/>
                  </a:cubicBezTo>
                  <a:cubicBezTo>
                    <a:pt x="6596" y="3411"/>
                    <a:pt x="5922" y="3411"/>
                    <a:pt x="5247" y="3865"/>
                  </a:cubicBezTo>
                  <a:cubicBezTo>
                    <a:pt x="4909" y="4093"/>
                    <a:pt x="3559" y="6139"/>
                    <a:pt x="3222" y="5912"/>
                  </a:cubicBezTo>
                  <a:cubicBezTo>
                    <a:pt x="2547" y="5229"/>
                    <a:pt x="2209" y="5229"/>
                    <a:pt x="1534" y="5002"/>
                  </a:cubicBezTo>
                  <a:cubicBezTo>
                    <a:pt x="1197" y="5002"/>
                    <a:pt x="1197" y="5002"/>
                    <a:pt x="1534" y="4775"/>
                  </a:cubicBezTo>
                  <a:cubicBezTo>
                    <a:pt x="1872" y="4547"/>
                    <a:pt x="1872" y="4320"/>
                    <a:pt x="1534" y="4093"/>
                  </a:cubicBezTo>
                  <a:cubicBezTo>
                    <a:pt x="859" y="4320"/>
                    <a:pt x="-491" y="5229"/>
                    <a:pt x="184" y="5912"/>
                  </a:cubicBezTo>
                  <a:cubicBezTo>
                    <a:pt x="184" y="5912"/>
                    <a:pt x="859" y="6594"/>
                    <a:pt x="522" y="6821"/>
                  </a:cubicBezTo>
                  <a:cubicBezTo>
                    <a:pt x="184" y="6821"/>
                    <a:pt x="-153" y="7048"/>
                    <a:pt x="522" y="7276"/>
                  </a:cubicBezTo>
                  <a:cubicBezTo>
                    <a:pt x="2209" y="7958"/>
                    <a:pt x="3559" y="9322"/>
                    <a:pt x="4234" y="10686"/>
                  </a:cubicBezTo>
                  <a:cubicBezTo>
                    <a:pt x="5247" y="11823"/>
                    <a:pt x="5922" y="13187"/>
                    <a:pt x="7272" y="14324"/>
                  </a:cubicBezTo>
                  <a:cubicBezTo>
                    <a:pt x="7609" y="14779"/>
                    <a:pt x="8284" y="15234"/>
                    <a:pt x="8284" y="15916"/>
                  </a:cubicBezTo>
                  <a:cubicBezTo>
                    <a:pt x="8284" y="16143"/>
                    <a:pt x="7946" y="15916"/>
                    <a:pt x="7946" y="16143"/>
                  </a:cubicBezTo>
                  <a:cubicBezTo>
                    <a:pt x="8284" y="16371"/>
                    <a:pt x="8621" y="16598"/>
                    <a:pt x="8959" y="16825"/>
                  </a:cubicBezTo>
                  <a:cubicBezTo>
                    <a:pt x="9296" y="17280"/>
                    <a:pt x="9634" y="17735"/>
                    <a:pt x="10309" y="17962"/>
                  </a:cubicBezTo>
                  <a:cubicBezTo>
                    <a:pt x="11321" y="18189"/>
                    <a:pt x="12334" y="18644"/>
                    <a:pt x="13346" y="18872"/>
                  </a:cubicBezTo>
                  <a:cubicBezTo>
                    <a:pt x="14021" y="19099"/>
                    <a:pt x="14696" y="19554"/>
                    <a:pt x="15709" y="19781"/>
                  </a:cubicBezTo>
                  <a:cubicBezTo>
                    <a:pt x="16384" y="20236"/>
                    <a:pt x="17059" y="20691"/>
                    <a:pt x="17734" y="21145"/>
                  </a:cubicBezTo>
                  <a:cubicBezTo>
                    <a:pt x="19084" y="21600"/>
                    <a:pt x="18746" y="20691"/>
                    <a:pt x="19421" y="20463"/>
                  </a:cubicBezTo>
                  <a:cubicBezTo>
                    <a:pt x="19759" y="20236"/>
                    <a:pt x="19759" y="19781"/>
                    <a:pt x="20096" y="19554"/>
                  </a:cubicBezTo>
                  <a:cubicBezTo>
                    <a:pt x="20096" y="19326"/>
                    <a:pt x="21109" y="18872"/>
                    <a:pt x="20771" y="18644"/>
                  </a:cubicBezTo>
                  <a:cubicBezTo>
                    <a:pt x="20096" y="18417"/>
                    <a:pt x="19759" y="18417"/>
                    <a:pt x="20096" y="17735"/>
                  </a:cubicBezTo>
                  <a:cubicBezTo>
                    <a:pt x="20096" y="17507"/>
                    <a:pt x="20096" y="17280"/>
                    <a:pt x="20096" y="17280"/>
                  </a:cubicBezTo>
                  <a:cubicBezTo>
                    <a:pt x="20434" y="17053"/>
                    <a:pt x="20771" y="16825"/>
                    <a:pt x="20771" y="16825"/>
                  </a:cubicBezTo>
                  <a:cubicBezTo>
                    <a:pt x="21109" y="16143"/>
                    <a:pt x="20434" y="15006"/>
                    <a:pt x="21109" y="14552"/>
                  </a:cubicBezTo>
                  <a:cubicBezTo>
                    <a:pt x="21109" y="14324"/>
                    <a:pt x="20771" y="13869"/>
                    <a:pt x="20434" y="13415"/>
                  </a:cubicBezTo>
                  <a:cubicBezTo>
                    <a:pt x="20096" y="12733"/>
                    <a:pt x="19759" y="12733"/>
                    <a:pt x="18746" y="12960"/>
                  </a:cubicBezTo>
                  <a:cubicBezTo>
                    <a:pt x="17396" y="12960"/>
                    <a:pt x="18071" y="11368"/>
                    <a:pt x="18071" y="10914"/>
                  </a:cubicBezTo>
                  <a:cubicBezTo>
                    <a:pt x="17396" y="11141"/>
                    <a:pt x="17059" y="11596"/>
                    <a:pt x="16384" y="11596"/>
                  </a:cubicBezTo>
                  <a:cubicBezTo>
                    <a:pt x="16046" y="11596"/>
                    <a:pt x="15371" y="11596"/>
                    <a:pt x="15034" y="11596"/>
                  </a:cubicBezTo>
                  <a:cubicBezTo>
                    <a:pt x="14696" y="11368"/>
                    <a:pt x="14696" y="10914"/>
                    <a:pt x="14359" y="10914"/>
                  </a:cubicBezTo>
                  <a:cubicBezTo>
                    <a:pt x="13346" y="10914"/>
                    <a:pt x="13346" y="10004"/>
                    <a:pt x="13009" y="9549"/>
                  </a:cubicBezTo>
                  <a:cubicBezTo>
                    <a:pt x="12334" y="9095"/>
                    <a:pt x="11996" y="8413"/>
                    <a:pt x="12671" y="7958"/>
                  </a:cubicBezTo>
                  <a:cubicBezTo>
                    <a:pt x="13009" y="7731"/>
                    <a:pt x="13684" y="7731"/>
                    <a:pt x="13684" y="7503"/>
                  </a:cubicBezTo>
                  <a:cubicBezTo>
                    <a:pt x="13684" y="7276"/>
                    <a:pt x="13684" y="7048"/>
                    <a:pt x="13684" y="6821"/>
                  </a:cubicBezTo>
                  <a:cubicBezTo>
                    <a:pt x="13684" y="6139"/>
                    <a:pt x="13684" y="5912"/>
                    <a:pt x="14696" y="5684"/>
                  </a:cubicBezTo>
                  <a:cubicBezTo>
                    <a:pt x="15371" y="5457"/>
                    <a:pt x="15709" y="5457"/>
                    <a:pt x="16384" y="5457"/>
                  </a:cubicBezTo>
                  <a:cubicBezTo>
                    <a:pt x="16721" y="5457"/>
                    <a:pt x="17059" y="5229"/>
                    <a:pt x="17396" y="5002"/>
                  </a:cubicBezTo>
                  <a:cubicBezTo>
                    <a:pt x="17734" y="5002"/>
                    <a:pt x="19421" y="5229"/>
                    <a:pt x="18746" y="477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7" name="Shape 2046">
              <a:extLst>
                <a:ext uri="{FF2B5EF4-FFF2-40B4-BE49-F238E27FC236}">
                  <a16:creationId xmlns:a16="http://schemas.microsoft.com/office/drawing/2014/main" id="{EFF4F53A-D8C4-6B19-CFCC-F0784DB15514}"/>
                </a:ext>
              </a:extLst>
            </p:cNvPr>
            <p:cNvSpPr/>
            <p:nvPr/>
          </p:nvSpPr>
          <p:spPr>
            <a:xfrm>
              <a:off x="3020314" y="4338626"/>
              <a:ext cx="287668" cy="1391831"/>
            </a:xfrm>
            <a:custGeom>
              <a:avLst/>
              <a:gdLst/>
              <a:ahLst/>
              <a:cxnLst>
                <a:cxn ang="0">
                  <a:pos x="wd2" y="hd2"/>
                </a:cxn>
                <a:cxn ang="5400000">
                  <a:pos x="wd2" y="hd2"/>
                </a:cxn>
                <a:cxn ang="10800000">
                  <a:pos x="wd2" y="hd2"/>
                </a:cxn>
                <a:cxn ang="16200000">
                  <a:pos x="wd2" y="hd2"/>
                </a:cxn>
              </a:cxnLst>
              <a:rect l="0" t="0" r="r" b="b"/>
              <a:pathLst>
                <a:path w="21600" h="21466" extrusionOk="0">
                  <a:moveTo>
                    <a:pt x="19636" y="2853"/>
                  </a:moveTo>
                  <a:cubicBezTo>
                    <a:pt x="18655" y="2751"/>
                    <a:pt x="19636" y="2242"/>
                    <a:pt x="18655" y="2038"/>
                  </a:cubicBezTo>
                  <a:cubicBezTo>
                    <a:pt x="18164" y="1936"/>
                    <a:pt x="17182" y="1630"/>
                    <a:pt x="17673" y="1426"/>
                  </a:cubicBezTo>
                  <a:cubicBezTo>
                    <a:pt x="18655" y="1325"/>
                    <a:pt x="17182" y="1325"/>
                    <a:pt x="17673" y="1223"/>
                  </a:cubicBezTo>
                  <a:cubicBezTo>
                    <a:pt x="18164" y="1121"/>
                    <a:pt x="17673" y="1019"/>
                    <a:pt x="17182" y="917"/>
                  </a:cubicBezTo>
                  <a:cubicBezTo>
                    <a:pt x="16691" y="815"/>
                    <a:pt x="16691" y="713"/>
                    <a:pt x="16691" y="509"/>
                  </a:cubicBezTo>
                  <a:cubicBezTo>
                    <a:pt x="16691" y="306"/>
                    <a:pt x="16200" y="204"/>
                    <a:pt x="15709" y="0"/>
                  </a:cubicBezTo>
                  <a:cubicBezTo>
                    <a:pt x="15218" y="102"/>
                    <a:pt x="14727" y="204"/>
                    <a:pt x="14727" y="306"/>
                  </a:cubicBezTo>
                  <a:cubicBezTo>
                    <a:pt x="14236" y="509"/>
                    <a:pt x="13255" y="408"/>
                    <a:pt x="13745" y="611"/>
                  </a:cubicBezTo>
                  <a:cubicBezTo>
                    <a:pt x="13745" y="917"/>
                    <a:pt x="13745" y="1223"/>
                    <a:pt x="13745" y="1528"/>
                  </a:cubicBezTo>
                  <a:cubicBezTo>
                    <a:pt x="13745" y="1936"/>
                    <a:pt x="14236" y="2445"/>
                    <a:pt x="13745" y="2853"/>
                  </a:cubicBezTo>
                  <a:cubicBezTo>
                    <a:pt x="13255" y="2955"/>
                    <a:pt x="12764" y="3057"/>
                    <a:pt x="12764" y="3158"/>
                  </a:cubicBezTo>
                  <a:cubicBezTo>
                    <a:pt x="12764" y="3362"/>
                    <a:pt x="13255" y="3566"/>
                    <a:pt x="13255" y="3770"/>
                  </a:cubicBezTo>
                  <a:cubicBezTo>
                    <a:pt x="13255" y="4381"/>
                    <a:pt x="12273" y="5094"/>
                    <a:pt x="11291" y="5706"/>
                  </a:cubicBezTo>
                  <a:cubicBezTo>
                    <a:pt x="10800" y="6011"/>
                    <a:pt x="10800" y="6215"/>
                    <a:pt x="11291" y="6521"/>
                  </a:cubicBezTo>
                  <a:cubicBezTo>
                    <a:pt x="11291" y="6725"/>
                    <a:pt x="11291" y="6826"/>
                    <a:pt x="10309" y="6928"/>
                  </a:cubicBezTo>
                  <a:cubicBezTo>
                    <a:pt x="9818" y="7030"/>
                    <a:pt x="10309" y="7132"/>
                    <a:pt x="10309" y="7234"/>
                  </a:cubicBezTo>
                  <a:cubicBezTo>
                    <a:pt x="10309" y="7540"/>
                    <a:pt x="10309" y="7845"/>
                    <a:pt x="10309" y="8151"/>
                  </a:cubicBezTo>
                  <a:cubicBezTo>
                    <a:pt x="10309" y="8253"/>
                    <a:pt x="10309" y="8457"/>
                    <a:pt x="10309" y="8558"/>
                  </a:cubicBezTo>
                  <a:cubicBezTo>
                    <a:pt x="9818" y="8660"/>
                    <a:pt x="10309" y="8864"/>
                    <a:pt x="9818" y="8966"/>
                  </a:cubicBezTo>
                  <a:cubicBezTo>
                    <a:pt x="8836" y="9475"/>
                    <a:pt x="7855" y="9985"/>
                    <a:pt x="6873" y="10494"/>
                  </a:cubicBezTo>
                  <a:cubicBezTo>
                    <a:pt x="6382" y="10800"/>
                    <a:pt x="4909" y="10902"/>
                    <a:pt x="5400" y="11208"/>
                  </a:cubicBezTo>
                  <a:cubicBezTo>
                    <a:pt x="5891" y="11513"/>
                    <a:pt x="6873" y="12023"/>
                    <a:pt x="5891" y="12430"/>
                  </a:cubicBezTo>
                  <a:cubicBezTo>
                    <a:pt x="4909" y="12634"/>
                    <a:pt x="3927" y="13143"/>
                    <a:pt x="4909" y="13449"/>
                  </a:cubicBezTo>
                  <a:cubicBezTo>
                    <a:pt x="5400" y="13653"/>
                    <a:pt x="5891" y="13653"/>
                    <a:pt x="6382" y="13551"/>
                  </a:cubicBezTo>
                  <a:cubicBezTo>
                    <a:pt x="6873" y="13449"/>
                    <a:pt x="8836" y="13449"/>
                    <a:pt x="8345" y="13551"/>
                  </a:cubicBezTo>
                  <a:cubicBezTo>
                    <a:pt x="8345" y="13551"/>
                    <a:pt x="7855" y="13551"/>
                    <a:pt x="7364" y="13653"/>
                  </a:cubicBezTo>
                  <a:cubicBezTo>
                    <a:pt x="7364" y="13755"/>
                    <a:pt x="7364" y="13755"/>
                    <a:pt x="7855" y="13857"/>
                  </a:cubicBezTo>
                  <a:cubicBezTo>
                    <a:pt x="7855" y="13857"/>
                    <a:pt x="7364" y="13958"/>
                    <a:pt x="7364" y="13958"/>
                  </a:cubicBezTo>
                  <a:cubicBezTo>
                    <a:pt x="6873" y="14162"/>
                    <a:pt x="6382" y="14570"/>
                    <a:pt x="6873" y="14774"/>
                  </a:cubicBezTo>
                  <a:cubicBezTo>
                    <a:pt x="6873" y="14875"/>
                    <a:pt x="6873" y="14875"/>
                    <a:pt x="6382" y="15079"/>
                  </a:cubicBezTo>
                  <a:cubicBezTo>
                    <a:pt x="5891" y="15181"/>
                    <a:pt x="6873" y="15181"/>
                    <a:pt x="7364" y="15283"/>
                  </a:cubicBezTo>
                  <a:cubicBezTo>
                    <a:pt x="7364" y="15283"/>
                    <a:pt x="7364" y="15283"/>
                    <a:pt x="6873" y="15385"/>
                  </a:cubicBezTo>
                  <a:cubicBezTo>
                    <a:pt x="6382" y="15385"/>
                    <a:pt x="5400" y="15487"/>
                    <a:pt x="6382" y="15487"/>
                  </a:cubicBezTo>
                  <a:cubicBezTo>
                    <a:pt x="5891" y="15589"/>
                    <a:pt x="6382" y="15894"/>
                    <a:pt x="6873" y="15894"/>
                  </a:cubicBezTo>
                  <a:cubicBezTo>
                    <a:pt x="6382" y="15894"/>
                    <a:pt x="4909" y="15792"/>
                    <a:pt x="5400" y="16098"/>
                  </a:cubicBezTo>
                  <a:cubicBezTo>
                    <a:pt x="5400" y="16098"/>
                    <a:pt x="5891" y="16608"/>
                    <a:pt x="4909" y="16506"/>
                  </a:cubicBezTo>
                  <a:cubicBezTo>
                    <a:pt x="4909" y="16506"/>
                    <a:pt x="3927" y="16302"/>
                    <a:pt x="3927" y="16200"/>
                  </a:cubicBezTo>
                  <a:cubicBezTo>
                    <a:pt x="2945" y="16098"/>
                    <a:pt x="3436" y="15996"/>
                    <a:pt x="2455" y="16098"/>
                  </a:cubicBezTo>
                  <a:cubicBezTo>
                    <a:pt x="2455" y="16098"/>
                    <a:pt x="1964" y="16200"/>
                    <a:pt x="1964" y="16200"/>
                  </a:cubicBezTo>
                  <a:cubicBezTo>
                    <a:pt x="1964" y="16302"/>
                    <a:pt x="2455" y="16302"/>
                    <a:pt x="1964" y="16404"/>
                  </a:cubicBezTo>
                  <a:cubicBezTo>
                    <a:pt x="1964" y="16506"/>
                    <a:pt x="0" y="16506"/>
                    <a:pt x="0" y="16709"/>
                  </a:cubicBezTo>
                  <a:cubicBezTo>
                    <a:pt x="0" y="16709"/>
                    <a:pt x="491" y="16811"/>
                    <a:pt x="982" y="16811"/>
                  </a:cubicBezTo>
                  <a:cubicBezTo>
                    <a:pt x="982" y="16811"/>
                    <a:pt x="491" y="16709"/>
                    <a:pt x="982" y="16608"/>
                  </a:cubicBezTo>
                  <a:cubicBezTo>
                    <a:pt x="982" y="16608"/>
                    <a:pt x="2455" y="16811"/>
                    <a:pt x="3436" y="16709"/>
                  </a:cubicBezTo>
                  <a:cubicBezTo>
                    <a:pt x="5400" y="16608"/>
                    <a:pt x="2455" y="17321"/>
                    <a:pt x="3436" y="17423"/>
                  </a:cubicBezTo>
                  <a:cubicBezTo>
                    <a:pt x="3927" y="17423"/>
                    <a:pt x="4909" y="17321"/>
                    <a:pt x="5400" y="17423"/>
                  </a:cubicBezTo>
                  <a:cubicBezTo>
                    <a:pt x="5891" y="17423"/>
                    <a:pt x="5891" y="17728"/>
                    <a:pt x="5400" y="17626"/>
                  </a:cubicBezTo>
                  <a:cubicBezTo>
                    <a:pt x="5400" y="17626"/>
                    <a:pt x="3927" y="17423"/>
                    <a:pt x="3927" y="17525"/>
                  </a:cubicBezTo>
                  <a:cubicBezTo>
                    <a:pt x="3436" y="17626"/>
                    <a:pt x="2945" y="17626"/>
                    <a:pt x="3436" y="17728"/>
                  </a:cubicBezTo>
                  <a:cubicBezTo>
                    <a:pt x="3436" y="17728"/>
                    <a:pt x="4418" y="17932"/>
                    <a:pt x="3927" y="17932"/>
                  </a:cubicBezTo>
                  <a:cubicBezTo>
                    <a:pt x="3436" y="17932"/>
                    <a:pt x="3436" y="18238"/>
                    <a:pt x="3436" y="18238"/>
                  </a:cubicBezTo>
                  <a:cubicBezTo>
                    <a:pt x="2945" y="18543"/>
                    <a:pt x="4418" y="18136"/>
                    <a:pt x="4418" y="18136"/>
                  </a:cubicBezTo>
                  <a:cubicBezTo>
                    <a:pt x="4418" y="18136"/>
                    <a:pt x="3927" y="18645"/>
                    <a:pt x="4418" y="18543"/>
                  </a:cubicBezTo>
                  <a:cubicBezTo>
                    <a:pt x="4418" y="18543"/>
                    <a:pt x="3927" y="18543"/>
                    <a:pt x="3927" y="18645"/>
                  </a:cubicBezTo>
                  <a:cubicBezTo>
                    <a:pt x="3436" y="18747"/>
                    <a:pt x="3927" y="18747"/>
                    <a:pt x="4418" y="18849"/>
                  </a:cubicBezTo>
                  <a:cubicBezTo>
                    <a:pt x="4418" y="18849"/>
                    <a:pt x="3436" y="18951"/>
                    <a:pt x="3436" y="18951"/>
                  </a:cubicBezTo>
                  <a:cubicBezTo>
                    <a:pt x="2945" y="18951"/>
                    <a:pt x="3436" y="18951"/>
                    <a:pt x="3436" y="19053"/>
                  </a:cubicBezTo>
                  <a:cubicBezTo>
                    <a:pt x="2945" y="19257"/>
                    <a:pt x="4909" y="19257"/>
                    <a:pt x="4909" y="19155"/>
                  </a:cubicBezTo>
                  <a:cubicBezTo>
                    <a:pt x="4909" y="19257"/>
                    <a:pt x="4418" y="19257"/>
                    <a:pt x="4909" y="19358"/>
                  </a:cubicBezTo>
                  <a:cubicBezTo>
                    <a:pt x="4909" y="19358"/>
                    <a:pt x="4909" y="19358"/>
                    <a:pt x="4909" y="19358"/>
                  </a:cubicBezTo>
                  <a:cubicBezTo>
                    <a:pt x="4909" y="19460"/>
                    <a:pt x="3927" y="19562"/>
                    <a:pt x="3927" y="19664"/>
                  </a:cubicBezTo>
                  <a:cubicBezTo>
                    <a:pt x="3436" y="19868"/>
                    <a:pt x="4909" y="19562"/>
                    <a:pt x="5400" y="19562"/>
                  </a:cubicBezTo>
                  <a:cubicBezTo>
                    <a:pt x="4909" y="19664"/>
                    <a:pt x="5400" y="19766"/>
                    <a:pt x="5400" y="19766"/>
                  </a:cubicBezTo>
                  <a:cubicBezTo>
                    <a:pt x="5400" y="19868"/>
                    <a:pt x="3927" y="19970"/>
                    <a:pt x="3927" y="19970"/>
                  </a:cubicBezTo>
                  <a:cubicBezTo>
                    <a:pt x="4909" y="20072"/>
                    <a:pt x="4909" y="19970"/>
                    <a:pt x="5400" y="20174"/>
                  </a:cubicBezTo>
                  <a:cubicBezTo>
                    <a:pt x="5891" y="20377"/>
                    <a:pt x="6873" y="19868"/>
                    <a:pt x="6382" y="19868"/>
                  </a:cubicBezTo>
                  <a:cubicBezTo>
                    <a:pt x="6873" y="19868"/>
                    <a:pt x="6873" y="19970"/>
                    <a:pt x="7364" y="20072"/>
                  </a:cubicBezTo>
                  <a:cubicBezTo>
                    <a:pt x="7364" y="20072"/>
                    <a:pt x="7364" y="19868"/>
                    <a:pt x="7364" y="19868"/>
                  </a:cubicBezTo>
                  <a:cubicBezTo>
                    <a:pt x="7364" y="19868"/>
                    <a:pt x="7364" y="20072"/>
                    <a:pt x="7364" y="20072"/>
                  </a:cubicBezTo>
                  <a:cubicBezTo>
                    <a:pt x="7855" y="19970"/>
                    <a:pt x="7855" y="19868"/>
                    <a:pt x="7855" y="19970"/>
                  </a:cubicBezTo>
                  <a:cubicBezTo>
                    <a:pt x="8345" y="19970"/>
                    <a:pt x="7855" y="20174"/>
                    <a:pt x="7855" y="20174"/>
                  </a:cubicBezTo>
                  <a:cubicBezTo>
                    <a:pt x="7364" y="20275"/>
                    <a:pt x="8345" y="20275"/>
                    <a:pt x="7855" y="20377"/>
                  </a:cubicBezTo>
                  <a:cubicBezTo>
                    <a:pt x="7364" y="20581"/>
                    <a:pt x="8345" y="20479"/>
                    <a:pt x="8836" y="20581"/>
                  </a:cubicBezTo>
                  <a:cubicBezTo>
                    <a:pt x="10309" y="20581"/>
                    <a:pt x="11782" y="20785"/>
                    <a:pt x="10309" y="20989"/>
                  </a:cubicBezTo>
                  <a:cubicBezTo>
                    <a:pt x="9818" y="21091"/>
                    <a:pt x="8345" y="20989"/>
                    <a:pt x="7855" y="21091"/>
                  </a:cubicBezTo>
                  <a:cubicBezTo>
                    <a:pt x="7364" y="21294"/>
                    <a:pt x="8836" y="21192"/>
                    <a:pt x="9327" y="21294"/>
                  </a:cubicBezTo>
                  <a:cubicBezTo>
                    <a:pt x="8836" y="21294"/>
                    <a:pt x="8836" y="21294"/>
                    <a:pt x="8836" y="21294"/>
                  </a:cubicBezTo>
                  <a:cubicBezTo>
                    <a:pt x="8836" y="21294"/>
                    <a:pt x="10800" y="21600"/>
                    <a:pt x="11782" y="21396"/>
                  </a:cubicBezTo>
                  <a:cubicBezTo>
                    <a:pt x="12273" y="21192"/>
                    <a:pt x="11291" y="20989"/>
                    <a:pt x="12273" y="20785"/>
                  </a:cubicBezTo>
                  <a:cubicBezTo>
                    <a:pt x="12764" y="20581"/>
                    <a:pt x="14236" y="20581"/>
                    <a:pt x="14727" y="20581"/>
                  </a:cubicBezTo>
                  <a:cubicBezTo>
                    <a:pt x="17182" y="20275"/>
                    <a:pt x="13745" y="20275"/>
                    <a:pt x="12764" y="20275"/>
                  </a:cubicBezTo>
                  <a:cubicBezTo>
                    <a:pt x="11782" y="20275"/>
                    <a:pt x="10309" y="20275"/>
                    <a:pt x="9327" y="20174"/>
                  </a:cubicBezTo>
                  <a:cubicBezTo>
                    <a:pt x="8345" y="19970"/>
                    <a:pt x="8345" y="19970"/>
                    <a:pt x="8345" y="19562"/>
                  </a:cubicBezTo>
                  <a:cubicBezTo>
                    <a:pt x="8345" y="19155"/>
                    <a:pt x="7855" y="19460"/>
                    <a:pt x="6382" y="19257"/>
                  </a:cubicBezTo>
                  <a:cubicBezTo>
                    <a:pt x="5891" y="19257"/>
                    <a:pt x="5891" y="18951"/>
                    <a:pt x="5891" y="18849"/>
                  </a:cubicBezTo>
                  <a:cubicBezTo>
                    <a:pt x="5400" y="18645"/>
                    <a:pt x="5400" y="18340"/>
                    <a:pt x="6382" y="18238"/>
                  </a:cubicBezTo>
                  <a:cubicBezTo>
                    <a:pt x="6873" y="18136"/>
                    <a:pt x="6873" y="18136"/>
                    <a:pt x="7364" y="18034"/>
                  </a:cubicBezTo>
                  <a:cubicBezTo>
                    <a:pt x="7364" y="17932"/>
                    <a:pt x="7855" y="17830"/>
                    <a:pt x="8345" y="17830"/>
                  </a:cubicBezTo>
                  <a:cubicBezTo>
                    <a:pt x="8836" y="17728"/>
                    <a:pt x="7855" y="17423"/>
                    <a:pt x="8345" y="17219"/>
                  </a:cubicBezTo>
                  <a:cubicBezTo>
                    <a:pt x="8345" y="17117"/>
                    <a:pt x="9327" y="17015"/>
                    <a:pt x="9818" y="16811"/>
                  </a:cubicBezTo>
                  <a:cubicBezTo>
                    <a:pt x="9818" y="16608"/>
                    <a:pt x="9818" y="16302"/>
                    <a:pt x="10309" y="16098"/>
                  </a:cubicBezTo>
                  <a:cubicBezTo>
                    <a:pt x="10309" y="15894"/>
                    <a:pt x="11291" y="15894"/>
                    <a:pt x="10309" y="15691"/>
                  </a:cubicBezTo>
                  <a:cubicBezTo>
                    <a:pt x="9818" y="15589"/>
                    <a:pt x="8345" y="15589"/>
                    <a:pt x="10309" y="15487"/>
                  </a:cubicBezTo>
                  <a:cubicBezTo>
                    <a:pt x="12764" y="15385"/>
                    <a:pt x="9818" y="15385"/>
                    <a:pt x="9327" y="15181"/>
                  </a:cubicBezTo>
                  <a:cubicBezTo>
                    <a:pt x="9327" y="14875"/>
                    <a:pt x="9327" y="14468"/>
                    <a:pt x="9327" y="14264"/>
                  </a:cubicBezTo>
                  <a:cubicBezTo>
                    <a:pt x="9327" y="13857"/>
                    <a:pt x="9327" y="13347"/>
                    <a:pt x="9327" y="12940"/>
                  </a:cubicBezTo>
                  <a:cubicBezTo>
                    <a:pt x="9818" y="12634"/>
                    <a:pt x="10309" y="12125"/>
                    <a:pt x="11291" y="11921"/>
                  </a:cubicBezTo>
                  <a:cubicBezTo>
                    <a:pt x="12764" y="11615"/>
                    <a:pt x="11291" y="11106"/>
                    <a:pt x="11291" y="10800"/>
                  </a:cubicBezTo>
                  <a:cubicBezTo>
                    <a:pt x="11291" y="10596"/>
                    <a:pt x="11782" y="10494"/>
                    <a:pt x="12764" y="10392"/>
                  </a:cubicBezTo>
                  <a:cubicBezTo>
                    <a:pt x="13745" y="10189"/>
                    <a:pt x="13255" y="10087"/>
                    <a:pt x="13255" y="9781"/>
                  </a:cubicBezTo>
                  <a:cubicBezTo>
                    <a:pt x="13255" y="9374"/>
                    <a:pt x="14727" y="9068"/>
                    <a:pt x="14236" y="8660"/>
                  </a:cubicBezTo>
                  <a:cubicBezTo>
                    <a:pt x="14236" y="8355"/>
                    <a:pt x="13745" y="8049"/>
                    <a:pt x="13255" y="7743"/>
                  </a:cubicBezTo>
                  <a:cubicBezTo>
                    <a:pt x="13255" y="7642"/>
                    <a:pt x="12764" y="7540"/>
                    <a:pt x="13255" y="7438"/>
                  </a:cubicBezTo>
                  <a:cubicBezTo>
                    <a:pt x="13745" y="7336"/>
                    <a:pt x="14236" y="6928"/>
                    <a:pt x="14236" y="6826"/>
                  </a:cubicBezTo>
                  <a:cubicBezTo>
                    <a:pt x="14236" y="6725"/>
                    <a:pt x="13745" y="6521"/>
                    <a:pt x="14727" y="6317"/>
                  </a:cubicBezTo>
                  <a:cubicBezTo>
                    <a:pt x="15218" y="6215"/>
                    <a:pt x="14727" y="6011"/>
                    <a:pt x="15218" y="5909"/>
                  </a:cubicBezTo>
                  <a:cubicBezTo>
                    <a:pt x="15218" y="5706"/>
                    <a:pt x="16200" y="5604"/>
                    <a:pt x="16691" y="5502"/>
                  </a:cubicBezTo>
                  <a:cubicBezTo>
                    <a:pt x="16691" y="5400"/>
                    <a:pt x="18164" y="5094"/>
                    <a:pt x="18164" y="4992"/>
                  </a:cubicBezTo>
                  <a:cubicBezTo>
                    <a:pt x="18164" y="4891"/>
                    <a:pt x="17673" y="4687"/>
                    <a:pt x="17673" y="4483"/>
                  </a:cubicBezTo>
                  <a:cubicBezTo>
                    <a:pt x="17673" y="4279"/>
                    <a:pt x="17673" y="4177"/>
                    <a:pt x="17673" y="3974"/>
                  </a:cubicBezTo>
                  <a:cubicBezTo>
                    <a:pt x="17673" y="3668"/>
                    <a:pt x="18164" y="3668"/>
                    <a:pt x="19636" y="3566"/>
                  </a:cubicBezTo>
                  <a:cubicBezTo>
                    <a:pt x="21600" y="3464"/>
                    <a:pt x="21600" y="3260"/>
                    <a:pt x="21600" y="2853"/>
                  </a:cubicBezTo>
                  <a:cubicBezTo>
                    <a:pt x="21109" y="2955"/>
                    <a:pt x="20127" y="2955"/>
                    <a:pt x="19636" y="2853"/>
                  </a:cubicBezTo>
                  <a:cubicBezTo>
                    <a:pt x="19636" y="2853"/>
                    <a:pt x="19636" y="2955"/>
                    <a:pt x="19636" y="285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8" name="Shape 2047">
              <a:extLst>
                <a:ext uri="{FF2B5EF4-FFF2-40B4-BE49-F238E27FC236}">
                  <a16:creationId xmlns:a16="http://schemas.microsoft.com/office/drawing/2014/main" id="{238A9805-28DA-E19F-7EC3-3AAAD2CC1120}"/>
                </a:ext>
              </a:extLst>
            </p:cNvPr>
            <p:cNvSpPr/>
            <p:nvPr/>
          </p:nvSpPr>
          <p:spPr>
            <a:xfrm>
              <a:off x="3228276" y="4079446"/>
              <a:ext cx="397507" cy="445471"/>
            </a:xfrm>
            <a:custGeom>
              <a:avLst/>
              <a:gdLst/>
              <a:ahLst/>
              <a:cxnLst>
                <a:cxn ang="0">
                  <a:pos x="wd2" y="hd2"/>
                </a:cxn>
                <a:cxn ang="5400000">
                  <a:pos x="wd2" y="hd2"/>
                </a:cxn>
                <a:cxn ang="10800000">
                  <a:pos x="wd2" y="hd2"/>
                </a:cxn>
                <a:cxn ang="16200000">
                  <a:pos x="wd2" y="hd2"/>
                </a:cxn>
              </a:cxnLst>
              <a:rect l="0" t="0" r="r" b="b"/>
              <a:pathLst>
                <a:path w="20322" h="20880" extrusionOk="0">
                  <a:moveTo>
                    <a:pt x="19951" y="12464"/>
                  </a:moveTo>
                  <a:cubicBezTo>
                    <a:pt x="18601" y="11847"/>
                    <a:pt x="18939" y="11538"/>
                    <a:pt x="18939" y="10304"/>
                  </a:cubicBezTo>
                  <a:cubicBezTo>
                    <a:pt x="17926" y="10304"/>
                    <a:pt x="16914" y="10304"/>
                    <a:pt x="16239" y="10304"/>
                  </a:cubicBezTo>
                  <a:cubicBezTo>
                    <a:pt x="15564" y="10304"/>
                    <a:pt x="15901" y="9995"/>
                    <a:pt x="15901" y="9687"/>
                  </a:cubicBezTo>
                  <a:cubicBezTo>
                    <a:pt x="15901" y="9378"/>
                    <a:pt x="15564" y="8761"/>
                    <a:pt x="15226" y="8761"/>
                  </a:cubicBezTo>
                  <a:cubicBezTo>
                    <a:pt x="15226" y="8453"/>
                    <a:pt x="15564" y="8453"/>
                    <a:pt x="15564" y="8144"/>
                  </a:cubicBezTo>
                  <a:cubicBezTo>
                    <a:pt x="15901" y="7835"/>
                    <a:pt x="15564" y="7527"/>
                    <a:pt x="15226" y="7527"/>
                  </a:cubicBezTo>
                  <a:cubicBezTo>
                    <a:pt x="15226" y="7218"/>
                    <a:pt x="15564" y="6910"/>
                    <a:pt x="15226" y="6601"/>
                  </a:cubicBezTo>
                  <a:cubicBezTo>
                    <a:pt x="14551" y="5984"/>
                    <a:pt x="13876" y="5984"/>
                    <a:pt x="13201" y="5984"/>
                  </a:cubicBezTo>
                  <a:cubicBezTo>
                    <a:pt x="12864" y="5984"/>
                    <a:pt x="12189" y="5367"/>
                    <a:pt x="11851" y="5058"/>
                  </a:cubicBezTo>
                  <a:cubicBezTo>
                    <a:pt x="11176" y="5058"/>
                    <a:pt x="10839" y="4441"/>
                    <a:pt x="10501" y="4441"/>
                  </a:cubicBezTo>
                  <a:cubicBezTo>
                    <a:pt x="9826" y="4441"/>
                    <a:pt x="9489" y="4441"/>
                    <a:pt x="9152" y="4441"/>
                  </a:cubicBezTo>
                  <a:cubicBezTo>
                    <a:pt x="8476" y="4441"/>
                    <a:pt x="7127" y="2898"/>
                    <a:pt x="7127" y="2281"/>
                  </a:cubicBezTo>
                  <a:cubicBezTo>
                    <a:pt x="7127" y="1973"/>
                    <a:pt x="7127" y="1664"/>
                    <a:pt x="7127" y="1355"/>
                  </a:cubicBezTo>
                  <a:cubicBezTo>
                    <a:pt x="7127" y="1047"/>
                    <a:pt x="7127" y="1047"/>
                    <a:pt x="7127" y="738"/>
                  </a:cubicBezTo>
                  <a:cubicBezTo>
                    <a:pt x="7127" y="-496"/>
                    <a:pt x="6451" y="121"/>
                    <a:pt x="5439" y="430"/>
                  </a:cubicBezTo>
                  <a:cubicBezTo>
                    <a:pt x="4427" y="430"/>
                    <a:pt x="3752" y="1355"/>
                    <a:pt x="2739" y="1355"/>
                  </a:cubicBezTo>
                  <a:cubicBezTo>
                    <a:pt x="2064" y="1355"/>
                    <a:pt x="2064" y="1973"/>
                    <a:pt x="1727" y="2281"/>
                  </a:cubicBezTo>
                  <a:cubicBezTo>
                    <a:pt x="1389" y="2281"/>
                    <a:pt x="377" y="1973"/>
                    <a:pt x="39" y="1973"/>
                  </a:cubicBezTo>
                  <a:cubicBezTo>
                    <a:pt x="714" y="2281"/>
                    <a:pt x="1052" y="3824"/>
                    <a:pt x="1389" y="4441"/>
                  </a:cubicBezTo>
                  <a:cubicBezTo>
                    <a:pt x="714" y="4750"/>
                    <a:pt x="1052" y="5984"/>
                    <a:pt x="1052" y="6601"/>
                  </a:cubicBezTo>
                  <a:cubicBezTo>
                    <a:pt x="1052" y="7218"/>
                    <a:pt x="1052" y="7527"/>
                    <a:pt x="714" y="7835"/>
                  </a:cubicBezTo>
                  <a:cubicBezTo>
                    <a:pt x="377" y="8144"/>
                    <a:pt x="377" y="8761"/>
                    <a:pt x="377" y="9070"/>
                  </a:cubicBezTo>
                  <a:cubicBezTo>
                    <a:pt x="39" y="9687"/>
                    <a:pt x="1052" y="9687"/>
                    <a:pt x="1052" y="10304"/>
                  </a:cubicBezTo>
                  <a:cubicBezTo>
                    <a:pt x="1052" y="10613"/>
                    <a:pt x="377" y="10921"/>
                    <a:pt x="377" y="11230"/>
                  </a:cubicBezTo>
                  <a:cubicBezTo>
                    <a:pt x="-636" y="12155"/>
                    <a:pt x="714" y="12464"/>
                    <a:pt x="714" y="13698"/>
                  </a:cubicBezTo>
                  <a:cubicBezTo>
                    <a:pt x="714" y="14007"/>
                    <a:pt x="714" y="14315"/>
                    <a:pt x="714" y="14624"/>
                  </a:cubicBezTo>
                  <a:cubicBezTo>
                    <a:pt x="1052" y="14933"/>
                    <a:pt x="1389" y="15241"/>
                    <a:pt x="1727" y="15550"/>
                  </a:cubicBezTo>
                  <a:cubicBezTo>
                    <a:pt x="1727" y="15858"/>
                    <a:pt x="1052" y="15858"/>
                    <a:pt x="1727" y="16167"/>
                  </a:cubicBezTo>
                  <a:cubicBezTo>
                    <a:pt x="1727" y="16167"/>
                    <a:pt x="1389" y="16784"/>
                    <a:pt x="1389" y="16784"/>
                  </a:cubicBezTo>
                  <a:cubicBezTo>
                    <a:pt x="1389" y="17710"/>
                    <a:pt x="2402" y="18327"/>
                    <a:pt x="2402" y="18944"/>
                  </a:cubicBezTo>
                  <a:cubicBezTo>
                    <a:pt x="2739" y="19870"/>
                    <a:pt x="2064" y="20795"/>
                    <a:pt x="3752" y="20795"/>
                  </a:cubicBezTo>
                  <a:cubicBezTo>
                    <a:pt x="4089" y="21104"/>
                    <a:pt x="4089" y="20487"/>
                    <a:pt x="4089" y="20178"/>
                  </a:cubicBezTo>
                  <a:cubicBezTo>
                    <a:pt x="4089" y="19870"/>
                    <a:pt x="4764" y="19561"/>
                    <a:pt x="5102" y="19561"/>
                  </a:cubicBezTo>
                  <a:cubicBezTo>
                    <a:pt x="5439" y="19253"/>
                    <a:pt x="5777" y="18944"/>
                    <a:pt x="6114" y="19561"/>
                  </a:cubicBezTo>
                  <a:cubicBezTo>
                    <a:pt x="6789" y="19870"/>
                    <a:pt x="7464" y="19561"/>
                    <a:pt x="7801" y="19561"/>
                  </a:cubicBezTo>
                  <a:cubicBezTo>
                    <a:pt x="8476" y="19561"/>
                    <a:pt x="8476" y="20487"/>
                    <a:pt x="8814" y="20487"/>
                  </a:cubicBezTo>
                  <a:cubicBezTo>
                    <a:pt x="9152" y="20487"/>
                    <a:pt x="9489" y="19870"/>
                    <a:pt x="9826" y="19561"/>
                  </a:cubicBezTo>
                  <a:cubicBezTo>
                    <a:pt x="10164" y="18944"/>
                    <a:pt x="11514" y="19870"/>
                    <a:pt x="11851" y="19253"/>
                  </a:cubicBezTo>
                  <a:cubicBezTo>
                    <a:pt x="12526" y="17710"/>
                    <a:pt x="12189" y="16167"/>
                    <a:pt x="14214" y="15550"/>
                  </a:cubicBezTo>
                  <a:cubicBezTo>
                    <a:pt x="14889" y="15241"/>
                    <a:pt x="15901" y="15241"/>
                    <a:pt x="16914" y="15241"/>
                  </a:cubicBezTo>
                  <a:cubicBezTo>
                    <a:pt x="17926" y="15241"/>
                    <a:pt x="18601" y="15550"/>
                    <a:pt x="19276" y="16167"/>
                  </a:cubicBezTo>
                  <a:cubicBezTo>
                    <a:pt x="19614" y="15241"/>
                    <a:pt x="20964" y="12773"/>
                    <a:pt x="19951" y="12464"/>
                  </a:cubicBezTo>
                  <a:cubicBezTo>
                    <a:pt x="19614" y="12155"/>
                    <a:pt x="20289" y="12464"/>
                    <a:pt x="19951" y="1246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29" name="Shape 2048">
              <a:extLst>
                <a:ext uri="{FF2B5EF4-FFF2-40B4-BE49-F238E27FC236}">
                  <a16:creationId xmlns:a16="http://schemas.microsoft.com/office/drawing/2014/main" id="{FA61477D-9102-D69D-0D6C-3361ED8CDBF7}"/>
                </a:ext>
              </a:extLst>
            </p:cNvPr>
            <p:cNvSpPr/>
            <p:nvPr/>
          </p:nvSpPr>
          <p:spPr>
            <a:xfrm>
              <a:off x="3457926" y="4401109"/>
              <a:ext cx="276413" cy="288204"/>
            </a:xfrm>
            <a:custGeom>
              <a:avLst/>
              <a:gdLst/>
              <a:ahLst/>
              <a:cxnLst>
                <a:cxn ang="0">
                  <a:pos x="wd2" y="hd2"/>
                </a:cxn>
                <a:cxn ang="5400000">
                  <a:pos x="wd2" y="hd2"/>
                </a:cxn>
                <a:cxn ang="10800000">
                  <a:pos x="wd2" y="hd2"/>
                </a:cxn>
                <a:cxn ang="16200000">
                  <a:pos x="wd2" y="hd2"/>
                </a:cxn>
              </a:cxnLst>
              <a:rect l="0" t="0" r="r" b="b"/>
              <a:pathLst>
                <a:path w="20126" h="21302" extrusionOk="0">
                  <a:moveTo>
                    <a:pt x="18919" y="11484"/>
                  </a:moveTo>
                  <a:cubicBezTo>
                    <a:pt x="18439" y="11975"/>
                    <a:pt x="17479" y="12466"/>
                    <a:pt x="16999" y="11484"/>
                  </a:cubicBezTo>
                  <a:cubicBezTo>
                    <a:pt x="16519" y="10993"/>
                    <a:pt x="17479" y="10502"/>
                    <a:pt x="16999" y="9520"/>
                  </a:cubicBezTo>
                  <a:cubicBezTo>
                    <a:pt x="16519" y="9029"/>
                    <a:pt x="16519" y="8538"/>
                    <a:pt x="16039" y="8047"/>
                  </a:cubicBezTo>
                  <a:cubicBezTo>
                    <a:pt x="14599" y="7066"/>
                    <a:pt x="14599" y="8047"/>
                    <a:pt x="13639" y="7557"/>
                  </a:cubicBezTo>
                  <a:cubicBezTo>
                    <a:pt x="13159" y="7557"/>
                    <a:pt x="12679" y="7557"/>
                    <a:pt x="11719" y="7066"/>
                  </a:cubicBezTo>
                  <a:cubicBezTo>
                    <a:pt x="10759" y="7066"/>
                    <a:pt x="11239" y="6084"/>
                    <a:pt x="11719" y="5593"/>
                  </a:cubicBezTo>
                  <a:cubicBezTo>
                    <a:pt x="11719" y="4611"/>
                    <a:pt x="11239" y="3629"/>
                    <a:pt x="11239" y="3138"/>
                  </a:cubicBezTo>
                  <a:cubicBezTo>
                    <a:pt x="10759" y="1666"/>
                    <a:pt x="11239" y="1666"/>
                    <a:pt x="9799" y="1175"/>
                  </a:cubicBezTo>
                  <a:cubicBezTo>
                    <a:pt x="8839" y="193"/>
                    <a:pt x="8359" y="-298"/>
                    <a:pt x="6439" y="193"/>
                  </a:cubicBezTo>
                  <a:cubicBezTo>
                    <a:pt x="4999" y="193"/>
                    <a:pt x="3079" y="684"/>
                    <a:pt x="2119" y="1175"/>
                  </a:cubicBezTo>
                  <a:cubicBezTo>
                    <a:pt x="679" y="2647"/>
                    <a:pt x="1159" y="3629"/>
                    <a:pt x="679" y="5102"/>
                  </a:cubicBezTo>
                  <a:cubicBezTo>
                    <a:pt x="679" y="5593"/>
                    <a:pt x="199" y="6084"/>
                    <a:pt x="199" y="6575"/>
                  </a:cubicBezTo>
                  <a:cubicBezTo>
                    <a:pt x="-281" y="7066"/>
                    <a:pt x="199" y="7066"/>
                    <a:pt x="679" y="8047"/>
                  </a:cubicBezTo>
                  <a:cubicBezTo>
                    <a:pt x="1639" y="9520"/>
                    <a:pt x="2599" y="10011"/>
                    <a:pt x="4039" y="11484"/>
                  </a:cubicBezTo>
                  <a:cubicBezTo>
                    <a:pt x="4519" y="11975"/>
                    <a:pt x="5479" y="11975"/>
                    <a:pt x="5959" y="11975"/>
                  </a:cubicBezTo>
                  <a:cubicBezTo>
                    <a:pt x="6919" y="11975"/>
                    <a:pt x="7399" y="12466"/>
                    <a:pt x="7879" y="12957"/>
                  </a:cubicBezTo>
                  <a:cubicBezTo>
                    <a:pt x="8839" y="13447"/>
                    <a:pt x="12679" y="14920"/>
                    <a:pt x="11719" y="16884"/>
                  </a:cubicBezTo>
                  <a:cubicBezTo>
                    <a:pt x="11239" y="17375"/>
                    <a:pt x="10279" y="17866"/>
                    <a:pt x="10279" y="18847"/>
                  </a:cubicBezTo>
                  <a:cubicBezTo>
                    <a:pt x="10279" y="19829"/>
                    <a:pt x="10279" y="19829"/>
                    <a:pt x="9319" y="20320"/>
                  </a:cubicBezTo>
                  <a:cubicBezTo>
                    <a:pt x="8839" y="21302"/>
                    <a:pt x="12679" y="20811"/>
                    <a:pt x="13159" y="21302"/>
                  </a:cubicBezTo>
                  <a:cubicBezTo>
                    <a:pt x="14119" y="21302"/>
                    <a:pt x="14119" y="21302"/>
                    <a:pt x="15079" y="20811"/>
                  </a:cubicBezTo>
                  <a:cubicBezTo>
                    <a:pt x="15559" y="19829"/>
                    <a:pt x="16999" y="20811"/>
                    <a:pt x="17479" y="20320"/>
                  </a:cubicBezTo>
                  <a:cubicBezTo>
                    <a:pt x="17959" y="19829"/>
                    <a:pt x="18439" y="19338"/>
                    <a:pt x="18919" y="18847"/>
                  </a:cubicBezTo>
                  <a:cubicBezTo>
                    <a:pt x="19399" y="17866"/>
                    <a:pt x="18919" y="16884"/>
                    <a:pt x="19399" y="16393"/>
                  </a:cubicBezTo>
                  <a:cubicBezTo>
                    <a:pt x="19399" y="15411"/>
                    <a:pt x="21319" y="11484"/>
                    <a:pt x="18919" y="11484"/>
                  </a:cubicBezTo>
                  <a:cubicBezTo>
                    <a:pt x="18919" y="11975"/>
                    <a:pt x="19399" y="11484"/>
                    <a:pt x="18919" y="114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0" name="Shape 2049">
              <a:extLst>
                <a:ext uri="{FF2B5EF4-FFF2-40B4-BE49-F238E27FC236}">
                  <a16:creationId xmlns:a16="http://schemas.microsoft.com/office/drawing/2014/main" id="{7E233AC8-EE36-037D-8330-2B3DDBEC871B}"/>
                </a:ext>
              </a:extLst>
            </p:cNvPr>
            <p:cNvSpPr/>
            <p:nvPr/>
          </p:nvSpPr>
          <p:spPr>
            <a:xfrm>
              <a:off x="3086062" y="3590845"/>
              <a:ext cx="1289974" cy="1323269"/>
            </a:xfrm>
            <a:custGeom>
              <a:avLst/>
              <a:gdLst/>
              <a:ahLst/>
              <a:cxnLst>
                <a:cxn ang="0">
                  <a:pos x="wd2" y="hd2"/>
                </a:cxn>
                <a:cxn ang="5400000">
                  <a:pos x="wd2" y="hd2"/>
                </a:cxn>
                <a:cxn ang="10800000">
                  <a:pos x="wd2" y="hd2"/>
                </a:cxn>
                <a:cxn ang="16200000">
                  <a:pos x="wd2" y="hd2"/>
                </a:cxn>
              </a:cxnLst>
              <a:rect l="0" t="0" r="r" b="b"/>
              <a:pathLst>
                <a:path w="21266" h="21514" extrusionOk="0">
                  <a:moveTo>
                    <a:pt x="21153" y="6039"/>
                  </a:moveTo>
                  <a:cubicBezTo>
                    <a:pt x="21045" y="5824"/>
                    <a:pt x="21045" y="5610"/>
                    <a:pt x="20936" y="5502"/>
                  </a:cubicBezTo>
                  <a:cubicBezTo>
                    <a:pt x="20719" y="5395"/>
                    <a:pt x="20394" y="5502"/>
                    <a:pt x="20285" y="5395"/>
                  </a:cubicBezTo>
                  <a:cubicBezTo>
                    <a:pt x="19742" y="5287"/>
                    <a:pt x="19417" y="4857"/>
                    <a:pt x="19091" y="4642"/>
                  </a:cubicBezTo>
                  <a:cubicBezTo>
                    <a:pt x="18874" y="4535"/>
                    <a:pt x="18657" y="4427"/>
                    <a:pt x="18548" y="4320"/>
                  </a:cubicBezTo>
                  <a:cubicBezTo>
                    <a:pt x="18223" y="4213"/>
                    <a:pt x="18114" y="4320"/>
                    <a:pt x="17789" y="4320"/>
                  </a:cubicBezTo>
                  <a:cubicBezTo>
                    <a:pt x="17354" y="4427"/>
                    <a:pt x="16920" y="3890"/>
                    <a:pt x="16486" y="4105"/>
                  </a:cubicBezTo>
                  <a:cubicBezTo>
                    <a:pt x="16160" y="4213"/>
                    <a:pt x="15835" y="3675"/>
                    <a:pt x="15618" y="3568"/>
                  </a:cubicBezTo>
                  <a:cubicBezTo>
                    <a:pt x="15292" y="3353"/>
                    <a:pt x="14858" y="3138"/>
                    <a:pt x="14532" y="3138"/>
                  </a:cubicBezTo>
                  <a:cubicBezTo>
                    <a:pt x="14315" y="3030"/>
                    <a:pt x="14098" y="3030"/>
                    <a:pt x="13990" y="3138"/>
                  </a:cubicBezTo>
                  <a:cubicBezTo>
                    <a:pt x="13881" y="3460"/>
                    <a:pt x="13555" y="3568"/>
                    <a:pt x="13447" y="3783"/>
                  </a:cubicBezTo>
                  <a:cubicBezTo>
                    <a:pt x="13230" y="4105"/>
                    <a:pt x="13338" y="3998"/>
                    <a:pt x="13121" y="3783"/>
                  </a:cubicBezTo>
                  <a:cubicBezTo>
                    <a:pt x="13121" y="3783"/>
                    <a:pt x="13013" y="3675"/>
                    <a:pt x="13013" y="3675"/>
                  </a:cubicBezTo>
                  <a:cubicBezTo>
                    <a:pt x="12796" y="3568"/>
                    <a:pt x="12904" y="3783"/>
                    <a:pt x="12796" y="3890"/>
                  </a:cubicBezTo>
                  <a:cubicBezTo>
                    <a:pt x="12687" y="3998"/>
                    <a:pt x="12361" y="3030"/>
                    <a:pt x="12470" y="3030"/>
                  </a:cubicBezTo>
                  <a:cubicBezTo>
                    <a:pt x="12470" y="3030"/>
                    <a:pt x="12144" y="3460"/>
                    <a:pt x="12036" y="3460"/>
                  </a:cubicBezTo>
                  <a:cubicBezTo>
                    <a:pt x="12036" y="3460"/>
                    <a:pt x="12470" y="3138"/>
                    <a:pt x="12361" y="3030"/>
                  </a:cubicBezTo>
                  <a:cubicBezTo>
                    <a:pt x="12144" y="2923"/>
                    <a:pt x="12144" y="3460"/>
                    <a:pt x="11927" y="3460"/>
                  </a:cubicBezTo>
                  <a:cubicBezTo>
                    <a:pt x="11927" y="3460"/>
                    <a:pt x="12361" y="2815"/>
                    <a:pt x="12361" y="2708"/>
                  </a:cubicBezTo>
                  <a:cubicBezTo>
                    <a:pt x="12361" y="2601"/>
                    <a:pt x="12578" y="2601"/>
                    <a:pt x="12578" y="2493"/>
                  </a:cubicBezTo>
                  <a:cubicBezTo>
                    <a:pt x="12687" y="2386"/>
                    <a:pt x="12796" y="2601"/>
                    <a:pt x="12904" y="2386"/>
                  </a:cubicBezTo>
                  <a:cubicBezTo>
                    <a:pt x="13013" y="2278"/>
                    <a:pt x="12904" y="2278"/>
                    <a:pt x="12904" y="2063"/>
                  </a:cubicBezTo>
                  <a:cubicBezTo>
                    <a:pt x="13013" y="1956"/>
                    <a:pt x="13013" y="1741"/>
                    <a:pt x="12796" y="1633"/>
                  </a:cubicBezTo>
                  <a:cubicBezTo>
                    <a:pt x="12470" y="1526"/>
                    <a:pt x="12470" y="1096"/>
                    <a:pt x="12470" y="774"/>
                  </a:cubicBezTo>
                  <a:cubicBezTo>
                    <a:pt x="12470" y="666"/>
                    <a:pt x="12361" y="559"/>
                    <a:pt x="12253" y="451"/>
                  </a:cubicBezTo>
                  <a:cubicBezTo>
                    <a:pt x="12144" y="344"/>
                    <a:pt x="12036" y="666"/>
                    <a:pt x="11927" y="774"/>
                  </a:cubicBezTo>
                  <a:cubicBezTo>
                    <a:pt x="11819" y="1096"/>
                    <a:pt x="11602" y="1526"/>
                    <a:pt x="11276" y="1526"/>
                  </a:cubicBezTo>
                  <a:cubicBezTo>
                    <a:pt x="11167" y="1526"/>
                    <a:pt x="11059" y="1418"/>
                    <a:pt x="10842" y="1418"/>
                  </a:cubicBezTo>
                  <a:cubicBezTo>
                    <a:pt x="10733" y="1418"/>
                    <a:pt x="10625" y="1526"/>
                    <a:pt x="10516" y="1418"/>
                  </a:cubicBezTo>
                  <a:cubicBezTo>
                    <a:pt x="10299" y="1311"/>
                    <a:pt x="10191" y="1418"/>
                    <a:pt x="9973" y="1418"/>
                  </a:cubicBezTo>
                  <a:cubicBezTo>
                    <a:pt x="9756" y="1418"/>
                    <a:pt x="9865" y="1418"/>
                    <a:pt x="9756" y="1633"/>
                  </a:cubicBezTo>
                  <a:cubicBezTo>
                    <a:pt x="9648" y="1741"/>
                    <a:pt x="9105" y="1633"/>
                    <a:pt x="8997" y="1741"/>
                  </a:cubicBezTo>
                  <a:cubicBezTo>
                    <a:pt x="8780" y="1741"/>
                    <a:pt x="8454" y="1956"/>
                    <a:pt x="8237" y="1956"/>
                  </a:cubicBezTo>
                  <a:cubicBezTo>
                    <a:pt x="7911" y="1956"/>
                    <a:pt x="7694" y="1526"/>
                    <a:pt x="7694" y="1311"/>
                  </a:cubicBezTo>
                  <a:cubicBezTo>
                    <a:pt x="7477" y="989"/>
                    <a:pt x="7911" y="774"/>
                    <a:pt x="7803" y="451"/>
                  </a:cubicBezTo>
                  <a:cubicBezTo>
                    <a:pt x="7694" y="236"/>
                    <a:pt x="7586" y="-86"/>
                    <a:pt x="7368" y="21"/>
                  </a:cubicBezTo>
                  <a:cubicBezTo>
                    <a:pt x="7368" y="129"/>
                    <a:pt x="6609" y="451"/>
                    <a:pt x="6500" y="451"/>
                  </a:cubicBezTo>
                  <a:cubicBezTo>
                    <a:pt x="6392" y="451"/>
                    <a:pt x="6174" y="451"/>
                    <a:pt x="6174" y="559"/>
                  </a:cubicBezTo>
                  <a:cubicBezTo>
                    <a:pt x="6066" y="559"/>
                    <a:pt x="6066" y="881"/>
                    <a:pt x="5957" y="666"/>
                  </a:cubicBezTo>
                  <a:cubicBezTo>
                    <a:pt x="5849" y="559"/>
                    <a:pt x="4981" y="451"/>
                    <a:pt x="4981" y="559"/>
                  </a:cubicBezTo>
                  <a:cubicBezTo>
                    <a:pt x="4981" y="559"/>
                    <a:pt x="5198" y="666"/>
                    <a:pt x="5198" y="666"/>
                  </a:cubicBezTo>
                  <a:cubicBezTo>
                    <a:pt x="5306" y="774"/>
                    <a:pt x="5306" y="881"/>
                    <a:pt x="5306" y="1096"/>
                  </a:cubicBezTo>
                  <a:cubicBezTo>
                    <a:pt x="5415" y="1096"/>
                    <a:pt x="5415" y="1311"/>
                    <a:pt x="5523" y="1418"/>
                  </a:cubicBezTo>
                  <a:cubicBezTo>
                    <a:pt x="5523" y="1418"/>
                    <a:pt x="5740" y="1418"/>
                    <a:pt x="5740" y="1418"/>
                  </a:cubicBezTo>
                  <a:cubicBezTo>
                    <a:pt x="5740" y="1526"/>
                    <a:pt x="5523" y="1633"/>
                    <a:pt x="5415" y="1633"/>
                  </a:cubicBezTo>
                  <a:cubicBezTo>
                    <a:pt x="5306" y="1741"/>
                    <a:pt x="5306" y="1848"/>
                    <a:pt x="5198" y="1956"/>
                  </a:cubicBezTo>
                  <a:cubicBezTo>
                    <a:pt x="5198" y="1956"/>
                    <a:pt x="4655" y="2386"/>
                    <a:pt x="4546" y="2278"/>
                  </a:cubicBezTo>
                  <a:cubicBezTo>
                    <a:pt x="4546" y="2171"/>
                    <a:pt x="4438" y="2171"/>
                    <a:pt x="4329" y="2278"/>
                  </a:cubicBezTo>
                  <a:cubicBezTo>
                    <a:pt x="4221" y="2386"/>
                    <a:pt x="4004" y="2171"/>
                    <a:pt x="4004" y="2171"/>
                  </a:cubicBezTo>
                  <a:cubicBezTo>
                    <a:pt x="3787" y="2063"/>
                    <a:pt x="3678" y="1633"/>
                    <a:pt x="3569" y="1633"/>
                  </a:cubicBezTo>
                  <a:cubicBezTo>
                    <a:pt x="3352" y="1526"/>
                    <a:pt x="3027" y="1848"/>
                    <a:pt x="2810" y="1848"/>
                  </a:cubicBezTo>
                  <a:cubicBezTo>
                    <a:pt x="2593" y="1848"/>
                    <a:pt x="2375" y="1848"/>
                    <a:pt x="2158" y="1848"/>
                  </a:cubicBezTo>
                  <a:cubicBezTo>
                    <a:pt x="2158" y="1848"/>
                    <a:pt x="2158" y="2063"/>
                    <a:pt x="2267" y="2063"/>
                  </a:cubicBezTo>
                  <a:cubicBezTo>
                    <a:pt x="2267" y="2171"/>
                    <a:pt x="2484" y="2171"/>
                    <a:pt x="2593" y="2171"/>
                  </a:cubicBezTo>
                  <a:cubicBezTo>
                    <a:pt x="2593" y="2278"/>
                    <a:pt x="2158" y="2386"/>
                    <a:pt x="2050" y="2386"/>
                  </a:cubicBezTo>
                  <a:cubicBezTo>
                    <a:pt x="1941" y="2493"/>
                    <a:pt x="2158" y="2815"/>
                    <a:pt x="2267" y="2923"/>
                  </a:cubicBezTo>
                  <a:cubicBezTo>
                    <a:pt x="2484" y="3353"/>
                    <a:pt x="2484" y="3675"/>
                    <a:pt x="2267" y="4105"/>
                  </a:cubicBezTo>
                  <a:cubicBezTo>
                    <a:pt x="2267" y="4320"/>
                    <a:pt x="2267" y="4965"/>
                    <a:pt x="2050" y="4965"/>
                  </a:cubicBezTo>
                  <a:cubicBezTo>
                    <a:pt x="1941" y="5072"/>
                    <a:pt x="1724" y="4965"/>
                    <a:pt x="1507" y="5072"/>
                  </a:cubicBezTo>
                  <a:cubicBezTo>
                    <a:pt x="1399" y="5180"/>
                    <a:pt x="1073" y="5180"/>
                    <a:pt x="964" y="5180"/>
                  </a:cubicBezTo>
                  <a:cubicBezTo>
                    <a:pt x="422" y="5395"/>
                    <a:pt x="422" y="5610"/>
                    <a:pt x="422" y="6039"/>
                  </a:cubicBezTo>
                  <a:cubicBezTo>
                    <a:pt x="422" y="6254"/>
                    <a:pt x="96" y="6254"/>
                    <a:pt x="96" y="6362"/>
                  </a:cubicBezTo>
                  <a:cubicBezTo>
                    <a:pt x="96" y="6684"/>
                    <a:pt x="-121" y="6792"/>
                    <a:pt x="96" y="7007"/>
                  </a:cubicBezTo>
                  <a:cubicBezTo>
                    <a:pt x="313" y="7221"/>
                    <a:pt x="313" y="7436"/>
                    <a:pt x="422" y="7651"/>
                  </a:cubicBezTo>
                  <a:cubicBezTo>
                    <a:pt x="422" y="7759"/>
                    <a:pt x="530" y="7759"/>
                    <a:pt x="639" y="7759"/>
                  </a:cubicBezTo>
                  <a:cubicBezTo>
                    <a:pt x="747" y="7759"/>
                    <a:pt x="747" y="7866"/>
                    <a:pt x="856" y="7974"/>
                  </a:cubicBezTo>
                  <a:cubicBezTo>
                    <a:pt x="1073" y="8296"/>
                    <a:pt x="1616" y="7974"/>
                    <a:pt x="1833" y="7759"/>
                  </a:cubicBezTo>
                  <a:cubicBezTo>
                    <a:pt x="1833" y="8081"/>
                    <a:pt x="1616" y="8618"/>
                    <a:pt x="1941" y="8726"/>
                  </a:cubicBezTo>
                  <a:cubicBezTo>
                    <a:pt x="2050" y="8726"/>
                    <a:pt x="2375" y="8618"/>
                    <a:pt x="2484" y="8618"/>
                  </a:cubicBezTo>
                  <a:cubicBezTo>
                    <a:pt x="2810" y="8726"/>
                    <a:pt x="2918" y="8726"/>
                    <a:pt x="3135" y="8511"/>
                  </a:cubicBezTo>
                  <a:cubicBezTo>
                    <a:pt x="3135" y="8404"/>
                    <a:pt x="3352" y="8404"/>
                    <a:pt x="3461" y="8404"/>
                  </a:cubicBezTo>
                  <a:cubicBezTo>
                    <a:pt x="3678" y="8189"/>
                    <a:pt x="3895" y="8081"/>
                    <a:pt x="4112" y="8081"/>
                  </a:cubicBezTo>
                  <a:cubicBezTo>
                    <a:pt x="4329" y="7974"/>
                    <a:pt x="4872" y="7759"/>
                    <a:pt x="4655" y="8189"/>
                  </a:cubicBezTo>
                  <a:cubicBezTo>
                    <a:pt x="4655" y="8404"/>
                    <a:pt x="4546" y="8618"/>
                    <a:pt x="4655" y="8833"/>
                  </a:cubicBezTo>
                  <a:cubicBezTo>
                    <a:pt x="4763" y="9048"/>
                    <a:pt x="4981" y="9263"/>
                    <a:pt x="5198" y="9371"/>
                  </a:cubicBezTo>
                  <a:cubicBezTo>
                    <a:pt x="5415" y="9586"/>
                    <a:pt x="5740" y="9478"/>
                    <a:pt x="5957" y="9586"/>
                  </a:cubicBezTo>
                  <a:cubicBezTo>
                    <a:pt x="6066" y="9693"/>
                    <a:pt x="6174" y="9801"/>
                    <a:pt x="6283" y="9801"/>
                  </a:cubicBezTo>
                  <a:cubicBezTo>
                    <a:pt x="6392" y="9801"/>
                    <a:pt x="6500" y="9908"/>
                    <a:pt x="6500" y="10015"/>
                  </a:cubicBezTo>
                  <a:cubicBezTo>
                    <a:pt x="6717" y="10015"/>
                    <a:pt x="7260" y="9908"/>
                    <a:pt x="7260" y="10230"/>
                  </a:cubicBezTo>
                  <a:cubicBezTo>
                    <a:pt x="7368" y="10445"/>
                    <a:pt x="7260" y="10445"/>
                    <a:pt x="7368" y="10660"/>
                  </a:cubicBezTo>
                  <a:cubicBezTo>
                    <a:pt x="7477" y="10768"/>
                    <a:pt x="7368" y="10768"/>
                    <a:pt x="7260" y="10875"/>
                  </a:cubicBezTo>
                  <a:cubicBezTo>
                    <a:pt x="7260" y="10875"/>
                    <a:pt x="7477" y="11413"/>
                    <a:pt x="7477" y="11520"/>
                  </a:cubicBezTo>
                  <a:cubicBezTo>
                    <a:pt x="7477" y="11627"/>
                    <a:pt x="8345" y="11520"/>
                    <a:pt x="8454" y="11520"/>
                  </a:cubicBezTo>
                  <a:cubicBezTo>
                    <a:pt x="8454" y="11735"/>
                    <a:pt x="8345" y="12057"/>
                    <a:pt x="8562" y="12165"/>
                  </a:cubicBezTo>
                  <a:cubicBezTo>
                    <a:pt x="8888" y="12380"/>
                    <a:pt x="8888" y="12595"/>
                    <a:pt x="8780" y="13024"/>
                  </a:cubicBezTo>
                  <a:cubicBezTo>
                    <a:pt x="8671" y="13239"/>
                    <a:pt x="8562" y="13562"/>
                    <a:pt x="8671" y="13884"/>
                  </a:cubicBezTo>
                  <a:cubicBezTo>
                    <a:pt x="8671" y="13992"/>
                    <a:pt x="8780" y="14207"/>
                    <a:pt x="8780" y="14421"/>
                  </a:cubicBezTo>
                  <a:cubicBezTo>
                    <a:pt x="8780" y="14529"/>
                    <a:pt x="8562" y="14744"/>
                    <a:pt x="8780" y="14744"/>
                  </a:cubicBezTo>
                  <a:cubicBezTo>
                    <a:pt x="8888" y="14851"/>
                    <a:pt x="9214" y="14959"/>
                    <a:pt x="9431" y="14851"/>
                  </a:cubicBezTo>
                  <a:cubicBezTo>
                    <a:pt x="9648" y="14636"/>
                    <a:pt x="10082" y="15389"/>
                    <a:pt x="9973" y="15496"/>
                  </a:cubicBezTo>
                  <a:cubicBezTo>
                    <a:pt x="9973" y="15604"/>
                    <a:pt x="9973" y="15711"/>
                    <a:pt x="10082" y="15818"/>
                  </a:cubicBezTo>
                  <a:cubicBezTo>
                    <a:pt x="10191" y="15926"/>
                    <a:pt x="10408" y="15711"/>
                    <a:pt x="10516" y="15818"/>
                  </a:cubicBezTo>
                  <a:cubicBezTo>
                    <a:pt x="10950" y="16033"/>
                    <a:pt x="10516" y="16463"/>
                    <a:pt x="10516" y="16786"/>
                  </a:cubicBezTo>
                  <a:cubicBezTo>
                    <a:pt x="10733" y="16463"/>
                    <a:pt x="10950" y="17108"/>
                    <a:pt x="10950" y="17108"/>
                  </a:cubicBezTo>
                  <a:cubicBezTo>
                    <a:pt x="11059" y="17538"/>
                    <a:pt x="10842" y="17645"/>
                    <a:pt x="10516" y="17753"/>
                  </a:cubicBezTo>
                  <a:cubicBezTo>
                    <a:pt x="10082" y="17968"/>
                    <a:pt x="9865" y="18183"/>
                    <a:pt x="9648" y="18505"/>
                  </a:cubicBezTo>
                  <a:cubicBezTo>
                    <a:pt x="9539" y="18720"/>
                    <a:pt x="9431" y="18827"/>
                    <a:pt x="9214" y="18935"/>
                  </a:cubicBezTo>
                  <a:cubicBezTo>
                    <a:pt x="9105" y="19150"/>
                    <a:pt x="8888" y="19257"/>
                    <a:pt x="8671" y="19472"/>
                  </a:cubicBezTo>
                  <a:cubicBezTo>
                    <a:pt x="8888" y="19472"/>
                    <a:pt x="9105" y="19365"/>
                    <a:pt x="9214" y="19365"/>
                  </a:cubicBezTo>
                  <a:cubicBezTo>
                    <a:pt x="9322" y="19365"/>
                    <a:pt x="9431" y="19580"/>
                    <a:pt x="9539" y="19580"/>
                  </a:cubicBezTo>
                  <a:cubicBezTo>
                    <a:pt x="9539" y="19687"/>
                    <a:pt x="9648" y="19795"/>
                    <a:pt x="9756" y="19902"/>
                  </a:cubicBezTo>
                  <a:cubicBezTo>
                    <a:pt x="9865" y="20010"/>
                    <a:pt x="9973" y="19902"/>
                    <a:pt x="10082" y="20010"/>
                  </a:cubicBezTo>
                  <a:cubicBezTo>
                    <a:pt x="10299" y="20224"/>
                    <a:pt x="10733" y="20332"/>
                    <a:pt x="10842" y="20654"/>
                  </a:cubicBezTo>
                  <a:cubicBezTo>
                    <a:pt x="10950" y="20869"/>
                    <a:pt x="11059" y="21299"/>
                    <a:pt x="11167" y="21514"/>
                  </a:cubicBezTo>
                  <a:cubicBezTo>
                    <a:pt x="11276" y="21407"/>
                    <a:pt x="11385" y="21299"/>
                    <a:pt x="11493" y="21084"/>
                  </a:cubicBezTo>
                  <a:cubicBezTo>
                    <a:pt x="11493" y="20977"/>
                    <a:pt x="11602" y="20762"/>
                    <a:pt x="11710" y="20654"/>
                  </a:cubicBezTo>
                  <a:cubicBezTo>
                    <a:pt x="11819" y="20332"/>
                    <a:pt x="12144" y="20224"/>
                    <a:pt x="12470" y="20010"/>
                  </a:cubicBezTo>
                  <a:cubicBezTo>
                    <a:pt x="12687" y="19795"/>
                    <a:pt x="12687" y="19580"/>
                    <a:pt x="12796" y="19257"/>
                  </a:cubicBezTo>
                  <a:cubicBezTo>
                    <a:pt x="13013" y="18827"/>
                    <a:pt x="13338" y="18720"/>
                    <a:pt x="13555" y="18398"/>
                  </a:cubicBezTo>
                  <a:cubicBezTo>
                    <a:pt x="13881" y="18075"/>
                    <a:pt x="13555" y="17645"/>
                    <a:pt x="13664" y="17215"/>
                  </a:cubicBezTo>
                  <a:cubicBezTo>
                    <a:pt x="13772" y="17108"/>
                    <a:pt x="13772" y="17001"/>
                    <a:pt x="13772" y="16786"/>
                  </a:cubicBezTo>
                  <a:cubicBezTo>
                    <a:pt x="13772" y="16678"/>
                    <a:pt x="13772" y="16678"/>
                    <a:pt x="13881" y="16678"/>
                  </a:cubicBezTo>
                  <a:cubicBezTo>
                    <a:pt x="14098" y="16571"/>
                    <a:pt x="14207" y="16356"/>
                    <a:pt x="14315" y="16248"/>
                  </a:cubicBezTo>
                  <a:cubicBezTo>
                    <a:pt x="14424" y="16141"/>
                    <a:pt x="14532" y="16033"/>
                    <a:pt x="14749" y="15926"/>
                  </a:cubicBezTo>
                  <a:cubicBezTo>
                    <a:pt x="14858" y="15926"/>
                    <a:pt x="14966" y="15818"/>
                    <a:pt x="15184" y="15711"/>
                  </a:cubicBezTo>
                  <a:cubicBezTo>
                    <a:pt x="15292" y="15711"/>
                    <a:pt x="15401" y="15818"/>
                    <a:pt x="15509" y="15818"/>
                  </a:cubicBezTo>
                  <a:cubicBezTo>
                    <a:pt x="15618" y="15818"/>
                    <a:pt x="15509" y="15711"/>
                    <a:pt x="15509" y="15711"/>
                  </a:cubicBezTo>
                  <a:cubicBezTo>
                    <a:pt x="15401" y="15604"/>
                    <a:pt x="15835" y="15496"/>
                    <a:pt x="15835" y="15496"/>
                  </a:cubicBezTo>
                  <a:cubicBezTo>
                    <a:pt x="15835" y="15496"/>
                    <a:pt x="16052" y="15174"/>
                    <a:pt x="16052" y="15281"/>
                  </a:cubicBezTo>
                  <a:cubicBezTo>
                    <a:pt x="16160" y="15389"/>
                    <a:pt x="16703" y="15174"/>
                    <a:pt x="16703" y="15174"/>
                  </a:cubicBezTo>
                  <a:cubicBezTo>
                    <a:pt x="16812" y="15174"/>
                    <a:pt x="16703" y="15281"/>
                    <a:pt x="16812" y="15281"/>
                  </a:cubicBezTo>
                  <a:cubicBezTo>
                    <a:pt x="16920" y="15281"/>
                    <a:pt x="17246" y="15281"/>
                    <a:pt x="17354" y="15174"/>
                  </a:cubicBezTo>
                  <a:cubicBezTo>
                    <a:pt x="17463" y="15066"/>
                    <a:pt x="17463" y="14959"/>
                    <a:pt x="17571" y="14851"/>
                  </a:cubicBezTo>
                  <a:cubicBezTo>
                    <a:pt x="17680" y="14851"/>
                    <a:pt x="17789" y="14744"/>
                    <a:pt x="17789" y="14636"/>
                  </a:cubicBezTo>
                  <a:cubicBezTo>
                    <a:pt x="17897" y="14529"/>
                    <a:pt x="17789" y="14314"/>
                    <a:pt x="17897" y="14207"/>
                  </a:cubicBezTo>
                  <a:cubicBezTo>
                    <a:pt x="18006" y="14099"/>
                    <a:pt x="18114" y="13992"/>
                    <a:pt x="18223" y="13884"/>
                  </a:cubicBezTo>
                  <a:cubicBezTo>
                    <a:pt x="18440" y="13562"/>
                    <a:pt x="18548" y="13454"/>
                    <a:pt x="18548" y="13132"/>
                  </a:cubicBezTo>
                  <a:cubicBezTo>
                    <a:pt x="18548" y="12917"/>
                    <a:pt x="18548" y="12810"/>
                    <a:pt x="18657" y="12595"/>
                  </a:cubicBezTo>
                  <a:cubicBezTo>
                    <a:pt x="18657" y="12487"/>
                    <a:pt x="18765" y="12487"/>
                    <a:pt x="18874" y="12380"/>
                  </a:cubicBezTo>
                  <a:cubicBezTo>
                    <a:pt x="18983" y="12272"/>
                    <a:pt x="18874" y="12057"/>
                    <a:pt x="18874" y="11950"/>
                  </a:cubicBezTo>
                  <a:cubicBezTo>
                    <a:pt x="18874" y="11735"/>
                    <a:pt x="18983" y="11627"/>
                    <a:pt x="18983" y="11413"/>
                  </a:cubicBezTo>
                  <a:cubicBezTo>
                    <a:pt x="19091" y="11090"/>
                    <a:pt x="18983" y="10768"/>
                    <a:pt x="18983" y="10445"/>
                  </a:cubicBezTo>
                  <a:cubicBezTo>
                    <a:pt x="18983" y="10230"/>
                    <a:pt x="18874" y="10015"/>
                    <a:pt x="18983" y="9908"/>
                  </a:cubicBezTo>
                  <a:cubicBezTo>
                    <a:pt x="19091" y="9693"/>
                    <a:pt x="18983" y="9801"/>
                    <a:pt x="18983" y="9586"/>
                  </a:cubicBezTo>
                  <a:cubicBezTo>
                    <a:pt x="18983" y="9586"/>
                    <a:pt x="19200" y="9693"/>
                    <a:pt x="19200" y="9693"/>
                  </a:cubicBezTo>
                  <a:cubicBezTo>
                    <a:pt x="19200" y="9693"/>
                    <a:pt x="19200" y="9586"/>
                    <a:pt x="19200" y="9586"/>
                  </a:cubicBezTo>
                  <a:cubicBezTo>
                    <a:pt x="19200" y="9586"/>
                    <a:pt x="19308" y="9586"/>
                    <a:pt x="19308" y="9586"/>
                  </a:cubicBezTo>
                  <a:cubicBezTo>
                    <a:pt x="19525" y="9586"/>
                    <a:pt x="19634" y="9263"/>
                    <a:pt x="19634" y="9156"/>
                  </a:cubicBezTo>
                  <a:cubicBezTo>
                    <a:pt x="19742" y="9048"/>
                    <a:pt x="19851" y="8833"/>
                    <a:pt x="19959" y="8618"/>
                  </a:cubicBezTo>
                  <a:cubicBezTo>
                    <a:pt x="20176" y="8404"/>
                    <a:pt x="20394" y="8404"/>
                    <a:pt x="20502" y="8189"/>
                  </a:cubicBezTo>
                  <a:cubicBezTo>
                    <a:pt x="21045" y="7544"/>
                    <a:pt x="21479" y="6792"/>
                    <a:pt x="21153" y="6039"/>
                  </a:cubicBezTo>
                  <a:cubicBezTo>
                    <a:pt x="20936" y="5610"/>
                    <a:pt x="21370" y="6362"/>
                    <a:pt x="21153" y="6039"/>
                  </a:cubicBezTo>
                  <a:close/>
                  <a:moveTo>
                    <a:pt x="12361" y="19902"/>
                  </a:moveTo>
                  <a:cubicBezTo>
                    <a:pt x="12144" y="20010"/>
                    <a:pt x="12036" y="20224"/>
                    <a:pt x="11819" y="20332"/>
                  </a:cubicBezTo>
                  <a:cubicBezTo>
                    <a:pt x="11493" y="20439"/>
                    <a:pt x="12036" y="20117"/>
                    <a:pt x="12036" y="20010"/>
                  </a:cubicBezTo>
                  <a:cubicBezTo>
                    <a:pt x="12144" y="19902"/>
                    <a:pt x="12253" y="19687"/>
                    <a:pt x="12470" y="19472"/>
                  </a:cubicBezTo>
                  <a:cubicBezTo>
                    <a:pt x="12687" y="19257"/>
                    <a:pt x="12578" y="19687"/>
                    <a:pt x="12361" y="19902"/>
                  </a:cubicBezTo>
                  <a:cubicBezTo>
                    <a:pt x="12361" y="19902"/>
                    <a:pt x="12470" y="19795"/>
                    <a:pt x="12361" y="19902"/>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1" name="Shape 2050">
              <a:extLst>
                <a:ext uri="{FF2B5EF4-FFF2-40B4-BE49-F238E27FC236}">
                  <a16:creationId xmlns:a16="http://schemas.microsoft.com/office/drawing/2014/main" id="{761D57BF-28AC-5895-55C5-46BAA0256508}"/>
                </a:ext>
              </a:extLst>
            </p:cNvPr>
            <p:cNvSpPr/>
            <p:nvPr/>
          </p:nvSpPr>
          <p:spPr>
            <a:xfrm>
              <a:off x="3588916" y="4781320"/>
              <a:ext cx="171293" cy="177753"/>
            </a:xfrm>
            <a:custGeom>
              <a:avLst/>
              <a:gdLst/>
              <a:ahLst/>
              <a:cxnLst>
                <a:cxn ang="0">
                  <a:pos x="wd2" y="hd2"/>
                </a:cxn>
                <a:cxn ang="5400000">
                  <a:pos x="wd2" y="hd2"/>
                </a:cxn>
                <a:cxn ang="10800000">
                  <a:pos x="wd2" y="hd2"/>
                </a:cxn>
                <a:cxn ang="16200000">
                  <a:pos x="wd2" y="hd2"/>
                </a:cxn>
              </a:cxnLst>
              <a:rect l="0" t="0" r="r" b="b"/>
              <a:pathLst>
                <a:path w="20839" h="20829" extrusionOk="0">
                  <a:moveTo>
                    <a:pt x="16525" y="6943"/>
                  </a:moveTo>
                  <a:cubicBezTo>
                    <a:pt x="15725" y="5400"/>
                    <a:pt x="14125" y="5400"/>
                    <a:pt x="13325" y="4629"/>
                  </a:cubicBezTo>
                  <a:cubicBezTo>
                    <a:pt x="12525" y="3858"/>
                    <a:pt x="11725" y="4629"/>
                    <a:pt x="10925" y="3858"/>
                  </a:cubicBezTo>
                  <a:cubicBezTo>
                    <a:pt x="10125" y="3086"/>
                    <a:pt x="9325" y="2315"/>
                    <a:pt x="8525" y="1543"/>
                  </a:cubicBezTo>
                  <a:cubicBezTo>
                    <a:pt x="7725" y="-771"/>
                    <a:pt x="6925" y="0"/>
                    <a:pt x="4525" y="772"/>
                  </a:cubicBezTo>
                  <a:cubicBezTo>
                    <a:pt x="3725" y="772"/>
                    <a:pt x="3725" y="0"/>
                    <a:pt x="2925" y="1543"/>
                  </a:cubicBezTo>
                  <a:cubicBezTo>
                    <a:pt x="2125" y="2315"/>
                    <a:pt x="2125" y="3086"/>
                    <a:pt x="2125" y="3858"/>
                  </a:cubicBezTo>
                  <a:cubicBezTo>
                    <a:pt x="2125" y="5400"/>
                    <a:pt x="2125" y="6943"/>
                    <a:pt x="2125" y="8486"/>
                  </a:cubicBezTo>
                  <a:cubicBezTo>
                    <a:pt x="2125" y="9258"/>
                    <a:pt x="2125" y="10800"/>
                    <a:pt x="1325" y="12343"/>
                  </a:cubicBezTo>
                  <a:cubicBezTo>
                    <a:pt x="-275" y="13886"/>
                    <a:pt x="-275" y="13886"/>
                    <a:pt x="525" y="16200"/>
                  </a:cubicBezTo>
                  <a:cubicBezTo>
                    <a:pt x="1325" y="17743"/>
                    <a:pt x="1325" y="17743"/>
                    <a:pt x="2925" y="18515"/>
                  </a:cubicBezTo>
                  <a:cubicBezTo>
                    <a:pt x="4525" y="18515"/>
                    <a:pt x="6125" y="18515"/>
                    <a:pt x="6925" y="19286"/>
                  </a:cubicBezTo>
                  <a:cubicBezTo>
                    <a:pt x="7725" y="19286"/>
                    <a:pt x="9325" y="20829"/>
                    <a:pt x="10125" y="20829"/>
                  </a:cubicBezTo>
                  <a:cubicBezTo>
                    <a:pt x="11725" y="20058"/>
                    <a:pt x="13325" y="20829"/>
                    <a:pt x="14925" y="20829"/>
                  </a:cubicBezTo>
                  <a:cubicBezTo>
                    <a:pt x="15725" y="20829"/>
                    <a:pt x="18125" y="19286"/>
                    <a:pt x="18925" y="18515"/>
                  </a:cubicBezTo>
                  <a:cubicBezTo>
                    <a:pt x="20525" y="16972"/>
                    <a:pt x="21325" y="15429"/>
                    <a:pt x="20525" y="13886"/>
                  </a:cubicBezTo>
                  <a:cubicBezTo>
                    <a:pt x="19725" y="12343"/>
                    <a:pt x="19725" y="11572"/>
                    <a:pt x="18925" y="10029"/>
                  </a:cubicBezTo>
                  <a:cubicBezTo>
                    <a:pt x="18925" y="8486"/>
                    <a:pt x="18125" y="7715"/>
                    <a:pt x="16525" y="6943"/>
                  </a:cubicBezTo>
                  <a:cubicBezTo>
                    <a:pt x="15725" y="6172"/>
                    <a:pt x="17325" y="6943"/>
                    <a:pt x="16525" y="694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2" name="Shape 2051">
              <a:extLst>
                <a:ext uri="{FF2B5EF4-FFF2-40B4-BE49-F238E27FC236}">
                  <a16:creationId xmlns:a16="http://schemas.microsoft.com/office/drawing/2014/main" id="{42680177-B0F0-DEBB-7116-50082B1B2248}"/>
                </a:ext>
              </a:extLst>
            </p:cNvPr>
            <p:cNvSpPr/>
            <p:nvPr/>
          </p:nvSpPr>
          <p:spPr>
            <a:xfrm>
              <a:off x="3093193" y="4489492"/>
              <a:ext cx="660411" cy="1175451"/>
            </a:xfrm>
            <a:custGeom>
              <a:avLst/>
              <a:gdLst/>
              <a:ahLst/>
              <a:cxnLst>
                <a:cxn ang="0">
                  <a:pos x="wd2" y="hd2"/>
                </a:cxn>
                <a:cxn ang="5400000">
                  <a:pos x="wd2" y="hd2"/>
                </a:cxn>
                <a:cxn ang="10800000">
                  <a:pos x="wd2" y="hd2"/>
                </a:cxn>
                <a:cxn ang="16200000">
                  <a:pos x="wd2" y="hd2"/>
                </a:cxn>
              </a:cxnLst>
              <a:rect l="0" t="0" r="r" b="b"/>
              <a:pathLst>
                <a:path w="21017" h="21513" extrusionOk="0">
                  <a:moveTo>
                    <a:pt x="15897" y="7395"/>
                  </a:moveTo>
                  <a:cubicBezTo>
                    <a:pt x="16526" y="7033"/>
                    <a:pt x="16107" y="6671"/>
                    <a:pt x="16317" y="6188"/>
                  </a:cubicBezTo>
                  <a:cubicBezTo>
                    <a:pt x="16317" y="6067"/>
                    <a:pt x="16317" y="5826"/>
                    <a:pt x="16317" y="5705"/>
                  </a:cubicBezTo>
                  <a:cubicBezTo>
                    <a:pt x="16526" y="5343"/>
                    <a:pt x="16946" y="5222"/>
                    <a:pt x="17365" y="4981"/>
                  </a:cubicBezTo>
                  <a:cubicBezTo>
                    <a:pt x="18204" y="4619"/>
                    <a:pt x="18623" y="4016"/>
                    <a:pt x="19462" y="3654"/>
                  </a:cubicBezTo>
                  <a:cubicBezTo>
                    <a:pt x="19882" y="3533"/>
                    <a:pt x="20511" y="3533"/>
                    <a:pt x="20930" y="3412"/>
                  </a:cubicBezTo>
                  <a:cubicBezTo>
                    <a:pt x="21140" y="3171"/>
                    <a:pt x="20930" y="2809"/>
                    <a:pt x="20721" y="2688"/>
                  </a:cubicBezTo>
                  <a:cubicBezTo>
                    <a:pt x="20511" y="2447"/>
                    <a:pt x="20721" y="2447"/>
                    <a:pt x="20301" y="2447"/>
                  </a:cubicBezTo>
                  <a:cubicBezTo>
                    <a:pt x="19882" y="2326"/>
                    <a:pt x="20091" y="2809"/>
                    <a:pt x="19882" y="2930"/>
                  </a:cubicBezTo>
                  <a:cubicBezTo>
                    <a:pt x="19672" y="3050"/>
                    <a:pt x="19462" y="3292"/>
                    <a:pt x="19253" y="3412"/>
                  </a:cubicBezTo>
                  <a:cubicBezTo>
                    <a:pt x="19043" y="3533"/>
                    <a:pt x="18414" y="3412"/>
                    <a:pt x="17994" y="3533"/>
                  </a:cubicBezTo>
                  <a:cubicBezTo>
                    <a:pt x="17785" y="3774"/>
                    <a:pt x="17156" y="3533"/>
                    <a:pt x="16736" y="3533"/>
                  </a:cubicBezTo>
                  <a:cubicBezTo>
                    <a:pt x="16526" y="3533"/>
                    <a:pt x="16107" y="3654"/>
                    <a:pt x="15897" y="3533"/>
                  </a:cubicBezTo>
                  <a:cubicBezTo>
                    <a:pt x="15478" y="3533"/>
                    <a:pt x="16107" y="3292"/>
                    <a:pt x="16107" y="3292"/>
                  </a:cubicBezTo>
                  <a:cubicBezTo>
                    <a:pt x="16317" y="3171"/>
                    <a:pt x="16107" y="3050"/>
                    <a:pt x="16107" y="3050"/>
                  </a:cubicBezTo>
                  <a:cubicBezTo>
                    <a:pt x="16107" y="2809"/>
                    <a:pt x="16317" y="2688"/>
                    <a:pt x="16526" y="2568"/>
                  </a:cubicBezTo>
                  <a:cubicBezTo>
                    <a:pt x="17365" y="2085"/>
                    <a:pt x="15688" y="1844"/>
                    <a:pt x="15058" y="1602"/>
                  </a:cubicBezTo>
                  <a:cubicBezTo>
                    <a:pt x="14429" y="1361"/>
                    <a:pt x="13590" y="1361"/>
                    <a:pt x="12961" y="999"/>
                  </a:cubicBezTo>
                  <a:cubicBezTo>
                    <a:pt x="12752" y="878"/>
                    <a:pt x="12332" y="758"/>
                    <a:pt x="12123" y="637"/>
                  </a:cubicBezTo>
                  <a:cubicBezTo>
                    <a:pt x="11913" y="396"/>
                    <a:pt x="11703" y="154"/>
                    <a:pt x="11493" y="154"/>
                  </a:cubicBezTo>
                  <a:cubicBezTo>
                    <a:pt x="11284" y="34"/>
                    <a:pt x="10655" y="34"/>
                    <a:pt x="10445" y="154"/>
                  </a:cubicBezTo>
                  <a:cubicBezTo>
                    <a:pt x="10235" y="275"/>
                    <a:pt x="10025" y="637"/>
                    <a:pt x="9606" y="396"/>
                  </a:cubicBezTo>
                  <a:cubicBezTo>
                    <a:pt x="9396" y="154"/>
                    <a:pt x="8977" y="154"/>
                    <a:pt x="8557" y="154"/>
                  </a:cubicBezTo>
                  <a:cubicBezTo>
                    <a:pt x="8138" y="154"/>
                    <a:pt x="8138" y="-87"/>
                    <a:pt x="7719" y="34"/>
                  </a:cubicBezTo>
                  <a:cubicBezTo>
                    <a:pt x="7509" y="154"/>
                    <a:pt x="6880" y="275"/>
                    <a:pt x="6880" y="396"/>
                  </a:cubicBezTo>
                  <a:cubicBezTo>
                    <a:pt x="6670" y="637"/>
                    <a:pt x="6880" y="878"/>
                    <a:pt x="6880" y="999"/>
                  </a:cubicBezTo>
                  <a:cubicBezTo>
                    <a:pt x="6670" y="1482"/>
                    <a:pt x="6041" y="1482"/>
                    <a:pt x="5412" y="1602"/>
                  </a:cubicBezTo>
                  <a:cubicBezTo>
                    <a:pt x="4992" y="1723"/>
                    <a:pt x="5202" y="2326"/>
                    <a:pt x="5202" y="2568"/>
                  </a:cubicBezTo>
                  <a:cubicBezTo>
                    <a:pt x="5202" y="2809"/>
                    <a:pt x="5412" y="3050"/>
                    <a:pt x="5412" y="3171"/>
                  </a:cubicBezTo>
                  <a:cubicBezTo>
                    <a:pt x="5412" y="3292"/>
                    <a:pt x="4783" y="3654"/>
                    <a:pt x="4783" y="3774"/>
                  </a:cubicBezTo>
                  <a:cubicBezTo>
                    <a:pt x="4573" y="3895"/>
                    <a:pt x="3944" y="4136"/>
                    <a:pt x="3944" y="4257"/>
                  </a:cubicBezTo>
                  <a:cubicBezTo>
                    <a:pt x="3944" y="4378"/>
                    <a:pt x="3944" y="4498"/>
                    <a:pt x="3944" y="4619"/>
                  </a:cubicBezTo>
                  <a:cubicBezTo>
                    <a:pt x="3944" y="4740"/>
                    <a:pt x="3734" y="4860"/>
                    <a:pt x="3734" y="4981"/>
                  </a:cubicBezTo>
                  <a:cubicBezTo>
                    <a:pt x="3734" y="5102"/>
                    <a:pt x="3944" y="5464"/>
                    <a:pt x="3524" y="5585"/>
                  </a:cubicBezTo>
                  <a:cubicBezTo>
                    <a:pt x="3524" y="5705"/>
                    <a:pt x="3524" y="5947"/>
                    <a:pt x="3524" y="6067"/>
                  </a:cubicBezTo>
                  <a:cubicBezTo>
                    <a:pt x="3315" y="6067"/>
                    <a:pt x="3105" y="6067"/>
                    <a:pt x="3105" y="6188"/>
                  </a:cubicBezTo>
                  <a:cubicBezTo>
                    <a:pt x="3105" y="6429"/>
                    <a:pt x="3524" y="6550"/>
                    <a:pt x="3524" y="6791"/>
                  </a:cubicBezTo>
                  <a:cubicBezTo>
                    <a:pt x="3524" y="6912"/>
                    <a:pt x="3524" y="7153"/>
                    <a:pt x="3734" y="7274"/>
                  </a:cubicBezTo>
                  <a:cubicBezTo>
                    <a:pt x="4154" y="7757"/>
                    <a:pt x="3315" y="8239"/>
                    <a:pt x="3315" y="8722"/>
                  </a:cubicBezTo>
                  <a:cubicBezTo>
                    <a:pt x="3105" y="8963"/>
                    <a:pt x="3524" y="9205"/>
                    <a:pt x="3315" y="9446"/>
                  </a:cubicBezTo>
                  <a:cubicBezTo>
                    <a:pt x="3105" y="9567"/>
                    <a:pt x="2686" y="9687"/>
                    <a:pt x="2476" y="9929"/>
                  </a:cubicBezTo>
                  <a:cubicBezTo>
                    <a:pt x="2266" y="10170"/>
                    <a:pt x="3105" y="11135"/>
                    <a:pt x="2686" y="11256"/>
                  </a:cubicBezTo>
                  <a:cubicBezTo>
                    <a:pt x="1847" y="11497"/>
                    <a:pt x="2057" y="12101"/>
                    <a:pt x="1847" y="12583"/>
                  </a:cubicBezTo>
                  <a:cubicBezTo>
                    <a:pt x="1427" y="12945"/>
                    <a:pt x="1637" y="13549"/>
                    <a:pt x="1637" y="14031"/>
                  </a:cubicBezTo>
                  <a:cubicBezTo>
                    <a:pt x="1637" y="14393"/>
                    <a:pt x="1637" y="14755"/>
                    <a:pt x="1637" y="15117"/>
                  </a:cubicBezTo>
                  <a:cubicBezTo>
                    <a:pt x="1637" y="15238"/>
                    <a:pt x="2686" y="15600"/>
                    <a:pt x="2266" y="15600"/>
                  </a:cubicBezTo>
                  <a:cubicBezTo>
                    <a:pt x="2266" y="15600"/>
                    <a:pt x="1427" y="15721"/>
                    <a:pt x="1847" y="15841"/>
                  </a:cubicBezTo>
                  <a:cubicBezTo>
                    <a:pt x="2266" y="15841"/>
                    <a:pt x="2266" y="15962"/>
                    <a:pt x="2057" y="16204"/>
                  </a:cubicBezTo>
                  <a:cubicBezTo>
                    <a:pt x="1847" y="16445"/>
                    <a:pt x="1847" y="16686"/>
                    <a:pt x="1847" y="17048"/>
                  </a:cubicBezTo>
                  <a:cubicBezTo>
                    <a:pt x="1847" y="17290"/>
                    <a:pt x="1427" y="17410"/>
                    <a:pt x="1218" y="17652"/>
                  </a:cubicBezTo>
                  <a:cubicBezTo>
                    <a:pt x="1008" y="17772"/>
                    <a:pt x="1218" y="18014"/>
                    <a:pt x="1218" y="18255"/>
                  </a:cubicBezTo>
                  <a:cubicBezTo>
                    <a:pt x="1218" y="18376"/>
                    <a:pt x="798" y="18738"/>
                    <a:pt x="589" y="18738"/>
                  </a:cubicBezTo>
                  <a:cubicBezTo>
                    <a:pt x="-460" y="18979"/>
                    <a:pt x="169" y="19703"/>
                    <a:pt x="379" y="20065"/>
                  </a:cubicBezTo>
                  <a:cubicBezTo>
                    <a:pt x="589" y="20306"/>
                    <a:pt x="1218" y="19944"/>
                    <a:pt x="1218" y="20427"/>
                  </a:cubicBezTo>
                  <a:cubicBezTo>
                    <a:pt x="1218" y="20548"/>
                    <a:pt x="1008" y="20910"/>
                    <a:pt x="1427" y="21030"/>
                  </a:cubicBezTo>
                  <a:cubicBezTo>
                    <a:pt x="1637" y="21151"/>
                    <a:pt x="1847" y="21151"/>
                    <a:pt x="2266" y="21151"/>
                  </a:cubicBezTo>
                  <a:cubicBezTo>
                    <a:pt x="2686" y="21272"/>
                    <a:pt x="3315" y="21272"/>
                    <a:pt x="3734" y="21272"/>
                  </a:cubicBezTo>
                  <a:cubicBezTo>
                    <a:pt x="3944" y="21272"/>
                    <a:pt x="4154" y="21272"/>
                    <a:pt x="4363" y="21392"/>
                  </a:cubicBezTo>
                  <a:cubicBezTo>
                    <a:pt x="4363" y="21272"/>
                    <a:pt x="4573" y="21272"/>
                    <a:pt x="4783" y="21272"/>
                  </a:cubicBezTo>
                  <a:cubicBezTo>
                    <a:pt x="4783" y="21392"/>
                    <a:pt x="5202" y="21513"/>
                    <a:pt x="5202" y="21513"/>
                  </a:cubicBezTo>
                  <a:cubicBezTo>
                    <a:pt x="5412" y="21513"/>
                    <a:pt x="4992" y="21151"/>
                    <a:pt x="4992" y="21030"/>
                  </a:cubicBezTo>
                  <a:cubicBezTo>
                    <a:pt x="4573" y="20789"/>
                    <a:pt x="4573" y="20548"/>
                    <a:pt x="4573" y="20306"/>
                  </a:cubicBezTo>
                  <a:cubicBezTo>
                    <a:pt x="4573" y="20065"/>
                    <a:pt x="4573" y="19944"/>
                    <a:pt x="5202" y="19703"/>
                  </a:cubicBezTo>
                  <a:cubicBezTo>
                    <a:pt x="5622" y="19582"/>
                    <a:pt x="4783" y="19582"/>
                    <a:pt x="4783" y="19582"/>
                  </a:cubicBezTo>
                  <a:cubicBezTo>
                    <a:pt x="4783" y="19582"/>
                    <a:pt x="5202" y="19462"/>
                    <a:pt x="4992" y="19462"/>
                  </a:cubicBezTo>
                  <a:cubicBezTo>
                    <a:pt x="5202" y="19462"/>
                    <a:pt x="5202" y="19582"/>
                    <a:pt x="5412" y="19582"/>
                  </a:cubicBezTo>
                  <a:cubicBezTo>
                    <a:pt x="5622" y="19703"/>
                    <a:pt x="5831" y="19582"/>
                    <a:pt x="6041" y="19582"/>
                  </a:cubicBezTo>
                  <a:cubicBezTo>
                    <a:pt x="6251" y="19341"/>
                    <a:pt x="6041" y="19100"/>
                    <a:pt x="6041" y="18858"/>
                  </a:cubicBezTo>
                  <a:cubicBezTo>
                    <a:pt x="6251" y="18617"/>
                    <a:pt x="6670" y="18496"/>
                    <a:pt x="7299" y="18376"/>
                  </a:cubicBezTo>
                  <a:cubicBezTo>
                    <a:pt x="7509" y="18255"/>
                    <a:pt x="7719" y="18255"/>
                    <a:pt x="7928" y="18134"/>
                  </a:cubicBezTo>
                  <a:cubicBezTo>
                    <a:pt x="8138" y="18014"/>
                    <a:pt x="7719" y="17893"/>
                    <a:pt x="7719" y="17893"/>
                  </a:cubicBezTo>
                  <a:cubicBezTo>
                    <a:pt x="7719" y="17772"/>
                    <a:pt x="8348" y="17652"/>
                    <a:pt x="8138" y="17410"/>
                  </a:cubicBezTo>
                  <a:cubicBezTo>
                    <a:pt x="7928" y="17169"/>
                    <a:pt x="7090" y="17410"/>
                    <a:pt x="6880" y="17169"/>
                  </a:cubicBezTo>
                  <a:cubicBezTo>
                    <a:pt x="6670" y="17048"/>
                    <a:pt x="6460" y="17048"/>
                    <a:pt x="6251" y="16807"/>
                  </a:cubicBezTo>
                  <a:cubicBezTo>
                    <a:pt x="6041" y="16566"/>
                    <a:pt x="6460" y="16204"/>
                    <a:pt x="6670" y="16083"/>
                  </a:cubicBezTo>
                  <a:cubicBezTo>
                    <a:pt x="7090" y="15962"/>
                    <a:pt x="7299" y="15721"/>
                    <a:pt x="7719" y="15721"/>
                  </a:cubicBezTo>
                  <a:cubicBezTo>
                    <a:pt x="8138" y="15600"/>
                    <a:pt x="8138" y="15841"/>
                    <a:pt x="8348" y="15479"/>
                  </a:cubicBezTo>
                  <a:cubicBezTo>
                    <a:pt x="8348" y="15238"/>
                    <a:pt x="8767" y="15117"/>
                    <a:pt x="8557" y="14876"/>
                  </a:cubicBezTo>
                  <a:cubicBezTo>
                    <a:pt x="8348" y="14514"/>
                    <a:pt x="9396" y="14514"/>
                    <a:pt x="9606" y="14273"/>
                  </a:cubicBezTo>
                  <a:cubicBezTo>
                    <a:pt x="9606" y="14273"/>
                    <a:pt x="8557" y="13790"/>
                    <a:pt x="9606" y="13911"/>
                  </a:cubicBezTo>
                  <a:cubicBezTo>
                    <a:pt x="9816" y="14031"/>
                    <a:pt x="9816" y="14152"/>
                    <a:pt x="10025" y="14152"/>
                  </a:cubicBezTo>
                  <a:cubicBezTo>
                    <a:pt x="10445" y="14152"/>
                    <a:pt x="10445" y="13790"/>
                    <a:pt x="10235" y="13669"/>
                  </a:cubicBezTo>
                  <a:cubicBezTo>
                    <a:pt x="10235" y="13549"/>
                    <a:pt x="9816" y="13790"/>
                    <a:pt x="9816" y="13790"/>
                  </a:cubicBezTo>
                  <a:cubicBezTo>
                    <a:pt x="9396" y="13790"/>
                    <a:pt x="8977" y="13669"/>
                    <a:pt x="8977" y="13549"/>
                  </a:cubicBezTo>
                  <a:cubicBezTo>
                    <a:pt x="8977" y="13428"/>
                    <a:pt x="8557" y="12583"/>
                    <a:pt x="8977" y="12583"/>
                  </a:cubicBezTo>
                  <a:cubicBezTo>
                    <a:pt x="9606" y="12704"/>
                    <a:pt x="10025" y="12945"/>
                    <a:pt x="10864" y="12945"/>
                  </a:cubicBezTo>
                  <a:cubicBezTo>
                    <a:pt x="11074" y="12945"/>
                    <a:pt x="11284" y="12825"/>
                    <a:pt x="11493" y="12825"/>
                  </a:cubicBezTo>
                  <a:cubicBezTo>
                    <a:pt x="11913" y="12583"/>
                    <a:pt x="11493" y="12463"/>
                    <a:pt x="11703" y="12221"/>
                  </a:cubicBezTo>
                  <a:cubicBezTo>
                    <a:pt x="11703" y="12101"/>
                    <a:pt x="11913" y="11980"/>
                    <a:pt x="11913" y="11980"/>
                  </a:cubicBezTo>
                  <a:cubicBezTo>
                    <a:pt x="12123" y="11739"/>
                    <a:pt x="11913" y="11739"/>
                    <a:pt x="11913" y="11618"/>
                  </a:cubicBezTo>
                  <a:cubicBezTo>
                    <a:pt x="11703" y="11497"/>
                    <a:pt x="11703" y="11256"/>
                    <a:pt x="11913" y="11256"/>
                  </a:cubicBezTo>
                  <a:cubicBezTo>
                    <a:pt x="12332" y="11256"/>
                    <a:pt x="12123" y="11497"/>
                    <a:pt x="12123" y="11497"/>
                  </a:cubicBezTo>
                  <a:cubicBezTo>
                    <a:pt x="11913" y="11377"/>
                    <a:pt x="13171" y="11377"/>
                    <a:pt x="13171" y="11377"/>
                  </a:cubicBezTo>
                  <a:cubicBezTo>
                    <a:pt x="14010" y="11377"/>
                    <a:pt x="14639" y="11135"/>
                    <a:pt x="15478" y="11135"/>
                  </a:cubicBezTo>
                  <a:cubicBezTo>
                    <a:pt x="15688" y="11015"/>
                    <a:pt x="16317" y="10894"/>
                    <a:pt x="16736" y="10773"/>
                  </a:cubicBezTo>
                  <a:cubicBezTo>
                    <a:pt x="16946" y="10653"/>
                    <a:pt x="16946" y="10532"/>
                    <a:pt x="17156" y="10411"/>
                  </a:cubicBezTo>
                  <a:cubicBezTo>
                    <a:pt x="17365" y="10291"/>
                    <a:pt x="17575" y="10170"/>
                    <a:pt x="17785" y="9929"/>
                  </a:cubicBezTo>
                  <a:cubicBezTo>
                    <a:pt x="17785" y="9567"/>
                    <a:pt x="17365" y="9567"/>
                    <a:pt x="16946" y="9325"/>
                  </a:cubicBezTo>
                  <a:cubicBezTo>
                    <a:pt x="16736" y="9084"/>
                    <a:pt x="17365" y="8963"/>
                    <a:pt x="16946" y="8722"/>
                  </a:cubicBezTo>
                  <a:cubicBezTo>
                    <a:pt x="16736" y="8601"/>
                    <a:pt x="15897" y="8481"/>
                    <a:pt x="15897" y="8239"/>
                  </a:cubicBezTo>
                  <a:cubicBezTo>
                    <a:pt x="15897" y="8239"/>
                    <a:pt x="15897" y="8119"/>
                    <a:pt x="16107" y="8119"/>
                  </a:cubicBezTo>
                  <a:cubicBezTo>
                    <a:pt x="16107" y="7998"/>
                    <a:pt x="15897" y="7998"/>
                    <a:pt x="15897" y="7877"/>
                  </a:cubicBezTo>
                  <a:cubicBezTo>
                    <a:pt x="15897" y="7757"/>
                    <a:pt x="15688" y="7515"/>
                    <a:pt x="15897" y="7395"/>
                  </a:cubicBezTo>
                  <a:cubicBezTo>
                    <a:pt x="16107" y="7274"/>
                    <a:pt x="15688" y="7515"/>
                    <a:pt x="15897" y="7395"/>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3" name="Shape 2052">
              <a:extLst>
                <a:ext uri="{FF2B5EF4-FFF2-40B4-BE49-F238E27FC236}">
                  <a16:creationId xmlns:a16="http://schemas.microsoft.com/office/drawing/2014/main" id="{1C558BCC-CDC5-4109-5FD1-8CF32DB9C83B}"/>
                </a:ext>
              </a:extLst>
            </p:cNvPr>
            <p:cNvSpPr/>
            <p:nvPr/>
          </p:nvSpPr>
          <p:spPr>
            <a:xfrm>
              <a:off x="2638253" y="3254138"/>
              <a:ext cx="143837" cy="147077"/>
            </a:xfrm>
            <a:custGeom>
              <a:avLst/>
              <a:gdLst/>
              <a:ahLst/>
              <a:cxnLst>
                <a:cxn ang="0">
                  <a:pos x="wd2" y="hd2"/>
                </a:cxn>
                <a:cxn ang="5400000">
                  <a:pos x="wd2" y="hd2"/>
                </a:cxn>
                <a:cxn ang="10800000">
                  <a:pos x="wd2" y="hd2"/>
                </a:cxn>
                <a:cxn ang="16200000">
                  <a:pos x="wd2" y="hd2"/>
                </a:cxn>
              </a:cxnLst>
              <a:rect l="0" t="0" r="r" b="b"/>
              <a:pathLst>
                <a:path w="21600" h="19904" extrusionOk="0">
                  <a:moveTo>
                    <a:pt x="14727" y="19004"/>
                  </a:moveTo>
                  <a:cubicBezTo>
                    <a:pt x="15709" y="19904"/>
                    <a:pt x="16691" y="19904"/>
                    <a:pt x="18655" y="19904"/>
                  </a:cubicBezTo>
                  <a:cubicBezTo>
                    <a:pt x="16691" y="17204"/>
                    <a:pt x="18655" y="16304"/>
                    <a:pt x="18655" y="13604"/>
                  </a:cubicBezTo>
                  <a:cubicBezTo>
                    <a:pt x="18655" y="11804"/>
                    <a:pt x="19636" y="9104"/>
                    <a:pt x="19636" y="7304"/>
                  </a:cubicBezTo>
                  <a:cubicBezTo>
                    <a:pt x="19636" y="6404"/>
                    <a:pt x="20618" y="5504"/>
                    <a:pt x="20618" y="4604"/>
                  </a:cubicBezTo>
                  <a:cubicBezTo>
                    <a:pt x="21600" y="3704"/>
                    <a:pt x="20618" y="2804"/>
                    <a:pt x="21600" y="1004"/>
                  </a:cubicBezTo>
                  <a:cubicBezTo>
                    <a:pt x="21600" y="-1696"/>
                    <a:pt x="17673" y="1904"/>
                    <a:pt x="16691" y="1904"/>
                  </a:cubicBezTo>
                  <a:cubicBezTo>
                    <a:pt x="14727" y="1904"/>
                    <a:pt x="13745" y="1004"/>
                    <a:pt x="11782" y="2804"/>
                  </a:cubicBezTo>
                  <a:cubicBezTo>
                    <a:pt x="11782" y="2804"/>
                    <a:pt x="9818" y="6404"/>
                    <a:pt x="8836" y="5504"/>
                  </a:cubicBezTo>
                  <a:cubicBezTo>
                    <a:pt x="6873" y="5504"/>
                    <a:pt x="5891" y="5504"/>
                    <a:pt x="3927" y="6404"/>
                  </a:cubicBezTo>
                  <a:cubicBezTo>
                    <a:pt x="3927" y="7304"/>
                    <a:pt x="3927" y="9104"/>
                    <a:pt x="2945" y="9104"/>
                  </a:cubicBezTo>
                  <a:cubicBezTo>
                    <a:pt x="2945" y="10004"/>
                    <a:pt x="982" y="10004"/>
                    <a:pt x="0" y="10004"/>
                  </a:cubicBezTo>
                  <a:cubicBezTo>
                    <a:pt x="1964" y="11804"/>
                    <a:pt x="3927" y="14504"/>
                    <a:pt x="5891" y="15404"/>
                  </a:cubicBezTo>
                  <a:cubicBezTo>
                    <a:pt x="6873" y="17204"/>
                    <a:pt x="8836" y="18104"/>
                    <a:pt x="10800" y="18104"/>
                  </a:cubicBezTo>
                  <a:cubicBezTo>
                    <a:pt x="11782" y="18104"/>
                    <a:pt x="13745" y="18104"/>
                    <a:pt x="14727" y="19004"/>
                  </a:cubicBezTo>
                  <a:cubicBezTo>
                    <a:pt x="15709" y="19004"/>
                    <a:pt x="14727" y="18104"/>
                    <a:pt x="14727" y="1900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4" name="Shape 2053">
              <a:extLst>
                <a:ext uri="{FF2B5EF4-FFF2-40B4-BE49-F238E27FC236}">
                  <a16:creationId xmlns:a16="http://schemas.microsoft.com/office/drawing/2014/main" id="{689B7512-BF2C-59DC-54DB-0BBA6FAD096C}"/>
                </a:ext>
              </a:extLst>
            </p:cNvPr>
            <p:cNvSpPr/>
            <p:nvPr/>
          </p:nvSpPr>
          <p:spPr>
            <a:xfrm>
              <a:off x="2695516" y="3387724"/>
              <a:ext cx="100058" cy="93627"/>
            </a:xfrm>
            <a:custGeom>
              <a:avLst/>
              <a:gdLst/>
              <a:ahLst/>
              <a:cxnLst>
                <a:cxn ang="0">
                  <a:pos x="wd2" y="hd2"/>
                </a:cxn>
                <a:cxn ang="5400000">
                  <a:pos x="wd2" y="hd2"/>
                </a:cxn>
                <a:cxn ang="10800000">
                  <a:pos x="wd2" y="hd2"/>
                </a:cxn>
                <a:cxn ang="16200000">
                  <a:pos x="wd2" y="hd2"/>
                </a:cxn>
              </a:cxnLst>
              <a:rect l="0" t="0" r="r" b="b"/>
              <a:pathLst>
                <a:path w="19233" h="20446" extrusionOk="0">
                  <a:moveTo>
                    <a:pt x="17962" y="14400"/>
                  </a:moveTo>
                  <a:cubicBezTo>
                    <a:pt x="17962" y="12960"/>
                    <a:pt x="17962" y="11520"/>
                    <a:pt x="19233" y="11520"/>
                  </a:cubicBezTo>
                  <a:cubicBezTo>
                    <a:pt x="17962" y="10080"/>
                    <a:pt x="17962" y="8640"/>
                    <a:pt x="16692" y="8640"/>
                  </a:cubicBezTo>
                  <a:cubicBezTo>
                    <a:pt x="15421" y="7200"/>
                    <a:pt x="14151" y="2880"/>
                    <a:pt x="12880" y="2880"/>
                  </a:cubicBezTo>
                  <a:cubicBezTo>
                    <a:pt x="10339" y="2880"/>
                    <a:pt x="9068" y="2880"/>
                    <a:pt x="7798" y="1440"/>
                  </a:cubicBezTo>
                  <a:cubicBezTo>
                    <a:pt x="6527" y="0"/>
                    <a:pt x="2715" y="0"/>
                    <a:pt x="1445" y="0"/>
                  </a:cubicBezTo>
                  <a:cubicBezTo>
                    <a:pt x="2715" y="1440"/>
                    <a:pt x="-2367" y="8640"/>
                    <a:pt x="1445" y="8640"/>
                  </a:cubicBezTo>
                  <a:cubicBezTo>
                    <a:pt x="2715" y="8640"/>
                    <a:pt x="2715" y="11520"/>
                    <a:pt x="5257" y="10080"/>
                  </a:cubicBezTo>
                  <a:cubicBezTo>
                    <a:pt x="6527" y="8640"/>
                    <a:pt x="2715" y="7200"/>
                    <a:pt x="2715" y="7200"/>
                  </a:cubicBezTo>
                  <a:cubicBezTo>
                    <a:pt x="3986" y="7200"/>
                    <a:pt x="6527" y="8640"/>
                    <a:pt x="6527" y="10080"/>
                  </a:cubicBezTo>
                  <a:cubicBezTo>
                    <a:pt x="7798" y="12960"/>
                    <a:pt x="10339" y="11520"/>
                    <a:pt x="11609" y="14400"/>
                  </a:cubicBezTo>
                  <a:cubicBezTo>
                    <a:pt x="12880" y="15840"/>
                    <a:pt x="12880" y="18720"/>
                    <a:pt x="15421" y="20160"/>
                  </a:cubicBezTo>
                  <a:cubicBezTo>
                    <a:pt x="19233" y="21600"/>
                    <a:pt x="19233" y="17280"/>
                    <a:pt x="17962" y="14400"/>
                  </a:cubicBezTo>
                  <a:cubicBezTo>
                    <a:pt x="17962" y="12960"/>
                    <a:pt x="17962" y="15840"/>
                    <a:pt x="17962" y="14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5" name="Shape 2054">
              <a:extLst>
                <a:ext uri="{FF2B5EF4-FFF2-40B4-BE49-F238E27FC236}">
                  <a16:creationId xmlns:a16="http://schemas.microsoft.com/office/drawing/2014/main" id="{E94E6032-B0BE-67AF-3684-799EDF9CB9D7}"/>
                </a:ext>
              </a:extLst>
            </p:cNvPr>
            <p:cNvSpPr/>
            <p:nvPr/>
          </p:nvSpPr>
          <p:spPr>
            <a:xfrm>
              <a:off x="2557347" y="3275324"/>
              <a:ext cx="74165" cy="43792"/>
            </a:xfrm>
            <a:custGeom>
              <a:avLst/>
              <a:gdLst/>
              <a:ahLst/>
              <a:cxnLst>
                <a:cxn ang="0">
                  <a:pos x="wd2" y="hd2"/>
                </a:cxn>
                <a:cxn ang="5400000">
                  <a:pos x="wd2" y="hd2"/>
                </a:cxn>
                <a:cxn ang="10800000">
                  <a:pos x="wd2" y="hd2"/>
                </a:cxn>
                <a:cxn ang="16200000">
                  <a:pos x="wd2" y="hd2"/>
                </a:cxn>
              </a:cxnLst>
              <a:rect l="0" t="0" r="r" b="b"/>
              <a:pathLst>
                <a:path w="21600" h="16183" extrusionOk="0">
                  <a:moveTo>
                    <a:pt x="7855" y="2400"/>
                  </a:moveTo>
                  <a:cubicBezTo>
                    <a:pt x="7855" y="0"/>
                    <a:pt x="7855" y="0"/>
                    <a:pt x="7855" y="0"/>
                  </a:cubicBezTo>
                  <a:cubicBezTo>
                    <a:pt x="5891" y="2400"/>
                    <a:pt x="1964" y="7200"/>
                    <a:pt x="0" y="9600"/>
                  </a:cubicBezTo>
                  <a:cubicBezTo>
                    <a:pt x="3927" y="12000"/>
                    <a:pt x="21600" y="21600"/>
                    <a:pt x="21600" y="12000"/>
                  </a:cubicBezTo>
                  <a:cubicBezTo>
                    <a:pt x="21600" y="4800"/>
                    <a:pt x="11782" y="7200"/>
                    <a:pt x="7855" y="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6" name="Shape 2055">
              <a:extLst>
                <a:ext uri="{FF2B5EF4-FFF2-40B4-BE49-F238E27FC236}">
                  <a16:creationId xmlns:a16="http://schemas.microsoft.com/office/drawing/2014/main" id="{3AB97783-5AF7-F486-768D-7F7B6DB19BD6}"/>
                </a:ext>
              </a:extLst>
            </p:cNvPr>
            <p:cNvSpPr/>
            <p:nvPr/>
          </p:nvSpPr>
          <p:spPr>
            <a:xfrm>
              <a:off x="2489854" y="3159876"/>
              <a:ext cx="121434" cy="138572"/>
            </a:xfrm>
            <a:custGeom>
              <a:avLst/>
              <a:gdLst/>
              <a:ahLst/>
              <a:cxnLst>
                <a:cxn ang="0">
                  <a:pos x="wd2" y="hd2"/>
                </a:cxn>
                <a:cxn ang="5400000">
                  <a:pos x="wd2" y="hd2"/>
                </a:cxn>
                <a:cxn ang="10800000">
                  <a:pos x="wd2" y="hd2"/>
                </a:cxn>
                <a:cxn ang="16200000">
                  <a:pos x="wd2" y="hd2"/>
                </a:cxn>
              </a:cxnLst>
              <a:rect l="0" t="0" r="r" b="b"/>
              <a:pathLst>
                <a:path w="19781" h="19581" extrusionOk="0">
                  <a:moveTo>
                    <a:pt x="15461" y="14504"/>
                  </a:moveTo>
                  <a:cubicBezTo>
                    <a:pt x="15461" y="12626"/>
                    <a:pt x="18701" y="11687"/>
                    <a:pt x="19781" y="10748"/>
                  </a:cubicBezTo>
                  <a:cubicBezTo>
                    <a:pt x="16541" y="9808"/>
                    <a:pt x="15461" y="9808"/>
                    <a:pt x="15461" y="6991"/>
                  </a:cubicBezTo>
                  <a:cubicBezTo>
                    <a:pt x="15461" y="6052"/>
                    <a:pt x="16541" y="1356"/>
                    <a:pt x="15461" y="417"/>
                  </a:cubicBezTo>
                  <a:cubicBezTo>
                    <a:pt x="14381" y="-522"/>
                    <a:pt x="8981" y="417"/>
                    <a:pt x="6821" y="417"/>
                  </a:cubicBezTo>
                  <a:cubicBezTo>
                    <a:pt x="4661" y="417"/>
                    <a:pt x="4661" y="3235"/>
                    <a:pt x="5741" y="5113"/>
                  </a:cubicBezTo>
                  <a:cubicBezTo>
                    <a:pt x="6821" y="6052"/>
                    <a:pt x="11141" y="8869"/>
                    <a:pt x="6821" y="8869"/>
                  </a:cubicBezTo>
                  <a:cubicBezTo>
                    <a:pt x="5741" y="8869"/>
                    <a:pt x="3581" y="8869"/>
                    <a:pt x="2501" y="8869"/>
                  </a:cubicBezTo>
                  <a:cubicBezTo>
                    <a:pt x="341" y="8869"/>
                    <a:pt x="341" y="12626"/>
                    <a:pt x="341" y="13565"/>
                  </a:cubicBezTo>
                  <a:cubicBezTo>
                    <a:pt x="-1819" y="19200"/>
                    <a:pt x="6821" y="18261"/>
                    <a:pt x="11141" y="19200"/>
                  </a:cubicBezTo>
                  <a:cubicBezTo>
                    <a:pt x="12221" y="21078"/>
                    <a:pt x="15461" y="15443"/>
                    <a:pt x="15461" y="1450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7" name="Shape 2056">
              <a:extLst>
                <a:ext uri="{FF2B5EF4-FFF2-40B4-BE49-F238E27FC236}">
                  <a16:creationId xmlns:a16="http://schemas.microsoft.com/office/drawing/2014/main" id="{7CC664AA-5034-34D1-0E83-BDA73E1DF018}"/>
                </a:ext>
              </a:extLst>
            </p:cNvPr>
            <p:cNvSpPr/>
            <p:nvPr/>
          </p:nvSpPr>
          <p:spPr>
            <a:xfrm>
              <a:off x="1676363" y="2638518"/>
              <a:ext cx="986615" cy="630066"/>
            </a:xfrm>
            <a:custGeom>
              <a:avLst/>
              <a:gdLst/>
              <a:ahLst/>
              <a:cxnLst>
                <a:cxn ang="0">
                  <a:pos x="wd2" y="hd2"/>
                </a:cxn>
                <a:cxn ang="5400000">
                  <a:pos x="wd2" y="hd2"/>
                </a:cxn>
                <a:cxn ang="10800000">
                  <a:pos x="wd2" y="hd2"/>
                </a:cxn>
                <a:cxn ang="16200000">
                  <a:pos x="wd2" y="hd2"/>
                </a:cxn>
              </a:cxnLst>
              <a:rect l="0" t="0" r="r" b="b"/>
              <a:pathLst>
                <a:path w="21600" h="21468" extrusionOk="0">
                  <a:moveTo>
                    <a:pt x="18144" y="19893"/>
                  </a:moveTo>
                  <a:cubicBezTo>
                    <a:pt x="18288" y="19893"/>
                    <a:pt x="19296" y="20118"/>
                    <a:pt x="19008" y="19668"/>
                  </a:cubicBezTo>
                  <a:cubicBezTo>
                    <a:pt x="18864" y="19218"/>
                    <a:pt x="18576" y="18993"/>
                    <a:pt x="18432" y="18543"/>
                  </a:cubicBezTo>
                  <a:cubicBezTo>
                    <a:pt x="18432" y="18543"/>
                    <a:pt x="18576" y="17868"/>
                    <a:pt x="18720" y="17868"/>
                  </a:cubicBezTo>
                  <a:cubicBezTo>
                    <a:pt x="18864" y="17643"/>
                    <a:pt x="19584" y="17868"/>
                    <a:pt x="19872" y="17868"/>
                  </a:cubicBezTo>
                  <a:cubicBezTo>
                    <a:pt x="20304" y="17868"/>
                    <a:pt x="20160" y="16743"/>
                    <a:pt x="20736" y="17418"/>
                  </a:cubicBezTo>
                  <a:cubicBezTo>
                    <a:pt x="20880" y="16968"/>
                    <a:pt x="21024" y="16743"/>
                    <a:pt x="21024" y="16293"/>
                  </a:cubicBezTo>
                  <a:cubicBezTo>
                    <a:pt x="21024" y="15843"/>
                    <a:pt x="20880" y="15393"/>
                    <a:pt x="21024" y="15168"/>
                  </a:cubicBezTo>
                  <a:cubicBezTo>
                    <a:pt x="21168" y="14718"/>
                    <a:pt x="21600" y="14268"/>
                    <a:pt x="21600" y="14043"/>
                  </a:cubicBezTo>
                  <a:cubicBezTo>
                    <a:pt x="21456" y="13593"/>
                    <a:pt x="21312" y="13593"/>
                    <a:pt x="21024" y="13593"/>
                  </a:cubicBezTo>
                  <a:cubicBezTo>
                    <a:pt x="20592" y="13593"/>
                    <a:pt x="20016" y="13593"/>
                    <a:pt x="19584" y="13818"/>
                  </a:cubicBezTo>
                  <a:cubicBezTo>
                    <a:pt x="19296" y="13818"/>
                    <a:pt x="19152" y="14043"/>
                    <a:pt x="19008" y="14268"/>
                  </a:cubicBezTo>
                  <a:cubicBezTo>
                    <a:pt x="18864" y="14718"/>
                    <a:pt x="19008" y="15168"/>
                    <a:pt x="18864" y="15618"/>
                  </a:cubicBezTo>
                  <a:cubicBezTo>
                    <a:pt x="18864" y="15843"/>
                    <a:pt x="18144" y="16968"/>
                    <a:pt x="18144" y="16968"/>
                  </a:cubicBezTo>
                  <a:cubicBezTo>
                    <a:pt x="17568" y="16743"/>
                    <a:pt x="16992" y="16968"/>
                    <a:pt x="16416" y="17418"/>
                  </a:cubicBezTo>
                  <a:cubicBezTo>
                    <a:pt x="16128" y="17418"/>
                    <a:pt x="15984" y="17193"/>
                    <a:pt x="15840" y="16968"/>
                  </a:cubicBezTo>
                  <a:cubicBezTo>
                    <a:pt x="15696" y="16743"/>
                    <a:pt x="15408" y="16743"/>
                    <a:pt x="15120" y="16518"/>
                  </a:cubicBezTo>
                  <a:cubicBezTo>
                    <a:pt x="14832" y="16518"/>
                    <a:pt x="14832" y="15843"/>
                    <a:pt x="14688" y="15393"/>
                  </a:cubicBezTo>
                  <a:cubicBezTo>
                    <a:pt x="14544" y="14943"/>
                    <a:pt x="14256" y="14718"/>
                    <a:pt x="14112" y="14268"/>
                  </a:cubicBezTo>
                  <a:cubicBezTo>
                    <a:pt x="13968" y="13368"/>
                    <a:pt x="13680" y="12243"/>
                    <a:pt x="13824" y="11343"/>
                  </a:cubicBezTo>
                  <a:cubicBezTo>
                    <a:pt x="13824" y="10668"/>
                    <a:pt x="13680" y="9768"/>
                    <a:pt x="13968" y="9093"/>
                  </a:cubicBezTo>
                  <a:cubicBezTo>
                    <a:pt x="14112" y="8868"/>
                    <a:pt x="14112" y="8643"/>
                    <a:pt x="14112" y="8418"/>
                  </a:cubicBezTo>
                  <a:cubicBezTo>
                    <a:pt x="14256" y="7968"/>
                    <a:pt x="13968" y="8193"/>
                    <a:pt x="13824" y="7968"/>
                  </a:cubicBezTo>
                  <a:cubicBezTo>
                    <a:pt x="13536" y="7968"/>
                    <a:pt x="13248" y="7743"/>
                    <a:pt x="12960" y="7743"/>
                  </a:cubicBezTo>
                  <a:cubicBezTo>
                    <a:pt x="12816" y="7518"/>
                    <a:pt x="12528" y="7068"/>
                    <a:pt x="12528" y="6618"/>
                  </a:cubicBezTo>
                  <a:cubicBezTo>
                    <a:pt x="12528" y="5943"/>
                    <a:pt x="12096" y="5718"/>
                    <a:pt x="11808" y="5268"/>
                  </a:cubicBezTo>
                  <a:cubicBezTo>
                    <a:pt x="11664" y="4818"/>
                    <a:pt x="11664" y="4368"/>
                    <a:pt x="11520" y="3918"/>
                  </a:cubicBezTo>
                  <a:cubicBezTo>
                    <a:pt x="11376" y="3693"/>
                    <a:pt x="11088" y="3693"/>
                    <a:pt x="10800" y="3693"/>
                  </a:cubicBezTo>
                  <a:cubicBezTo>
                    <a:pt x="10656" y="3468"/>
                    <a:pt x="10368" y="3468"/>
                    <a:pt x="10224" y="3693"/>
                  </a:cubicBezTo>
                  <a:cubicBezTo>
                    <a:pt x="10224" y="3918"/>
                    <a:pt x="10080" y="4368"/>
                    <a:pt x="9792" y="4368"/>
                  </a:cubicBezTo>
                  <a:cubicBezTo>
                    <a:pt x="9504" y="4368"/>
                    <a:pt x="9072" y="3918"/>
                    <a:pt x="8928" y="3468"/>
                  </a:cubicBezTo>
                  <a:cubicBezTo>
                    <a:pt x="8784" y="2793"/>
                    <a:pt x="8784" y="2568"/>
                    <a:pt x="8496" y="2118"/>
                  </a:cubicBezTo>
                  <a:cubicBezTo>
                    <a:pt x="8208" y="1893"/>
                    <a:pt x="7776" y="1218"/>
                    <a:pt x="7488" y="1218"/>
                  </a:cubicBezTo>
                  <a:cubicBezTo>
                    <a:pt x="7344" y="993"/>
                    <a:pt x="6480" y="993"/>
                    <a:pt x="6480" y="1218"/>
                  </a:cubicBezTo>
                  <a:cubicBezTo>
                    <a:pt x="6192" y="1893"/>
                    <a:pt x="6048" y="1668"/>
                    <a:pt x="5616" y="1668"/>
                  </a:cubicBezTo>
                  <a:cubicBezTo>
                    <a:pt x="5040" y="1668"/>
                    <a:pt x="4608" y="1668"/>
                    <a:pt x="4176" y="1668"/>
                  </a:cubicBezTo>
                  <a:cubicBezTo>
                    <a:pt x="4032" y="1668"/>
                    <a:pt x="3600" y="1218"/>
                    <a:pt x="3312" y="993"/>
                  </a:cubicBezTo>
                  <a:cubicBezTo>
                    <a:pt x="2880" y="768"/>
                    <a:pt x="2448" y="543"/>
                    <a:pt x="1872" y="93"/>
                  </a:cubicBezTo>
                  <a:cubicBezTo>
                    <a:pt x="1296" y="-132"/>
                    <a:pt x="576" y="93"/>
                    <a:pt x="0" y="318"/>
                  </a:cubicBezTo>
                  <a:cubicBezTo>
                    <a:pt x="144" y="1443"/>
                    <a:pt x="720" y="2343"/>
                    <a:pt x="1008" y="3468"/>
                  </a:cubicBezTo>
                  <a:cubicBezTo>
                    <a:pt x="1152" y="3918"/>
                    <a:pt x="1584" y="4368"/>
                    <a:pt x="1872" y="4593"/>
                  </a:cubicBezTo>
                  <a:cubicBezTo>
                    <a:pt x="2016" y="5043"/>
                    <a:pt x="2304" y="5718"/>
                    <a:pt x="2160" y="6168"/>
                  </a:cubicBezTo>
                  <a:cubicBezTo>
                    <a:pt x="2160" y="6168"/>
                    <a:pt x="1152" y="5718"/>
                    <a:pt x="1728" y="6393"/>
                  </a:cubicBezTo>
                  <a:cubicBezTo>
                    <a:pt x="1872" y="6618"/>
                    <a:pt x="2016" y="6843"/>
                    <a:pt x="2160" y="7068"/>
                  </a:cubicBezTo>
                  <a:cubicBezTo>
                    <a:pt x="2448" y="7068"/>
                    <a:pt x="2592" y="7068"/>
                    <a:pt x="2736" y="7293"/>
                  </a:cubicBezTo>
                  <a:cubicBezTo>
                    <a:pt x="3024" y="7518"/>
                    <a:pt x="3312" y="7968"/>
                    <a:pt x="3600" y="8418"/>
                  </a:cubicBezTo>
                  <a:cubicBezTo>
                    <a:pt x="3744" y="8643"/>
                    <a:pt x="3600" y="9093"/>
                    <a:pt x="3456" y="9318"/>
                  </a:cubicBezTo>
                  <a:cubicBezTo>
                    <a:pt x="3312" y="9543"/>
                    <a:pt x="3600" y="9768"/>
                    <a:pt x="3744" y="9768"/>
                  </a:cubicBezTo>
                  <a:cubicBezTo>
                    <a:pt x="4176" y="10218"/>
                    <a:pt x="4464" y="10668"/>
                    <a:pt x="4752" y="11118"/>
                  </a:cubicBezTo>
                  <a:cubicBezTo>
                    <a:pt x="4896" y="11343"/>
                    <a:pt x="5040" y="11793"/>
                    <a:pt x="5184" y="11793"/>
                  </a:cubicBezTo>
                  <a:cubicBezTo>
                    <a:pt x="5328" y="11793"/>
                    <a:pt x="5472" y="11343"/>
                    <a:pt x="5328" y="11118"/>
                  </a:cubicBezTo>
                  <a:cubicBezTo>
                    <a:pt x="5328" y="10893"/>
                    <a:pt x="5184" y="10668"/>
                    <a:pt x="5184" y="10443"/>
                  </a:cubicBezTo>
                  <a:cubicBezTo>
                    <a:pt x="5040" y="10218"/>
                    <a:pt x="4752" y="10443"/>
                    <a:pt x="4608" y="10218"/>
                  </a:cubicBezTo>
                  <a:cubicBezTo>
                    <a:pt x="4320" y="9768"/>
                    <a:pt x="4608" y="9768"/>
                    <a:pt x="4608" y="9318"/>
                  </a:cubicBezTo>
                  <a:cubicBezTo>
                    <a:pt x="4608" y="9318"/>
                    <a:pt x="4320" y="8868"/>
                    <a:pt x="4320" y="8643"/>
                  </a:cubicBezTo>
                  <a:cubicBezTo>
                    <a:pt x="4032" y="8193"/>
                    <a:pt x="4032" y="7518"/>
                    <a:pt x="3744" y="7068"/>
                  </a:cubicBezTo>
                  <a:cubicBezTo>
                    <a:pt x="3456" y="6843"/>
                    <a:pt x="3168" y="6393"/>
                    <a:pt x="3024" y="5943"/>
                  </a:cubicBezTo>
                  <a:cubicBezTo>
                    <a:pt x="3024" y="5718"/>
                    <a:pt x="3024" y="5268"/>
                    <a:pt x="2880" y="5043"/>
                  </a:cubicBezTo>
                  <a:cubicBezTo>
                    <a:pt x="2736" y="4818"/>
                    <a:pt x="2592" y="4593"/>
                    <a:pt x="2448" y="4368"/>
                  </a:cubicBezTo>
                  <a:cubicBezTo>
                    <a:pt x="2304" y="3918"/>
                    <a:pt x="2160" y="3693"/>
                    <a:pt x="1872" y="3468"/>
                  </a:cubicBezTo>
                  <a:cubicBezTo>
                    <a:pt x="1728" y="3243"/>
                    <a:pt x="1728" y="2793"/>
                    <a:pt x="1728" y="2568"/>
                  </a:cubicBezTo>
                  <a:cubicBezTo>
                    <a:pt x="1728" y="2343"/>
                    <a:pt x="1440" y="1218"/>
                    <a:pt x="1584" y="993"/>
                  </a:cubicBezTo>
                  <a:cubicBezTo>
                    <a:pt x="1728" y="768"/>
                    <a:pt x="1872" y="1443"/>
                    <a:pt x="2016" y="1443"/>
                  </a:cubicBezTo>
                  <a:cubicBezTo>
                    <a:pt x="2160" y="1443"/>
                    <a:pt x="2160" y="1443"/>
                    <a:pt x="2160" y="1443"/>
                  </a:cubicBezTo>
                  <a:cubicBezTo>
                    <a:pt x="2448" y="1218"/>
                    <a:pt x="2448" y="1443"/>
                    <a:pt x="2592" y="1668"/>
                  </a:cubicBezTo>
                  <a:cubicBezTo>
                    <a:pt x="2736" y="1668"/>
                    <a:pt x="2880" y="1668"/>
                    <a:pt x="2880" y="1893"/>
                  </a:cubicBezTo>
                  <a:cubicBezTo>
                    <a:pt x="2880" y="2343"/>
                    <a:pt x="3024" y="2793"/>
                    <a:pt x="3168" y="3243"/>
                  </a:cubicBezTo>
                  <a:cubicBezTo>
                    <a:pt x="3168" y="3468"/>
                    <a:pt x="3312" y="3918"/>
                    <a:pt x="3312" y="4143"/>
                  </a:cubicBezTo>
                  <a:cubicBezTo>
                    <a:pt x="3312" y="4368"/>
                    <a:pt x="3168" y="4593"/>
                    <a:pt x="3168" y="4818"/>
                  </a:cubicBezTo>
                  <a:cubicBezTo>
                    <a:pt x="3312" y="4818"/>
                    <a:pt x="3312" y="4368"/>
                    <a:pt x="3312" y="4368"/>
                  </a:cubicBezTo>
                  <a:cubicBezTo>
                    <a:pt x="3456" y="4143"/>
                    <a:pt x="3600" y="4818"/>
                    <a:pt x="3744" y="4818"/>
                  </a:cubicBezTo>
                  <a:cubicBezTo>
                    <a:pt x="3888" y="5043"/>
                    <a:pt x="4608" y="5718"/>
                    <a:pt x="4608" y="5943"/>
                  </a:cubicBezTo>
                  <a:cubicBezTo>
                    <a:pt x="4608" y="6393"/>
                    <a:pt x="4752" y="6618"/>
                    <a:pt x="4896" y="6618"/>
                  </a:cubicBezTo>
                  <a:cubicBezTo>
                    <a:pt x="5040" y="6843"/>
                    <a:pt x="5040" y="7068"/>
                    <a:pt x="5184" y="7293"/>
                  </a:cubicBezTo>
                  <a:cubicBezTo>
                    <a:pt x="5328" y="7518"/>
                    <a:pt x="5472" y="7293"/>
                    <a:pt x="5472" y="7518"/>
                  </a:cubicBezTo>
                  <a:cubicBezTo>
                    <a:pt x="5616" y="7743"/>
                    <a:pt x="5328" y="7968"/>
                    <a:pt x="5472" y="8418"/>
                  </a:cubicBezTo>
                  <a:cubicBezTo>
                    <a:pt x="5760" y="8643"/>
                    <a:pt x="6048" y="8868"/>
                    <a:pt x="6336" y="9318"/>
                  </a:cubicBezTo>
                  <a:cubicBezTo>
                    <a:pt x="6480" y="9543"/>
                    <a:pt x="6480" y="9768"/>
                    <a:pt x="6624" y="9993"/>
                  </a:cubicBezTo>
                  <a:cubicBezTo>
                    <a:pt x="6768" y="10218"/>
                    <a:pt x="6912" y="10218"/>
                    <a:pt x="7056" y="10668"/>
                  </a:cubicBezTo>
                  <a:cubicBezTo>
                    <a:pt x="7344" y="10893"/>
                    <a:pt x="7488" y="11343"/>
                    <a:pt x="7776" y="11793"/>
                  </a:cubicBezTo>
                  <a:cubicBezTo>
                    <a:pt x="7920" y="12018"/>
                    <a:pt x="8064" y="12243"/>
                    <a:pt x="8208" y="12468"/>
                  </a:cubicBezTo>
                  <a:cubicBezTo>
                    <a:pt x="8352" y="12918"/>
                    <a:pt x="8064" y="12918"/>
                    <a:pt x="8064" y="13143"/>
                  </a:cubicBezTo>
                  <a:cubicBezTo>
                    <a:pt x="8064" y="13368"/>
                    <a:pt x="8496" y="13143"/>
                    <a:pt x="8496" y="13593"/>
                  </a:cubicBezTo>
                  <a:cubicBezTo>
                    <a:pt x="8352" y="14043"/>
                    <a:pt x="8208" y="14043"/>
                    <a:pt x="8352" y="14493"/>
                  </a:cubicBezTo>
                  <a:cubicBezTo>
                    <a:pt x="8352" y="14493"/>
                    <a:pt x="8064" y="14943"/>
                    <a:pt x="8208" y="15168"/>
                  </a:cubicBezTo>
                  <a:cubicBezTo>
                    <a:pt x="8352" y="15393"/>
                    <a:pt x="8496" y="15843"/>
                    <a:pt x="8640" y="16068"/>
                  </a:cubicBezTo>
                  <a:cubicBezTo>
                    <a:pt x="8784" y="16293"/>
                    <a:pt x="8928" y="16293"/>
                    <a:pt x="9072" y="16293"/>
                  </a:cubicBezTo>
                  <a:cubicBezTo>
                    <a:pt x="9504" y="16518"/>
                    <a:pt x="9504" y="16968"/>
                    <a:pt x="9792" y="17193"/>
                  </a:cubicBezTo>
                  <a:cubicBezTo>
                    <a:pt x="10224" y="17643"/>
                    <a:pt x="10800" y="17643"/>
                    <a:pt x="11088" y="18093"/>
                  </a:cubicBezTo>
                  <a:cubicBezTo>
                    <a:pt x="11664" y="18543"/>
                    <a:pt x="12240" y="18993"/>
                    <a:pt x="12816" y="19218"/>
                  </a:cubicBezTo>
                  <a:cubicBezTo>
                    <a:pt x="13248" y="19668"/>
                    <a:pt x="13968" y="20118"/>
                    <a:pt x="14544" y="20343"/>
                  </a:cubicBezTo>
                  <a:cubicBezTo>
                    <a:pt x="15120" y="20343"/>
                    <a:pt x="15552" y="19443"/>
                    <a:pt x="16272" y="19668"/>
                  </a:cubicBezTo>
                  <a:cubicBezTo>
                    <a:pt x="16848" y="19893"/>
                    <a:pt x="17280" y="20793"/>
                    <a:pt x="17712" y="21468"/>
                  </a:cubicBezTo>
                  <a:cubicBezTo>
                    <a:pt x="17712" y="21243"/>
                    <a:pt x="17856" y="20118"/>
                    <a:pt x="18144" y="19893"/>
                  </a:cubicBezTo>
                  <a:cubicBezTo>
                    <a:pt x="18288" y="19893"/>
                    <a:pt x="18000" y="19893"/>
                    <a:pt x="18144" y="1989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8" name="Shape 2057">
              <a:extLst>
                <a:ext uri="{FF2B5EF4-FFF2-40B4-BE49-F238E27FC236}">
                  <a16:creationId xmlns:a16="http://schemas.microsoft.com/office/drawing/2014/main" id="{E09BC930-757D-43B3-75A8-38A2F630A04D}"/>
                </a:ext>
              </a:extLst>
            </p:cNvPr>
            <p:cNvSpPr/>
            <p:nvPr/>
          </p:nvSpPr>
          <p:spPr>
            <a:xfrm>
              <a:off x="2582322" y="3228915"/>
              <a:ext cx="193027" cy="100365"/>
            </a:xfrm>
            <a:custGeom>
              <a:avLst/>
              <a:gdLst/>
              <a:ahLst/>
              <a:cxnLst>
                <a:cxn ang="0">
                  <a:pos x="wd2" y="hd2"/>
                </a:cxn>
                <a:cxn ang="5400000">
                  <a:pos x="wd2" y="hd2"/>
                </a:cxn>
                <a:cxn ang="10800000">
                  <a:pos x="wd2" y="hd2"/>
                </a:cxn>
                <a:cxn ang="16200000">
                  <a:pos x="wd2" y="hd2"/>
                </a:cxn>
              </a:cxnLst>
              <a:rect l="0" t="0" r="r" b="b"/>
              <a:pathLst>
                <a:path w="21082" h="20518" extrusionOk="0">
                  <a:moveTo>
                    <a:pt x="8122" y="19168"/>
                  </a:moveTo>
                  <a:cubicBezTo>
                    <a:pt x="8842" y="19168"/>
                    <a:pt x="8842" y="17818"/>
                    <a:pt x="8842" y="16468"/>
                  </a:cubicBezTo>
                  <a:cubicBezTo>
                    <a:pt x="8842" y="15118"/>
                    <a:pt x="10282" y="13768"/>
                    <a:pt x="11002" y="13768"/>
                  </a:cubicBezTo>
                  <a:cubicBezTo>
                    <a:pt x="12442" y="12418"/>
                    <a:pt x="12442" y="15118"/>
                    <a:pt x="13882" y="12418"/>
                  </a:cubicBezTo>
                  <a:cubicBezTo>
                    <a:pt x="14602" y="11068"/>
                    <a:pt x="15322" y="7018"/>
                    <a:pt x="16762" y="8368"/>
                  </a:cubicBezTo>
                  <a:cubicBezTo>
                    <a:pt x="18922" y="8368"/>
                    <a:pt x="18922" y="7018"/>
                    <a:pt x="21082" y="5668"/>
                  </a:cubicBezTo>
                  <a:cubicBezTo>
                    <a:pt x="18202" y="2968"/>
                    <a:pt x="17482" y="-1082"/>
                    <a:pt x="13882" y="268"/>
                  </a:cubicBezTo>
                  <a:cubicBezTo>
                    <a:pt x="12442" y="268"/>
                    <a:pt x="11002" y="1618"/>
                    <a:pt x="9562" y="1618"/>
                  </a:cubicBezTo>
                  <a:cubicBezTo>
                    <a:pt x="8122" y="1618"/>
                    <a:pt x="6682" y="268"/>
                    <a:pt x="5242" y="268"/>
                  </a:cubicBezTo>
                  <a:cubicBezTo>
                    <a:pt x="3082" y="1618"/>
                    <a:pt x="2362" y="1618"/>
                    <a:pt x="922" y="4318"/>
                  </a:cubicBezTo>
                  <a:cubicBezTo>
                    <a:pt x="922" y="5668"/>
                    <a:pt x="-518" y="8368"/>
                    <a:pt x="202" y="11068"/>
                  </a:cubicBezTo>
                  <a:cubicBezTo>
                    <a:pt x="2362" y="13768"/>
                    <a:pt x="5242" y="11068"/>
                    <a:pt x="5242" y="17818"/>
                  </a:cubicBezTo>
                  <a:cubicBezTo>
                    <a:pt x="5242" y="17818"/>
                    <a:pt x="6682" y="17818"/>
                    <a:pt x="6682" y="17818"/>
                  </a:cubicBezTo>
                  <a:cubicBezTo>
                    <a:pt x="6682" y="17818"/>
                    <a:pt x="5962" y="20518"/>
                    <a:pt x="5962" y="20518"/>
                  </a:cubicBezTo>
                  <a:cubicBezTo>
                    <a:pt x="6682" y="20518"/>
                    <a:pt x="8122" y="20518"/>
                    <a:pt x="8122" y="1916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39" name="Shape 2058">
              <a:extLst>
                <a:ext uri="{FF2B5EF4-FFF2-40B4-BE49-F238E27FC236}">
                  <a16:creationId xmlns:a16="http://schemas.microsoft.com/office/drawing/2014/main" id="{0A346E53-D73E-8692-39C2-873FCEF73461}"/>
                </a:ext>
              </a:extLst>
            </p:cNvPr>
            <p:cNvSpPr/>
            <p:nvPr/>
          </p:nvSpPr>
          <p:spPr>
            <a:xfrm>
              <a:off x="2582632" y="3139614"/>
              <a:ext cx="42140" cy="89224"/>
            </a:xfrm>
            <a:custGeom>
              <a:avLst/>
              <a:gdLst/>
              <a:ahLst/>
              <a:cxnLst>
                <a:cxn ang="0">
                  <a:pos x="wd2" y="hd2"/>
                </a:cxn>
                <a:cxn ang="5400000">
                  <a:pos x="wd2" y="hd2"/>
                </a:cxn>
                <a:cxn ang="10800000">
                  <a:pos x="wd2" y="hd2"/>
                </a:cxn>
                <a:cxn ang="16200000">
                  <a:pos x="wd2" y="hd2"/>
                </a:cxn>
              </a:cxnLst>
              <a:rect l="0" t="0" r="r" b="b"/>
              <a:pathLst>
                <a:path w="19286" h="19484" extrusionOk="0">
                  <a:moveTo>
                    <a:pt x="13115" y="640"/>
                  </a:moveTo>
                  <a:cubicBezTo>
                    <a:pt x="10029" y="-800"/>
                    <a:pt x="3857" y="3520"/>
                    <a:pt x="3857" y="4960"/>
                  </a:cubicBezTo>
                  <a:cubicBezTo>
                    <a:pt x="772" y="6400"/>
                    <a:pt x="772" y="4960"/>
                    <a:pt x="772" y="7840"/>
                  </a:cubicBezTo>
                  <a:cubicBezTo>
                    <a:pt x="772" y="9280"/>
                    <a:pt x="-2314" y="20800"/>
                    <a:pt x="3857" y="19360"/>
                  </a:cubicBezTo>
                  <a:cubicBezTo>
                    <a:pt x="3857" y="17920"/>
                    <a:pt x="13115" y="13600"/>
                    <a:pt x="16200" y="10720"/>
                  </a:cubicBezTo>
                  <a:cubicBezTo>
                    <a:pt x="16200" y="6400"/>
                    <a:pt x="16200" y="4960"/>
                    <a:pt x="19286" y="2080"/>
                  </a:cubicBezTo>
                  <a:cubicBezTo>
                    <a:pt x="19286" y="640"/>
                    <a:pt x="16200" y="640"/>
                    <a:pt x="13115" y="640"/>
                  </a:cubicBezTo>
                  <a:cubicBezTo>
                    <a:pt x="10029" y="-800"/>
                    <a:pt x="16200" y="640"/>
                    <a:pt x="13115" y="6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0" name="Shape 2059">
              <a:extLst>
                <a:ext uri="{FF2B5EF4-FFF2-40B4-BE49-F238E27FC236}">
                  <a16:creationId xmlns:a16="http://schemas.microsoft.com/office/drawing/2014/main" id="{24E682B5-C91F-6B2C-A41A-80AB26AA4A3B}"/>
                </a:ext>
              </a:extLst>
            </p:cNvPr>
            <p:cNvSpPr/>
            <p:nvPr/>
          </p:nvSpPr>
          <p:spPr>
            <a:xfrm>
              <a:off x="3072002" y="3082706"/>
              <a:ext cx="85402" cy="66731"/>
            </a:xfrm>
            <a:custGeom>
              <a:avLst/>
              <a:gdLst/>
              <a:ahLst/>
              <a:cxnLst>
                <a:cxn ang="0">
                  <a:pos x="wd2" y="hd2"/>
                </a:cxn>
                <a:cxn ang="5400000">
                  <a:pos x="wd2" y="hd2"/>
                </a:cxn>
                <a:cxn ang="10800000">
                  <a:pos x="wd2" y="hd2"/>
                </a:cxn>
                <a:cxn ang="16200000">
                  <a:pos x="wd2" y="hd2"/>
                </a:cxn>
              </a:cxnLst>
              <a:rect l="0" t="0" r="r" b="b"/>
              <a:pathLst>
                <a:path w="21600" h="20037" extrusionOk="0">
                  <a:moveTo>
                    <a:pt x="19938" y="4328"/>
                  </a:moveTo>
                  <a:cubicBezTo>
                    <a:pt x="16615" y="4328"/>
                    <a:pt x="13292" y="-1563"/>
                    <a:pt x="9969" y="401"/>
                  </a:cubicBezTo>
                  <a:cubicBezTo>
                    <a:pt x="4985" y="2364"/>
                    <a:pt x="11631" y="4328"/>
                    <a:pt x="11631" y="8255"/>
                  </a:cubicBezTo>
                  <a:cubicBezTo>
                    <a:pt x="13292" y="10219"/>
                    <a:pt x="16615" y="14146"/>
                    <a:pt x="14954" y="16110"/>
                  </a:cubicBezTo>
                  <a:cubicBezTo>
                    <a:pt x="13292" y="18073"/>
                    <a:pt x="11631" y="18073"/>
                    <a:pt x="9969" y="18073"/>
                  </a:cubicBezTo>
                  <a:cubicBezTo>
                    <a:pt x="6646" y="16110"/>
                    <a:pt x="9969" y="16110"/>
                    <a:pt x="8308" y="14146"/>
                  </a:cubicBezTo>
                  <a:cubicBezTo>
                    <a:pt x="8308" y="14146"/>
                    <a:pt x="0" y="16110"/>
                    <a:pt x="0" y="16110"/>
                  </a:cubicBezTo>
                  <a:cubicBezTo>
                    <a:pt x="0" y="20037"/>
                    <a:pt x="3323" y="20037"/>
                    <a:pt x="4985" y="20037"/>
                  </a:cubicBezTo>
                  <a:cubicBezTo>
                    <a:pt x="9969" y="18073"/>
                    <a:pt x="14954" y="20037"/>
                    <a:pt x="21600" y="20037"/>
                  </a:cubicBezTo>
                  <a:cubicBezTo>
                    <a:pt x="21600" y="14146"/>
                    <a:pt x="19938" y="8255"/>
                    <a:pt x="19938" y="4328"/>
                  </a:cubicBezTo>
                  <a:cubicBezTo>
                    <a:pt x="18277" y="4328"/>
                    <a:pt x="19938" y="8255"/>
                    <a:pt x="19938" y="432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1" name="Shape 2060">
              <a:extLst>
                <a:ext uri="{FF2B5EF4-FFF2-40B4-BE49-F238E27FC236}">
                  <a16:creationId xmlns:a16="http://schemas.microsoft.com/office/drawing/2014/main" id="{A87D4C70-4C47-A123-4D5E-E255C37768B9}"/>
                </a:ext>
              </a:extLst>
            </p:cNvPr>
            <p:cNvSpPr/>
            <p:nvPr/>
          </p:nvSpPr>
          <p:spPr>
            <a:xfrm>
              <a:off x="3150662" y="3082298"/>
              <a:ext cx="114979" cy="81563"/>
            </a:xfrm>
            <a:custGeom>
              <a:avLst/>
              <a:gdLst/>
              <a:ahLst/>
              <a:cxnLst>
                <a:cxn ang="0">
                  <a:pos x="wd2" y="hd2"/>
                </a:cxn>
                <a:cxn ang="5400000">
                  <a:pos x="wd2" y="hd2"/>
                </a:cxn>
                <a:cxn ang="10800000">
                  <a:pos x="wd2" y="hd2"/>
                </a:cxn>
                <a:cxn ang="16200000">
                  <a:pos x="wd2" y="hd2"/>
                </a:cxn>
              </a:cxnLst>
              <a:rect l="0" t="0" r="r" b="b"/>
              <a:pathLst>
                <a:path w="20850" h="17811" extrusionOk="0">
                  <a:moveTo>
                    <a:pt x="16800" y="9032"/>
                  </a:moveTo>
                  <a:cubicBezTo>
                    <a:pt x="14400" y="7592"/>
                    <a:pt x="12000" y="4712"/>
                    <a:pt x="9600" y="3272"/>
                  </a:cubicBezTo>
                  <a:cubicBezTo>
                    <a:pt x="8400" y="1832"/>
                    <a:pt x="2400" y="-1048"/>
                    <a:pt x="1200" y="392"/>
                  </a:cubicBezTo>
                  <a:cubicBezTo>
                    <a:pt x="1200" y="392"/>
                    <a:pt x="3600" y="3272"/>
                    <a:pt x="0" y="3272"/>
                  </a:cubicBezTo>
                  <a:cubicBezTo>
                    <a:pt x="0" y="6152"/>
                    <a:pt x="1200" y="9032"/>
                    <a:pt x="1200" y="13352"/>
                  </a:cubicBezTo>
                  <a:cubicBezTo>
                    <a:pt x="1200" y="14792"/>
                    <a:pt x="1200" y="14792"/>
                    <a:pt x="2400" y="16232"/>
                  </a:cubicBezTo>
                  <a:cubicBezTo>
                    <a:pt x="3600" y="20552"/>
                    <a:pt x="3600" y="14792"/>
                    <a:pt x="4800" y="13352"/>
                  </a:cubicBezTo>
                  <a:cubicBezTo>
                    <a:pt x="7200" y="10472"/>
                    <a:pt x="13200" y="13352"/>
                    <a:pt x="15600" y="13352"/>
                  </a:cubicBezTo>
                  <a:cubicBezTo>
                    <a:pt x="18000" y="13352"/>
                    <a:pt x="18000" y="14792"/>
                    <a:pt x="20400" y="13352"/>
                  </a:cubicBezTo>
                  <a:cubicBezTo>
                    <a:pt x="21600" y="10472"/>
                    <a:pt x="20400" y="9032"/>
                    <a:pt x="16800" y="9032"/>
                  </a:cubicBezTo>
                  <a:cubicBezTo>
                    <a:pt x="14400" y="9032"/>
                    <a:pt x="19200" y="9032"/>
                    <a:pt x="16800" y="903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2" name="Shape 2061">
              <a:extLst>
                <a:ext uri="{FF2B5EF4-FFF2-40B4-BE49-F238E27FC236}">
                  <a16:creationId xmlns:a16="http://schemas.microsoft.com/office/drawing/2014/main" id="{9FBBA87D-36BD-D0B5-9E0C-1A436B8D0296}"/>
                </a:ext>
              </a:extLst>
            </p:cNvPr>
            <p:cNvSpPr/>
            <p:nvPr/>
          </p:nvSpPr>
          <p:spPr>
            <a:xfrm>
              <a:off x="0" y="882978"/>
              <a:ext cx="1253853" cy="849914"/>
            </a:xfrm>
            <a:custGeom>
              <a:avLst/>
              <a:gdLst/>
              <a:ahLst/>
              <a:cxnLst>
                <a:cxn ang="0">
                  <a:pos x="wd2" y="hd2"/>
                </a:cxn>
                <a:cxn ang="5400000">
                  <a:pos x="wd2" y="hd2"/>
                </a:cxn>
                <a:cxn ang="10800000">
                  <a:pos x="wd2" y="hd2"/>
                </a:cxn>
                <a:cxn ang="16200000">
                  <a:pos x="wd2" y="hd2"/>
                </a:cxn>
              </a:cxnLst>
              <a:rect l="0" t="0" r="r" b="b"/>
              <a:pathLst>
                <a:path w="21179" h="21378" extrusionOk="0">
                  <a:moveTo>
                    <a:pt x="21179" y="20834"/>
                  </a:moveTo>
                  <a:cubicBezTo>
                    <a:pt x="21068" y="20668"/>
                    <a:pt x="20845" y="20668"/>
                    <a:pt x="21068" y="20336"/>
                  </a:cubicBezTo>
                  <a:cubicBezTo>
                    <a:pt x="21068" y="20170"/>
                    <a:pt x="20956" y="20170"/>
                    <a:pt x="20845" y="20170"/>
                  </a:cubicBezTo>
                  <a:cubicBezTo>
                    <a:pt x="20622" y="19837"/>
                    <a:pt x="20177" y="19671"/>
                    <a:pt x="20066" y="19505"/>
                  </a:cubicBezTo>
                  <a:cubicBezTo>
                    <a:pt x="19620" y="18674"/>
                    <a:pt x="19398" y="17677"/>
                    <a:pt x="18952" y="17013"/>
                  </a:cubicBezTo>
                  <a:cubicBezTo>
                    <a:pt x="18730" y="16847"/>
                    <a:pt x="18507" y="16514"/>
                    <a:pt x="18395" y="16348"/>
                  </a:cubicBezTo>
                  <a:cubicBezTo>
                    <a:pt x="18173" y="16182"/>
                    <a:pt x="18173" y="15684"/>
                    <a:pt x="17950" y="15684"/>
                  </a:cubicBezTo>
                  <a:cubicBezTo>
                    <a:pt x="17839" y="15684"/>
                    <a:pt x="17505" y="16016"/>
                    <a:pt x="17505" y="16016"/>
                  </a:cubicBezTo>
                  <a:cubicBezTo>
                    <a:pt x="17616" y="16348"/>
                    <a:pt x="17282" y="16514"/>
                    <a:pt x="17171" y="16514"/>
                  </a:cubicBezTo>
                  <a:cubicBezTo>
                    <a:pt x="16837" y="16681"/>
                    <a:pt x="16503" y="16016"/>
                    <a:pt x="16280" y="15684"/>
                  </a:cubicBezTo>
                  <a:cubicBezTo>
                    <a:pt x="16169" y="15517"/>
                    <a:pt x="16057" y="15517"/>
                    <a:pt x="15946" y="15185"/>
                  </a:cubicBezTo>
                  <a:cubicBezTo>
                    <a:pt x="15835" y="14853"/>
                    <a:pt x="15612" y="15019"/>
                    <a:pt x="15501" y="15185"/>
                  </a:cubicBezTo>
                  <a:cubicBezTo>
                    <a:pt x="15278" y="15185"/>
                    <a:pt x="15278" y="15019"/>
                    <a:pt x="15055" y="15185"/>
                  </a:cubicBezTo>
                  <a:cubicBezTo>
                    <a:pt x="15055" y="15185"/>
                    <a:pt x="14944" y="15185"/>
                    <a:pt x="14944" y="15019"/>
                  </a:cubicBezTo>
                  <a:cubicBezTo>
                    <a:pt x="14944" y="14853"/>
                    <a:pt x="14944" y="14853"/>
                    <a:pt x="14944" y="14687"/>
                  </a:cubicBezTo>
                  <a:cubicBezTo>
                    <a:pt x="14944" y="14022"/>
                    <a:pt x="14944" y="13191"/>
                    <a:pt x="14944" y="12527"/>
                  </a:cubicBezTo>
                  <a:cubicBezTo>
                    <a:pt x="14944" y="10533"/>
                    <a:pt x="14944" y="8373"/>
                    <a:pt x="14944" y="6213"/>
                  </a:cubicBezTo>
                  <a:cubicBezTo>
                    <a:pt x="14944" y="5382"/>
                    <a:pt x="14944" y="4385"/>
                    <a:pt x="14944" y="3388"/>
                  </a:cubicBezTo>
                  <a:cubicBezTo>
                    <a:pt x="14944" y="3222"/>
                    <a:pt x="14944" y="2890"/>
                    <a:pt x="14944" y="2557"/>
                  </a:cubicBezTo>
                  <a:cubicBezTo>
                    <a:pt x="14944" y="2391"/>
                    <a:pt x="14833" y="2391"/>
                    <a:pt x="14610" y="2225"/>
                  </a:cubicBezTo>
                  <a:cubicBezTo>
                    <a:pt x="14053" y="1893"/>
                    <a:pt x="13719" y="1893"/>
                    <a:pt x="13163" y="1893"/>
                  </a:cubicBezTo>
                  <a:cubicBezTo>
                    <a:pt x="12606" y="1893"/>
                    <a:pt x="12160" y="1727"/>
                    <a:pt x="11604" y="1561"/>
                  </a:cubicBezTo>
                  <a:cubicBezTo>
                    <a:pt x="10936" y="1561"/>
                    <a:pt x="10379" y="1228"/>
                    <a:pt x="9822" y="1228"/>
                  </a:cubicBezTo>
                  <a:cubicBezTo>
                    <a:pt x="9488" y="1228"/>
                    <a:pt x="9266" y="1394"/>
                    <a:pt x="8932" y="1228"/>
                  </a:cubicBezTo>
                  <a:cubicBezTo>
                    <a:pt x="8932" y="1228"/>
                    <a:pt x="8486" y="1062"/>
                    <a:pt x="8486" y="1062"/>
                  </a:cubicBezTo>
                  <a:cubicBezTo>
                    <a:pt x="8486" y="1062"/>
                    <a:pt x="8598" y="730"/>
                    <a:pt x="8598" y="564"/>
                  </a:cubicBezTo>
                  <a:cubicBezTo>
                    <a:pt x="8598" y="564"/>
                    <a:pt x="8264" y="564"/>
                    <a:pt x="8264" y="564"/>
                  </a:cubicBezTo>
                  <a:cubicBezTo>
                    <a:pt x="8041" y="564"/>
                    <a:pt x="7707" y="730"/>
                    <a:pt x="7484" y="730"/>
                  </a:cubicBezTo>
                  <a:cubicBezTo>
                    <a:pt x="7261" y="730"/>
                    <a:pt x="7373" y="65"/>
                    <a:pt x="7039" y="397"/>
                  </a:cubicBezTo>
                  <a:cubicBezTo>
                    <a:pt x="6927" y="397"/>
                    <a:pt x="6816" y="730"/>
                    <a:pt x="6705" y="564"/>
                  </a:cubicBezTo>
                  <a:cubicBezTo>
                    <a:pt x="6482" y="564"/>
                    <a:pt x="6482" y="397"/>
                    <a:pt x="6705" y="231"/>
                  </a:cubicBezTo>
                  <a:cubicBezTo>
                    <a:pt x="6927" y="231"/>
                    <a:pt x="6593" y="65"/>
                    <a:pt x="6482" y="65"/>
                  </a:cubicBezTo>
                  <a:cubicBezTo>
                    <a:pt x="6037" y="-101"/>
                    <a:pt x="6037" y="65"/>
                    <a:pt x="5814" y="397"/>
                  </a:cubicBezTo>
                  <a:cubicBezTo>
                    <a:pt x="5480" y="896"/>
                    <a:pt x="5035" y="564"/>
                    <a:pt x="4589" y="730"/>
                  </a:cubicBezTo>
                  <a:cubicBezTo>
                    <a:pt x="4144" y="896"/>
                    <a:pt x="4589" y="1228"/>
                    <a:pt x="4589" y="1228"/>
                  </a:cubicBezTo>
                  <a:cubicBezTo>
                    <a:pt x="4478" y="1228"/>
                    <a:pt x="4367" y="1228"/>
                    <a:pt x="4367" y="1228"/>
                  </a:cubicBezTo>
                  <a:cubicBezTo>
                    <a:pt x="4367" y="1228"/>
                    <a:pt x="4478" y="1561"/>
                    <a:pt x="4367" y="1561"/>
                  </a:cubicBezTo>
                  <a:cubicBezTo>
                    <a:pt x="4255" y="1561"/>
                    <a:pt x="4255" y="1228"/>
                    <a:pt x="4255" y="1062"/>
                  </a:cubicBezTo>
                  <a:cubicBezTo>
                    <a:pt x="4144" y="1062"/>
                    <a:pt x="3810" y="1561"/>
                    <a:pt x="3810" y="1561"/>
                  </a:cubicBezTo>
                  <a:cubicBezTo>
                    <a:pt x="3587" y="1727"/>
                    <a:pt x="3365" y="1394"/>
                    <a:pt x="3142" y="1727"/>
                  </a:cubicBezTo>
                  <a:cubicBezTo>
                    <a:pt x="2919" y="1893"/>
                    <a:pt x="2697" y="2059"/>
                    <a:pt x="2585" y="2391"/>
                  </a:cubicBezTo>
                  <a:cubicBezTo>
                    <a:pt x="2585" y="2724"/>
                    <a:pt x="2585" y="3056"/>
                    <a:pt x="2363" y="3222"/>
                  </a:cubicBezTo>
                  <a:cubicBezTo>
                    <a:pt x="2140" y="3388"/>
                    <a:pt x="2028" y="3554"/>
                    <a:pt x="1806" y="3554"/>
                  </a:cubicBezTo>
                  <a:cubicBezTo>
                    <a:pt x="1694" y="3554"/>
                    <a:pt x="1026" y="3554"/>
                    <a:pt x="915" y="3721"/>
                  </a:cubicBezTo>
                  <a:cubicBezTo>
                    <a:pt x="915" y="3887"/>
                    <a:pt x="692" y="4385"/>
                    <a:pt x="692" y="4385"/>
                  </a:cubicBezTo>
                  <a:cubicBezTo>
                    <a:pt x="804" y="4551"/>
                    <a:pt x="1138" y="4551"/>
                    <a:pt x="1249" y="4717"/>
                  </a:cubicBezTo>
                  <a:cubicBezTo>
                    <a:pt x="1583" y="4884"/>
                    <a:pt x="1917" y="5216"/>
                    <a:pt x="2140" y="5548"/>
                  </a:cubicBezTo>
                  <a:cubicBezTo>
                    <a:pt x="2251" y="5714"/>
                    <a:pt x="2251" y="6047"/>
                    <a:pt x="2474" y="6213"/>
                  </a:cubicBezTo>
                  <a:cubicBezTo>
                    <a:pt x="2697" y="6213"/>
                    <a:pt x="2808" y="6213"/>
                    <a:pt x="3031" y="6047"/>
                  </a:cubicBezTo>
                  <a:cubicBezTo>
                    <a:pt x="3031" y="6047"/>
                    <a:pt x="3365" y="6213"/>
                    <a:pt x="3365" y="6213"/>
                  </a:cubicBezTo>
                  <a:cubicBezTo>
                    <a:pt x="3587" y="6711"/>
                    <a:pt x="3031" y="6379"/>
                    <a:pt x="3031" y="6379"/>
                  </a:cubicBezTo>
                  <a:cubicBezTo>
                    <a:pt x="2808" y="6379"/>
                    <a:pt x="3142" y="6711"/>
                    <a:pt x="3253" y="6877"/>
                  </a:cubicBezTo>
                  <a:cubicBezTo>
                    <a:pt x="3365" y="7210"/>
                    <a:pt x="3476" y="7044"/>
                    <a:pt x="3699" y="6877"/>
                  </a:cubicBezTo>
                  <a:cubicBezTo>
                    <a:pt x="3810" y="6711"/>
                    <a:pt x="4144" y="6711"/>
                    <a:pt x="4255" y="6877"/>
                  </a:cubicBezTo>
                  <a:cubicBezTo>
                    <a:pt x="4367" y="7044"/>
                    <a:pt x="3810" y="7210"/>
                    <a:pt x="3810" y="7210"/>
                  </a:cubicBezTo>
                  <a:cubicBezTo>
                    <a:pt x="3699" y="7210"/>
                    <a:pt x="3810" y="7210"/>
                    <a:pt x="3810" y="7376"/>
                  </a:cubicBezTo>
                  <a:cubicBezTo>
                    <a:pt x="3810" y="7542"/>
                    <a:pt x="3587" y="7376"/>
                    <a:pt x="3587" y="7376"/>
                  </a:cubicBezTo>
                  <a:cubicBezTo>
                    <a:pt x="3476" y="7376"/>
                    <a:pt x="3365" y="7542"/>
                    <a:pt x="3142" y="7542"/>
                  </a:cubicBezTo>
                  <a:cubicBezTo>
                    <a:pt x="2919" y="7542"/>
                    <a:pt x="2474" y="7708"/>
                    <a:pt x="2251" y="7542"/>
                  </a:cubicBezTo>
                  <a:cubicBezTo>
                    <a:pt x="2028" y="7376"/>
                    <a:pt x="2363" y="7044"/>
                    <a:pt x="2251" y="6877"/>
                  </a:cubicBezTo>
                  <a:cubicBezTo>
                    <a:pt x="2140" y="6877"/>
                    <a:pt x="1917" y="6877"/>
                    <a:pt x="1806" y="7044"/>
                  </a:cubicBezTo>
                  <a:cubicBezTo>
                    <a:pt x="1694" y="7044"/>
                    <a:pt x="1472" y="7044"/>
                    <a:pt x="1360" y="7044"/>
                  </a:cubicBezTo>
                  <a:cubicBezTo>
                    <a:pt x="1138" y="7210"/>
                    <a:pt x="1249" y="7542"/>
                    <a:pt x="1249" y="7542"/>
                  </a:cubicBezTo>
                  <a:cubicBezTo>
                    <a:pt x="1026" y="7542"/>
                    <a:pt x="804" y="7376"/>
                    <a:pt x="581" y="7542"/>
                  </a:cubicBezTo>
                  <a:cubicBezTo>
                    <a:pt x="470" y="7708"/>
                    <a:pt x="247" y="7874"/>
                    <a:pt x="136" y="8041"/>
                  </a:cubicBezTo>
                  <a:cubicBezTo>
                    <a:pt x="-421" y="8539"/>
                    <a:pt x="915" y="8539"/>
                    <a:pt x="915" y="8705"/>
                  </a:cubicBezTo>
                  <a:cubicBezTo>
                    <a:pt x="804" y="8871"/>
                    <a:pt x="470" y="8871"/>
                    <a:pt x="692" y="9037"/>
                  </a:cubicBezTo>
                  <a:cubicBezTo>
                    <a:pt x="804" y="9204"/>
                    <a:pt x="804" y="9536"/>
                    <a:pt x="915" y="9536"/>
                  </a:cubicBezTo>
                  <a:cubicBezTo>
                    <a:pt x="1360" y="9702"/>
                    <a:pt x="1694" y="9536"/>
                    <a:pt x="2140" y="9536"/>
                  </a:cubicBezTo>
                  <a:cubicBezTo>
                    <a:pt x="2251" y="9702"/>
                    <a:pt x="2363" y="9702"/>
                    <a:pt x="2474" y="9702"/>
                  </a:cubicBezTo>
                  <a:cubicBezTo>
                    <a:pt x="2697" y="9702"/>
                    <a:pt x="2585" y="9702"/>
                    <a:pt x="2808" y="9868"/>
                  </a:cubicBezTo>
                  <a:cubicBezTo>
                    <a:pt x="2808" y="9868"/>
                    <a:pt x="3031" y="9536"/>
                    <a:pt x="3142" y="9536"/>
                  </a:cubicBezTo>
                  <a:cubicBezTo>
                    <a:pt x="3253" y="9370"/>
                    <a:pt x="3365" y="9370"/>
                    <a:pt x="3476" y="9370"/>
                  </a:cubicBezTo>
                  <a:cubicBezTo>
                    <a:pt x="3587" y="9204"/>
                    <a:pt x="3699" y="9037"/>
                    <a:pt x="3699" y="9037"/>
                  </a:cubicBezTo>
                  <a:cubicBezTo>
                    <a:pt x="3810" y="9204"/>
                    <a:pt x="3921" y="9370"/>
                    <a:pt x="3810" y="9536"/>
                  </a:cubicBezTo>
                  <a:cubicBezTo>
                    <a:pt x="3699" y="9702"/>
                    <a:pt x="3587" y="9702"/>
                    <a:pt x="3810" y="10034"/>
                  </a:cubicBezTo>
                  <a:cubicBezTo>
                    <a:pt x="4033" y="10699"/>
                    <a:pt x="3810" y="11197"/>
                    <a:pt x="3253" y="11031"/>
                  </a:cubicBezTo>
                  <a:cubicBezTo>
                    <a:pt x="3253" y="11031"/>
                    <a:pt x="3142" y="10865"/>
                    <a:pt x="3031" y="11031"/>
                  </a:cubicBezTo>
                  <a:cubicBezTo>
                    <a:pt x="2919" y="11197"/>
                    <a:pt x="2808" y="11530"/>
                    <a:pt x="2697" y="11530"/>
                  </a:cubicBezTo>
                  <a:cubicBezTo>
                    <a:pt x="2474" y="11696"/>
                    <a:pt x="1806" y="11197"/>
                    <a:pt x="1917" y="11696"/>
                  </a:cubicBezTo>
                  <a:cubicBezTo>
                    <a:pt x="1917" y="11696"/>
                    <a:pt x="1583" y="12028"/>
                    <a:pt x="1694" y="12028"/>
                  </a:cubicBezTo>
                  <a:cubicBezTo>
                    <a:pt x="1694" y="12028"/>
                    <a:pt x="1806" y="12028"/>
                    <a:pt x="1806" y="12028"/>
                  </a:cubicBezTo>
                  <a:cubicBezTo>
                    <a:pt x="1917" y="12194"/>
                    <a:pt x="1583" y="12361"/>
                    <a:pt x="1472" y="12527"/>
                  </a:cubicBezTo>
                  <a:cubicBezTo>
                    <a:pt x="1360" y="12527"/>
                    <a:pt x="1249" y="12693"/>
                    <a:pt x="1249" y="12859"/>
                  </a:cubicBezTo>
                  <a:cubicBezTo>
                    <a:pt x="1138" y="13191"/>
                    <a:pt x="1360" y="13191"/>
                    <a:pt x="1138" y="13357"/>
                  </a:cubicBezTo>
                  <a:cubicBezTo>
                    <a:pt x="915" y="13524"/>
                    <a:pt x="1138" y="13856"/>
                    <a:pt x="1249" y="14022"/>
                  </a:cubicBezTo>
                  <a:cubicBezTo>
                    <a:pt x="1249" y="14188"/>
                    <a:pt x="1583" y="13357"/>
                    <a:pt x="1694" y="13357"/>
                  </a:cubicBezTo>
                  <a:cubicBezTo>
                    <a:pt x="1694" y="13357"/>
                    <a:pt x="1472" y="13856"/>
                    <a:pt x="1472" y="13856"/>
                  </a:cubicBezTo>
                  <a:cubicBezTo>
                    <a:pt x="1360" y="14022"/>
                    <a:pt x="1694" y="14354"/>
                    <a:pt x="1806" y="14354"/>
                  </a:cubicBezTo>
                  <a:cubicBezTo>
                    <a:pt x="1917" y="14521"/>
                    <a:pt x="1917" y="14687"/>
                    <a:pt x="2028" y="14521"/>
                  </a:cubicBezTo>
                  <a:cubicBezTo>
                    <a:pt x="2140" y="14354"/>
                    <a:pt x="2251" y="14188"/>
                    <a:pt x="2251" y="14188"/>
                  </a:cubicBezTo>
                  <a:cubicBezTo>
                    <a:pt x="2251" y="14354"/>
                    <a:pt x="2363" y="14687"/>
                    <a:pt x="2474" y="14687"/>
                  </a:cubicBezTo>
                  <a:cubicBezTo>
                    <a:pt x="2251" y="14853"/>
                    <a:pt x="2140" y="14687"/>
                    <a:pt x="2028" y="14687"/>
                  </a:cubicBezTo>
                  <a:cubicBezTo>
                    <a:pt x="1917" y="14853"/>
                    <a:pt x="1806" y="14354"/>
                    <a:pt x="1694" y="14354"/>
                  </a:cubicBezTo>
                  <a:cubicBezTo>
                    <a:pt x="1583" y="14354"/>
                    <a:pt x="1360" y="14853"/>
                    <a:pt x="1583" y="15019"/>
                  </a:cubicBezTo>
                  <a:cubicBezTo>
                    <a:pt x="1806" y="15185"/>
                    <a:pt x="1806" y="15351"/>
                    <a:pt x="2028" y="15517"/>
                  </a:cubicBezTo>
                  <a:cubicBezTo>
                    <a:pt x="2140" y="15850"/>
                    <a:pt x="2363" y="15684"/>
                    <a:pt x="2585" y="15684"/>
                  </a:cubicBezTo>
                  <a:cubicBezTo>
                    <a:pt x="2697" y="15517"/>
                    <a:pt x="2919" y="15684"/>
                    <a:pt x="2919" y="15351"/>
                  </a:cubicBezTo>
                  <a:cubicBezTo>
                    <a:pt x="2919" y="15019"/>
                    <a:pt x="3031" y="14521"/>
                    <a:pt x="3253" y="14687"/>
                  </a:cubicBezTo>
                  <a:cubicBezTo>
                    <a:pt x="3253" y="14521"/>
                    <a:pt x="3031" y="15185"/>
                    <a:pt x="3031" y="15351"/>
                  </a:cubicBezTo>
                  <a:cubicBezTo>
                    <a:pt x="3031" y="15517"/>
                    <a:pt x="3476" y="16016"/>
                    <a:pt x="3365" y="16182"/>
                  </a:cubicBezTo>
                  <a:cubicBezTo>
                    <a:pt x="3142" y="16514"/>
                    <a:pt x="3476" y="16681"/>
                    <a:pt x="3476" y="16681"/>
                  </a:cubicBezTo>
                  <a:cubicBezTo>
                    <a:pt x="3365" y="16681"/>
                    <a:pt x="3142" y="17179"/>
                    <a:pt x="3142" y="17179"/>
                  </a:cubicBezTo>
                  <a:cubicBezTo>
                    <a:pt x="3253" y="17345"/>
                    <a:pt x="3810" y="16847"/>
                    <a:pt x="3810" y="16847"/>
                  </a:cubicBezTo>
                  <a:cubicBezTo>
                    <a:pt x="3810" y="17013"/>
                    <a:pt x="3699" y="17013"/>
                    <a:pt x="3699" y="17179"/>
                  </a:cubicBezTo>
                  <a:cubicBezTo>
                    <a:pt x="3699" y="17179"/>
                    <a:pt x="3921" y="16847"/>
                    <a:pt x="4033" y="16681"/>
                  </a:cubicBezTo>
                  <a:cubicBezTo>
                    <a:pt x="4144" y="16681"/>
                    <a:pt x="4589" y="16847"/>
                    <a:pt x="4589" y="17013"/>
                  </a:cubicBezTo>
                  <a:cubicBezTo>
                    <a:pt x="4701" y="17179"/>
                    <a:pt x="4923" y="17677"/>
                    <a:pt x="4923" y="17345"/>
                  </a:cubicBezTo>
                  <a:cubicBezTo>
                    <a:pt x="4923" y="17179"/>
                    <a:pt x="5146" y="16514"/>
                    <a:pt x="5146" y="16514"/>
                  </a:cubicBezTo>
                  <a:cubicBezTo>
                    <a:pt x="5146" y="16348"/>
                    <a:pt x="5480" y="16847"/>
                    <a:pt x="5480" y="16681"/>
                  </a:cubicBezTo>
                  <a:cubicBezTo>
                    <a:pt x="5480" y="16681"/>
                    <a:pt x="5146" y="16681"/>
                    <a:pt x="5146" y="16847"/>
                  </a:cubicBezTo>
                  <a:cubicBezTo>
                    <a:pt x="5146" y="17179"/>
                    <a:pt x="5480" y="17179"/>
                    <a:pt x="5591" y="17013"/>
                  </a:cubicBezTo>
                  <a:cubicBezTo>
                    <a:pt x="5703" y="16847"/>
                    <a:pt x="5814" y="17013"/>
                    <a:pt x="5925" y="16847"/>
                  </a:cubicBezTo>
                  <a:cubicBezTo>
                    <a:pt x="5925" y="16847"/>
                    <a:pt x="6148" y="16514"/>
                    <a:pt x="6148" y="16514"/>
                  </a:cubicBezTo>
                  <a:cubicBezTo>
                    <a:pt x="6148" y="16514"/>
                    <a:pt x="5925" y="17013"/>
                    <a:pt x="5814" y="17179"/>
                  </a:cubicBezTo>
                  <a:cubicBezTo>
                    <a:pt x="5814" y="17345"/>
                    <a:pt x="5814" y="17345"/>
                    <a:pt x="5703" y="17511"/>
                  </a:cubicBezTo>
                  <a:cubicBezTo>
                    <a:pt x="5703" y="17677"/>
                    <a:pt x="5814" y="17511"/>
                    <a:pt x="5814" y="17677"/>
                  </a:cubicBezTo>
                  <a:cubicBezTo>
                    <a:pt x="5814" y="17677"/>
                    <a:pt x="5703" y="17844"/>
                    <a:pt x="5591" y="18010"/>
                  </a:cubicBezTo>
                  <a:cubicBezTo>
                    <a:pt x="5591" y="18342"/>
                    <a:pt x="5591" y="18342"/>
                    <a:pt x="5703" y="18508"/>
                  </a:cubicBezTo>
                  <a:cubicBezTo>
                    <a:pt x="5703" y="18508"/>
                    <a:pt x="5369" y="18841"/>
                    <a:pt x="5257" y="18841"/>
                  </a:cubicBezTo>
                  <a:cubicBezTo>
                    <a:pt x="5146" y="19173"/>
                    <a:pt x="5035" y="19339"/>
                    <a:pt x="4812" y="19505"/>
                  </a:cubicBezTo>
                  <a:cubicBezTo>
                    <a:pt x="4589" y="19505"/>
                    <a:pt x="4367" y="19837"/>
                    <a:pt x="4255" y="20004"/>
                  </a:cubicBezTo>
                  <a:cubicBezTo>
                    <a:pt x="4144" y="20004"/>
                    <a:pt x="4144" y="20170"/>
                    <a:pt x="4033" y="20170"/>
                  </a:cubicBezTo>
                  <a:cubicBezTo>
                    <a:pt x="4033" y="20336"/>
                    <a:pt x="4144" y="20502"/>
                    <a:pt x="4144" y="20502"/>
                  </a:cubicBezTo>
                  <a:cubicBezTo>
                    <a:pt x="4033" y="20668"/>
                    <a:pt x="3699" y="20502"/>
                    <a:pt x="3587" y="20502"/>
                  </a:cubicBezTo>
                  <a:cubicBezTo>
                    <a:pt x="3253" y="20502"/>
                    <a:pt x="3142" y="20668"/>
                    <a:pt x="2919" y="21001"/>
                  </a:cubicBezTo>
                  <a:cubicBezTo>
                    <a:pt x="2808" y="21167"/>
                    <a:pt x="2919" y="21499"/>
                    <a:pt x="3031" y="21333"/>
                  </a:cubicBezTo>
                  <a:cubicBezTo>
                    <a:pt x="3253" y="21167"/>
                    <a:pt x="3476" y="20668"/>
                    <a:pt x="3587" y="20834"/>
                  </a:cubicBezTo>
                  <a:cubicBezTo>
                    <a:pt x="3587" y="20668"/>
                    <a:pt x="3476" y="21333"/>
                    <a:pt x="3810" y="20834"/>
                  </a:cubicBezTo>
                  <a:cubicBezTo>
                    <a:pt x="3810" y="20834"/>
                    <a:pt x="4033" y="21333"/>
                    <a:pt x="4144" y="21001"/>
                  </a:cubicBezTo>
                  <a:cubicBezTo>
                    <a:pt x="4144" y="20834"/>
                    <a:pt x="4033" y="20834"/>
                    <a:pt x="4144" y="20834"/>
                  </a:cubicBezTo>
                  <a:cubicBezTo>
                    <a:pt x="4255" y="20668"/>
                    <a:pt x="4255" y="20668"/>
                    <a:pt x="4367" y="20668"/>
                  </a:cubicBezTo>
                  <a:cubicBezTo>
                    <a:pt x="4478" y="20668"/>
                    <a:pt x="4478" y="20668"/>
                    <a:pt x="4589" y="20502"/>
                  </a:cubicBezTo>
                  <a:cubicBezTo>
                    <a:pt x="4701" y="20336"/>
                    <a:pt x="4923" y="20336"/>
                    <a:pt x="5146" y="20170"/>
                  </a:cubicBezTo>
                  <a:cubicBezTo>
                    <a:pt x="5480" y="20004"/>
                    <a:pt x="5035" y="20004"/>
                    <a:pt x="5257" y="19837"/>
                  </a:cubicBezTo>
                  <a:cubicBezTo>
                    <a:pt x="5369" y="19671"/>
                    <a:pt x="5480" y="19505"/>
                    <a:pt x="5591" y="19505"/>
                  </a:cubicBezTo>
                  <a:cubicBezTo>
                    <a:pt x="5814" y="19339"/>
                    <a:pt x="6037" y="19173"/>
                    <a:pt x="6148" y="19173"/>
                  </a:cubicBezTo>
                  <a:cubicBezTo>
                    <a:pt x="6482" y="18841"/>
                    <a:pt x="6259" y="19007"/>
                    <a:pt x="6259" y="18674"/>
                  </a:cubicBezTo>
                  <a:cubicBezTo>
                    <a:pt x="6259" y="18674"/>
                    <a:pt x="7150" y="18010"/>
                    <a:pt x="7261" y="17844"/>
                  </a:cubicBezTo>
                  <a:cubicBezTo>
                    <a:pt x="7373" y="17844"/>
                    <a:pt x="7595" y="17844"/>
                    <a:pt x="7595" y="17677"/>
                  </a:cubicBezTo>
                  <a:cubicBezTo>
                    <a:pt x="7595" y="17179"/>
                    <a:pt x="7707" y="17345"/>
                    <a:pt x="7930" y="17179"/>
                  </a:cubicBezTo>
                  <a:cubicBezTo>
                    <a:pt x="8264" y="16847"/>
                    <a:pt x="7261" y="16681"/>
                    <a:pt x="7707" y="16016"/>
                  </a:cubicBezTo>
                  <a:cubicBezTo>
                    <a:pt x="7930" y="15850"/>
                    <a:pt x="8152" y="15850"/>
                    <a:pt x="8264" y="15684"/>
                  </a:cubicBezTo>
                  <a:cubicBezTo>
                    <a:pt x="8375" y="15517"/>
                    <a:pt x="8375" y="15019"/>
                    <a:pt x="8152" y="15019"/>
                  </a:cubicBezTo>
                  <a:cubicBezTo>
                    <a:pt x="8375" y="15019"/>
                    <a:pt x="8375" y="15185"/>
                    <a:pt x="8598" y="15019"/>
                  </a:cubicBezTo>
                  <a:cubicBezTo>
                    <a:pt x="8709" y="14853"/>
                    <a:pt x="8820" y="14521"/>
                    <a:pt x="9043" y="14354"/>
                  </a:cubicBezTo>
                  <a:cubicBezTo>
                    <a:pt x="9154" y="14188"/>
                    <a:pt x="9377" y="13856"/>
                    <a:pt x="9488" y="13856"/>
                  </a:cubicBezTo>
                  <a:cubicBezTo>
                    <a:pt x="9600" y="13856"/>
                    <a:pt x="10156" y="13856"/>
                    <a:pt x="10045" y="14188"/>
                  </a:cubicBezTo>
                  <a:cubicBezTo>
                    <a:pt x="9934" y="14354"/>
                    <a:pt x="9711" y="14022"/>
                    <a:pt x="9488" y="14188"/>
                  </a:cubicBezTo>
                  <a:cubicBezTo>
                    <a:pt x="9266" y="14354"/>
                    <a:pt x="9266" y="14521"/>
                    <a:pt x="9154" y="14853"/>
                  </a:cubicBezTo>
                  <a:cubicBezTo>
                    <a:pt x="9154" y="15185"/>
                    <a:pt x="8932" y="15517"/>
                    <a:pt x="8932" y="15850"/>
                  </a:cubicBezTo>
                  <a:cubicBezTo>
                    <a:pt x="8820" y="16016"/>
                    <a:pt x="9266" y="15850"/>
                    <a:pt x="9266" y="16016"/>
                  </a:cubicBezTo>
                  <a:cubicBezTo>
                    <a:pt x="9154" y="16016"/>
                    <a:pt x="8598" y="16348"/>
                    <a:pt x="9043" y="16348"/>
                  </a:cubicBezTo>
                  <a:cubicBezTo>
                    <a:pt x="9377" y="16348"/>
                    <a:pt x="9600" y="16016"/>
                    <a:pt x="9934" y="15850"/>
                  </a:cubicBezTo>
                  <a:cubicBezTo>
                    <a:pt x="10156" y="15517"/>
                    <a:pt x="10379" y="15517"/>
                    <a:pt x="10602" y="15351"/>
                  </a:cubicBezTo>
                  <a:cubicBezTo>
                    <a:pt x="11047" y="15185"/>
                    <a:pt x="10824" y="14853"/>
                    <a:pt x="10824" y="14521"/>
                  </a:cubicBezTo>
                  <a:cubicBezTo>
                    <a:pt x="10713" y="13856"/>
                    <a:pt x="11715" y="14354"/>
                    <a:pt x="11938" y="14521"/>
                  </a:cubicBezTo>
                  <a:cubicBezTo>
                    <a:pt x="12160" y="14521"/>
                    <a:pt x="12272" y="14853"/>
                    <a:pt x="12494" y="15019"/>
                  </a:cubicBezTo>
                  <a:cubicBezTo>
                    <a:pt x="12494" y="15019"/>
                    <a:pt x="12717" y="14521"/>
                    <a:pt x="12828" y="14687"/>
                  </a:cubicBezTo>
                  <a:cubicBezTo>
                    <a:pt x="12828" y="14687"/>
                    <a:pt x="12828" y="15019"/>
                    <a:pt x="12828" y="15185"/>
                  </a:cubicBezTo>
                  <a:cubicBezTo>
                    <a:pt x="13051" y="15351"/>
                    <a:pt x="13163" y="15351"/>
                    <a:pt x="13274" y="15351"/>
                  </a:cubicBezTo>
                  <a:cubicBezTo>
                    <a:pt x="13608" y="15351"/>
                    <a:pt x="13942" y="15185"/>
                    <a:pt x="14165" y="15351"/>
                  </a:cubicBezTo>
                  <a:cubicBezTo>
                    <a:pt x="14276" y="15351"/>
                    <a:pt x="14387" y="15517"/>
                    <a:pt x="14499" y="15351"/>
                  </a:cubicBezTo>
                  <a:cubicBezTo>
                    <a:pt x="14610" y="15351"/>
                    <a:pt x="14610" y="15517"/>
                    <a:pt x="14721" y="15684"/>
                  </a:cubicBezTo>
                  <a:cubicBezTo>
                    <a:pt x="14833" y="15684"/>
                    <a:pt x="15055" y="15850"/>
                    <a:pt x="15167" y="15850"/>
                  </a:cubicBezTo>
                  <a:cubicBezTo>
                    <a:pt x="15389" y="15850"/>
                    <a:pt x="15501" y="15517"/>
                    <a:pt x="15612" y="15517"/>
                  </a:cubicBezTo>
                  <a:cubicBezTo>
                    <a:pt x="15835" y="15351"/>
                    <a:pt x="15723" y="15850"/>
                    <a:pt x="15723" y="15850"/>
                  </a:cubicBezTo>
                  <a:cubicBezTo>
                    <a:pt x="15612" y="16016"/>
                    <a:pt x="15612" y="16016"/>
                    <a:pt x="15723" y="16182"/>
                  </a:cubicBezTo>
                  <a:cubicBezTo>
                    <a:pt x="16057" y="16348"/>
                    <a:pt x="16280" y="16514"/>
                    <a:pt x="16503" y="16681"/>
                  </a:cubicBezTo>
                  <a:cubicBezTo>
                    <a:pt x="16725" y="17013"/>
                    <a:pt x="16948" y="17345"/>
                    <a:pt x="17171" y="17511"/>
                  </a:cubicBezTo>
                  <a:cubicBezTo>
                    <a:pt x="17282" y="17511"/>
                    <a:pt x="17393" y="17345"/>
                    <a:pt x="17505" y="17345"/>
                  </a:cubicBezTo>
                  <a:cubicBezTo>
                    <a:pt x="17616" y="17179"/>
                    <a:pt x="17393" y="17013"/>
                    <a:pt x="17393" y="16847"/>
                  </a:cubicBezTo>
                  <a:cubicBezTo>
                    <a:pt x="17393" y="16681"/>
                    <a:pt x="17727" y="17013"/>
                    <a:pt x="17727" y="17013"/>
                  </a:cubicBezTo>
                  <a:cubicBezTo>
                    <a:pt x="17727" y="17179"/>
                    <a:pt x="18061" y="17511"/>
                    <a:pt x="18173" y="17345"/>
                  </a:cubicBezTo>
                  <a:cubicBezTo>
                    <a:pt x="18173" y="17345"/>
                    <a:pt x="17950" y="16348"/>
                    <a:pt x="17950" y="16348"/>
                  </a:cubicBezTo>
                  <a:cubicBezTo>
                    <a:pt x="18061" y="16348"/>
                    <a:pt x="18284" y="17179"/>
                    <a:pt x="18395" y="17179"/>
                  </a:cubicBezTo>
                  <a:cubicBezTo>
                    <a:pt x="18395" y="17345"/>
                    <a:pt x="18507" y="17677"/>
                    <a:pt x="18618" y="17677"/>
                  </a:cubicBezTo>
                  <a:cubicBezTo>
                    <a:pt x="18730" y="17677"/>
                    <a:pt x="18841" y="17345"/>
                    <a:pt x="18841" y="17345"/>
                  </a:cubicBezTo>
                  <a:cubicBezTo>
                    <a:pt x="18618" y="17511"/>
                    <a:pt x="19286" y="18176"/>
                    <a:pt x="19286" y="18342"/>
                  </a:cubicBezTo>
                  <a:cubicBezTo>
                    <a:pt x="19175" y="18342"/>
                    <a:pt x="19175" y="18342"/>
                    <a:pt x="19175" y="18342"/>
                  </a:cubicBezTo>
                  <a:cubicBezTo>
                    <a:pt x="19064" y="18508"/>
                    <a:pt x="19286" y="18508"/>
                    <a:pt x="19286" y="18674"/>
                  </a:cubicBezTo>
                  <a:cubicBezTo>
                    <a:pt x="19286" y="18674"/>
                    <a:pt x="19064" y="18841"/>
                    <a:pt x="19175" y="18841"/>
                  </a:cubicBezTo>
                  <a:cubicBezTo>
                    <a:pt x="19286" y="19007"/>
                    <a:pt x="19398" y="19173"/>
                    <a:pt x="19509" y="19339"/>
                  </a:cubicBezTo>
                  <a:cubicBezTo>
                    <a:pt x="19732" y="19671"/>
                    <a:pt x="19843" y="19837"/>
                    <a:pt x="20066" y="20004"/>
                  </a:cubicBezTo>
                  <a:cubicBezTo>
                    <a:pt x="20066" y="20004"/>
                    <a:pt x="19843" y="20668"/>
                    <a:pt x="19954" y="20668"/>
                  </a:cubicBezTo>
                  <a:cubicBezTo>
                    <a:pt x="20066" y="20834"/>
                    <a:pt x="20066" y="20502"/>
                    <a:pt x="20066" y="20502"/>
                  </a:cubicBezTo>
                  <a:cubicBezTo>
                    <a:pt x="20177" y="20336"/>
                    <a:pt x="20177" y="20834"/>
                    <a:pt x="20288" y="21001"/>
                  </a:cubicBezTo>
                  <a:cubicBezTo>
                    <a:pt x="20288" y="21001"/>
                    <a:pt x="20288" y="20834"/>
                    <a:pt x="20288" y="20668"/>
                  </a:cubicBezTo>
                  <a:cubicBezTo>
                    <a:pt x="20288" y="21001"/>
                    <a:pt x="20956" y="21499"/>
                    <a:pt x="21068" y="21001"/>
                  </a:cubicBezTo>
                  <a:cubicBezTo>
                    <a:pt x="21068" y="21001"/>
                    <a:pt x="21068" y="21167"/>
                    <a:pt x="21068" y="21167"/>
                  </a:cubicBezTo>
                  <a:cubicBezTo>
                    <a:pt x="21068" y="21167"/>
                    <a:pt x="21179" y="21001"/>
                    <a:pt x="21179" y="20834"/>
                  </a:cubicBezTo>
                  <a:cubicBezTo>
                    <a:pt x="21068" y="20834"/>
                    <a:pt x="21179" y="21001"/>
                    <a:pt x="21179" y="20834"/>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3" name="Shape 2062">
              <a:extLst>
                <a:ext uri="{FF2B5EF4-FFF2-40B4-BE49-F238E27FC236}">
                  <a16:creationId xmlns:a16="http://schemas.microsoft.com/office/drawing/2014/main" id="{D5D1DD28-EE2B-FFD2-782F-0FB220187D17}"/>
                </a:ext>
              </a:extLst>
            </p:cNvPr>
            <p:cNvSpPr/>
            <p:nvPr/>
          </p:nvSpPr>
          <p:spPr>
            <a:xfrm>
              <a:off x="1422653" y="1978991"/>
              <a:ext cx="1894021" cy="938904"/>
            </a:xfrm>
            <a:custGeom>
              <a:avLst/>
              <a:gdLst/>
              <a:ahLst/>
              <a:cxnLst>
                <a:cxn ang="0">
                  <a:pos x="wd2" y="hd2"/>
                </a:cxn>
                <a:cxn ang="5400000">
                  <a:pos x="wd2" y="hd2"/>
                </a:cxn>
                <a:cxn ang="10800000">
                  <a:pos x="wd2" y="hd2"/>
                </a:cxn>
                <a:cxn ang="16200000">
                  <a:pos x="wd2" y="hd2"/>
                </a:cxn>
              </a:cxnLst>
              <a:rect l="0" t="0" r="r" b="b"/>
              <a:pathLst>
                <a:path w="21492" h="21480" extrusionOk="0">
                  <a:moveTo>
                    <a:pt x="5028" y="16193"/>
                  </a:moveTo>
                  <a:cubicBezTo>
                    <a:pt x="5253" y="16193"/>
                    <a:pt x="5477" y="16193"/>
                    <a:pt x="5776" y="16193"/>
                  </a:cubicBezTo>
                  <a:cubicBezTo>
                    <a:pt x="5850" y="16193"/>
                    <a:pt x="6000" y="16193"/>
                    <a:pt x="6075" y="16193"/>
                  </a:cubicBezTo>
                  <a:cubicBezTo>
                    <a:pt x="6149" y="16193"/>
                    <a:pt x="6149" y="15891"/>
                    <a:pt x="6224" y="15891"/>
                  </a:cubicBezTo>
                  <a:cubicBezTo>
                    <a:pt x="6299" y="15740"/>
                    <a:pt x="6747" y="15740"/>
                    <a:pt x="6747" y="15891"/>
                  </a:cubicBezTo>
                  <a:cubicBezTo>
                    <a:pt x="6972" y="16193"/>
                    <a:pt x="7196" y="16495"/>
                    <a:pt x="7420" y="16797"/>
                  </a:cubicBezTo>
                  <a:cubicBezTo>
                    <a:pt x="7420" y="16797"/>
                    <a:pt x="7495" y="17251"/>
                    <a:pt x="7495" y="17402"/>
                  </a:cubicBezTo>
                  <a:cubicBezTo>
                    <a:pt x="7570" y="17704"/>
                    <a:pt x="7570" y="17704"/>
                    <a:pt x="7794" y="17855"/>
                  </a:cubicBezTo>
                  <a:cubicBezTo>
                    <a:pt x="7943" y="18006"/>
                    <a:pt x="8018" y="18157"/>
                    <a:pt x="8093" y="17855"/>
                  </a:cubicBezTo>
                  <a:cubicBezTo>
                    <a:pt x="8167" y="17402"/>
                    <a:pt x="8242" y="17402"/>
                    <a:pt x="8466" y="17553"/>
                  </a:cubicBezTo>
                  <a:cubicBezTo>
                    <a:pt x="8616" y="17553"/>
                    <a:pt x="8840" y="17704"/>
                    <a:pt x="8840" y="18006"/>
                  </a:cubicBezTo>
                  <a:cubicBezTo>
                    <a:pt x="8990" y="18459"/>
                    <a:pt x="9139" y="18610"/>
                    <a:pt x="9289" y="19063"/>
                  </a:cubicBezTo>
                  <a:cubicBezTo>
                    <a:pt x="9438" y="19365"/>
                    <a:pt x="9363" y="19970"/>
                    <a:pt x="9588" y="20121"/>
                  </a:cubicBezTo>
                  <a:cubicBezTo>
                    <a:pt x="9737" y="20423"/>
                    <a:pt x="10036" y="20423"/>
                    <a:pt x="10185" y="20574"/>
                  </a:cubicBezTo>
                  <a:cubicBezTo>
                    <a:pt x="10185" y="20423"/>
                    <a:pt x="10036" y="19365"/>
                    <a:pt x="10036" y="19365"/>
                  </a:cubicBezTo>
                  <a:cubicBezTo>
                    <a:pt x="10185" y="19516"/>
                    <a:pt x="10111" y="19063"/>
                    <a:pt x="10185" y="19063"/>
                  </a:cubicBezTo>
                  <a:cubicBezTo>
                    <a:pt x="10185" y="18912"/>
                    <a:pt x="10335" y="18912"/>
                    <a:pt x="10410" y="18761"/>
                  </a:cubicBezTo>
                  <a:cubicBezTo>
                    <a:pt x="10484" y="18761"/>
                    <a:pt x="10559" y="18308"/>
                    <a:pt x="10559" y="18308"/>
                  </a:cubicBezTo>
                  <a:cubicBezTo>
                    <a:pt x="10634" y="18459"/>
                    <a:pt x="10709" y="18459"/>
                    <a:pt x="10783" y="18308"/>
                  </a:cubicBezTo>
                  <a:cubicBezTo>
                    <a:pt x="10933" y="18157"/>
                    <a:pt x="11008" y="18157"/>
                    <a:pt x="11082" y="17855"/>
                  </a:cubicBezTo>
                  <a:cubicBezTo>
                    <a:pt x="11232" y="17704"/>
                    <a:pt x="11008" y="17704"/>
                    <a:pt x="11008" y="17553"/>
                  </a:cubicBezTo>
                  <a:cubicBezTo>
                    <a:pt x="11008" y="17553"/>
                    <a:pt x="11232" y="17704"/>
                    <a:pt x="11307" y="17553"/>
                  </a:cubicBezTo>
                  <a:cubicBezTo>
                    <a:pt x="11456" y="17402"/>
                    <a:pt x="11531" y="17402"/>
                    <a:pt x="11680" y="17402"/>
                  </a:cubicBezTo>
                  <a:cubicBezTo>
                    <a:pt x="11830" y="17402"/>
                    <a:pt x="11904" y="17855"/>
                    <a:pt x="12054" y="17704"/>
                  </a:cubicBezTo>
                  <a:cubicBezTo>
                    <a:pt x="12278" y="17402"/>
                    <a:pt x="12353" y="17704"/>
                    <a:pt x="12502" y="17855"/>
                  </a:cubicBezTo>
                  <a:cubicBezTo>
                    <a:pt x="12652" y="18006"/>
                    <a:pt x="12727" y="17704"/>
                    <a:pt x="12801" y="17704"/>
                  </a:cubicBezTo>
                  <a:cubicBezTo>
                    <a:pt x="12876" y="17553"/>
                    <a:pt x="13100" y="17855"/>
                    <a:pt x="13100" y="18006"/>
                  </a:cubicBezTo>
                  <a:cubicBezTo>
                    <a:pt x="13175" y="18157"/>
                    <a:pt x="13250" y="18006"/>
                    <a:pt x="13175" y="17855"/>
                  </a:cubicBezTo>
                  <a:cubicBezTo>
                    <a:pt x="13175" y="17855"/>
                    <a:pt x="13100" y="17704"/>
                    <a:pt x="13026" y="17704"/>
                  </a:cubicBezTo>
                  <a:cubicBezTo>
                    <a:pt x="12951" y="17553"/>
                    <a:pt x="13100" y="17553"/>
                    <a:pt x="13100" y="17553"/>
                  </a:cubicBezTo>
                  <a:cubicBezTo>
                    <a:pt x="13026" y="17251"/>
                    <a:pt x="13026" y="17100"/>
                    <a:pt x="12876" y="17251"/>
                  </a:cubicBezTo>
                  <a:cubicBezTo>
                    <a:pt x="12876" y="17251"/>
                    <a:pt x="12577" y="17251"/>
                    <a:pt x="12727" y="16949"/>
                  </a:cubicBezTo>
                  <a:cubicBezTo>
                    <a:pt x="12876" y="16949"/>
                    <a:pt x="12951" y="17100"/>
                    <a:pt x="13026" y="17100"/>
                  </a:cubicBezTo>
                  <a:cubicBezTo>
                    <a:pt x="13250" y="16949"/>
                    <a:pt x="13399" y="16949"/>
                    <a:pt x="13624" y="16949"/>
                  </a:cubicBezTo>
                  <a:cubicBezTo>
                    <a:pt x="13698" y="16949"/>
                    <a:pt x="13624" y="16949"/>
                    <a:pt x="13698" y="17100"/>
                  </a:cubicBezTo>
                  <a:cubicBezTo>
                    <a:pt x="13698" y="17100"/>
                    <a:pt x="13773" y="17100"/>
                    <a:pt x="13848" y="16949"/>
                  </a:cubicBezTo>
                  <a:cubicBezTo>
                    <a:pt x="13997" y="16949"/>
                    <a:pt x="14147" y="16949"/>
                    <a:pt x="14296" y="16949"/>
                  </a:cubicBezTo>
                  <a:cubicBezTo>
                    <a:pt x="14446" y="16949"/>
                    <a:pt x="14446" y="17251"/>
                    <a:pt x="14595" y="17402"/>
                  </a:cubicBezTo>
                  <a:cubicBezTo>
                    <a:pt x="14745" y="17704"/>
                    <a:pt x="14894" y="17402"/>
                    <a:pt x="15044" y="17251"/>
                  </a:cubicBezTo>
                  <a:cubicBezTo>
                    <a:pt x="15118" y="17251"/>
                    <a:pt x="15567" y="18157"/>
                    <a:pt x="15567" y="18308"/>
                  </a:cubicBezTo>
                  <a:cubicBezTo>
                    <a:pt x="15642" y="18459"/>
                    <a:pt x="15492" y="18761"/>
                    <a:pt x="15567" y="18912"/>
                  </a:cubicBezTo>
                  <a:cubicBezTo>
                    <a:pt x="15642" y="19214"/>
                    <a:pt x="15567" y="19214"/>
                    <a:pt x="15642" y="19516"/>
                  </a:cubicBezTo>
                  <a:cubicBezTo>
                    <a:pt x="15642" y="19667"/>
                    <a:pt x="15716" y="19818"/>
                    <a:pt x="15716" y="19818"/>
                  </a:cubicBezTo>
                  <a:cubicBezTo>
                    <a:pt x="15791" y="19818"/>
                    <a:pt x="15791" y="19970"/>
                    <a:pt x="15866" y="19970"/>
                  </a:cubicBezTo>
                  <a:cubicBezTo>
                    <a:pt x="15940" y="20121"/>
                    <a:pt x="15866" y="20423"/>
                    <a:pt x="15940" y="20574"/>
                  </a:cubicBezTo>
                  <a:cubicBezTo>
                    <a:pt x="16015" y="20725"/>
                    <a:pt x="16090" y="20725"/>
                    <a:pt x="16165" y="21027"/>
                  </a:cubicBezTo>
                  <a:cubicBezTo>
                    <a:pt x="16314" y="21480"/>
                    <a:pt x="16239" y="21027"/>
                    <a:pt x="16389" y="21178"/>
                  </a:cubicBezTo>
                  <a:cubicBezTo>
                    <a:pt x="16389" y="21178"/>
                    <a:pt x="16389" y="21480"/>
                    <a:pt x="16389" y="21480"/>
                  </a:cubicBezTo>
                  <a:cubicBezTo>
                    <a:pt x="16464" y="21480"/>
                    <a:pt x="16538" y="20423"/>
                    <a:pt x="16538" y="20272"/>
                  </a:cubicBezTo>
                  <a:cubicBezTo>
                    <a:pt x="16538" y="19818"/>
                    <a:pt x="16464" y="19516"/>
                    <a:pt x="16389" y="18912"/>
                  </a:cubicBezTo>
                  <a:cubicBezTo>
                    <a:pt x="16239" y="18459"/>
                    <a:pt x="16239" y="18006"/>
                    <a:pt x="16165" y="17553"/>
                  </a:cubicBezTo>
                  <a:cubicBezTo>
                    <a:pt x="16015" y="17251"/>
                    <a:pt x="15940" y="16646"/>
                    <a:pt x="16015" y="16193"/>
                  </a:cubicBezTo>
                  <a:cubicBezTo>
                    <a:pt x="16090" y="15740"/>
                    <a:pt x="16239" y="15438"/>
                    <a:pt x="16464" y="15136"/>
                  </a:cubicBezTo>
                  <a:cubicBezTo>
                    <a:pt x="16538" y="14985"/>
                    <a:pt x="16613" y="14985"/>
                    <a:pt x="16688" y="14834"/>
                  </a:cubicBezTo>
                  <a:cubicBezTo>
                    <a:pt x="16763" y="14683"/>
                    <a:pt x="16837" y="14381"/>
                    <a:pt x="16912" y="14381"/>
                  </a:cubicBezTo>
                  <a:cubicBezTo>
                    <a:pt x="17062" y="14079"/>
                    <a:pt x="17286" y="14079"/>
                    <a:pt x="17435" y="13777"/>
                  </a:cubicBezTo>
                  <a:cubicBezTo>
                    <a:pt x="17510" y="13625"/>
                    <a:pt x="17585" y="13323"/>
                    <a:pt x="17734" y="13323"/>
                  </a:cubicBezTo>
                  <a:cubicBezTo>
                    <a:pt x="17734" y="13323"/>
                    <a:pt x="18033" y="13323"/>
                    <a:pt x="17958" y="13021"/>
                  </a:cubicBezTo>
                  <a:cubicBezTo>
                    <a:pt x="17958" y="13021"/>
                    <a:pt x="17734" y="13172"/>
                    <a:pt x="17734" y="13172"/>
                  </a:cubicBezTo>
                  <a:cubicBezTo>
                    <a:pt x="17734" y="13021"/>
                    <a:pt x="17884" y="13172"/>
                    <a:pt x="17809" y="12870"/>
                  </a:cubicBezTo>
                  <a:cubicBezTo>
                    <a:pt x="17809" y="12870"/>
                    <a:pt x="17734" y="12719"/>
                    <a:pt x="17809" y="12719"/>
                  </a:cubicBezTo>
                  <a:cubicBezTo>
                    <a:pt x="17809" y="12568"/>
                    <a:pt x="17809" y="12719"/>
                    <a:pt x="17884" y="12568"/>
                  </a:cubicBezTo>
                  <a:cubicBezTo>
                    <a:pt x="17809" y="12719"/>
                    <a:pt x="17958" y="12870"/>
                    <a:pt x="17958" y="12719"/>
                  </a:cubicBezTo>
                  <a:cubicBezTo>
                    <a:pt x="18033" y="12719"/>
                    <a:pt x="18257" y="12417"/>
                    <a:pt x="18183" y="12266"/>
                  </a:cubicBezTo>
                  <a:cubicBezTo>
                    <a:pt x="18183" y="12417"/>
                    <a:pt x="17734" y="12266"/>
                    <a:pt x="17809" y="12115"/>
                  </a:cubicBezTo>
                  <a:cubicBezTo>
                    <a:pt x="17809" y="11964"/>
                    <a:pt x="17884" y="12266"/>
                    <a:pt x="17958" y="12115"/>
                  </a:cubicBezTo>
                  <a:cubicBezTo>
                    <a:pt x="17958" y="12115"/>
                    <a:pt x="18108" y="11964"/>
                    <a:pt x="18108" y="11964"/>
                  </a:cubicBezTo>
                  <a:cubicBezTo>
                    <a:pt x="18108" y="11964"/>
                    <a:pt x="18033" y="11813"/>
                    <a:pt x="18033" y="11662"/>
                  </a:cubicBezTo>
                  <a:cubicBezTo>
                    <a:pt x="18108" y="11511"/>
                    <a:pt x="18108" y="11360"/>
                    <a:pt x="17958" y="11360"/>
                  </a:cubicBezTo>
                  <a:cubicBezTo>
                    <a:pt x="17958" y="11360"/>
                    <a:pt x="17659" y="11058"/>
                    <a:pt x="17659" y="11058"/>
                  </a:cubicBezTo>
                  <a:cubicBezTo>
                    <a:pt x="17734" y="10907"/>
                    <a:pt x="17809" y="11058"/>
                    <a:pt x="17884" y="11058"/>
                  </a:cubicBezTo>
                  <a:cubicBezTo>
                    <a:pt x="17958" y="10907"/>
                    <a:pt x="17809" y="10604"/>
                    <a:pt x="17734" y="10604"/>
                  </a:cubicBezTo>
                  <a:cubicBezTo>
                    <a:pt x="17659" y="10453"/>
                    <a:pt x="17585" y="10302"/>
                    <a:pt x="17585" y="10151"/>
                  </a:cubicBezTo>
                  <a:cubicBezTo>
                    <a:pt x="17510" y="10000"/>
                    <a:pt x="17734" y="9698"/>
                    <a:pt x="17659" y="9547"/>
                  </a:cubicBezTo>
                  <a:cubicBezTo>
                    <a:pt x="17734" y="9698"/>
                    <a:pt x="17659" y="9849"/>
                    <a:pt x="17659" y="10000"/>
                  </a:cubicBezTo>
                  <a:cubicBezTo>
                    <a:pt x="17659" y="10000"/>
                    <a:pt x="17809" y="10302"/>
                    <a:pt x="17809" y="10302"/>
                  </a:cubicBezTo>
                  <a:cubicBezTo>
                    <a:pt x="17958" y="10000"/>
                    <a:pt x="17809" y="9245"/>
                    <a:pt x="18033" y="9094"/>
                  </a:cubicBezTo>
                  <a:cubicBezTo>
                    <a:pt x="17958" y="9094"/>
                    <a:pt x="17958" y="9849"/>
                    <a:pt x="18033" y="10000"/>
                  </a:cubicBezTo>
                  <a:cubicBezTo>
                    <a:pt x="18033" y="10302"/>
                    <a:pt x="18183" y="10302"/>
                    <a:pt x="18183" y="10604"/>
                  </a:cubicBezTo>
                  <a:cubicBezTo>
                    <a:pt x="18183" y="10756"/>
                    <a:pt x="17958" y="11058"/>
                    <a:pt x="18033" y="11209"/>
                  </a:cubicBezTo>
                  <a:cubicBezTo>
                    <a:pt x="18033" y="11209"/>
                    <a:pt x="18482" y="10302"/>
                    <a:pt x="18407" y="10000"/>
                  </a:cubicBezTo>
                  <a:cubicBezTo>
                    <a:pt x="18407" y="9698"/>
                    <a:pt x="18257" y="9547"/>
                    <a:pt x="18257" y="9245"/>
                  </a:cubicBezTo>
                  <a:cubicBezTo>
                    <a:pt x="18183" y="9094"/>
                    <a:pt x="18257" y="8641"/>
                    <a:pt x="18407" y="8792"/>
                  </a:cubicBezTo>
                  <a:cubicBezTo>
                    <a:pt x="18332" y="8641"/>
                    <a:pt x="18257" y="9094"/>
                    <a:pt x="18332" y="9245"/>
                  </a:cubicBezTo>
                  <a:cubicBezTo>
                    <a:pt x="18482" y="9547"/>
                    <a:pt x="18482" y="9698"/>
                    <a:pt x="18631" y="9245"/>
                  </a:cubicBezTo>
                  <a:cubicBezTo>
                    <a:pt x="18706" y="9094"/>
                    <a:pt x="18855" y="8641"/>
                    <a:pt x="18781" y="8339"/>
                  </a:cubicBezTo>
                  <a:cubicBezTo>
                    <a:pt x="18781" y="8339"/>
                    <a:pt x="18706" y="8188"/>
                    <a:pt x="18781" y="8037"/>
                  </a:cubicBezTo>
                  <a:cubicBezTo>
                    <a:pt x="18781" y="8037"/>
                    <a:pt x="18855" y="7735"/>
                    <a:pt x="18855" y="7735"/>
                  </a:cubicBezTo>
                  <a:cubicBezTo>
                    <a:pt x="18855" y="7735"/>
                    <a:pt x="18855" y="8037"/>
                    <a:pt x="18855" y="8037"/>
                  </a:cubicBezTo>
                  <a:cubicBezTo>
                    <a:pt x="18855" y="8037"/>
                    <a:pt x="19229" y="7583"/>
                    <a:pt x="19379" y="7583"/>
                  </a:cubicBezTo>
                  <a:cubicBezTo>
                    <a:pt x="19453" y="7432"/>
                    <a:pt x="19603" y="7583"/>
                    <a:pt x="19677" y="7583"/>
                  </a:cubicBezTo>
                  <a:cubicBezTo>
                    <a:pt x="19827" y="7432"/>
                    <a:pt x="19752" y="7281"/>
                    <a:pt x="19752" y="7130"/>
                  </a:cubicBezTo>
                  <a:cubicBezTo>
                    <a:pt x="19827" y="7130"/>
                    <a:pt x="19827" y="7432"/>
                    <a:pt x="19902" y="7432"/>
                  </a:cubicBezTo>
                  <a:cubicBezTo>
                    <a:pt x="19902" y="7432"/>
                    <a:pt x="20051" y="7281"/>
                    <a:pt x="20051" y="7281"/>
                  </a:cubicBezTo>
                  <a:cubicBezTo>
                    <a:pt x="20201" y="7583"/>
                    <a:pt x="20500" y="6828"/>
                    <a:pt x="20275" y="6828"/>
                  </a:cubicBezTo>
                  <a:cubicBezTo>
                    <a:pt x="20275" y="6828"/>
                    <a:pt x="20275" y="7130"/>
                    <a:pt x="20201" y="7130"/>
                  </a:cubicBezTo>
                  <a:cubicBezTo>
                    <a:pt x="20126" y="7130"/>
                    <a:pt x="19976" y="6526"/>
                    <a:pt x="19976" y="6526"/>
                  </a:cubicBezTo>
                  <a:cubicBezTo>
                    <a:pt x="20051" y="6375"/>
                    <a:pt x="19976" y="6224"/>
                    <a:pt x="20051" y="6073"/>
                  </a:cubicBezTo>
                  <a:cubicBezTo>
                    <a:pt x="20126" y="5771"/>
                    <a:pt x="20201" y="5469"/>
                    <a:pt x="20275" y="5318"/>
                  </a:cubicBezTo>
                  <a:cubicBezTo>
                    <a:pt x="20350" y="5318"/>
                    <a:pt x="20425" y="5167"/>
                    <a:pt x="20425" y="5167"/>
                  </a:cubicBezTo>
                  <a:cubicBezTo>
                    <a:pt x="20574" y="5318"/>
                    <a:pt x="20649" y="4865"/>
                    <a:pt x="20724" y="4714"/>
                  </a:cubicBezTo>
                  <a:cubicBezTo>
                    <a:pt x="20724" y="4714"/>
                    <a:pt x="20873" y="4865"/>
                    <a:pt x="20948" y="4714"/>
                  </a:cubicBezTo>
                  <a:cubicBezTo>
                    <a:pt x="21098" y="4563"/>
                    <a:pt x="21247" y="4563"/>
                    <a:pt x="21322" y="4411"/>
                  </a:cubicBezTo>
                  <a:cubicBezTo>
                    <a:pt x="21397" y="4411"/>
                    <a:pt x="21546" y="4260"/>
                    <a:pt x="21471" y="4109"/>
                  </a:cubicBezTo>
                  <a:cubicBezTo>
                    <a:pt x="21322" y="3807"/>
                    <a:pt x="21322" y="3656"/>
                    <a:pt x="21247" y="3505"/>
                  </a:cubicBezTo>
                  <a:cubicBezTo>
                    <a:pt x="20948" y="3354"/>
                    <a:pt x="21397" y="1995"/>
                    <a:pt x="20948" y="1995"/>
                  </a:cubicBezTo>
                  <a:cubicBezTo>
                    <a:pt x="20873" y="1844"/>
                    <a:pt x="20799" y="2146"/>
                    <a:pt x="20724" y="1995"/>
                  </a:cubicBezTo>
                  <a:cubicBezTo>
                    <a:pt x="20649" y="1844"/>
                    <a:pt x="20649" y="1693"/>
                    <a:pt x="20574" y="1844"/>
                  </a:cubicBezTo>
                  <a:cubicBezTo>
                    <a:pt x="20500" y="1995"/>
                    <a:pt x="20425" y="2297"/>
                    <a:pt x="20350" y="2448"/>
                  </a:cubicBezTo>
                  <a:cubicBezTo>
                    <a:pt x="20275" y="2599"/>
                    <a:pt x="20275" y="2901"/>
                    <a:pt x="20201" y="3052"/>
                  </a:cubicBezTo>
                  <a:cubicBezTo>
                    <a:pt x="20201" y="3354"/>
                    <a:pt x="20126" y="3807"/>
                    <a:pt x="19976" y="3807"/>
                  </a:cubicBezTo>
                  <a:cubicBezTo>
                    <a:pt x="19827" y="3807"/>
                    <a:pt x="19827" y="4109"/>
                    <a:pt x="19677" y="4109"/>
                  </a:cubicBezTo>
                  <a:cubicBezTo>
                    <a:pt x="19304" y="4109"/>
                    <a:pt x="18930" y="4109"/>
                    <a:pt x="18556" y="4109"/>
                  </a:cubicBezTo>
                  <a:cubicBezTo>
                    <a:pt x="18407" y="4109"/>
                    <a:pt x="18407" y="4109"/>
                    <a:pt x="18332" y="4260"/>
                  </a:cubicBezTo>
                  <a:cubicBezTo>
                    <a:pt x="18257" y="4563"/>
                    <a:pt x="17958" y="4865"/>
                    <a:pt x="17958" y="5016"/>
                  </a:cubicBezTo>
                  <a:cubicBezTo>
                    <a:pt x="18033" y="5469"/>
                    <a:pt x="17809" y="5771"/>
                    <a:pt x="17659" y="5771"/>
                  </a:cubicBezTo>
                  <a:cubicBezTo>
                    <a:pt x="17510" y="5771"/>
                    <a:pt x="17435" y="5620"/>
                    <a:pt x="17286" y="5620"/>
                  </a:cubicBezTo>
                  <a:cubicBezTo>
                    <a:pt x="17136" y="5620"/>
                    <a:pt x="16987" y="5771"/>
                    <a:pt x="16912" y="5771"/>
                  </a:cubicBezTo>
                  <a:cubicBezTo>
                    <a:pt x="16912" y="5771"/>
                    <a:pt x="16912" y="6224"/>
                    <a:pt x="16987" y="6224"/>
                  </a:cubicBezTo>
                  <a:cubicBezTo>
                    <a:pt x="16912" y="6375"/>
                    <a:pt x="16837" y="6526"/>
                    <a:pt x="16688" y="6677"/>
                  </a:cubicBezTo>
                  <a:cubicBezTo>
                    <a:pt x="16538" y="6828"/>
                    <a:pt x="16314" y="7130"/>
                    <a:pt x="16090" y="7281"/>
                  </a:cubicBezTo>
                  <a:cubicBezTo>
                    <a:pt x="15866" y="7432"/>
                    <a:pt x="15642" y="7432"/>
                    <a:pt x="15417" y="7281"/>
                  </a:cubicBezTo>
                  <a:cubicBezTo>
                    <a:pt x="15343" y="7130"/>
                    <a:pt x="15268" y="6979"/>
                    <a:pt x="15343" y="6828"/>
                  </a:cubicBezTo>
                  <a:cubicBezTo>
                    <a:pt x="15343" y="6828"/>
                    <a:pt x="15417" y="6526"/>
                    <a:pt x="15492" y="6526"/>
                  </a:cubicBezTo>
                  <a:cubicBezTo>
                    <a:pt x="15492" y="6526"/>
                    <a:pt x="15492" y="6677"/>
                    <a:pt x="15492" y="6828"/>
                  </a:cubicBezTo>
                  <a:cubicBezTo>
                    <a:pt x="15642" y="6224"/>
                    <a:pt x="15716" y="5771"/>
                    <a:pt x="15567" y="5167"/>
                  </a:cubicBezTo>
                  <a:cubicBezTo>
                    <a:pt x="15492" y="5016"/>
                    <a:pt x="15343" y="5318"/>
                    <a:pt x="15268" y="5318"/>
                  </a:cubicBezTo>
                  <a:cubicBezTo>
                    <a:pt x="15193" y="5469"/>
                    <a:pt x="15193" y="5318"/>
                    <a:pt x="15118" y="5318"/>
                  </a:cubicBezTo>
                  <a:cubicBezTo>
                    <a:pt x="15044" y="5167"/>
                    <a:pt x="15193" y="5016"/>
                    <a:pt x="15193" y="5016"/>
                  </a:cubicBezTo>
                  <a:cubicBezTo>
                    <a:pt x="15492" y="4411"/>
                    <a:pt x="15268" y="3807"/>
                    <a:pt x="14969" y="3656"/>
                  </a:cubicBezTo>
                  <a:cubicBezTo>
                    <a:pt x="14745" y="3505"/>
                    <a:pt x="14745" y="3656"/>
                    <a:pt x="14595" y="3807"/>
                  </a:cubicBezTo>
                  <a:cubicBezTo>
                    <a:pt x="14595" y="3958"/>
                    <a:pt x="14595" y="3958"/>
                    <a:pt x="14595" y="4109"/>
                  </a:cubicBezTo>
                  <a:cubicBezTo>
                    <a:pt x="14595" y="4260"/>
                    <a:pt x="14446" y="4109"/>
                    <a:pt x="14371" y="4109"/>
                  </a:cubicBezTo>
                  <a:cubicBezTo>
                    <a:pt x="14296" y="4109"/>
                    <a:pt x="14147" y="5318"/>
                    <a:pt x="14147" y="5469"/>
                  </a:cubicBezTo>
                  <a:cubicBezTo>
                    <a:pt x="14221" y="6224"/>
                    <a:pt x="14296" y="6677"/>
                    <a:pt x="13997" y="6979"/>
                  </a:cubicBezTo>
                  <a:cubicBezTo>
                    <a:pt x="13997" y="7130"/>
                    <a:pt x="13773" y="7281"/>
                    <a:pt x="13773" y="7130"/>
                  </a:cubicBezTo>
                  <a:cubicBezTo>
                    <a:pt x="13773" y="6828"/>
                    <a:pt x="13698" y="6526"/>
                    <a:pt x="13698" y="6224"/>
                  </a:cubicBezTo>
                  <a:cubicBezTo>
                    <a:pt x="13698" y="6073"/>
                    <a:pt x="13848" y="4411"/>
                    <a:pt x="13848" y="4411"/>
                  </a:cubicBezTo>
                  <a:cubicBezTo>
                    <a:pt x="13773" y="4411"/>
                    <a:pt x="13624" y="4714"/>
                    <a:pt x="13624" y="4563"/>
                  </a:cubicBezTo>
                  <a:cubicBezTo>
                    <a:pt x="13624" y="4411"/>
                    <a:pt x="13848" y="3807"/>
                    <a:pt x="13922" y="3656"/>
                  </a:cubicBezTo>
                  <a:cubicBezTo>
                    <a:pt x="13997" y="3354"/>
                    <a:pt x="14221" y="3354"/>
                    <a:pt x="14371" y="3203"/>
                  </a:cubicBezTo>
                  <a:cubicBezTo>
                    <a:pt x="14595" y="3203"/>
                    <a:pt x="14819" y="3354"/>
                    <a:pt x="15044" y="3354"/>
                  </a:cubicBezTo>
                  <a:cubicBezTo>
                    <a:pt x="15268" y="3354"/>
                    <a:pt x="14969" y="2901"/>
                    <a:pt x="14819" y="2901"/>
                  </a:cubicBezTo>
                  <a:cubicBezTo>
                    <a:pt x="14670" y="2901"/>
                    <a:pt x="14819" y="2448"/>
                    <a:pt x="14595" y="2448"/>
                  </a:cubicBezTo>
                  <a:cubicBezTo>
                    <a:pt x="14446" y="2599"/>
                    <a:pt x="14296" y="2750"/>
                    <a:pt x="14072" y="2750"/>
                  </a:cubicBezTo>
                  <a:cubicBezTo>
                    <a:pt x="13922" y="2750"/>
                    <a:pt x="13773" y="2448"/>
                    <a:pt x="13624" y="2297"/>
                  </a:cubicBezTo>
                  <a:cubicBezTo>
                    <a:pt x="13624" y="2297"/>
                    <a:pt x="13399" y="2297"/>
                    <a:pt x="13474" y="2146"/>
                  </a:cubicBezTo>
                  <a:cubicBezTo>
                    <a:pt x="13549" y="2146"/>
                    <a:pt x="13698" y="1995"/>
                    <a:pt x="13698" y="1844"/>
                  </a:cubicBezTo>
                  <a:cubicBezTo>
                    <a:pt x="13698" y="1844"/>
                    <a:pt x="13100" y="2297"/>
                    <a:pt x="13026" y="2297"/>
                  </a:cubicBezTo>
                  <a:cubicBezTo>
                    <a:pt x="12951" y="2448"/>
                    <a:pt x="12876" y="2599"/>
                    <a:pt x="12801" y="2599"/>
                  </a:cubicBezTo>
                  <a:cubicBezTo>
                    <a:pt x="12652" y="2599"/>
                    <a:pt x="12652" y="2297"/>
                    <a:pt x="12502" y="2297"/>
                  </a:cubicBezTo>
                  <a:cubicBezTo>
                    <a:pt x="12428" y="2297"/>
                    <a:pt x="12054" y="2599"/>
                    <a:pt x="12278" y="2146"/>
                  </a:cubicBezTo>
                  <a:cubicBezTo>
                    <a:pt x="12502" y="1844"/>
                    <a:pt x="12727" y="1542"/>
                    <a:pt x="12951" y="1239"/>
                  </a:cubicBezTo>
                  <a:cubicBezTo>
                    <a:pt x="12801" y="1239"/>
                    <a:pt x="12652" y="937"/>
                    <a:pt x="12502" y="1239"/>
                  </a:cubicBezTo>
                  <a:cubicBezTo>
                    <a:pt x="12278" y="1390"/>
                    <a:pt x="12203" y="1088"/>
                    <a:pt x="11979" y="937"/>
                  </a:cubicBezTo>
                  <a:cubicBezTo>
                    <a:pt x="11904" y="937"/>
                    <a:pt x="11830" y="786"/>
                    <a:pt x="11755" y="635"/>
                  </a:cubicBezTo>
                  <a:cubicBezTo>
                    <a:pt x="11606" y="635"/>
                    <a:pt x="11531" y="786"/>
                    <a:pt x="11381" y="786"/>
                  </a:cubicBezTo>
                  <a:cubicBezTo>
                    <a:pt x="11307" y="635"/>
                    <a:pt x="11157" y="635"/>
                    <a:pt x="11157" y="333"/>
                  </a:cubicBezTo>
                  <a:cubicBezTo>
                    <a:pt x="11157" y="333"/>
                    <a:pt x="11008" y="-120"/>
                    <a:pt x="11008" y="31"/>
                  </a:cubicBezTo>
                  <a:cubicBezTo>
                    <a:pt x="10933" y="31"/>
                    <a:pt x="11008" y="484"/>
                    <a:pt x="10933" y="484"/>
                  </a:cubicBezTo>
                  <a:cubicBezTo>
                    <a:pt x="10858" y="484"/>
                    <a:pt x="10783" y="484"/>
                    <a:pt x="10783" y="484"/>
                  </a:cubicBezTo>
                  <a:cubicBezTo>
                    <a:pt x="10559" y="484"/>
                    <a:pt x="10335" y="484"/>
                    <a:pt x="10111" y="484"/>
                  </a:cubicBezTo>
                  <a:cubicBezTo>
                    <a:pt x="9289" y="484"/>
                    <a:pt x="8541" y="484"/>
                    <a:pt x="7794" y="484"/>
                  </a:cubicBezTo>
                  <a:cubicBezTo>
                    <a:pt x="5925" y="484"/>
                    <a:pt x="4057" y="484"/>
                    <a:pt x="2188" y="484"/>
                  </a:cubicBezTo>
                  <a:cubicBezTo>
                    <a:pt x="1740" y="484"/>
                    <a:pt x="1217" y="484"/>
                    <a:pt x="768" y="484"/>
                  </a:cubicBezTo>
                  <a:cubicBezTo>
                    <a:pt x="843" y="635"/>
                    <a:pt x="992" y="1844"/>
                    <a:pt x="768" y="1995"/>
                  </a:cubicBezTo>
                  <a:cubicBezTo>
                    <a:pt x="619" y="1995"/>
                    <a:pt x="544" y="1995"/>
                    <a:pt x="693" y="1693"/>
                  </a:cubicBezTo>
                  <a:cubicBezTo>
                    <a:pt x="843" y="1239"/>
                    <a:pt x="619" y="1239"/>
                    <a:pt x="469" y="1239"/>
                  </a:cubicBezTo>
                  <a:cubicBezTo>
                    <a:pt x="320" y="1239"/>
                    <a:pt x="95" y="937"/>
                    <a:pt x="21" y="937"/>
                  </a:cubicBezTo>
                  <a:cubicBezTo>
                    <a:pt x="-54" y="1088"/>
                    <a:pt x="95" y="1693"/>
                    <a:pt x="95" y="1693"/>
                  </a:cubicBezTo>
                  <a:cubicBezTo>
                    <a:pt x="170" y="2146"/>
                    <a:pt x="245" y="2297"/>
                    <a:pt x="245" y="2599"/>
                  </a:cubicBezTo>
                  <a:cubicBezTo>
                    <a:pt x="245" y="2750"/>
                    <a:pt x="469" y="3052"/>
                    <a:pt x="544" y="3052"/>
                  </a:cubicBezTo>
                  <a:cubicBezTo>
                    <a:pt x="469" y="3052"/>
                    <a:pt x="394" y="3052"/>
                    <a:pt x="320" y="3203"/>
                  </a:cubicBezTo>
                  <a:cubicBezTo>
                    <a:pt x="245" y="3354"/>
                    <a:pt x="320" y="3505"/>
                    <a:pt x="320" y="3656"/>
                  </a:cubicBezTo>
                  <a:cubicBezTo>
                    <a:pt x="320" y="4109"/>
                    <a:pt x="320" y="4411"/>
                    <a:pt x="245" y="4714"/>
                  </a:cubicBezTo>
                  <a:cubicBezTo>
                    <a:pt x="245" y="5167"/>
                    <a:pt x="170" y="5469"/>
                    <a:pt x="95" y="5922"/>
                  </a:cubicBezTo>
                  <a:cubicBezTo>
                    <a:pt x="21" y="6375"/>
                    <a:pt x="170" y="6828"/>
                    <a:pt x="245" y="7281"/>
                  </a:cubicBezTo>
                  <a:cubicBezTo>
                    <a:pt x="245" y="7735"/>
                    <a:pt x="170" y="8037"/>
                    <a:pt x="170" y="8339"/>
                  </a:cubicBezTo>
                  <a:cubicBezTo>
                    <a:pt x="170" y="8490"/>
                    <a:pt x="245" y="8641"/>
                    <a:pt x="245" y="8792"/>
                  </a:cubicBezTo>
                  <a:cubicBezTo>
                    <a:pt x="320" y="8943"/>
                    <a:pt x="320" y="9245"/>
                    <a:pt x="320" y="9396"/>
                  </a:cubicBezTo>
                  <a:cubicBezTo>
                    <a:pt x="394" y="9849"/>
                    <a:pt x="619" y="10000"/>
                    <a:pt x="693" y="10453"/>
                  </a:cubicBezTo>
                  <a:cubicBezTo>
                    <a:pt x="768" y="10756"/>
                    <a:pt x="768" y="10604"/>
                    <a:pt x="843" y="10453"/>
                  </a:cubicBezTo>
                  <a:cubicBezTo>
                    <a:pt x="843" y="10453"/>
                    <a:pt x="918" y="10907"/>
                    <a:pt x="918" y="10907"/>
                  </a:cubicBezTo>
                  <a:cubicBezTo>
                    <a:pt x="918" y="10907"/>
                    <a:pt x="843" y="10756"/>
                    <a:pt x="843" y="10907"/>
                  </a:cubicBezTo>
                  <a:cubicBezTo>
                    <a:pt x="843" y="11058"/>
                    <a:pt x="843" y="11209"/>
                    <a:pt x="918" y="11360"/>
                  </a:cubicBezTo>
                  <a:cubicBezTo>
                    <a:pt x="992" y="11360"/>
                    <a:pt x="992" y="11360"/>
                    <a:pt x="1067" y="11511"/>
                  </a:cubicBezTo>
                  <a:cubicBezTo>
                    <a:pt x="1142" y="11662"/>
                    <a:pt x="992" y="11813"/>
                    <a:pt x="1067" y="11964"/>
                  </a:cubicBezTo>
                  <a:cubicBezTo>
                    <a:pt x="1217" y="12417"/>
                    <a:pt x="1516" y="12719"/>
                    <a:pt x="1516" y="13172"/>
                  </a:cubicBezTo>
                  <a:cubicBezTo>
                    <a:pt x="1590" y="13474"/>
                    <a:pt x="1665" y="13474"/>
                    <a:pt x="1815" y="13625"/>
                  </a:cubicBezTo>
                  <a:cubicBezTo>
                    <a:pt x="1964" y="13777"/>
                    <a:pt x="2113" y="13928"/>
                    <a:pt x="2263" y="13928"/>
                  </a:cubicBezTo>
                  <a:cubicBezTo>
                    <a:pt x="2412" y="13928"/>
                    <a:pt x="2562" y="14230"/>
                    <a:pt x="2637" y="14381"/>
                  </a:cubicBezTo>
                  <a:cubicBezTo>
                    <a:pt x="2637" y="14532"/>
                    <a:pt x="2936" y="15136"/>
                    <a:pt x="2861" y="15287"/>
                  </a:cubicBezTo>
                  <a:cubicBezTo>
                    <a:pt x="3160" y="15136"/>
                    <a:pt x="3534" y="14985"/>
                    <a:pt x="3833" y="15136"/>
                  </a:cubicBezTo>
                  <a:cubicBezTo>
                    <a:pt x="4281" y="15438"/>
                    <a:pt x="4655" y="15891"/>
                    <a:pt x="5028" y="16193"/>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4" name="Shape 2063">
              <a:extLst>
                <a:ext uri="{FF2B5EF4-FFF2-40B4-BE49-F238E27FC236}">
                  <a16:creationId xmlns:a16="http://schemas.microsoft.com/office/drawing/2014/main" id="{EF3BF8F8-3C5C-8FE9-F907-220E59686DD6}"/>
                </a:ext>
              </a:extLst>
            </p:cNvPr>
            <p:cNvSpPr/>
            <p:nvPr/>
          </p:nvSpPr>
          <p:spPr>
            <a:xfrm>
              <a:off x="885276" y="838501"/>
              <a:ext cx="2801448" cy="1445462"/>
            </a:xfrm>
            <a:custGeom>
              <a:avLst/>
              <a:gdLst/>
              <a:ahLst/>
              <a:cxnLst>
                <a:cxn ang="0">
                  <a:pos x="wd2" y="hd2"/>
                </a:cxn>
                <a:cxn ang="5400000">
                  <a:pos x="wd2" y="hd2"/>
                </a:cxn>
                <a:cxn ang="10800000">
                  <a:pos x="wd2" y="hd2"/>
                </a:cxn>
                <a:cxn ang="16200000">
                  <a:pos x="wd2" y="hd2"/>
                </a:cxn>
              </a:cxnLst>
              <a:rect l="0" t="0" r="r" b="b"/>
              <a:pathLst>
                <a:path w="21523" h="21600" extrusionOk="0">
                  <a:moveTo>
                    <a:pt x="11584" y="17162"/>
                  </a:moveTo>
                  <a:cubicBezTo>
                    <a:pt x="11584" y="17162"/>
                    <a:pt x="11584" y="17063"/>
                    <a:pt x="11584" y="17063"/>
                  </a:cubicBezTo>
                  <a:cubicBezTo>
                    <a:pt x="11584" y="17063"/>
                    <a:pt x="11736" y="17458"/>
                    <a:pt x="11736" y="17458"/>
                  </a:cubicBezTo>
                  <a:cubicBezTo>
                    <a:pt x="11837" y="17458"/>
                    <a:pt x="11888" y="17556"/>
                    <a:pt x="11938" y="17556"/>
                  </a:cubicBezTo>
                  <a:cubicBezTo>
                    <a:pt x="12039" y="17556"/>
                    <a:pt x="12039" y="17458"/>
                    <a:pt x="12090" y="17556"/>
                  </a:cubicBezTo>
                  <a:cubicBezTo>
                    <a:pt x="12242" y="17655"/>
                    <a:pt x="12343" y="17753"/>
                    <a:pt x="12444" y="17852"/>
                  </a:cubicBezTo>
                  <a:cubicBezTo>
                    <a:pt x="12495" y="17951"/>
                    <a:pt x="12545" y="17852"/>
                    <a:pt x="12596" y="17852"/>
                  </a:cubicBezTo>
                  <a:cubicBezTo>
                    <a:pt x="12646" y="17753"/>
                    <a:pt x="12697" y="17753"/>
                    <a:pt x="12748" y="17753"/>
                  </a:cubicBezTo>
                  <a:cubicBezTo>
                    <a:pt x="12798" y="17753"/>
                    <a:pt x="12849" y="17852"/>
                    <a:pt x="12899" y="17852"/>
                  </a:cubicBezTo>
                  <a:cubicBezTo>
                    <a:pt x="13000" y="17852"/>
                    <a:pt x="13051" y="17753"/>
                    <a:pt x="13102" y="17655"/>
                  </a:cubicBezTo>
                  <a:cubicBezTo>
                    <a:pt x="13152" y="17556"/>
                    <a:pt x="13304" y="17260"/>
                    <a:pt x="13355" y="17260"/>
                  </a:cubicBezTo>
                  <a:cubicBezTo>
                    <a:pt x="13355" y="17260"/>
                    <a:pt x="13405" y="17359"/>
                    <a:pt x="13405" y="17359"/>
                  </a:cubicBezTo>
                  <a:cubicBezTo>
                    <a:pt x="13506" y="17359"/>
                    <a:pt x="13557" y="17359"/>
                    <a:pt x="13607" y="17359"/>
                  </a:cubicBezTo>
                  <a:cubicBezTo>
                    <a:pt x="13810" y="17359"/>
                    <a:pt x="13759" y="17655"/>
                    <a:pt x="13860" y="17852"/>
                  </a:cubicBezTo>
                  <a:cubicBezTo>
                    <a:pt x="13911" y="17951"/>
                    <a:pt x="14113" y="17852"/>
                    <a:pt x="14113" y="18049"/>
                  </a:cubicBezTo>
                  <a:cubicBezTo>
                    <a:pt x="14113" y="18247"/>
                    <a:pt x="14164" y="18444"/>
                    <a:pt x="14215" y="18641"/>
                  </a:cubicBezTo>
                  <a:cubicBezTo>
                    <a:pt x="14215" y="19134"/>
                    <a:pt x="14670" y="19036"/>
                    <a:pt x="14822" y="19134"/>
                  </a:cubicBezTo>
                  <a:cubicBezTo>
                    <a:pt x="14923" y="19134"/>
                    <a:pt x="15074" y="19134"/>
                    <a:pt x="15125" y="19233"/>
                  </a:cubicBezTo>
                  <a:cubicBezTo>
                    <a:pt x="15176" y="19332"/>
                    <a:pt x="15429" y="19825"/>
                    <a:pt x="15378" y="19825"/>
                  </a:cubicBezTo>
                  <a:cubicBezTo>
                    <a:pt x="15277" y="20022"/>
                    <a:pt x="15277" y="20022"/>
                    <a:pt x="15176" y="19923"/>
                  </a:cubicBezTo>
                  <a:cubicBezTo>
                    <a:pt x="15125" y="19825"/>
                    <a:pt x="14923" y="19627"/>
                    <a:pt x="14923" y="19627"/>
                  </a:cubicBezTo>
                  <a:cubicBezTo>
                    <a:pt x="14923" y="19726"/>
                    <a:pt x="15074" y="19825"/>
                    <a:pt x="15024" y="20022"/>
                  </a:cubicBezTo>
                  <a:cubicBezTo>
                    <a:pt x="14973" y="20121"/>
                    <a:pt x="14923" y="20318"/>
                    <a:pt x="14923" y="20416"/>
                  </a:cubicBezTo>
                  <a:cubicBezTo>
                    <a:pt x="14923" y="20614"/>
                    <a:pt x="14923" y="20712"/>
                    <a:pt x="14872" y="20811"/>
                  </a:cubicBezTo>
                  <a:cubicBezTo>
                    <a:pt x="14872" y="20910"/>
                    <a:pt x="14720" y="21008"/>
                    <a:pt x="14720" y="21008"/>
                  </a:cubicBezTo>
                  <a:cubicBezTo>
                    <a:pt x="14670" y="21107"/>
                    <a:pt x="14518" y="21600"/>
                    <a:pt x="14720" y="21600"/>
                  </a:cubicBezTo>
                  <a:cubicBezTo>
                    <a:pt x="14771" y="21600"/>
                    <a:pt x="14872" y="21403"/>
                    <a:pt x="14973" y="21205"/>
                  </a:cubicBezTo>
                  <a:cubicBezTo>
                    <a:pt x="15074" y="21107"/>
                    <a:pt x="15125" y="21304"/>
                    <a:pt x="15226" y="21205"/>
                  </a:cubicBezTo>
                  <a:cubicBezTo>
                    <a:pt x="15378" y="21205"/>
                    <a:pt x="15429" y="21008"/>
                    <a:pt x="15580" y="21008"/>
                  </a:cubicBezTo>
                  <a:cubicBezTo>
                    <a:pt x="15580" y="20811"/>
                    <a:pt x="15580" y="20910"/>
                    <a:pt x="15479" y="20811"/>
                  </a:cubicBezTo>
                  <a:cubicBezTo>
                    <a:pt x="15429" y="20811"/>
                    <a:pt x="15429" y="20712"/>
                    <a:pt x="15479" y="20712"/>
                  </a:cubicBezTo>
                  <a:cubicBezTo>
                    <a:pt x="15530" y="20515"/>
                    <a:pt x="15580" y="20416"/>
                    <a:pt x="15732" y="20416"/>
                  </a:cubicBezTo>
                  <a:cubicBezTo>
                    <a:pt x="15783" y="20416"/>
                    <a:pt x="15934" y="20219"/>
                    <a:pt x="16036" y="20318"/>
                  </a:cubicBezTo>
                  <a:cubicBezTo>
                    <a:pt x="16137" y="20416"/>
                    <a:pt x="16187" y="20022"/>
                    <a:pt x="16289" y="20318"/>
                  </a:cubicBezTo>
                  <a:cubicBezTo>
                    <a:pt x="16390" y="20121"/>
                    <a:pt x="16440" y="20022"/>
                    <a:pt x="16541" y="19825"/>
                  </a:cubicBezTo>
                  <a:cubicBezTo>
                    <a:pt x="16643" y="19726"/>
                    <a:pt x="16693" y="19726"/>
                    <a:pt x="16794" y="19726"/>
                  </a:cubicBezTo>
                  <a:cubicBezTo>
                    <a:pt x="16946" y="19726"/>
                    <a:pt x="17148" y="19726"/>
                    <a:pt x="17300" y="19726"/>
                  </a:cubicBezTo>
                  <a:cubicBezTo>
                    <a:pt x="17452" y="19726"/>
                    <a:pt x="17503" y="19825"/>
                    <a:pt x="17553" y="19627"/>
                  </a:cubicBezTo>
                  <a:cubicBezTo>
                    <a:pt x="17604" y="19529"/>
                    <a:pt x="17654" y="19627"/>
                    <a:pt x="17705" y="19529"/>
                  </a:cubicBezTo>
                  <a:cubicBezTo>
                    <a:pt x="17756" y="19332"/>
                    <a:pt x="17806" y="19233"/>
                    <a:pt x="17806" y="19036"/>
                  </a:cubicBezTo>
                  <a:cubicBezTo>
                    <a:pt x="17857" y="18838"/>
                    <a:pt x="17857" y="18740"/>
                    <a:pt x="17907" y="18542"/>
                  </a:cubicBezTo>
                  <a:cubicBezTo>
                    <a:pt x="17958" y="18444"/>
                    <a:pt x="18008" y="18345"/>
                    <a:pt x="18059" y="18247"/>
                  </a:cubicBezTo>
                  <a:cubicBezTo>
                    <a:pt x="18110" y="18148"/>
                    <a:pt x="18160" y="18444"/>
                    <a:pt x="18261" y="18345"/>
                  </a:cubicBezTo>
                  <a:cubicBezTo>
                    <a:pt x="18363" y="18148"/>
                    <a:pt x="18464" y="18444"/>
                    <a:pt x="18464" y="18641"/>
                  </a:cubicBezTo>
                  <a:cubicBezTo>
                    <a:pt x="18464" y="18740"/>
                    <a:pt x="18413" y="19332"/>
                    <a:pt x="18514" y="19332"/>
                  </a:cubicBezTo>
                  <a:cubicBezTo>
                    <a:pt x="18565" y="19430"/>
                    <a:pt x="18615" y="19627"/>
                    <a:pt x="18666" y="19825"/>
                  </a:cubicBezTo>
                  <a:cubicBezTo>
                    <a:pt x="18717" y="19627"/>
                    <a:pt x="19273" y="19332"/>
                    <a:pt x="19273" y="19332"/>
                  </a:cubicBezTo>
                  <a:cubicBezTo>
                    <a:pt x="19273" y="19233"/>
                    <a:pt x="19222" y="19233"/>
                    <a:pt x="19222" y="19134"/>
                  </a:cubicBezTo>
                  <a:cubicBezTo>
                    <a:pt x="19222" y="19134"/>
                    <a:pt x="19324" y="19332"/>
                    <a:pt x="19324" y="19332"/>
                  </a:cubicBezTo>
                  <a:cubicBezTo>
                    <a:pt x="19324" y="19430"/>
                    <a:pt x="19222" y="19430"/>
                    <a:pt x="19222" y="19430"/>
                  </a:cubicBezTo>
                  <a:cubicBezTo>
                    <a:pt x="19222" y="19430"/>
                    <a:pt x="19526" y="19529"/>
                    <a:pt x="19526" y="19529"/>
                  </a:cubicBezTo>
                  <a:cubicBezTo>
                    <a:pt x="19526" y="19529"/>
                    <a:pt x="19526" y="19529"/>
                    <a:pt x="19526" y="19529"/>
                  </a:cubicBezTo>
                  <a:cubicBezTo>
                    <a:pt x="19526" y="19529"/>
                    <a:pt x="19526" y="19627"/>
                    <a:pt x="19526" y="19627"/>
                  </a:cubicBezTo>
                  <a:cubicBezTo>
                    <a:pt x="19475" y="19627"/>
                    <a:pt x="19425" y="19627"/>
                    <a:pt x="19374" y="19726"/>
                  </a:cubicBezTo>
                  <a:cubicBezTo>
                    <a:pt x="19374" y="19825"/>
                    <a:pt x="19324" y="19529"/>
                    <a:pt x="19324" y="19529"/>
                  </a:cubicBezTo>
                  <a:cubicBezTo>
                    <a:pt x="19273" y="19529"/>
                    <a:pt x="19273" y="19627"/>
                    <a:pt x="19273" y="19627"/>
                  </a:cubicBezTo>
                  <a:cubicBezTo>
                    <a:pt x="19273" y="19627"/>
                    <a:pt x="19273" y="19529"/>
                    <a:pt x="19222" y="19627"/>
                  </a:cubicBezTo>
                  <a:cubicBezTo>
                    <a:pt x="19172" y="19726"/>
                    <a:pt x="19121" y="19726"/>
                    <a:pt x="19071" y="19825"/>
                  </a:cubicBezTo>
                  <a:cubicBezTo>
                    <a:pt x="18970" y="19923"/>
                    <a:pt x="18767" y="20219"/>
                    <a:pt x="18868" y="20515"/>
                  </a:cubicBezTo>
                  <a:cubicBezTo>
                    <a:pt x="19020" y="20712"/>
                    <a:pt x="19121" y="20515"/>
                    <a:pt x="19172" y="20416"/>
                  </a:cubicBezTo>
                  <a:cubicBezTo>
                    <a:pt x="19222" y="20318"/>
                    <a:pt x="19425" y="20022"/>
                    <a:pt x="19425" y="19923"/>
                  </a:cubicBezTo>
                  <a:cubicBezTo>
                    <a:pt x="19425" y="20022"/>
                    <a:pt x="19526" y="20121"/>
                    <a:pt x="19577" y="20022"/>
                  </a:cubicBezTo>
                  <a:cubicBezTo>
                    <a:pt x="19577" y="19923"/>
                    <a:pt x="19728" y="19825"/>
                    <a:pt x="19779" y="19825"/>
                  </a:cubicBezTo>
                  <a:cubicBezTo>
                    <a:pt x="19880" y="19726"/>
                    <a:pt x="19981" y="19627"/>
                    <a:pt x="20082" y="19627"/>
                  </a:cubicBezTo>
                  <a:cubicBezTo>
                    <a:pt x="20133" y="19627"/>
                    <a:pt x="20133" y="19627"/>
                    <a:pt x="20133" y="19529"/>
                  </a:cubicBezTo>
                  <a:cubicBezTo>
                    <a:pt x="20082" y="19430"/>
                    <a:pt x="20133" y="19430"/>
                    <a:pt x="20133" y="19430"/>
                  </a:cubicBezTo>
                  <a:cubicBezTo>
                    <a:pt x="20133" y="19332"/>
                    <a:pt x="20032" y="19430"/>
                    <a:pt x="19981" y="19332"/>
                  </a:cubicBezTo>
                  <a:cubicBezTo>
                    <a:pt x="19931" y="19332"/>
                    <a:pt x="19981" y="19134"/>
                    <a:pt x="19880" y="19332"/>
                  </a:cubicBezTo>
                  <a:cubicBezTo>
                    <a:pt x="19779" y="19430"/>
                    <a:pt x="19577" y="19332"/>
                    <a:pt x="19475" y="19233"/>
                  </a:cubicBezTo>
                  <a:cubicBezTo>
                    <a:pt x="19425" y="19233"/>
                    <a:pt x="19475" y="19036"/>
                    <a:pt x="19425" y="19036"/>
                  </a:cubicBezTo>
                  <a:cubicBezTo>
                    <a:pt x="19425" y="19036"/>
                    <a:pt x="19324" y="19036"/>
                    <a:pt x="19273" y="18937"/>
                  </a:cubicBezTo>
                  <a:cubicBezTo>
                    <a:pt x="19222" y="18937"/>
                    <a:pt x="19222" y="18641"/>
                    <a:pt x="19222" y="18542"/>
                  </a:cubicBezTo>
                  <a:cubicBezTo>
                    <a:pt x="19222" y="18444"/>
                    <a:pt x="19121" y="18542"/>
                    <a:pt x="19071" y="18444"/>
                  </a:cubicBezTo>
                  <a:cubicBezTo>
                    <a:pt x="19071" y="18444"/>
                    <a:pt x="19172" y="18247"/>
                    <a:pt x="19172" y="18247"/>
                  </a:cubicBezTo>
                  <a:cubicBezTo>
                    <a:pt x="19222" y="18148"/>
                    <a:pt x="19222" y="17852"/>
                    <a:pt x="19121" y="17852"/>
                  </a:cubicBezTo>
                  <a:cubicBezTo>
                    <a:pt x="19121" y="17852"/>
                    <a:pt x="19020" y="18247"/>
                    <a:pt x="18970" y="18049"/>
                  </a:cubicBezTo>
                  <a:cubicBezTo>
                    <a:pt x="18970" y="17852"/>
                    <a:pt x="18919" y="17951"/>
                    <a:pt x="18868" y="17852"/>
                  </a:cubicBezTo>
                  <a:cubicBezTo>
                    <a:pt x="18868" y="17753"/>
                    <a:pt x="19020" y="17852"/>
                    <a:pt x="19020" y="17852"/>
                  </a:cubicBezTo>
                  <a:cubicBezTo>
                    <a:pt x="19121" y="17852"/>
                    <a:pt x="19172" y="17753"/>
                    <a:pt x="19222" y="17753"/>
                  </a:cubicBezTo>
                  <a:cubicBezTo>
                    <a:pt x="19273" y="17655"/>
                    <a:pt x="19324" y="17655"/>
                    <a:pt x="19374" y="17655"/>
                  </a:cubicBezTo>
                  <a:cubicBezTo>
                    <a:pt x="19425" y="17556"/>
                    <a:pt x="19324" y="17359"/>
                    <a:pt x="19324" y="17359"/>
                  </a:cubicBezTo>
                  <a:cubicBezTo>
                    <a:pt x="19324" y="17359"/>
                    <a:pt x="19374" y="17359"/>
                    <a:pt x="19374" y="17359"/>
                  </a:cubicBezTo>
                  <a:cubicBezTo>
                    <a:pt x="19374" y="17359"/>
                    <a:pt x="19172" y="17162"/>
                    <a:pt x="19172" y="17162"/>
                  </a:cubicBezTo>
                  <a:cubicBezTo>
                    <a:pt x="19071" y="17063"/>
                    <a:pt x="18970" y="17063"/>
                    <a:pt x="18868" y="17162"/>
                  </a:cubicBezTo>
                  <a:cubicBezTo>
                    <a:pt x="18666" y="17260"/>
                    <a:pt x="18514" y="17359"/>
                    <a:pt x="18363" y="17556"/>
                  </a:cubicBezTo>
                  <a:cubicBezTo>
                    <a:pt x="18211" y="17655"/>
                    <a:pt x="18110" y="17852"/>
                    <a:pt x="17958" y="18049"/>
                  </a:cubicBezTo>
                  <a:cubicBezTo>
                    <a:pt x="17907" y="18148"/>
                    <a:pt x="17857" y="18247"/>
                    <a:pt x="17806" y="18444"/>
                  </a:cubicBezTo>
                  <a:cubicBezTo>
                    <a:pt x="17806" y="18444"/>
                    <a:pt x="17604" y="18641"/>
                    <a:pt x="17604" y="18641"/>
                  </a:cubicBezTo>
                  <a:cubicBezTo>
                    <a:pt x="17604" y="18542"/>
                    <a:pt x="17857" y="18148"/>
                    <a:pt x="17907" y="18049"/>
                  </a:cubicBezTo>
                  <a:cubicBezTo>
                    <a:pt x="17907" y="17951"/>
                    <a:pt x="17958" y="17852"/>
                    <a:pt x="17907" y="17753"/>
                  </a:cubicBezTo>
                  <a:cubicBezTo>
                    <a:pt x="17857" y="17753"/>
                    <a:pt x="17756" y="17655"/>
                    <a:pt x="17705" y="17655"/>
                  </a:cubicBezTo>
                  <a:cubicBezTo>
                    <a:pt x="17756" y="17655"/>
                    <a:pt x="17857" y="17753"/>
                    <a:pt x="17907" y="17753"/>
                  </a:cubicBezTo>
                  <a:cubicBezTo>
                    <a:pt x="18008" y="17852"/>
                    <a:pt x="18110" y="17556"/>
                    <a:pt x="18160" y="17458"/>
                  </a:cubicBezTo>
                  <a:cubicBezTo>
                    <a:pt x="18211" y="17359"/>
                    <a:pt x="18261" y="17162"/>
                    <a:pt x="18363" y="17063"/>
                  </a:cubicBezTo>
                  <a:cubicBezTo>
                    <a:pt x="18464" y="17063"/>
                    <a:pt x="18565" y="17162"/>
                    <a:pt x="18615" y="16964"/>
                  </a:cubicBezTo>
                  <a:cubicBezTo>
                    <a:pt x="18666" y="16570"/>
                    <a:pt x="18767" y="16471"/>
                    <a:pt x="18970" y="16471"/>
                  </a:cubicBezTo>
                  <a:cubicBezTo>
                    <a:pt x="19172" y="16471"/>
                    <a:pt x="19374" y="16471"/>
                    <a:pt x="19577" y="16471"/>
                  </a:cubicBezTo>
                  <a:cubicBezTo>
                    <a:pt x="19931" y="16471"/>
                    <a:pt x="20437" y="16668"/>
                    <a:pt x="20689" y="16077"/>
                  </a:cubicBezTo>
                  <a:cubicBezTo>
                    <a:pt x="20791" y="15879"/>
                    <a:pt x="20841" y="15781"/>
                    <a:pt x="20942" y="15781"/>
                  </a:cubicBezTo>
                  <a:cubicBezTo>
                    <a:pt x="21044" y="15781"/>
                    <a:pt x="21145" y="15781"/>
                    <a:pt x="21296" y="15584"/>
                  </a:cubicBezTo>
                  <a:cubicBezTo>
                    <a:pt x="21347" y="15584"/>
                    <a:pt x="21499" y="15386"/>
                    <a:pt x="21499" y="15288"/>
                  </a:cubicBezTo>
                  <a:cubicBezTo>
                    <a:pt x="21600" y="14992"/>
                    <a:pt x="21347" y="15090"/>
                    <a:pt x="21347" y="14992"/>
                  </a:cubicBezTo>
                  <a:cubicBezTo>
                    <a:pt x="21347" y="14893"/>
                    <a:pt x="21448" y="14893"/>
                    <a:pt x="21448" y="14893"/>
                  </a:cubicBezTo>
                  <a:cubicBezTo>
                    <a:pt x="21499" y="14795"/>
                    <a:pt x="21448" y="14696"/>
                    <a:pt x="21448" y="14597"/>
                  </a:cubicBezTo>
                  <a:cubicBezTo>
                    <a:pt x="21448" y="14597"/>
                    <a:pt x="21499" y="14499"/>
                    <a:pt x="21499" y="14499"/>
                  </a:cubicBezTo>
                  <a:cubicBezTo>
                    <a:pt x="21499" y="14400"/>
                    <a:pt x="21398" y="14301"/>
                    <a:pt x="21398" y="14301"/>
                  </a:cubicBezTo>
                  <a:cubicBezTo>
                    <a:pt x="21347" y="14203"/>
                    <a:pt x="21296" y="14203"/>
                    <a:pt x="21296" y="14104"/>
                  </a:cubicBezTo>
                  <a:cubicBezTo>
                    <a:pt x="21246" y="14104"/>
                    <a:pt x="21145" y="14400"/>
                    <a:pt x="21094" y="14203"/>
                  </a:cubicBezTo>
                  <a:cubicBezTo>
                    <a:pt x="21094" y="14203"/>
                    <a:pt x="21195" y="14104"/>
                    <a:pt x="21145" y="14104"/>
                  </a:cubicBezTo>
                  <a:cubicBezTo>
                    <a:pt x="21145" y="14005"/>
                    <a:pt x="21094" y="13907"/>
                    <a:pt x="21044" y="13907"/>
                  </a:cubicBezTo>
                  <a:cubicBezTo>
                    <a:pt x="20993" y="13808"/>
                    <a:pt x="20791" y="13907"/>
                    <a:pt x="20740" y="14005"/>
                  </a:cubicBezTo>
                  <a:cubicBezTo>
                    <a:pt x="20689" y="14203"/>
                    <a:pt x="20538" y="14301"/>
                    <a:pt x="20437" y="14400"/>
                  </a:cubicBezTo>
                  <a:cubicBezTo>
                    <a:pt x="20386" y="14400"/>
                    <a:pt x="20234" y="14203"/>
                    <a:pt x="20234" y="14104"/>
                  </a:cubicBezTo>
                  <a:cubicBezTo>
                    <a:pt x="20234" y="14005"/>
                    <a:pt x="20386" y="14301"/>
                    <a:pt x="20386" y="14301"/>
                  </a:cubicBezTo>
                  <a:cubicBezTo>
                    <a:pt x="20437" y="14301"/>
                    <a:pt x="20639" y="14005"/>
                    <a:pt x="20639" y="14005"/>
                  </a:cubicBezTo>
                  <a:cubicBezTo>
                    <a:pt x="20639" y="14005"/>
                    <a:pt x="20538" y="13907"/>
                    <a:pt x="20538" y="13907"/>
                  </a:cubicBezTo>
                  <a:cubicBezTo>
                    <a:pt x="20689" y="13808"/>
                    <a:pt x="20841" y="13808"/>
                    <a:pt x="20993" y="13710"/>
                  </a:cubicBezTo>
                  <a:cubicBezTo>
                    <a:pt x="20993" y="13710"/>
                    <a:pt x="21094" y="13611"/>
                    <a:pt x="21044" y="13512"/>
                  </a:cubicBezTo>
                  <a:cubicBezTo>
                    <a:pt x="21044" y="13512"/>
                    <a:pt x="20942" y="13315"/>
                    <a:pt x="20942" y="13315"/>
                  </a:cubicBezTo>
                  <a:cubicBezTo>
                    <a:pt x="20841" y="13414"/>
                    <a:pt x="20740" y="13414"/>
                    <a:pt x="20689" y="13216"/>
                  </a:cubicBezTo>
                  <a:cubicBezTo>
                    <a:pt x="20639" y="13216"/>
                    <a:pt x="20437" y="13512"/>
                    <a:pt x="20437" y="13414"/>
                  </a:cubicBezTo>
                  <a:cubicBezTo>
                    <a:pt x="20437" y="13414"/>
                    <a:pt x="20588" y="13118"/>
                    <a:pt x="20437" y="13216"/>
                  </a:cubicBezTo>
                  <a:cubicBezTo>
                    <a:pt x="20437" y="13216"/>
                    <a:pt x="20234" y="13315"/>
                    <a:pt x="20234" y="13315"/>
                  </a:cubicBezTo>
                  <a:cubicBezTo>
                    <a:pt x="20285" y="13118"/>
                    <a:pt x="20437" y="13118"/>
                    <a:pt x="20335" y="12822"/>
                  </a:cubicBezTo>
                  <a:cubicBezTo>
                    <a:pt x="20335" y="12822"/>
                    <a:pt x="20133" y="12625"/>
                    <a:pt x="20133" y="12625"/>
                  </a:cubicBezTo>
                  <a:cubicBezTo>
                    <a:pt x="20032" y="12625"/>
                    <a:pt x="20032" y="12427"/>
                    <a:pt x="19931" y="12427"/>
                  </a:cubicBezTo>
                  <a:cubicBezTo>
                    <a:pt x="19981" y="12427"/>
                    <a:pt x="19830" y="12033"/>
                    <a:pt x="19830" y="12033"/>
                  </a:cubicBezTo>
                  <a:cubicBezTo>
                    <a:pt x="19830" y="12033"/>
                    <a:pt x="19880" y="12132"/>
                    <a:pt x="19931" y="12132"/>
                  </a:cubicBezTo>
                  <a:cubicBezTo>
                    <a:pt x="19981" y="12230"/>
                    <a:pt x="19981" y="12033"/>
                    <a:pt x="20032" y="12033"/>
                  </a:cubicBezTo>
                  <a:cubicBezTo>
                    <a:pt x="20234" y="11934"/>
                    <a:pt x="19880" y="11638"/>
                    <a:pt x="19830" y="11540"/>
                  </a:cubicBezTo>
                  <a:cubicBezTo>
                    <a:pt x="19830" y="11638"/>
                    <a:pt x="19931" y="11441"/>
                    <a:pt x="19931" y="11441"/>
                  </a:cubicBezTo>
                  <a:cubicBezTo>
                    <a:pt x="19981" y="11342"/>
                    <a:pt x="19880" y="11342"/>
                    <a:pt x="19830" y="11244"/>
                  </a:cubicBezTo>
                  <a:cubicBezTo>
                    <a:pt x="19830" y="11244"/>
                    <a:pt x="19779" y="11145"/>
                    <a:pt x="19728" y="11145"/>
                  </a:cubicBezTo>
                  <a:cubicBezTo>
                    <a:pt x="19728" y="11145"/>
                    <a:pt x="19627" y="11145"/>
                    <a:pt x="19627" y="11145"/>
                  </a:cubicBezTo>
                  <a:cubicBezTo>
                    <a:pt x="19678" y="11047"/>
                    <a:pt x="19779" y="11145"/>
                    <a:pt x="19728" y="10849"/>
                  </a:cubicBezTo>
                  <a:cubicBezTo>
                    <a:pt x="19678" y="10849"/>
                    <a:pt x="19526" y="10948"/>
                    <a:pt x="19526" y="10948"/>
                  </a:cubicBezTo>
                  <a:cubicBezTo>
                    <a:pt x="19526" y="10849"/>
                    <a:pt x="19678" y="10849"/>
                    <a:pt x="19627" y="10652"/>
                  </a:cubicBezTo>
                  <a:cubicBezTo>
                    <a:pt x="19627" y="10553"/>
                    <a:pt x="19627" y="10455"/>
                    <a:pt x="19577" y="10356"/>
                  </a:cubicBezTo>
                  <a:cubicBezTo>
                    <a:pt x="19577" y="10356"/>
                    <a:pt x="19526" y="10455"/>
                    <a:pt x="19526" y="10356"/>
                  </a:cubicBezTo>
                  <a:cubicBezTo>
                    <a:pt x="19526" y="10455"/>
                    <a:pt x="19425" y="10060"/>
                    <a:pt x="19425" y="10060"/>
                  </a:cubicBezTo>
                  <a:cubicBezTo>
                    <a:pt x="19374" y="9863"/>
                    <a:pt x="19324" y="9764"/>
                    <a:pt x="19324" y="9666"/>
                  </a:cubicBezTo>
                  <a:cubicBezTo>
                    <a:pt x="19273" y="9468"/>
                    <a:pt x="19273" y="9271"/>
                    <a:pt x="19172" y="9567"/>
                  </a:cubicBezTo>
                  <a:cubicBezTo>
                    <a:pt x="19172" y="9567"/>
                    <a:pt x="19121" y="9962"/>
                    <a:pt x="19172" y="9863"/>
                  </a:cubicBezTo>
                  <a:cubicBezTo>
                    <a:pt x="18970" y="9962"/>
                    <a:pt x="19071" y="9962"/>
                    <a:pt x="19121" y="10258"/>
                  </a:cubicBezTo>
                  <a:cubicBezTo>
                    <a:pt x="19121" y="10159"/>
                    <a:pt x="19071" y="10159"/>
                    <a:pt x="19071" y="10258"/>
                  </a:cubicBezTo>
                  <a:cubicBezTo>
                    <a:pt x="19020" y="10258"/>
                    <a:pt x="19020" y="10258"/>
                    <a:pt x="18970" y="10356"/>
                  </a:cubicBezTo>
                  <a:cubicBezTo>
                    <a:pt x="18970" y="10356"/>
                    <a:pt x="19071" y="10455"/>
                    <a:pt x="19071" y="10455"/>
                  </a:cubicBezTo>
                  <a:cubicBezTo>
                    <a:pt x="19020" y="10553"/>
                    <a:pt x="18919" y="10455"/>
                    <a:pt x="18919" y="10553"/>
                  </a:cubicBezTo>
                  <a:cubicBezTo>
                    <a:pt x="18868" y="10652"/>
                    <a:pt x="18970" y="10849"/>
                    <a:pt x="18868" y="10948"/>
                  </a:cubicBezTo>
                  <a:cubicBezTo>
                    <a:pt x="18919" y="10948"/>
                    <a:pt x="18818" y="10553"/>
                    <a:pt x="18717" y="10751"/>
                  </a:cubicBezTo>
                  <a:cubicBezTo>
                    <a:pt x="18717" y="10849"/>
                    <a:pt x="18514" y="11145"/>
                    <a:pt x="18514" y="11145"/>
                  </a:cubicBezTo>
                  <a:cubicBezTo>
                    <a:pt x="18464" y="11145"/>
                    <a:pt x="18464" y="11047"/>
                    <a:pt x="18464" y="10948"/>
                  </a:cubicBezTo>
                  <a:cubicBezTo>
                    <a:pt x="18413" y="10948"/>
                    <a:pt x="18413" y="11047"/>
                    <a:pt x="18413" y="11047"/>
                  </a:cubicBezTo>
                  <a:cubicBezTo>
                    <a:pt x="18363" y="10948"/>
                    <a:pt x="18413" y="10948"/>
                    <a:pt x="18413" y="10849"/>
                  </a:cubicBezTo>
                  <a:cubicBezTo>
                    <a:pt x="18413" y="10948"/>
                    <a:pt x="18059" y="11441"/>
                    <a:pt x="18059" y="11342"/>
                  </a:cubicBezTo>
                  <a:cubicBezTo>
                    <a:pt x="18008" y="11244"/>
                    <a:pt x="18211" y="11145"/>
                    <a:pt x="18261" y="11145"/>
                  </a:cubicBezTo>
                  <a:cubicBezTo>
                    <a:pt x="18363" y="10948"/>
                    <a:pt x="18363" y="10849"/>
                    <a:pt x="18312" y="10652"/>
                  </a:cubicBezTo>
                  <a:cubicBezTo>
                    <a:pt x="18261" y="10553"/>
                    <a:pt x="18110" y="10553"/>
                    <a:pt x="18059" y="10553"/>
                  </a:cubicBezTo>
                  <a:cubicBezTo>
                    <a:pt x="18008" y="10553"/>
                    <a:pt x="18008" y="10652"/>
                    <a:pt x="18008" y="10652"/>
                  </a:cubicBezTo>
                  <a:cubicBezTo>
                    <a:pt x="17958" y="10849"/>
                    <a:pt x="17857" y="10652"/>
                    <a:pt x="17806" y="10652"/>
                  </a:cubicBezTo>
                  <a:cubicBezTo>
                    <a:pt x="17857" y="10652"/>
                    <a:pt x="17958" y="10455"/>
                    <a:pt x="17958" y="10455"/>
                  </a:cubicBezTo>
                  <a:cubicBezTo>
                    <a:pt x="17958" y="10455"/>
                    <a:pt x="18008" y="10553"/>
                    <a:pt x="18008" y="10553"/>
                  </a:cubicBezTo>
                  <a:cubicBezTo>
                    <a:pt x="17958" y="10553"/>
                    <a:pt x="18059" y="10356"/>
                    <a:pt x="18059" y="10356"/>
                  </a:cubicBezTo>
                  <a:cubicBezTo>
                    <a:pt x="18110" y="10159"/>
                    <a:pt x="18008" y="10258"/>
                    <a:pt x="17958" y="10159"/>
                  </a:cubicBezTo>
                  <a:cubicBezTo>
                    <a:pt x="17958" y="10159"/>
                    <a:pt x="18008" y="9666"/>
                    <a:pt x="17907" y="9764"/>
                  </a:cubicBezTo>
                  <a:cubicBezTo>
                    <a:pt x="17958" y="9666"/>
                    <a:pt x="18008" y="9666"/>
                    <a:pt x="17958" y="9468"/>
                  </a:cubicBezTo>
                  <a:cubicBezTo>
                    <a:pt x="17857" y="9370"/>
                    <a:pt x="18059" y="9271"/>
                    <a:pt x="18008" y="9074"/>
                  </a:cubicBezTo>
                  <a:cubicBezTo>
                    <a:pt x="18008" y="8975"/>
                    <a:pt x="17907" y="9173"/>
                    <a:pt x="17857" y="9074"/>
                  </a:cubicBezTo>
                  <a:cubicBezTo>
                    <a:pt x="17806" y="8975"/>
                    <a:pt x="17705" y="8975"/>
                    <a:pt x="17654" y="8975"/>
                  </a:cubicBezTo>
                  <a:cubicBezTo>
                    <a:pt x="17553" y="8877"/>
                    <a:pt x="17503" y="8877"/>
                    <a:pt x="17452" y="8679"/>
                  </a:cubicBezTo>
                  <a:cubicBezTo>
                    <a:pt x="17452" y="8482"/>
                    <a:pt x="17300" y="8581"/>
                    <a:pt x="17300" y="8384"/>
                  </a:cubicBezTo>
                  <a:cubicBezTo>
                    <a:pt x="17300" y="8285"/>
                    <a:pt x="17199" y="8384"/>
                    <a:pt x="17199" y="8384"/>
                  </a:cubicBezTo>
                  <a:cubicBezTo>
                    <a:pt x="17250" y="8186"/>
                    <a:pt x="17148" y="8186"/>
                    <a:pt x="17098" y="8088"/>
                  </a:cubicBezTo>
                  <a:cubicBezTo>
                    <a:pt x="16997" y="7989"/>
                    <a:pt x="16997" y="7890"/>
                    <a:pt x="16896" y="7989"/>
                  </a:cubicBezTo>
                  <a:cubicBezTo>
                    <a:pt x="16794" y="8088"/>
                    <a:pt x="16744" y="8186"/>
                    <a:pt x="16643" y="8088"/>
                  </a:cubicBezTo>
                  <a:cubicBezTo>
                    <a:pt x="16541" y="7989"/>
                    <a:pt x="16491" y="8186"/>
                    <a:pt x="16390" y="8088"/>
                  </a:cubicBezTo>
                  <a:cubicBezTo>
                    <a:pt x="16289" y="7890"/>
                    <a:pt x="16187" y="7890"/>
                    <a:pt x="16086" y="7890"/>
                  </a:cubicBezTo>
                  <a:cubicBezTo>
                    <a:pt x="15985" y="7890"/>
                    <a:pt x="15884" y="7890"/>
                    <a:pt x="15833" y="8088"/>
                  </a:cubicBezTo>
                  <a:cubicBezTo>
                    <a:pt x="15783" y="8285"/>
                    <a:pt x="15934" y="8384"/>
                    <a:pt x="15934" y="8482"/>
                  </a:cubicBezTo>
                  <a:cubicBezTo>
                    <a:pt x="15985" y="8581"/>
                    <a:pt x="15934" y="8877"/>
                    <a:pt x="15884" y="8975"/>
                  </a:cubicBezTo>
                  <a:cubicBezTo>
                    <a:pt x="15884" y="9074"/>
                    <a:pt x="15884" y="8975"/>
                    <a:pt x="15833" y="9074"/>
                  </a:cubicBezTo>
                  <a:cubicBezTo>
                    <a:pt x="15833" y="9074"/>
                    <a:pt x="15934" y="9271"/>
                    <a:pt x="15934" y="9271"/>
                  </a:cubicBezTo>
                  <a:cubicBezTo>
                    <a:pt x="15934" y="9468"/>
                    <a:pt x="15985" y="9666"/>
                    <a:pt x="15985" y="9764"/>
                  </a:cubicBezTo>
                  <a:cubicBezTo>
                    <a:pt x="15985" y="9863"/>
                    <a:pt x="15985" y="9863"/>
                    <a:pt x="15985" y="9962"/>
                  </a:cubicBezTo>
                  <a:cubicBezTo>
                    <a:pt x="15985" y="10060"/>
                    <a:pt x="15934" y="9962"/>
                    <a:pt x="15934" y="9962"/>
                  </a:cubicBezTo>
                  <a:cubicBezTo>
                    <a:pt x="15884" y="10060"/>
                    <a:pt x="15884" y="10258"/>
                    <a:pt x="15884" y="10258"/>
                  </a:cubicBezTo>
                  <a:cubicBezTo>
                    <a:pt x="15833" y="10356"/>
                    <a:pt x="15783" y="10455"/>
                    <a:pt x="15783" y="10553"/>
                  </a:cubicBezTo>
                  <a:cubicBezTo>
                    <a:pt x="15732" y="10751"/>
                    <a:pt x="15732" y="10751"/>
                    <a:pt x="15783" y="10849"/>
                  </a:cubicBezTo>
                  <a:cubicBezTo>
                    <a:pt x="15934" y="11047"/>
                    <a:pt x="16086" y="11244"/>
                    <a:pt x="16187" y="11441"/>
                  </a:cubicBezTo>
                  <a:cubicBezTo>
                    <a:pt x="16238" y="11737"/>
                    <a:pt x="16289" y="12230"/>
                    <a:pt x="16238" y="12526"/>
                  </a:cubicBezTo>
                  <a:cubicBezTo>
                    <a:pt x="16137" y="12921"/>
                    <a:pt x="15833" y="13118"/>
                    <a:pt x="15681" y="13315"/>
                  </a:cubicBezTo>
                  <a:cubicBezTo>
                    <a:pt x="15631" y="13414"/>
                    <a:pt x="15580" y="13414"/>
                    <a:pt x="15530" y="13512"/>
                  </a:cubicBezTo>
                  <a:cubicBezTo>
                    <a:pt x="15378" y="13611"/>
                    <a:pt x="15580" y="13907"/>
                    <a:pt x="15580" y="14104"/>
                  </a:cubicBezTo>
                  <a:cubicBezTo>
                    <a:pt x="15580" y="14104"/>
                    <a:pt x="15631" y="14301"/>
                    <a:pt x="15631" y="14400"/>
                  </a:cubicBezTo>
                  <a:cubicBezTo>
                    <a:pt x="15631" y="14597"/>
                    <a:pt x="15631" y="14696"/>
                    <a:pt x="15681" y="14893"/>
                  </a:cubicBezTo>
                  <a:cubicBezTo>
                    <a:pt x="15732" y="15090"/>
                    <a:pt x="15732" y="15189"/>
                    <a:pt x="15631" y="15386"/>
                  </a:cubicBezTo>
                  <a:cubicBezTo>
                    <a:pt x="15631" y="15386"/>
                    <a:pt x="15681" y="15781"/>
                    <a:pt x="15631" y="15879"/>
                  </a:cubicBezTo>
                  <a:cubicBezTo>
                    <a:pt x="15580" y="15879"/>
                    <a:pt x="15530" y="15485"/>
                    <a:pt x="15479" y="15682"/>
                  </a:cubicBezTo>
                  <a:cubicBezTo>
                    <a:pt x="15429" y="15879"/>
                    <a:pt x="15530" y="16175"/>
                    <a:pt x="15530" y="16175"/>
                  </a:cubicBezTo>
                  <a:cubicBezTo>
                    <a:pt x="15530" y="16077"/>
                    <a:pt x="15226" y="15584"/>
                    <a:pt x="15074" y="15879"/>
                  </a:cubicBezTo>
                  <a:cubicBezTo>
                    <a:pt x="15125" y="15781"/>
                    <a:pt x="15277" y="15682"/>
                    <a:pt x="15176" y="15485"/>
                  </a:cubicBezTo>
                  <a:cubicBezTo>
                    <a:pt x="15125" y="15386"/>
                    <a:pt x="15074" y="15288"/>
                    <a:pt x="15024" y="15288"/>
                  </a:cubicBezTo>
                  <a:cubicBezTo>
                    <a:pt x="15024" y="15189"/>
                    <a:pt x="14923" y="15189"/>
                    <a:pt x="14872" y="15189"/>
                  </a:cubicBezTo>
                  <a:cubicBezTo>
                    <a:pt x="14872" y="15090"/>
                    <a:pt x="14923" y="15090"/>
                    <a:pt x="14872" y="14893"/>
                  </a:cubicBezTo>
                  <a:cubicBezTo>
                    <a:pt x="14822" y="14795"/>
                    <a:pt x="14771" y="14597"/>
                    <a:pt x="14822" y="14400"/>
                  </a:cubicBezTo>
                  <a:cubicBezTo>
                    <a:pt x="14872" y="14104"/>
                    <a:pt x="14720" y="14005"/>
                    <a:pt x="14720" y="13808"/>
                  </a:cubicBezTo>
                  <a:cubicBezTo>
                    <a:pt x="14720" y="13611"/>
                    <a:pt x="14822" y="13512"/>
                    <a:pt x="14771" y="13315"/>
                  </a:cubicBezTo>
                  <a:cubicBezTo>
                    <a:pt x="14670" y="13118"/>
                    <a:pt x="14467" y="13118"/>
                    <a:pt x="14316" y="13118"/>
                  </a:cubicBezTo>
                  <a:cubicBezTo>
                    <a:pt x="14265" y="13118"/>
                    <a:pt x="14215" y="13118"/>
                    <a:pt x="14113" y="13118"/>
                  </a:cubicBezTo>
                  <a:cubicBezTo>
                    <a:pt x="14113" y="13118"/>
                    <a:pt x="14012" y="13315"/>
                    <a:pt x="14012" y="13315"/>
                  </a:cubicBezTo>
                  <a:cubicBezTo>
                    <a:pt x="14012" y="13216"/>
                    <a:pt x="14063" y="13216"/>
                    <a:pt x="14012" y="13118"/>
                  </a:cubicBezTo>
                  <a:cubicBezTo>
                    <a:pt x="14012" y="13019"/>
                    <a:pt x="13962" y="12921"/>
                    <a:pt x="13911" y="12921"/>
                  </a:cubicBezTo>
                  <a:cubicBezTo>
                    <a:pt x="13810" y="12822"/>
                    <a:pt x="13709" y="12822"/>
                    <a:pt x="13607" y="12723"/>
                  </a:cubicBezTo>
                  <a:cubicBezTo>
                    <a:pt x="13456" y="12625"/>
                    <a:pt x="13355" y="12329"/>
                    <a:pt x="13203" y="12132"/>
                  </a:cubicBezTo>
                  <a:cubicBezTo>
                    <a:pt x="13102" y="12033"/>
                    <a:pt x="13000" y="11934"/>
                    <a:pt x="12950" y="11934"/>
                  </a:cubicBezTo>
                  <a:cubicBezTo>
                    <a:pt x="12849" y="11934"/>
                    <a:pt x="12748" y="11737"/>
                    <a:pt x="12646" y="11737"/>
                  </a:cubicBezTo>
                  <a:cubicBezTo>
                    <a:pt x="12596" y="11737"/>
                    <a:pt x="12141" y="11934"/>
                    <a:pt x="12141" y="11934"/>
                  </a:cubicBezTo>
                  <a:cubicBezTo>
                    <a:pt x="12141" y="11836"/>
                    <a:pt x="12191" y="11836"/>
                    <a:pt x="12242" y="11737"/>
                  </a:cubicBezTo>
                  <a:cubicBezTo>
                    <a:pt x="12242" y="11638"/>
                    <a:pt x="12191" y="11540"/>
                    <a:pt x="12191" y="11540"/>
                  </a:cubicBezTo>
                  <a:cubicBezTo>
                    <a:pt x="12141" y="11244"/>
                    <a:pt x="12090" y="11047"/>
                    <a:pt x="12039" y="10849"/>
                  </a:cubicBezTo>
                  <a:cubicBezTo>
                    <a:pt x="11989" y="10652"/>
                    <a:pt x="11938" y="10652"/>
                    <a:pt x="11837" y="10652"/>
                  </a:cubicBezTo>
                  <a:cubicBezTo>
                    <a:pt x="11685" y="10652"/>
                    <a:pt x="11635" y="10652"/>
                    <a:pt x="11635" y="10356"/>
                  </a:cubicBezTo>
                  <a:cubicBezTo>
                    <a:pt x="11685" y="10159"/>
                    <a:pt x="11635" y="9863"/>
                    <a:pt x="11635" y="9666"/>
                  </a:cubicBezTo>
                  <a:cubicBezTo>
                    <a:pt x="11685" y="9370"/>
                    <a:pt x="11786" y="9173"/>
                    <a:pt x="11837" y="8877"/>
                  </a:cubicBezTo>
                  <a:cubicBezTo>
                    <a:pt x="11888" y="8679"/>
                    <a:pt x="11888" y="8581"/>
                    <a:pt x="11989" y="8482"/>
                  </a:cubicBezTo>
                  <a:cubicBezTo>
                    <a:pt x="12039" y="8482"/>
                    <a:pt x="11989" y="8384"/>
                    <a:pt x="11989" y="8285"/>
                  </a:cubicBezTo>
                  <a:cubicBezTo>
                    <a:pt x="12039" y="8285"/>
                    <a:pt x="12141" y="8088"/>
                    <a:pt x="12141" y="8088"/>
                  </a:cubicBezTo>
                  <a:cubicBezTo>
                    <a:pt x="12141" y="8088"/>
                    <a:pt x="12141" y="8088"/>
                    <a:pt x="12090" y="7989"/>
                  </a:cubicBezTo>
                  <a:cubicBezTo>
                    <a:pt x="12090" y="7989"/>
                    <a:pt x="12141" y="7989"/>
                    <a:pt x="12141" y="7989"/>
                  </a:cubicBezTo>
                  <a:cubicBezTo>
                    <a:pt x="12141" y="7792"/>
                    <a:pt x="12242" y="7890"/>
                    <a:pt x="12292" y="7890"/>
                  </a:cubicBezTo>
                  <a:cubicBezTo>
                    <a:pt x="12343" y="7890"/>
                    <a:pt x="12343" y="7792"/>
                    <a:pt x="12343" y="7792"/>
                  </a:cubicBezTo>
                  <a:cubicBezTo>
                    <a:pt x="12393" y="7595"/>
                    <a:pt x="12292" y="7693"/>
                    <a:pt x="12242" y="7595"/>
                  </a:cubicBezTo>
                  <a:cubicBezTo>
                    <a:pt x="12242" y="7595"/>
                    <a:pt x="12343" y="7595"/>
                    <a:pt x="12343" y="7595"/>
                  </a:cubicBezTo>
                  <a:cubicBezTo>
                    <a:pt x="12393" y="7496"/>
                    <a:pt x="12444" y="7595"/>
                    <a:pt x="12444" y="7595"/>
                  </a:cubicBezTo>
                  <a:cubicBezTo>
                    <a:pt x="12545" y="7792"/>
                    <a:pt x="12545" y="7595"/>
                    <a:pt x="12646" y="7496"/>
                  </a:cubicBezTo>
                  <a:cubicBezTo>
                    <a:pt x="12748" y="7299"/>
                    <a:pt x="12545" y="7101"/>
                    <a:pt x="12444" y="7003"/>
                  </a:cubicBezTo>
                  <a:cubicBezTo>
                    <a:pt x="12393" y="7003"/>
                    <a:pt x="12191" y="7101"/>
                    <a:pt x="12191" y="7101"/>
                  </a:cubicBezTo>
                  <a:cubicBezTo>
                    <a:pt x="12141" y="6904"/>
                    <a:pt x="12292" y="6904"/>
                    <a:pt x="12141" y="6805"/>
                  </a:cubicBezTo>
                  <a:cubicBezTo>
                    <a:pt x="12090" y="6805"/>
                    <a:pt x="11837" y="6805"/>
                    <a:pt x="11837" y="6707"/>
                  </a:cubicBezTo>
                  <a:cubicBezTo>
                    <a:pt x="11837" y="6608"/>
                    <a:pt x="11938" y="6608"/>
                    <a:pt x="11938" y="6608"/>
                  </a:cubicBezTo>
                  <a:cubicBezTo>
                    <a:pt x="11989" y="6510"/>
                    <a:pt x="11989" y="6608"/>
                    <a:pt x="12039" y="6608"/>
                  </a:cubicBezTo>
                  <a:cubicBezTo>
                    <a:pt x="11989" y="6707"/>
                    <a:pt x="12141" y="6707"/>
                    <a:pt x="12141" y="6707"/>
                  </a:cubicBezTo>
                  <a:cubicBezTo>
                    <a:pt x="12242" y="6707"/>
                    <a:pt x="12393" y="6904"/>
                    <a:pt x="12444" y="6904"/>
                  </a:cubicBezTo>
                  <a:cubicBezTo>
                    <a:pt x="12495" y="6904"/>
                    <a:pt x="12545" y="7003"/>
                    <a:pt x="12596" y="7003"/>
                  </a:cubicBezTo>
                  <a:cubicBezTo>
                    <a:pt x="12697" y="7101"/>
                    <a:pt x="12646" y="7003"/>
                    <a:pt x="12697" y="7003"/>
                  </a:cubicBezTo>
                  <a:cubicBezTo>
                    <a:pt x="12748" y="7003"/>
                    <a:pt x="12899" y="7003"/>
                    <a:pt x="12849" y="6904"/>
                  </a:cubicBezTo>
                  <a:cubicBezTo>
                    <a:pt x="12798" y="6805"/>
                    <a:pt x="12849" y="6608"/>
                    <a:pt x="12899" y="6510"/>
                  </a:cubicBezTo>
                  <a:cubicBezTo>
                    <a:pt x="12899" y="6608"/>
                    <a:pt x="13051" y="6707"/>
                    <a:pt x="13051" y="6707"/>
                  </a:cubicBezTo>
                  <a:cubicBezTo>
                    <a:pt x="13152" y="6707"/>
                    <a:pt x="13203" y="6707"/>
                    <a:pt x="13304" y="6608"/>
                  </a:cubicBezTo>
                  <a:cubicBezTo>
                    <a:pt x="13355" y="6510"/>
                    <a:pt x="13405" y="6312"/>
                    <a:pt x="13456" y="6214"/>
                  </a:cubicBezTo>
                  <a:cubicBezTo>
                    <a:pt x="13506" y="6115"/>
                    <a:pt x="13607" y="6016"/>
                    <a:pt x="13557" y="5819"/>
                  </a:cubicBezTo>
                  <a:cubicBezTo>
                    <a:pt x="13506" y="5622"/>
                    <a:pt x="13355" y="5721"/>
                    <a:pt x="13304" y="5721"/>
                  </a:cubicBezTo>
                  <a:cubicBezTo>
                    <a:pt x="13152" y="5721"/>
                    <a:pt x="13051" y="5622"/>
                    <a:pt x="12950" y="5523"/>
                  </a:cubicBezTo>
                  <a:cubicBezTo>
                    <a:pt x="12899" y="5425"/>
                    <a:pt x="12849" y="5326"/>
                    <a:pt x="12748" y="5227"/>
                  </a:cubicBezTo>
                  <a:cubicBezTo>
                    <a:pt x="12748" y="5227"/>
                    <a:pt x="12495" y="5227"/>
                    <a:pt x="12495" y="5227"/>
                  </a:cubicBezTo>
                  <a:cubicBezTo>
                    <a:pt x="12495" y="5129"/>
                    <a:pt x="12748" y="5227"/>
                    <a:pt x="12798" y="5227"/>
                  </a:cubicBezTo>
                  <a:cubicBezTo>
                    <a:pt x="12899" y="5227"/>
                    <a:pt x="12899" y="5129"/>
                    <a:pt x="13000" y="5227"/>
                  </a:cubicBezTo>
                  <a:cubicBezTo>
                    <a:pt x="13203" y="5425"/>
                    <a:pt x="13405" y="5819"/>
                    <a:pt x="13607" y="5523"/>
                  </a:cubicBezTo>
                  <a:cubicBezTo>
                    <a:pt x="13709" y="5326"/>
                    <a:pt x="13759" y="5227"/>
                    <a:pt x="13810" y="5030"/>
                  </a:cubicBezTo>
                  <a:cubicBezTo>
                    <a:pt x="13860" y="4932"/>
                    <a:pt x="13557" y="4833"/>
                    <a:pt x="13709" y="4636"/>
                  </a:cubicBezTo>
                  <a:cubicBezTo>
                    <a:pt x="13759" y="4636"/>
                    <a:pt x="13911" y="4636"/>
                    <a:pt x="13962" y="4734"/>
                  </a:cubicBezTo>
                  <a:cubicBezTo>
                    <a:pt x="14113" y="4734"/>
                    <a:pt x="14113" y="4932"/>
                    <a:pt x="14265" y="4734"/>
                  </a:cubicBezTo>
                  <a:cubicBezTo>
                    <a:pt x="14265" y="4734"/>
                    <a:pt x="14417" y="4833"/>
                    <a:pt x="14366" y="4636"/>
                  </a:cubicBezTo>
                  <a:cubicBezTo>
                    <a:pt x="14316" y="4537"/>
                    <a:pt x="14113" y="4340"/>
                    <a:pt x="14063" y="4340"/>
                  </a:cubicBezTo>
                  <a:cubicBezTo>
                    <a:pt x="14164" y="4241"/>
                    <a:pt x="14265" y="4438"/>
                    <a:pt x="14366" y="4438"/>
                  </a:cubicBezTo>
                  <a:cubicBezTo>
                    <a:pt x="14417" y="4438"/>
                    <a:pt x="14518" y="4932"/>
                    <a:pt x="14619" y="4833"/>
                  </a:cubicBezTo>
                  <a:cubicBezTo>
                    <a:pt x="14619" y="4833"/>
                    <a:pt x="14569" y="4734"/>
                    <a:pt x="14569" y="4734"/>
                  </a:cubicBezTo>
                  <a:cubicBezTo>
                    <a:pt x="14619" y="4636"/>
                    <a:pt x="14670" y="4636"/>
                    <a:pt x="14771" y="4537"/>
                  </a:cubicBezTo>
                  <a:cubicBezTo>
                    <a:pt x="14822" y="4438"/>
                    <a:pt x="14973" y="4142"/>
                    <a:pt x="15024" y="4044"/>
                  </a:cubicBezTo>
                  <a:cubicBezTo>
                    <a:pt x="15024" y="3748"/>
                    <a:pt x="14923" y="3748"/>
                    <a:pt x="14822" y="3551"/>
                  </a:cubicBezTo>
                  <a:cubicBezTo>
                    <a:pt x="14822" y="3551"/>
                    <a:pt x="14670" y="2959"/>
                    <a:pt x="14670" y="3058"/>
                  </a:cubicBezTo>
                  <a:cubicBezTo>
                    <a:pt x="14720" y="2959"/>
                    <a:pt x="14923" y="2959"/>
                    <a:pt x="14973" y="2959"/>
                  </a:cubicBezTo>
                  <a:cubicBezTo>
                    <a:pt x="15125" y="2860"/>
                    <a:pt x="14872" y="2762"/>
                    <a:pt x="14872" y="2663"/>
                  </a:cubicBezTo>
                  <a:cubicBezTo>
                    <a:pt x="14822" y="2564"/>
                    <a:pt x="15024" y="2564"/>
                    <a:pt x="15024" y="2466"/>
                  </a:cubicBezTo>
                  <a:cubicBezTo>
                    <a:pt x="15024" y="2466"/>
                    <a:pt x="14518" y="2071"/>
                    <a:pt x="14518" y="2071"/>
                  </a:cubicBezTo>
                  <a:cubicBezTo>
                    <a:pt x="14569" y="2071"/>
                    <a:pt x="14670" y="1973"/>
                    <a:pt x="14720" y="1973"/>
                  </a:cubicBezTo>
                  <a:cubicBezTo>
                    <a:pt x="14569" y="1973"/>
                    <a:pt x="14417" y="1874"/>
                    <a:pt x="14265" y="1874"/>
                  </a:cubicBezTo>
                  <a:cubicBezTo>
                    <a:pt x="14164" y="1874"/>
                    <a:pt x="14012" y="1973"/>
                    <a:pt x="13962" y="1874"/>
                  </a:cubicBezTo>
                  <a:cubicBezTo>
                    <a:pt x="14063" y="1973"/>
                    <a:pt x="13911" y="2071"/>
                    <a:pt x="13962" y="2268"/>
                  </a:cubicBezTo>
                  <a:cubicBezTo>
                    <a:pt x="14012" y="2367"/>
                    <a:pt x="14164" y="2466"/>
                    <a:pt x="14164" y="2564"/>
                  </a:cubicBezTo>
                  <a:cubicBezTo>
                    <a:pt x="14164" y="2564"/>
                    <a:pt x="14063" y="2663"/>
                    <a:pt x="14063" y="2663"/>
                  </a:cubicBezTo>
                  <a:cubicBezTo>
                    <a:pt x="14063" y="2663"/>
                    <a:pt x="14164" y="2762"/>
                    <a:pt x="14113" y="2762"/>
                  </a:cubicBezTo>
                  <a:cubicBezTo>
                    <a:pt x="14012" y="2860"/>
                    <a:pt x="13962" y="2663"/>
                    <a:pt x="13911" y="3058"/>
                  </a:cubicBezTo>
                  <a:cubicBezTo>
                    <a:pt x="13860" y="3255"/>
                    <a:pt x="13860" y="3452"/>
                    <a:pt x="13810" y="3649"/>
                  </a:cubicBezTo>
                  <a:cubicBezTo>
                    <a:pt x="13759" y="3649"/>
                    <a:pt x="13709" y="3748"/>
                    <a:pt x="13709" y="3847"/>
                  </a:cubicBezTo>
                  <a:cubicBezTo>
                    <a:pt x="13709" y="3945"/>
                    <a:pt x="13658" y="3945"/>
                    <a:pt x="13658" y="4044"/>
                  </a:cubicBezTo>
                  <a:cubicBezTo>
                    <a:pt x="13506" y="4142"/>
                    <a:pt x="13557" y="4241"/>
                    <a:pt x="13456" y="3945"/>
                  </a:cubicBezTo>
                  <a:cubicBezTo>
                    <a:pt x="13405" y="3847"/>
                    <a:pt x="13253" y="3649"/>
                    <a:pt x="13253" y="3452"/>
                  </a:cubicBezTo>
                  <a:cubicBezTo>
                    <a:pt x="13253" y="3452"/>
                    <a:pt x="13253" y="3156"/>
                    <a:pt x="13304" y="3156"/>
                  </a:cubicBezTo>
                  <a:cubicBezTo>
                    <a:pt x="13304" y="3156"/>
                    <a:pt x="13405" y="3255"/>
                    <a:pt x="13405" y="3058"/>
                  </a:cubicBezTo>
                  <a:cubicBezTo>
                    <a:pt x="13355" y="2860"/>
                    <a:pt x="13355" y="2762"/>
                    <a:pt x="13253" y="2564"/>
                  </a:cubicBezTo>
                  <a:cubicBezTo>
                    <a:pt x="13152" y="2466"/>
                    <a:pt x="13051" y="2268"/>
                    <a:pt x="12950" y="2466"/>
                  </a:cubicBezTo>
                  <a:cubicBezTo>
                    <a:pt x="12899" y="2564"/>
                    <a:pt x="12899" y="2762"/>
                    <a:pt x="12899" y="2959"/>
                  </a:cubicBezTo>
                  <a:cubicBezTo>
                    <a:pt x="12899" y="3058"/>
                    <a:pt x="12697" y="3058"/>
                    <a:pt x="12697" y="2959"/>
                  </a:cubicBezTo>
                  <a:cubicBezTo>
                    <a:pt x="12697" y="2860"/>
                    <a:pt x="12697" y="2564"/>
                    <a:pt x="12646" y="2466"/>
                  </a:cubicBezTo>
                  <a:cubicBezTo>
                    <a:pt x="12444" y="2170"/>
                    <a:pt x="12697" y="2466"/>
                    <a:pt x="12697" y="2367"/>
                  </a:cubicBezTo>
                  <a:cubicBezTo>
                    <a:pt x="12748" y="2367"/>
                    <a:pt x="12798" y="2268"/>
                    <a:pt x="12748" y="2268"/>
                  </a:cubicBezTo>
                  <a:cubicBezTo>
                    <a:pt x="12748" y="2170"/>
                    <a:pt x="12697" y="2071"/>
                    <a:pt x="12646" y="2170"/>
                  </a:cubicBezTo>
                  <a:cubicBezTo>
                    <a:pt x="12596" y="2268"/>
                    <a:pt x="12596" y="2071"/>
                    <a:pt x="12545" y="2071"/>
                  </a:cubicBezTo>
                  <a:cubicBezTo>
                    <a:pt x="12495" y="1973"/>
                    <a:pt x="12444" y="2170"/>
                    <a:pt x="12393" y="2071"/>
                  </a:cubicBezTo>
                  <a:cubicBezTo>
                    <a:pt x="12292" y="1973"/>
                    <a:pt x="12242" y="2071"/>
                    <a:pt x="12292" y="1775"/>
                  </a:cubicBezTo>
                  <a:cubicBezTo>
                    <a:pt x="12292" y="1775"/>
                    <a:pt x="12292" y="1775"/>
                    <a:pt x="12343" y="1775"/>
                  </a:cubicBezTo>
                  <a:cubicBezTo>
                    <a:pt x="12343" y="1677"/>
                    <a:pt x="12343" y="1677"/>
                    <a:pt x="12343" y="1578"/>
                  </a:cubicBezTo>
                  <a:cubicBezTo>
                    <a:pt x="12393" y="1578"/>
                    <a:pt x="12393" y="1578"/>
                    <a:pt x="12444" y="1578"/>
                  </a:cubicBezTo>
                  <a:cubicBezTo>
                    <a:pt x="12393" y="1578"/>
                    <a:pt x="12343" y="1282"/>
                    <a:pt x="12343" y="1282"/>
                  </a:cubicBezTo>
                  <a:cubicBezTo>
                    <a:pt x="12292" y="1085"/>
                    <a:pt x="12191" y="1085"/>
                    <a:pt x="12191" y="986"/>
                  </a:cubicBezTo>
                  <a:cubicBezTo>
                    <a:pt x="12090" y="888"/>
                    <a:pt x="12141" y="888"/>
                    <a:pt x="12090" y="690"/>
                  </a:cubicBezTo>
                  <a:cubicBezTo>
                    <a:pt x="12090" y="493"/>
                    <a:pt x="11989" y="395"/>
                    <a:pt x="11989" y="296"/>
                  </a:cubicBezTo>
                  <a:cubicBezTo>
                    <a:pt x="11938" y="99"/>
                    <a:pt x="11837" y="99"/>
                    <a:pt x="11736" y="99"/>
                  </a:cubicBezTo>
                  <a:cubicBezTo>
                    <a:pt x="11685" y="99"/>
                    <a:pt x="11736" y="0"/>
                    <a:pt x="11635" y="0"/>
                  </a:cubicBezTo>
                  <a:cubicBezTo>
                    <a:pt x="11584" y="0"/>
                    <a:pt x="11533" y="0"/>
                    <a:pt x="11533" y="197"/>
                  </a:cubicBezTo>
                  <a:cubicBezTo>
                    <a:pt x="11533" y="197"/>
                    <a:pt x="11382" y="296"/>
                    <a:pt x="11382" y="296"/>
                  </a:cubicBezTo>
                  <a:cubicBezTo>
                    <a:pt x="11432" y="296"/>
                    <a:pt x="11533" y="296"/>
                    <a:pt x="11533" y="395"/>
                  </a:cubicBezTo>
                  <a:cubicBezTo>
                    <a:pt x="11533" y="395"/>
                    <a:pt x="11432" y="493"/>
                    <a:pt x="11432" y="493"/>
                  </a:cubicBezTo>
                  <a:cubicBezTo>
                    <a:pt x="11382" y="592"/>
                    <a:pt x="11331" y="395"/>
                    <a:pt x="11281" y="592"/>
                  </a:cubicBezTo>
                  <a:cubicBezTo>
                    <a:pt x="11230" y="592"/>
                    <a:pt x="11179" y="888"/>
                    <a:pt x="11179" y="986"/>
                  </a:cubicBezTo>
                  <a:cubicBezTo>
                    <a:pt x="11230" y="986"/>
                    <a:pt x="11331" y="986"/>
                    <a:pt x="11382" y="1085"/>
                  </a:cubicBezTo>
                  <a:cubicBezTo>
                    <a:pt x="11331" y="986"/>
                    <a:pt x="11230" y="1381"/>
                    <a:pt x="11230" y="1479"/>
                  </a:cubicBezTo>
                  <a:cubicBezTo>
                    <a:pt x="11230" y="1578"/>
                    <a:pt x="11331" y="1775"/>
                    <a:pt x="11382" y="1874"/>
                  </a:cubicBezTo>
                  <a:cubicBezTo>
                    <a:pt x="11432" y="1874"/>
                    <a:pt x="11533" y="2071"/>
                    <a:pt x="11584" y="2071"/>
                  </a:cubicBezTo>
                  <a:cubicBezTo>
                    <a:pt x="11685" y="1973"/>
                    <a:pt x="11685" y="1973"/>
                    <a:pt x="11736" y="2071"/>
                  </a:cubicBezTo>
                  <a:cubicBezTo>
                    <a:pt x="11786" y="2071"/>
                    <a:pt x="11888" y="2268"/>
                    <a:pt x="11888" y="2268"/>
                  </a:cubicBezTo>
                  <a:cubicBezTo>
                    <a:pt x="11837" y="2367"/>
                    <a:pt x="11786" y="2170"/>
                    <a:pt x="11786" y="2367"/>
                  </a:cubicBezTo>
                  <a:cubicBezTo>
                    <a:pt x="11786" y="2564"/>
                    <a:pt x="11736" y="2564"/>
                    <a:pt x="11736" y="2663"/>
                  </a:cubicBezTo>
                  <a:cubicBezTo>
                    <a:pt x="11685" y="2860"/>
                    <a:pt x="11786" y="2860"/>
                    <a:pt x="11837" y="2762"/>
                  </a:cubicBezTo>
                  <a:cubicBezTo>
                    <a:pt x="11837" y="2762"/>
                    <a:pt x="11938" y="2466"/>
                    <a:pt x="11938" y="2564"/>
                  </a:cubicBezTo>
                  <a:cubicBezTo>
                    <a:pt x="11989" y="2663"/>
                    <a:pt x="11938" y="2860"/>
                    <a:pt x="11938" y="2959"/>
                  </a:cubicBezTo>
                  <a:cubicBezTo>
                    <a:pt x="11888" y="3058"/>
                    <a:pt x="11837" y="3058"/>
                    <a:pt x="11786" y="3058"/>
                  </a:cubicBezTo>
                  <a:cubicBezTo>
                    <a:pt x="11786" y="3156"/>
                    <a:pt x="11786" y="3255"/>
                    <a:pt x="11736" y="3353"/>
                  </a:cubicBezTo>
                  <a:cubicBezTo>
                    <a:pt x="11685" y="3353"/>
                    <a:pt x="11584" y="3353"/>
                    <a:pt x="11533" y="3452"/>
                  </a:cubicBezTo>
                  <a:cubicBezTo>
                    <a:pt x="11483" y="3452"/>
                    <a:pt x="11432" y="3649"/>
                    <a:pt x="11432" y="3649"/>
                  </a:cubicBezTo>
                  <a:cubicBezTo>
                    <a:pt x="11483" y="3748"/>
                    <a:pt x="11533" y="3847"/>
                    <a:pt x="11533" y="4044"/>
                  </a:cubicBezTo>
                  <a:cubicBezTo>
                    <a:pt x="11533" y="4142"/>
                    <a:pt x="11483" y="4044"/>
                    <a:pt x="11432" y="3945"/>
                  </a:cubicBezTo>
                  <a:cubicBezTo>
                    <a:pt x="11432" y="3945"/>
                    <a:pt x="11382" y="3945"/>
                    <a:pt x="11382" y="4044"/>
                  </a:cubicBezTo>
                  <a:cubicBezTo>
                    <a:pt x="11331" y="4044"/>
                    <a:pt x="11230" y="3945"/>
                    <a:pt x="11230" y="3847"/>
                  </a:cubicBezTo>
                  <a:cubicBezTo>
                    <a:pt x="11230" y="3748"/>
                    <a:pt x="11331" y="3452"/>
                    <a:pt x="11331" y="3353"/>
                  </a:cubicBezTo>
                  <a:cubicBezTo>
                    <a:pt x="11382" y="3156"/>
                    <a:pt x="11230" y="3353"/>
                    <a:pt x="11230" y="3353"/>
                  </a:cubicBezTo>
                  <a:cubicBezTo>
                    <a:pt x="11179" y="3353"/>
                    <a:pt x="11028" y="3156"/>
                    <a:pt x="10977" y="3058"/>
                  </a:cubicBezTo>
                  <a:cubicBezTo>
                    <a:pt x="10876" y="2959"/>
                    <a:pt x="10926" y="3156"/>
                    <a:pt x="10825" y="3156"/>
                  </a:cubicBezTo>
                  <a:cubicBezTo>
                    <a:pt x="10775" y="3156"/>
                    <a:pt x="10623" y="3058"/>
                    <a:pt x="10724" y="3255"/>
                  </a:cubicBezTo>
                  <a:cubicBezTo>
                    <a:pt x="10775" y="3353"/>
                    <a:pt x="10775" y="3452"/>
                    <a:pt x="10876" y="3452"/>
                  </a:cubicBezTo>
                  <a:cubicBezTo>
                    <a:pt x="10926" y="3452"/>
                    <a:pt x="11028" y="3452"/>
                    <a:pt x="11028" y="3649"/>
                  </a:cubicBezTo>
                  <a:cubicBezTo>
                    <a:pt x="11129" y="4044"/>
                    <a:pt x="10825" y="3551"/>
                    <a:pt x="10775" y="3452"/>
                  </a:cubicBezTo>
                  <a:cubicBezTo>
                    <a:pt x="10674" y="3452"/>
                    <a:pt x="10674" y="3649"/>
                    <a:pt x="10572" y="3649"/>
                  </a:cubicBezTo>
                  <a:cubicBezTo>
                    <a:pt x="10471" y="3649"/>
                    <a:pt x="10421" y="3551"/>
                    <a:pt x="10319" y="3551"/>
                  </a:cubicBezTo>
                  <a:cubicBezTo>
                    <a:pt x="10117" y="3649"/>
                    <a:pt x="9965" y="3649"/>
                    <a:pt x="9763" y="3649"/>
                  </a:cubicBezTo>
                  <a:cubicBezTo>
                    <a:pt x="9611" y="3551"/>
                    <a:pt x="9409" y="3353"/>
                    <a:pt x="9207" y="3255"/>
                  </a:cubicBezTo>
                  <a:cubicBezTo>
                    <a:pt x="9156" y="3255"/>
                    <a:pt x="9055" y="3255"/>
                    <a:pt x="9004" y="3156"/>
                  </a:cubicBezTo>
                  <a:cubicBezTo>
                    <a:pt x="8954" y="2959"/>
                    <a:pt x="8954" y="2762"/>
                    <a:pt x="8903" y="2762"/>
                  </a:cubicBezTo>
                  <a:cubicBezTo>
                    <a:pt x="8802" y="2663"/>
                    <a:pt x="8701" y="2762"/>
                    <a:pt x="8650" y="2762"/>
                  </a:cubicBezTo>
                  <a:cubicBezTo>
                    <a:pt x="8498" y="2860"/>
                    <a:pt x="8397" y="2860"/>
                    <a:pt x="8296" y="2860"/>
                  </a:cubicBezTo>
                  <a:cubicBezTo>
                    <a:pt x="8245" y="2959"/>
                    <a:pt x="8144" y="3058"/>
                    <a:pt x="8144" y="3156"/>
                  </a:cubicBezTo>
                  <a:cubicBezTo>
                    <a:pt x="8144" y="3156"/>
                    <a:pt x="8347" y="3353"/>
                    <a:pt x="8397" y="3353"/>
                  </a:cubicBezTo>
                  <a:cubicBezTo>
                    <a:pt x="8397" y="3353"/>
                    <a:pt x="8347" y="3058"/>
                    <a:pt x="8448" y="3156"/>
                  </a:cubicBezTo>
                  <a:cubicBezTo>
                    <a:pt x="8498" y="3156"/>
                    <a:pt x="8498" y="3255"/>
                    <a:pt x="8549" y="3156"/>
                  </a:cubicBezTo>
                  <a:cubicBezTo>
                    <a:pt x="8600" y="3156"/>
                    <a:pt x="8903" y="2762"/>
                    <a:pt x="8903" y="2959"/>
                  </a:cubicBezTo>
                  <a:cubicBezTo>
                    <a:pt x="8903" y="3058"/>
                    <a:pt x="8751" y="3156"/>
                    <a:pt x="8701" y="3255"/>
                  </a:cubicBezTo>
                  <a:cubicBezTo>
                    <a:pt x="8650" y="3353"/>
                    <a:pt x="8549" y="3353"/>
                    <a:pt x="8448" y="3353"/>
                  </a:cubicBezTo>
                  <a:cubicBezTo>
                    <a:pt x="8397" y="3452"/>
                    <a:pt x="8245" y="3649"/>
                    <a:pt x="8347" y="3748"/>
                  </a:cubicBezTo>
                  <a:cubicBezTo>
                    <a:pt x="8448" y="3748"/>
                    <a:pt x="8448" y="3847"/>
                    <a:pt x="8397" y="4044"/>
                  </a:cubicBezTo>
                  <a:cubicBezTo>
                    <a:pt x="8397" y="4142"/>
                    <a:pt x="8498" y="4142"/>
                    <a:pt x="8498" y="4241"/>
                  </a:cubicBezTo>
                  <a:cubicBezTo>
                    <a:pt x="8549" y="4340"/>
                    <a:pt x="8549" y="4537"/>
                    <a:pt x="8448" y="4340"/>
                  </a:cubicBezTo>
                  <a:cubicBezTo>
                    <a:pt x="8347" y="4142"/>
                    <a:pt x="8448" y="4537"/>
                    <a:pt x="8397" y="4438"/>
                  </a:cubicBezTo>
                  <a:cubicBezTo>
                    <a:pt x="8347" y="4438"/>
                    <a:pt x="8245" y="4142"/>
                    <a:pt x="8195" y="4241"/>
                  </a:cubicBezTo>
                  <a:cubicBezTo>
                    <a:pt x="8296" y="4142"/>
                    <a:pt x="8448" y="4241"/>
                    <a:pt x="8296" y="4044"/>
                  </a:cubicBezTo>
                  <a:cubicBezTo>
                    <a:pt x="8347" y="4044"/>
                    <a:pt x="8397" y="3945"/>
                    <a:pt x="8296" y="3847"/>
                  </a:cubicBezTo>
                  <a:cubicBezTo>
                    <a:pt x="8397" y="3945"/>
                    <a:pt x="8144" y="3945"/>
                    <a:pt x="8195" y="3945"/>
                  </a:cubicBezTo>
                  <a:cubicBezTo>
                    <a:pt x="8195" y="3847"/>
                    <a:pt x="8195" y="3847"/>
                    <a:pt x="8245" y="3847"/>
                  </a:cubicBezTo>
                  <a:cubicBezTo>
                    <a:pt x="8245" y="3748"/>
                    <a:pt x="8094" y="3945"/>
                    <a:pt x="8094" y="3945"/>
                  </a:cubicBezTo>
                  <a:cubicBezTo>
                    <a:pt x="8043" y="3945"/>
                    <a:pt x="8094" y="3748"/>
                    <a:pt x="8043" y="3649"/>
                  </a:cubicBezTo>
                  <a:cubicBezTo>
                    <a:pt x="8043" y="3649"/>
                    <a:pt x="7942" y="3649"/>
                    <a:pt x="7942" y="3649"/>
                  </a:cubicBezTo>
                  <a:cubicBezTo>
                    <a:pt x="7841" y="3649"/>
                    <a:pt x="7841" y="3353"/>
                    <a:pt x="7740" y="3452"/>
                  </a:cubicBezTo>
                  <a:cubicBezTo>
                    <a:pt x="7638" y="3649"/>
                    <a:pt x="7588" y="3649"/>
                    <a:pt x="7436" y="3649"/>
                  </a:cubicBezTo>
                  <a:cubicBezTo>
                    <a:pt x="7234" y="3649"/>
                    <a:pt x="7082" y="3649"/>
                    <a:pt x="6880" y="3649"/>
                  </a:cubicBezTo>
                  <a:cubicBezTo>
                    <a:pt x="6829" y="3649"/>
                    <a:pt x="6475" y="3649"/>
                    <a:pt x="6475" y="3551"/>
                  </a:cubicBezTo>
                  <a:cubicBezTo>
                    <a:pt x="6424" y="3551"/>
                    <a:pt x="6576" y="3353"/>
                    <a:pt x="6627" y="3255"/>
                  </a:cubicBezTo>
                  <a:cubicBezTo>
                    <a:pt x="6677" y="3156"/>
                    <a:pt x="6728" y="3255"/>
                    <a:pt x="6829" y="3255"/>
                  </a:cubicBezTo>
                  <a:cubicBezTo>
                    <a:pt x="6880" y="3156"/>
                    <a:pt x="6728" y="2959"/>
                    <a:pt x="6728" y="2959"/>
                  </a:cubicBezTo>
                  <a:cubicBezTo>
                    <a:pt x="6627" y="2762"/>
                    <a:pt x="6576" y="2762"/>
                    <a:pt x="6475" y="2663"/>
                  </a:cubicBezTo>
                  <a:cubicBezTo>
                    <a:pt x="6424" y="2663"/>
                    <a:pt x="6374" y="2564"/>
                    <a:pt x="6323" y="2663"/>
                  </a:cubicBezTo>
                  <a:cubicBezTo>
                    <a:pt x="6273" y="2762"/>
                    <a:pt x="6222" y="2860"/>
                    <a:pt x="6171" y="2762"/>
                  </a:cubicBezTo>
                  <a:cubicBezTo>
                    <a:pt x="6020" y="2564"/>
                    <a:pt x="5868" y="2564"/>
                    <a:pt x="5716" y="2466"/>
                  </a:cubicBezTo>
                  <a:cubicBezTo>
                    <a:pt x="5514" y="2367"/>
                    <a:pt x="5362" y="2367"/>
                    <a:pt x="5160" y="2170"/>
                  </a:cubicBezTo>
                  <a:cubicBezTo>
                    <a:pt x="5008" y="1973"/>
                    <a:pt x="4907" y="1874"/>
                    <a:pt x="4704" y="1874"/>
                  </a:cubicBezTo>
                  <a:cubicBezTo>
                    <a:pt x="4654" y="1874"/>
                    <a:pt x="4603" y="1874"/>
                    <a:pt x="4553" y="1973"/>
                  </a:cubicBezTo>
                  <a:cubicBezTo>
                    <a:pt x="4502" y="2071"/>
                    <a:pt x="4452" y="2268"/>
                    <a:pt x="4401" y="2268"/>
                  </a:cubicBezTo>
                  <a:cubicBezTo>
                    <a:pt x="4350" y="2268"/>
                    <a:pt x="4199" y="2367"/>
                    <a:pt x="4199" y="2268"/>
                  </a:cubicBezTo>
                  <a:cubicBezTo>
                    <a:pt x="4199" y="2170"/>
                    <a:pt x="4300" y="2071"/>
                    <a:pt x="4300" y="1973"/>
                  </a:cubicBezTo>
                  <a:cubicBezTo>
                    <a:pt x="4300" y="1973"/>
                    <a:pt x="4148" y="2071"/>
                    <a:pt x="4148" y="1973"/>
                  </a:cubicBezTo>
                  <a:cubicBezTo>
                    <a:pt x="4199" y="1874"/>
                    <a:pt x="4199" y="1775"/>
                    <a:pt x="4148" y="1677"/>
                  </a:cubicBezTo>
                  <a:cubicBezTo>
                    <a:pt x="4148" y="1479"/>
                    <a:pt x="3946" y="1677"/>
                    <a:pt x="3946" y="1775"/>
                  </a:cubicBezTo>
                  <a:cubicBezTo>
                    <a:pt x="3946" y="1775"/>
                    <a:pt x="4047" y="1677"/>
                    <a:pt x="4047" y="1775"/>
                  </a:cubicBezTo>
                  <a:cubicBezTo>
                    <a:pt x="4097" y="1775"/>
                    <a:pt x="3895" y="1973"/>
                    <a:pt x="4047" y="1973"/>
                  </a:cubicBezTo>
                  <a:cubicBezTo>
                    <a:pt x="3996" y="1973"/>
                    <a:pt x="3946" y="1973"/>
                    <a:pt x="3946" y="2170"/>
                  </a:cubicBezTo>
                  <a:cubicBezTo>
                    <a:pt x="3946" y="2268"/>
                    <a:pt x="3895" y="2367"/>
                    <a:pt x="3844" y="2268"/>
                  </a:cubicBezTo>
                  <a:cubicBezTo>
                    <a:pt x="3693" y="2170"/>
                    <a:pt x="3642" y="2071"/>
                    <a:pt x="3592" y="1775"/>
                  </a:cubicBezTo>
                  <a:cubicBezTo>
                    <a:pt x="3541" y="1578"/>
                    <a:pt x="3440" y="1479"/>
                    <a:pt x="3339" y="1282"/>
                  </a:cubicBezTo>
                  <a:cubicBezTo>
                    <a:pt x="3288" y="1282"/>
                    <a:pt x="3237" y="1085"/>
                    <a:pt x="3187" y="1184"/>
                  </a:cubicBezTo>
                  <a:cubicBezTo>
                    <a:pt x="3187" y="1381"/>
                    <a:pt x="3339" y="1479"/>
                    <a:pt x="3389" y="1578"/>
                  </a:cubicBezTo>
                  <a:cubicBezTo>
                    <a:pt x="3389" y="1479"/>
                    <a:pt x="3187" y="1578"/>
                    <a:pt x="3187" y="1677"/>
                  </a:cubicBezTo>
                  <a:cubicBezTo>
                    <a:pt x="3136" y="1775"/>
                    <a:pt x="3187" y="1775"/>
                    <a:pt x="3136" y="1874"/>
                  </a:cubicBezTo>
                  <a:cubicBezTo>
                    <a:pt x="3086" y="1874"/>
                    <a:pt x="3035" y="2071"/>
                    <a:pt x="2985" y="1973"/>
                  </a:cubicBezTo>
                  <a:cubicBezTo>
                    <a:pt x="2985" y="1973"/>
                    <a:pt x="2985" y="1874"/>
                    <a:pt x="2985" y="1874"/>
                  </a:cubicBezTo>
                  <a:cubicBezTo>
                    <a:pt x="2985" y="1775"/>
                    <a:pt x="2732" y="1973"/>
                    <a:pt x="2732" y="2071"/>
                  </a:cubicBezTo>
                  <a:cubicBezTo>
                    <a:pt x="2681" y="2170"/>
                    <a:pt x="2630" y="2268"/>
                    <a:pt x="2529" y="2367"/>
                  </a:cubicBezTo>
                  <a:cubicBezTo>
                    <a:pt x="2479" y="2466"/>
                    <a:pt x="2529" y="2170"/>
                    <a:pt x="2479" y="2170"/>
                  </a:cubicBezTo>
                  <a:cubicBezTo>
                    <a:pt x="2428" y="2170"/>
                    <a:pt x="2378" y="2268"/>
                    <a:pt x="2327" y="2268"/>
                  </a:cubicBezTo>
                  <a:cubicBezTo>
                    <a:pt x="2276" y="2268"/>
                    <a:pt x="2276" y="2466"/>
                    <a:pt x="2226" y="2466"/>
                  </a:cubicBezTo>
                  <a:cubicBezTo>
                    <a:pt x="2175" y="2466"/>
                    <a:pt x="2023" y="2663"/>
                    <a:pt x="2074" y="2663"/>
                  </a:cubicBezTo>
                  <a:cubicBezTo>
                    <a:pt x="2074" y="2762"/>
                    <a:pt x="2175" y="2762"/>
                    <a:pt x="2023" y="2860"/>
                  </a:cubicBezTo>
                  <a:cubicBezTo>
                    <a:pt x="2023" y="2860"/>
                    <a:pt x="1872" y="2860"/>
                    <a:pt x="1872" y="2762"/>
                  </a:cubicBezTo>
                  <a:cubicBezTo>
                    <a:pt x="1872" y="2663"/>
                    <a:pt x="2023" y="2564"/>
                    <a:pt x="2023" y="2564"/>
                  </a:cubicBezTo>
                  <a:cubicBezTo>
                    <a:pt x="2074" y="2367"/>
                    <a:pt x="2175" y="2268"/>
                    <a:pt x="2226" y="2170"/>
                  </a:cubicBezTo>
                  <a:cubicBezTo>
                    <a:pt x="2327" y="2071"/>
                    <a:pt x="2378" y="2071"/>
                    <a:pt x="2479" y="2170"/>
                  </a:cubicBezTo>
                  <a:cubicBezTo>
                    <a:pt x="2428" y="2170"/>
                    <a:pt x="2833" y="1775"/>
                    <a:pt x="2833" y="1775"/>
                  </a:cubicBezTo>
                  <a:cubicBezTo>
                    <a:pt x="2934" y="1677"/>
                    <a:pt x="2883" y="1578"/>
                    <a:pt x="2833" y="1578"/>
                  </a:cubicBezTo>
                  <a:cubicBezTo>
                    <a:pt x="2732" y="1578"/>
                    <a:pt x="2630" y="1578"/>
                    <a:pt x="2529" y="1677"/>
                  </a:cubicBezTo>
                  <a:cubicBezTo>
                    <a:pt x="2479" y="1677"/>
                    <a:pt x="2479" y="1874"/>
                    <a:pt x="2378" y="1874"/>
                  </a:cubicBezTo>
                  <a:cubicBezTo>
                    <a:pt x="2327" y="1874"/>
                    <a:pt x="2226" y="1973"/>
                    <a:pt x="2175" y="1973"/>
                  </a:cubicBezTo>
                  <a:cubicBezTo>
                    <a:pt x="2074" y="1973"/>
                    <a:pt x="1821" y="2466"/>
                    <a:pt x="1770" y="2367"/>
                  </a:cubicBezTo>
                  <a:cubicBezTo>
                    <a:pt x="1720" y="2367"/>
                    <a:pt x="1821" y="2268"/>
                    <a:pt x="1821" y="2170"/>
                  </a:cubicBezTo>
                  <a:cubicBezTo>
                    <a:pt x="1821" y="2170"/>
                    <a:pt x="1669" y="2071"/>
                    <a:pt x="1669" y="2071"/>
                  </a:cubicBezTo>
                  <a:cubicBezTo>
                    <a:pt x="1669" y="2071"/>
                    <a:pt x="1518" y="2268"/>
                    <a:pt x="1467" y="2268"/>
                  </a:cubicBezTo>
                  <a:cubicBezTo>
                    <a:pt x="1416" y="2268"/>
                    <a:pt x="1315" y="2367"/>
                    <a:pt x="1265" y="2466"/>
                  </a:cubicBezTo>
                  <a:cubicBezTo>
                    <a:pt x="1214" y="2466"/>
                    <a:pt x="1315" y="2564"/>
                    <a:pt x="1315" y="2564"/>
                  </a:cubicBezTo>
                  <a:cubicBezTo>
                    <a:pt x="1366" y="2564"/>
                    <a:pt x="1315" y="2663"/>
                    <a:pt x="1315" y="2663"/>
                  </a:cubicBezTo>
                  <a:cubicBezTo>
                    <a:pt x="1315" y="2762"/>
                    <a:pt x="1518" y="2663"/>
                    <a:pt x="1518" y="2663"/>
                  </a:cubicBezTo>
                  <a:cubicBezTo>
                    <a:pt x="1568" y="2564"/>
                    <a:pt x="1669" y="2466"/>
                    <a:pt x="1720" y="2367"/>
                  </a:cubicBezTo>
                  <a:cubicBezTo>
                    <a:pt x="1467" y="2564"/>
                    <a:pt x="1720" y="2663"/>
                    <a:pt x="1669" y="2860"/>
                  </a:cubicBezTo>
                  <a:cubicBezTo>
                    <a:pt x="1669" y="2860"/>
                    <a:pt x="1619" y="2762"/>
                    <a:pt x="1619" y="2762"/>
                  </a:cubicBezTo>
                  <a:cubicBezTo>
                    <a:pt x="1518" y="2663"/>
                    <a:pt x="1467" y="2762"/>
                    <a:pt x="1416" y="2860"/>
                  </a:cubicBezTo>
                  <a:cubicBezTo>
                    <a:pt x="1366" y="2860"/>
                    <a:pt x="1163" y="2762"/>
                    <a:pt x="1062" y="2762"/>
                  </a:cubicBezTo>
                  <a:cubicBezTo>
                    <a:pt x="961" y="2762"/>
                    <a:pt x="809" y="2564"/>
                    <a:pt x="708" y="2466"/>
                  </a:cubicBezTo>
                  <a:cubicBezTo>
                    <a:pt x="658" y="2466"/>
                    <a:pt x="607" y="2367"/>
                    <a:pt x="556" y="2367"/>
                  </a:cubicBezTo>
                  <a:cubicBezTo>
                    <a:pt x="506" y="2268"/>
                    <a:pt x="455" y="2071"/>
                    <a:pt x="506" y="2071"/>
                  </a:cubicBezTo>
                  <a:cubicBezTo>
                    <a:pt x="455" y="2071"/>
                    <a:pt x="354" y="2071"/>
                    <a:pt x="304" y="2170"/>
                  </a:cubicBezTo>
                  <a:cubicBezTo>
                    <a:pt x="202" y="2170"/>
                    <a:pt x="101" y="2170"/>
                    <a:pt x="0" y="2071"/>
                  </a:cubicBezTo>
                  <a:cubicBezTo>
                    <a:pt x="0" y="4044"/>
                    <a:pt x="0" y="6016"/>
                    <a:pt x="0" y="7890"/>
                  </a:cubicBezTo>
                  <a:cubicBezTo>
                    <a:pt x="0" y="8384"/>
                    <a:pt x="0" y="8778"/>
                    <a:pt x="0" y="9271"/>
                  </a:cubicBezTo>
                  <a:cubicBezTo>
                    <a:pt x="0" y="9370"/>
                    <a:pt x="0" y="9468"/>
                    <a:pt x="0" y="9567"/>
                  </a:cubicBezTo>
                  <a:cubicBezTo>
                    <a:pt x="0" y="9764"/>
                    <a:pt x="101" y="9567"/>
                    <a:pt x="152" y="9567"/>
                  </a:cubicBezTo>
                  <a:cubicBezTo>
                    <a:pt x="253" y="9666"/>
                    <a:pt x="253" y="9567"/>
                    <a:pt x="354" y="9567"/>
                  </a:cubicBezTo>
                  <a:cubicBezTo>
                    <a:pt x="455" y="9567"/>
                    <a:pt x="455" y="9666"/>
                    <a:pt x="506" y="9764"/>
                  </a:cubicBezTo>
                  <a:cubicBezTo>
                    <a:pt x="556" y="9962"/>
                    <a:pt x="809" y="10553"/>
                    <a:pt x="911" y="10553"/>
                  </a:cubicBezTo>
                  <a:cubicBezTo>
                    <a:pt x="961" y="10553"/>
                    <a:pt x="1062" y="10455"/>
                    <a:pt x="1113" y="10356"/>
                  </a:cubicBezTo>
                  <a:cubicBezTo>
                    <a:pt x="1163" y="10258"/>
                    <a:pt x="1113" y="10159"/>
                    <a:pt x="1163" y="10060"/>
                  </a:cubicBezTo>
                  <a:cubicBezTo>
                    <a:pt x="1214" y="10060"/>
                    <a:pt x="1416" y="9962"/>
                    <a:pt x="1416" y="10060"/>
                  </a:cubicBezTo>
                  <a:cubicBezTo>
                    <a:pt x="1518" y="10258"/>
                    <a:pt x="1619" y="10356"/>
                    <a:pt x="1669" y="10553"/>
                  </a:cubicBezTo>
                  <a:cubicBezTo>
                    <a:pt x="1770" y="10751"/>
                    <a:pt x="1872" y="10849"/>
                    <a:pt x="1922" y="11047"/>
                  </a:cubicBezTo>
                  <a:cubicBezTo>
                    <a:pt x="1973" y="11145"/>
                    <a:pt x="1973" y="11244"/>
                    <a:pt x="2023" y="11441"/>
                  </a:cubicBezTo>
                  <a:cubicBezTo>
                    <a:pt x="2125" y="11638"/>
                    <a:pt x="2175" y="12033"/>
                    <a:pt x="2327" y="12230"/>
                  </a:cubicBezTo>
                  <a:cubicBezTo>
                    <a:pt x="2428" y="12427"/>
                    <a:pt x="2630" y="12526"/>
                    <a:pt x="2732" y="12625"/>
                  </a:cubicBezTo>
                  <a:cubicBezTo>
                    <a:pt x="2833" y="12723"/>
                    <a:pt x="2681" y="12822"/>
                    <a:pt x="2732" y="13019"/>
                  </a:cubicBezTo>
                  <a:cubicBezTo>
                    <a:pt x="2782" y="13019"/>
                    <a:pt x="2833" y="13019"/>
                    <a:pt x="2833" y="13118"/>
                  </a:cubicBezTo>
                  <a:cubicBezTo>
                    <a:pt x="2833" y="13118"/>
                    <a:pt x="2782" y="13414"/>
                    <a:pt x="2833" y="13315"/>
                  </a:cubicBezTo>
                  <a:cubicBezTo>
                    <a:pt x="2782" y="13414"/>
                    <a:pt x="2681" y="13414"/>
                    <a:pt x="2681" y="13611"/>
                  </a:cubicBezTo>
                  <a:cubicBezTo>
                    <a:pt x="2630" y="13710"/>
                    <a:pt x="2782" y="13907"/>
                    <a:pt x="2833" y="13907"/>
                  </a:cubicBezTo>
                  <a:cubicBezTo>
                    <a:pt x="2833" y="13907"/>
                    <a:pt x="2732" y="14104"/>
                    <a:pt x="2732" y="14104"/>
                  </a:cubicBezTo>
                  <a:cubicBezTo>
                    <a:pt x="2732" y="14104"/>
                    <a:pt x="2681" y="14005"/>
                    <a:pt x="2681" y="13907"/>
                  </a:cubicBezTo>
                  <a:cubicBezTo>
                    <a:pt x="2630" y="13907"/>
                    <a:pt x="2681" y="14104"/>
                    <a:pt x="2681" y="14104"/>
                  </a:cubicBezTo>
                  <a:cubicBezTo>
                    <a:pt x="2732" y="14203"/>
                    <a:pt x="2681" y="14301"/>
                    <a:pt x="2732" y="14400"/>
                  </a:cubicBezTo>
                  <a:cubicBezTo>
                    <a:pt x="2782" y="14597"/>
                    <a:pt x="2782" y="14597"/>
                    <a:pt x="2883" y="14499"/>
                  </a:cubicBezTo>
                  <a:cubicBezTo>
                    <a:pt x="2883" y="14499"/>
                    <a:pt x="2934" y="14499"/>
                    <a:pt x="2934" y="14499"/>
                  </a:cubicBezTo>
                  <a:cubicBezTo>
                    <a:pt x="2985" y="14499"/>
                    <a:pt x="2985" y="14301"/>
                    <a:pt x="2985" y="14301"/>
                  </a:cubicBezTo>
                  <a:cubicBezTo>
                    <a:pt x="2985" y="14301"/>
                    <a:pt x="3035" y="14499"/>
                    <a:pt x="3086" y="14499"/>
                  </a:cubicBezTo>
                  <a:cubicBezTo>
                    <a:pt x="3086" y="14499"/>
                    <a:pt x="3035" y="14696"/>
                    <a:pt x="3035" y="14795"/>
                  </a:cubicBezTo>
                  <a:cubicBezTo>
                    <a:pt x="2985" y="14893"/>
                    <a:pt x="2985" y="14992"/>
                    <a:pt x="3086" y="14893"/>
                  </a:cubicBezTo>
                  <a:cubicBezTo>
                    <a:pt x="3086" y="14795"/>
                    <a:pt x="3136" y="14795"/>
                    <a:pt x="3136" y="14795"/>
                  </a:cubicBezTo>
                  <a:cubicBezTo>
                    <a:pt x="3187" y="14795"/>
                    <a:pt x="3187" y="14696"/>
                    <a:pt x="3187" y="14696"/>
                  </a:cubicBezTo>
                  <a:cubicBezTo>
                    <a:pt x="3288" y="14597"/>
                    <a:pt x="3237" y="14893"/>
                    <a:pt x="3237" y="14992"/>
                  </a:cubicBezTo>
                  <a:cubicBezTo>
                    <a:pt x="3237" y="15090"/>
                    <a:pt x="3288" y="15189"/>
                    <a:pt x="3339" y="15189"/>
                  </a:cubicBezTo>
                  <a:cubicBezTo>
                    <a:pt x="3389" y="15189"/>
                    <a:pt x="3440" y="14992"/>
                    <a:pt x="3490" y="14992"/>
                  </a:cubicBezTo>
                  <a:cubicBezTo>
                    <a:pt x="3490" y="14992"/>
                    <a:pt x="3440" y="15090"/>
                    <a:pt x="3440" y="15090"/>
                  </a:cubicBezTo>
                  <a:cubicBezTo>
                    <a:pt x="3440" y="15090"/>
                    <a:pt x="3541" y="15189"/>
                    <a:pt x="3541" y="15189"/>
                  </a:cubicBezTo>
                  <a:cubicBezTo>
                    <a:pt x="3541" y="15189"/>
                    <a:pt x="3187" y="15386"/>
                    <a:pt x="3339" y="15584"/>
                  </a:cubicBezTo>
                  <a:cubicBezTo>
                    <a:pt x="3339" y="15584"/>
                    <a:pt x="3642" y="15485"/>
                    <a:pt x="3592" y="15584"/>
                  </a:cubicBezTo>
                  <a:cubicBezTo>
                    <a:pt x="3592" y="15584"/>
                    <a:pt x="3339" y="15584"/>
                    <a:pt x="3389" y="15781"/>
                  </a:cubicBezTo>
                  <a:cubicBezTo>
                    <a:pt x="3389" y="15781"/>
                    <a:pt x="3490" y="15781"/>
                    <a:pt x="3490" y="15781"/>
                  </a:cubicBezTo>
                  <a:cubicBezTo>
                    <a:pt x="3440" y="15879"/>
                    <a:pt x="3339" y="15879"/>
                    <a:pt x="3389" y="15978"/>
                  </a:cubicBezTo>
                  <a:cubicBezTo>
                    <a:pt x="3490" y="16077"/>
                    <a:pt x="3592" y="16077"/>
                    <a:pt x="3642" y="16077"/>
                  </a:cubicBezTo>
                  <a:cubicBezTo>
                    <a:pt x="3743" y="16077"/>
                    <a:pt x="3693" y="16175"/>
                    <a:pt x="3743" y="16175"/>
                  </a:cubicBezTo>
                  <a:cubicBezTo>
                    <a:pt x="3844" y="16274"/>
                    <a:pt x="3844" y="15978"/>
                    <a:pt x="3895" y="15978"/>
                  </a:cubicBezTo>
                  <a:cubicBezTo>
                    <a:pt x="3946" y="15978"/>
                    <a:pt x="3895" y="16175"/>
                    <a:pt x="3895" y="16175"/>
                  </a:cubicBezTo>
                  <a:cubicBezTo>
                    <a:pt x="3844" y="16274"/>
                    <a:pt x="3844" y="16274"/>
                    <a:pt x="3895" y="16373"/>
                  </a:cubicBezTo>
                  <a:cubicBezTo>
                    <a:pt x="4047" y="16570"/>
                    <a:pt x="4097" y="16077"/>
                    <a:pt x="4097" y="16077"/>
                  </a:cubicBezTo>
                  <a:cubicBezTo>
                    <a:pt x="4097" y="16077"/>
                    <a:pt x="4097" y="16373"/>
                    <a:pt x="4047" y="16373"/>
                  </a:cubicBezTo>
                  <a:cubicBezTo>
                    <a:pt x="4047" y="16471"/>
                    <a:pt x="4148" y="16373"/>
                    <a:pt x="4199" y="16373"/>
                  </a:cubicBezTo>
                  <a:cubicBezTo>
                    <a:pt x="4148" y="16570"/>
                    <a:pt x="4097" y="16668"/>
                    <a:pt x="4199" y="16767"/>
                  </a:cubicBezTo>
                  <a:cubicBezTo>
                    <a:pt x="4300" y="16866"/>
                    <a:pt x="4350" y="16570"/>
                    <a:pt x="4350" y="16570"/>
                  </a:cubicBezTo>
                  <a:cubicBezTo>
                    <a:pt x="4350" y="16570"/>
                    <a:pt x="4350" y="16668"/>
                    <a:pt x="4350" y="16767"/>
                  </a:cubicBezTo>
                  <a:cubicBezTo>
                    <a:pt x="4401" y="16964"/>
                    <a:pt x="4350" y="16866"/>
                    <a:pt x="4300" y="16866"/>
                  </a:cubicBezTo>
                  <a:cubicBezTo>
                    <a:pt x="4249" y="16964"/>
                    <a:pt x="4553" y="17063"/>
                    <a:pt x="4502" y="16866"/>
                  </a:cubicBezTo>
                  <a:cubicBezTo>
                    <a:pt x="4603" y="17162"/>
                    <a:pt x="4553" y="17359"/>
                    <a:pt x="4755" y="17359"/>
                  </a:cubicBezTo>
                  <a:cubicBezTo>
                    <a:pt x="4907" y="17359"/>
                    <a:pt x="5008" y="17359"/>
                    <a:pt x="5160" y="17359"/>
                  </a:cubicBezTo>
                  <a:cubicBezTo>
                    <a:pt x="5716" y="17359"/>
                    <a:pt x="6222" y="17359"/>
                    <a:pt x="6728" y="17359"/>
                  </a:cubicBezTo>
                  <a:cubicBezTo>
                    <a:pt x="7993" y="17359"/>
                    <a:pt x="9257" y="17359"/>
                    <a:pt x="10522" y="17359"/>
                  </a:cubicBezTo>
                  <a:cubicBezTo>
                    <a:pt x="10775" y="17359"/>
                    <a:pt x="11028" y="17359"/>
                    <a:pt x="11281" y="17359"/>
                  </a:cubicBezTo>
                  <a:cubicBezTo>
                    <a:pt x="11331" y="17359"/>
                    <a:pt x="11584" y="17458"/>
                    <a:pt x="11584" y="17162"/>
                  </a:cubicBezTo>
                  <a:close/>
                  <a:moveTo>
                    <a:pt x="5666" y="5326"/>
                  </a:moveTo>
                  <a:cubicBezTo>
                    <a:pt x="5564" y="5326"/>
                    <a:pt x="5463" y="5227"/>
                    <a:pt x="5362" y="5326"/>
                  </a:cubicBezTo>
                  <a:cubicBezTo>
                    <a:pt x="5261" y="5622"/>
                    <a:pt x="5463" y="5523"/>
                    <a:pt x="5463" y="5622"/>
                  </a:cubicBezTo>
                  <a:cubicBezTo>
                    <a:pt x="5463" y="5523"/>
                    <a:pt x="5059" y="5918"/>
                    <a:pt x="5059" y="5918"/>
                  </a:cubicBezTo>
                  <a:cubicBezTo>
                    <a:pt x="4957" y="5819"/>
                    <a:pt x="5413" y="5227"/>
                    <a:pt x="5008" y="5523"/>
                  </a:cubicBezTo>
                  <a:cubicBezTo>
                    <a:pt x="4957" y="5523"/>
                    <a:pt x="4907" y="5622"/>
                    <a:pt x="4907" y="5622"/>
                  </a:cubicBezTo>
                  <a:cubicBezTo>
                    <a:pt x="4856" y="5721"/>
                    <a:pt x="4907" y="5819"/>
                    <a:pt x="4856" y="5918"/>
                  </a:cubicBezTo>
                  <a:cubicBezTo>
                    <a:pt x="4806" y="5918"/>
                    <a:pt x="4452" y="5819"/>
                    <a:pt x="4452" y="5819"/>
                  </a:cubicBezTo>
                  <a:cubicBezTo>
                    <a:pt x="4452" y="5721"/>
                    <a:pt x="4603" y="5819"/>
                    <a:pt x="4603" y="5721"/>
                  </a:cubicBezTo>
                  <a:cubicBezTo>
                    <a:pt x="4654" y="5622"/>
                    <a:pt x="4603" y="5622"/>
                    <a:pt x="4654" y="5523"/>
                  </a:cubicBezTo>
                  <a:cubicBezTo>
                    <a:pt x="4654" y="5425"/>
                    <a:pt x="4755" y="5326"/>
                    <a:pt x="4755" y="5326"/>
                  </a:cubicBezTo>
                  <a:cubicBezTo>
                    <a:pt x="4755" y="5227"/>
                    <a:pt x="4603" y="5129"/>
                    <a:pt x="4755" y="5129"/>
                  </a:cubicBezTo>
                  <a:cubicBezTo>
                    <a:pt x="4755" y="5129"/>
                    <a:pt x="4957" y="5227"/>
                    <a:pt x="4957" y="5129"/>
                  </a:cubicBezTo>
                  <a:cubicBezTo>
                    <a:pt x="4957" y="5030"/>
                    <a:pt x="4704" y="4932"/>
                    <a:pt x="4654" y="4932"/>
                  </a:cubicBezTo>
                  <a:cubicBezTo>
                    <a:pt x="4603" y="4932"/>
                    <a:pt x="4502" y="5030"/>
                    <a:pt x="4401" y="5030"/>
                  </a:cubicBezTo>
                  <a:cubicBezTo>
                    <a:pt x="4350" y="5030"/>
                    <a:pt x="4249" y="4932"/>
                    <a:pt x="4148" y="5030"/>
                  </a:cubicBezTo>
                  <a:cubicBezTo>
                    <a:pt x="4097" y="5030"/>
                    <a:pt x="3996" y="5227"/>
                    <a:pt x="4047" y="5030"/>
                  </a:cubicBezTo>
                  <a:cubicBezTo>
                    <a:pt x="4097" y="4833"/>
                    <a:pt x="4199" y="4932"/>
                    <a:pt x="4249" y="4833"/>
                  </a:cubicBezTo>
                  <a:cubicBezTo>
                    <a:pt x="4350" y="4833"/>
                    <a:pt x="4502" y="4734"/>
                    <a:pt x="4603" y="4636"/>
                  </a:cubicBezTo>
                  <a:cubicBezTo>
                    <a:pt x="4806" y="4537"/>
                    <a:pt x="5008" y="4537"/>
                    <a:pt x="5160" y="4340"/>
                  </a:cubicBezTo>
                  <a:cubicBezTo>
                    <a:pt x="5261" y="4340"/>
                    <a:pt x="5413" y="4241"/>
                    <a:pt x="5463" y="4438"/>
                  </a:cubicBezTo>
                  <a:cubicBezTo>
                    <a:pt x="5514" y="4537"/>
                    <a:pt x="5311" y="4636"/>
                    <a:pt x="5261" y="4734"/>
                  </a:cubicBezTo>
                  <a:cubicBezTo>
                    <a:pt x="5160" y="4833"/>
                    <a:pt x="5564" y="4833"/>
                    <a:pt x="5615" y="4833"/>
                  </a:cubicBezTo>
                  <a:cubicBezTo>
                    <a:pt x="5615" y="4833"/>
                    <a:pt x="5716" y="4833"/>
                    <a:pt x="5716" y="4833"/>
                  </a:cubicBezTo>
                  <a:cubicBezTo>
                    <a:pt x="5767" y="4734"/>
                    <a:pt x="5868" y="4537"/>
                    <a:pt x="5919" y="4636"/>
                  </a:cubicBezTo>
                  <a:cubicBezTo>
                    <a:pt x="5969" y="4734"/>
                    <a:pt x="5716" y="5326"/>
                    <a:pt x="5666" y="5326"/>
                  </a:cubicBezTo>
                  <a:cubicBezTo>
                    <a:pt x="5564" y="5326"/>
                    <a:pt x="5767" y="5326"/>
                    <a:pt x="5666" y="5326"/>
                  </a:cubicBezTo>
                  <a:close/>
                  <a:moveTo>
                    <a:pt x="7942" y="7693"/>
                  </a:moveTo>
                  <a:cubicBezTo>
                    <a:pt x="7942" y="7693"/>
                    <a:pt x="7689" y="7693"/>
                    <a:pt x="7740" y="7693"/>
                  </a:cubicBezTo>
                  <a:cubicBezTo>
                    <a:pt x="7740" y="7792"/>
                    <a:pt x="7841" y="7693"/>
                    <a:pt x="7841" y="7792"/>
                  </a:cubicBezTo>
                  <a:cubicBezTo>
                    <a:pt x="7841" y="7890"/>
                    <a:pt x="7638" y="7989"/>
                    <a:pt x="7588" y="7989"/>
                  </a:cubicBezTo>
                  <a:cubicBezTo>
                    <a:pt x="7487" y="7989"/>
                    <a:pt x="7436" y="8186"/>
                    <a:pt x="7335" y="8285"/>
                  </a:cubicBezTo>
                  <a:cubicBezTo>
                    <a:pt x="7335" y="8285"/>
                    <a:pt x="7133" y="8285"/>
                    <a:pt x="7183" y="8384"/>
                  </a:cubicBezTo>
                  <a:cubicBezTo>
                    <a:pt x="7183" y="8482"/>
                    <a:pt x="7335" y="8482"/>
                    <a:pt x="7183" y="8679"/>
                  </a:cubicBezTo>
                  <a:cubicBezTo>
                    <a:pt x="7133" y="8679"/>
                    <a:pt x="6930" y="8679"/>
                    <a:pt x="6930" y="8778"/>
                  </a:cubicBezTo>
                  <a:cubicBezTo>
                    <a:pt x="6880" y="8778"/>
                    <a:pt x="6930" y="8877"/>
                    <a:pt x="6930" y="8877"/>
                  </a:cubicBezTo>
                  <a:cubicBezTo>
                    <a:pt x="6930" y="9074"/>
                    <a:pt x="6829" y="9074"/>
                    <a:pt x="6778" y="9074"/>
                  </a:cubicBezTo>
                  <a:cubicBezTo>
                    <a:pt x="6627" y="9173"/>
                    <a:pt x="6475" y="9173"/>
                    <a:pt x="6323" y="9173"/>
                  </a:cubicBezTo>
                  <a:cubicBezTo>
                    <a:pt x="6323" y="9173"/>
                    <a:pt x="6070" y="8877"/>
                    <a:pt x="6070" y="8877"/>
                  </a:cubicBezTo>
                  <a:cubicBezTo>
                    <a:pt x="6171" y="8778"/>
                    <a:pt x="6323" y="8877"/>
                    <a:pt x="6374" y="8778"/>
                  </a:cubicBezTo>
                  <a:cubicBezTo>
                    <a:pt x="6424" y="8778"/>
                    <a:pt x="6374" y="8581"/>
                    <a:pt x="6424" y="8581"/>
                  </a:cubicBezTo>
                  <a:cubicBezTo>
                    <a:pt x="6475" y="8384"/>
                    <a:pt x="6576" y="8482"/>
                    <a:pt x="6627" y="8384"/>
                  </a:cubicBezTo>
                  <a:cubicBezTo>
                    <a:pt x="6677" y="8384"/>
                    <a:pt x="6576" y="8186"/>
                    <a:pt x="6576" y="8186"/>
                  </a:cubicBezTo>
                  <a:cubicBezTo>
                    <a:pt x="6475" y="8088"/>
                    <a:pt x="6475" y="8088"/>
                    <a:pt x="6475" y="7989"/>
                  </a:cubicBezTo>
                  <a:cubicBezTo>
                    <a:pt x="6475" y="7792"/>
                    <a:pt x="6374" y="7890"/>
                    <a:pt x="6374" y="7792"/>
                  </a:cubicBezTo>
                  <a:cubicBezTo>
                    <a:pt x="6323" y="7693"/>
                    <a:pt x="6475" y="7792"/>
                    <a:pt x="6475" y="7792"/>
                  </a:cubicBezTo>
                  <a:cubicBezTo>
                    <a:pt x="6627" y="7890"/>
                    <a:pt x="6778" y="7989"/>
                    <a:pt x="6880" y="8088"/>
                  </a:cubicBezTo>
                  <a:cubicBezTo>
                    <a:pt x="6981" y="8285"/>
                    <a:pt x="7183" y="8186"/>
                    <a:pt x="7284" y="8088"/>
                  </a:cubicBezTo>
                  <a:cubicBezTo>
                    <a:pt x="7436" y="7989"/>
                    <a:pt x="7487" y="7693"/>
                    <a:pt x="7689" y="7595"/>
                  </a:cubicBezTo>
                  <a:cubicBezTo>
                    <a:pt x="7740" y="7496"/>
                    <a:pt x="7841" y="7496"/>
                    <a:pt x="7942" y="7595"/>
                  </a:cubicBezTo>
                  <a:cubicBezTo>
                    <a:pt x="7942" y="7595"/>
                    <a:pt x="8094" y="7693"/>
                    <a:pt x="8094" y="7693"/>
                  </a:cubicBezTo>
                  <a:cubicBezTo>
                    <a:pt x="8094" y="7693"/>
                    <a:pt x="7993" y="7693"/>
                    <a:pt x="7942" y="7693"/>
                  </a:cubicBezTo>
                  <a:close/>
                  <a:moveTo>
                    <a:pt x="11230" y="16274"/>
                  </a:moveTo>
                  <a:cubicBezTo>
                    <a:pt x="11179" y="16471"/>
                    <a:pt x="11078" y="16077"/>
                    <a:pt x="11078" y="15978"/>
                  </a:cubicBezTo>
                  <a:cubicBezTo>
                    <a:pt x="11078" y="15781"/>
                    <a:pt x="11179" y="15682"/>
                    <a:pt x="11179" y="15485"/>
                  </a:cubicBezTo>
                  <a:cubicBezTo>
                    <a:pt x="11129" y="15386"/>
                    <a:pt x="11078" y="15682"/>
                    <a:pt x="11028" y="15584"/>
                  </a:cubicBezTo>
                  <a:cubicBezTo>
                    <a:pt x="11028" y="15485"/>
                    <a:pt x="11028" y="15189"/>
                    <a:pt x="10926" y="15189"/>
                  </a:cubicBezTo>
                  <a:cubicBezTo>
                    <a:pt x="10926" y="15189"/>
                    <a:pt x="10926" y="15386"/>
                    <a:pt x="10876" y="15386"/>
                  </a:cubicBezTo>
                  <a:cubicBezTo>
                    <a:pt x="10825" y="15288"/>
                    <a:pt x="10825" y="15189"/>
                    <a:pt x="10775" y="15090"/>
                  </a:cubicBezTo>
                  <a:cubicBezTo>
                    <a:pt x="10724" y="14992"/>
                    <a:pt x="10674" y="14893"/>
                    <a:pt x="10623" y="14795"/>
                  </a:cubicBezTo>
                  <a:cubicBezTo>
                    <a:pt x="10572" y="14696"/>
                    <a:pt x="10724" y="14696"/>
                    <a:pt x="10724" y="14597"/>
                  </a:cubicBezTo>
                  <a:cubicBezTo>
                    <a:pt x="10674" y="14499"/>
                    <a:pt x="10572" y="14597"/>
                    <a:pt x="10572" y="14499"/>
                  </a:cubicBezTo>
                  <a:cubicBezTo>
                    <a:pt x="10572" y="14400"/>
                    <a:pt x="10623" y="14104"/>
                    <a:pt x="10623" y="14005"/>
                  </a:cubicBezTo>
                  <a:cubicBezTo>
                    <a:pt x="10724" y="13808"/>
                    <a:pt x="10977" y="14499"/>
                    <a:pt x="10977" y="14597"/>
                  </a:cubicBezTo>
                  <a:cubicBezTo>
                    <a:pt x="11028" y="14795"/>
                    <a:pt x="11078" y="14893"/>
                    <a:pt x="11078" y="15090"/>
                  </a:cubicBezTo>
                  <a:cubicBezTo>
                    <a:pt x="11129" y="15288"/>
                    <a:pt x="11129" y="15189"/>
                    <a:pt x="11179" y="15386"/>
                  </a:cubicBezTo>
                  <a:cubicBezTo>
                    <a:pt x="11179" y="15485"/>
                    <a:pt x="11230" y="15584"/>
                    <a:pt x="11230" y="15682"/>
                  </a:cubicBezTo>
                  <a:cubicBezTo>
                    <a:pt x="11281" y="15879"/>
                    <a:pt x="11230" y="16077"/>
                    <a:pt x="11230" y="16274"/>
                  </a:cubicBezTo>
                  <a:cubicBezTo>
                    <a:pt x="11179" y="16373"/>
                    <a:pt x="11230" y="16175"/>
                    <a:pt x="11230" y="16274"/>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5" name="Shape 2064">
              <a:extLst>
                <a:ext uri="{FF2B5EF4-FFF2-40B4-BE49-F238E27FC236}">
                  <a16:creationId xmlns:a16="http://schemas.microsoft.com/office/drawing/2014/main" id="{D3700CE1-3D90-18CC-835C-65027A7655EB}"/>
                </a:ext>
              </a:extLst>
            </p:cNvPr>
            <p:cNvSpPr/>
            <p:nvPr/>
          </p:nvSpPr>
          <p:spPr>
            <a:xfrm>
              <a:off x="9512925" y="4055380"/>
              <a:ext cx="56336" cy="48113"/>
            </a:xfrm>
            <a:custGeom>
              <a:avLst/>
              <a:gdLst/>
              <a:ahLst/>
              <a:cxnLst>
                <a:cxn ang="0">
                  <a:pos x="wd2" y="hd2"/>
                </a:cxn>
                <a:cxn ang="5400000">
                  <a:pos x="wd2" y="hd2"/>
                </a:cxn>
                <a:cxn ang="10800000">
                  <a:pos x="wd2" y="hd2"/>
                </a:cxn>
                <a:cxn ang="16200000">
                  <a:pos x="wd2" y="hd2"/>
                </a:cxn>
              </a:cxnLst>
              <a:rect l="0" t="0" r="r" b="b"/>
              <a:pathLst>
                <a:path w="18048" h="17780" extrusionOk="0">
                  <a:moveTo>
                    <a:pt x="15888" y="0"/>
                  </a:moveTo>
                  <a:cubicBezTo>
                    <a:pt x="11568" y="2400"/>
                    <a:pt x="-3552" y="9600"/>
                    <a:pt x="768" y="16800"/>
                  </a:cubicBezTo>
                  <a:cubicBezTo>
                    <a:pt x="5088" y="21600"/>
                    <a:pt x="15888" y="7200"/>
                    <a:pt x="18048" y="7200"/>
                  </a:cubicBezTo>
                  <a:cubicBezTo>
                    <a:pt x="18048" y="4800"/>
                    <a:pt x="15888" y="2400"/>
                    <a:pt x="15888"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6" name="Shape 2065">
              <a:extLst>
                <a:ext uri="{FF2B5EF4-FFF2-40B4-BE49-F238E27FC236}">
                  <a16:creationId xmlns:a16="http://schemas.microsoft.com/office/drawing/2014/main" id="{9AFE1B2E-E247-3425-43E4-5FABAF321620}"/>
                </a:ext>
              </a:extLst>
            </p:cNvPr>
            <p:cNvSpPr/>
            <p:nvPr/>
          </p:nvSpPr>
          <p:spPr>
            <a:xfrm>
              <a:off x="9561609" y="4041891"/>
              <a:ext cx="73737" cy="27658"/>
            </a:xfrm>
            <a:custGeom>
              <a:avLst/>
              <a:gdLst/>
              <a:ahLst/>
              <a:cxnLst>
                <a:cxn ang="0">
                  <a:pos x="wd2" y="hd2"/>
                </a:cxn>
                <a:cxn ang="5400000">
                  <a:pos x="wd2" y="hd2"/>
                </a:cxn>
                <a:cxn ang="10800000">
                  <a:pos x="wd2" y="hd2"/>
                </a:cxn>
                <a:cxn ang="16200000">
                  <a:pos x="wd2" y="hd2"/>
                </a:cxn>
              </a:cxnLst>
              <a:rect l="0" t="0" r="r" b="b"/>
              <a:pathLst>
                <a:path w="18650" h="18982" extrusionOk="0">
                  <a:moveTo>
                    <a:pt x="18463" y="0"/>
                  </a:moveTo>
                  <a:cubicBezTo>
                    <a:pt x="20125" y="0"/>
                    <a:pt x="10156" y="0"/>
                    <a:pt x="10156" y="0"/>
                  </a:cubicBezTo>
                  <a:cubicBezTo>
                    <a:pt x="8494" y="0"/>
                    <a:pt x="-1475" y="4320"/>
                    <a:pt x="187" y="8640"/>
                  </a:cubicBezTo>
                  <a:cubicBezTo>
                    <a:pt x="3510" y="21600"/>
                    <a:pt x="1848" y="21600"/>
                    <a:pt x="6833" y="12960"/>
                  </a:cubicBezTo>
                  <a:cubicBezTo>
                    <a:pt x="11817" y="8640"/>
                    <a:pt x="15140" y="8640"/>
                    <a:pt x="1846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7" name="Shape 2066">
              <a:extLst>
                <a:ext uri="{FF2B5EF4-FFF2-40B4-BE49-F238E27FC236}">
                  <a16:creationId xmlns:a16="http://schemas.microsoft.com/office/drawing/2014/main" id="{7FEE4E23-A302-E551-175B-764E9DD83706}"/>
                </a:ext>
              </a:extLst>
            </p:cNvPr>
            <p:cNvSpPr/>
            <p:nvPr/>
          </p:nvSpPr>
          <p:spPr>
            <a:xfrm>
              <a:off x="5923964" y="1901801"/>
              <a:ext cx="196787" cy="112402"/>
            </a:xfrm>
            <a:custGeom>
              <a:avLst/>
              <a:gdLst/>
              <a:ahLst/>
              <a:cxnLst>
                <a:cxn ang="0">
                  <a:pos x="wd2" y="hd2"/>
                </a:cxn>
                <a:cxn ang="5400000">
                  <a:pos x="wd2" y="hd2"/>
                </a:cxn>
                <a:cxn ang="10800000">
                  <a:pos x="wd2" y="hd2"/>
                </a:cxn>
                <a:cxn ang="16200000">
                  <a:pos x="wd2" y="hd2"/>
                </a:cxn>
              </a:cxnLst>
              <a:rect l="0" t="0" r="r" b="b"/>
              <a:pathLst>
                <a:path w="20784" h="21600" extrusionOk="0">
                  <a:moveTo>
                    <a:pt x="6968" y="21600"/>
                  </a:moveTo>
                  <a:cubicBezTo>
                    <a:pt x="8361" y="21600"/>
                    <a:pt x="7665" y="17788"/>
                    <a:pt x="9058" y="17788"/>
                  </a:cubicBezTo>
                  <a:cubicBezTo>
                    <a:pt x="10452" y="17788"/>
                    <a:pt x="11148" y="20329"/>
                    <a:pt x="12542" y="20329"/>
                  </a:cubicBezTo>
                  <a:cubicBezTo>
                    <a:pt x="13239" y="20329"/>
                    <a:pt x="13935" y="20329"/>
                    <a:pt x="14632" y="20329"/>
                  </a:cubicBezTo>
                  <a:cubicBezTo>
                    <a:pt x="15329" y="20329"/>
                    <a:pt x="16026" y="19059"/>
                    <a:pt x="16026" y="19059"/>
                  </a:cubicBezTo>
                  <a:cubicBezTo>
                    <a:pt x="18116" y="17788"/>
                    <a:pt x="18813" y="16518"/>
                    <a:pt x="20206" y="13976"/>
                  </a:cubicBezTo>
                  <a:cubicBezTo>
                    <a:pt x="21600" y="11435"/>
                    <a:pt x="20206" y="10165"/>
                    <a:pt x="18813" y="8894"/>
                  </a:cubicBezTo>
                  <a:cubicBezTo>
                    <a:pt x="17419" y="7624"/>
                    <a:pt x="15329" y="3812"/>
                    <a:pt x="14632" y="6353"/>
                  </a:cubicBezTo>
                  <a:cubicBezTo>
                    <a:pt x="13239" y="10165"/>
                    <a:pt x="12542" y="5082"/>
                    <a:pt x="11845" y="3812"/>
                  </a:cubicBezTo>
                  <a:cubicBezTo>
                    <a:pt x="11148" y="2541"/>
                    <a:pt x="9058" y="3812"/>
                    <a:pt x="9058" y="0"/>
                  </a:cubicBezTo>
                  <a:cubicBezTo>
                    <a:pt x="9058" y="1271"/>
                    <a:pt x="8361" y="3812"/>
                    <a:pt x="7665" y="2541"/>
                  </a:cubicBezTo>
                  <a:cubicBezTo>
                    <a:pt x="6271" y="0"/>
                    <a:pt x="6271" y="0"/>
                    <a:pt x="5574" y="2541"/>
                  </a:cubicBezTo>
                  <a:cubicBezTo>
                    <a:pt x="4877" y="3812"/>
                    <a:pt x="0" y="6353"/>
                    <a:pt x="0" y="7624"/>
                  </a:cubicBezTo>
                  <a:cubicBezTo>
                    <a:pt x="0" y="7624"/>
                    <a:pt x="697" y="11435"/>
                    <a:pt x="1394" y="12706"/>
                  </a:cubicBezTo>
                  <a:cubicBezTo>
                    <a:pt x="1394" y="13976"/>
                    <a:pt x="2090" y="15247"/>
                    <a:pt x="2787" y="16518"/>
                  </a:cubicBezTo>
                  <a:cubicBezTo>
                    <a:pt x="4181" y="17788"/>
                    <a:pt x="5574" y="21600"/>
                    <a:pt x="6968"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8" name="Shape 2067">
              <a:extLst>
                <a:ext uri="{FF2B5EF4-FFF2-40B4-BE49-F238E27FC236}">
                  <a16:creationId xmlns:a16="http://schemas.microsoft.com/office/drawing/2014/main" id="{D15AE666-821B-1D0D-C2F4-6BDFA0C587BB}"/>
                </a:ext>
              </a:extLst>
            </p:cNvPr>
            <p:cNvSpPr/>
            <p:nvPr/>
          </p:nvSpPr>
          <p:spPr>
            <a:xfrm>
              <a:off x="5831820" y="1993968"/>
              <a:ext cx="241288" cy="105657"/>
            </a:xfrm>
            <a:custGeom>
              <a:avLst/>
              <a:gdLst/>
              <a:ahLst/>
              <a:cxnLst>
                <a:cxn ang="0">
                  <a:pos x="wd2" y="hd2"/>
                </a:cxn>
                <a:cxn ang="5400000">
                  <a:pos x="wd2" y="hd2"/>
                </a:cxn>
                <a:cxn ang="10800000">
                  <a:pos x="wd2" y="hd2"/>
                </a:cxn>
                <a:cxn ang="16200000">
                  <a:pos x="wd2" y="hd2"/>
                </a:cxn>
              </a:cxnLst>
              <a:rect l="0" t="0" r="r" b="b"/>
              <a:pathLst>
                <a:path w="21276" h="21600" extrusionOk="0">
                  <a:moveTo>
                    <a:pt x="18681" y="2700"/>
                  </a:moveTo>
                  <a:cubicBezTo>
                    <a:pt x="17514" y="2700"/>
                    <a:pt x="16346" y="0"/>
                    <a:pt x="15762" y="0"/>
                  </a:cubicBezTo>
                  <a:cubicBezTo>
                    <a:pt x="14595" y="0"/>
                    <a:pt x="15178" y="4050"/>
                    <a:pt x="14011" y="4050"/>
                  </a:cubicBezTo>
                  <a:cubicBezTo>
                    <a:pt x="12843" y="4050"/>
                    <a:pt x="12843" y="2700"/>
                    <a:pt x="11676" y="4050"/>
                  </a:cubicBezTo>
                  <a:cubicBezTo>
                    <a:pt x="11676" y="4050"/>
                    <a:pt x="9341" y="8100"/>
                    <a:pt x="9924" y="9450"/>
                  </a:cubicBezTo>
                  <a:cubicBezTo>
                    <a:pt x="9924" y="10800"/>
                    <a:pt x="11092" y="13500"/>
                    <a:pt x="9341" y="12150"/>
                  </a:cubicBezTo>
                  <a:cubicBezTo>
                    <a:pt x="8757" y="12150"/>
                    <a:pt x="8173" y="10800"/>
                    <a:pt x="7589" y="12150"/>
                  </a:cubicBezTo>
                  <a:cubicBezTo>
                    <a:pt x="7005" y="12150"/>
                    <a:pt x="5838" y="13500"/>
                    <a:pt x="5254" y="13500"/>
                  </a:cubicBezTo>
                  <a:cubicBezTo>
                    <a:pt x="4086" y="13500"/>
                    <a:pt x="3503" y="10800"/>
                    <a:pt x="2919" y="14850"/>
                  </a:cubicBezTo>
                  <a:cubicBezTo>
                    <a:pt x="2919" y="14850"/>
                    <a:pt x="584" y="12150"/>
                    <a:pt x="0" y="12150"/>
                  </a:cubicBezTo>
                  <a:cubicBezTo>
                    <a:pt x="0" y="14850"/>
                    <a:pt x="584" y="16200"/>
                    <a:pt x="2335" y="17550"/>
                  </a:cubicBezTo>
                  <a:cubicBezTo>
                    <a:pt x="2919" y="17550"/>
                    <a:pt x="2919" y="17550"/>
                    <a:pt x="3503" y="17550"/>
                  </a:cubicBezTo>
                  <a:cubicBezTo>
                    <a:pt x="4086" y="17550"/>
                    <a:pt x="4086" y="20250"/>
                    <a:pt x="4670" y="18900"/>
                  </a:cubicBezTo>
                  <a:cubicBezTo>
                    <a:pt x="5838" y="17550"/>
                    <a:pt x="5838" y="17550"/>
                    <a:pt x="7005" y="17550"/>
                  </a:cubicBezTo>
                  <a:cubicBezTo>
                    <a:pt x="8173" y="17550"/>
                    <a:pt x="7589" y="18900"/>
                    <a:pt x="8757" y="20250"/>
                  </a:cubicBezTo>
                  <a:cubicBezTo>
                    <a:pt x="9924" y="21600"/>
                    <a:pt x="11676" y="21600"/>
                    <a:pt x="12843" y="21600"/>
                  </a:cubicBezTo>
                  <a:cubicBezTo>
                    <a:pt x="14595" y="21600"/>
                    <a:pt x="15178" y="18900"/>
                    <a:pt x="16930" y="18900"/>
                  </a:cubicBezTo>
                  <a:cubicBezTo>
                    <a:pt x="18097" y="18900"/>
                    <a:pt x="19265" y="17550"/>
                    <a:pt x="19265" y="16200"/>
                  </a:cubicBezTo>
                  <a:cubicBezTo>
                    <a:pt x="19849" y="14850"/>
                    <a:pt x="19849" y="13500"/>
                    <a:pt x="19849" y="12150"/>
                  </a:cubicBezTo>
                  <a:cubicBezTo>
                    <a:pt x="19849" y="9450"/>
                    <a:pt x="20432" y="12150"/>
                    <a:pt x="21016" y="10800"/>
                  </a:cubicBezTo>
                  <a:cubicBezTo>
                    <a:pt x="21600" y="8100"/>
                    <a:pt x="21016" y="4050"/>
                    <a:pt x="21016" y="2700"/>
                  </a:cubicBezTo>
                  <a:cubicBezTo>
                    <a:pt x="19849" y="2700"/>
                    <a:pt x="19265" y="2700"/>
                    <a:pt x="18681" y="27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49" name="Shape 2068">
              <a:extLst>
                <a:ext uri="{FF2B5EF4-FFF2-40B4-BE49-F238E27FC236}">
                  <a16:creationId xmlns:a16="http://schemas.microsoft.com/office/drawing/2014/main" id="{AB63B061-52A7-382A-0459-00B42CC47491}"/>
                </a:ext>
              </a:extLst>
            </p:cNvPr>
            <p:cNvSpPr/>
            <p:nvPr/>
          </p:nvSpPr>
          <p:spPr>
            <a:xfrm>
              <a:off x="5746419" y="2076326"/>
              <a:ext cx="366579" cy="360496"/>
            </a:xfrm>
            <a:custGeom>
              <a:avLst/>
              <a:gdLst/>
              <a:ahLst/>
              <a:cxnLst>
                <a:cxn ang="0">
                  <a:pos x="wd2" y="hd2"/>
                </a:cxn>
                <a:cxn ang="5400000">
                  <a:pos x="wd2" y="hd2"/>
                </a:cxn>
                <a:cxn ang="10800000">
                  <a:pos x="wd2" y="hd2"/>
                </a:cxn>
                <a:cxn ang="16200000">
                  <a:pos x="wd2" y="hd2"/>
                </a:cxn>
              </a:cxnLst>
              <a:rect l="0" t="0" r="r" b="b"/>
              <a:pathLst>
                <a:path w="21097" h="21382" extrusionOk="0">
                  <a:moveTo>
                    <a:pt x="14021" y="3709"/>
                  </a:moveTo>
                  <a:cubicBezTo>
                    <a:pt x="14400" y="3317"/>
                    <a:pt x="15158" y="3709"/>
                    <a:pt x="15537" y="3317"/>
                  </a:cubicBezTo>
                  <a:cubicBezTo>
                    <a:pt x="16295" y="2924"/>
                    <a:pt x="15916" y="2531"/>
                    <a:pt x="16295" y="2138"/>
                  </a:cubicBezTo>
                  <a:cubicBezTo>
                    <a:pt x="16295" y="1746"/>
                    <a:pt x="16674" y="1353"/>
                    <a:pt x="17053" y="1353"/>
                  </a:cubicBezTo>
                  <a:cubicBezTo>
                    <a:pt x="17432" y="960"/>
                    <a:pt x="17053" y="960"/>
                    <a:pt x="17053" y="175"/>
                  </a:cubicBezTo>
                  <a:cubicBezTo>
                    <a:pt x="16674" y="567"/>
                    <a:pt x="16295" y="567"/>
                    <a:pt x="15537" y="567"/>
                  </a:cubicBezTo>
                  <a:cubicBezTo>
                    <a:pt x="14779" y="567"/>
                    <a:pt x="14021" y="1746"/>
                    <a:pt x="13642" y="1353"/>
                  </a:cubicBezTo>
                  <a:cubicBezTo>
                    <a:pt x="12505" y="960"/>
                    <a:pt x="10611" y="1353"/>
                    <a:pt x="10232" y="175"/>
                  </a:cubicBezTo>
                  <a:cubicBezTo>
                    <a:pt x="9853" y="-218"/>
                    <a:pt x="8716" y="175"/>
                    <a:pt x="8337" y="175"/>
                  </a:cubicBezTo>
                  <a:cubicBezTo>
                    <a:pt x="7579" y="960"/>
                    <a:pt x="7579" y="175"/>
                    <a:pt x="7200" y="175"/>
                  </a:cubicBezTo>
                  <a:cubicBezTo>
                    <a:pt x="6821" y="175"/>
                    <a:pt x="6821" y="960"/>
                    <a:pt x="6821" y="960"/>
                  </a:cubicBezTo>
                  <a:cubicBezTo>
                    <a:pt x="6821" y="960"/>
                    <a:pt x="6442" y="1353"/>
                    <a:pt x="6442" y="1353"/>
                  </a:cubicBezTo>
                  <a:cubicBezTo>
                    <a:pt x="6442" y="1746"/>
                    <a:pt x="6063" y="1746"/>
                    <a:pt x="5684" y="1746"/>
                  </a:cubicBezTo>
                  <a:cubicBezTo>
                    <a:pt x="5684" y="1746"/>
                    <a:pt x="5305" y="1746"/>
                    <a:pt x="4926" y="1746"/>
                  </a:cubicBezTo>
                  <a:cubicBezTo>
                    <a:pt x="4926" y="1746"/>
                    <a:pt x="4926" y="1746"/>
                    <a:pt x="4547" y="1353"/>
                  </a:cubicBezTo>
                  <a:cubicBezTo>
                    <a:pt x="4547" y="1353"/>
                    <a:pt x="4168" y="2531"/>
                    <a:pt x="4168" y="2924"/>
                  </a:cubicBezTo>
                  <a:cubicBezTo>
                    <a:pt x="4168" y="3317"/>
                    <a:pt x="3411" y="2138"/>
                    <a:pt x="3411" y="1746"/>
                  </a:cubicBezTo>
                  <a:cubicBezTo>
                    <a:pt x="2653" y="1353"/>
                    <a:pt x="2274" y="2531"/>
                    <a:pt x="1895" y="2531"/>
                  </a:cubicBezTo>
                  <a:cubicBezTo>
                    <a:pt x="1137" y="2531"/>
                    <a:pt x="379" y="2531"/>
                    <a:pt x="0" y="2531"/>
                  </a:cubicBezTo>
                  <a:cubicBezTo>
                    <a:pt x="0" y="2924"/>
                    <a:pt x="379" y="3317"/>
                    <a:pt x="379" y="3709"/>
                  </a:cubicBezTo>
                  <a:cubicBezTo>
                    <a:pt x="379" y="4495"/>
                    <a:pt x="0" y="4495"/>
                    <a:pt x="0" y="5280"/>
                  </a:cubicBezTo>
                  <a:cubicBezTo>
                    <a:pt x="0" y="5673"/>
                    <a:pt x="0" y="6851"/>
                    <a:pt x="758" y="6851"/>
                  </a:cubicBezTo>
                  <a:cubicBezTo>
                    <a:pt x="1137" y="7244"/>
                    <a:pt x="1516" y="6851"/>
                    <a:pt x="1516" y="8029"/>
                  </a:cubicBezTo>
                  <a:cubicBezTo>
                    <a:pt x="2274" y="7637"/>
                    <a:pt x="3789" y="6066"/>
                    <a:pt x="4547" y="6458"/>
                  </a:cubicBezTo>
                  <a:cubicBezTo>
                    <a:pt x="4926" y="6851"/>
                    <a:pt x="5305" y="7244"/>
                    <a:pt x="5684" y="7244"/>
                  </a:cubicBezTo>
                  <a:cubicBezTo>
                    <a:pt x="6063" y="7244"/>
                    <a:pt x="6442" y="8029"/>
                    <a:pt x="6442" y="8422"/>
                  </a:cubicBezTo>
                  <a:cubicBezTo>
                    <a:pt x="6821" y="8815"/>
                    <a:pt x="6821" y="9207"/>
                    <a:pt x="6821" y="9600"/>
                  </a:cubicBezTo>
                  <a:cubicBezTo>
                    <a:pt x="7200" y="9993"/>
                    <a:pt x="7579" y="10386"/>
                    <a:pt x="7958" y="10778"/>
                  </a:cubicBezTo>
                  <a:cubicBezTo>
                    <a:pt x="8716" y="11171"/>
                    <a:pt x="9474" y="11957"/>
                    <a:pt x="10611" y="12742"/>
                  </a:cubicBezTo>
                  <a:cubicBezTo>
                    <a:pt x="11368" y="13527"/>
                    <a:pt x="11747" y="13527"/>
                    <a:pt x="12505" y="13920"/>
                  </a:cubicBezTo>
                  <a:cubicBezTo>
                    <a:pt x="13642" y="14706"/>
                    <a:pt x="14400" y="15884"/>
                    <a:pt x="15916" y="16277"/>
                  </a:cubicBezTo>
                  <a:cubicBezTo>
                    <a:pt x="16674" y="16669"/>
                    <a:pt x="16674" y="17847"/>
                    <a:pt x="17053" y="18633"/>
                  </a:cubicBezTo>
                  <a:cubicBezTo>
                    <a:pt x="17053" y="19418"/>
                    <a:pt x="15916" y="20204"/>
                    <a:pt x="16295" y="21382"/>
                  </a:cubicBezTo>
                  <a:cubicBezTo>
                    <a:pt x="16295" y="20989"/>
                    <a:pt x="18568" y="19026"/>
                    <a:pt x="18568" y="18633"/>
                  </a:cubicBezTo>
                  <a:cubicBezTo>
                    <a:pt x="18947" y="18240"/>
                    <a:pt x="17811" y="17455"/>
                    <a:pt x="17811" y="17455"/>
                  </a:cubicBezTo>
                  <a:cubicBezTo>
                    <a:pt x="17053" y="16669"/>
                    <a:pt x="18568" y="15098"/>
                    <a:pt x="18947" y="15491"/>
                  </a:cubicBezTo>
                  <a:cubicBezTo>
                    <a:pt x="19326" y="15884"/>
                    <a:pt x="19705" y="15884"/>
                    <a:pt x="20084" y="15884"/>
                  </a:cubicBezTo>
                  <a:cubicBezTo>
                    <a:pt x="20463" y="16277"/>
                    <a:pt x="20463" y="16669"/>
                    <a:pt x="20842" y="17062"/>
                  </a:cubicBezTo>
                  <a:cubicBezTo>
                    <a:pt x="21600" y="17062"/>
                    <a:pt x="20463" y="15491"/>
                    <a:pt x="20084" y="15098"/>
                  </a:cubicBezTo>
                  <a:cubicBezTo>
                    <a:pt x="19326" y="14313"/>
                    <a:pt x="17811" y="14313"/>
                    <a:pt x="16674" y="13527"/>
                  </a:cubicBezTo>
                  <a:cubicBezTo>
                    <a:pt x="16295" y="13135"/>
                    <a:pt x="17432" y="12349"/>
                    <a:pt x="16674" y="12349"/>
                  </a:cubicBezTo>
                  <a:cubicBezTo>
                    <a:pt x="16295" y="11957"/>
                    <a:pt x="15537" y="12349"/>
                    <a:pt x="14779" y="11957"/>
                  </a:cubicBezTo>
                  <a:cubicBezTo>
                    <a:pt x="14021" y="11564"/>
                    <a:pt x="13642" y="10778"/>
                    <a:pt x="13263" y="9993"/>
                  </a:cubicBezTo>
                  <a:cubicBezTo>
                    <a:pt x="12884" y="9207"/>
                    <a:pt x="12884" y="8422"/>
                    <a:pt x="12126" y="8029"/>
                  </a:cubicBezTo>
                  <a:cubicBezTo>
                    <a:pt x="11747" y="7637"/>
                    <a:pt x="10232" y="7244"/>
                    <a:pt x="10232" y="6458"/>
                  </a:cubicBezTo>
                  <a:cubicBezTo>
                    <a:pt x="10232" y="6066"/>
                    <a:pt x="10232" y="5673"/>
                    <a:pt x="10232" y="5673"/>
                  </a:cubicBezTo>
                  <a:cubicBezTo>
                    <a:pt x="10611" y="4887"/>
                    <a:pt x="10611" y="4887"/>
                    <a:pt x="10611" y="4495"/>
                  </a:cubicBezTo>
                  <a:cubicBezTo>
                    <a:pt x="10232" y="3317"/>
                    <a:pt x="11368" y="3709"/>
                    <a:pt x="11368" y="3317"/>
                  </a:cubicBezTo>
                  <a:cubicBezTo>
                    <a:pt x="11747" y="2924"/>
                    <a:pt x="12126" y="2924"/>
                    <a:pt x="12126" y="2924"/>
                  </a:cubicBezTo>
                  <a:cubicBezTo>
                    <a:pt x="12884" y="2924"/>
                    <a:pt x="12884" y="3317"/>
                    <a:pt x="12884" y="3709"/>
                  </a:cubicBezTo>
                  <a:cubicBezTo>
                    <a:pt x="13263" y="3709"/>
                    <a:pt x="13642" y="3709"/>
                    <a:pt x="14021" y="3709"/>
                  </a:cubicBezTo>
                  <a:cubicBezTo>
                    <a:pt x="14021" y="3317"/>
                    <a:pt x="13642" y="3709"/>
                    <a:pt x="14021" y="370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0" name="Shape 2069">
              <a:extLst>
                <a:ext uri="{FF2B5EF4-FFF2-40B4-BE49-F238E27FC236}">
                  <a16:creationId xmlns:a16="http://schemas.microsoft.com/office/drawing/2014/main" id="{99064072-7238-7FBF-6406-07090ECD6A00}"/>
                </a:ext>
              </a:extLst>
            </p:cNvPr>
            <p:cNvSpPr/>
            <p:nvPr/>
          </p:nvSpPr>
          <p:spPr>
            <a:xfrm>
              <a:off x="5968070" y="2092880"/>
              <a:ext cx="173893" cy="166352"/>
            </a:xfrm>
            <a:custGeom>
              <a:avLst/>
              <a:gdLst/>
              <a:ahLst/>
              <a:cxnLst>
                <a:cxn ang="0">
                  <a:pos x="wd2" y="hd2"/>
                </a:cxn>
                <a:cxn ang="5400000">
                  <a:pos x="wd2" y="hd2"/>
                </a:cxn>
                <a:cxn ang="10800000">
                  <a:pos x="wd2" y="hd2"/>
                </a:cxn>
                <a:cxn ang="16200000">
                  <a:pos x="wd2" y="hd2"/>
                </a:cxn>
              </a:cxnLst>
              <a:rect l="0" t="0" r="r" b="b"/>
              <a:pathLst>
                <a:path w="21156" h="21600" extrusionOk="0">
                  <a:moveTo>
                    <a:pt x="9156" y="8640"/>
                  </a:moveTo>
                  <a:cubicBezTo>
                    <a:pt x="11556" y="8640"/>
                    <a:pt x="13956" y="6912"/>
                    <a:pt x="16356" y="7776"/>
                  </a:cubicBezTo>
                  <a:cubicBezTo>
                    <a:pt x="17956" y="7776"/>
                    <a:pt x="19556" y="8640"/>
                    <a:pt x="21156" y="9504"/>
                  </a:cubicBezTo>
                  <a:cubicBezTo>
                    <a:pt x="20356" y="7776"/>
                    <a:pt x="20356" y="6048"/>
                    <a:pt x="19556" y="3456"/>
                  </a:cubicBezTo>
                  <a:cubicBezTo>
                    <a:pt x="17156" y="5184"/>
                    <a:pt x="14756" y="3456"/>
                    <a:pt x="13156" y="2592"/>
                  </a:cubicBezTo>
                  <a:cubicBezTo>
                    <a:pt x="11556" y="1728"/>
                    <a:pt x="10756" y="1728"/>
                    <a:pt x="9956" y="0"/>
                  </a:cubicBezTo>
                  <a:cubicBezTo>
                    <a:pt x="9956" y="0"/>
                    <a:pt x="8356" y="864"/>
                    <a:pt x="8356" y="1728"/>
                  </a:cubicBezTo>
                  <a:cubicBezTo>
                    <a:pt x="6756" y="2592"/>
                    <a:pt x="7556" y="6912"/>
                    <a:pt x="4356" y="6048"/>
                  </a:cubicBezTo>
                  <a:cubicBezTo>
                    <a:pt x="2756" y="5184"/>
                    <a:pt x="1156" y="6048"/>
                    <a:pt x="356" y="6048"/>
                  </a:cubicBezTo>
                  <a:cubicBezTo>
                    <a:pt x="-444" y="6912"/>
                    <a:pt x="356" y="9504"/>
                    <a:pt x="356" y="9504"/>
                  </a:cubicBezTo>
                  <a:cubicBezTo>
                    <a:pt x="356" y="9504"/>
                    <a:pt x="1956" y="8640"/>
                    <a:pt x="1956" y="8640"/>
                  </a:cubicBezTo>
                  <a:cubicBezTo>
                    <a:pt x="2756" y="8640"/>
                    <a:pt x="2756" y="10368"/>
                    <a:pt x="2756" y="11232"/>
                  </a:cubicBezTo>
                  <a:cubicBezTo>
                    <a:pt x="2756" y="9504"/>
                    <a:pt x="3556" y="6912"/>
                    <a:pt x="4356" y="8640"/>
                  </a:cubicBezTo>
                  <a:cubicBezTo>
                    <a:pt x="5156" y="11232"/>
                    <a:pt x="6756" y="12960"/>
                    <a:pt x="8356" y="14688"/>
                  </a:cubicBezTo>
                  <a:cubicBezTo>
                    <a:pt x="10756" y="17280"/>
                    <a:pt x="14756" y="19008"/>
                    <a:pt x="17956" y="21600"/>
                  </a:cubicBezTo>
                  <a:cubicBezTo>
                    <a:pt x="17956" y="19872"/>
                    <a:pt x="17956" y="19872"/>
                    <a:pt x="16356" y="19008"/>
                  </a:cubicBezTo>
                  <a:cubicBezTo>
                    <a:pt x="14756" y="18144"/>
                    <a:pt x="13156" y="17280"/>
                    <a:pt x="12356" y="16416"/>
                  </a:cubicBezTo>
                  <a:cubicBezTo>
                    <a:pt x="10756" y="14688"/>
                    <a:pt x="6756" y="8640"/>
                    <a:pt x="9156" y="86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1" name="Shape 2070">
              <a:extLst>
                <a:ext uri="{FF2B5EF4-FFF2-40B4-BE49-F238E27FC236}">
                  <a16:creationId xmlns:a16="http://schemas.microsoft.com/office/drawing/2014/main" id="{E9CF9A3E-7783-32D9-827E-9A5D18176CDA}"/>
                </a:ext>
              </a:extLst>
            </p:cNvPr>
            <p:cNvSpPr/>
            <p:nvPr/>
          </p:nvSpPr>
          <p:spPr>
            <a:xfrm>
              <a:off x="5364220" y="1903447"/>
              <a:ext cx="423655" cy="367183"/>
            </a:xfrm>
            <a:custGeom>
              <a:avLst/>
              <a:gdLst/>
              <a:ahLst/>
              <a:cxnLst>
                <a:cxn ang="0">
                  <a:pos x="wd2" y="hd2"/>
                </a:cxn>
                <a:cxn ang="5400000">
                  <a:pos x="wd2" y="hd2"/>
                </a:cxn>
                <a:cxn ang="10800000">
                  <a:pos x="wd2" y="hd2"/>
                </a:cxn>
                <a:cxn ang="16200000">
                  <a:pos x="wd2" y="hd2"/>
                </a:cxn>
              </a:cxnLst>
              <a:rect l="0" t="0" r="r" b="b"/>
              <a:pathLst>
                <a:path w="20988" h="21126" extrusionOk="0">
                  <a:moveTo>
                    <a:pt x="18982" y="11652"/>
                  </a:moveTo>
                  <a:cubicBezTo>
                    <a:pt x="18655" y="10894"/>
                    <a:pt x="17673" y="12410"/>
                    <a:pt x="18000" y="11273"/>
                  </a:cubicBezTo>
                  <a:cubicBezTo>
                    <a:pt x="18000" y="10894"/>
                    <a:pt x="18982" y="9000"/>
                    <a:pt x="19309" y="9000"/>
                  </a:cubicBezTo>
                  <a:cubicBezTo>
                    <a:pt x="19637" y="8621"/>
                    <a:pt x="19964" y="9379"/>
                    <a:pt x="20291" y="8621"/>
                  </a:cubicBezTo>
                  <a:cubicBezTo>
                    <a:pt x="20618" y="7484"/>
                    <a:pt x="20291" y="6726"/>
                    <a:pt x="20946" y="5589"/>
                  </a:cubicBezTo>
                  <a:cubicBezTo>
                    <a:pt x="21273" y="4831"/>
                    <a:pt x="19637" y="4831"/>
                    <a:pt x="19309" y="4831"/>
                  </a:cubicBezTo>
                  <a:cubicBezTo>
                    <a:pt x="18655" y="4831"/>
                    <a:pt x="18328" y="4452"/>
                    <a:pt x="18328" y="4073"/>
                  </a:cubicBezTo>
                  <a:cubicBezTo>
                    <a:pt x="18000" y="4073"/>
                    <a:pt x="17673" y="4073"/>
                    <a:pt x="17673" y="4073"/>
                  </a:cubicBezTo>
                  <a:cubicBezTo>
                    <a:pt x="17018" y="4073"/>
                    <a:pt x="15382" y="3316"/>
                    <a:pt x="15382" y="2558"/>
                  </a:cubicBezTo>
                  <a:cubicBezTo>
                    <a:pt x="15055" y="3694"/>
                    <a:pt x="14073" y="1800"/>
                    <a:pt x="13746" y="1800"/>
                  </a:cubicBezTo>
                  <a:cubicBezTo>
                    <a:pt x="13091" y="1421"/>
                    <a:pt x="12437" y="1042"/>
                    <a:pt x="12109" y="284"/>
                  </a:cubicBezTo>
                  <a:cubicBezTo>
                    <a:pt x="11782" y="-95"/>
                    <a:pt x="11128" y="-95"/>
                    <a:pt x="10800" y="284"/>
                  </a:cubicBezTo>
                  <a:cubicBezTo>
                    <a:pt x="10473" y="663"/>
                    <a:pt x="10146" y="1421"/>
                    <a:pt x="10473" y="1800"/>
                  </a:cubicBezTo>
                  <a:cubicBezTo>
                    <a:pt x="10473" y="2179"/>
                    <a:pt x="9818" y="2558"/>
                    <a:pt x="9491" y="2937"/>
                  </a:cubicBezTo>
                  <a:cubicBezTo>
                    <a:pt x="9164" y="2937"/>
                    <a:pt x="8509" y="2937"/>
                    <a:pt x="8182" y="3694"/>
                  </a:cubicBezTo>
                  <a:cubicBezTo>
                    <a:pt x="8182" y="4073"/>
                    <a:pt x="7855" y="4452"/>
                    <a:pt x="7528" y="4452"/>
                  </a:cubicBezTo>
                  <a:cubicBezTo>
                    <a:pt x="6873" y="4452"/>
                    <a:pt x="6546" y="4452"/>
                    <a:pt x="6218" y="4073"/>
                  </a:cubicBezTo>
                  <a:cubicBezTo>
                    <a:pt x="5564" y="4073"/>
                    <a:pt x="5564" y="3694"/>
                    <a:pt x="4909" y="3694"/>
                  </a:cubicBezTo>
                  <a:cubicBezTo>
                    <a:pt x="4255" y="3316"/>
                    <a:pt x="6218" y="5968"/>
                    <a:pt x="4909" y="5968"/>
                  </a:cubicBezTo>
                  <a:cubicBezTo>
                    <a:pt x="3928" y="5968"/>
                    <a:pt x="3273" y="6347"/>
                    <a:pt x="2618" y="5589"/>
                  </a:cubicBezTo>
                  <a:cubicBezTo>
                    <a:pt x="2291" y="5210"/>
                    <a:pt x="0" y="5968"/>
                    <a:pt x="0" y="6347"/>
                  </a:cubicBezTo>
                  <a:cubicBezTo>
                    <a:pt x="0" y="6726"/>
                    <a:pt x="982" y="6726"/>
                    <a:pt x="328" y="7105"/>
                  </a:cubicBezTo>
                  <a:cubicBezTo>
                    <a:pt x="-327" y="7484"/>
                    <a:pt x="655" y="7863"/>
                    <a:pt x="982" y="7863"/>
                  </a:cubicBezTo>
                  <a:cubicBezTo>
                    <a:pt x="1637" y="8242"/>
                    <a:pt x="4582" y="8621"/>
                    <a:pt x="4582" y="9379"/>
                  </a:cubicBezTo>
                  <a:cubicBezTo>
                    <a:pt x="4582" y="9758"/>
                    <a:pt x="3928" y="9758"/>
                    <a:pt x="4255" y="10516"/>
                  </a:cubicBezTo>
                  <a:cubicBezTo>
                    <a:pt x="4909" y="11273"/>
                    <a:pt x="5237" y="11273"/>
                    <a:pt x="5891" y="11652"/>
                  </a:cubicBezTo>
                  <a:cubicBezTo>
                    <a:pt x="6546" y="12031"/>
                    <a:pt x="5564" y="12789"/>
                    <a:pt x="6218" y="13168"/>
                  </a:cubicBezTo>
                  <a:cubicBezTo>
                    <a:pt x="6218" y="13168"/>
                    <a:pt x="6873" y="14305"/>
                    <a:pt x="6873" y="14305"/>
                  </a:cubicBezTo>
                  <a:cubicBezTo>
                    <a:pt x="6546" y="14684"/>
                    <a:pt x="6218" y="13547"/>
                    <a:pt x="5891" y="13547"/>
                  </a:cubicBezTo>
                  <a:cubicBezTo>
                    <a:pt x="5564" y="13547"/>
                    <a:pt x="5891" y="18094"/>
                    <a:pt x="4909" y="18473"/>
                  </a:cubicBezTo>
                  <a:cubicBezTo>
                    <a:pt x="5891" y="19231"/>
                    <a:pt x="7200" y="20368"/>
                    <a:pt x="8509" y="19989"/>
                  </a:cubicBezTo>
                  <a:cubicBezTo>
                    <a:pt x="8837" y="19989"/>
                    <a:pt x="9164" y="19610"/>
                    <a:pt x="9491" y="19989"/>
                  </a:cubicBezTo>
                  <a:cubicBezTo>
                    <a:pt x="9818" y="19989"/>
                    <a:pt x="10146" y="20368"/>
                    <a:pt x="10473" y="20747"/>
                  </a:cubicBezTo>
                  <a:cubicBezTo>
                    <a:pt x="11128" y="21126"/>
                    <a:pt x="13091" y="21505"/>
                    <a:pt x="12764" y="20368"/>
                  </a:cubicBezTo>
                  <a:cubicBezTo>
                    <a:pt x="12437" y="18473"/>
                    <a:pt x="14073" y="17716"/>
                    <a:pt x="15055" y="18094"/>
                  </a:cubicBezTo>
                  <a:cubicBezTo>
                    <a:pt x="16364" y="18473"/>
                    <a:pt x="17018" y="19610"/>
                    <a:pt x="18328" y="18852"/>
                  </a:cubicBezTo>
                  <a:cubicBezTo>
                    <a:pt x="18982" y="18473"/>
                    <a:pt x="19309" y="18094"/>
                    <a:pt x="19964" y="17716"/>
                  </a:cubicBezTo>
                  <a:cubicBezTo>
                    <a:pt x="19964" y="17716"/>
                    <a:pt x="20618" y="16958"/>
                    <a:pt x="19964" y="16958"/>
                  </a:cubicBezTo>
                  <a:cubicBezTo>
                    <a:pt x="19309" y="16579"/>
                    <a:pt x="18655" y="15063"/>
                    <a:pt x="18982" y="14305"/>
                  </a:cubicBezTo>
                  <a:cubicBezTo>
                    <a:pt x="19637" y="13547"/>
                    <a:pt x="19309" y="13547"/>
                    <a:pt x="18982" y="12789"/>
                  </a:cubicBezTo>
                  <a:cubicBezTo>
                    <a:pt x="18982" y="12410"/>
                    <a:pt x="18982" y="12031"/>
                    <a:pt x="18982" y="11652"/>
                  </a:cubicBezTo>
                  <a:cubicBezTo>
                    <a:pt x="18655" y="11273"/>
                    <a:pt x="18982" y="12031"/>
                    <a:pt x="18982" y="1165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2" name="Shape 2071">
              <a:extLst>
                <a:ext uri="{FF2B5EF4-FFF2-40B4-BE49-F238E27FC236}">
                  <a16:creationId xmlns:a16="http://schemas.microsoft.com/office/drawing/2014/main" id="{CF79836C-AF62-08F9-7D93-80C93607B7AD}"/>
                </a:ext>
              </a:extLst>
            </p:cNvPr>
            <p:cNvSpPr/>
            <p:nvPr/>
          </p:nvSpPr>
          <p:spPr>
            <a:xfrm>
              <a:off x="5724279" y="2051585"/>
              <a:ext cx="141252" cy="74151"/>
            </a:xfrm>
            <a:custGeom>
              <a:avLst/>
              <a:gdLst/>
              <a:ahLst/>
              <a:cxnLst>
                <a:cxn ang="0">
                  <a:pos x="wd2" y="hd2"/>
                </a:cxn>
                <a:cxn ang="5400000">
                  <a:pos x="wd2" y="hd2"/>
                </a:cxn>
                <a:cxn ang="10800000">
                  <a:pos x="wd2" y="hd2"/>
                </a:cxn>
                <a:cxn ang="16200000">
                  <a:pos x="wd2" y="hd2"/>
                </a:cxn>
              </a:cxnLst>
              <a:rect l="0" t="0" r="r" b="b"/>
              <a:pathLst>
                <a:path w="20886" h="16193" extrusionOk="0">
                  <a:moveTo>
                    <a:pt x="15977" y="640"/>
                  </a:moveTo>
                  <a:cubicBezTo>
                    <a:pt x="13031" y="-800"/>
                    <a:pt x="11068" y="640"/>
                    <a:pt x="8122" y="640"/>
                  </a:cubicBezTo>
                  <a:cubicBezTo>
                    <a:pt x="6159" y="640"/>
                    <a:pt x="8122" y="640"/>
                    <a:pt x="7141" y="2080"/>
                  </a:cubicBezTo>
                  <a:cubicBezTo>
                    <a:pt x="6159" y="2080"/>
                    <a:pt x="4195" y="2080"/>
                    <a:pt x="4195" y="2080"/>
                  </a:cubicBezTo>
                  <a:cubicBezTo>
                    <a:pt x="3213" y="2080"/>
                    <a:pt x="2231" y="6400"/>
                    <a:pt x="2231" y="6400"/>
                  </a:cubicBezTo>
                  <a:cubicBezTo>
                    <a:pt x="1250" y="7840"/>
                    <a:pt x="-714" y="13600"/>
                    <a:pt x="268" y="12160"/>
                  </a:cubicBezTo>
                  <a:cubicBezTo>
                    <a:pt x="2231" y="12160"/>
                    <a:pt x="2231" y="10720"/>
                    <a:pt x="3213" y="13600"/>
                  </a:cubicBezTo>
                  <a:cubicBezTo>
                    <a:pt x="3213" y="16480"/>
                    <a:pt x="4195" y="15040"/>
                    <a:pt x="6159" y="15040"/>
                  </a:cubicBezTo>
                  <a:cubicBezTo>
                    <a:pt x="7141" y="15040"/>
                    <a:pt x="9104" y="15040"/>
                    <a:pt x="10086" y="13600"/>
                  </a:cubicBezTo>
                  <a:cubicBezTo>
                    <a:pt x="11068" y="10720"/>
                    <a:pt x="12050" y="12160"/>
                    <a:pt x="12050" y="13600"/>
                  </a:cubicBezTo>
                  <a:cubicBezTo>
                    <a:pt x="14995" y="20800"/>
                    <a:pt x="14013" y="10720"/>
                    <a:pt x="14995" y="10720"/>
                  </a:cubicBezTo>
                  <a:cubicBezTo>
                    <a:pt x="15977" y="10720"/>
                    <a:pt x="15977" y="12160"/>
                    <a:pt x="16959" y="12160"/>
                  </a:cubicBezTo>
                  <a:cubicBezTo>
                    <a:pt x="17941" y="12160"/>
                    <a:pt x="18922" y="12160"/>
                    <a:pt x="19904" y="10720"/>
                  </a:cubicBezTo>
                  <a:cubicBezTo>
                    <a:pt x="20886" y="9280"/>
                    <a:pt x="20886" y="9280"/>
                    <a:pt x="20886" y="6400"/>
                  </a:cubicBezTo>
                  <a:cubicBezTo>
                    <a:pt x="20886" y="6400"/>
                    <a:pt x="17941" y="4960"/>
                    <a:pt x="16959" y="4960"/>
                  </a:cubicBezTo>
                  <a:cubicBezTo>
                    <a:pt x="15977" y="3520"/>
                    <a:pt x="15977" y="2080"/>
                    <a:pt x="15977" y="6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3" name="Shape 2072">
              <a:extLst>
                <a:ext uri="{FF2B5EF4-FFF2-40B4-BE49-F238E27FC236}">
                  <a16:creationId xmlns:a16="http://schemas.microsoft.com/office/drawing/2014/main" id="{E2A71D3A-B0C3-E5DF-CF9B-70C95283B815}"/>
                </a:ext>
              </a:extLst>
            </p:cNvPr>
            <p:cNvSpPr/>
            <p:nvPr/>
          </p:nvSpPr>
          <p:spPr>
            <a:xfrm>
              <a:off x="5607142" y="1888313"/>
              <a:ext cx="120617" cy="85424"/>
            </a:xfrm>
            <a:custGeom>
              <a:avLst/>
              <a:gdLst/>
              <a:ahLst/>
              <a:cxnLst>
                <a:cxn ang="0">
                  <a:pos x="wd2" y="hd2"/>
                </a:cxn>
                <a:cxn ang="5400000">
                  <a:pos x="wd2" y="hd2"/>
                </a:cxn>
                <a:cxn ang="10800000">
                  <a:pos x="wd2" y="hd2"/>
                </a:cxn>
                <a:cxn ang="16200000">
                  <a:pos x="wd2" y="hd2"/>
                </a:cxn>
              </a:cxnLst>
              <a:rect l="0" t="0" r="r" b="b"/>
              <a:pathLst>
                <a:path w="19004" h="21600" extrusionOk="0">
                  <a:moveTo>
                    <a:pt x="17763" y="14954"/>
                  </a:moveTo>
                  <a:cubicBezTo>
                    <a:pt x="16734" y="14954"/>
                    <a:pt x="19820" y="11631"/>
                    <a:pt x="18791" y="9969"/>
                  </a:cubicBezTo>
                  <a:cubicBezTo>
                    <a:pt x="18791" y="8308"/>
                    <a:pt x="17763" y="4985"/>
                    <a:pt x="16734" y="4985"/>
                  </a:cubicBezTo>
                  <a:cubicBezTo>
                    <a:pt x="15706" y="3323"/>
                    <a:pt x="13649" y="0"/>
                    <a:pt x="11591" y="0"/>
                  </a:cubicBezTo>
                  <a:cubicBezTo>
                    <a:pt x="9534" y="0"/>
                    <a:pt x="8506" y="1662"/>
                    <a:pt x="6449" y="1662"/>
                  </a:cubicBezTo>
                  <a:cubicBezTo>
                    <a:pt x="4391" y="1662"/>
                    <a:pt x="3363" y="0"/>
                    <a:pt x="1306" y="1662"/>
                  </a:cubicBezTo>
                  <a:cubicBezTo>
                    <a:pt x="-1780" y="4985"/>
                    <a:pt x="1306" y="8308"/>
                    <a:pt x="3363" y="9969"/>
                  </a:cubicBezTo>
                  <a:cubicBezTo>
                    <a:pt x="5420" y="11631"/>
                    <a:pt x="6449" y="11631"/>
                    <a:pt x="8506" y="14954"/>
                  </a:cubicBezTo>
                  <a:cubicBezTo>
                    <a:pt x="8506" y="16615"/>
                    <a:pt x="10563" y="16615"/>
                    <a:pt x="10563" y="14954"/>
                  </a:cubicBezTo>
                  <a:cubicBezTo>
                    <a:pt x="10563" y="16615"/>
                    <a:pt x="15706" y="21600"/>
                    <a:pt x="16734" y="21600"/>
                  </a:cubicBezTo>
                  <a:cubicBezTo>
                    <a:pt x="16734" y="18277"/>
                    <a:pt x="16734" y="16615"/>
                    <a:pt x="17763" y="14954"/>
                  </a:cubicBezTo>
                  <a:cubicBezTo>
                    <a:pt x="17763" y="14954"/>
                    <a:pt x="15706" y="16615"/>
                    <a:pt x="17763" y="1495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4" name="Shape 2073">
              <a:extLst>
                <a:ext uri="{FF2B5EF4-FFF2-40B4-BE49-F238E27FC236}">
                  <a16:creationId xmlns:a16="http://schemas.microsoft.com/office/drawing/2014/main" id="{A88771B9-BF3F-24E6-2151-6262D5038884}"/>
                </a:ext>
              </a:extLst>
            </p:cNvPr>
            <p:cNvSpPr/>
            <p:nvPr/>
          </p:nvSpPr>
          <p:spPr>
            <a:xfrm>
              <a:off x="5714394" y="1949008"/>
              <a:ext cx="18543" cy="24730"/>
            </a:xfrm>
            <a:custGeom>
              <a:avLst/>
              <a:gdLst/>
              <a:ahLst/>
              <a:cxnLst>
                <a:cxn ang="0">
                  <a:pos x="wd2" y="hd2"/>
                </a:cxn>
                <a:cxn ang="5400000">
                  <a:pos x="wd2" y="hd2"/>
                </a:cxn>
                <a:cxn ang="10800000">
                  <a:pos x="wd2" y="hd2"/>
                </a:cxn>
                <a:cxn ang="16200000">
                  <a:pos x="wd2" y="hd2"/>
                </a:cxn>
              </a:cxnLst>
              <a:rect l="0" t="0" r="r" b="b"/>
              <a:pathLst>
                <a:path w="16200" h="21600" extrusionOk="0">
                  <a:moveTo>
                    <a:pt x="5400" y="0"/>
                  </a:moveTo>
                  <a:cubicBezTo>
                    <a:pt x="0" y="0"/>
                    <a:pt x="0" y="10800"/>
                    <a:pt x="0" y="16200"/>
                  </a:cubicBezTo>
                  <a:cubicBezTo>
                    <a:pt x="0" y="21600"/>
                    <a:pt x="10800" y="21600"/>
                    <a:pt x="16200" y="21600"/>
                  </a:cubicBezTo>
                  <a:cubicBezTo>
                    <a:pt x="16200" y="10800"/>
                    <a:pt x="16200" y="5400"/>
                    <a:pt x="5400" y="0"/>
                  </a:cubicBezTo>
                  <a:cubicBezTo>
                    <a:pt x="-5400" y="5400"/>
                    <a:pt x="10800" y="5400"/>
                    <a:pt x="540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5" name="Shape 2074">
              <a:extLst>
                <a:ext uri="{FF2B5EF4-FFF2-40B4-BE49-F238E27FC236}">
                  <a16:creationId xmlns:a16="http://schemas.microsoft.com/office/drawing/2014/main" id="{7C22F7EE-7A97-1200-302A-E00D2FE8D547}"/>
                </a:ext>
              </a:extLst>
            </p:cNvPr>
            <p:cNvSpPr/>
            <p:nvPr/>
          </p:nvSpPr>
          <p:spPr>
            <a:xfrm>
              <a:off x="5627306" y="1796145"/>
              <a:ext cx="132601" cy="119146"/>
            </a:xfrm>
            <a:custGeom>
              <a:avLst/>
              <a:gdLst/>
              <a:ahLst/>
              <a:cxnLst>
                <a:cxn ang="0">
                  <a:pos x="wd2" y="hd2"/>
                </a:cxn>
                <a:cxn ang="5400000">
                  <a:pos x="wd2" y="hd2"/>
                </a:cxn>
                <a:cxn ang="10800000">
                  <a:pos x="wd2" y="hd2"/>
                </a:cxn>
                <a:cxn ang="16200000">
                  <a:pos x="wd2" y="hd2"/>
                </a:cxn>
              </a:cxnLst>
              <a:rect l="0" t="0" r="r" b="b"/>
              <a:pathLst>
                <a:path w="21600" h="21600" extrusionOk="0">
                  <a:moveTo>
                    <a:pt x="5400" y="16800"/>
                  </a:moveTo>
                  <a:cubicBezTo>
                    <a:pt x="7560" y="14400"/>
                    <a:pt x="14040" y="19200"/>
                    <a:pt x="15120" y="21600"/>
                  </a:cubicBezTo>
                  <a:cubicBezTo>
                    <a:pt x="16200" y="19200"/>
                    <a:pt x="16200" y="16800"/>
                    <a:pt x="15120" y="15600"/>
                  </a:cubicBezTo>
                  <a:cubicBezTo>
                    <a:pt x="14040" y="10800"/>
                    <a:pt x="16200" y="13200"/>
                    <a:pt x="18360" y="13200"/>
                  </a:cubicBezTo>
                  <a:cubicBezTo>
                    <a:pt x="20520" y="12000"/>
                    <a:pt x="20520" y="9600"/>
                    <a:pt x="19440" y="7200"/>
                  </a:cubicBezTo>
                  <a:cubicBezTo>
                    <a:pt x="19440" y="7200"/>
                    <a:pt x="21600" y="6000"/>
                    <a:pt x="21600" y="6000"/>
                  </a:cubicBezTo>
                  <a:cubicBezTo>
                    <a:pt x="21600" y="3600"/>
                    <a:pt x="21600" y="2400"/>
                    <a:pt x="20520" y="0"/>
                  </a:cubicBezTo>
                  <a:cubicBezTo>
                    <a:pt x="20520" y="0"/>
                    <a:pt x="16200" y="1200"/>
                    <a:pt x="16200" y="1200"/>
                  </a:cubicBezTo>
                  <a:cubicBezTo>
                    <a:pt x="14040" y="1200"/>
                    <a:pt x="12960" y="1200"/>
                    <a:pt x="10800" y="3600"/>
                  </a:cubicBezTo>
                  <a:cubicBezTo>
                    <a:pt x="10800" y="3600"/>
                    <a:pt x="14040" y="6000"/>
                    <a:pt x="12960" y="7200"/>
                  </a:cubicBezTo>
                  <a:cubicBezTo>
                    <a:pt x="10800" y="9600"/>
                    <a:pt x="9720" y="4800"/>
                    <a:pt x="10800" y="4800"/>
                  </a:cubicBezTo>
                  <a:cubicBezTo>
                    <a:pt x="10800" y="4800"/>
                    <a:pt x="7560" y="6000"/>
                    <a:pt x="7560" y="7200"/>
                  </a:cubicBezTo>
                  <a:cubicBezTo>
                    <a:pt x="7560" y="8400"/>
                    <a:pt x="6480" y="8400"/>
                    <a:pt x="5400" y="9600"/>
                  </a:cubicBezTo>
                  <a:cubicBezTo>
                    <a:pt x="5400" y="10800"/>
                    <a:pt x="3240" y="14400"/>
                    <a:pt x="5400" y="14400"/>
                  </a:cubicBezTo>
                  <a:cubicBezTo>
                    <a:pt x="5400" y="14400"/>
                    <a:pt x="4320" y="14400"/>
                    <a:pt x="3240" y="14400"/>
                  </a:cubicBezTo>
                  <a:cubicBezTo>
                    <a:pt x="3240" y="14400"/>
                    <a:pt x="4320" y="14400"/>
                    <a:pt x="4320" y="14400"/>
                  </a:cubicBezTo>
                  <a:cubicBezTo>
                    <a:pt x="4320" y="14400"/>
                    <a:pt x="3240" y="14400"/>
                    <a:pt x="3240" y="14400"/>
                  </a:cubicBezTo>
                  <a:cubicBezTo>
                    <a:pt x="2160" y="15600"/>
                    <a:pt x="4320" y="16800"/>
                    <a:pt x="4320" y="16800"/>
                  </a:cubicBezTo>
                  <a:cubicBezTo>
                    <a:pt x="4320" y="15600"/>
                    <a:pt x="2160" y="15600"/>
                    <a:pt x="2160" y="15600"/>
                  </a:cubicBezTo>
                  <a:cubicBezTo>
                    <a:pt x="2160" y="15600"/>
                    <a:pt x="3240" y="16800"/>
                    <a:pt x="3240" y="16800"/>
                  </a:cubicBezTo>
                  <a:cubicBezTo>
                    <a:pt x="3240" y="16800"/>
                    <a:pt x="2160" y="15600"/>
                    <a:pt x="1080" y="16800"/>
                  </a:cubicBezTo>
                  <a:cubicBezTo>
                    <a:pt x="1080" y="16800"/>
                    <a:pt x="2160" y="18000"/>
                    <a:pt x="2160" y="18000"/>
                  </a:cubicBezTo>
                  <a:cubicBezTo>
                    <a:pt x="2160" y="16800"/>
                    <a:pt x="1080" y="16800"/>
                    <a:pt x="0" y="18000"/>
                  </a:cubicBezTo>
                  <a:cubicBezTo>
                    <a:pt x="1080" y="18000"/>
                    <a:pt x="4320" y="19200"/>
                    <a:pt x="5400" y="16800"/>
                  </a:cubicBezTo>
                  <a:cubicBezTo>
                    <a:pt x="5400" y="16800"/>
                    <a:pt x="5400" y="18000"/>
                    <a:pt x="5400" y="16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6" name="Shape 2075">
              <a:extLst>
                <a:ext uri="{FF2B5EF4-FFF2-40B4-BE49-F238E27FC236}">
                  <a16:creationId xmlns:a16="http://schemas.microsoft.com/office/drawing/2014/main" id="{A458D4DE-15A6-74B9-4A44-F92F43B5418A}"/>
                </a:ext>
              </a:extLst>
            </p:cNvPr>
            <p:cNvSpPr/>
            <p:nvPr/>
          </p:nvSpPr>
          <p:spPr>
            <a:xfrm>
              <a:off x="5786870" y="1602011"/>
              <a:ext cx="98887" cy="137449"/>
            </a:xfrm>
            <a:custGeom>
              <a:avLst/>
              <a:gdLst/>
              <a:ahLst/>
              <a:cxnLst>
                <a:cxn ang="0">
                  <a:pos x="wd2" y="hd2"/>
                </a:cxn>
                <a:cxn ang="5400000">
                  <a:pos x="wd2" y="hd2"/>
                </a:cxn>
                <a:cxn ang="10800000">
                  <a:pos x="wd2" y="hd2"/>
                </a:cxn>
                <a:cxn ang="16200000">
                  <a:pos x="wd2" y="hd2"/>
                </a:cxn>
              </a:cxnLst>
              <a:rect l="0" t="0" r="r" b="b"/>
              <a:pathLst>
                <a:path w="21600" h="20318" extrusionOk="0">
                  <a:moveTo>
                    <a:pt x="14400" y="20073"/>
                  </a:moveTo>
                  <a:cubicBezTo>
                    <a:pt x="14400" y="19091"/>
                    <a:pt x="8640" y="17128"/>
                    <a:pt x="11520" y="16146"/>
                  </a:cubicBezTo>
                  <a:cubicBezTo>
                    <a:pt x="12960" y="15164"/>
                    <a:pt x="12960" y="12219"/>
                    <a:pt x="15840" y="11237"/>
                  </a:cubicBezTo>
                  <a:cubicBezTo>
                    <a:pt x="15840" y="11237"/>
                    <a:pt x="15840" y="12219"/>
                    <a:pt x="15840" y="12219"/>
                  </a:cubicBezTo>
                  <a:cubicBezTo>
                    <a:pt x="17280" y="12219"/>
                    <a:pt x="21600" y="10255"/>
                    <a:pt x="21600" y="9273"/>
                  </a:cubicBezTo>
                  <a:cubicBezTo>
                    <a:pt x="21600" y="8291"/>
                    <a:pt x="15840" y="8291"/>
                    <a:pt x="15840" y="6328"/>
                  </a:cubicBezTo>
                  <a:cubicBezTo>
                    <a:pt x="15840" y="5346"/>
                    <a:pt x="14400" y="5346"/>
                    <a:pt x="14400" y="4364"/>
                  </a:cubicBezTo>
                  <a:cubicBezTo>
                    <a:pt x="14400" y="3382"/>
                    <a:pt x="17280" y="4364"/>
                    <a:pt x="17280" y="3382"/>
                  </a:cubicBezTo>
                  <a:cubicBezTo>
                    <a:pt x="17280" y="2400"/>
                    <a:pt x="17280" y="1419"/>
                    <a:pt x="17280" y="437"/>
                  </a:cubicBezTo>
                  <a:cubicBezTo>
                    <a:pt x="17280" y="-545"/>
                    <a:pt x="17280" y="437"/>
                    <a:pt x="15840" y="437"/>
                  </a:cubicBezTo>
                  <a:cubicBezTo>
                    <a:pt x="11520" y="437"/>
                    <a:pt x="12960" y="1419"/>
                    <a:pt x="10080" y="3382"/>
                  </a:cubicBezTo>
                  <a:cubicBezTo>
                    <a:pt x="8640" y="4364"/>
                    <a:pt x="4320" y="2400"/>
                    <a:pt x="2880" y="4364"/>
                  </a:cubicBezTo>
                  <a:cubicBezTo>
                    <a:pt x="0" y="6328"/>
                    <a:pt x="4320" y="6328"/>
                    <a:pt x="5760" y="5346"/>
                  </a:cubicBezTo>
                  <a:cubicBezTo>
                    <a:pt x="7200" y="4364"/>
                    <a:pt x="10080" y="5346"/>
                    <a:pt x="8640" y="7310"/>
                  </a:cubicBezTo>
                  <a:cubicBezTo>
                    <a:pt x="8640" y="6328"/>
                    <a:pt x="5760" y="5346"/>
                    <a:pt x="5760" y="7310"/>
                  </a:cubicBezTo>
                  <a:cubicBezTo>
                    <a:pt x="4320" y="7310"/>
                    <a:pt x="2880" y="8291"/>
                    <a:pt x="2880" y="7310"/>
                  </a:cubicBezTo>
                  <a:cubicBezTo>
                    <a:pt x="2880" y="8291"/>
                    <a:pt x="0" y="6328"/>
                    <a:pt x="0" y="8291"/>
                  </a:cubicBezTo>
                  <a:cubicBezTo>
                    <a:pt x="0" y="10255"/>
                    <a:pt x="0" y="11237"/>
                    <a:pt x="0" y="13200"/>
                  </a:cubicBezTo>
                  <a:cubicBezTo>
                    <a:pt x="1440" y="14182"/>
                    <a:pt x="2880" y="14182"/>
                    <a:pt x="2880" y="15164"/>
                  </a:cubicBezTo>
                  <a:cubicBezTo>
                    <a:pt x="4320" y="17128"/>
                    <a:pt x="1440" y="18110"/>
                    <a:pt x="2880" y="19091"/>
                  </a:cubicBezTo>
                  <a:cubicBezTo>
                    <a:pt x="5760" y="21055"/>
                    <a:pt x="11520" y="20073"/>
                    <a:pt x="14400" y="2007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7" name="Shape 2076">
              <a:extLst>
                <a:ext uri="{FF2B5EF4-FFF2-40B4-BE49-F238E27FC236}">
                  <a16:creationId xmlns:a16="http://schemas.microsoft.com/office/drawing/2014/main" id="{343DCB29-5206-FE08-0D98-8FC93982032A}"/>
                </a:ext>
              </a:extLst>
            </p:cNvPr>
            <p:cNvSpPr/>
            <p:nvPr/>
          </p:nvSpPr>
          <p:spPr>
            <a:xfrm>
              <a:off x="5720143" y="1730955"/>
              <a:ext cx="287588" cy="336466"/>
            </a:xfrm>
            <a:custGeom>
              <a:avLst/>
              <a:gdLst/>
              <a:ahLst/>
              <a:cxnLst>
                <a:cxn ang="0">
                  <a:pos x="wd2" y="hd2"/>
                </a:cxn>
                <a:cxn ang="5400000">
                  <a:pos x="wd2" y="hd2"/>
                </a:cxn>
                <a:cxn ang="10800000">
                  <a:pos x="wd2" y="hd2"/>
                </a:cxn>
                <a:cxn ang="16200000">
                  <a:pos x="wd2" y="hd2"/>
                </a:cxn>
              </a:cxnLst>
              <a:rect l="0" t="0" r="r" b="b"/>
              <a:pathLst>
                <a:path w="21099" h="21269" extrusionOk="0">
                  <a:moveTo>
                    <a:pt x="20739" y="9969"/>
                  </a:moveTo>
                  <a:cubicBezTo>
                    <a:pt x="20259" y="9138"/>
                    <a:pt x="20259" y="8308"/>
                    <a:pt x="20259" y="7477"/>
                  </a:cubicBezTo>
                  <a:cubicBezTo>
                    <a:pt x="19779" y="6646"/>
                    <a:pt x="19299" y="6231"/>
                    <a:pt x="19779" y="4985"/>
                  </a:cubicBezTo>
                  <a:cubicBezTo>
                    <a:pt x="20259" y="4154"/>
                    <a:pt x="19779" y="3323"/>
                    <a:pt x="19299" y="2908"/>
                  </a:cubicBezTo>
                  <a:cubicBezTo>
                    <a:pt x="18819" y="2492"/>
                    <a:pt x="17859" y="2077"/>
                    <a:pt x="17859" y="1662"/>
                  </a:cubicBezTo>
                  <a:cubicBezTo>
                    <a:pt x="17859" y="1662"/>
                    <a:pt x="18339" y="1246"/>
                    <a:pt x="17859" y="831"/>
                  </a:cubicBezTo>
                  <a:cubicBezTo>
                    <a:pt x="17379" y="831"/>
                    <a:pt x="17379" y="2077"/>
                    <a:pt x="17379" y="2077"/>
                  </a:cubicBezTo>
                  <a:cubicBezTo>
                    <a:pt x="16419" y="2077"/>
                    <a:pt x="16419" y="1662"/>
                    <a:pt x="15459" y="1662"/>
                  </a:cubicBezTo>
                  <a:cubicBezTo>
                    <a:pt x="14499" y="2077"/>
                    <a:pt x="13059" y="2908"/>
                    <a:pt x="11619" y="2908"/>
                  </a:cubicBezTo>
                  <a:cubicBezTo>
                    <a:pt x="11139" y="2492"/>
                    <a:pt x="12099" y="2077"/>
                    <a:pt x="12099" y="1662"/>
                  </a:cubicBezTo>
                  <a:cubicBezTo>
                    <a:pt x="11139" y="1662"/>
                    <a:pt x="10659" y="2077"/>
                    <a:pt x="9699" y="1662"/>
                  </a:cubicBezTo>
                  <a:cubicBezTo>
                    <a:pt x="9219" y="1246"/>
                    <a:pt x="10659" y="415"/>
                    <a:pt x="9219" y="415"/>
                  </a:cubicBezTo>
                  <a:cubicBezTo>
                    <a:pt x="8259" y="415"/>
                    <a:pt x="7299" y="415"/>
                    <a:pt x="5859" y="0"/>
                  </a:cubicBezTo>
                  <a:cubicBezTo>
                    <a:pt x="6339" y="415"/>
                    <a:pt x="6819" y="415"/>
                    <a:pt x="6819" y="1246"/>
                  </a:cubicBezTo>
                  <a:cubicBezTo>
                    <a:pt x="6339" y="1662"/>
                    <a:pt x="6339" y="1662"/>
                    <a:pt x="6819" y="2492"/>
                  </a:cubicBezTo>
                  <a:cubicBezTo>
                    <a:pt x="6819" y="3323"/>
                    <a:pt x="6819" y="2908"/>
                    <a:pt x="7779" y="2908"/>
                  </a:cubicBezTo>
                  <a:cubicBezTo>
                    <a:pt x="8259" y="2908"/>
                    <a:pt x="8739" y="3323"/>
                    <a:pt x="9219" y="3738"/>
                  </a:cubicBezTo>
                  <a:cubicBezTo>
                    <a:pt x="8739" y="3323"/>
                    <a:pt x="7299" y="3323"/>
                    <a:pt x="6819" y="3323"/>
                  </a:cubicBezTo>
                  <a:cubicBezTo>
                    <a:pt x="6819" y="3323"/>
                    <a:pt x="6339" y="3323"/>
                    <a:pt x="6339" y="3323"/>
                  </a:cubicBezTo>
                  <a:cubicBezTo>
                    <a:pt x="5859" y="3738"/>
                    <a:pt x="6339" y="4154"/>
                    <a:pt x="5859" y="4154"/>
                  </a:cubicBezTo>
                  <a:cubicBezTo>
                    <a:pt x="4899" y="4569"/>
                    <a:pt x="2979" y="2492"/>
                    <a:pt x="2499" y="4154"/>
                  </a:cubicBezTo>
                  <a:cubicBezTo>
                    <a:pt x="2979" y="4985"/>
                    <a:pt x="3459" y="5815"/>
                    <a:pt x="2499" y="6231"/>
                  </a:cubicBezTo>
                  <a:cubicBezTo>
                    <a:pt x="2019" y="7062"/>
                    <a:pt x="2019" y="6231"/>
                    <a:pt x="2499" y="7062"/>
                  </a:cubicBezTo>
                  <a:cubicBezTo>
                    <a:pt x="2499" y="9138"/>
                    <a:pt x="-381" y="8308"/>
                    <a:pt x="99" y="9138"/>
                  </a:cubicBezTo>
                  <a:cubicBezTo>
                    <a:pt x="99" y="9554"/>
                    <a:pt x="579" y="9969"/>
                    <a:pt x="579" y="10800"/>
                  </a:cubicBezTo>
                  <a:cubicBezTo>
                    <a:pt x="579" y="11631"/>
                    <a:pt x="99" y="11631"/>
                    <a:pt x="579" y="12462"/>
                  </a:cubicBezTo>
                  <a:cubicBezTo>
                    <a:pt x="1059" y="12877"/>
                    <a:pt x="-381" y="13708"/>
                    <a:pt x="99" y="13708"/>
                  </a:cubicBezTo>
                  <a:cubicBezTo>
                    <a:pt x="1059" y="14123"/>
                    <a:pt x="579" y="14954"/>
                    <a:pt x="1059" y="15369"/>
                  </a:cubicBezTo>
                  <a:cubicBezTo>
                    <a:pt x="1539" y="16615"/>
                    <a:pt x="3459" y="16200"/>
                    <a:pt x="4899" y="16615"/>
                  </a:cubicBezTo>
                  <a:cubicBezTo>
                    <a:pt x="4899" y="16615"/>
                    <a:pt x="3939" y="19938"/>
                    <a:pt x="3939" y="20354"/>
                  </a:cubicBezTo>
                  <a:cubicBezTo>
                    <a:pt x="5859" y="20354"/>
                    <a:pt x="6819" y="19938"/>
                    <a:pt x="8739" y="20354"/>
                  </a:cubicBezTo>
                  <a:cubicBezTo>
                    <a:pt x="8739" y="20354"/>
                    <a:pt x="10659" y="21600"/>
                    <a:pt x="10659" y="21185"/>
                  </a:cubicBezTo>
                  <a:cubicBezTo>
                    <a:pt x="11139" y="20354"/>
                    <a:pt x="11619" y="20354"/>
                    <a:pt x="12099" y="20769"/>
                  </a:cubicBezTo>
                  <a:cubicBezTo>
                    <a:pt x="12579" y="21185"/>
                    <a:pt x="14979" y="19938"/>
                    <a:pt x="15459" y="20354"/>
                  </a:cubicBezTo>
                  <a:cubicBezTo>
                    <a:pt x="15459" y="20354"/>
                    <a:pt x="17379" y="20769"/>
                    <a:pt x="16899" y="20354"/>
                  </a:cubicBezTo>
                  <a:cubicBezTo>
                    <a:pt x="16419" y="19108"/>
                    <a:pt x="15939" y="19108"/>
                    <a:pt x="16899" y="18692"/>
                  </a:cubicBezTo>
                  <a:cubicBezTo>
                    <a:pt x="17859" y="17862"/>
                    <a:pt x="17859" y="17862"/>
                    <a:pt x="18819" y="17862"/>
                  </a:cubicBezTo>
                  <a:cubicBezTo>
                    <a:pt x="19299" y="17446"/>
                    <a:pt x="16899" y="15785"/>
                    <a:pt x="16419" y="15369"/>
                  </a:cubicBezTo>
                  <a:cubicBezTo>
                    <a:pt x="15939" y="15369"/>
                    <a:pt x="14499" y="13292"/>
                    <a:pt x="14979" y="12877"/>
                  </a:cubicBezTo>
                  <a:cubicBezTo>
                    <a:pt x="16899" y="12462"/>
                    <a:pt x="17859" y="12046"/>
                    <a:pt x="19299" y="10800"/>
                  </a:cubicBezTo>
                  <a:cubicBezTo>
                    <a:pt x="19779" y="10385"/>
                    <a:pt x="20259" y="12046"/>
                    <a:pt x="20739" y="11631"/>
                  </a:cubicBezTo>
                  <a:cubicBezTo>
                    <a:pt x="21219" y="11215"/>
                    <a:pt x="21219" y="10385"/>
                    <a:pt x="20739" y="9969"/>
                  </a:cubicBezTo>
                  <a:cubicBezTo>
                    <a:pt x="20739" y="9554"/>
                    <a:pt x="20739" y="9969"/>
                    <a:pt x="20739" y="9969"/>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8" name="Shape 2077">
              <a:extLst>
                <a:ext uri="{FF2B5EF4-FFF2-40B4-BE49-F238E27FC236}">
                  <a16:creationId xmlns:a16="http://schemas.microsoft.com/office/drawing/2014/main" id="{57AE9A84-639D-5241-3B5D-B1F309BBCF0B}"/>
                </a:ext>
              </a:extLst>
            </p:cNvPr>
            <p:cNvSpPr/>
            <p:nvPr/>
          </p:nvSpPr>
          <p:spPr>
            <a:xfrm>
              <a:off x="6234107" y="1842432"/>
              <a:ext cx="581329" cy="334916"/>
            </a:xfrm>
            <a:custGeom>
              <a:avLst/>
              <a:gdLst/>
              <a:ahLst/>
              <a:cxnLst>
                <a:cxn ang="0">
                  <a:pos x="wd2" y="hd2"/>
                </a:cxn>
                <a:cxn ang="5400000">
                  <a:pos x="wd2" y="hd2"/>
                </a:cxn>
                <a:cxn ang="10800000">
                  <a:pos x="wd2" y="hd2"/>
                </a:cxn>
                <a:cxn ang="16200000">
                  <a:pos x="wd2" y="hd2"/>
                </a:cxn>
              </a:cxnLst>
              <a:rect l="0" t="0" r="r" b="b"/>
              <a:pathLst>
                <a:path w="21407" h="20762" extrusionOk="0">
                  <a:moveTo>
                    <a:pt x="0" y="10643"/>
                  </a:moveTo>
                  <a:cubicBezTo>
                    <a:pt x="0" y="11865"/>
                    <a:pt x="1699" y="11865"/>
                    <a:pt x="2184" y="11865"/>
                  </a:cubicBezTo>
                  <a:cubicBezTo>
                    <a:pt x="2670" y="11865"/>
                    <a:pt x="3155" y="12681"/>
                    <a:pt x="3883" y="12273"/>
                  </a:cubicBezTo>
                  <a:cubicBezTo>
                    <a:pt x="4126" y="11458"/>
                    <a:pt x="4854" y="11050"/>
                    <a:pt x="5339" y="11050"/>
                  </a:cubicBezTo>
                  <a:cubicBezTo>
                    <a:pt x="6067" y="10235"/>
                    <a:pt x="7524" y="11050"/>
                    <a:pt x="8009" y="11865"/>
                  </a:cubicBezTo>
                  <a:cubicBezTo>
                    <a:pt x="8737" y="13496"/>
                    <a:pt x="8980" y="15126"/>
                    <a:pt x="9708" y="16348"/>
                  </a:cubicBezTo>
                  <a:cubicBezTo>
                    <a:pt x="10193" y="15941"/>
                    <a:pt x="10193" y="15533"/>
                    <a:pt x="10679" y="15126"/>
                  </a:cubicBezTo>
                  <a:cubicBezTo>
                    <a:pt x="11164" y="15126"/>
                    <a:pt x="11164" y="15941"/>
                    <a:pt x="11407" y="16348"/>
                  </a:cubicBezTo>
                  <a:cubicBezTo>
                    <a:pt x="11649" y="16756"/>
                    <a:pt x="13834" y="17164"/>
                    <a:pt x="13834" y="16756"/>
                  </a:cubicBezTo>
                  <a:cubicBezTo>
                    <a:pt x="13834" y="17164"/>
                    <a:pt x="12378" y="17979"/>
                    <a:pt x="12378" y="18386"/>
                  </a:cubicBezTo>
                  <a:cubicBezTo>
                    <a:pt x="12620" y="18794"/>
                    <a:pt x="13591" y="18386"/>
                    <a:pt x="13348" y="19609"/>
                  </a:cubicBezTo>
                  <a:cubicBezTo>
                    <a:pt x="13106" y="20424"/>
                    <a:pt x="13834" y="21239"/>
                    <a:pt x="14319" y="20424"/>
                  </a:cubicBezTo>
                  <a:cubicBezTo>
                    <a:pt x="14804" y="20016"/>
                    <a:pt x="15533" y="19201"/>
                    <a:pt x="16261" y="19201"/>
                  </a:cubicBezTo>
                  <a:cubicBezTo>
                    <a:pt x="16989" y="19201"/>
                    <a:pt x="17231" y="19201"/>
                    <a:pt x="17474" y="18386"/>
                  </a:cubicBezTo>
                  <a:cubicBezTo>
                    <a:pt x="17474" y="18386"/>
                    <a:pt x="16746" y="18386"/>
                    <a:pt x="16503" y="18386"/>
                  </a:cubicBezTo>
                  <a:cubicBezTo>
                    <a:pt x="16018" y="18386"/>
                    <a:pt x="15533" y="18794"/>
                    <a:pt x="15290" y="17571"/>
                  </a:cubicBezTo>
                  <a:cubicBezTo>
                    <a:pt x="14562" y="15941"/>
                    <a:pt x="16989" y="15126"/>
                    <a:pt x="17474" y="15126"/>
                  </a:cubicBezTo>
                  <a:cubicBezTo>
                    <a:pt x="17960" y="14718"/>
                    <a:pt x="18445" y="14311"/>
                    <a:pt x="18930" y="13903"/>
                  </a:cubicBezTo>
                  <a:cubicBezTo>
                    <a:pt x="19173" y="13088"/>
                    <a:pt x="19658" y="12273"/>
                    <a:pt x="20387" y="12273"/>
                  </a:cubicBezTo>
                  <a:cubicBezTo>
                    <a:pt x="20629" y="12273"/>
                    <a:pt x="21115" y="12273"/>
                    <a:pt x="21115" y="11050"/>
                  </a:cubicBezTo>
                  <a:cubicBezTo>
                    <a:pt x="21115" y="10643"/>
                    <a:pt x="20872" y="10643"/>
                    <a:pt x="20872" y="10235"/>
                  </a:cubicBezTo>
                  <a:cubicBezTo>
                    <a:pt x="20872" y="9828"/>
                    <a:pt x="21357" y="9828"/>
                    <a:pt x="21357" y="9828"/>
                  </a:cubicBezTo>
                  <a:cubicBezTo>
                    <a:pt x="21357" y="9828"/>
                    <a:pt x="20872" y="9420"/>
                    <a:pt x="20872" y="9420"/>
                  </a:cubicBezTo>
                  <a:cubicBezTo>
                    <a:pt x="20872" y="9013"/>
                    <a:pt x="21600" y="9013"/>
                    <a:pt x="21357" y="8197"/>
                  </a:cubicBezTo>
                  <a:cubicBezTo>
                    <a:pt x="21357" y="8197"/>
                    <a:pt x="20872" y="7790"/>
                    <a:pt x="20629" y="7382"/>
                  </a:cubicBezTo>
                  <a:cubicBezTo>
                    <a:pt x="20387" y="6975"/>
                    <a:pt x="20144" y="7790"/>
                    <a:pt x="19901" y="6975"/>
                  </a:cubicBezTo>
                  <a:cubicBezTo>
                    <a:pt x="19658" y="6567"/>
                    <a:pt x="19416" y="6567"/>
                    <a:pt x="18930" y="6975"/>
                  </a:cubicBezTo>
                  <a:cubicBezTo>
                    <a:pt x="18688" y="6975"/>
                    <a:pt x="18445" y="5752"/>
                    <a:pt x="18202" y="5752"/>
                  </a:cubicBezTo>
                  <a:cubicBezTo>
                    <a:pt x="17960" y="5345"/>
                    <a:pt x="17717" y="6160"/>
                    <a:pt x="17474" y="6567"/>
                  </a:cubicBezTo>
                  <a:cubicBezTo>
                    <a:pt x="17231" y="6567"/>
                    <a:pt x="16989" y="5345"/>
                    <a:pt x="16746" y="5345"/>
                  </a:cubicBezTo>
                  <a:cubicBezTo>
                    <a:pt x="16503" y="5345"/>
                    <a:pt x="15775" y="5752"/>
                    <a:pt x="15775" y="5345"/>
                  </a:cubicBezTo>
                  <a:cubicBezTo>
                    <a:pt x="15775" y="4937"/>
                    <a:pt x="15775" y="4122"/>
                    <a:pt x="15533" y="3714"/>
                  </a:cubicBezTo>
                  <a:cubicBezTo>
                    <a:pt x="15290" y="3307"/>
                    <a:pt x="14804" y="3714"/>
                    <a:pt x="14562" y="3307"/>
                  </a:cubicBezTo>
                  <a:cubicBezTo>
                    <a:pt x="14319" y="2899"/>
                    <a:pt x="14076" y="2084"/>
                    <a:pt x="14562" y="1677"/>
                  </a:cubicBezTo>
                  <a:cubicBezTo>
                    <a:pt x="14804" y="1677"/>
                    <a:pt x="14319" y="454"/>
                    <a:pt x="14076" y="454"/>
                  </a:cubicBezTo>
                  <a:cubicBezTo>
                    <a:pt x="13834" y="47"/>
                    <a:pt x="13106" y="454"/>
                    <a:pt x="12863" y="47"/>
                  </a:cubicBezTo>
                  <a:cubicBezTo>
                    <a:pt x="12135" y="-361"/>
                    <a:pt x="12135" y="2084"/>
                    <a:pt x="11407" y="454"/>
                  </a:cubicBezTo>
                  <a:cubicBezTo>
                    <a:pt x="11164" y="454"/>
                    <a:pt x="10679" y="862"/>
                    <a:pt x="10436" y="862"/>
                  </a:cubicBezTo>
                  <a:cubicBezTo>
                    <a:pt x="9951" y="1269"/>
                    <a:pt x="10193" y="3307"/>
                    <a:pt x="9951" y="3307"/>
                  </a:cubicBezTo>
                  <a:cubicBezTo>
                    <a:pt x="9708" y="3307"/>
                    <a:pt x="9465" y="2492"/>
                    <a:pt x="9222" y="2492"/>
                  </a:cubicBezTo>
                  <a:cubicBezTo>
                    <a:pt x="9222" y="2492"/>
                    <a:pt x="8980" y="2899"/>
                    <a:pt x="8737" y="2899"/>
                  </a:cubicBezTo>
                  <a:cubicBezTo>
                    <a:pt x="8494" y="2899"/>
                    <a:pt x="8252" y="2492"/>
                    <a:pt x="8252" y="2084"/>
                  </a:cubicBezTo>
                  <a:cubicBezTo>
                    <a:pt x="8252" y="1677"/>
                    <a:pt x="7766" y="2492"/>
                    <a:pt x="7524" y="2492"/>
                  </a:cubicBezTo>
                  <a:cubicBezTo>
                    <a:pt x="7281" y="2492"/>
                    <a:pt x="7281" y="2084"/>
                    <a:pt x="7038" y="2084"/>
                  </a:cubicBezTo>
                  <a:cubicBezTo>
                    <a:pt x="6796" y="2084"/>
                    <a:pt x="6796" y="2492"/>
                    <a:pt x="6796" y="2899"/>
                  </a:cubicBezTo>
                  <a:cubicBezTo>
                    <a:pt x="6796" y="2899"/>
                    <a:pt x="5097" y="1677"/>
                    <a:pt x="5097" y="1677"/>
                  </a:cubicBezTo>
                  <a:cubicBezTo>
                    <a:pt x="4369" y="1269"/>
                    <a:pt x="3640" y="1269"/>
                    <a:pt x="2912" y="1269"/>
                  </a:cubicBezTo>
                  <a:cubicBezTo>
                    <a:pt x="2427" y="1269"/>
                    <a:pt x="2184" y="2084"/>
                    <a:pt x="1456" y="2084"/>
                  </a:cubicBezTo>
                  <a:cubicBezTo>
                    <a:pt x="1456" y="3307"/>
                    <a:pt x="2184" y="3307"/>
                    <a:pt x="2184" y="4122"/>
                  </a:cubicBezTo>
                  <a:cubicBezTo>
                    <a:pt x="2184" y="4530"/>
                    <a:pt x="2427" y="4937"/>
                    <a:pt x="2427" y="5345"/>
                  </a:cubicBezTo>
                  <a:cubicBezTo>
                    <a:pt x="2184" y="5752"/>
                    <a:pt x="1456" y="5752"/>
                    <a:pt x="1213" y="6160"/>
                  </a:cubicBezTo>
                  <a:cubicBezTo>
                    <a:pt x="485" y="6975"/>
                    <a:pt x="728" y="7790"/>
                    <a:pt x="485" y="9013"/>
                  </a:cubicBezTo>
                  <a:cubicBezTo>
                    <a:pt x="485" y="9828"/>
                    <a:pt x="243" y="10235"/>
                    <a:pt x="0" y="1064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59" name="Shape 2078">
              <a:extLst>
                <a:ext uri="{FF2B5EF4-FFF2-40B4-BE49-F238E27FC236}">
                  <a16:creationId xmlns:a16="http://schemas.microsoft.com/office/drawing/2014/main" id="{556035CC-F5AD-52D0-3FB7-3CB223433D26}"/>
                </a:ext>
              </a:extLst>
            </p:cNvPr>
            <p:cNvSpPr/>
            <p:nvPr/>
          </p:nvSpPr>
          <p:spPr>
            <a:xfrm>
              <a:off x="6064157" y="1966991"/>
              <a:ext cx="183434" cy="76830"/>
            </a:xfrm>
            <a:custGeom>
              <a:avLst/>
              <a:gdLst/>
              <a:ahLst/>
              <a:cxnLst>
                <a:cxn ang="0">
                  <a:pos x="wd2" y="hd2"/>
                </a:cxn>
                <a:cxn ang="5400000">
                  <a:pos x="wd2" y="hd2"/>
                </a:cxn>
                <a:cxn ang="10800000">
                  <a:pos x="wd2" y="hd2"/>
                </a:cxn>
                <a:cxn ang="16200000">
                  <a:pos x="wd2" y="hd2"/>
                </a:cxn>
              </a:cxnLst>
              <a:rect l="0" t="0" r="r" b="b"/>
              <a:pathLst>
                <a:path w="20034" h="20506" extrusionOk="0">
                  <a:moveTo>
                    <a:pt x="20034" y="7200"/>
                  </a:moveTo>
                  <a:cubicBezTo>
                    <a:pt x="17874" y="3600"/>
                    <a:pt x="17154" y="0"/>
                    <a:pt x="14274" y="0"/>
                  </a:cubicBezTo>
                  <a:cubicBezTo>
                    <a:pt x="12834" y="0"/>
                    <a:pt x="12114" y="0"/>
                    <a:pt x="10674" y="0"/>
                  </a:cubicBezTo>
                  <a:cubicBezTo>
                    <a:pt x="9234" y="0"/>
                    <a:pt x="9234" y="1800"/>
                    <a:pt x="8514" y="1800"/>
                  </a:cubicBezTo>
                  <a:cubicBezTo>
                    <a:pt x="7794" y="1800"/>
                    <a:pt x="7074" y="0"/>
                    <a:pt x="6354" y="0"/>
                  </a:cubicBezTo>
                  <a:cubicBezTo>
                    <a:pt x="5634" y="1800"/>
                    <a:pt x="4914" y="3600"/>
                    <a:pt x="4194" y="5400"/>
                  </a:cubicBezTo>
                  <a:cubicBezTo>
                    <a:pt x="2754" y="9000"/>
                    <a:pt x="-1566" y="7200"/>
                    <a:pt x="594" y="16200"/>
                  </a:cubicBezTo>
                  <a:cubicBezTo>
                    <a:pt x="1314" y="19800"/>
                    <a:pt x="4194" y="21600"/>
                    <a:pt x="6354" y="19800"/>
                  </a:cubicBezTo>
                  <a:cubicBezTo>
                    <a:pt x="7074" y="19800"/>
                    <a:pt x="7074" y="16200"/>
                    <a:pt x="7794" y="16200"/>
                  </a:cubicBezTo>
                  <a:cubicBezTo>
                    <a:pt x="9234" y="16200"/>
                    <a:pt x="10674" y="16200"/>
                    <a:pt x="11394" y="16200"/>
                  </a:cubicBezTo>
                  <a:cubicBezTo>
                    <a:pt x="12114" y="16200"/>
                    <a:pt x="12114" y="12600"/>
                    <a:pt x="12114" y="10800"/>
                  </a:cubicBezTo>
                  <a:cubicBezTo>
                    <a:pt x="12834" y="9000"/>
                    <a:pt x="14994" y="12600"/>
                    <a:pt x="15714" y="12600"/>
                  </a:cubicBezTo>
                  <a:cubicBezTo>
                    <a:pt x="16434" y="12600"/>
                    <a:pt x="17874" y="12600"/>
                    <a:pt x="18594" y="12600"/>
                  </a:cubicBezTo>
                  <a:cubicBezTo>
                    <a:pt x="19314" y="12600"/>
                    <a:pt x="19314" y="9000"/>
                    <a:pt x="20034"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0" name="Shape 2079">
              <a:extLst>
                <a:ext uri="{FF2B5EF4-FFF2-40B4-BE49-F238E27FC236}">
                  <a16:creationId xmlns:a16="http://schemas.microsoft.com/office/drawing/2014/main" id="{CD6F759D-0D8E-8B25-C243-4B8EB150F9AF}"/>
                </a:ext>
              </a:extLst>
            </p:cNvPr>
            <p:cNvSpPr/>
            <p:nvPr/>
          </p:nvSpPr>
          <p:spPr>
            <a:xfrm>
              <a:off x="6270081" y="1670257"/>
              <a:ext cx="301875" cy="222075"/>
            </a:xfrm>
            <a:custGeom>
              <a:avLst/>
              <a:gdLst/>
              <a:ahLst/>
              <a:cxnLst>
                <a:cxn ang="0">
                  <a:pos x="wd2" y="hd2"/>
                </a:cxn>
                <a:cxn ang="5400000">
                  <a:pos x="wd2" y="hd2"/>
                </a:cxn>
                <a:cxn ang="10800000">
                  <a:pos x="wd2" y="hd2"/>
                </a:cxn>
                <a:cxn ang="16200000">
                  <a:pos x="wd2" y="hd2"/>
                </a:cxn>
              </a:cxnLst>
              <a:rect l="0" t="0" r="r" b="b"/>
              <a:pathLst>
                <a:path w="21024" h="20716" extrusionOk="0">
                  <a:moveTo>
                    <a:pt x="4897" y="17897"/>
                  </a:moveTo>
                  <a:cubicBezTo>
                    <a:pt x="6276" y="17897"/>
                    <a:pt x="7195" y="18514"/>
                    <a:pt x="8114" y="18514"/>
                  </a:cubicBezTo>
                  <a:cubicBezTo>
                    <a:pt x="8114" y="18514"/>
                    <a:pt x="10412" y="20366"/>
                    <a:pt x="10412" y="20366"/>
                  </a:cubicBezTo>
                  <a:cubicBezTo>
                    <a:pt x="10412" y="19749"/>
                    <a:pt x="10872" y="17897"/>
                    <a:pt x="11331" y="19131"/>
                  </a:cubicBezTo>
                  <a:cubicBezTo>
                    <a:pt x="12251" y="20983"/>
                    <a:pt x="12710" y="17897"/>
                    <a:pt x="13170" y="19749"/>
                  </a:cubicBezTo>
                  <a:cubicBezTo>
                    <a:pt x="13629" y="20983"/>
                    <a:pt x="14548" y="19749"/>
                    <a:pt x="15008" y="19749"/>
                  </a:cubicBezTo>
                  <a:cubicBezTo>
                    <a:pt x="15468" y="19131"/>
                    <a:pt x="16387" y="21600"/>
                    <a:pt x="16387" y="20366"/>
                  </a:cubicBezTo>
                  <a:cubicBezTo>
                    <a:pt x="16846" y="19131"/>
                    <a:pt x="16387" y="17897"/>
                    <a:pt x="17306" y="17280"/>
                  </a:cubicBezTo>
                  <a:cubicBezTo>
                    <a:pt x="17765" y="17280"/>
                    <a:pt x="18685" y="16663"/>
                    <a:pt x="19144" y="16663"/>
                  </a:cubicBezTo>
                  <a:cubicBezTo>
                    <a:pt x="18685" y="16046"/>
                    <a:pt x="18225" y="14811"/>
                    <a:pt x="18225" y="13577"/>
                  </a:cubicBezTo>
                  <a:cubicBezTo>
                    <a:pt x="18225" y="12343"/>
                    <a:pt x="19144" y="13577"/>
                    <a:pt x="20063" y="12960"/>
                  </a:cubicBezTo>
                  <a:cubicBezTo>
                    <a:pt x="20982" y="12960"/>
                    <a:pt x="21442" y="11726"/>
                    <a:pt x="20523" y="10491"/>
                  </a:cubicBezTo>
                  <a:cubicBezTo>
                    <a:pt x="20063" y="9874"/>
                    <a:pt x="19604" y="10491"/>
                    <a:pt x="19144" y="9257"/>
                  </a:cubicBezTo>
                  <a:cubicBezTo>
                    <a:pt x="18685" y="8640"/>
                    <a:pt x="18225" y="8023"/>
                    <a:pt x="17765" y="6789"/>
                  </a:cubicBezTo>
                  <a:cubicBezTo>
                    <a:pt x="17306" y="6171"/>
                    <a:pt x="17306" y="4937"/>
                    <a:pt x="17306" y="3703"/>
                  </a:cubicBezTo>
                  <a:cubicBezTo>
                    <a:pt x="17765" y="2469"/>
                    <a:pt x="16387" y="1234"/>
                    <a:pt x="15927" y="1234"/>
                  </a:cubicBezTo>
                  <a:cubicBezTo>
                    <a:pt x="15468" y="617"/>
                    <a:pt x="15468" y="1234"/>
                    <a:pt x="15008" y="1234"/>
                  </a:cubicBezTo>
                  <a:cubicBezTo>
                    <a:pt x="14089" y="1851"/>
                    <a:pt x="14089" y="1234"/>
                    <a:pt x="13629" y="617"/>
                  </a:cubicBezTo>
                  <a:cubicBezTo>
                    <a:pt x="13170" y="0"/>
                    <a:pt x="13170" y="1234"/>
                    <a:pt x="12710" y="1234"/>
                  </a:cubicBezTo>
                  <a:cubicBezTo>
                    <a:pt x="12251" y="1234"/>
                    <a:pt x="11331" y="0"/>
                    <a:pt x="11331" y="0"/>
                  </a:cubicBezTo>
                  <a:cubicBezTo>
                    <a:pt x="10412" y="0"/>
                    <a:pt x="10412" y="1234"/>
                    <a:pt x="9953" y="1234"/>
                  </a:cubicBezTo>
                  <a:cubicBezTo>
                    <a:pt x="9033" y="1851"/>
                    <a:pt x="8574" y="1851"/>
                    <a:pt x="7655" y="1851"/>
                  </a:cubicBezTo>
                  <a:cubicBezTo>
                    <a:pt x="7195" y="2469"/>
                    <a:pt x="7655" y="3703"/>
                    <a:pt x="7655" y="3703"/>
                  </a:cubicBezTo>
                  <a:cubicBezTo>
                    <a:pt x="7195" y="4937"/>
                    <a:pt x="5816" y="4320"/>
                    <a:pt x="5816" y="5554"/>
                  </a:cubicBezTo>
                  <a:cubicBezTo>
                    <a:pt x="5357" y="6171"/>
                    <a:pt x="5357" y="6789"/>
                    <a:pt x="5357" y="8023"/>
                  </a:cubicBezTo>
                  <a:cubicBezTo>
                    <a:pt x="5357" y="8640"/>
                    <a:pt x="3978" y="8640"/>
                    <a:pt x="3519" y="8640"/>
                  </a:cubicBezTo>
                  <a:cubicBezTo>
                    <a:pt x="2140" y="9257"/>
                    <a:pt x="1680" y="9874"/>
                    <a:pt x="302" y="9874"/>
                  </a:cubicBezTo>
                  <a:cubicBezTo>
                    <a:pt x="761" y="11726"/>
                    <a:pt x="2140" y="12960"/>
                    <a:pt x="761" y="14811"/>
                  </a:cubicBezTo>
                  <a:cubicBezTo>
                    <a:pt x="-158" y="15429"/>
                    <a:pt x="-158" y="16046"/>
                    <a:pt x="302" y="16663"/>
                  </a:cubicBezTo>
                  <a:cubicBezTo>
                    <a:pt x="1221" y="17280"/>
                    <a:pt x="302" y="18514"/>
                    <a:pt x="302" y="19131"/>
                  </a:cubicBezTo>
                  <a:cubicBezTo>
                    <a:pt x="1221" y="19131"/>
                    <a:pt x="1680" y="19131"/>
                    <a:pt x="2140" y="18514"/>
                  </a:cubicBezTo>
                  <a:cubicBezTo>
                    <a:pt x="3059" y="17897"/>
                    <a:pt x="4438" y="17897"/>
                    <a:pt x="4897" y="1789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1" name="Shape 2080">
              <a:extLst>
                <a:ext uri="{FF2B5EF4-FFF2-40B4-BE49-F238E27FC236}">
                  <a16:creationId xmlns:a16="http://schemas.microsoft.com/office/drawing/2014/main" id="{AAEF02C3-AA98-61DD-0A0D-2700B12BC536}"/>
                </a:ext>
              </a:extLst>
            </p:cNvPr>
            <p:cNvSpPr/>
            <p:nvPr/>
          </p:nvSpPr>
          <p:spPr>
            <a:xfrm>
              <a:off x="6195900" y="1660450"/>
              <a:ext cx="185036" cy="117497"/>
            </a:xfrm>
            <a:custGeom>
              <a:avLst/>
              <a:gdLst/>
              <a:ahLst/>
              <a:cxnLst>
                <a:cxn ang="0">
                  <a:pos x="wd2" y="hd2"/>
                </a:cxn>
                <a:cxn ang="5400000">
                  <a:pos x="wd2" y="hd2"/>
                </a:cxn>
                <a:cxn ang="10800000">
                  <a:pos x="wd2" y="hd2"/>
                </a:cxn>
                <a:cxn ang="16200000">
                  <a:pos x="wd2" y="hd2"/>
                </a:cxn>
              </a:cxnLst>
              <a:rect l="0" t="0" r="r" b="b"/>
              <a:pathLst>
                <a:path w="20922" h="20160" extrusionOk="0">
                  <a:moveTo>
                    <a:pt x="11917" y="19831"/>
                  </a:moveTo>
                  <a:cubicBezTo>
                    <a:pt x="13407" y="17557"/>
                    <a:pt x="15641" y="17557"/>
                    <a:pt x="17131" y="16421"/>
                  </a:cubicBezTo>
                  <a:cubicBezTo>
                    <a:pt x="17131" y="15284"/>
                    <a:pt x="17131" y="14147"/>
                    <a:pt x="17131" y="13010"/>
                  </a:cubicBezTo>
                  <a:cubicBezTo>
                    <a:pt x="17876" y="10736"/>
                    <a:pt x="18621" y="10736"/>
                    <a:pt x="20110" y="9600"/>
                  </a:cubicBezTo>
                  <a:cubicBezTo>
                    <a:pt x="21600" y="8463"/>
                    <a:pt x="20855" y="5052"/>
                    <a:pt x="19366" y="3915"/>
                  </a:cubicBezTo>
                  <a:cubicBezTo>
                    <a:pt x="17876" y="2779"/>
                    <a:pt x="16386" y="1642"/>
                    <a:pt x="14152" y="505"/>
                  </a:cubicBezTo>
                  <a:cubicBezTo>
                    <a:pt x="12662" y="-632"/>
                    <a:pt x="9683" y="505"/>
                    <a:pt x="7448" y="505"/>
                  </a:cubicBezTo>
                  <a:cubicBezTo>
                    <a:pt x="5959" y="505"/>
                    <a:pt x="0" y="-632"/>
                    <a:pt x="0" y="3915"/>
                  </a:cubicBezTo>
                  <a:cubicBezTo>
                    <a:pt x="0" y="3915"/>
                    <a:pt x="745" y="5052"/>
                    <a:pt x="745" y="6189"/>
                  </a:cubicBezTo>
                  <a:cubicBezTo>
                    <a:pt x="1490" y="7326"/>
                    <a:pt x="745" y="8463"/>
                    <a:pt x="1490" y="9600"/>
                  </a:cubicBezTo>
                  <a:cubicBezTo>
                    <a:pt x="2234" y="9600"/>
                    <a:pt x="2979" y="11873"/>
                    <a:pt x="3724" y="10736"/>
                  </a:cubicBezTo>
                  <a:cubicBezTo>
                    <a:pt x="5214" y="10736"/>
                    <a:pt x="6703" y="9600"/>
                    <a:pt x="6703" y="11873"/>
                  </a:cubicBezTo>
                  <a:cubicBezTo>
                    <a:pt x="6703" y="13010"/>
                    <a:pt x="6703" y="15284"/>
                    <a:pt x="5959" y="16421"/>
                  </a:cubicBezTo>
                  <a:cubicBezTo>
                    <a:pt x="8193" y="16421"/>
                    <a:pt x="8193" y="16421"/>
                    <a:pt x="8938" y="19831"/>
                  </a:cubicBezTo>
                  <a:cubicBezTo>
                    <a:pt x="9683" y="19831"/>
                    <a:pt x="11917" y="19831"/>
                    <a:pt x="11917" y="19831"/>
                  </a:cubicBezTo>
                  <a:cubicBezTo>
                    <a:pt x="12662" y="18694"/>
                    <a:pt x="11172" y="20968"/>
                    <a:pt x="11917" y="198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2" name="Shape 2081">
              <a:extLst>
                <a:ext uri="{FF2B5EF4-FFF2-40B4-BE49-F238E27FC236}">
                  <a16:creationId xmlns:a16="http://schemas.microsoft.com/office/drawing/2014/main" id="{ABC688BD-8A23-E7C7-731F-4DF1582447AB}"/>
                </a:ext>
              </a:extLst>
            </p:cNvPr>
            <p:cNvSpPr/>
            <p:nvPr/>
          </p:nvSpPr>
          <p:spPr>
            <a:xfrm>
              <a:off x="6195900" y="1582112"/>
              <a:ext cx="235980" cy="110309"/>
            </a:xfrm>
            <a:custGeom>
              <a:avLst/>
              <a:gdLst/>
              <a:ahLst/>
              <a:cxnLst>
                <a:cxn ang="0">
                  <a:pos x="wd2" y="hd2"/>
                </a:cxn>
                <a:cxn ang="5400000">
                  <a:pos x="wd2" y="hd2"/>
                </a:cxn>
                <a:cxn ang="10800000">
                  <a:pos x="wd2" y="hd2"/>
                </a:cxn>
                <a:cxn ang="16200000">
                  <a:pos x="wd2" y="hd2"/>
                </a:cxn>
              </a:cxnLst>
              <a:rect l="0" t="0" r="r" b="b"/>
              <a:pathLst>
                <a:path w="21600" h="19998" extrusionOk="0">
                  <a:moveTo>
                    <a:pt x="6600" y="14871"/>
                  </a:moveTo>
                  <a:cubicBezTo>
                    <a:pt x="8400" y="14871"/>
                    <a:pt x="9600" y="13671"/>
                    <a:pt x="11400" y="13671"/>
                  </a:cubicBezTo>
                  <a:cubicBezTo>
                    <a:pt x="12000" y="13671"/>
                    <a:pt x="14400" y="16071"/>
                    <a:pt x="15000" y="17271"/>
                  </a:cubicBezTo>
                  <a:cubicBezTo>
                    <a:pt x="15600" y="18471"/>
                    <a:pt x="16200" y="20871"/>
                    <a:pt x="17400" y="19671"/>
                  </a:cubicBezTo>
                  <a:cubicBezTo>
                    <a:pt x="18000" y="19671"/>
                    <a:pt x="18600" y="18471"/>
                    <a:pt x="19800" y="18471"/>
                  </a:cubicBezTo>
                  <a:cubicBezTo>
                    <a:pt x="20400" y="18471"/>
                    <a:pt x="20400" y="16071"/>
                    <a:pt x="21600" y="16071"/>
                  </a:cubicBezTo>
                  <a:cubicBezTo>
                    <a:pt x="21000" y="13671"/>
                    <a:pt x="19800" y="10071"/>
                    <a:pt x="20400" y="8871"/>
                  </a:cubicBezTo>
                  <a:cubicBezTo>
                    <a:pt x="21000" y="6471"/>
                    <a:pt x="19200" y="4071"/>
                    <a:pt x="18600" y="4071"/>
                  </a:cubicBezTo>
                  <a:cubicBezTo>
                    <a:pt x="17400" y="2871"/>
                    <a:pt x="16200" y="5271"/>
                    <a:pt x="15000" y="2871"/>
                  </a:cubicBezTo>
                  <a:cubicBezTo>
                    <a:pt x="13200" y="471"/>
                    <a:pt x="12600" y="-729"/>
                    <a:pt x="10800" y="471"/>
                  </a:cubicBezTo>
                  <a:cubicBezTo>
                    <a:pt x="9600" y="1671"/>
                    <a:pt x="10200" y="2871"/>
                    <a:pt x="10200" y="5271"/>
                  </a:cubicBezTo>
                  <a:cubicBezTo>
                    <a:pt x="9600" y="6471"/>
                    <a:pt x="9600" y="7671"/>
                    <a:pt x="9000" y="7671"/>
                  </a:cubicBezTo>
                  <a:cubicBezTo>
                    <a:pt x="7200" y="10071"/>
                    <a:pt x="6000" y="5271"/>
                    <a:pt x="4800" y="4071"/>
                  </a:cubicBezTo>
                  <a:cubicBezTo>
                    <a:pt x="1800" y="-729"/>
                    <a:pt x="0" y="12471"/>
                    <a:pt x="0" y="17271"/>
                  </a:cubicBezTo>
                  <a:cubicBezTo>
                    <a:pt x="2400" y="14871"/>
                    <a:pt x="4200" y="14871"/>
                    <a:pt x="6600" y="148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3" name="Shape 2082">
              <a:extLst>
                <a:ext uri="{FF2B5EF4-FFF2-40B4-BE49-F238E27FC236}">
                  <a16:creationId xmlns:a16="http://schemas.microsoft.com/office/drawing/2014/main" id="{C883A07D-7E5E-2415-2828-0A0DA54E8752}"/>
                </a:ext>
              </a:extLst>
            </p:cNvPr>
            <p:cNvSpPr/>
            <p:nvPr/>
          </p:nvSpPr>
          <p:spPr>
            <a:xfrm>
              <a:off x="6267816" y="1506155"/>
              <a:ext cx="157321" cy="98912"/>
            </a:xfrm>
            <a:custGeom>
              <a:avLst/>
              <a:gdLst/>
              <a:ahLst/>
              <a:cxnLst>
                <a:cxn ang="0">
                  <a:pos x="wd2" y="hd2"/>
                </a:cxn>
                <a:cxn ang="5400000">
                  <a:pos x="wd2" y="hd2"/>
                </a:cxn>
                <a:cxn ang="10800000">
                  <a:pos x="wd2" y="hd2"/>
                </a:cxn>
                <a:cxn ang="16200000">
                  <a:pos x="wd2" y="hd2"/>
                </a:cxn>
              </a:cxnLst>
              <a:rect l="0" t="0" r="r" b="b"/>
              <a:pathLst>
                <a:path w="21600" h="21600" extrusionOk="0">
                  <a:moveTo>
                    <a:pt x="14400" y="21600"/>
                  </a:moveTo>
                  <a:cubicBezTo>
                    <a:pt x="15300" y="21600"/>
                    <a:pt x="17100" y="21600"/>
                    <a:pt x="18000" y="21600"/>
                  </a:cubicBezTo>
                  <a:cubicBezTo>
                    <a:pt x="18000" y="20160"/>
                    <a:pt x="19800" y="20160"/>
                    <a:pt x="19800" y="18720"/>
                  </a:cubicBezTo>
                  <a:cubicBezTo>
                    <a:pt x="19800" y="17280"/>
                    <a:pt x="19800" y="15840"/>
                    <a:pt x="19800" y="14400"/>
                  </a:cubicBezTo>
                  <a:cubicBezTo>
                    <a:pt x="18900" y="11520"/>
                    <a:pt x="18000" y="10080"/>
                    <a:pt x="18900" y="7200"/>
                  </a:cubicBezTo>
                  <a:cubicBezTo>
                    <a:pt x="20700" y="5760"/>
                    <a:pt x="21600" y="2880"/>
                    <a:pt x="21600" y="0"/>
                  </a:cubicBezTo>
                  <a:cubicBezTo>
                    <a:pt x="19800" y="4320"/>
                    <a:pt x="13500" y="0"/>
                    <a:pt x="10800" y="0"/>
                  </a:cubicBezTo>
                  <a:cubicBezTo>
                    <a:pt x="9000" y="0"/>
                    <a:pt x="7200" y="0"/>
                    <a:pt x="5400" y="1440"/>
                  </a:cubicBezTo>
                  <a:cubicBezTo>
                    <a:pt x="4500" y="1440"/>
                    <a:pt x="0" y="7200"/>
                    <a:pt x="0" y="7200"/>
                  </a:cubicBezTo>
                  <a:cubicBezTo>
                    <a:pt x="0" y="8640"/>
                    <a:pt x="2700" y="7200"/>
                    <a:pt x="1800" y="8640"/>
                  </a:cubicBezTo>
                  <a:cubicBezTo>
                    <a:pt x="1800" y="10080"/>
                    <a:pt x="1800" y="10080"/>
                    <a:pt x="1800" y="11520"/>
                  </a:cubicBezTo>
                  <a:cubicBezTo>
                    <a:pt x="2700" y="14400"/>
                    <a:pt x="6300" y="12960"/>
                    <a:pt x="6300" y="12960"/>
                  </a:cubicBezTo>
                  <a:cubicBezTo>
                    <a:pt x="6300" y="14400"/>
                    <a:pt x="5400" y="17280"/>
                    <a:pt x="5400" y="18720"/>
                  </a:cubicBezTo>
                  <a:cubicBezTo>
                    <a:pt x="6300" y="17280"/>
                    <a:pt x="8100" y="15840"/>
                    <a:pt x="9900" y="17280"/>
                  </a:cubicBezTo>
                  <a:cubicBezTo>
                    <a:pt x="11700" y="18720"/>
                    <a:pt x="12600" y="21600"/>
                    <a:pt x="1440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4" name="Shape 2083">
              <a:extLst>
                <a:ext uri="{FF2B5EF4-FFF2-40B4-BE49-F238E27FC236}">
                  <a16:creationId xmlns:a16="http://schemas.microsoft.com/office/drawing/2014/main" id="{BB31BF42-FD41-6C91-86FF-C9006C8275A3}"/>
                </a:ext>
              </a:extLst>
            </p:cNvPr>
            <p:cNvSpPr/>
            <p:nvPr/>
          </p:nvSpPr>
          <p:spPr>
            <a:xfrm>
              <a:off x="6148706" y="1710722"/>
              <a:ext cx="105629" cy="45961"/>
            </a:xfrm>
            <a:custGeom>
              <a:avLst/>
              <a:gdLst/>
              <a:ahLst/>
              <a:cxnLst>
                <a:cxn ang="0">
                  <a:pos x="wd2" y="hd2"/>
                </a:cxn>
                <a:cxn ang="5400000">
                  <a:pos x="wd2" y="hd2"/>
                </a:cxn>
                <a:cxn ang="10800000">
                  <a:pos x="wd2" y="hd2"/>
                </a:cxn>
                <a:cxn ang="16200000">
                  <a:pos x="wd2" y="hd2"/>
                </a:cxn>
              </a:cxnLst>
              <a:rect l="0" t="0" r="r" b="b"/>
              <a:pathLst>
                <a:path w="21600" h="19200" extrusionOk="0">
                  <a:moveTo>
                    <a:pt x="21600" y="10800"/>
                  </a:moveTo>
                  <a:cubicBezTo>
                    <a:pt x="21600" y="2700"/>
                    <a:pt x="18900" y="5400"/>
                    <a:pt x="16200" y="5400"/>
                  </a:cubicBezTo>
                  <a:cubicBezTo>
                    <a:pt x="14850" y="8100"/>
                    <a:pt x="13500" y="2700"/>
                    <a:pt x="10800" y="0"/>
                  </a:cubicBezTo>
                  <a:cubicBezTo>
                    <a:pt x="10800" y="2700"/>
                    <a:pt x="10800" y="5400"/>
                    <a:pt x="9450" y="8100"/>
                  </a:cubicBezTo>
                  <a:cubicBezTo>
                    <a:pt x="8100" y="8100"/>
                    <a:pt x="9450" y="2700"/>
                    <a:pt x="6750" y="5400"/>
                  </a:cubicBezTo>
                  <a:cubicBezTo>
                    <a:pt x="5400" y="5400"/>
                    <a:pt x="2700" y="5400"/>
                    <a:pt x="2700" y="8100"/>
                  </a:cubicBezTo>
                  <a:cubicBezTo>
                    <a:pt x="1350" y="13500"/>
                    <a:pt x="2700" y="16200"/>
                    <a:pt x="0" y="13500"/>
                  </a:cubicBezTo>
                  <a:cubicBezTo>
                    <a:pt x="0" y="13500"/>
                    <a:pt x="0" y="13500"/>
                    <a:pt x="0" y="16200"/>
                  </a:cubicBezTo>
                  <a:cubicBezTo>
                    <a:pt x="0" y="16200"/>
                    <a:pt x="1350" y="16200"/>
                    <a:pt x="2700" y="16200"/>
                  </a:cubicBezTo>
                  <a:cubicBezTo>
                    <a:pt x="5400" y="18900"/>
                    <a:pt x="8100" y="18900"/>
                    <a:pt x="10800" y="18900"/>
                  </a:cubicBezTo>
                  <a:cubicBezTo>
                    <a:pt x="13500" y="18900"/>
                    <a:pt x="21600" y="21600"/>
                    <a:pt x="21600" y="10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5" name="Shape 2084">
              <a:extLst>
                <a:ext uri="{FF2B5EF4-FFF2-40B4-BE49-F238E27FC236}">
                  <a16:creationId xmlns:a16="http://schemas.microsoft.com/office/drawing/2014/main" id="{4781F252-BAC9-C341-8A3C-AE3FA59A0548}"/>
                </a:ext>
              </a:extLst>
            </p:cNvPr>
            <p:cNvSpPr/>
            <p:nvPr/>
          </p:nvSpPr>
          <p:spPr>
            <a:xfrm>
              <a:off x="5984643" y="1731921"/>
              <a:ext cx="314638" cy="262946"/>
            </a:xfrm>
            <a:custGeom>
              <a:avLst/>
              <a:gdLst/>
              <a:ahLst/>
              <a:cxnLst>
                <a:cxn ang="0">
                  <a:pos x="wd2" y="hd2"/>
                </a:cxn>
                <a:cxn ang="5400000">
                  <a:pos x="wd2" y="hd2"/>
                </a:cxn>
                <a:cxn ang="10800000">
                  <a:pos x="wd2" y="hd2"/>
                </a:cxn>
                <a:cxn ang="16200000">
                  <a:pos x="wd2" y="hd2"/>
                </a:cxn>
              </a:cxnLst>
              <a:rect l="0" t="0" r="r" b="b"/>
              <a:pathLst>
                <a:path w="21600" h="20541" extrusionOk="0">
                  <a:moveTo>
                    <a:pt x="450" y="5568"/>
                  </a:moveTo>
                  <a:cubicBezTo>
                    <a:pt x="450" y="6083"/>
                    <a:pt x="0" y="7111"/>
                    <a:pt x="0" y="7626"/>
                  </a:cubicBezTo>
                  <a:cubicBezTo>
                    <a:pt x="450" y="8140"/>
                    <a:pt x="900" y="9168"/>
                    <a:pt x="900" y="9683"/>
                  </a:cubicBezTo>
                  <a:cubicBezTo>
                    <a:pt x="900" y="10711"/>
                    <a:pt x="1350" y="12254"/>
                    <a:pt x="1800" y="13283"/>
                  </a:cubicBezTo>
                  <a:cubicBezTo>
                    <a:pt x="2250" y="14826"/>
                    <a:pt x="3600" y="14311"/>
                    <a:pt x="4050" y="15340"/>
                  </a:cubicBezTo>
                  <a:cubicBezTo>
                    <a:pt x="4050" y="15340"/>
                    <a:pt x="4050" y="16368"/>
                    <a:pt x="4500" y="16368"/>
                  </a:cubicBezTo>
                  <a:cubicBezTo>
                    <a:pt x="4950" y="16883"/>
                    <a:pt x="5400" y="15854"/>
                    <a:pt x="5850" y="15854"/>
                  </a:cubicBezTo>
                  <a:cubicBezTo>
                    <a:pt x="6750" y="15340"/>
                    <a:pt x="8550" y="17397"/>
                    <a:pt x="9450" y="17911"/>
                  </a:cubicBezTo>
                  <a:cubicBezTo>
                    <a:pt x="9900" y="18426"/>
                    <a:pt x="10350" y="19454"/>
                    <a:pt x="11250" y="18426"/>
                  </a:cubicBezTo>
                  <a:cubicBezTo>
                    <a:pt x="11700" y="17911"/>
                    <a:pt x="13950" y="18426"/>
                    <a:pt x="14850" y="18426"/>
                  </a:cubicBezTo>
                  <a:cubicBezTo>
                    <a:pt x="16200" y="18426"/>
                    <a:pt x="16650" y="19454"/>
                    <a:pt x="17550" y="20483"/>
                  </a:cubicBezTo>
                  <a:cubicBezTo>
                    <a:pt x="18000" y="20997"/>
                    <a:pt x="18000" y="17911"/>
                    <a:pt x="18450" y="17397"/>
                  </a:cubicBezTo>
                  <a:cubicBezTo>
                    <a:pt x="18900" y="16883"/>
                    <a:pt x="19350" y="16368"/>
                    <a:pt x="19800" y="15854"/>
                  </a:cubicBezTo>
                  <a:cubicBezTo>
                    <a:pt x="20250" y="15854"/>
                    <a:pt x="21600" y="15854"/>
                    <a:pt x="21600" y="15340"/>
                  </a:cubicBezTo>
                  <a:cubicBezTo>
                    <a:pt x="21150" y="13797"/>
                    <a:pt x="21150" y="13283"/>
                    <a:pt x="20250" y="12768"/>
                  </a:cubicBezTo>
                  <a:cubicBezTo>
                    <a:pt x="19350" y="11740"/>
                    <a:pt x="20700" y="10197"/>
                    <a:pt x="19800" y="9168"/>
                  </a:cubicBezTo>
                  <a:cubicBezTo>
                    <a:pt x="18900" y="8654"/>
                    <a:pt x="21150" y="6597"/>
                    <a:pt x="20700" y="5568"/>
                  </a:cubicBezTo>
                  <a:cubicBezTo>
                    <a:pt x="20250" y="4540"/>
                    <a:pt x="19800" y="4026"/>
                    <a:pt x="19800" y="2997"/>
                  </a:cubicBezTo>
                  <a:cubicBezTo>
                    <a:pt x="19800" y="2483"/>
                    <a:pt x="19800" y="1968"/>
                    <a:pt x="18900" y="1968"/>
                  </a:cubicBezTo>
                  <a:cubicBezTo>
                    <a:pt x="16650" y="940"/>
                    <a:pt x="13500" y="2483"/>
                    <a:pt x="11250" y="1454"/>
                  </a:cubicBezTo>
                  <a:cubicBezTo>
                    <a:pt x="11250" y="2997"/>
                    <a:pt x="9450" y="426"/>
                    <a:pt x="9000" y="426"/>
                  </a:cubicBezTo>
                  <a:cubicBezTo>
                    <a:pt x="7650" y="-603"/>
                    <a:pt x="6750" y="426"/>
                    <a:pt x="5850" y="1454"/>
                  </a:cubicBezTo>
                  <a:cubicBezTo>
                    <a:pt x="4500" y="1968"/>
                    <a:pt x="3600" y="2483"/>
                    <a:pt x="2700" y="2483"/>
                  </a:cubicBezTo>
                  <a:cubicBezTo>
                    <a:pt x="2250" y="2997"/>
                    <a:pt x="1350" y="2997"/>
                    <a:pt x="900" y="2997"/>
                  </a:cubicBezTo>
                  <a:cubicBezTo>
                    <a:pt x="450" y="3511"/>
                    <a:pt x="1350" y="4026"/>
                    <a:pt x="450" y="4026"/>
                  </a:cubicBezTo>
                  <a:cubicBezTo>
                    <a:pt x="450" y="4540"/>
                    <a:pt x="450" y="5054"/>
                    <a:pt x="450" y="5568"/>
                  </a:cubicBezTo>
                  <a:cubicBezTo>
                    <a:pt x="450" y="6597"/>
                    <a:pt x="450" y="5568"/>
                    <a:pt x="450" y="556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6" name="Shape 2085">
              <a:extLst>
                <a:ext uri="{FF2B5EF4-FFF2-40B4-BE49-F238E27FC236}">
                  <a16:creationId xmlns:a16="http://schemas.microsoft.com/office/drawing/2014/main" id="{7FE485B2-0A5F-4551-A3E6-6A01516845C7}"/>
                </a:ext>
              </a:extLst>
            </p:cNvPr>
            <p:cNvSpPr/>
            <p:nvPr/>
          </p:nvSpPr>
          <p:spPr>
            <a:xfrm>
              <a:off x="6175671" y="2014201"/>
              <a:ext cx="303402" cy="197825"/>
            </a:xfrm>
            <a:custGeom>
              <a:avLst/>
              <a:gdLst/>
              <a:ahLst/>
              <a:cxnLst>
                <a:cxn ang="0">
                  <a:pos x="wd2" y="hd2"/>
                </a:cxn>
                <a:cxn ang="5400000">
                  <a:pos x="wd2" y="hd2"/>
                </a:cxn>
                <a:cxn ang="10800000">
                  <a:pos x="wd2" y="hd2"/>
                </a:cxn>
                <a:cxn ang="16200000">
                  <a:pos x="wd2" y="hd2"/>
                </a:cxn>
              </a:cxnLst>
              <a:rect l="0" t="0" r="r" b="b"/>
              <a:pathLst>
                <a:path w="21600" h="21600" extrusionOk="0">
                  <a:moveTo>
                    <a:pt x="17843" y="9360"/>
                  </a:moveTo>
                  <a:cubicBezTo>
                    <a:pt x="18313" y="7200"/>
                    <a:pt x="16904" y="5760"/>
                    <a:pt x="16435" y="4320"/>
                  </a:cubicBezTo>
                  <a:cubicBezTo>
                    <a:pt x="15496" y="3600"/>
                    <a:pt x="15026" y="1440"/>
                    <a:pt x="15026" y="0"/>
                  </a:cubicBezTo>
                  <a:cubicBezTo>
                    <a:pt x="13617" y="720"/>
                    <a:pt x="12209" y="2880"/>
                    <a:pt x="10330" y="2880"/>
                  </a:cubicBezTo>
                  <a:cubicBezTo>
                    <a:pt x="9861" y="2880"/>
                    <a:pt x="8922" y="2160"/>
                    <a:pt x="8452" y="2160"/>
                  </a:cubicBezTo>
                  <a:cubicBezTo>
                    <a:pt x="7513" y="2160"/>
                    <a:pt x="6574" y="2160"/>
                    <a:pt x="5635" y="2160"/>
                  </a:cubicBezTo>
                  <a:cubicBezTo>
                    <a:pt x="5635" y="2160"/>
                    <a:pt x="4226" y="4320"/>
                    <a:pt x="3757" y="4320"/>
                  </a:cubicBezTo>
                  <a:cubicBezTo>
                    <a:pt x="3287" y="6480"/>
                    <a:pt x="2348" y="7920"/>
                    <a:pt x="1878" y="10080"/>
                  </a:cubicBezTo>
                  <a:cubicBezTo>
                    <a:pt x="1409" y="10080"/>
                    <a:pt x="470" y="10080"/>
                    <a:pt x="0" y="10800"/>
                  </a:cubicBezTo>
                  <a:cubicBezTo>
                    <a:pt x="0" y="11520"/>
                    <a:pt x="1409" y="12240"/>
                    <a:pt x="1409" y="12960"/>
                  </a:cubicBezTo>
                  <a:cubicBezTo>
                    <a:pt x="1409" y="14400"/>
                    <a:pt x="1878" y="14400"/>
                    <a:pt x="2348" y="15840"/>
                  </a:cubicBezTo>
                  <a:cubicBezTo>
                    <a:pt x="2348" y="17280"/>
                    <a:pt x="2817" y="17280"/>
                    <a:pt x="3757" y="17280"/>
                  </a:cubicBezTo>
                  <a:cubicBezTo>
                    <a:pt x="4226" y="17280"/>
                    <a:pt x="5165" y="17280"/>
                    <a:pt x="5165" y="18000"/>
                  </a:cubicBezTo>
                  <a:cubicBezTo>
                    <a:pt x="5165" y="18720"/>
                    <a:pt x="5165" y="19440"/>
                    <a:pt x="5165" y="20160"/>
                  </a:cubicBezTo>
                  <a:cubicBezTo>
                    <a:pt x="6104" y="21600"/>
                    <a:pt x="8452" y="21600"/>
                    <a:pt x="9861" y="21600"/>
                  </a:cubicBezTo>
                  <a:cubicBezTo>
                    <a:pt x="11270" y="21600"/>
                    <a:pt x="12209" y="21600"/>
                    <a:pt x="13148" y="20160"/>
                  </a:cubicBezTo>
                  <a:cubicBezTo>
                    <a:pt x="15026" y="18720"/>
                    <a:pt x="16904" y="20160"/>
                    <a:pt x="18783" y="21600"/>
                  </a:cubicBezTo>
                  <a:cubicBezTo>
                    <a:pt x="18783" y="20160"/>
                    <a:pt x="18783" y="18000"/>
                    <a:pt x="19252" y="16560"/>
                  </a:cubicBezTo>
                  <a:cubicBezTo>
                    <a:pt x="19722" y="15840"/>
                    <a:pt x="21130" y="17280"/>
                    <a:pt x="21600" y="14400"/>
                  </a:cubicBezTo>
                  <a:cubicBezTo>
                    <a:pt x="20191" y="12960"/>
                    <a:pt x="19722" y="14400"/>
                    <a:pt x="18313" y="14400"/>
                  </a:cubicBezTo>
                  <a:cubicBezTo>
                    <a:pt x="17374" y="13680"/>
                    <a:pt x="17374" y="10080"/>
                    <a:pt x="17843" y="9360"/>
                  </a:cubicBezTo>
                  <a:cubicBezTo>
                    <a:pt x="18313" y="7920"/>
                    <a:pt x="17374" y="10800"/>
                    <a:pt x="17843" y="93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7" name="Shape 2086">
              <a:extLst>
                <a:ext uri="{FF2B5EF4-FFF2-40B4-BE49-F238E27FC236}">
                  <a16:creationId xmlns:a16="http://schemas.microsoft.com/office/drawing/2014/main" id="{BF8FA399-960E-1D2A-6E7A-92B85135A5D9}"/>
                </a:ext>
              </a:extLst>
            </p:cNvPr>
            <p:cNvSpPr/>
            <p:nvPr/>
          </p:nvSpPr>
          <p:spPr>
            <a:xfrm>
              <a:off x="6386928" y="2012735"/>
              <a:ext cx="99328" cy="127357"/>
            </a:xfrm>
            <a:custGeom>
              <a:avLst/>
              <a:gdLst/>
              <a:ahLst/>
              <a:cxnLst>
                <a:cxn ang="0">
                  <a:pos x="wd2" y="hd2"/>
                </a:cxn>
                <a:cxn ang="5400000">
                  <a:pos x="wd2" y="hd2"/>
                </a:cxn>
                <a:cxn ang="10800000">
                  <a:pos x="wd2" y="hd2"/>
                </a:cxn>
                <a:cxn ang="16200000">
                  <a:pos x="wd2" y="hd2"/>
                </a:cxn>
              </a:cxnLst>
              <a:rect l="0" t="0" r="r" b="b"/>
              <a:pathLst>
                <a:path w="19482" h="20740" extrusionOk="0">
                  <a:moveTo>
                    <a:pt x="17788" y="9940"/>
                  </a:moveTo>
                  <a:cubicBezTo>
                    <a:pt x="15247" y="7780"/>
                    <a:pt x="13976" y="3460"/>
                    <a:pt x="11435" y="2380"/>
                  </a:cubicBezTo>
                  <a:cubicBezTo>
                    <a:pt x="10165" y="2380"/>
                    <a:pt x="0" y="-860"/>
                    <a:pt x="0" y="220"/>
                  </a:cubicBezTo>
                  <a:cubicBezTo>
                    <a:pt x="1271" y="4540"/>
                    <a:pt x="3812" y="6700"/>
                    <a:pt x="6353" y="9940"/>
                  </a:cubicBezTo>
                  <a:cubicBezTo>
                    <a:pt x="8894" y="13180"/>
                    <a:pt x="5082" y="17500"/>
                    <a:pt x="8894" y="20740"/>
                  </a:cubicBezTo>
                  <a:cubicBezTo>
                    <a:pt x="10165" y="19660"/>
                    <a:pt x="11435" y="16420"/>
                    <a:pt x="12706" y="14260"/>
                  </a:cubicBezTo>
                  <a:cubicBezTo>
                    <a:pt x="15247" y="13180"/>
                    <a:pt x="16518" y="14260"/>
                    <a:pt x="17788" y="14260"/>
                  </a:cubicBezTo>
                  <a:cubicBezTo>
                    <a:pt x="21600" y="14260"/>
                    <a:pt x="17788" y="9940"/>
                    <a:pt x="17788" y="9940"/>
                  </a:cubicBezTo>
                  <a:cubicBezTo>
                    <a:pt x="16518" y="8860"/>
                    <a:pt x="17788" y="9940"/>
                    <a:pt x="17788" y="99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8" name="Shape 2087">
              <a:extLst>
                <a:ext uri="{FF2B5EF4-FFF2-40B4-BE49-F238E27FC236}">
                  <a16:creationId xmlns:a16="http://schemas.microsoft.com/office/drawing/2014/main" id="{EB43E9A0-10DC-5C9B-49A2-5A9829514DC9}"/>
                </a:ext>
              </a:extLst>
            </p:cNvPr>
            <p:cNvSpPr/>
            <p:nvPr/>
          </p:nvSpPr>
          <p:spPr>
            <a:xfrm>
              <a:off x="6431876" y="2086135"/>
              <a:ext cx="65175" cy="60697"/>
            </a:xfrm>
            <a:custGeom>
              <a:avLst/>
              <a:gdLst/>
              <a:ahLst/>
              <a:cxnLst>
                <a:cxn ang="0">
                  <a:pos x="wd2" y="hd2"/>
                </a:cxn>
                <a:cxn ang="5400000">
                  <a:pos x="wd2" y="hd2"/>
                </a:cxn>
                <a:cxn ang="10800000">
                  <a:pos x="wd2" y="hd2"/>
                </a:cxn>
                <a:cxn ang="16200000">
                  <a:pos x="wd2" y="hd2"/>
                </a:cxn>
              </a:cxnLst>
              <a:rect l="0" t="0" r="r" b="b"/>
              <a:pathLst>
                <a:path w="21600" h="19440" extrusionOk="0">
                  <a:moveTo>
                    <a:pt x="15120" y="17280"/>
                  </a:moveTo>
                  <a:cubicBezTo>
                    <a:pt x="12960" y="15120"/>
                    <a:pt x="12960" y="15120"/>
                    <a:pt x="15120" y="12960"/>
                  </a:cubicBezTo>
                  <a:cubicBezTo>
                    <a:pt x="17280" y="10800"/>
                    <a:pt x="19440" y="8640"/>
                    <a:pt x="21600" y="6480"/>
                  </a:cubicBezTo>
                  <a:cubicBezTo>
                    <a:pt x="21600" y="6480"/>
                    <a:pt x="17280" y="2160"/>
                    <a:pt x="17280" y="0"/>
                  </a:cubicBezTo>
                  <a:cubicBezTo>
                    <a:pt x="17280" y="8640"/>
                    <a:pt x="6480" y="-2160"/>
                    <a:pt x="6480" y="6480"/>
                  </a:cubicBezTo>
                  <a:cubicBezTo>
                    <a:pt x="6480" y="10800"/>
                    <a:pt x="2160" y="15120"/>
                    <a:pt x="0" y="17280"/>
                  </a:cubicBezTo>
                  <a:cubicBezTo>
                    <a:pt x="0" y="19440"/>
                    <a:pt x="4320" y="17280"/>
                    <a:pt x="6480" y="17280"/>
                  </a:cubicBezTo>
                  <a:cubicBezTo>
                    <a:pt x="10800" y="17280"/>
                    <a:pt x="12960" y="17280"/>
                    <a:pt x="15120" y="19440"/>
                  </a:cubicBezTo>
                  <a:cubicBezTo>
                    <a:pt x="15120" y="19440"/>
                    <a:pt x="15120" y="17280"/>
                    <a:pt x="15120" y="17280"/>
                  </a:cubicBezTo>
                  <a:cubicBezTo>
                    <a:pt x="12960" y="15120"/>
                    <a:pt x="15120" y="17280"/>
                    <a:pt x="15120" y="17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69" name="Shape 2088">
              <a:extLst>
                <a:ext uri="{FF2B5EF4-FFF2-40B4-BE49-F238E27FC236}">
                  <a16:creationId xmlns:a16="http://schemas.microsoft.com/office/drawing/2014/main" id="{FFC65329-6BED-7C91-7A95-81693DEB654A}"/>
                </a:ext>
              </a:extLst>
            </p:cNvPr>
            <p:cNvSpPr/>
            <p:nvPr/>
          </p:nvSpPr>
          <p:spPr>
            <a:xfrm>
              <a:off x="6239688" y="2185048"/>
              <a:ext cx="194448" cy="121119"/>
            </a:xfrm>
            <a:custGeom>
              <a:avLst/>
              <a:gdLst/>
              <a:ahLst/>
              <a:cxnLst>
                <a:cxn ang="0">
                  <a:pos x="wd2" y="hd2"/>
                </a:cxn>
                <a:cxn ang="5400000">
                  <a:pos x="wd2" y="hd2"/>
                </a:cxn>
                <a:cxn ang="10800000">
                  <a:pos x="wd2" y="hd2"/>
                </a:cxn>
                <a:cxn ang="16200000">
                  <a:pos x="wd2" y="hd2"/>
                </a:cxn>
              </a:cxnLst>
              <a:rect l="0" t="0" r="r" b="b"/>
              <a:pathLst>
                <a:path w="19881" h="20781" extrusionOk="0">
                  <a:moveTo>
                    <a:pt x="10904" y="4547"/>
                  </a:moveTo>
                  <a:cubicBezTo>
                    <a:pt x="8204" y="4547"/>
                    <a:pt x="1454" y="6821"/>
                    <a:pt x="779" y="0"/>
                  </a:cubicBezTo>
                  <a:cubicBezTo>
                    <a:pt x="104" y="2274"/>
                    <a:pt x="-571" y="4547"/>
                    <a:pt x="779" y="5684"/>
                  </a:cubicBezTo>
                  <a:cubicBezTo>
                    <a:pt x="1454" y="6821"/>
                    <a:pt x="2129" y="7958"/>
                    <a:pt x="1454" y="9095"/>
                  </a:cubicBezTo>
                  <a:cubicBezTo>
                    <a:pt x="779" y="10232"/>
                    <a:pt x="104" y="10232"/>
                    <a:pt x="104" y="12505"/>
                  </a:cubicBezTo>
                  <a:cubicBezTo>
                    <a:pt x="779" y="14779"/>
                    <a:pt x="1454" y="15916"/>
                    <a:pt x="1454" y="19326"/>
                  </a:cubicBezTo>
                  <a:cubicBezTo>
                    <a:pt x="2804" y="19326"/>
                    <a:pt x="4154" y="19326"/>
                    <a:pt x="5504" y="19326"/>
                  </a:cubicBezTo>
                  <a:cubicBezTo>
                    <a:pt x="6854" y="19326"/>
                    <a:pt x="8879" y="21600"/>
                    <a:pt x="10229" y="20463"/>
                  </a:cubicBezTo>
                  <a:cubicBezTo>
                    <a:pt x="11579" y="20463"/>
                    <a:pt x="12929" y="18189"/>
                    <a:pt x="13604" y="17053"/>
                  </a:cubicBezTo>
                  <a:cubicBezTo>
                    <a:pt x="14954" y="14779"/>
                    <a:pt x="16304" y="15916"/>
                    <a:pt x="18329" y="15916"/>
                  </a:cubicBezTo>
                  <a:cubicBezTo>
                    <a:pt x="17654" y="13642"/>
                    <a:pt x="17654" y="12505"/>
                    <a:pt x="18329" y="9095"/>
                  </a:cubicBezTo>
                  <a:cubicBezTo>
                    <a:pt x="19004" y="6821"/>
                    <a:pt x="21029" y="4547"/>
                    <a:pt x="19004" y="3411"/>
                  </a:cubicBezTo>
                  <a:cubicBezTo>
                    <a:pt x="17654" y="2274"/>
                    <a:pt x="15629" y="1137"/>
                    <a:pt x="13604" y="2274"/>
                  </a:cubicBezTo>
                  <a:cubicBezTo>
                    <a:pt x="12254" y="2274"/>
                    <a:pt x="11579" y="4547"/>
                    <a:pt x="10904" y="454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0" name="Shape 2089">
              <a:extLst>
                <a:ext uri="{FF2B5EF4-FFF2-40B4-BE49-F238E27FC236}">
                  <a16:creationId xmlns:a16="http://schemas.microsoft.com/office/drawing/2014/main" id="{BF07B05C-1133-D31D-7FDF-886E97A24610}"/>
                </a:ext>
              </a:extLst>
            </p:cNvPr>
            <p:cNvSpPr/>
            <p:nvPr/>
          </p:nvSpPr>
          <p:spPr>
            <a:xfrm>
              <a:off x="6035638" y="2153576"/>
              <a:ext cx="109045" cy="98912"/>
            </a:xfrm>
            <a:custGeom>
              <a:avLst/>
              <a:gdLst/>
              <a:ahLst/>
              <a:cxnLst>
                <a:cxn ang="0">
                  <a:pos x="wd2" y="hd2"/>
                </a:cxn>
                <a:cxn ang="5400000">
                  <a:pos x="wd2" y="hd2"/>
                </a:cxn>
                <a:cxn ang="10800000">
                  <a:pos x="wd2" y="hd2"/>
                </a:cxn>
                <a:cxn ang="16200000">
                  <a:pos x="wd2" y="hd2"/>
                </a:cxn>
              </a:cxnLst>
              <a:rect l="0" t="0" r="r" b="b"/>
              <a:pathLst>
                <a:path w="19774" h="21600" extrusionOk="0">
                  <a:moveTo>
                    <a:pt x="10903" y="0"/>
                  </a:moveTo>
                  <a:cubicBezTo>
                    <a:pt x="8503" y="0"/>
                    <a:pt x="-1097" y="0"/>
                    <a:pt x="103" y="2880"/>
                  </a:cubicBezTo>
                  <a:cubicBezTo>
                    <a:pt x="103" y="4320"/>
                    <a:pt x="2503" y="10080"/>
                    <a:pt x="3703" y="11520"/>
                  </a:cubicBezTo>
                  <a:cubicBezTo>
                    <a:pt x="6103" y="15840"/>
                    <a:pt x="10903" y="18720"/>
                    <a:pt x="14503" y="21600"/>
                  </a:cubicBezTo>
                  <a:cubicBezTo>
                    <a:pt x="14503" y="18720"/>
                    <a:pt x="14503" y="15840"/>
                    <a:pt x="16903" y="14400"/>
                  </a:cubicBezTo>
                  <a:cubicBezTo>
                    <a:pt x="19303" y="12960"/>
                    <a:pt x="20503" y="11520"/>
                    <a:pt x="19303" y="8640"/>
                  </a:cubicBezTo>
                  <a:cubicBezTo>
                    <a:pt x="19303" y="5760"/>
                    <a:pt x="19303" y="4320"/>
                    <a:pt x="18103" y="2880"/>
                  </a:cubicBezTo>
                  <a:cubicBezTo>
                    <a:pt x="15703" y="1440"/>
                    <a:pt x="13303" y="0"/>
                    <a:pt x="1090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1" name="Shape 2090">
              <a:extLst>
                <a:ext uri="{FF2B5EF4-FFF2-40B4-BE49-F238E27FC236}">
                  <a16:creationId xmlns:a16="http://schemas.microsoft.com/office/drawing/2014/main" id="{46508516-E78D-A9CF-B53B-6D8099D6FFDE}"/>
                </a:ext>
              </a:extLst>
            </p:cNvPr>
            <p:cNvSpPr/>
            <p:nvPr/>
          </p:nvSpPr>
          <p:spPr>
            <a:xfrm>
              <a:off x="6114991" y="2111234"/>
              <a:ext cx="142193" cy="172725"/>
            </a:xfrm>
            <a:custGeom>
              <a:avLst/>
              <a:gdLst/>
              <a:ahLst/>
              <a:cxnLst>
                <a:cxn ang="0">
                  <a:pos x="wd2" y="hd2"/>
                </a:cxn>
                <a:cxn ang="5400000">
                  <a:pos x="wd2" y="hd2"/>
                </a:cxn>
                <a:cxn ang="10800000">
                  <a:pos x="wd2" y="hd2"/>
                </a:cxn>
                <a:cxn ang="16200000">
                  <a:pos x="wd2" y="hd2"/>
                </a:cxn>
              </a:cxnLst>
              <a:rect l="0" t="0" r="r" b="b"/>
              <a:pathLst>
                <a:path w="21025" h="21008" extrusionOk="0">
                  <a:moveTo>
                    <a:pt x="20618" y="14608"/>
                  </a:moveTo>
                  <a:cubicBezTo>
                    <a:pt x="21600" y="13808"/>
                    <a:pt x="20618" y="13808"/>
                    <a:pt x="19636" y="13008"/>
                  </a:cubicBezTo>
                  <a:cubicBezTo>
                    <a:pt x="18655" y="12208"/>
                    <a:pt x="18655" y="11408"/>
                    <a:pt x="18655" y="9808"/>
                  </a:cubicBezTo>
                  <a:cubicBezTo>
                    <a:pt x="20618" y="7408"/>
                    <a:pt x="17673" y="7408"/>
                    <a:pt x="14727" y="7408"/>
                  </a:cubicBezTo>
                  <a:cubicBezTo>
                    <a:pt x="13745" y="7408"/>
                    <a:pt x="13745" y="6608"/>
                    <a:pt x="13745" y="5808"/>
                  </a:cubicBezTo>
                  <a:cubicBezTo>
                    <a:pt x="12764" y="4208"/>
                    <a:pt x="11782" y="5008"/>
                    <a:pt x="11782" y="3408"/>
                  </a:cubicBezTo>
                  <a:cubicBezTo>
                    <a:pt x="10800" y="1008"/>
                    <a:pt x="8836" y="-592"/>
                    <a:pt x="4909" y="208"/>
                  </a:cubicBezTo>
                  <a:cubicBezTo>
                    <a:pt x="1964" y="1008"/>
                    <a:pt x="1964" y="1008"/>
                    <a:pt x="1964" y="2608"/>
                  </a:cubicBezTo>
                  <a:cubicBezTo>
                    <a:pt x="2945" y="5008"/>
                    <a:pt x="3927" y="7408"/>
                    <a:pt x="3927" y="10608"/>
                  </a:cubicBezTo>
                  <a:cubicBezTo>
                    <a:pt x="4909" y="13008"/>
                    <a:pt x="1964" y="12208"/>
                    <a:pt x="982" y="14608"/>
                  </a:cubicBezTo>
                  <a:cubicBezTo>
                    <a:pt x="0" y="15408"/>
                    <a:pt x="0" y="17008"/>
                    <a:pt x="0" y="17808"/>
                  </a:cubicBezTo>
                  <a:cubicBezTo>
                    <a:pt x="0" y="19408"/>
                    <a:pt x="2945" y="20208"/>
                    <a:pt x="3927" y="21008"/>
                  </a:cubicBezTo>
                  <a:cubicBezTo>
                    <a:pt x="3927" y="20208"/>
                    <a:pt x="3927" y="17808"/>
                    <a:pt x="5891" y="17808"/>
                  </a:cubicBezTo>
                  <a:cubicBezTo>
                    <a:pt x="7855" y="17808"/>
                    <a:pt x="8836" y="18608"/>
                    <a:pt x="9818" y="20208"/>
                  </a:cubicBezTo>
                  <a:cubicBezTo>
                    <a:pt x="10800" y="20208"/>
                    <a:pt x="17673" y="18608"/>
                    <a:pt x="19636" y="18608"/>
                  </a:cubicBezTo>
                  <a:cubicBezTo>
                    <a:pt x="17673" y="17008"/>
                    <a:pt x="19636" y="16208"/>
                    <a:pt x="20618" y="14608"/>
                  </a:cubicBezTo>
                  <a:cubicBezTo>
                    <a:pt x="21600" y="13808"/>
                    <a:pt x="19636" y="15408"/>
                    <a:pt x="20618" y="1460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2" name="Shape 2091">
              <a:extLst>
                <a:ext uri="{FF2B5EF4-FFF2-40B4-BE49-F238E27FC236}">
                  <a16:creationId xmlns:a16="http://schemas.microsoft.com/office/drawing/2014/main" id="{40B581AA-C77F-EC91-0290-6BE824282E5E}"/>
                </a:ext>
              </a:extLst>
            </p:cNvPr>
            <p:cNvSpPr/>
            <p:nvPr/>
          </p:nvSpPr>
          <p:spPr>
            <a:xfrm>
              <a:off x="6047358" y="2006276"/>
              <a:ext cx="210359" cy="120328"/>
            </a:xfrm>
            <a:custGeom>
              <a:avLst/>
              <a:gdLst/>
              <a:ahLst/>
              <a:cxnLst>
                <a:cxn ang="0">
                  <a:pos x="wd2" y="hd2"/>
                </a:cxn>
                <a:cxn ang="5400000">
                  <a:pos x="wd2" y="hd2"/>
                </a:cxn>
                <a:cxn ang="10800000">
                  <a:pos x="wd2" y="hd2"/>
                </a:cxn>
                <a:cxn ang="16200000">
                  <a:pos x="wd2" y="hd2"/>
                </a:cxn>
              </a:cxnLst>
              <a:rect l="0" t="0" r="r" b="b"/>
              <a:pathLst>
                <a:path w="19629" h="20646" extrusionOk="0">
                  <a:moveTo>
                    <a:pt x="17485" y="2457"/>
                  </a:moveTo>
                  <a:cubicBezTo>
                    <a:pt x="17485" y="1320"/>
                    <a:pt x="14400" y="1320"/>
                    <a:pt x="13782" y="183"/>
                  </a:cubicBezTo>
                  <a:cubicBezTo>
                    <a:pt x="11314" y="-954"/>
                    <a:pt x="12548" y="3593"/>
                    <a:pt x="10697" y="3593"/>
                  </a:cubicBezTo>
                  <a:cubicBezTo>
                    <a:pt x="10080" y="2457"/>
                    <a:pt x="9462" y="3593"/>
                    <a:pt x="8228" y="3593"/>
                  </a:cubicBezTo>
                  <a:cubicBezTo>
                    <a:pt x="7611" y="3593"/>
                    <a:pt x="7611" y="5867"/>
                    <a:pt x="6994" y="5867"/>
                  </a:cubicBezTo>
                  <a:cubicBezTo>
                    <a:pt x="4525" y="8141"/>
                    <a:pt x="3291" y="5867"/>
                    <a:pt x="2057" y="3593"/>
                  </a:cubicBezTo>
                  <a:cubicBezTo>
                    <a:pt x="2057" y="4730"/>
                    <a:pt x="2057" y="5867"/>
                    <a:pt x="2057" y="7004"/>
                  </a:cubicBezTo>
                  <a:cubicBezTo>
                    <a:pt x="1440" y="8141"/>
                    <a:pt x="822" y="5867"/>
                    <a:pt x="822" y="8141"/>
                  </a:cubicBezTo>
                  <a:cubicBezTo>
                    <a:pt x="822" y="11551"/>
                    <a:pt x="-1029" y="13825"/>
                    <a:pt x="822" y="16099"/>
                  </a:cubicBezTo>
                  <a:cubicBezTo>
                    <a:pt x="2057" y="18372"/>
                    <a:pt x="3908" y="20646"/>
                    <a:pt x="5760" y="20646"/>
                  </a:cubicBezTo>
                  <a:cubicBezTo>
                    <a:pt x="8228" y="20646"/>
                    <a:pt x="9462" y="17235"/>
                    <a:pt x="11931" y="18372"/>
                  </a:cubicBezTo>
                  <a:cubicBezTo>
                    <a:pt x="11931" y="17235"/>
                    <a:pt x="13782" y="17235"/>
                    <a:pt x="14400" y="16099"/>
                  </a:cubicBezTo>
                  <a:cubicBezTo>
                    <a:pt x="15017" y="13825"/>
                    <a:pt x="15634" y="11551"/>
                    <a:pt x="16868" y="9278"/>
                  </a:cubicBezTo>
                  <a:cubicBezTo>
                    <a:pt x="17485" y="7004"/>
                    <a:pt x="18102" y="7004"/>
                    <a:pt x="19337" y="5867"/>
                  </a:cubicBezTo>
                  <a:cubicBezTo>
                    <a:pt x="20571" y="3593"/>
                    <a:pt x="17485" y="3593"/>
                    <a:pt x="17485" y="2457"/>
                  </a:cubicBezTo>
                  <a:cubicBezTo>
                    <a:pt x="17485" y="2457"/>
                    <a:pt x="17485" y="3593"/>
                    <a:pt x="17485" y="24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3" name="Shape 2092">
              <a:extLst>
                <a:ext uri="{FF2B5EF4-FFF2-40B4-BE49-F238E27FC236}">
                  <a16:creationId xmlns:a16="http://schemas.microsoft.com/office/drawing/2014/main" id="{59F88195-5418-D8B1-D458-9A3B45366912}"/>
                </a:ext>
              </a:extLst>
            </p:cNvPr>
            <p:cNvSpPr/>
            <p:nvPr/>
          </p:nvSpPr>
          <p:spPr>
            <a:xfrm>
              <a:off x="6172228" y="2283960"/>
              <a:ext cx="201218" cy="205357"/>
            </a:xfrm>
            <a:custGeom>
              <a:avLst/>
              <a:gdLst/>
              <a:ahLst/>
              <a:cxnLst>
                <a:cxn ang="0">
                  <a:pos x="wd2" y="hd2"/>
                </a:cxn>
                <a:cxn ang="5400000">
                  <a:pos x="wd2" y="hd2"/>
                </a:cxn>
                <a:cxn ang="10800000">
                  <a:pos x="wd2" y="hd2"/>
                </a:cxn>
                <a:cxn ang="16200000">
                  <a:pos x="wd2" y="hd2"/>
                </a:cxn>
              </a:cxnLst>
              <a:rect l="0" t="0" r="r" b="b"/>
              <a:pathLst>
                <a:path w="21252" h="20991" extrusionOk="0">
                  <a:moveTo>
                    <a:pt x="21252" y="0"/>
                  </a:moveTo>
                  <a:cubicBezTo>
                    <a:pt x="19162" y="1350"/>
                    <a:pt x="18465" y="2700"/>
                    <a:pt x="15678" y="2025"/>
                  </a:cubicBezTo>
                  <a:cubicBezTo>
                    <a:pt x="14284" y="1350"/>
                    <a:pt x="10104" y="675"/>
                    <a:pt x="8710" y="1350"/>
                  </a:cubicBezTo>
                  <a:cubicBezTo>
                    <a:pt x="8710" y="3375"/>
                    <a:pt x="6620" y="2025"/>
                    <a:pt x="5923" y="2700"/>
                  </a:cubicBezTo>
                  <a:cubicBezTo>
                    <a:pt x="5226" y="3375"/>
                    <a:pt x="4529" y="3375"/>
                    <a:pt x="3833" y="3375"/>
                  </a:cubicBezTo>
                  <a:cubicBezTo>
                    <a:pt x="2439" y="4050"/>
                    <a:pt x="2439" y="4725"/>
                    <a:pt x="2439" y="5400"/>
                  </a:cubicBezTo>
                  <a:cubicBezTo>
                    <a:pt x="1742" y="6075"/>
                    <a:pt x="1742" y="6750"/>
                    <a:pt x="1046" y="7425"/>
                  </a:cubicBezTo>
                  <a:cubicBezTo>
                    <a:pt x="-348" y="8775"/>
                    <a:pt x="-348" y="8775"/>
                    <a:pt x="1046" y="10125"/>
                  </a:cubicBezTo>
                  <a:cubicBezTo>
                    <a:pt x="1742" y="10800"/>
                    <a:pt x="2439" y="10800"/>
                    <a:pt x="2439" y="11475"/>
                  </a:cubicBezTo>
                  <a:cubicBezTo>
                    <a:pt x="2439" y="12825"/>
                    <a:pt x="2439" y="13500"/>
                    <a:pt x="3136" y="14850"/>
                  </a:cubicBezTo>
                  <a:cubicBezTo>
                    <a:pt x="3136" y="15525"/>
                    <a:pt x="3136" y="16200"/>
                    <a:pt x="3833" y="16875"/>
                  </a:cubicBezTo>
                  <a:cubicBezTo>
                    <a:pt x="5226" y="17550"/>
                    <a:pt x="3833" y="18225"/>
                    <a:pt x="4529" y="18900"/>
                  </a:cubicBezTo>
                  <a:cubicBezTo>
                    <a:pt x="4529" y="20250"/>
                    <a:pt x="5226" y="19575"/>
                    <a:pt x="5226" y="19575"/>
                  </a:cubicBezTo>
                  <a:cubicBezTo>
                    <a:pt x="6620" y="19575"/>
                    <a:pt x="6620" y="20250"/>
                    <a:pt x="6620" y="20925"/>
                  </a:cubicBezTo>
                  <a:cubicBezTo>
                    <a:pt x="7317" y="20925"/>
                    <a:pt x="8013" y="20250"/>
                    <a:pt x="8013" y="20250"/>
                  </a:cubicBezTo>
                  <a:cubicBezTo>
                    <a:pt x="8710" y="19575"/>
                    <a:pt x="8710" y="20925"/>
                    <a:pt x="8710" y="20925"/>
                  </a:cubicBezTo>
                  <a:cubicBezTo>
                    <a:pt x="9407" y="21600"/>
                    <a:pt x="8710" y="16875"/>
                    <a:pt x="8710" y="17550"/>
                  </a:cubicBezTo>
                  <a:cubicBezTo>
                    <a:pt x="8710" y="16875"/>
                    <a:pt x="10800" y="17550"/>
                    <a:pt x="11497" y="17550"/>
                  </a:cubicBezTo>
                  <a:cubicBezTo>
                    <a:pt x="11497" y="16875"/>
                    <a:pt x="9407" y="16200"/>
                    <a:pt x="9407" y="15525"/>
                  </a:cubicBezTo>
                  <a:cubicBezTo>
                    <a:pt x="10104" y="14175"/>
                    <a:pt x="11497" y="15525"/>
                    <a:pt x="11497" y="16200"/>
                  </a:cubicBezTo>
                  <a:cubicBezTo>
                    <a:pt x="12891" y="16875"/>
                    <a:pt x="12194" y="15525"/>
                    <a:pt x="12194" y="14850"/>
                  </a:cubicBezTo>
                  <a:cubicBezTo>
                    <a:pt x="12194" y="14175"/>
                    <a:pt x="14284" y="15525"/>
                    <a:pt x="14284" y="15525"/>
                  </a:cubicBezTo>
                  <a:cubicBezTo>
                    <a:pt x="14284" y="14850"/>
                    <a:pt x="12891" y="12825"/>
                    <a:pt x="12891" y="12825"/>
                  </a:cubicBezTo>
                  <a:cubicBezTo>
                    <a:pt x="12194" y="12150"/>
                    <a:pt x="10800" y="12150"/>
                    <a:pt x="10104" y="11475"/>
                  </a:cubicBezTo>
                  <a:cubicBezTo>
                    <a:pt x="10104" y="11475"/>
                    <a:pt x="10104" y="10125"/>
                    <a:pt x="10104" y="10800"/>
                  </a:cubicBezTo>
                  <a:cubicBezTo>
                    <a:pt x="9407" y="9450"/>
                    <a:pt x="7317" y="8100"/>
                    <a:pt x="7317" y="6750"/>
                  </a:cubicBezTo>
                  <a:cubicBezTo>
                    <a:pt x="8013" y="4050"/>
                    <a:pt x="10104" y="6750"/>
                    <a:pt x="10800" y="7425"/>
                  </a:cubicBezTo>
                  <a:cubicBezTo>
                    <a:pt x="10800" y="7425"/>
                    <a:pt x="10800" y="6750"/>
                    <a:pt x="10800" y="6750"/>
                  </a:cubicBezTo>
                  <a:cubicBezTo>
                    <a:pt x="11497" y="6075"/>
                    <a:pt x="12194" y="6750"/>
                    <a:pt x="12194" y="7425"/>
                  </a:cubicBezTo>
                  <a:cubicBezTo>
                    <a:pt x="12194" y="7425"/>
                    <a:pt x="11497" y="6075"/>
                    <a:pt x="11497" y="6075"/>
                  </a:cubicBezTo>
                  <a:cubicBezTo>
                    <a:pt x="12194" y="6075"/>
                    <a:pt x="13587" y="6750"/>
                    <a:pt x="14284" y="6750"/>
                  </a:cubicBezTo>
                  <a:cubicBezTo>
                    <a:pt x="14284" y="6075"/>
                    <a:pt x="11497" y="6075"/>
                    <a:pt x="11497" y="4725"/>
                  </a:cubicBezTo>
                  <a:cubicBezTo>
                    <a:pt x="11497" y="4725"/>
                    <a:pt x="14284" y="3375"/>
                    <a:pt x="14981" y="3375"/>
                  </a:cubicBezTo>
                  <a:cubicBezTo>
                    <a:pt x="14981" y="3375"/>
                    <a:pt x="14284" y="4725"/>
                    <a:pt x="14284" y="4725"/>
                  </a:cubicBezTo>
                  <a:cubicBezTo>
                    <a:pt x="14284" y="4725"/>
                    <a:pt x="16375" y="3375"/>
                    <a:pt x="17071" y="3375"/>
                  </a:cubicBezTo>
                  <a:cubicBezTo>
                    <a:pt x="17768" y="3375"/>
                    <a:pt x="18465" y="4050"/>
                    <a:pt x="19858" y="4725"/>
                  </a:cubicBezTo>
                  <a:cubicBezTo>
                    <a:pt x="20555" y="3375"/>
                    <a:pt x="21252" y="1350"/>
                    <a:pt x="21252" y="0"/>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4" name="Shape 2093">
              <a:extLst>
                <a:ext uri="{FF2B5EF4-FFF2-40B4-BE49-F238E27FC236}">
                  <a16:creationId xmlns:a16="http://schemas.microsoft.com/office/drawing/2014/main" id="{966A9200-A6B6-899B-F39D-73B53CBEF070}"/>
                </a:ext>
              </a:extLst>
            </p:cNvPr>
            <p:cNvSpPr/>
            <p:nvPr/>
          </p:nvSpPr>
          <p:spPr>
            <a:xfrm>
              <a:off x="6357966" y="2275831"/>
              <a:ext cx="94140" cy="60450"/>
            </a:xfrm>
            <a:custGeom>
              <a:avLst/>
              <a:gdLst/>
              <a:ahLst/>
              <a:cxnLst>
                <a:cxn ang="0">
                  <a:pos x="wd2" y="hd2"/>
                </a:cxn>
                <a:cxn ang="5400000">
                  <a:pos x="wd2" y="hd2"/>
                </a:cxn>
                <a:cxn ang="10800000">
                  <a:pos x="wd2" y="hd2"/>
                </a:cxn>
                <a:cxn ang="16200000">
                  <a:pos x="wd2" y="hd2"/>
                </a:cxn>
              </a:cxnLst>
              <a:rect l="0" t="0" r="r" b="b"/>
              <a:pathLst>
                <a:path w="20563" h="20029" extrusionOk="0">
                  <a:moveTo>
                    <a:pt x="20563" y="11929"/>
                  </a:moveTo>
                  <a:cubicBezTo>
                    <a:pt x="17683" y="7609"/>
                    <a:pt x="13363" y="7609"/>
                    <a:pt x="13363" y="1129"/>
                  </a:cubicBezTo>
                  <a:cubicBezTo>
                    <a:pt x="6163" y="-1031"/>
                    <a:pt x="4723" y="-1031"/>
                    <a:pt x="1843" y="9769"/>
                  </a:cubicBezTo>
                  <a:cubicBezTo>
                    <a:pt x="1843" y="11929"/>
                    <a:pt x="-1037" y="18409"/>
                    <a:pt x="403" y="18409"/>
                  </a:cubicBezTo>
                  <a:cubicBezTo>
                    <a:pt x="3283" y="20569"/>
                    <a:pt x="6163" y="20569"/>
                    <a:pt x="7603" y="18409"/>
                  </a:cubicBezTo>
                  <a:cubicBezTo>
                    <a:pt x="10483" y="16249"/>
                    <a:pt x="11923" y="14089"/>
                    <a:pt x="14803" y="14089"/>
                  </a:cubicBezTo>
                  <a:cubicBezTo>
                    <a:pt x="14803" y="14089"/>
                    <a:pt x="20563" y="14089"/>
                    <a:pt x="20563" y="11929"/>
                  </a:cubicBezTo>
                  <a:cubicBezTo>
                    <a:pt x="19123" y="11929"/>
                    <a:pt x="20563" y="14089"/>
                    <a:pt x="20563" y="119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5" name="Shape 2094">
              <a:extLst>
                <a:ext uri="{FF2B5EF4-FFF2-40B4-BE49-F238E27FC236}">
                  <a16:creationId xmlns:a16="http://schemas.microsoft.com/office/drawing/2014/main" id="{801A5C59-C57E-BBC4-5B44-41DE81BAD025}"/>
                </a:ext>
              </a:extLst>
            </p:cNvPr>
            <p:cNvSpPr/>
            <p:nvPr/>
          </p:nvSpPr>
          <p:spPr>
            <a:xfrm>
              <a:off x="6141962" y="2258464"/>
              <a:ext cx="51005" cy="113171"/>
            </a:xfrm>
            <a:custGeom>
              <a:avLst/>
              <a:gdLst/>
              <a:ahLst/>
              <a:cxnLst>
                <a:cxn ang="0">
                  <a:pos x="wd2" y="hd2"/>
                </a:cxn>
                <a:cxn ang="5400000">
                  <a:pos x="wd2" y="hd2"/>
                </a:cxn>
                <a:cxn ang="10800000">
                  <a:pos x="wd2" y="hd2"/>
                </a:cxn>
                <a:cxn ang="16200000">
                  <a:pos x="wd2" y="hd2"/>
                </a:cxn>
              </a:cxnLst>
              <a:rect l="0" t="0" r="r" b="b"/>
              <a:pathLst>
                <a:path w="18854" h="20517" extrusionOk="0">
                  <a:moveTo>
                    <a:pt x="14400" y="18117"/>
                  </a:moveTo>
                  <a:cubicBezTo>
                    <a:pt x="16800" y="15717"/>
                    <a:pt x="21600" y="13317"/>
                    <a:pt x="16800" y="12117"/>
                  </a:cubicBezTo>
                  <a:cubicBezTo>
                    <a:pt x="14400" y="10917"/>
                    <a:pt x="12000" y="8517"/>
                    <a:pt x="14400" y="6117"/>
                  </a:cubicBezTo>
                  <a:cubicBezTo>
                    <a:pt x="14400" y="6117"/>
                    <a:pt x="16800" y="3717"/>
                    <a:pt x="16800" y="3717"/>
                  </a:cubicBezTo>
                  <a:cubicBezTo>
                    <a:pt x="14400" y="2517"/>
                    <a:pt x="9600" y="117"/>
                    <a:pt x="7200" y="117"/>
                  </a:cubicBezTo>
                  <a:cubicBezTo>
                    <a:pt x="0" y="-1083"/>
                    <a:pt x="0" y="7317"/>
                    <a:pt x="0" y="9717"/>
                  </a:cubicBezTo>
                  <a:cubicBezTo>
                    <a:pt x="0" y="14517"/>
                    <a:pt x="4800" y="16917"/>
                    <a:pt x="9600" y="20517"/>
                  </a:cubicBezTo>
                  <a:cubicBezTo>
                    <a:pt x="12000" y="19317"/>
                    <a:pt x="14400" y="18117"/>
                    <a:pt x="14400" y="18117"/>
                  </a:cubicBezTo>
                  <a:cubicBezTo>
                    <a:pt x="16800" y="15717"/>
                    <a:pt x="14400" y="18117"/>
                    <a:pt x="14400" y="181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6" name="Shape 2095">
              <a:extLst>
                <a:ext uri="{FF2B5EF4-FFF2-40B4-BE49-F238E27FC236}">
                  <a16:creationId xmlns:a16="http://schemas.microsoft.com/office/drawing/2014/main" id="{98B2385E-3E97-6748-4777-78482B331FAF}"/>
                </a:ext>
              </a:extLst>
            </p:cNvPr>
            <p:cNvSpPr/>
            <p:nvPr/>
          </p:nvSpPr>
          <p:spPr>
            <a:xfrm>
              <a:off x="6179653" y="2265977"/>
              <a:ext cx="72571" cy="58450"/>
            </a:xfrm>
            <a:custGeom>
              <a:avLst/>
              <a:gdLst/>
              <a:ahLst/>
              <a:cxnLst>
                <a:cxn ang="0">
                  <a:pos x="wd2" y="hd2"/>
                </a:cxn>
                <a:cxn ang="5400000">
                  <a:pos x="wd2" y="hd2"/>
                </a:cxn>
                <a:cxn ang="10800000">
                  <a:pos x="wd2" y="hd2"/>
                </a:cxn>
                <a:cxn ang="16200000">
                  <a:pos x="wd2" y="hd2"/>
                </a:cxn>
              </a:cxnLst>
              <a:rect l="0" t="0" r="r" b="b"/>
              <a:pathLst>
                <a:path w="18355" h="21600" extrusionOk="0">
                  <a:moveTo>
                    <a:pt x="17270" y="0"/>
                  </a:moveTo>
                  <a:cubicBezTo>
                    <a:pt x="13947" y="0"/>
                    <a:pt x="2316" y="0"/>
                    <a:pt x="2316" y="4800"/>
                  </a:cubicBezTo>
                  <a:cubicBezTo>
                    <a:pt x="-1007" y="9600"/>
                    <a:pt x="-1007" y="19200"/>
                    <a:pt x="3978" y="21600"/>
                  </a:cubicBezTo>
                  <a:cubicBezTo>
                    <a:pt x="5639" y="19200"/>
                    <a:pt x="8962" y="21600"/>
                    <a:pt x="10624" y="19200"/>
                  </a:cubicBezTo>
                  <a:cubicBezTo>
                    <a:pt x="12285" y="19200"/>
                    <a:pt x="13947" y="14400"/>
                    <a:pt x="15608" y="16800"/>
                  </a:cubicBezTo>
                  <a:cubicBezTo>
                    <a:pt x="20593" y="21600"/>
                    <a:pt x="17270" y="2400"/>
                    <a:pt x="17270"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7" name="Shape 2096">
              <a:extLst>
                <a:ext uri="{FF2B5EF4-FFF2-40B4-BE49-F238E27FC236}">
                  <a16:creationId xmlns:a16="http://schemas.microsoft.com/office/drawing/2014/main" id="{D533474B-2CDF-2244-E52B-C14D2EDC588F}"/>
                </a:ext>
              </a:extLst>
            </p:cNvPr>
            <p:cNvSpPr/>
            <p:nvPr/>
          </p:nvSpPr>
          <p:spPr>
            <a:xfrm>
              <a:off x="6925714" y="2304190"/>
              <a:ext cx="99482" cy="98101"/>
            </a:xfrm>
            <a:custGeom>
              <a:avLst/>
              <a:gdLst/>
              <a:ahLst/>
              <a:cxnLst>
                <a:cxn ang="0">
                  <a:pos x="wd2" y="hd2"/>
                </a:cxn>
                <a:cxn ang="5400000">
                  <a:pos x="wd2" y="hd2"/>
                </a:cxn>
                <a:cxn ang="10800000">
                  <a:pos x="wd2" y="hd2"/>
                </a:cxn>
                <a:cxn ang="16200000">
                  <a:pos x="wd2" y="hd2"/>
                </a:cxn>
              </a:cxnLst>
              <a:rect l="0" t="0" r="r" b="b"/>
              <a:pathLst>
                <a:path w="17073" h="20055" extrusionOk="0">
                  <a:moveTo>
                    <a:pt x="17073" y="18900"/>
                  </a:moveTo>
                  <a:cubicBezTo>
                    <a:pt x="17073" y="16200"/>
                    <a:pt x="17073" y="14850"/>
                    <a:pt x="14799" y="13500"/>
                  </a:cubicBezTo>
                  <a:cubicBezTo>
                    <a:pt x="12526" y="12150"/>
                    <a:pt x="14799" y="10800"/>
                    <a:pt x="13662" y="9450"/>
                  </a:cubicBezTo>
                  <a:cubicBezTo>
                    <a:pt x="12526" y="6750"/>
                    <a:pt x="11389" y="8100"/>
                    <a:pt x="11389" y="4050"/>
                  </a:cubicBezTo>
                  <a:cubicBezTo>
                    <a:pt x="11389" y="4050"/>
                    <a:pt x="7978" y="1350"/>
                    <a:pt x="9115" y="0"/>
                  </a:cubicBezTo>
                  <a:cubicBezTo>
                    <a:pt x="5705" y="0"/>
                    <a:pt x="-4527" y="1350"/>
                    <a:pt x="2294" y="8100"/>
                  </a:cubicBezTo>
                  <a:cubicBezTo>
                    <a:pt x="3431" y="9450"/>
                    <a:pt x="4568" y="10800"/>
                    <a:pt x="5705" y="12150"/>
                  </a:cubicBezTo>
                  <a:cubicBezTo>
                    <a:pt x="6841" y="13500"/>
                    <a:pt x="7978" y="13500"/>
                    <a:pt x="9115" y="14850"/>
                  </a:cubicBezTo>
                  <a:cubicBezTo>
                    <a:pt x="11389" y="14850"/>
                    <a:pt x="13662" y="14850"/>
                    <a:pt x="13662" y="17550"/>
                  </a:cubicBezTo>
                  <a:cubicBezTo>
                    <a:pt x="14799" y="18900"/>
                    <a:pt x="15936" y="21600"/>
                    <a:pt x="17073" y="18900"/>
                  </a:cubicBezTo>
                  <a:cubicBezTo>
                    <a:pt x="17073" y="17550"/>
                    <a:pt x="15936" y="20250"/>
                    <a:pt x="17073" y="189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8" name="Shape 2097">
              <a:extLst>
                <a:ext uri="{FF2B5EF4-FFF2-40B4-BE49-F238E27FC236}">
                  <a16:creationId xmlns:a16="http://schemas.microsoft.com/office/drawing/2014/main" id="{769BFB85-7432-32CE-1C30-73B02CD54223}"/>
                </a:ext>
              </a:extLst>
            </p:cNvPr>
            <p:cNvSpPr/>
            <p:nvPr/>
          </p:nvSpPr>
          <p:spPr>
            <a:xfrm>
              <a:off x="6946534" y="2370716"/>
              <a:ext cx="635344" cy="540433"/>
            </a:xfrm>
            <a:custGeom>
              <a:avLst/>
              <a:gdLst/>
              <a:ahLst/>
              <a:cxnLst>
                <a:cxn ang="0">
                  <a:pos x="wd2" y="hd2"/>
                </a:cxn>
                <a:cxn ang="5400000">
                  <a:pos x="wd2" y="hd2"/>
                </a:cxn>
                <a:cxn ang="10800000">
                  <a:pos x="wd2" y="hd2"/>
                </a:cxn>
                <a:cxn ang="16200000">
                  <a:pos x="wd2" y="hd2"/>
                </a:cxn>
              </a:cxnLst>
              <a:rect l="0" t="0" r="r" b="b"/>
              <a:pathLst>
                <a:path w="21056" h="21109" extrusionOk="0">
                  <a:moveTo>
                    <a:pt x="20727" y="18280"/>
                  </a:moveTo>
                  <a:cubicBezTo>
                    <a:pt x="20291" y="18023"/>
                    <a:pt x="20509" y="17509"/>
                    <a:pt x="20291" y="16995"/>
                  </a:cubicBezTo>
                  <a:cubicBezTo>
                    <a:pt x="20291" y="16738"/>
                    <a:pt x="19855" y="16480"/>
                    <a:pt x="19636" y="16223"/>
                  </a:cubicBezTo>
                  <a:cubicBezTo>
                    <a:pt x="19200" y="15966"/>
                    <a:pt x="18982" y="15452"/>
                    <a:pt x="18764" y="14938"/>
                  </a:cubicBezTo>
                  <a:cubicBezTo>
                    <a:pt x="18327" y="14423"/>
                    <a:pt x="18545" y="14423"/>
                    <a:pt x="18982" y="13652"/>
                  </a:cubicBezTo>
                  <a:cubicBezTo>
                    <a:pt x="19200" y="13395"/>
                    <a:pt x="19636" y="12880"/>
                    <a:pt x="19418" y="12366"/>
                  </a:cubicBezTo>
                  <a:cubicBezTo>
                    <a:pt x="19200" y="12109"/>
                    <a:pt x="18545" y="12109"/>
                    <a:pt x="18327" y="12109"/>
                  </a:cubicBezTo>
                  <a:cubicBezTo>
                    <a:pt x="18109" y="11852"/>
                    <a:pt x="18327" y="11338"/>
                    <a:pt x="18327" y="11338"/>
                  </a:cubicBezTo>
                  <a:cubicBezTo>
                    <a:pt x="18109" y="10823"/>
                    <a:pt x="18109" y="10052"/>
                    <a:pt x="18327" y="9795"/>
                  </a:cubicBezTo>
                  <a:cubicBezTo>
                    <a:pt x="18764" y="9280"/>
                    <a:pt x="18109" y="9023"/>
                    <a:pt x="17891" y="8766"/>
                  </a:cubicBezTo>
                  <a:cubicBezTo>
                    <a:pt x="17891" y="8509"/>
                    <a:pt x="18327" y="7738"/>
                    <a:pt x="18545" y="7480"/>
                  </a:cubicBezTo>
                  <a:cubicBezTo>
                    <a:pt x="18545" y="7223"/>
                    <a:pt x="18982" y="4652"/>
                    <a:pt x="18764" y="4652"/>
                  </a:cubicBezTo>
                  <a:cubicBezTo>
                    <a:pt x="18109" y="4652"/>
                    <a:pt x="17891" y="4652"/>
                    <a:pt x="17236" y="4138"/>
                  </a:cubicBezTo>
                  <a:cubicBezTo>
                    <a:pt x="17018" y="3880"/>
                    <a:pt x="16800" y="3623"/>
                    <a:pt x="16582" y="3366"/>
                  </a:cubicBezTo>
                  <a:cubicBezTo>
                    <a:pt x="16364" y="3109"/>
                    <a:pt x="15709" y="3109"/>
                    <a:pt x="15491" y="2852"/>
                  </a:cubicBezTo>
                  <a:cubicBezTo>
                    <a:pt x="15055" y="2852"/>
                    <a:pt x="14836" y="2852"/>
                    <a:pt x="14400" y="2595"/>
                  </a:cubicBezTo>
                  <a:cubicBezTo>
                    <a:pt x="14182" y="2080"/>
                    <a:pt x="13745" y="2338"/>
                    <a:pt x="13309" y="2338"/>
                  </a:cubicBezTo>
                  <a:cubicBezTo>
                    <a:pt x="13091" y="2595"/>
                    <a:pt x="12655" y="2338"/>
                    <a:pt x="12436" y="2595"/>
                  </a:cubicBezTo>
                  <a:cubicBezTo>
                    <a:pt x="12000" y="2595"/>
                    <a:pt x="11782" y="3109"/>
                    <a:pt x="11564" y="3366"/>
                  </a:cubicBezTo>
                  <a:cubicBezTo>
                    <a:pt x="11345" y="3623"/>
                    <a:pt x="10691" y="3366"/>
                    <a:pt x="10691" y="3880"/>
                  </a:cubicBezTo>
                  <a:cubicBezTo>
                    <a:pt x="10691" y="4395"/>
                    <a:pt x="10473" y="4395"/>
                    <a:pt x="10036" y="4652"/>
                  </a:cubicBezTo>
                  <a:cubicBezTo>
                    <a:pt x="8945" y="4909"/>
                    <a:pt x="8073" y="4909"/>
                    <a:pt x="7200" y="4138"/>
                  </a:cubicBezTo>
                  <a:cubicBezTo>
                    <a:pt x="6982" y="3880"/>
                    <a:pt x="6764" y="3623"/>
                    <a:pt x="6545" y="3623"/>
                  </a:cubicBezTo>
                  <a:cubicBezTo>
                    <a:pt x="6109" y="3109"/>
                    <a:pt x="5891" y="3366"/>
                    <a:pt x="5455" y="3366"/>
                  </a:cubicBezTo>
                  <a:cubicBezTo>
                    <a:pt x="5236" y="3109"/>
                    <a:pt x="5236" y="2338"/>
                    <a:pt x="5236" y="2080"/>
                  </a:cubicBezTo>
                  <a:cubicBezTo>
                    <a:pt x="4582" y="1823"/>
                    <a:pt x="4364" y="1566"/>
                    <a:pt x="4364" y="795"/>
                  </a:cubicBezTo>
                  <a:cubicBezTo>
                    <a:pt x="4364" y="-491"/>
                    <a:pt x="3491" y="280"/>
                    <a:pt x="3055" y="795"/>
                  </a:cubicBezTo>
                  <a:cubicBezTo>
                    <a:pt x="2836" y="1052"/>
                    <a:pt x="2618" y="1309"/>
                    <a:pt x="2400" y="1309"/>
                  </a:cubicBezTo>
                  <a:cubicBezTo>
                    <a:pt x="1964" y="1052"/>
                    <a:pt x="1309" y="1052"/>
                    <a:pt x="1091" y="538"/>
                  </a:cubicBezTo>
                  <a:cubicBezTo>
                    <a:pt x="655" y="23"/>
                    <a:pt x="655" y="-234"/>
                    <a:pt x="218" y="280"/>
                  </a:cubicBezTo>
                  <a:cubicBezTo>
                    <a:pt x="218" y="538"/>
                    <a:pt x="0" y="538"/>
                    <a:pt x="0" y="795"/>
                  </a:cubicBezTo>
                  <a:cubicBezTo>
                    <a:pt x="0" y="1052"/>
                    <a:pt x="0" y="1309"/>
                    <a:pt x="218" y="1566"/>
                  </a:cubicBezTo>
                  <a:cubicBezTo>
                    <a:pt x="218" y="1566"/>
                    <a:pt x="436" y="2080"/>
                    <a:pt x="218" y="2080"/>
                  </a:cubicBezTo>
                  <a:cubicBezTo>
                    <a:pt x="218" y="2338"/>
                    <a:pt x="0" y="2338"/>
                    <a:pt x="218" y="2595"/>
                  </a:cubicBezTo>
                  <a:cubicBezTo>
                    <a:pt x="218" y="2852"/>
                    <a:pt x="655" y="2852"/>
                    <a:pt x="655" y="3109"/>
                  </a:cubicBezTo>
                  <a:cubicBezTo>
                    <a:pt x="655" y="3366"/>
                    <a:pt x="436" y="3623"/>
                    <a:pt x="655" y="3623"/>
                  </a:cubicBezTo>
                  <a:cubicBezTo>
                    <a:pt x="873" y="4138"/>
                    <a:pt x="873" y="4395"/>
                    <a:pt x="1091" y="4909"/>
                  </a:cubicBezTo>
                  <a:cubicBezTo>
                    <a:pt x="1309" y="5166"/>
                    <a:pt x="1309" y="5423"/>
                    <a:pt x="1745" y="5680"/>
                  </a:cubicBezTo>
                  <a:cubicBezTo>
                    <a:pt x="1745" y="5680"/>
                    <a:pt x="2182" y="5938"/>
                    <a:pt x="2182" y="5938"/>
                  </a:cubicBezTo>
                  <a:cubicBezTo>
                    <a:pt x="2400" y="6966"/>
                    <a:pt x="436" y="7995"/>
                    <a:pt x="1745" y="9023"/>
                  </a:cubicBezTo>
                  <a:cubicBezTo>
                    <a:pt x="2182" y="9280"/>
                    <a:pt x="2182" y="9795"/>
                    <a:pt x="2618" y="10052"/>
                  </a:cubicBezTo>
                  <a:cubicBezTo>
                    <a:pt x="3055" y="10566"/>
                    <a:pt x="3491" y="10823"/>
                    <a:pt x="3927" y="11595"/>
                  </a:cubicBezTo>
                  <a:cubicBezTo>
                    <a:pt x="3927" y="11852"/>
                    <a:pt x="3709" y="12109"/>
                    <a:pt x="3709" y="12366"/>
                  </a:cubicBezTo>
                  <a:cubicBezTo>
                    <a:pt x="3927" y="12623"/>
                    <a:pt x="4364" y="12623"/>
                    <a:pt x="4145" y="12880"/>
                  </a:cubicBezTo>
                  <a:cubicBezTo>
                    <a:pt x="4145" y="13652"/>
                    <a:pt x="4582" y="13909"/>
                    <a:pt x="4800" y="14423"/>
                  </a:cubicBezTo>
                  <a:cubicBezTo>
                    <a:pt x="5236" y="14166"/>
                    <a:pt x="5018" y="13909"/>
                    <a:pt x="5236" y="13652"/>
                  </a:cubicBezTo>
                  <a:cubicBezTo>
                    <a:pt x="5236" y="13652"/>
                    <a:pt x="5455" y="13909"/>
                    <a:pt x="5455" y="13909"/>
                  </a:cubicBezTo>
                  <a:cubicBezTo>
                    <a:pt x="5891" y="13909"/>
                    <a:pt x="5455" y="13909"/>
                    <a:pt x="5673" y="14166"/>
                  </a:cubicBezTo>
                  <a:cubicBezTo>
                    <a:pt x="5891" y="14423"/>
                    <a:pt x="6109" y="13652"/>
                    <a:pt x="6545" y="14166"/>
                  </a:cubicBezTo>
                  <a:cubicBezTo>
                    <a:pt x="6982" y="14938"/>
                    <a:pt x="7200" y="15709"/>
                    <a:pt x="7636" y="16480"/>
                  </a:cubicBezTo>
                  <a:cubicBezTo>
                    <a:pt x="8073" y="17252"/>
                    <a:pt x="9164" y="18023"/>
                    <a:pt x="10036" y="18538"/>
                  </a:cubicBezTo>
                  <a:cubicBezTo>
                    <a:pt x="10473" y="18795"/>
                    <a:pt x="10909" y="18795"/>
                    <a:pt x="11345" y="19052"/>
                  </a:cubicBezTo>
                  <a:cubicBezTo>
                    <a:pt x="11564" y="19052"/>
                    <a:pt x="12218" y="18795"/>
                    <a:pt x="12218" y="18795"/>
                  </a:cubicBezTo>
                  <a:cubicBezTo>
                    <a:pt x="12218" y="18795"/>
                    <a:pt x="12218" y="19052"/>
                    <a:pt x="12218" y="19052"/>
                  </a:cubicBezTo>
                  <a:cubicBezTo>
                    <a:pt x="12436" y="19052"/>
                    <a:pt x="13091" y="18538"/>
                    <a:pt x="13309" y="18280"/>
                  </a:cubicBezTo>
                  <a:cubicBezTo>
                    <a:pt x="13309" y="18280"/>
                    <a:pt x="13091" y="18280"/>
                    <a:pt x="13091" y="18280"/>
                  </a:cubicBezTo>
                  <a:cubicBezTo>
                    <a:pt x="13091" y="18023"/>
                    <a:pt x="13527" y="18280"/>
                    <a:pt x="13527" y="18280"/>
                  </a:cubicBezTo>
                  <a:cubicBezTo>
                    <a:pt x="13964" y="18538"/>
                    <a:pt x="13964" y="18795"/>
                    <a:pt x="14182" y="19309"/>
                  </a:cubicBezTo>
                  <a:cubicBezTo>
                    <a:pt x="14400" y="20080"/>
                    <a:pt x="14618" y="20080"/>
                    <a:pt x="15055" y="20338"/>
                  </a:cubicBezTo>
                  <a:cubicBezTo>
                    <a:pt x="16364" y="20595"/>
                    <a:pt x="17891" y="20852"/>
                    <a:pt x="19200" y="21109"/>
                  </a:cubicBezTo>
                  <a:cubicBezTo>
                    <a:pt x="19200" y="20080"/>
                    <a:pt x="19418" y="19823"/>
                    <a:pt x="20073" y="19309"/>
                  </a:cubicBezTo>
                  <a:cubicBezTo>
                    <a:pt x="20509" y="19052"/>
                    <a:pt x="21600" y="18795"/>
                    <a:pt x="20727" y="18280"/>
                  </a:cubicBezTo>
                  <a:cubicBezTo>
                    <a:pt x="20509" y="18023"/>
                    <a:pt x="21164" y="18538"/>
                    <a:pt x="20727" y="182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79" name="Shape 2098">
              <a:extLst>
                <a:ext uri="{FF2B5EF4-FFF2-40B4-BE49-F238E27FC236}">
                  <a16:creationId xmlns:a16="http://schemas.microsoft.com/office/drawing/2014/main" id="{2A2A23E8-60E7-230D-FA92-2CA8D0C4B986}"/>
                </a:ext>
              </a:extLst>
            </p:cNvPr>
            <p:cNvSpPr/>
            <p:nvPr/>
          </p:nvSpPr>
          <p:spPr>
            <a:xfrm>
              <a:off x="6960019" y="2364888"/>
              <a:ext cx="51692" cy="38218"/>
            </a:xfrm>
            <a:custGeom>
              <a:avLst/>
              <a:gdLst/>
              <a:ahLst/>
              <a:cxnLst>
                <a:cxn ang="0">
                  <a:pos x="wd2" y="hd2"/>
                </a:cxn>
                <a:cxn ang="5400000">
                  <a:pos x="wd2" y="hd2"/>
                </a:cxn>
                <a:cxn ang="10800000">
                  <a:pos x="wd2" y="hd2"/>
                </a:cxn>
                <a:cxn ang="16200000">
                  <a:pos x="wd2" y="hd2"/>
                </a:cxn>
              </a:cxnLst>
              <a:rect l="0" t="0" r="r" b="b"/>
              <a:pathLst>
                <a:path w="21600" h="21600" extrusionOk="0">
                  <a:moveTo>
                    <a:pt x="2700" y="3600"/>
                  </a:moveTo>
                  <a:cubicBezTo>
                    <a:pt x="5400" y="3600"/>
                    <a:pt x="5400" y="10800"/>
                    <a:pt x="8100" y="14400"/>
                  </a:cubicBezTo>
                  <a:cubicBezTo>
                    <a:pt x="13500" y="14400"/>
                    <a:pt x="16200" y="18000"/>
                    <a:pt x="21600" y="21600"/>
                  </a:cubicBezTo>
                  <a:cubicBezTo>
                    <a:pt x="18900" y="7200"/>
                    <a:pt x="8100" y="3600"/>
                    <a:pt x="0" y="0"/>
                  </a:cubicBezTo>
                  <a:cubicBezTo>
                    <a:pt x="0" y="3600"/>
                    <a:pt x="0" y="3600"/>
                    <a:pt x="2700" y="3600"/>
                  </a:cubicBezTo>
                  <a:cubicBezTo>
                    <a:pt x="5400" y="3600"/>
                    <a:pt x="0" y="3600"/>
                    <a:pt x="2700" y="3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0" name="Shape 2099">
              <a:extLst>
                <a:ext uri="{FF2B5EF4-FFF2-40B4-BE49-F238E27FC236}">
                  <a16:creationId xmlns:a16="http://schemas.microsoft.com/office/drawing/2014/main" id="{4CEB2616-0BF2-5374-7439-21528968CE0A}"/>
                </a:ext>
              </a:extLst>
            </p:cNvPr>
            <p:cNvSpPr/>
            <p:nvPr/>
          </p:nvSpPr>
          <p:spPr>
            <a:xfrm>
              <a:off x="6807194" y="2214064"/>
              <a:ext cx="225763" cy="110362"/>
            </a:xfrm>
            <a:custGeom>
              <a:avLst/>
              <a:gdLst/>
              <a:ahLst/>
              <a:cxnLst>
                <a:cxn ang="0">
                  <a:pos x="wd2" y="hd2"/>
                </a:cxn>
                <a:cxn ang="5400000">
                  <a:pos x="wd2" y="hd2"/>
                </a:cxn>
                <a:cxn ang="10800000">
                  <a:pos x="wd2" y="hd2"/>
                </a:cxn>
                <a:cxn ang="16200000">
                  <a:pos x="wd2" y="hd2"/>
                </a:cxn>
              </a:cxnLst>
              <a:rect l="0" t="0" r="r" b="b"/>
              <a:pathLst>
                <a:path w="21066" h="20007" extrusionOk="0">
                  <a:moveTo>
                    <a:pt x="16046" y="16407"/>
                  </a:moveTo>
                  <a:cubicBezTo>
                    <a:pt x="16663" y="15207"/>
                    <a:pt x="17897" y="17607"/>
                    <a:pt x="18514" y="18807"/>
                  </a:cubicBezTo>
                  <a:cubicBezTo>
                    <a:pt x="18514" y="18807"/>
                    <a:pt x="20983" y="18807"/>
                    <a:pt x="20983" y="18807"/>
                  </a:cubicBezTo>
                  <a:cubicBezTo>
                    <a:pt x="21600" y="17607"/>
                    <a:pt x="18514" y="12807"/>
                    <a:pt x="20366" y="12807"/>
                  </a:cubicBezTo>
                  <a:cubicBezTo>
                    <a:pt x="19749" y="11607"/>
                    <a:pt x="18514" y="11607"/>
                    <a:pt x="18514" y="10407"/>
                  </a:cubicBezTo>
                  <a:cubicBezTo>
                    <a:pt x="18514" y="8007"/>
                    <a:pt x="17897" y="6807"/>
                    <a:pt x="16663" y="6807"/>
                  </a:cubicBezTo>
                  <a:cubicBezTo>
                    <a:pt x="14811" y="6807"/>
                    <a:pt x="13577" y="8007"/>
                    <a:pt x="11726" y="5607"/>
                  </a:cubicBezTo>
                  <a:cubicBezTo>
                    <a:pt x="9874" y="4407"/>
                    <a:pt x="8023" y="4407"/>
                    <a:pt x="5554" y="3207"/>
                  </a:cubicBezTo>
                  <a:cubicBezTo>
                    <a:pt x="3703" y="2007"/>
                    <a:pt x="2469" y="-1593"/>
                    <a:pt x="0" y="807"/>
                  </a:cubicBezTo>
                  <a:cubicBezTo>
                    <a:pt x="1851" y="5607"/>
                    <a:pt x="6789" y="6807"/>
                    <a:pt x="4937" y="15207"/>
                  </a:cubicBezTo>
                  <a:cubicBezTo>
                    <a:pt x="6789" y="15207"/>
                    <a:pt x="11109" y="15207"/>
                    <a:pt x="11109" y="20007"/>
                  </a:cubicBezTo>
                  <a:cubicBezTo>
                    <a:pt x="11109" y="16407"/>
                    <a:pt x="14811" y="16407"/>
                    <a:pt x="16046" y="16407"/>
                  </a:cubicBezTo>
                  <a:cubicBezTo>
                    <a:pt x="16663" y="15207"/>
                    <a:pt x="11726" y="16407"/>
                    <a:pt x="16046" y="1640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1" name="Shape 2100">
              <a:extLst>
                <a:ext uri="{FF2B5EF4-FFF2-40B4-BE49-F238E27FC236}">
                  <a16:creationId xmlns:a16="http://schemas.microsoft.com/office/drawing/2014/main" id="{588EFBB9-F81B-196B-E440-5C18A9722138}"/>
                </a:ext>
              </a:extLst>
            </p:cNvPr>
            <p:cNvSpPr/>
            <p:nvPr/>
          </p:nvSpPr>
          <p:spPr>
            <a:xfrm>
              <a:off x="6981376" y="2283960"/>
              <a:ext cx="152428" cy="139379"/>
            </a:xfrm>
            <a:custGeom>
              <a:avLst/>
              <a:gdLst/>
              <a:ahLst/>
              <a:cxnLst>
                <a:cxn ang="0">
                  <a:pos x="wd2" y="hd2"/>
                </a:cxn>
                <a:cxn ang="5400000">
                  <a:pos x="wd2" y="hd2"/>
                </a:cxn>
                <a:cxn ang="10800000">
                  <a:pos x="wd2" y="hd2"/>
                </a:cxn>
                <a:cxn ang="16200000">
                  <a:pos x="wd2" y="hd2"/>
                </a:cxn>
              </a:cxnLst>
              <a:rect l="0" t="0" r="r" b="b"/>
              <a:pathLst>
                <a:path w="18544" h="21600" extrusionOk="0">
                  <a:moveTo>
                    <a:pt x="4622" y="2057"/>
                  </a:moveTo>
                  <a:cubicBezTo>
                    <a:pt x="4622" y="2057"/>
                    <a:pt x="7022" y="4114"/>
                    <a:pt x="6222" y="5143"/>
                  </a:cubicBezTo>
                  <a:cubicBezTo>
                    <a:pt x="6222" y="5143"/>
                    <a:pt x="3822" y="5143"/>
                    <a:pt x="3822" y="5143"/>
                  </a:cubicBezTo>
                  <a:cubicBezTo>
                    <a:pt x="2222" y="5143"/>
                    <a:pt x="2222" y="3086"/>
                    <a:pt x="1422" y="3086"/>
                  </a:cubicBezTo>
                  <a:cubicBezTo>
                    <a:pt x="-1778" y="2057"/>
                    <a:pt x="1422" y="6171"/>
                    <a:pt x="1422" y="7200"/>
                  </a:cubicBezTo>
                  <a:cubicBezTo>
                    <a:pt x="1422" y="10286"/>
                    <a:pt x="3822" y="8229"/>
                    <a:pt x="3022" y="11314"/>
                  </a:cubicBezTo>
                  <a:cubicBezTo>
                    <a:pt x="2222" y="13371"/>
                    <a:pt x="3822" y="13371"/>
                    <a:pt x="4622" y="14400"/>
                  </a:cubicBezTo>
                  <a:cubicBezTo>
                    <a:pt x="5422" y="14400"/>
                    <a:pt x="5422" y="16457"/>
                    <a:pt x="5422" y="17486"/>
                  </a:cubicBezTo>
                  <a:cubicBezTo>
                    <a:pt x="6222" y="16457"/>
                    <a:pt x="9422" y="14400"/>
                    <a:pt x="11022" y="13371"/>
                  </a:cubicBezTo>
                  <a:cubicBezTo>
                    <a:pt x="11822" y="13371"/>
                    <a:pt x="11822" y="15429"/>
                    <a:pt x="11822" y="16457"/>
                  </a:cubicBezTo>
                  <a:cubicBezTo>
                    <a:pt x="11822" y="19543"/>
                    <a:pt x="12622" y="20571"/>
                    <a:pt x="15022" y="21600"/>
                  </a:cubicBezTo>
                  <a:cubicBezTo>
                    <a:pt x="15022" y="20571"/>
                    <a:pt x="15022" y="18514"/>
                    <a:pt x="15022" y="18514"/>
                  </a:cubicBezTo>
                  <a:cubicBezTo>
                    <a:pt x="15822" y="17486"/>
                    <a:pt x="16622" y="17486"/>
                    <a:pt x="16622" y="16457"/>
                  </a:cubicBezTo>
                  <a:cubicBezTo>
                    <a:pt x="17422" y="14400"/>
                    <a:pt x="17422" y="12343"/>
                    <a:pt x="18222" y="11314"/>
                  </a:cubicBezTo>
                  <a:cubicBezTo>
                    <a:pt x="19822" y="8229"/>
                    <a:pt x="15022" y="2057"/>
                    <a:pt x="13422" y="1029"/>
                  </a:cubicBezTo>
                  <a:cubicBezTo>
                    <a:pt x="11822" y="4114"/>
                    <a:pt x="10222" y="4114"/>
                    <a:pt x="7822" y="2057"/>
                  </a:cubicBezTo>
                  <a:cubicBezTo>
                    <a:pt x="7822" y="1029"/>
                    <a:pt x="6222" y="0"/>
                    <a:pt x="5422" y="0"/>
                  </a:cubicBezTo>
                  <a:cubicBezTo>
                    <a:pt x="4622" y="0"/>
                    <a:pt x="4622" y="1029"/>
                    <a:pt x="4622" y="2057"/>
                  </a:cubicBezTo>
                  <a:cubicBezTo>
                    <a:pt x="5422" y="3086"/>
                    <a:pt x="3822" y="0"/>
                    <a:pt x="4622" y="20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2" name="Shape 2101">
              <a:extLst>
                <a:ext uri="{FF2B5EF4-FFF2-40B4-BE49-F238E27FC236}">
                  <a16:creationId xmlns:a16="http://schemas.microsoft.com/office/drawing/2014/main" id="{5819CA99-5EBD-D87E-3504-B1AE0CA3BA0D}"/>
                </a:ext>
              </a:extLst>
            </p:cNvPr>
            <p:cNvSpPr/>
            <p:nvPr/>
          </p:nvSpPr>
          <p:spPr>
            <a:xfrm>
              <a:off x="7025195" y="2727788"/>
              <a:ext cx="58434" cy="59724"/>
            </a:xfrm>
            <a:custGeom>
              <a:avLst/>
              <a:gdLst/>
              <a:ahLst/>
              <a:cxnLst>
                <a:cxn ang="0">
                  <a:pos x="wd2" y="hd2"/>
                </a:cxn>
                <a:cxn ang="5400000">
                  <a:pos x="wd2" y="hd2"/>
                </a:cxn>
                <a:cxn ang="10800000">
                  <a:pos x="wd2" y="hd2"/>
                </a:cxn>
                <a:cxn ang="16200000">
                  <a:pos x="wd2" y="hd2"/>
                </a:cxn>
              </a:cxnLst>
              <a:rect l="0" t="0" r="r" b="b"/>
              <a:pathLst>
                <a:path w="21600" h="19128" extrusionOk="0">
                  <a:moveTo>
                    <a:pt x="7200" y="1848"/>
                  </a:moveTo>
                  <a:cubicBezTo>
                    <a:pt x="2400" y="4008"/>
                    <a:pt x="0" y="8328"/>
                    <a:pt x="0" y="12648"/>
                  </a:cubicBezTo>
                  <a:cubicBezTo>
                    <a:pt x="2400" y="12648"/>
                    <a:pt x="9600" y="12648"/>
                    <a:pt x="9600" y="14808"/>
                  </a:cubicBezTo>
                  <a:cubicBezTo>
                    <a:pt x="14400" y="19128"/>
                    <a:pt x="16800" y="19128"/>
                    <a:pt x="21600" y="19128"/>
                  </a:cubicBezTo>
                  <a:cubicBezTo>
                    <a:pt x="21600" y="19128"/>
                    <a:pt x="16800" y="8328"/>
                    <a:pt x="16800" y="8328"/>
                  </a:cubicBezTo>
                  <a:cubicBezTo>
                    <a:pt x="19200" y="8328"/>
                    <a:pt x="21600" y="8328"/>
                    <a:pt x="19200" y="4008"/>
                  </a:cubicBezTo>
                  <a:cubicBezTo>
                    <a:pt x="14400" y="1848"/>
                    <a:pt x="12000" y="-2472"/>
                    <a:pt x="7200" y="1848"/>
                  </a:cubicBezTo>
                  <a:cubicBezTo>
                    <a:pt x="2400" y="6168"/>
                    <a:pt x="9600" y="-312"/>
                    <a:pt x="7200" y="184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3" name="Shape 2102">
              <a:extLst>
                <a:ext uri="{FF2B5EF4-FFF2-40B4-BE49-F238E27FC236}">
                  <a16:creationId xmlns:a16="http://schemas.microsoft.com/office/drawing/2014/main" id="{1083F599-7B81-026C-B9D1-118E1728E102}"/>
                </a:ext>
              </a:extLst>
            </p:cNvPr>
            <p:cNvSpPr/>
            <p:nvPr/>
          </p:nvSpPr>
          <p:spPr>
            <a:xfrm>
              <a:off x="6666683" y="2470542"/>
              <a:ext cx="219173" cy="177592"/>
            </a:xfrm>
            <a:custGeom>
              <a:avLst/>
              <a:gdLst/>
              <a:ahLst/>
              <a:cxnLst>
                <a:cxn ang="0">
                  <a:pos x="wd2" y="hd2"/>
                </a:cxn>
                <a:cxn ang="5400000">
                  <a:pos x="wd2" y="hd2"/>
                </a:cxn>
                <a:cxn ang="10800000">
                  <a:pos x="wd2" y="hd2"/>
                </a:cxn>
                <a:cxn ang="16200000">
                  <a:pos x="wd2" y="hd2"/>
                </a:cxn>
              </a:cxnLst>
              <a:rect l="0" t="0" r="r" b="b"/>
              <a:pathLst>
                <a:path w="20652" h="21600" extrusionOk="0">
                  <a:moveTo>
                    <a:pt x="16949" y="8000"/>
                  </a:moveTo>
                  <a:cubicBezTo>
                    <a:pt x="17566" y="7200"/>
                    <a:pt x="18183" y="6400"/>
                    <a:pt x="17566" y="5600"/>
                  </a:cubicBezTo>
                  <a:cubicBezTo>
                    <a:pt x="16949" y="4800"/>
                    <a:pt x="16332" y="4800"/>
                    <a:pt x="16949" y="4000"/>
                  </a:cubicBezTo>
                  <a:cubicBezTo>
                    <a:pt x="18183" y="2400"/>
                    <a:pt x="20652" y="2400"/>
                    <a:pt x="20652" y="0"/>
                  </a:cubicBezTo>
                  <a:cubicBezTo>
                    <a:pt x="18801" y="0"/>
                    <a:pt x="16332" y="0"/>
                    <a:pt x="14481" y="800"/>
                  </a:cubicBezTo>
                  <a:cubicBezTo>
                    <a:pt x="13246" y="800"/>
                    <a:pt x="12012" y="1600"/>
                    <a:pt x="10778" y="1600"/>
                  </a:cubicBezTo>
                  <a:cubicBezTo>
                    <a:pt x="8926" y="1600"/>
                    <a:pt x="8309" y="800"/>
                    <a:pt x="7075" y="1600"/>
                  </a:cubicBezTo>
                  <a:cubicBezTo>
                    <a:pt x="5841" y="2400"/>
                    <a:pt x="5223" y="2400"/>
                    <a:pt x="3989" y="1600"/>
                  </a:cubicBezTo>
                  <a:cubicBezTo>
                    <a:pt x="2755" y="0"/>
                    <a:pt x="3372" y="3200"/>
                    <a:pt x="3372" y="3200"/>
                  </a:cubicBezTo>
                  <a:cubicBezTo>
                    <a:pt x="2755" y="4000"/>
                    <a:pt x="2755" y="4800"/>
                    <a:pt x="2755" y="4800"/>
                  </a:cubicBezTo>
                  <a:cubicBezTo>
                    <a:pt x="2138" y="6400"/>
                    <a:pt x="1521" y="4800"/>
                    <a:pt x="903" y="4800"/>
                  </a:cubicBezTo>
                  <a:cubicBezTo>
                    <a:pt x="286" y="5600"/>
                    <a:pt x="903" y="7200"/>
                    <a:pt x="903" y="8000"/>
                  </a:cubicBezTo>
                  <a:cubicBezTo>
                    <a:pt x="903" y="8800"/>
                    <a:pt x="286" y="10400"/>
                    <a:pt x="1521" y="11200"/>
                  </a:cubicBezTo>
                  <a:cubicBezTo>
                    <a:pt x="4606" y="13600"/>
                    <a:pt x="2138" y="15200"/>
                    <a:pt x="286" y="17600"/>
                  </a:cubicBezTo>
                  <a:cubicBezTo>
                    <a:pt x="-948" y="19200"/>
                    <a:pt x="2138" y="21600"/>
                    <a:pt x="3372" y="21600"/>
                  </a:cubicBezTo>
                  <a:cubicBezTo>
                    <a:pt x="4606" y="21600"/>
                    <a:pt x="5841" y="20000"/>
                    <a:pt x="7075" y="19200"/>
                  </a:cubicBezTo>
                  <a:cubicBezTo>
                    <a:pt x="8926" y="17600"/>
                    <a:pt x="10778" y="16800"/>
                    <a:pt x="12629" y="15200"/>
                  </a:cubicBezTo>
                  <a:cubicBezTo>
                    <a:pt x="13863" y="14400"/>
                    <a:pt x="15098" y="13600"/>
                    <a:pt x="16332" y="12000"/>
                  </a:cubicBezTo>
                  <a:cubicBezTo>
                    <a:pt x="16949" y="10400"/>
                    <a:pt x="16332" y="8800"/>
                    <a:pt x="16949" y="8000"/>
                  </a:cubicBezTo>
                  <a:cubicBezTo>
                    <a:pt x="17566" y="6400"/>
                    <a:pt x="16949" y="8800"/>
                    <a:pt x="16949" y="8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4" name="Shape 2103">
              <a:extLst>
                <a:ext uri="{FF2B5EF4-FFF2-40B4-BE49-F238E27FC236}">
                  <a16:creationId xmlns:a16="http://schemas.microsoft.com/office/drawing/2014/main" id="{95907EC6-C9DD-325D-0007-E9ED3FBED0ED}"/>
                </a:ext>
              </a:extLst>
            </p:cNvPr>
            <p:cNvSpPr/>
            <p:nvPr/>
          </p:nvSpPr>
          <p:spPr>
            <a:xfrm>
              <a:off x="6768170" y="2462005"/>
              <a:ext cx="322198" cy="305273"/>
            </a:xfrm>
            <a:custGeom>
              <a:avLst/>
              <a:gdLst/>
              <a:ahLst/>
              <a:cxnLst>
                <a:cxn ang="0">
                  <a:pos x="wd2" y="hd2"/>
                </a:cxn>
                <a:cxn ang="5400000">
                  <a:pos x="wd2" y="hd2"/>
                </a:cxn>
                <a:cxn ang="10800000">
                  <a:pos x="wd2" y="hd2"/>
                </a:cxn>
                <a:cxn ang="16200000">
                  <a:pos x="wd2" y="hd2"/>
                </a:cxn>
              </a:cxnLst>
              <a:rect l="0" t="0" r="r" b="b"/>
              <a:pathLst>
                <a:path w="21210" h="21255" extrusionOk="0">
                  <a:moveTo>
                    <a:pt x="19914" y="16200"/>
                  </a:moveTo>
                  <a:cubicBezTo>
                    <a:pt x="19914" y="16200"/>
                    <a:pt x="19050" y="15740"/>
                    <a:pt x="19050" y="15281"/>
                  </a:cubicBezTo>
                  <a:cubicBezTo>
                    <a:pt x="19050" y="14821"/>
                    <a:pt x="19482" y="14821"/>
                    <a:pt x="19482" y="14361"/>
                  </a:cubicBezTo>
                  <a:cubicBezTo>
                    <a:pt x="19050" y="13442"/>
                    <a:pt x="18186" y="12983"/>
                    <a:pt x="17322" y="12064"/>
                  </a:cubicBezTo>
                  <a:cubicBezTo>
                    <a:pt x="16890" y="12064"/>
                    <a:pt x="16026" y="11604"/>
                    <a:pt x="16026" y="11144"/>
                  </a:cubicBezTo>
                  <a:cubicBezTo>
                    <a:pt x="15594" y="10225"/>
                    <a:pt x="14730" y="9306"/>
                    <a:pt x="14730" y="7927"/>
                  </a:cubicBezTo>
                  <a:cubicBezTo>
                    <a:pt x="14298" y="7008"/>
                    <a:pt x="16890" y="5170"/>
                    <a:pt x="16026" y="4251"/>
                  </a:cubicBezTo>
                  <a:cubicBezTo>
                    <a:pt x="15162" y="3791"/>
                    <a:pt x="14730" y="3332"/>
                    <a:pt x="14298" y="2412"/>
                  </a:cubicBezTo>
                  <a:cubicBezTo>
                    <a:pt x="13866" y="1953"/>
                    <a:pt x="13866" y="1034"/>
                    <a:pt x="13434" y="574"/>
                  </a:cubicBezTo>
                  <a:cubicBezTo>
                    <a:pt x="13002" y="574"/>
                    <a:pt x="13002" y="1034"/>
                    <a:pt x="12570" y="1034"/>
                  </a:cubicBezTo>
                  <a:cubicBezTo>
                    <a:pt x="11706" y="1034"/>
                    <a:pt x="12138" y="115"/>
                    <a:pt x="11706" y="115"/>
                  </a:cubicBezTo>
                  <a:cubicBezTo>
                    <a:pt x="11274" y="115"/>
                    <a:pt x="10410" y="574"/>
                    <a:pt x="10410" y="574"/>
                  </a:cubicBezTo>
                  <a:cubicBezTo>
                    <a:pt x="9546" y="-345"/>
                    <a:pt x="9114" y="115"/>
                    <a:pt x="8250" y="115"/>
                  </a:cubicBezTo>
                  <a:cubicBezTo>
                    <a:pt x="7386" y="574"/>
                    <a:pt x="7818" y="1034"/>
                    <a:pt x="7386" y="1493"/>
                  </a:cubicBezTo>
                  <a:cubicBezTo>
                    <a:pt x="6522" y="1953"/>
                    <a:pt x="5658" y="1953"/>
                    <a:pt x="5226" y="2872"/>
                  </a:cubicBezTo>
                  <a:cubicBezTo>
                    <a:pt x="4794" y="3791"/>
                    <a:pt x="5658" y="3332"/>
                    <a:pt x="5658" y="4251"/>
                  </a:cubicBezTo>
                  <a:cubicBezTo>
                    <a:pt x="5658" y="4710"/>
                    <a:pt x="5226" y="4710"/>
                    <a:pt x="5226" y="5629"/>
                  </a:cubicBezTo>
                  <a:cubicBezTo>
                    <a:pt x="5226" y="7008"/>
                    <a:pt x="4794" y="7468"/>
                    <a:pt x="3498" y="8387"/>
                  </a:cubicBezTo>
                  <a:cubicBezTo>
                    <a:pt x="2634" y="8846"/>
                    <a:pt x="-390" y="10225"/>
                    <a:pt x="42" y="11144"/>
                  </a:cubicBezTo>
                  <a:cubicBezTo>
                    <a:pt x="474" y="11604"/>
                    <a:pt x="474" y="12983"/>
                    <a:pt x="906" y="13442"/>
                  </a:cubicBezTo>
                  <a:cubicBezTo>
                    <a:pt x="1338" y="13902"/>
                    <a:pt x="3066" y="13902"/>
                    <a:pt x="3498" y="13902"/>
                  </a:cubicBezTo>
                  <a:cubicBezTo>
                    <a:pt x="4794" y="14361"/>
                    <a:pt x="6090" y="15281"/>
                    <a:pt x="7386" y="16200"/>
                  </a:cubicBezTo>
                  <a:cubicBezTo>
                    <a:pt x="9114" y="17578"/>
                    <a:pt x="10410" y="18957"/>
                    <a:pt x="12138" y="20336"/>
                  </a:cubicBezTo>
                  <a:cubicBezTo>
                    <a:pt x="13434" y="21255"/>
                    <a:pt x="14730" y="21255"/>
                    <a:pt x="16026" y="21255"/>
                  </a:cubicBezTo>
                  <a:cubicBezTo>
                    <a:pt x="17322" y="21255"/>
                    <a:pt x="17322" y="19876"/>
                    <a:pt x="18186" y="18957"/>
                  </a:cubicBezTo>
                  <a:cubicBezTo>
                    <a:pt x="19050" y="18038"/>
                    <a:pt x="20778" y="19876"/>
                    <a:pt x="21210" y="19417"/>
                  </a:cubicBezTo>
                  <a:cubicBezTo>
                    <a:pt x="20778" y="18957"/>
                    <a:pt x="20346" y="18498"/>
                    <a:pt x="19914" y="17578"/>
                  </a:cubicBezTo>
                  <a:cubicBezTo>
                    <a:pt x="19914" y="17119"/>
                    <a:pt x="20346" y="16659"/>
                    <a:pt x="19914" y="16200"/>
                  </a:cubicBezTo>
                  <a:cubicBezTo>
                    <a:pt x="19482" y="15740"/>
                    <a:pt x="20346" y="16659"/>
                    <a:pt x="19914"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5" name="Shape 2104">
              <a:extLst>
                <a:ext uri="{FF2B5EF4-FFF2-40B4-BE49-F238E27FC236}">
                  <a16:creationId xmlns:a16="http://schemas.microsoft.com/office/drawing/2014/main" id="{850F82CA-E87D-5CA9-45A7-37778D4A382F}"/>
                </a:ext>
              </a:extLst>
            </p:cNvPr>
            <p:cNvSpPr/>
            <p:nvPr/>
          </p:nvSpPr>
          <p:spPr>
            <a:xfrm>
              <a:off x="6355786" y="2277217"/>
              <a:ext cx="610686" cy="238288"/>
            </a:xfrm>
            <a:custGeom>
              <a:avLst/>
              <a:gdLst/>
              <a:ahLst/>
              <a:cxnLst>
                <a:cxn ang="0">
                  <a:pos x="wd2" y="hd2"/>
                </a:cxn>
                <a:cxn ang="5400000">
                  <a:pos x="wd2" y="hd2"/>
                </a:cxn>
                <a:cxn ang="10800000">
                  <a:pos x="wd2" y="hd2"/>
                </a:cxn>
                <a:cxn ang="16200000">
                  <a:pos x="wd2" y="hd2"/>
                </a:cxn>
              </a:cxnLst>
              <a:rect l="0" t="0" r="r" b="b"/>
              <a:pathLst>
                <a:path w="21113" h="21600" extrusionOk="0">
                  <a:moveTo>
                    <a:pt x="11501" y="21600"/>
                  </a:moveTo>
                  <a:cubicBezTo>
                    <a:pt x="11729" y="21000"/>
                    <a:pt x="11956" y="19800"/>
                    <a:pt x="11956" y="19800"/>
                  </a:cubicBezTo>
                  <a:cubicBezTo>
                    <a:pt x="11729" y="18600"/>
                    <a:pt x="11956" y="18000"/>
                    <a:pt x="12183" y="18600"/>
                  </a:cubicBezTo>
                  <a:cubicBezTo>
                    <a:pt x="12638" y="19200"/>
                    <a:pt x="12865" y="18600"/>
                    <a:pt x="13320" y="18600"/>
                  </a:cubicBezTo>
                  <a:cubicBezTo>
                    <a:pt x="13775" y="18000"/>
                    <a:pt x="13775" y="18000"/>
                    <a:pt x="14230" y="18600"/>
                  </a:cubicBezTo>
                  <a:cubicBezTo>
                    <a:pt x="15139" y="18600"/>
                    <a:pt x="15821" y="17400"/>
                    <a:pt x="16731" y="17400"/>
                  </a:cubicBezTo>
                  <a:cubicBezTo>
                    <a:pt x="17413" y="17400"/>
                    <a:pt x="18322" y="17400"/>
                    <a:pt x="19004" y="16800"/>
                  </a:cubicBezTo>
                  <a:cubicBezTo>
                    <a:pt x="19459" y="16200"/>
                    <a:pt x="19459" y="17400"/>
                    <a:pt x="20141" y="16800"/>
                  </a:cubicBezTo>
                  <a:cubicBezTo>
                    <a:pt x="20596" y="16200"/>
                    <a:pt x="20369" y="17400"/>
                    <a:pt x="20596" y="18000"/>
                  </a:cubicBezTo>
                  <a:cubicBezTo>
                    <a:pt x="20823" y="18600"/>
                    <a:pt x="21278" y="17400"/>
                    <a:pt x="21051" y="16800"/>
                  </a:cubicBezTo>
                  <a:cubicBezTo>
                    <a:pt x="20823" y="16200"/>
                    <a:pt x="21278" y="15000"/>
                    <a:pt x="20596" y="14400"/>
                  </a:cubicBezTo>
                  <a:cubicBezTo>
                    <a:pt x="20369" y="13800"/>
                    <a:pt x="20823" y="13800"/>
                    <a:pt x="20596" y="13200"/>
                  </a:cubicBezTo>
                  <a:cubicBezTo>
                    <a:pt x="20596" y="12000"/>
                    <a:pt x="20369" y="11400"/>
                    <a:pt x="20369" y="10200"/>
                  </a:cubicBezTo>
                  <a:cubicBezTo>
                    <a:pt x="20369" y="9600"/>
                    <a:pt x="20823" y="8400"/>
                    <a:pt x="20823" y="8400"/>
                  </a:cubicBezTo>
                  <a:cubicBezTo>
                    <a:pt x="20596" y="7200"/>
                    <a:pt x="20141" y="6600"/>
                    <a:pt x="19914" y="4800"/>
                  </a:cubicBezTo>
                  <a:cubicBezTo>
                    <a:pt x="19459" y="3000"/>
                    <a:pt x="19459" y="2400"/>
                    <a:pt x="18550" y="1800"/>
                  </a:cubicBezTo>
                  <a:cubicBezTo>
                    <a:pt x="18322" y="1800"/>
                    <a:pt x="18095" y="1800"/>
                    <a:pt x="17867" y="1800"/>
                  </a:cubicBezTo>
                  <a:cubicBezTo>
                    <a:pt x="17413" y="1200"/>
                    <a:pt x="17640" y="1800"/>
                    <a:pt x="17413" y="1800"/>
                  </a:cubicBezTo>
                  <a:cubicBezTo>
                    <a:pt x="16958" y="3000"/>
                    <a:pt x="16503" y="3000"/>
                    <a:pt x="16276" y="3600"/>
                  </a:cubicBezTo>
                  <a:cubicBezTo>
                    <a:pt x="15594" y="4200"/>
                    <a:pt x="14684" y="3600"/>
                    <a:pt x="14002" y="3600"/>
                  </a:cubicBezTo>
                  <a:cubicBezTo>
                    <a:pt x="13547" y="3600"/>
                    <a:pt x="13093" y="3600"/>
                    <a:pt x="12865" y="3600"/>
                  </a:cubicBezTo>
                  <a:cubicBezTo>
                    <a:pt x="12411" y="3000"/>
                    <a:pt x="12411" y="2400"/>
                    <a:pt x="11956" y="2400"/>
                  </a:cubicBezTo>
                  <a:cubicBezTo>
                    <a:pt x="11501" y="2400"/>
                    <a:pt x="11274" y="1800"/>
                    <a:pt x="11046" y="1200"/>
                  </a:cubicBezTo>
                  <a:cubicBezTo>
                    <a:pt x="10819" y="1200"/>
                    <a:pt x="9910" y="0"/>
                    <a:pt x="10137" y="0"/>
                  </a:cubicBezTo>
                  <a:cubicBezTo>
                    <a:pt x="9682" y="600"/>
                    <a:pt x="8545" y="0"/>
                    <a:pt x="8091" y="0"/>
                  </a:cubicBezTo>
                  <a:cubicBezTo>
                    <a:pt x="7409" y="0"/>
                    <a:pt x="6726" y="1800"/>
                    <a:pt x="6272" y="2400"/>
                  </a:cubicBezTo>
                  <a:cubicBezTo>
                    <a:pt x="5590" y="3600"/>
                    <a:pt x="4453" y="2400"/>
                    <a:pt x="3771" y="3000"/>
                  </a:cubicBezTo>
                  <a:cubicBezTo>
                    <a:pt x="3543" y="3000"/>
                    <a:pt x="3316" y="3000"/>
                    <a:pt x="3316" y="3600"/>
                  </a:cubicBezTo>
                  <a:cubicBezTo>
                    <a:pt x="3316" y="3600"/>
                    <a:pt x="3771" y="3600"/>
                    <a:pt x="3771" y="4200"/>
                  </a:cubicBezTo>
                  <a:cubicBezTo>
                    <a:pt x="3771" y="4200"/>
                    <a:pt x="3089" y="4200"/>
                    <a:pt x="3089" y="4800"/>
                  </a:cubicBezTo>
                  <a:cubicBezTo>
                    <a:pt x="3089" y="5400"/>
                    <a:pt x="3089" y="5400"/>
                    <a:pt x="2634" y="5400"/>
                  </a:cubicBezTo>
                  <a:cubicBezTo>
                    <a:pt x="1952" y="5400"/>
                    <a:pt x="1270" y="5400"/>
                    <a:pt x="587" y="5400"/>
                  </a:cubicBezTo>
                  <a:cubicBezTo>
                    <a:pt x="133" y="5400"/>
                    <a:pt x="360" y="6000"/>
                    <a:pt x="360" y="6600"/>
                  </a:cubicBezTo>
                  <a:cubicBezTo>
                    <a:pt x="133" y="7800"/>
                    <a:pt x="-322" y="8400"/>
                    <a:pt x="360" y="9000"/>
                  </a:cubicBezTo>
                  <a:cubicBezTo>
                    <a:pt x="360" y="9000"/>
                    <a:pt x="815" y="8400"/>
                    <a:pt x="815" y="8400"/>
                  </a:cubicBezTo>
                  <a:cubicBezTo>
                    <a:pt x="815" y="9000"/>
                    <a:pt x="360" y="10200"/>
                    <a:pt x="360" y="10200"/>
                  </a:cubicBezTo>
                  <a:cubicBezTo>
                    <a:pt x="587" y="10800"/>
                    <a:pt x="587" y="10200"/>
                    <a:pt x="815" y="10200"/>
                  </a:cubicBezTo>
                  <a:cubicBezTo>
                    <a:pt x="815" y="10200"/>
                    <a:pt x="815" y="11400"/>
                    <a:pt x="815" y="11400"/>
                  </a:cubicBezTo>
                  <a:cubicBezTo>
                    <a:pt x="1270" y="13200"/>
                    <a:pt x="587" y="12000"/>
                    <a:pt x="360" y="12000"/>
                  </a:cubicBezTo>
                  <a:cubicBezTo>
                    <a:pt x="360" y="12000"/>
                    <a:pt x="133" y="13800"/>
                    <a:pt x="587" y="13200"/>
                  </a:cubicBezTo>
                  <a:cubicBezTo>
                    <a:pt x="1042" y="13200"/>
                    <a:pt x="587" y="14400"/>
                    <a:pt x="587" y="15000"/>
                  </a:cubicBezTo>
                  <a:cubicBezTo>
                    <a:pt x="587" y="15600"/>
                    <a:pt x="1270" y="15600"/>
                    <a:pt x="1497" y="16200"/>
                  </a:cubicBezTo>
                  <a:cubicBezTo>
                    <a:pt x="1724" y="16800"/>
                    <a:pt x="1270" y="18000"/>
                    <a:pt x="1270" y="18000"/>
                  </a:cubicBezTo>
                  <a:cubicBezTo>
                    <a:pt x="1497" y="18000"/>
                    <a:pt x="1724" y="16800"/>
                    <a:pt x="1952" y="18000"/>
                  </a:cubicBezTo>
                  <a:cubicBezTo>
                    <a:pt x="1952" y="18600"/>
                    <a:pt x="1497" y="18600"/>
                    <a:pt x="1497" y="18600"/>
                  </a:cubicBezTo>
                  <a:cubicBezTo>
                    <a:pt x="1497" y="18600"/>
                    <a:pt x="1952" y="18600"/>
                    <a:pt x="1952" y="18600"/>
                  </a:cubicBezTo>
                  <a:cubicBezTo>
                    <a:pt x="2179" y="19200"/>
                    <a:pt x="1952" y="19800"/>
                    <a:pt x="1724" y="20400"/>
                  </a:cubicBezTo>
                  <a:cubicBezTo>
                    <a:pt x="1724" y="21000"/>
                    <a:pt x="2179" y="21600"/>
                    <a:pt x="2179" y="21000"/>
                  </a:cubicBezTo>
                  <a:cubicBezTo>
                    <a:pt x="2406" y="20400"/>
                    <a:pt x="2179" y="19200"/>
                    <a:pt x="2406" y="18600"/>
                  </a:cubicBezTo>
                  <a:cubicBezTo>
                    <a:pt x="2634" y="18000"/>
                    <a:pt x="3089" y="19200"/>
                    <a:pt x="3316" y="19200"/>
                  </a:cubicBezTo>
                  <a:cubicBezTo>
                    <a:pt x="3771" y="19800"/>
                    <a:pt x="4225" y="21000"/>
                    <a:pt x="4680" y="19800"/>
                  </a:cubicBezTo>
                  <a:cubicBezTo>
                    <a:pt x="5362" y="19200"/>
                    <a:pt x="4907" y="17400"/>
                    <a:pt x="5817" y="18600"/>
                  </a:cubicBezTo>
                  <a:cubicBezTo>
                    <a:pt x="6272" y="19800"/>
                    <a:pt x="6954" y="21000"/>
                    <a:pt x="7636" y="21000"/>
                  </a:cubicBezTo>
                  <a:cubicBezTo>
                    <a:pt x="8091" y="20400"/>
                    <a:pt x="8773" y="19800"/>
                    <a:pt x="9227" y="19200"/>
                  </a:cubicBezTo>
                  <a:cubicBezTo>
                    <a:pt x="9455" y="18600"/>
                    <a:pt x="9455" y="18000"/>
                    <a:pt x="9682" y="18000"/>
                  </a:cubicBezTo>
                  <a:cubicBezTo>
                    <a:pt x="10137" y="18600"/>
                    <a:pt x="10364" y="19200"/>
                    <a:pt x="10592" y="18600"/>
                  </a:cubicBezTo>
                  <a:cubicBezTo>
                    <a:pt x="11274" y="18000"/>
                    <a:pt x="11274" y="18600"/>
                    <a:pt x="11046" y="19800"/>
                  </a:cubicBezTo>
                  <a:cubicBezTo>
                    <a:pt x="11046" y="20400"/>
                    <a:pt x="11501" y="20400"/>
                    <a:pt x="11046" y="21000"/>
                  </a:cubicBezTo>
                  <a:cubicBezTo>
                    <a:pt x="11274" y="21600"/>
                    <a:pt x="11274" y="21600"/>
                    <a:pt x="11501" y="21600"/>
                  </a:cubicBezTo>
                  <a:cubicBezTo>
                    <a:pt x="11729" y="21000"/>
                    <a:pt x="11274" y="21600"/>
                    <a:pt x="11501"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6" name="Shape 2105">
              <a:extLst>
                <a:ext uri="{FF2B5EF4-FFF2-40B4-BE49-F238E27FC236}">
                  <a16:creationId xmlns:a16="http://schemas.microsoft.com/office/drawing/2014/main" id="{B3B45BBB-FCE8-93D6-37BB-EB12A691E112}"/>
                </a:ext>
              </a:extLst>
            </p:cNvPr>
            <p:cNvSpPr/>
            <p:nvPr/>
          </p:nvSpPr>
          <p:spPr>
            <a:xfrm>
              <a:off x="6633654" y="2656533"/>
              <a:ext cx="688196" cy="553603"/>
            </a:xfrm>
            <a:custGeom>
              <a:avLst/>
              <a:gdLst/>
              <a:ahLst/>
              <a:cxnLst>
                <a:cxn ang="0">
                  <a:pos x="wd2" y="hd2"/>
                </a:cxn>
                <a:cxn ang="5400000">
                  <a:pos x="wd2" y="hd2"/>
                </a:cxn>
                <a:cxn ang="10800000">
                  <a:pos x="wd2" y="hd2"/>
                </a:cxn>
                <a:cxn ang="16200000">
                  <a:pos x="wd2" y="hd2"/>
                </a:cxn>
              </a:cxnLst>
              <a:rect l="0" t="0" r="r" b="b"/>
              <a:pathLst>
                <a:path w="21475" h="21536" extrusionOk="0">
                  <a:moveTo>
                    <a:pt x="13246" y="5079"/>
                  </a:moveTo>
                  <a:cubicBezTo>
                    <a:pt x="13041" y="4307"/>
                    <a:pt x="13041" y="4307"/>
                    <a:pt x="12424" y="4307"/>
                  </a:cubicBezTo>
                  <a:cubicBezTo>
                    <a:pt x="11806" y="4307"/>
                    <a:pt x="11189" y="4307"/>
                    <a:pt x="10572" y="4307"/>
                  </a:cubicBezTo>
                  <a:cubicBezTo>
                    <a:pt x="10161" y="4307"/>
                    <a:pt x="9955" y="3793"/>
                    <a:pt x="9749" y="3793"/>
                  </a:cubicBezTo>
                  <a:cubicBezTo>
                    <a:pt x="9132" y="3022"/>
                    <a:pt x="8515" y="2507"/>
                    <a:pt x="8104" y="1993"/>
                  </a:cubicBezTo>
                  <a:cubicBezTo>
                    <a:pt x="7281" y="1222"/>
                    <a:pt x="6458" y="450"/>
                    <a:pt x="5429" y="193"/>
                  </a:cubicBezTo>
                  <a:cubicBezTo>
                    <a:pt x="5018" y="-64"/>
                    <a:pt x="4812" y="-64"/>
                    <a:pt x="4195" y="193"/>
                  </a:cubicBezTo>
                  <a:cubicBezTo>
                    <a:pt x="3784" y="193"/>
                    <a:pt x="3166" y="450"/>
                    <a:pt x="2549" y="707"/>
                  </a:cubicBezTo>
                  <a:cubicBezTo>
                    <a:pt x="2755" y="1222"/>
                    <a:pt x="3372" y="1736"/>
                    <a:pt x="3372" y="2250"/>
                  </a:cubicBezTo>
                  <a:cubicBezTo>
                    <a:pt x="3372" y="2765"/>
                    <a:pt x="2755" y="3022"/>
                    <a:pt x="2549" y="3022"/>
                  </a:cubicBezTo>
                  <a:cubicBezTo>
                    <a:pt x="2344" y="3279"/>
                    <a:pt x="2138" y="3022"/>
                    <a:pt x="1932" y="3022"/>
                  </a:cubicBezTo>
                  <a:cubicBezTo>
                    <a:pt x="1726" y="3279"/>
                    <a:pt x="1726" y="3536"/>
                    <a:pt x="1726" y="3536"/>
                  </a:cubicBezTo>
                  <a:cubicBezTo>
                    <a:pt x="1315" y="4307"/>
                    <a:pt x="492" y="3793"/>
                    <a:pt x="286" y="3536"/>
                  </a:cubicBezTo>
                  <a:cubicBezTo>
                    <a:pt x="81" y="4050"/>
                    <a:pt x="81" y="4307"/>
                    <a:pt x="81" y="4822"/>
                  </a:cubicBezTo>
                  <a:cubicBezTo>
                    <a:pt x="-125" y="5593"/>
                    <a:pt x="81" y="5336"/>
                    <a:pt x="492" y="5593"/>
                  </a:cubicBezTo>
                  <a:cubicBezTo>
                    <a:pt x="904" y="6107"/>
                    <a:pt x="1315" y="7136"/>
                    <a:pt x="1521" y="7907"/>
                  </a:cubicBezTo>
                  <a:cubicBezTo>
                    <a:pt x="1932" y="8422"/>
                    <a:pt x="2138" y="8936"/>
                    <a:pt x="2344" y="9707"/>
                  </a:cubicBezTo>
                  <a:cubicBezTo>
                    <a:pt x="2549" y="10222"/>
                    <a:pt x="2755" y="10479"/>
                    <a:pt x="2961" y="10736"/>
                  </a:cubicBezTo>
                  <a:cubicBezTo>
                    <a:pt x="3372" y="11250"/>
                    <a:pt x="3784" y="11250"/>
                    <a:pt x="3989" y="11765"/>
                  </a:cubicBezTo>
                  <a:cubicBezTo>
                    <a:pt x="4195" y="12279"/>
                    <a:pt x="4401" y="12793"/>
                    <a:pt x="4401" y="13565"/>
                  </a:cubicBezTo>
                  <a:cubicBezTo>
                    <a:pt x="4606" y="14079"/>
                    <a:pt x="4401" y="14593"/>
                    <a:pt x="4606" y="15107"/>
                  </a:cubicBezTo>
                  <a:cubicBezTo>
                    <a:pt x="5018" y="16136"/>
                    <a:pt x="5841" y="16393"/>
                    <a:pt x="6252" y="17165"/>
                  </a:cubicBezTo>
                  <a:cubicBezTo>
                    <a:pt x="6664" y="17936"/>
                    <a:pt x="6869" y="18965"/>
                    <a:pt x="7281" y="19479"/>
                  </a:cubicBezTo>
                  <a:cubicBezTo>
                    <a:pt x="7486" y="19993"/>
                    <a:pt x="7898" y="20507"/>
                    <a:pt x="8104" y="20765"/>
                  </a:cubicBezTo>
                  <a:cubicBezTo>
                    <a:pt x="8104" y="21022"/>
                    <a:pt x="8104" y="21536"/>
                    <a:pt x="8309" y="21536"/>
                  </a:cubicBezTo>
                  <a:cubicBezTo>
                    <a:pt x="8721" y="21536"/>
                    <a:pt x="8515" y="21022"/>
                    <a:pt x="8721" y="20765"/>
                  </a:cubicBezTo>
                  <a:cubicBezTo>
                    <a:pt x="8721" y="19993"/>
                    <a:pt x="9749" y="20250"/>
                    <a:pt x="10161" y="20250"/>
                  </a:cubicBezTo>
                  <a:cubicBezTo>
                    <a:pt x="10778" y="20250"/>
                    <a:pt x="11806" y="19993"/>
                    <a:pt x="12218" y="20507"/>
                  </a:cubicBezTo>
                  <a:cubicBezTo>
                    <a:pt x="12835" y="20765"/>
                    <a:pt x="13041" y="20250"/>
                    <a:pt x="13452" y="19736"/>
                  </a:cubicBezTo>
                  <a:cubicBezTo>
                    <a:pt x="14069" y="18707"/>
                    <a:pt x="14686" y="18707"/>
                    <a:pt x="15509" y="18450"/>
                  </a:cubicBezTo>
                  <a:cubicBezTo>
                    <a:pt x="16744" y="18450"/>
                    <a:pt x="17978" y="17936"/>
                    <a:pt x="19212" y="17422"/>
                  </a:cubicBezTo>
                  <a:cubicBezTo>
                    <a:pt x="19624" y="17165"/>
                    <a:pt x="20241" y="16907"/>
                    <a:pt x="20858" y="16907"/>
                  </a:cubicBezTo>
                  <a:cubicBezTo>
                    <a:pt x="21064" y="16650"/>
                    <a:pt x="21064" y="16136"/>
                    <a:pt x="21269" y="15622"/>
                  </a:cubicBezTo>
                  <a:cubicBezTo>
                    <a:pt x="21269" y="15365"/>
                    <a:pt x="21475" y="14850"/>
                    <a:pt x="21475" y="14336"/>
                  </a:cubicBezTo>
                  <a:cubicBezTo>
                    <a:pt x="21475" y="14079"/>
                    <a:pt x="21269" y="13307"/>
                    <a:pt x="21064" y="13050"/>
                  </a:cubicBezTo>
                  <a:cubicBezTo>
                    <a:pt x="20446" y="13050"/>
                    <a:pt x="19624" y="13050"/>
                    <a:pt x="19006" y="12793"/>
                  </a:cubicBezTo>
                  <a:cubicBezTo>
                    <a:pt x="18389" y="12793"/>
                    <a:pt x="18389" y="12536"/>
                    <a:pt x="17978" y="12022"/>
                  </a:cubicBezTo>
                  <a:cubicBezTo>
                    <a:pt x="17566" y="10993"/>
                    <a:pt x="16949" y="10736"/>
                    <a:pt x="16538" y="9965"/>
                  </a:cubicBezTo>
                  <a:cubicBezTo>
                    <a:pt x="16332" y="9965"/>
                    <a:pt x="15921" y="8936"/>
                    <a:pt x="15715" y="8679"/>
                  </a:cubicBezTo>
                  <a:cubicBezTo>
                    <a:pt x="15509" y="8165"/>
                    <a:pt x="16538" y="7907"/>
                    <a:pt x="15715" y="7393"/>
                  </a:cubicBezTo>
                  <a:cubicBezTo>
                    <a:pt x="15509" y="7393"/>
                    <a:pt x="15304" y="6879"/>
                    <a:pt x="15098" y="6879"/>
                  </a:cubicBezTo>
                  <a:cubicBezTo>
                    <a:pt x="14686" y="6879"/>
                    <a:pt x="14481" y="6107"/>
                    <a:pt x="14275" y="5593"/>
                  </a:cubicBezTo>
                  <a:cubicBezTo>
                    <a:pt x="14069" y="4822"/>
                    <a:pt x="14069" y="5079"/>
                    <a:pt x="13246" y="507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7" name="Shape 2106">
              <a:extLst>
                <a:ext uri="{FF2B5EF4-FFF2-40B4-BE49-F238E27FC236}">
                  <a16:creationId xmlns:a16="http://schemas.microsoft.com/office/drawing/2014/main" id="{8B72F987-7E42-EC3E-86AC-2A0EB9F229FC}"/>
                </a:ext>
              </a:extLst>
            </p:cNvPr>
            <p:cNvSpPr/>
            <p:nvPr/>
          </p:nvSpPr>
          <p:spPr>
            <a:xfrm>
              <a:off x="6643134" y="2614414"/>
              <a:ext cx="137093" cy="146120"/>
            </a:xfrm>
            <a:custGeom>
              <a:avLst/>
              <a:gdLst/>
              <a:ahLst/>
              <a:cxnLst>
                <a:cxn ang="0">
                  <a:pos x="wd2" y="hd2"/>
                </a:cxn>
                <a:cxn ang="5400000">
                  <a:pos x="wd2" y="hd2"/>
                </a:cxn>
                <a:cxn ang="10800000">
                  <a:pos x="wd2" y="hd2"/>
                </a:cxn>
                <a:cxn ang="16200000">
                  <a:pos x="wd2" y="hd2"/>
                </a:cxn>
              </a:cxnLst>
              <a:rect l="0" t="0" r="r" b="b"/>
              <a:pathLst>
                <a:path w="21600" h="21600" extrusionOk="0">
                  <a:moveTo>
                    <a:pt x="5143" y="21600"/>
                  </a:moveTo>
                  <a:cubicBezTo>
                    <a:pt x="7200" y="21600"/>
                    <a:pt x="7200" y="18655"/>
                    <a:pt x="8229" y="18655"/>
                  </a:cubicBezTo>
                  <a:cubicBezTo>
                    <a:pt x="9257" y="16691"/>
                    <a:pt x="11314" y="17673"/>
                    <a:pt x="12343" y="17673"/>
                  </a:cubicBezTo>
                  <a:cubicBezTo>
                    <a:pt x="13371" y="16691"/>
                    <a:pt x="16457" y="15709"/>
                    <a:pt x="15429" y="14727"/>
                  </a:cubicBezTo>
                  <a:cubicBezTo>
                    <a:pt x="14400" y="12764"/>
                    <a:pt x="13371" y="10800"/>
                    <a:pt x="11314" y="8836"/>
                  </a:cubicBezTo>
                  <a:cubicBezTo>
                    <a:pt x="15429" y="7855"/>
                    <a:pt x="18514" y="6873"/>
                    <a:pt x="21600" y="5891"/>
                  </a:cubicBezTo>
                  <a:cubicBezTo>
                    <a:pt x="21600" y="3927"/>
                    <a:pt x="20571" y="1964"/>
                    <a:pt x="19543" y="0"/>
                  </a:cubicBezTo>
                  <a:cubicBezTo>
                    <a:pt x="16457" y="982"/>
                    <a:pt x="12343" y="4909"/>
                    <a:pt x="9257" y="4909"/>
                  </a:cubicBezTo>
                  <a:cubicBezTo>
                    <a:pt x="7200" y="4909"/>
                    <a:pt x="4114" y="2945"/>
                    <a:pt x="4114" y="982"/>
                  </a:cubicBezTo>
                  <a:cubicBezTo>
                    <a:pt x="3086" y="4909"/>
                    <a:pt x="3086" y="7855"/>
                    <a:pt x="3086" y="10800"/>
                  </a:cubicBezTo>
                  <a:cubicBezTo>
                    <a:pt x="2057" y="12764"/>
                    <a:pt x="0" y="15709"/>
                    <a:pt x="0" y="17673"/>
                  </a:cubicBezTo>
                  <a:cubicBezTo>
                    <a:pt x="0" y="19636"/>
                    <a:pt x="0" y="19636"/>
                    <a:pt x="1029" y="20618"/>
                  </a:cubicBezTo>
                  <a:cubicBezTo>
                    <a:pt x="3086" y="20618"/>
                    <a:pt x="4114" y="21600"/>
                    <a:pt x="5143"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8" name="Shape 2107">
              <a:extLst>
                <a:ext uri="{FF2B5EF4-FFF2-40B4-BE49-F238E27FC236}">
                  <a16:creationId xmlns:a16="http://schemas.microsoft.com/office/drawing/2014/main" id="{54A06884-C813-E996-F3C8-327F0E53413C}"/>
                </a:ext>
              </a:extLst>
            </p:cNvPr>
            <p:cNvSpPr/>
            <p:nvPr/>
          </p:nvSpPr>
          <p:spPr>
            <a:xfrm>
              <a:off x="6649875" y="2562713"/>
              <a:ext cx="46531" cy="54843"/>
            </a:xfrm>
            <a:custGeom>
              <a:avLst/>
              <a:gdLst/>
              <a:ahLst/>
              <a:cxnLst>
                <a:cxn ang="0">
                  <a:pos x="wd2" y="hd2"/>
                </a:cxn>
                <a:cxn ang="5400000">
                  <a:pos x="wd2" y="hd2"/>
                </a:cxn>
                <a:cxn ang="10800000">
                  <a:pos x="wd2" y="hd2"/>
                </a:cxn>
                <a:cxn ang="16200000">
                  <a:pos x="wd2" y="hd2"/>
                </a:cxn>
              </a:cxnLst>
              <a:rect l="0" t="0" r="r" b="b"/>
              <a:pathLst>
                <a:path w="19443" h="20267" extrusionOk="0">
                  <a:moveTo>
                    <a:pt x="18900" y="4800"/>
                  </a:moveTo>
                  <a:cubicBezTo>
                    <a:pt x="18900" y="2400"/>
                    <a:pt x="13500" y="0"/>
                    <a:pt x="10800" y="0"/>
                  </a:cubicBezTo>
                  <a:cubicBezTo>
                    <a:pt x="8100" y="2400"/>
                    <a:pt x="8100" y="2400"/>
                    <a:pt x="5400" y="4800"/>
                  </a:cubicBezTo>
                  <a:cubicBezTo>
                    <a:pt x="5400" y="9600"/>
                    <a:pt x="2700" y="14400"/>
                    <a:pt x="0" y="19200"/>
                  </a:cubicBezTo>
                  <a:cubicBezTo>
                    <a:pt x="5400" y="19200"/>
                    <a:pt x="5400" y="21600"/>
                    <a:pt x="10800" y="19200"/>
                  </a:cubicBezTo>
                  <a:cubicBezTo>
                    <a:pt x="13500" y="16800"/>
                    <a:pt x="21600" y="9600"/>
                    <a:pt x="18900" y="4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89" name="Shape 2108">
              <a:extLst>
                <a:ext uri="{FF2B5EF4-FFF2-40B4-BE49-F238E27FC236}">
                  <a16:creationId xmlns:a16="http://schemas.microsoft.com/office/drawing/2014/main" id="{E83CF881-B35C-ABEF-DB4C-E10A0F61AF3E}"/>
                </a:ext>
              </a:extLst>
            </p:cNvPr>
            <p:cNvSpPr/>
            <p:nvPr/>
          </p:nvSpPr>
          <p:spPr>
            <a:xfrm>
              <a:off x="6643134" y="2641393"/>
              <a:ext cx="20229" cy="47208"/>
            </a:xfrm>
            <a:custGeom>
              <a:avLst/>
              <a:gdLst/>
              <a:ahLst/>
              <a:cxnLst>
                <a:cxn ang="0">
                  <a:pos x="wd2" y="hd2"/>
                </a:cxn>
                <a:cxn ang="5400000">
                  <a:pos x="wd2" y="hd2"/>
                </a:cxn>
                <a:cxn ang="10800000">
                  <a:pos x="wd2" y="hd2"/>
                </a:cxn>
                <a:cxn ang="16200000">
                  <a:pos x="wd2" y="hd2"/>
                </a:cxn>
              </a:cxnLst>
              <a:rect l="0" t="0" r="r" b="b"/>
              <a:pathLst>
                <a:path w="21600" h="21600" extrusionOk="0">
                  <a:moveTo>
                    <a:pt x="0" y="9257"/>
                  </a:moveTo>
                  <a:cubicBezTo>
                    <a:pt x="0" y="15429"/>
                    <a:pt x="7200" y="18514"/>
                    <a:pt x="21600" y="21600"/>
                  </a:cubicBezTo>
                  <a:cubicBezTo>
                    <a:pt x="21600" y="15429"/>
                    <a:pt x="21600" y="9257"/>
                    <a:pt x="21600" y="3086"/>
                  </a:cubicBezTo>
                  <a:cubicBezTo>
                    <a:pt x="21600" y="0"/>
                    <a:pt x="21600" y="0"/>
                    <a:pt x="14400" y="0"/>
                  </a:cubicBezTo>
                  <a:cubicBezTo>
                    <a:pt x="0" y="0"/>
                    <a:pt x="0" y="6171"/>
                    <a:pt x="0" y="92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0" name="Shape 2109">
              <a:extLst>
                <a:ext uri="{FF2B5EF4-FFF2-40B4-BE49-F238E27FC236}">
                  <a16:creationId xmlns:a16="http://schemas.microsoft.com/office/drawing/2014/main" id="{881FCADA-C997-7613-A120-3596AF0CAE5C}"/>
                </a:ext>
              </a:extLst>
            </p:cNvPr>
            <p:cNvSpPr/>
            <p:nvPr/>
          </p:nvSpPr>
          <p:spPr>
            <a:xfrm>
              <a:off x="6616167" y="2614414"/>
              <a:ext cx="51624" cy="173097"/>
            </a:xfrm>
            <a:custGeom>
              <a:avLst/>
              <a:gdLst/>
              <a:ahLst/>
              <a:cxnLst>
                <a:cxn ang="0">
                  <a:pos x="wd2" y="hd2"/>
                </a:cxn>
                <a:cxn ang="5400000">
                  <a:pos x="wd2" y="hd2"/>
                </a:cxn>
                <a:cxn ang="10800000">
                  <a:pos x="wd2" y="hd2"/>
                </a:cxn>
                <a:cxn ang="16200000">
                  <a:pos x="wd2" y="hd2"/>
                </a:cxn>
              </a:cxnLst>
              <a:rect l="0" t="0" r="r" b="b"/>
              <a:pathLst>
                <a:path w="20674" h="21600" extrusionOk="0">
                  <a:moveTo>
                    <a:pt x="10800" y="14123"/>
                  </a:moveTo>
                  <a:cubicBezTo>
                    <a:pt x="10800" y="13292"/>
                    <a:pt x="13500" y="12462"/>
                    <a:pt x="16200" y="10800"/>
                  </a:cubicBezTo>
                  <a:cubicBezTo>
                    <a:pt x="18900" y="9138"/>
                    <a:pt x="16200" y="9969"/>
                    <a:pt x="13500" y="8308"/>
                  </a:cubicBezTo>
                  <a:cubicBezTo>
                    <a:pt x="8100" y="6646"/>
                    <a:pt x="10800" y="2492"/>
                    <a:pt x="18900" y="3323"/>
                  </a:cubicBezTo>
                  <a:cubicBezTo>
                    <a:pt x="21600" y="831"/>
                    <a:pt x="21600" y="831"/>
                    <a:pt x="16200" y="0"/>
                  </a:cubicBezTo>
                  <a:cubicBezTo>
                    <a:pt x="10800" y="0"/>
                    <a:pt x="8100" y="4154"/>
                    <a:pt x="5400" y="5815"/>
                  </a:cubicBezTo>
                  <a:cubicBezTo>
                    <a:pt x="2700" y="6646"/>
                    <a:pt x="0" y="7477"/>
                    <a:pt x="0" y="9138"/>
                  </a:cubicBezTo>
                  <a:cubicBezTo>
                    <a:pt x="0" y="9969"/>
                    <a:pt x="2700" y="11631"/>
                    <a:pt x="2700" y="13292"/>
                  </a:cubicBezTo>
                  <a:cubicBezTo>
                    <a:pt x="2700" y="15785"/>
                    <a:pt x="5400" y="18277"/>
                    <a:pt x="5400" y="21600"/>
                  </a:cubicBezTo>
                  <a:cubicBezTo>
                    <a:pt x="5400" y="20769"/>
                    <a:pt x="5400" y="20769"/>
                    <a:pt x="5400" y="20769"/>
                  </a:cubicBezTo>
                  <a:cubicBezTo>
                    <a:pt x="8100" y="19108"/>
                    <a:pt x="8100" y="16615"/>
                    <a:pt x="10800" y="14123"/>
                  </a:cubicBezTo>
                  <a:cubicBezTo>
                    <a:pt x="10800" y="13292"/>
                    <a:pt x="10800" y="14954"/>
                    <a:pt x="10800" y="1412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1" name="Shape 2110">
              <a:extLst>
                <a:ext uri="{FF2B5EF4-FFF2-40B4-BE49-F238E27FC236}">
                  <a16:creationId xmlns:a16="http://schemas.microsoft.com/office/drawing/2014/main" id="{1C1CEB3E-7CC4-A4A7-E206-237D7008FCFC}"/>
                </a:ext>
              </a:extLst>
            </p:cNvPr>
            <p:cNvSpPr/>
            <p:nvPr/>
          </p:nvSpPr>
          <p:spPr>
            <a:xfrm>
              <a:off x="7162286" y="2872933"/>
              <a:ext cx="24630" cy="51706"/>
            </a:xfrm>
            <a:custGeom>
              <a:avLst/>
              <a:gdLst/>
              <a:ahLst/>
              <a:cxnLst>
                <a:cxn ang="0">
                  <a:pos x="wd2" y="hd2"/>
                </a:cxn>
                <a:cxn ang="5400000">
                  <a:pos x="wd2" y="hd2"/>
                </a:cxn>
                <a:cxn ang="10800000">
                  <a:pos x="wd2" y="hd2"/>
                </a:cxn>
                <a:cxn ang="16200000">
                  <a:pos x="wd2" y="hd2"/>
                </a:cxn>
              </a:cxnLst>
              <a:rect l="0" t="0" r="r" b="b"/>
              <a:pathLst>
                <a:path w="15781" h="21600" extrusionOk="0">
                  <a:moveTo>
                    <a:pt x="12960" y="21600"/>
                  </a:moveTo>
                  <a:cubicBezTo>
                    <a:pt x="12960" y="18900"/>
                    <a:pt x="21600" y="0"/>
                    <a:pt x="8640" y="0"/>
                  </a:cubicBezTo>
                  <a:cubicBezTo>
                    <a:pt x="4320" y="2700"/>
                    <a:pt x="0" y="8100"/>
                    <a:pt x="0" y="10800"/>
                  </a:cubicBezTo>
                  <a:cubicBezTo>
                    <a:pt x="0" y="16200"/>
                    <a:pt x="4320" y="18900"/>
                    <a:pt x="12960" y="21600"/>
                  </a:cubicBezTo>
                  <a:cubicBezTo>
                    <a:pt x="12960" y="21600"/>
                    <a:pt x="8640" y="21600"/>
                    <a:pt x="12960"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2" name="Shape 2111">
              <a:extLst>
                <a:ext uri="{FF2B5EF4-FFF2-40B4-BE49-F238E27FC236}">
                  <a16:creationId xmlns:a16="http://schemas.microsoft.com/office/drawing/2014/main" id="{AB386084-8769-03E5-4091-56AF6103C37A}"/>
                </a:ext>
              </a:extLst>
            </p:cNvPr>
            <p:cNvSpPr/>
            <p:nvPr/>
          </p:nvSpPr>
          <p:spPr>
            <a:xfrm>
              <a:off x="6894251" y="3117967"/>
              <a:ext cx="343197" cy="217021"/>
            </a:xfrm>
            <a:custGeom>
              <a:avLst/>
              <a:gdLst/>
              <a:ahLst/>
              <a:cxnLst>
                <a:cxn ang="0">
                  <a:pos x="wd2" y="hd2"/>
                </a:cxn>
                <a:cxn ang="5400000">
                  <a:pos x="wd2" y="hd2"/>
                </a:cxn>
                <a:cxn ang="10800000">
                  <a:pos x="wd2" y="hd2"/>
                </a:cxn>
                <a:cxn ang="16200000">
                  <a:pos x="wd2" y="hd2"/>
                </a:cxn>
              </a:cxnLst>
              <a:rect l="0" t="0" r="r" b="b"/>
              <a:pathLst>
                <a:path w="21144" h="21063" extrusionOk="0">
                  <a:moveTo>
                    <a:pt x="19053" y="0"/>
                  </a:moveTo>
                  <a:cubicBezTo>
                    <a:pt x="17830" y="635"/>
                    <a:pt x="16607" y="1271"/>
                    <a:pt x="15385" y="1271"/>
                  </a:cubicBezTo>
                  <a:cubicBezTo>
                    <a:pt x="14162" y="1906"/>
                    <a:pt x="12532" y="1271"/>
                    <a:pt x="11309" y="2541"/>
                  </a:cubicBezTo>
                  <a:cubicBezTo>
                    <a:pt x="10494" y="3812"/>
                    <a:pt x="10087" y="5082"/>
                    <a:pt x="9272" y="6353"/>
                  </a:cubicBezTo>
                  <a:cubicBezTo>
                    <a:pt x="8864" y="6988"/>
                    <a:pt x="7641" y="5718"/>
                    <a:pt x="6826" y="5718"/>
                  </a:cubicBezTo>
                  <a:cubicBezTo>
                    <a:pt x="5604" y="5718"/>
                    <a:pt x="4789" y="5718"/>
                    <a:pt x="3566" y="5718"/>
                  </a:cubicBezTo>
                  <a:cubicBezTo>
                    <a:pt x="2343" y="5718"/>
                    <a:pt x="1121" y="5082"/>
                    <a:pt x="1121" y="7624"/>
                  </a:cubicBezTo>
                  <a:cubicBezTo>
                    <a:pt x="713" y="8894"/>
                    <a:pt x="306" y="8259"/>
                    <a:pt x="306" y="9529"/>
                  </a:cubicBezTo>
                  <a:cubicBezTo>
                    <a:pt x="-102" y="10800"/>
                    <a:pt x="-102" y="12071"/>
                    <a:pt x="306" y="13341"/>
                  </a:cubicBezTo>
                  <a:cubicBezTo>
                    <a:pt x="306" y="14612"/>
                    <a:pt x="713" y="16518"/>
                    <a:pt x="1121" y="17788"/>
                  </a:cubicBezTo>
                  <a:cubicBezTo>
                    <a:pt x="1121" y="18424"/>
                    <a:pt x="1121" y="19694"/>
                    <a:pt x="1528" y="20329"/>
                  </a:cubicBezTo>
                  <a:cubicBezTo>
                    <a:pt x="1936" y="21600"/>
                    <a:pt x="3973" y="20965"/>
                    <a:pt x="4789" y="20329"/>
                  </a:cubicBezTo>
                  <a:cubicBezTo>
                    <a:pt x="5196" y="19694"/>
                    <a:pt x="5604" y="19059"/>
                    <a:pt x="6419" y="18424"/>
                  </a:cubicBezTo>
                  <a:cubicBezTo>
                    <a:pt x="6826" y="18424"/>
                    <a:pt x="7641" y="18424"/>
                    <a:pt x="8456" y="18424"/>
                  </a:cubicBezTo>
                  <a:cubicBezTo>
                    <a:pt x="8864" y="17788"/>
                    <a:pt x="9272" y="17153"/>
                    <a:pt x="9679" y="16518"/>
                  </a:cubicBezTo>
                  <a:cubicBezTo>
                    <a:pt x="10902" y="15882"/>
                    <a:pt x="11717" y="15882"/>
                    <a:pt x="12940" y="15247"/>
                  </a:cubicBezTo>
                  <a:cubicBezTo>
                    <a:pt x="14162" y="14612"/>
                    <a:pt x="15385" y="13976"/>
                    <a:pt x="16607" y="13341"/>
                  </a:cubicBezTo>
                  <a:cubicBezTo>
                    <a:pt x="17423" y="12706"/>
                    <a:pt x="19053" y="12071"/>
                    <a:pt x="19053" y="10800"/>
                  </a:cubicBezTo>
                  <a:cubicBezTo>
                    <a:pt x="19460" y="8894"/>
                    <a:pt x="21498" y="8894"/>
                    <a:pt x="21090" y="7624"/>
                  </a:cubicBezTo>
                  <a:cubicBezTo>
                    <a:pt x="20275" y="5082"/>
                    <a:pt x="19868" y="2541"/>
                    <a:pt x="1905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3" name="Shape 2112">
              <a:extLst>
                <a:ext uri="{FF2B5EF4-FFF2-40B4-BE49-F238E27FC236}">
                  <a16:creationId xmlns:a16="http://schemas.microsoft.com/office/drawing/2014/main" id="{8C10099E-1135-59AC-F43E-D226351D87FB}"/>
                </a:ext>
              </a:extLst>
            </p:cNvPr>
            <p:cNvSpPr/>
            <p:nvPr/>
          </p:nvSpPr>
          <p:spPr>
            <a:xfrm>
              <a:off x="7202737" y="2872933"/>
              <a:ext cx="260959" cy="323713"/>
            </a:xfrm>
            <a:custGeom>
              <a:avLst/>
              <a:gdLst/>
              <a:ahLst/>
              <a:cxnLst>
                <a:cxn ang="0">
                  <a:pos x="wd2" y="hd2"/>
                </a:cxn>
                <a:cxn ang="5400000">
                  <a:pos x="wd2" y="hd2"/>
                </a:cxn>
                <a:cxn ang="10800000">
                  <a:pos x="wd2" y="hd2"/>
                </a:cxn>
                <a:cxn ang="16200000">
                  <a:pos x="wd2" y="hd2"/>
                </a:cxn>
              </a:cxnLst>
              <a:rect l="0" t="0" r="r" b="b"/>
              <a:pathLst>
                <a:path w="20901" h="21600" extrusionOk="0">
                  <a:moveTo>
                    <a:pt x="20546" y="8376"/>
                  </a:moveTo>
                  <a:cubicBezTo>
                    <a:pt x="18966" y="8376"/>
                    <a:pt x="18439" y="7053"/>
                    <a:pt x="17912" y="6171"/>
                  </a:cubicBezTo>
                  <a:cubicBezTo>
                    <a:pt x="17385" y="5731"/>
                    <a:pt x="15278" y="5731"/>
                    <a:pt x="14751" y="5290"/>
                  </a:cubicBezTo>
                  <a:cubicBezTo>
                    <a:pt x="13171" y="4849"/>
                    <a:pt x="12644" y="3967"/>
                    <a:pt x="11590" y="2645"/>
                  </a:cubicBezTo>
                  <a:cubicBezTo>
                    <a:pt x="11590" y="2204"/>
                    <a:pt x="11063" y="1763"/>
                    <a:pt x="11063" y="1322"/>
                  </a:cubicBezTo>
                  <a:cubicBezTo>
                    <a:pt x="11063" y="1322"/>
                    <a:pt x="11590" y="0"/>
                    <a:pt x="11590" y="0"/>
                  </a:cubicBezTo>
                  <a:cubicBezTo>
                    <a:pt x="11063" y="0"/>
                    <a:pt x="9483" y="1763"/>
                    <a:pt x="8956" y="2204"/>
                  </a:cubicBezTo>
                  <a:cubicBezTo>
                    <a:pt x="7902" y="3086"/>
                    <a:pt x="6849" y="4408"/>
                    <a:pt x="5268" y="4408"/>
                  </a:cubicBezTo>
                  <a:cubicBezTo>
                    <a:pt x="4215" y="4849"/>
                    <a:pt x="3688" y="4408"/>
                    <a:pt x="2634" y="4408"/>
                  </a:cubicBezTo>
                  <a:cubicBezTo>
                    <a:pt x="1580" y="4849"/>
                    <a:pt x="527" y="5731"/>
                    <a:pt x="0" y="4849"/>
                  </a:cubicBezTo>
                  <a:cubicBezTo>
                    <a:pt x="527" y="6171"/>
                    <a:pt x="1054" y="7494"/>
                    <a:pt x="2634" y="7494"/>
                  </a:cubicBezTo>
                  <a:cubicBezTo>
                    <a:pt x="3688" y="7494"/>
                    <a:pt x="7902" y="7494"/>
                    <a:pt x="8429" y="8376"/>
                  </a:cubicBezTo>
                  <a:cubicBezTo>
                    <a:pt x="10010" y="10139"/>
                    <a:pt x="8956" y="11902"/>
                    <a:pt x="8429" y="14106"/>
                  </a:cubicBezTo>
                  <a:cubicBezTo>
                    <a:pt x="7902" y="14547"/>
                    <a:pt x="5795" y="14988"/>
                    <a:pt x="5795" y="14988"/>
                  </a:cubicBezTo>
                  <a:cubicBezTo>
                    <a:pt x="3688" y="15429"/>
                    <a:pt x="1580" y="15869"/>
                    <a:pt x="0" y="16310"/>
                  </a:cubicBezTo>
                  <a:cubicBezTo>
                    <a:pt x="1054" y="18073"/>
                    <a:pt x="2107" y="19837"/>
                    <a:pt x="2634" y="21600"/>
                  </a:cubicBezTo>
                  <a:cubicBezTo>
                    <a:pt x="4215" y="21159"/>
                    <a:pt x="5795" y="21159"/>
                    <a:pt x="7376" y="21159"/>
                  </a:cubicBezTo>
                  <a:cubicBezTo>
                    <a:pt x="9483" y="20718"/>
                    <a:pt x="7902" y="20278"/>
                    <a:pt x="8956" y="19396"/>
                  </a:cubicBezTo>
                  <a:cubicBezTo>
                    <a:pt x="10010" y="18955"/>
                    <a:pt x="11590" y="19396"/>
                    <a:pt x="12117" y="18514"/>
                  </a:cubicBezTo>
                  <a:cubicBezTo>
                    <a:pt x="13171" y="17633"/>
                    <a:pt x="13171" y="17192"/>
                    <a:pt x="14751" y="16751"/>
                  </a:cubicBezTo>
                  <a:cubicBezTo>
                    <a:pt x="15805" y="16310"/>
                    <a:pt x="15278" y="14988"/>
                    <a:pt x="15278" y="14106"/>
                  </a:cubicBezTo>
                  <a:cubicBezTo>
                    <a:pt x="14751" y="13224"/>
                    <a:pt x="15805" y="13224"/>
                    <a:pt x="16859" y="13224"/>
                  </a:cubicBezTo>
                  <a:cubicBezTo>
                    <a:pt x="18439" y="12784"/>
                    <a:pt x="18439" y="11461"/>
                    <a:pt x="19493" y="10580"/>
                  </a:cubicBezTo>
                  <a:cubicBezTo>
                    <a:pt x="20020" y="10139"/>
                    <a:pt x="21600" y="8816"/>
                    <a:pt x="20546" y="8376"/>
                  </a:cubicBezTo>
                  <a:cubicBezTo>
                    <a:pt x="20020" y="8376"/>
                    <a:pt x="21073" y="8816"/>
                    <a:pt x="20546" y="837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4" name="Shape 2113">
              <a:extLst>
                <a:ext uri="{FF2B5EF4-FFF2-40B4-BE49-F238E27FC236}">
                  <a16:creationId xmlns:a16="http://schemas.microsoft.com/office/drawing/2014/main" id="{D6117834-91AC-E3F4-9881-D011EF9AFD78}"/>
                </a:ext>
              </a:extLst>
            </p:cNvPr>
            <p:cNvSpPr/>
            <p:nvPr/>
          </p:nvSpPr>
          <p:spPr>
            <a:xfrm>
              <a:off x="7781942" y="2239000"/>
              <a:ext cx="355718" cy="153719"/>
            </a:xfrm>
            <a:custGeom>
              <a:avLst/>
              <a:gdLst/>
              <a:ahLst/>
              <a:cxnLst>
                <a:cxn ang="0">
                  <a:pos x="wd2" y="hd2"/>
                </a:cxn>
                <a:cxn ang="5400000">
                  <a:pos x="wd2" y="hd2"/>
                </a:cxn>
                <a:cxn ang="10800000">
                  <a:pos x="wd2" y="hd2"/>
                </a:cxn>
                <a:cxn ang="16200000">
                  <a:pos x="wd2" y="hd2"/>
                </a:cxn>
              </a:cxnLst>
              <a:rect l="0" t="0" r="r" b="b"/>
              <a:pathLst>
                <a:path w="21235" h="21100" extrusionOk="0">
                  <a:moveTo>
                    <a:pt x="21235" y="4500"/>
                  </a:moveTo>
                  <a:cubicBezTo>
                    <a:pt x="20057" y="4500"/>
                    <a:pt x="19271" y="2700"/>
                    <a:pt x="18093" y="2700"/>
                  </a:cubicBezTo>
                  <a:cubicBezTo>
                    <a:pt x="16915" y="1800"/>
                    <a:pt x="15344" y="1800"/>
                    <a:pt x="13773" y="1800"/>
                  </a:cubicBezTo>
                  <a:cubicBezTo>
                    <a:pt x="12595" y="1800"/>
                    <a:pt x="11417" y="1800"/>
                    <a:pt x="10239" y="0"/>
                  </a:cubicBezTo>
                  <a:cubicBezTo>
                    <a:pt x="9453" y="0"/>
                    <a:pt x="8668" y="0"/>
                    <a:pt x="8275" y="1800"/>
                  </a:cubicBezTo>
                  <a:cubicBezTo>
                    <a:pt x="8275" y="3600"/>
                    <a:pt x="7882" y="4500"/>
                    <a:pt x="7097" y="3600"/>
                  </a:cubicBezTo>
                  <a:cubicBezTo>
                    <a:pt x="6311" y="2700"/>
                    <a:pt x="4348" y="900"/>
                    <a:pt x="3955" y="4500"/>
                  </a:cubicBezTo>
                  <a:cubicBezTo>
                    <a:pt x="3562" y="5400"/>
                    <a:pt x="3955" y="5400"/>
                    <a:pt x="3170" y="6300"/>
                  </a:cubicBezTo>
                  <a:cubicBezTo>
                    <a:pt x="2777" y="7200"/>
                    <a:pt x="1991" y="9000"/>
                    <a:pt x="2777" y="9900"/>
                  </a:cubicBezTo>
                  <a:cubicBezTo>
                    <a:pt x="3170" y="10800"/>
                    <a:pt x="4348" y="11700"/>
                    <a:pt x="4348" y="10800"/>
                  </a:cubicBezTo>
                  <a:cubicBezTo>
                    <a:pt x="4740" y="9000"/>
                    <a:pt x="5133" y="9900"/>
                    <a:pt x="5526" y="10800"/>
                  </a:cubicBezTo>
                  <a:cubicBezTo>
                    <a:pt x="5919" y="11700"/>
                    <a:pt x="7490" y="12600"/>
                    <a:pt x="7097" y="13500"/>
                  </a:cubicBezTo>
                  <a:cubicBezTo>
                    <a:pt x="7097" y="14400"/>
                    <a:pt x="5919" y="14400"/>
                    <a:pt x="5526" y="15300"/>
                  </a:cubicBezTo>
                  <a:cubicBezTo>
                    <a:pt x="5133" y="16200"/>
                    <a:pt x="4740" y="17100"/>
                    <a:pt x="3955" y="15300"/>
                  </a:cubicBezTo>
                  <a:cubicBezTo>
                    <a:pt x="3562" y="14400"/>
                    <a:pt x="3562" y="17100"/>
                    <a:pt x="3562" y="18000"/>
                  </a:cubicBezTo>
                  <a:cubicBezTo>
                    <a:pt x="1991" y="19800"/>
                    <a:pt x="1206" y="13500"/>
                    <a:pt x="28" y="18000"/>
                  </a:cubicBezTo>
                  <a:cubicBezTo>
                    <a:pt x="-365" y="18900"/>
                    <a:pt x="3562" y="20700"/>
                    <a:pt x="3955" y="19800"/>
                  </a:cubicBezTo>
                  <a:cubicBezTo>
                    <a:pt x="4348" y="18900"/>
                    <a:pt x="5133" y="19800"/>
                    <a:pt x="5526" y="20700"/>
                  </a:cubicBezTo>
                  <a:cubicBezTo>
                    <a:pt x="5919" y="20700"/>
                    <a:pt x="7097" y="21600"/>
                    <a:pt x="7882" y="20700"/>
                  </a:cubicBezTo>
                  <a:cubicBezTo>
                    <a:pt x="8275" y="19800"/>
                    <a:pt x="9060" y="20700"/>
                    <a:pt x="9453" y="18000"/>
                  </a:cubicBezTo>
                  <a:cubicBezTo>
                    <a:pt x="9453" y="17100"/>
                    <a:pt x="10239" y="16200"/>
                    <a:pt x="10631" y="15300"/>
                  </a:cubicBezTo>
                  <a:cubicBezTo>
                    <a:pt x="11024" y="14400"/>
                    <a:pt x="12595" y="14400"/>
                    <a:pt x="12595" y="14400"/>
                  </a:cubicBezTo>
                  <a:cubicBezTo>
                    <a:pt x="12988" y="16200"/>
                    <a:pt x="13380" y="14400"/>
                    <a:pt x="14166" y="14400"/>
                  </a:cubicBezTo>
                  <a:cubicBezTo>
                    <a:pt x="14559" y="14400"/>
                    <a:pt x="14951" y="11700"/>
                    <a:pt x="15344" y="11700"/>
                  </a:cubicBezTo>
                  <a:cubicBezTo>
                    <a:pt x="15737" y="10800"/>
                    <a:pt x="16522" y="11700"/>
                    <a:pt x="16915" y="10800"/>
                  </a:cubicBezTo>
                  <a:cubicBezTo>
                    <a:pt x="18486" y="9900"/>
                    <a:pt x="19271" y="8100"/>
                    <a:pt x="20842" y="6300"/>
                  </a:cubicBezTo>
                  <a:cubicBezTo>
                    <a:pt x="21235" y="6300"/>
                    <a:pt x="21235" y="6300"/>
                    <a:pt x="21235" y="45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5" name="Shape 2114">
              <a:extLst>
                <a:ext uri="{FF2B5EF4-FFF2-40B4-BE49-F238E27FC236}">
                  <a16:creationId xmlns:a16="http://schemas.microsoft.com/office/drawing/2014/main" id="{B35C7867-9E67-19AC-CA02-9AD199514136}"/>
                </a:ext>
              </a:extLst>
            </p:cNvPr>
            <p:cNvSpPr/>
            <p:nvPr/>
          </p:nvSpPr>
          <p:spPr>
            <a:xfrm>
              <a:off x="7338999" y="2140089"/>
              <a:ext cx="562760" cy="343943"/>
            </a:xfrm>
            <a:custGeom>
              <a:avLst/>
              <a:gdLst/>
              <a:ahLst/>
              <a:cxnLst>
                <a:cxn ang="0">
                  <a:pos x="wd2" y="hd2"/>
                </a:cxn>
                <a:cxn ang="5400000">
                  <a:pos x="wd2" y="hd2"/>
                </a:cxn>
                <a:cxn ang="10800000">
                  <a:pos x="wd2" y="hd2"/>
                </a:cxn>
                <a:cxn ang="16200000">
                  <a:pos x="wd2" y="hd2"/>
                </a:cxn>
              </a:cxnLst>
              <a:rect l="0" t="0" r="r" b="b"/>
              <a:pathLst>
                <a:path w="20723" h="21600" extrusionOk="0">
                  <a:moveTo>
                    <a:pt x="18795" y="13292"/>
                  </a:moveTo>
                  <a:cubicBezTo>
                    <a:pt x="19038" y="13708"/>
                    <a:pt x="19038" y="14123"/>
                    <a:pt x="19523" y="13708"/>
                  </a:cubicBezTo>
                  <a:cubicBezTo>
                    <a:pt x="19766" y="13708"/>
                    <a:pt x="20009" y="12877"/>
                    <a:pt x="20252" y="12877"/>
                  </a:cubicBezTo>
                  <a:cubicBezTo>
                    <a:pt x="21465" y="12462"/>
                    <a:pt x="20009" y="11631"/>
                    <a:pt x="19523" y="10800"/>
                  </a:cubicBezTo>
                  <a:cubicBezTo>
                    <a:pt x="19281" y="10385"/>
                    <a:pt x="19281" y="10800"/>
                    <a:pt x="19038" y="11215"/>
                  </a:cubicBezTo>
                  <a:cubicBezTo>
                    <a:pt x="19038" y="11631"/>
                    <a:pt x="18310" y="11215"/>
                    <a:pt x="18067" y="11215"/>
                  </a:cubicBezTo>
                  <a:cubicBezTo>
                    <a:pt x="17096" y="10385"/>
                    <a:pt x="18553" y="9138"/>
                    <a:pt x="18795" y="8723"/>
                  </a:cubicBezTo>
                  <a:cubicBezTo>
                    <a:pt x="18795" y="8723"/>
                    <a:pt x="17825" y="9138"/>
                    <a:pt x="17825" y="9138"/>
                  </a:cubicBezTo>
                  <a:cubicBezTo>
                    <a:pt x="17339" y="9554"/>
                    <a:pt x="16854" y="9554"/>
                    <a:pt x="16368" y="10385"/>
                  </a:cubicBezTo>
                  <a:cubicBezTo>
                    <a:pt x="16126" y="10800"/>
                    <a:pt x="15883" y="11631"/>
                    <a:pt x="15640" y="12046"/>
                  </a:cubicBezTo>
                  <a:cubicBezTo>
                    <a:pt x="15398" y="13292"/>
                    <a:pt x="15155" y="12462"/>
                    <a:pt x="14912" y="11631"/>
                  </a:cubicBezTo>
                  <a:cubicBezTo>
                    <a:pt x="14669" y="10800"/>
                    <a:pt x="14184" y="11215"/>
                    <a:pt x="13699" y="11215"/>
                  </a:cubicBezTo>
                  <a:cubicBezTo>
                    <a:pt x="13213" y="11215"/>
                    <a:pt x="12971" y="9969"/>
                    <a:pt x="12728" y="9554"/>
                  </a:cubicBezTo>
                  <a:cubicBezTo>
                    <a:pt x="12243" y="8723"/>
                    <a:pt x="12971" y="7892"/>
                    <a:pt x="12485" y="7062"/>
                  </a:cubicBezTo>
                  <a:cubicBezTo>
                    <a:pt x="12243" y="6646"/>
                    <a:pt x="12000" y="5815"/>
                    <a:pt x="11757" y="5400"/>
                  </a:cubicBezTo>
                  <a:cubicBezTo>
                    <a:pt x="11514" y="4985"/>
                    <a:pt x="11029" y="4569"/>
                    <a:pt x="10786" y="4985"/>
                  </a:cubicBezTo>
                  <a:cubicBezTo>
                    <a:pt x="10301" y="5400"/>
                    <a:pt x="9816" y="4985"/>
                    <a:pt x="9087" y="4985"/>
                  </a:cubicBezTo>
                  <a:cubicBezTo>
                    <a:pt x="8602" y="4985"/>
                    <a:pt x="7874" y="5400"/>
                    <a:pt x="7389" y="4985"/>
                  </a:cubicBezTo>
                  <a:cubicBezTo>
                    <a:pt x="7146" y="4569"/>
                    <a:pt x="6661" y="3738"/>
                    <a:pt x="6418" y="3323"/>
                  </a:cubicBezTo>
                  <a:cubicBezTo>
                    <a:pt x="5932" y="2492"/>
                    <a:pt x="5690" y="2492"/>
                    <a:pt x="5447" y="3323"/>
                  </a:cubicBezTo>
                  <a:cubicBezTo>
                    <a:pt x="5204" y="3738"/>
                    <a:pt x="4962" y="4154"/>
                    <a:pt x="4476" y="4154"/>
                  </a:cubicBezTo>
                  <a:cubicBezTo>
                    <a:pt x="3748" y="4154"/>
                    <a:pt x="3748" y="3323"/>
                    <a:pt x="3991" y="2492"/>
                  </a:cubicBezTo>
                  <a:cubicBezTo>
                    <a:pt x="4234" y="1246"/>
                    <a:pt x="4234" y="1246"/>
                    <a:pt x="3505" y="415"/>
                  </a:cubicBezTo>
                  <a:cubicBezTo>
                    <a:pt x="3505" y="831"/>
                    <a:pt x="3505" y="1662"/>
                    <a:pt x="3505" y="2077"/>
                  </a:cubicBezTo>
                  <a:cubicBezTo>
                    <a:pt x="3505" y="2908"/>
                    <a:pt x="3748" y="3323"/>
                    <a:pt x="3263" y="3323"/>
                  </a:cubicBezTo>
                  <a:cubicBezTo>
                    <a:pt x="2777" y="2908"/>
                    <a:pt x="2777" y="1662"/>
                    <a:pt x="3020" y="1246"/>
                  </a:cubicBezTo>
                  <a:cubicBezTo>
                    <a:pt x="3020" y="1246"/>
                    <a:pt x="3505" y="0"/>
                    <a:pt x="3263" y="0"/>
                  </a:cubicBezTo>
                  <a:cubicBezTo>
                    <a:pt x="2049" y="415"/>
                    <a:pt x="1078" y="831"/>
                    <a:pt x="108" y="1662"/>
                  </a:cubicBezTo>
                  <a:cubicBezTo>
                    <a:pt x="-135" y="1662"/>
                    <a:pt x="108" y="5815"/>
                    <a:pt x="108" y="6231"/>
                  </a:cubicBezTo>
                  <a:cubicBezTo>
                    <a:pt x="108" y="7477"/>
                    <a:pt x="108" y="8723"/>
                    <a:pt x="108" y="9554"/>
                  </a:cubicBezTo>
                  <a:cubicBezTo>
                    <a:pt x="108" y="10385"/>
                    <a:pt x="-135" y="10800"/>
                    <a:pt x="350" y="10800"/>
                  </a:cubicBezTo>
                  <a:cubicBezTo>
                    <a:pt x="593" y="10800"/>
                    <a:pt x="836" y="10800"/>
                    <a:pt x="1321" y="10800"/>
                  </a:cubicBezTo>
                  <a:cubicBezTo>
                    <a:pt x="1807" y="10800"/>
                    <a:pt x="1078" y="9969"/>
                    <a:pt x="1321" y="9554"/>
                  </a:cubicBezTo>
                  <a:cubicBezTo>
                    <a:pt x="1564" y="8723"/>
                    <a:pt x="2049" y="9138"/>
                    <a:pt x="2292" y="8308"/>
                  </a:cubicBezTo>
                  <a:cubicBezTo>
                    <a:pt x="2777" y="7892"/>
                    <a:pt x="2777" y="7892"/>
                    <a:pt x="3020" y="7477"/>
                  </a:cubicBezTo>
                  <a:cubicBezTo>
                    <a:pt x="3505" y="7062"/>
                    <a:pt x="3748" y="7477"/>
                    <a:pt x="3991" y="7892"/>
                  </a:cubicBezTo>
                  <a:cubicBezTo>
                    <a:pt x="4234" y="8308"/>
                    <a:pt x="4962" y="8308"/>
                    <a:pt x="4962" y="8308"/>
                  </a:cubicBezTo>
                  <a:cubicBezTo>
                    <a:pt x="5204" y="9138"/>
                    <a:pt x="4962" y="9554"/>
                    <a:pt x="4962" y="9969"/>
                  </a:cubicBezTo>
                  <a:cubicBezTo>
                    <a:pt x="5204" y="11215"/>
                    <a:pt x="5932" y="11215"/>
                    <a:pt x="6175" y="11215"/>
                  </a:cubicBezTo>
                  <a:cubicBezTo>
                    <a:pt x="7389" y="11215"/>
                    <a:pt x="7389" y="12462"/>
                    <a:pt x="7874" y="14123"/>
                  </a:cubicBezTo>
                  <a:cubicBezTo>
                    <a:pt x="8117" y="14538"/>
                    <a:pt x="8602" y="14954"/>
                    <a:pt x="9087" y="15369"/>
                  </a:cubicBezTo>
                  <a:cubicBezTo>
                    <a:pt x="9330" y="15369"/>
                    <a:pt x="9573" y="15785"/>
                    <a:pt x="9816" y="16200"/>
                  </a:cubicBezTo>
                  <a:cubicBezTo>
                    <a:pt x="10544" y="17031"/>
                    <a:pt x="11272" y="18277"/>
                    <a:pt x="12000" y="18692"/>
                  </a:cubicBezTo>
                  <a:cubicBezTo>
                    <a:pt x="12971" y="19108"/>
                    <a:pt x="12971" y="19108"/>
                    <a:pt x="12971" y="20354"/>
                  </a:cubicBezTo>
                  <a:cubicBezTo>
                    <a:pt x="13456" y="20354"/>
                    <a:pt x="14184" y="21185"/>
                    <a:pt x="14669" y="21600"/>
                  </a:cubicBezTo>
                  <a:cubicBezTo>
                    <a:pt x="14669" y="20354"/>
                    <a:pt x="14427" y="20354"/>
                    <a:pt x="15155" y="19523"/>
                  </a:cubicBezTo>
                  <a:cubicBezTo>
                    <a:pt x="15398" y="18692"/>
                    <a:pt x="14912" y="18277"/>
                    <a:pt x="14912" y="17446"/>
                  </a:cubicBezTo>
                  <a:cubicBezTo>
                    <a:pt x="15155" y="16200"/>
                    <a:pt x="14427" y="16615"/>
                    <a:pt x="14184" y="15785"/>
                  </a:cubicBezTo>
                  <a:cubicBezTo>
                    <a:pt x="13941" y="14954"/>
                    <a:pt x="15155" y="15369"/>
                    <a:pt x="15398" y="14954"/>
                  </a:cubicBezTo>
                  <a:cubicBezTo>
                    <a:pt x="16126" y="14538"/>
                    <a:pt x="15398" y="13292"/>
                    <a:pt x="15883" y="13708"/>
                  </a:cubicBezTo>
                  <a:cubicBezTo>
                    <a:pt x="16854" y="13708"/>
                    <a:pt x="15883" y="12462"/>
                    <a:pt x="16368" y="12462"/>
                  </a:cubicBezTo>
                  <a:cubicBezTo>
                    <a:pt x="16611" y="12046"/>
                    <a:pt x="16854" y="12877"/>
                    <a:pt x="17096" y="12462"/>
                  </a:cubicBezTo>
                  <a:cubicBezTo>
                    <a:pt x="17339" y="12462"/>
                    <a:pt x="17582" y="12046"/>
                    <a:pt x="17825" y="12046"/>
                  </a:cubicBezTo>
                  <a:cubicBezTo>
                    <a:pt x="18310" y="12046"/>
                    <a:pt x="17825" y="13708"/>
                    <a:pt x="17825" y="14123"/>
                  </a:cubicBezTo>
                  <a:cubicBezTo>
                    <a:pt x="18067" y="14123"/>
                    <a:pt x="18553" y="12877"/>
                    <a:pt x="18553" y="14123"/>
                  </a:cubicBezTo>
                  <a:cubicBezTo>
                    <a:pt x="18553" y="14123"/>
                    <a:pt x="18553" y="13292"/>
                    <a:pt x="18795" y="13292"/>
                  </a:cubicBezTo>
                  <a:cubicBezTo>
                    <a:pt x="19038" y="13292"/>
                    <a:pt x="18553" y="13292"/>
                    <a:pt x="18795" y="1329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6" name="Shape 2115">
              <a:extLst>
                <a:ext uri="{FF2B5EF4-FFF2-40B4-BE49-F238E27FC236}">
                  <a16:creationId xmlns:a16="http://schemas.microsoft.com/office/drawing/2014/main" id="{178FB4B5-4184-1EFB-003A-BD0DF57D1C2D}"/>
                </a:ext>
              </a:extLst>
            </p:cNvPr>
            <p:cNvSpPr/>
            <p:nvPr/>
          </p:nvSpPr>
          <p:spPr>
            <a:xfrm>
              <a:off x="7511457" y="2522247"/>
              <a:ext cx="1140" cy="6746"/>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7" name="Shape 2116">
              <a:extLst>
                <a:ext uri="{FF2B5EF4-FFF2-40B4-BE49-F238E27FC236}">
                  <a16:creationId xmlns:a16="http://schemas.microsoft.com/office/drawing/2014/main" id="{77A7540A-300C-D72B-7D2F-23EC8B324482}"/>
                </a:ext>
              </a:extLst>
            </p:cNvPr>
            <p:cNvSpPr/>
            <p:nvPr/>
          </p:nvSpPr>
          <p:spPr>
            <a:xfrm>
              <a:off x="7222659" y="2259232"/>
              <a:ext cx="467768" cy="283247"/>
            </a:xfrm>
            <a:custGeom>
              <a:avLst/>
              <a:gdLst/>
              <a:ahLst/>
              <a:cxnLst>
                <a:cxn ang="0">
                  <a:pos x="wd2" y="hd2"/>
                </a:cxn>
                <a:cxn ang="5400000">
                  <a:pos x="wd2" y="hd2"/>
                </a:cxn>
                <a:cxn ang="10800000">
                  <a:pos x="wd2" y="hd2"/>
                </a:cxn>
                <a:cxn ang="16200000">
                  <a:pos x="wd2" y="hd2"/>
                </a:cxn>
              </a:cxnLst>
              <a:rect l="0" t="0" r="r" b="b"/>
              <a:pathLst>
                <a:path w="21008" h="21600" extrusionOk="0">
                  <a:moveTo>
                    <a:pt x="21008" y="14065"/>
                  </a:moveTo>
                  <a:cubicBezTo>
                    <a:pt x="20712" y="13563"/>
                    <a:pt x="20416" y="13563"/>
                    <a:pt x="19824" y="13563"/>
                  </a:cubicBezTo>
                  <a:cubicBezTo>
                    <a:pt x="19529" y="13060"/>
                    <a:pt x="18937" y="12558"/>
                    <a:pt x="18641" y="12056"/>
                  </a:cubicBezTo>
                  <a:cubicBezTo>
                    <a:pt x="18049" y="11553"/>
                    <a:pt x="17161" y="11051"/>
                    <a:pt x="16570" y="10047"/>
                  </a:cubicBezTo>
                  <a:cubicBezTo>
                    <a:pt x="16274" y="9042"/>
                    <a:pt x="15386" y="9042"/>
                    <a:pt x="14794" y="8037"/>
                  </a:cubicBezTo>
                  <a:cubicBezTo>
                    <a:pt x="14498" y="6530"/>
                    <a:pt x="14203" y="4521"/>
                    <a:pt x="13315" y="4521"/>
                  </a:cubicBezTo>
                  <a:cubicBezTo>
                    <a:pt x="12427" y="4521"/>
                    <a:pt x="11244" y="4521"/>
                    <a:pt x="11244" y="2512"/>
                  </a:cubicBezTo>
                  <a:cubicBezTo>
                    <a:pt x="11244" y="2009"/>
                    <a:pt x="11540" y="1005"/>
                    <a:pt x="11244" y="1005"/>
                  </a:cubicBezTo>
                  <a:cubicBezTo>
                    <a:pt x="10948" y="502"/>
                    <a:pt x="10652" y="1005"/>
                    <a:pt x="10060" y="502"/>
                  </a:cubicBezTo>
                  <a:cubicBezTo>
                    <a:pt x="10060" y="502"/>
                    <a:pt x="9764" y="0"/>
                    <a:pt x="9468" y="0"/>
                  </a:cubicBezTo>
                  <a:cubicBezTo>
                    <a:pt x="9172" y="0"/>
                    <a:pt x="8876" y="502"/>
                    <a:pt x="8581" y="502"/>
                  </a:cubicBezTo>
                  <a:cubicBezTo>
                    <a:pt x="8285" y="0"/>
                    <a:pt x="7989" y="1507"/>
                    <a:pt x="7693" y="1507"/>
                  </a:cubicBezTo>
                  <a:cubicBezTo>
                    <a:pt x="7397" y="1507"/>
                    <a:pt x="6509" y="2009"/>
                    <a:pt x="6805" y="3014"/>
                  </a:cubicBezTo>
                  <a:cubicBezTo>
                    <a:pt x="7101" y="4521"/>
                    <a:pt x="6805" y="4019"/>
                    <a:pt x="5918" y="4019"/>
                  </a:cubicBezTo>
                  <a:cubicBezTo>
                    <a:pt x="5622" y="4019"/>
                    <a:pt x="4734" y="4019"/>
                    <a:pt x="4438" y="4019"/>
                  </a:cubicBezTo>
                  <a:cubicBezTo>
                    <a:pt x="3846" y="3014"/>
                    <a:pt x="3550" y="2009"/>
                    <a:pt x="2959" y="1005"/>
                  </a:cubicBezTo>
                  <a:cubicBezTo>
                    <a:pt x="2071" y="0"/>
                    <a:pt x="887" y="1507"/>
                    <a:pt x="0" y="2512"/>
                  </a:cubicBezTo>
                  <a:cubicBezTo>
                    <a:pt x="296" y="3014"/>
                    <a:pt x="1183" y="5023"/>
                    <a:pt x="887" y="6028"/>
                  </a:cubicBezTo>
                  <a:cubicBezTo>
                    <a:pt x="-592" y="7535"/>
                    <a:pt x="1183" y="7535"/>
                    <a:pt x="1775" y="8540"/>
                  </a:cubicBezTo>
                  <a:cubicBezTo>
                    <a:pt x="1775" y="8540"/>
                    <a:pt x="1775" y="9544"/>
                    <a:pt x="1775" y="9544"/>
                  </a:cubicBezTo>
                  <a:cubicBezTo>
                    <a:pt x="1479" y="10047"/>
                    <a:pt x="2071" y="11051"/>
                    <a:pt x="2367" y="11051"/>
                  </a:cubicBezTo>
                  <a:cubicBezTo>
                    <a:pt x="2367" y="11553"/>
                    <a:pt x="2071" y="12056"/>
                    <a:pt x="2071" y="13060"/>
                  </a:cubicBezTo>
                  <a:cubicBezTo>
                    <a:pt x="2071" y="13563"/>
                    <a:pt x="2071" y="14567"/>
                    <a:pt x="2071" y="15572"/>
                  </a:cubicBezTo>
                  <a:cubicBezTo>
                    <a:pt x="2663" y="15572"/>
                    <a:pt x="2959" y="15572"/>
                    <a:pt x="3550" y="14567"/>
                  </a:cubicBezTo>
                  <a:cubicBezTo>
                    <a:pt x="3846" y="14065"/>
                    <a:pt x="4142" y="13563"/>
                    <a:pt x="4438" y="13060"/>
                  </a:cubicBezTo>
                  <a:cubicBezTo>
                    <a:pt x="5622" y="13060"/>
                    <a:pt x="6509" y="12558"/>
                    <a:pt x="7397" y="13563"/>
                  </a:cubicBezTo>
                  <a:cubicBezTo>
                    <a:pt x="7989" y="15070"/>
                    <a:pt x="9764" y="14065"/>
                    <a:pt x="10356" y="15572"/>
                  </a:cubicBezTo>
                  <a:cubicBezTo>
                    <a:pt x="10948" y="17079"/>
                    <a:pt x="11540" y="17581"/>
                    <a:pt x="12723" y="17581"/>
                  </a:cubicBezTo>
                  <a:cubicBezTo>
                    <a:pt x="13019" y="17581"/>
                    <a:pt x="13019" y="17581"/>
                    <a:pt x="13019" y="18586"/>
                  </a:cubicBezTo>
                  <a:cubicBezTo>
                    <a:pt x="13019" y="20093"/>
                    <a:pt x="13019" y="20093"/>
                    <a:pt x="13611" y="21098"/>
                  </a:cubicBezTo>
                  <a:cubicBezTo>
                    <a:pt x="14203" y="21098"/>
                    <a:pt x="14498" y="21600"/>
                    <a:pt x="15090" y="21600"/>
                  </a:cubicBezTo>
                  <a:cubicBezTo>
                    <a:pt x="15978" y="21600"/>
                    <a:pt x="15978" y="21098"/>
                    <a:pt x="16274" y="20093"/>
                  </a:cubicBezTo>
                  <a:cubicBezTo>
                    <a:pt x="16570" y="19088"/>
                    <a:pt x="17161" y="19591"/>
                    <a:pt x="17753" y="19088"/>
                  </a:cubicBezTo>
                  <a:cubicBezTo>
                    <a:pt x="18345" y="18586"/>
                    <a:pt x="18345" y="17581"/>
                    <a:pt x="18641" y="16577"/>
                  </a:cubicBezTo>
                  <a:cubicBezTo>
                    <a:pt x="18641" y="15572"/>
                    <a:pt x="19529" y="16577"/>
                    <a:pt x="19824" y="15572"/>
                  </a:cubicBezTo>
                  <a:cubicBezTo>
                    <a:pt x="19824" y="14567"/>
                    <a:pt x="20712" y="15572"/>
                    <a:pt x="21008" y="15572"/>
                  </a:cubicBezTo>
                  <a:cubicBezTo>
                    <a:pt x="21008" y="15070"/>
                    <a:pt x="21008" y="14567"/>
                    <a:pt x="21008" y="1406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8" name="Shape 2117">
              <a:extLst>
                <a:ext uri="{FF2B5EF4-FFF2-40B4-BE49-F238E27FC236}">
                  <a16:creationId xmlns:a16="http://schemas.microsoft.com/office/drawing/2014/main" id="{1A77961F-5599-C1BB-748A-A1519B00CCB8}"/>
                </a:ext>
              </a:extLst>
            </p:cNvPr>
            <p:cNvSpPr/>
            <p:nvPr/>
          </p:nvSpPr>
          <p:spPr>
            <a:xfrm>
              <a:off x="7723104" y="2329158"/>
              <a:ext cx="252504" cy="161668"/>
            </a:xfrm>
            <a:custGeom>
              <a:avLst/>
              <a:gdLst/>
              <a:ahLst/>
              <a:cxnLst>
                <a:cxn ang="0">
                  <a:pos x="wd2" y="hd2"/>
                </a:cxn>
                <a:cxn ang="5400000">
                  <a:pos x="wd2" y="hd2"/>
                </a:cxn>
                <a:cxn ang="10800000">
                  <a:pos x="wd2" y="hd2"/>
                </a:cxn>
                <a:cxn ang="16200000">
                  <a:pos x="wd2" y="hd2"/>
                </a:cxn>
              </a:cxnLst>
              <a:rect l="0" t="0" r="r" b="b"/>
              <a:pathLst>
                <a:path w="20742" h="19663" extrusionOk="0">
                  <a:moveTo>
                    <a:pt x="15731" y="7424"/>
                  </a:moveTo>
                  <a:cubicBezTo>
                    <a:pt x="14651" y="8224"/>
                    <a:pt x="14111" y="7424"/>
                    <a:pt x="13031" y="7424"/>
                  </a:cubicBezTo>
                  <a:cubicBezTo>
                    <a:pt x="11951" y="7424"/>
                    <a:pt x="11411" y="5824"/>
                    <a:pt x="10871" y="5824"/>
                  </a:cubicBezTo>
                  <a:cubicBezTo>
                    <a:pt x="10331" y="5824"/>
                    <a:pt x="10331" y="6624"/>
                    <a:pt x="9791" y="6624"/>
                  </a:cubicBezTo>
                  <a:cubicBezTo>
                    <a:pt x="9791" y="7424"/>
                    <a:pt x="9251" y="6624"/>
                    <a:pt x="8711" y="6624"/>
                  </a:cubicBezTo>
                  <a:cubicBezTo>
                    <a:pt x="7631" y="6624"/>
                    <a:pt x="6011" y="6624"/>
                    <a:pt x="4931" y="5824"/>
                  </a:cubicBezTo>
                  <a:cubicBezTo>
                    <a:pt x="4391" y="5024"/>
                    <a:pt x="6011" y="3424"/>
                    <a:pt x="6011" y="3424"/>
                  </a:cubicBezTo>
                  <a:cubicBezTo>
                    <a:pt x="7091" y="2624"/>
                    <a:pt x="7631" y="5024"/>
                    <a:pt x="8171" y="5024"/>
                  </a:cubicBezTo>
                  <a:cubicBezTo>
                    <a:pt x="9251" y="5024"/>
                    <a:pt x="9791" y="4224"/>
                    <a:pt x="9791" y="3424"/>
                  </a:cubicBezTo>
                  <a:cubicBezTo>
                    <a:pt x="9251" y="2624"/>
                    <a:pt x="8711" y="4224"/>
                    <a:pt x="8171" y="4224"/>
                  </a:cubicBezTo>
                  <a:cubicBezTo>
                    <a:pt x="7631" y="3424"/>
                    <a:pt x="8711" y="1024"/>
                    <a:pt x="8171" y="224"/>
                  </a:cubicBezTo>
                  <a:cubicBezTo>
                    <a:pt x="8171" y="-576"/>
                    <a:pt x="7091" y="1024"/>
                    <a:pt x="7091" y="1024"/>
                  </a:cubicBezTo>
                  <a:cubicBezTo>
                    <a:pt x="6011" y="1824"/>
                    <a:pt x="5471" y="224"/>
                    <a:pt x="4931" y="1024"/>
                  </a:cubicBezTo>
                  <a:cubicBezTo>
                    <a:pt x="3851" y="1024"/>
                    <a:pt x="6011" y="3424"/>
                    <a:pt x="3851" y="3424"/>
                  </a:cubicBezTo>
                  <a:cubicBezTo>
                    <a:pt x="2771" y="2624"/>
                    <a:pt x="4391" y="5824"/>
                    <a:pt x="2771" y="5824"/>
                  </a:cubicBezTo>
                  <a:cubicBezTo>
                    <a:pt x="2231" y="6624"/>
                    <a:pt x="-469" y="5824"/>
                    <a:pt x="71" y="7424"/>
                  </a:cubicBezTo>
                  <a:cubicBezTo>
                    <a:pt x="611" y="9824"/>
                    <a:pt x="2231" y="8224"/>
                    <a:pt x="1691" y="10624"/>
                  </a:cubicBezTo>
                  <a:cubicBezTo>
                    <a:pt x="1691" y="13024"/>
                    <a:pt x="3311" y="13024"/>
                    <a:pt x="1691" y="14624"/>
                  </a:cubicBezTo>
                  <a:cubicBezTo>
                    <a:pt x="1151" y="15424"/>
                    <a:pt x="71" y="18624"/>
                    <a:pt x="1691" y="18624"/>
                  </a:cubicBezTo>
                  <a:cubicBezTo>
                    <a:pt x="2771" y="18624"/>
                    <a:pt x="3851" y="16224"/>
                    <a:pt x="4391" y="17024"/>
                  </a:cubicBezTo>
                  <a:cubicBezTo>
                    <a:pt x="6011" y="19424"/>
                    <a:pt x="4391" y="15424"/>
                    <a:pt x="6011" y="15424"/>
                  </a:cubicBezTo>
                  <a:cubicBezTo>
                    <a:pt x="7091" y="15424"/>
                    <a:pt x="7631" y="14624"/>
                    <a:pt x="8711" y="13024"/>
                  </a:cubicBezTo>
                  <a:cubicBezTo>
                    <a:pt x="9251" y="10624"/>
                    <a:pt x="9791" y="11424"/>
                    <a:pt x="10331" y="13024"/>
                  </a:cubicBezTo>
                  <a:cubicBezTo>
                    <a:pt x="10871" y="13824"/>
                    <a:pt x="11411" y="14624"/>
                    <a:pt x="11411" y="16224"/>
                  </a:cubicBezTo>
                  <a:cubicBezTo>
                    <a:pt x="11411" y="17024"/>
                    <a:pt x="10871" y="17824"/>
                    <a:pt x="10871" y="18624"/>
                  </a:cubicBezTo>
                  <a:cubicBezTo>
                    <a:pt x="11411" y="21024"/>
                    <a:pt x="13571" y="18624"/>
                    <a:pt x="14111" y="17824"/>
                  </a:cubicBezTo>
                  <a:cubicBezTo>
                    <a:pt x="14651" y="17024"/>
                    <a:pt x="16271" y="15424"/>
                    <a:pt x="16811" y="16224"/>
                  </a:cubicBezTo>
                  <a:cubicBezTo>
                    <a:pt x="17891" y="17824"/>
                    <a:pt x="18971" y="15424"/>
                    <a:pt x="20591" y="16224"/>
                  </a:cubicBezTo>
                  <a:cubicBezTo>
                    <a:pt x="21131" y="15424"/>
                    <a:pt x="20051" y="13824"/>
                    <a:pt x="20051" y="13824"/>
                  </a:cubicBezTo>
                  <a:cubicBezTo>
                    <a:pt x="19511" y="12224"/>
                    <a:pt x="20051" y="10624"/>
                    <a:pt x="18971" y="10624"/>
                  </a:cubicBezTo>
                  <a:cubicBezTo>
                    <a:pt x="17351" y="11424"/>
                    <a:pt x="16271" y="9024"/>
                    <a:pt x="16811" y="6624"/>
                  </a:cubicBezTo>
                  <a:cubicBezTo>
                    <a:pt x="16811" y="6624"/>
                    <a:pt x="16271" y="6624"/>
                    <a:pt x="15731" y="7424"/>
                  </a:cubicBezTo>
                  <a:cubicBezTo>
                    <a:pt x="15191" y="7424"/>
                    <a:pt x="16271" y="6624"/>
                    <a:pt x="15731" y="742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299" name="Shape 2118">
              <a:extLst>
                <a:ext uri="{FF2B5EF4-FFF2-40B4-BE49-F238E27FC236}">
                  <a16:creationId xmlns:a16="http://schemas.microsoft.com/office/drawing/2014/main" id="{9DDD0D79-6ED9-6EC8-583F-D425DD7BFBCD}"/>
                </a:ext>
              </a:extLst>
            </p:cNvPr>
            <p:cNvSpPr/>
            <p:nvPr/>
          </p:nvSpPr>
          <p:spPr>
            <a:xfrm>
              <a:off x="7506141" y="2477287"/>
              <a:ext cx="546123" cy="483021"/>
            </a:xfrm>
            <a:custGeom>
              <a:avLst/>
              <a:gdLst/>
              <a:ahLst/>
              <a:cxnLst>
                <a:cxn ang="0">
                  <a:pos x="wd2" y="hd2"/>
                </a:cxn>
                <a:cxn ang="5400000">
                  <a:pos x="wd2" y="hd2"/>
                </a:cxn>
                <a:cxn ang="10800000">
                  <a:pos x="wd2" y="hd2"/>
                </a:cxn>
                <a:cxn ang="16200000">
                  <a:pos x="wd2" y="hd2"/>
                </a:cxn>
              </a:cxnLst>
              <a:rect l="0" t="0" r="r" b="b"/>
              <a:pathLst>
                <a:path w="21600" h="21388" extrusionOk="0">
                  <a:moveTo>
                    <a:pt x="2082" y="14886"/>
                  </a:moveTo>
                  <a:cubicBezTo>
                    <a:pt x="2082" y="15178"/>
                    <a:pt x="2082" y="15470"/>
                    <a:pt x="2342" y="15762"/>
                  </a:cubicBezTo>
                  <a:cubicBezTo>
                    <a:pt x="2602" y="16054"/>
                    <a:pt x="2863" y="16346"/>
                    <a:pt x="2863" y="16638"/>
                  </a:cubicBezTo>
                  <a:cubicBezTo>
                    <a:pt x="2863" y="16930"/>
                    <a:pt x="1561" y="17514"/>
                    <a:pt x="1301" y="17805"/>
                  </a:cubicBezTo>
                  <a:cubicBezTo>
                    <a:pt x="1041" y="17805"/>
                    <a:pt x="781" y="18097"/>
                    <a:pt x="781" y="18681"/>
                  </a:cubicBezTo>
                  <a:cubicBezTo>
                    <a:pt x="781" y="19265"/>
                    <a:pt x="781" y="19265"/>
                    <a:pt x="1561" y="19265"/>
                  </a:cubicBezTo>
                  <a:cubicBezTo>
                    <a:pt x="2082" y="18973"/>
                    <a:pt x="2863" y="18973"/>
                    <a:pt x="3383" y="18681"/>
                  </a:cubicBezTo>
                  <a:cubicBezTo>
                    <a:pt x="3904" y="18681"/>
                    <a:pt x="4424" y="18681"/>
                    <a:pt x="4945" y="18973"/>
                  </a:cubicBezTo>
                  <a:cubicBezTo>
                    <a:pt x="5205" y="18973"/>
                    <a:pt x="5725" y="18973"/>
                    <a:pt x="5986" y="18973"/>
                  </a:cubicBezTo>
                  <a:cubicBezTo>
                    <a:pt x="6506" y="18973"/>
                    <a:pt x="6766" y="18681"/>
                    <a:pt x="7287" y="18681"/>
                  </a:cubicBezTo>
                  <a:cubicBezTo>
                    <a:pt x="7547" y="18681"/>
                    <a:pt x="7547" y="19265"/>
                    <a:pt x="7547" y="19557"/>
                  </a:cubicBezTo>
                  <a:cubicBezTo>
                    <a:pt x="7807" y="19849"/>
                    <a:pt x="8067" y="19849"/>
                    <a:pt x="8328" y="20141"/>
                  </a:cubicBezTo>
                  <a:cubicBezTo>
                    <a:pt x="8328" y="20432"/>
                    <a:pt x="8588" y="21016"/>
                    <a:pt x="8588" y="21308"/>
                  </a:cubicBezTo>
                  <a:cubicBezTo>
                    <a:pt x="9108" y="21600"/>
                    <a:pt x="8848" y="21016"/>
                    <a:pt x="8848" y="20724"/>
                  </a:cubicBezTo>
                  <a:cubicBezTo>
                    <a:pt x="9108" y="20724"/>
                    <a:pt x="9369" y="21308"/>
                    <a:pt x="9369" y="21308"/>
                  </a:cubicBezTo>
                  <a:cubicBezTo>
                    <a:pt x="9889" y="21016"/>
                    <a:pt x="10410" y="20432"/>
                    <a:pt x="11190" y="20724"/>
                  </a:cubicBezTo>
                  <a:cubicBezTo>
                    <a:pt x="11451" y="20724"/>
                    <a:pt x="11711" y="20724"/>
                    <a:pt x="11971" y="20432"/>
                  </a:cubicBezTo>
                  <a:cubicBezTo>
                    <a:pt x="12231" y="20432"/>
                    <a:pt x="12752" y="20432"/>
                    <a:pt x="13012" y="20432"/>
                  </a:cubicBezTo>
                  <a:cubicBezTo>
                    <a:pt x="13272" y="20141"/>
                    <a:pt x="12752" y="18681"/>
                    <a:pt x="12492" y="18681"/>
                  </a:cubicBezTo>
                  <a:cubicBezTo>
                    <a:pt x="12231" y="18389"/>
                    <a:pt x="11971" y="18389"/>
                    <a:pt x="11971" y="17805"/>
                  </a:cubicBezTo>
                  <a:cubicBezTo>
                    <a:pt x="11971" y="17222"/>
                    <a:pt x="11711" y="16930"/>
                    <a:pt x="11451" y="16638"/>
                  </a:cubicBezTo>
                  <a:cubicBezTo>
                    <a:pt x="10670" y="16346"/>
                    <a:pt x="11711" y="15762"/>
                    <a:pt x="11971" y="15178"/>
                  </a:cubicBezTo>
                  <a:cubicBezTo>
                    <a:pt x="12231" y="15178"/>
                    <a:pt x="12231" y="14886"/>
                    <a:pt x="12752" y="15178"/>
                  </a:cubicBezTo>
                  <a:cubicBezTo>
                    <a:pt x="13272" y="15762"/>
                    <a:pt x="13012" y="15178"/>
                    <a:pt x="13533" y="15178"/>
                  </a:cubicBezTo>
                  <a:cubicBezTo>
                    <a:pt x="14573" y="14886"/>
                    <a:pt x="14313" y="14011"/>
                    <a:pt x="14834" y="13427"/>
                  </a:cubicBezTo>
                  <a:cubicBezTo>
                    <a:pt x="15094" y="13135"/>
                    <a:pt x="15614" y="13135"/>
                    <a:pt x="15614" y="12843"/>
                  </a:cubicBezTo>
                  <a:cubicBezTo>
                    <a:pt x="15875" y="12551"/>
                    <a:pt x="16135" y="12259"/>
                    <a:pt x="16135" y="11968"/>
                  </a:cubicBezTo>
                  <a:cubicBezTo>
                    <a:pt x="16135" y="11676"/>
                    <a:pt x="16655" y="11384"/>
                    <a:pt x="16916" y="11384"/>
                  </a:cubicBezTo>
                  <a:cubicBezTo>
                    <a:pt x="17176" y="11384"/>
                    <a:pt x="17176" y="10800"/>
                    <a:pt x="17176" y="10800"/>
                  </a:cubicBezTo>
                  <a:cubicBezTo>
                    <a:pt x="17176" y="9924"/>
                    <a:pt x="18217" y="10508"/>
                    <a:pt x="17957" y="9632"/>
                  </a:cubicBezTo>
                  <a:cubicBezTo>
                    <a:pt x="17957" y="8757"/>
                    <a:pt x="17696" y="8465"/>
                    <a:pt x="18477" y="7881"/>
                  </a:cubicBezTo>
                  <a:cubicBezTo>
                    <a:pt x="18737" y="7881"/>
                    <a:pt x="17436" y="7005"/>
                    <a:pt x="17176" y="6714"/>
                  </a:cubicBezTo>
                  <a:cubicBezTo>
                    <a:pt x="16916" y="6130"/>
                    <a:pt x="17176" y="5254"/>
                    <a:pt x="16916" y="4670"/>
                  </a:cubicBezTo>
                  <a:cubicBezTo>
                    <a:pt x="16916" y="3795"/>
                    <a:pt x="17696" y="3795"/>
                    <a:pt x="18217" y="4086"/>
                  </a:cubicBezTo>
                  <a:cubicBezTo>
                    <a:pt x="18477" y="4086"/>
                    <a:pt x="18998" y="4378"/>
                    <a:pt x="19258" y="4378"/>
                  </a:cubicBezTo>
                  <a:cubicBezTo>
                    <a:pt x="19778" y="4378"/>
                    <a:pt x="19778" y="4086"/>
                    <a:pt x="20039" y="3795"/>
                  </a:cubicBezTo>
                  <a:cubicBezTo>
                    <a:pt x="20819" y="3795"/>
                    <a:pt x="21080" y="3795"/>
                    <a:pt x="21600" y="2919"/>
                  </a:cubicBezTo>
                  <a:cubicBezTo>
                    <a:pt x="20819" y="2627"/>
                    <a:pt x="20039" y="2335"/>
                    <a:pt x="19778" y="1751"/>
                  </a:cubicBezTo>
                  <a:cubicBezTo>
                    <a:pt x="19518" y="1459"/>
                    <a:pt x="19518" y="876"/>
                    <a:pt x="19258" y="584"/>
                  </a:cubicBezTo>
                  <a:cubicBezTo>
                    <a:pt x="18998" y="292"/>
                    <a:pt x="18737" y="292"/>
                    <a:pt x="18477" y="0"/>
                  </a:cubicBezTo>
                  <a:cubicBezTo>
                    <a:pt x="17957" y="0"/>
                    <a:pt x="17176" y="292"/>
                    <a:pt x="16916" y="292"/>
                  </a:cubicBezTo>
                  <a:cubicBezTo>
                    <a:pt x="15875" y="0"/>
                    <a:pt x="15354" y="584"/>
                    <a:pt x="14573" y="1168"/>
                  </a:cubicBezTo>
                  <a:cubicBezTo>
                    <a:pt x="13793" y="1459"/>
                    <a:pt x="13272" y="1459"/>
                    <a:pt x="13793" y="2335"/>
                  </a:cubicBezTo>
                  <a:cubicBezTo>
                    <a:pt x="14313" y="2919"/>
                    <a:pt x="13793" y="3503"/>
                    <a:pt x="13272" y="3795"/>
                  </a:cubicBezTo>
                  <a:cubicBezTo>
                    <a:pt x="12752" y="4378"/>
                    <a:pt x="13533" y="5546"/>
                    <a:pt x="12492" y="5254"/>
                  </a:cubicBezTo>
                  <a:cubicBezTo>
                    <a:pt x="11190" y="5254"/>
                    <a:pt x="12231" y="5546"/>
                    <a:pt x="12231" y="6130"/>
                  </a:cubicBezTo>
                  <a:cubicBezTo>
                    <a:pt x="12492" y="6422"/>
                    <a:pt x="11451" y="6714"/>
                    <a:pt x="11190" y="7005"/>
                  </a:cubicBezTo>
                  <a:cubicBezTo>
                    <a:pt x="10930" y="7589"/>
                    <a:pt x="10930" y="8757"/>
                    <a:pt x="10670" y="8757"/>
                  </a:cubicBezTo>
                  <a:cubicBezTo>
                    <a:pt x="10410" y="9049"/>
                    <a:pt x="10149" y="8757"/>
                    <a:pt x="9889" y="8757"/>
                  </a:cubicBezTo>
                  <a:cubicBezTo>
                    <a:pt x="9369" y="8757"/>
                    <a:pt x="9108" y="9049"/>
                    <a:pt x="8848" y="9341"/>
                  </a:cubicBezTo>
                  <a:cubicBezTo>
                    <a:pt x="8328" y="9632"/>
                    <a:pt x="8067" y="9341"/>
                    <a:pt x="7807" y="9632"/>
                  </a:cubicBezTo>
                  <a:cubicBezTo>
                    <a:pt x="7287" y="9924"/>
                    <a:pt x="7287" y="10216"/>
                    <a:pt x="7027" y="10800"/>
                  </a:cubicBezTo>
                  <a:cubicBezTo>
                    <a:pt x="7027" y="11676"/>
                    <a:pt x="6506" y="11968"/>
                    <a:pt x="5725" y="12259"/>
                  </a:cubicBezTo>
                  <a:cubicBezTo>
                    <a:pt x="4945" y="12551"/>
                    <a:pt x="4164" y="12551"/>
                    <a:pt x="3383" y="12551"/>
                  </a:cubicBezTo>
                  <a:cubicBezTo>
                    <a:pt x="2082" y="12551"/>
                    <a:pt x="1041" y="12259"/>
                    <a:pt x="0" y="11676"/>
                  </a:cubicBezTo>
                  <a:cubicBezTo>
                    <a:pt x="260" y="12259"/>
                    <a:pt x="520" y="12843"/>
                    <a:pt x="781" y="13427"/>
                  </a:cubicBezTo>
                  <a:cubicBezTo>
                    <a:pt x="1041" y="13719"/>
                    <a:pt x="2082" y="14011"/>
                    <a:pt x="2082" y="1488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0" name="Shape 2119">
              <a:extLst>
                <a:ext uri="{FF2B5EF4-FFF2-40B4-BE49-F238E27FC236}">
                  <a16:creationId xmlns:a16="http://schemas.microsoft.com/office/drawing/2014/main" id="{6B35AFF5-113A-E4FF-B1A8-635FF78F953F}"/>
                </a:ext>
              </a:extLst>
            </p:cNvPr>
            <p:cNvSpPr/>
            <p:nvPr/>
          </p:nvSpPr>
          <p:spPr>
            <a:xfrm>
              <a:off x="7488863" y="2422147"/>
              <a:ext cx="484738" cy="336861"/>
            </a:xfrm>
            <a:custGeom>
              <a:avLst/>
              <a:gdLst/>
              <a:ahLst/>
              <a:cxnLst>
                <a:cxn ang="0">
                  <a:pos x="wd2" y="hd2"/>
                </a:cxn>
                <a:cxn ang="5400000">
                  <a:pos x="wd2" y="hd2"/>
                </a:cxn>
                <a:cxn ang="10800000">
                  <a:pos x="wd2" y="hd2"/>
                </a:cxn>
                <a:cxn ang="16200000">
                  <a:pos x="wd2" y="hd2"/>
                </a:cxn>
              </a:cxnLst>
              <a:rect l="0" t="0" r="r" b="b"/>
              <a:pathLst>
                <a:path w="21177" h="20748" extrusionOk="0">
                  <a:moveTo>
                    <a:pt x="20313" y="2511"/>
                  </a:moveTo>
                  <a:cubicBezTo>
                    <a:pt x="20025" y="2511"/>
                    <a:pt x="19737" y="3326"/>
                    <a:pt x="19449" y="2918"/>
                  </a:cubicBezTo>
                  <a:cubicBezTo>
                    <a:pt x="19161" y="2918"/>
                    <a:pt x="19161" y="2103"/>
                    <a:pt x="18873" y="2511"/>
                  </a:cubicBezTo>
                  <a:cubicBezTo>
                    <a:pt x="18297" y="2511"/>
                    <a:pt x="17721" y="3326"/>
                    <a:pt x="17433" y="3733"/>
                  </a:cubicBezTo>
                  <a:cubicBezTo>
                    <a:pt x="17145" y="3733"/>
                    <a:pt x="16569" y="4549"/>
                    <a:pt x="15993" y="4141"/>
                  </a:cubicBezTo>
                  <a:cubicBezTo>
                    <a:pt x="15705" y="3733"/>
                    <a:pt x="16569" y="2103"/>
                    <a:pt x="15993" y="1288"/>
                  </a:cubicBezTo>
                  <a:cubicBezTo>
                    <a:pt x="15993" y="1288"/>
                    <a:pt x="15417" y="-342"/>
                    <a:pt x="15129" y="66"/>
                  </a:cubicBezTo>
                  <a:cubicBezTo>
                    <a:pt x="14841" y="881"/>
                    <a:pt x="14553" y="1696"/>
                    <a:pt x="13977" y="2103"/>
                  </a:cubicBezTo>
                  <a:cubicBezTo>
                    <a:pt x="13401" y="2511"/>
                    <a:pt x="13113" y="2103"/>
                    <a:pt x="13113" y="2918"/>
                  </a:cubicBezTo>
                  <a:cubicBezTo>
                    <a:pt x="12825" y="4141"/>
                    <a:pt x="12537" y="2511"/>
                    <a:pt x="12249" y="2918"/>
                  </a:cubicBezTo>
                  <a:cubicBezTo>
                    <a:pt x="11673" y="3326"/>
                    <a:pt x="11385" y="3733"/>
                    <a:pt x="10809" y="3733"/>
                  </a:cubicBezTo>
                  <a:cubicBezTo>
                    <a:pt x="10233" y="3326"/>
                    <a:pt x="9657" y="2918"/>
                    <a:pt x="9369" y="2511"/>
                  </a:cubicBezTo>
                  <a:cubicBezTo>
                    <a:pt x="9081" y="2511"/>
                    <a:pt x="7641" y="2103"/>
                    <a:pt x="7641" y="2103"/>
                  </a:cubicBezTo>
                  <a:cubicBezTo>
                    <a:pt x="7353" y="2511"/>
                    <a:pt x="7641" y="2918"/>
                    <a:pt x="7353" y="2918"/>
                  </a:cubicBezTo>
                  <a:cubicBezTo>
                    <a:pt x="7065" y="2918"/>
                    <a:pt x="6489" y="2918"/>
                    <a:pt x="6489" y="3326"/>
                  </a:cubicBezTo>
                  <a:cubicBezTo>
                    <a:pt x="6201" y="4141"/>
                    <a:pt x="6201" y="4956"/>
                    <a:pt x="5625" y="5364"/>
                  </a:cubicBezTo>
                  <a:cubicBezTo>
                    <a:pt x="4761" y="6179"/>
                    <a:pt x="4473" y="5771"/>
                    <a:pt x="3897" y="6586"/>
                  </a:cubicBezTo>
                  <a:cubicBezTo>
                    <a:pt x="3609" y="7401"/>
                    <a:pt x="3033" y="7401"/>
                    <a:pt x="2745" y="7401"/>
                  </a:cubicBezTo>
                  <a:cubicBezTo>
                    <a:pt x="2457" y="6994"/>
                    <a:pt x="1017" y="6586"/>
                    <a:pt x="1017" y="6179"/>
                  </a:cubicBezTo>
                  <a:cubicBezTo>
                    <a:pt x="1017" y="7401"/>
                    <a:pt x="1017" y="8216"/>
                    <a:pt x="729" y="9032"/>
                  </a:cubicBezTo>
                  <a:cubicBezTo>
                    <a:pt x="153" y="9847"/>
                    <a:pt x="-423" y="10662"/>
                    <a:pt x="441" y="11477"/>
                  </a:cubicBezTo>
                  <a:cubicBezTo>
                    <a:pt x="729" y="11884"/>
                    <a:pt x="153" y="12292"/>
                    <a:pt x="153" y="13107"/>
                  </a:cubicBezTo>
                  <a:cubicBezTo>
                    <a:pt x="153" y="13515"/>
                    <a:pt x="153" y="14330"/>
                    <a:pt x="441" y="14737"/>
                  </a:cubicBezTo>
                  <a:cubicBezTo>
                    <a:pt x="441" y="15552"/>
                    <a:pt x="153" y="15960"/>
                    <a:pt x="729" y="15960"/>
                  </a:cubicBezTo>
                  <a:cubicBezTo>
                    <a:pt x="1593" y="16367"/>
                    <a:pt x="1881" y="15960"/>
                    <a:pt x="1881" y="17183"/>
                  </a:cubicBezTo>
                  <a:cubicBezTo>
                    <a:pt x="1881" y="17998"/>
                    <a:pt x="1017" y="19220"/>
                    <a:pt x="729" y="19628"/>
                  </a:cubicBezTo>
                  <a:cubicBezTo>
                    <a:pt x="3033" y="21258"/>
                    <a:pt x="5625" y="20850"/>
                    <a:pt x="7929" y="20035"/>
                  </a:cubicBezTo>
                  <a:cubicBezTo>
                    <a:pt x="8793" y="19628"/>
                    <a:pt x="8505" y="17998"/>
                    <a:pt x="8793" y="17183"/>
                  </a:cubicBezTo>
                  <a:cubicBezTo>
                    <a:pt x="9081" y="16367"/>
                    <a:pt x="10233" y="16775"/>
                    <a:pt x="10809" y="15960"/>
                  </a:cubicBezTo>
                  <a:cubicBezTo>
                    <a:pt x="11097" y="15960"/>
                    <a:pt x="11385" y="15552"/>
                    <a:pt x="11961" y="15552"/>
                  </a:cubicBezTo>
                  <a:cubicBezTo>
                    <a:pt x="11961" y="15552"/>
                    <a:pt x="12537" y="15960"/>
                    <a:pt x="12537" y="15552"/>
                  </a:cubicBezTo>
                  <a:cubicBezTo>
                    <a:pt x="12825" y="14737"/>
                    <a:pt x="12825" y="13922"/>
                    <a:pt x="13113" y="13107"/>
                  </a:cubicBezTo>
                  <a:cubicBezTo>
                    <a:pt x="13401" y="12700"/>
                    <a:pt x="14553" y="12292"/>
                    <a:pt x="14265" y="11884"/>
                  </a:cubicBezTo>
                  <a:cubicBezTo>
                    <a:pt x="14265" y="11477"/>
                    <a:pt x="13113" y="10662"/>
                    <a:pt x="14265" y="10662"/>
                  </a:cubicBezTo>
                  <a:cubicBezTo>
                    <a:pt x="14553" y="10662"/>
                    <a:pt x="15129" y="11069"/>
                    <a:pt x="15417" y="10254"/>
                  </a:cubicBezTo>
                  <a:cubicBezTo>
                    <a:pt x="15417" y="9847"/>
                    <a:pt x="15129" y="9439"/>
                    <a:pt x="15417" y="9032"/>
                  </a:cubicBezTo>
                  <a:cubicBezTo>
                    <a:pt x="15417" y="8216"/>
                    <a:pt x="16281" y="8216"/>
                    <a:pt x="16281" y="7401"/>
                  </a:cubicBezTo>
                  <a:cubicBezTo>
                    <a:pt x="16281" y="6586"/>
                    <a:pt x="15417" y="6179"/>
                    <a:pt x="15705" y="5364"/>
                  </a:cubicBezTo>
                  <a:cubicBezTo>
                    <a:pt x="16281" y="4956"/>
                    <a:pt x="17145" y="4549"/>
                    <a:pt x="17721" y="4141"/>
                  </a:cubicBezTo>
                  <a:cubicBezTo>
                    <a:pt x="18297" y="3326"/>
                    <a:pt x="19161" y="3733"/>
                    <a:pt x="19737" y="3733"/>
                  </a:cubicBezTo>
                  <a:cubicBezTo>
                    <a:pt x="20025" y="3733"/>
                    <a:pt x="20601" y="3733"/>
                    <a:pt x="20889" y="3326"/>
                  </a:cubicBezTo>
                  <a:cubicBezTo>
                    <a:pt x="20889" y="3326"/>
                    <a:pt x="21177" y="2918"/>
                    <a:pt x="21177" y="2511"/>
                  </a:cubicBezTo>
                  <a:cubicBezTo>
                    <a:pt x="20889" y="2511"/>
                    <a:pt x="20601" y="2511"/>
                    <a:pt x="20313" y="2511"/>
                  </a:cubicBezTo>
                  <a:cubicBezTo>
                    <a:pt x="20025" y="2918"/>
                    <a:pt x="20601" y="2511"/>
                    <a:pt x="20313" y="25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1" name="Shape 2120">
              <a:extLst>
                <a:ext uri="{FF2B5EF4-FFF2-40B4-BE49-F238E27FC236}">
                  <a16:creationId xmlns:a16="http://schemas.microsoft.com/office/drawing/2014/main" id="{CA472E98-3EF6-A277-73BD-2D7E7D7F7DF1}"/>
                </a:ext>
              </a:extLst>
            </p:cNvPr>
            <p:cNvSpPr/>
            <p:nvPr/>
          </p:nvSpPr>
          <p:spPr>
            <a:xfrm>
              <a:off x="7438582" y="2138199"/>
              <a:ext cx="13620" cy="22122"/>
            </a:xfrm>
            <a:custGeom>
              <a:avLst/>
              <a:gdLst/>
              <a:ahLst/>
              <a:cxnLst>
                <a:cxn ang="0">
                  <a:pos x="wd2" y="hd2"/>
                </a:cxn>
                <a:cxn ang="5400000">
                  <a:pos x="wd2" y="hd2"/>
                </a:cxn>
                <a:cxn ang="10800000">
                  <a:pos x="wd2" y="hd2"/>
                </a:cxn>
                <a:cxn ang="16200000">
                  <a:pos x="wd2" y="hd2"/>
                </a:cxn>
              </a:cxnLst>
              <a:rect l="0" t="0" r="r" b="b"/>
              <a:pathLst>
                <a:path w="16362" h="17712" extrusionOk="0">
                  <a:moveTo>
                    <a:pt x="16362" y="6912"/>
                  </a:moveTo>
                  <a:cubicBezTo>
                    <a:pt x="9162" y="6912"/>
                    <a:pt x="1962" y="-3888"/>
                    <a:pt x="1962" y="1512"/>
                  </a:cubicBezTo>
                  <a:cubicBezTo>
                    <a:pt x="-5238" y="6912"/>
                    <a:pt x="9162" y="12312"/>
                    <a:pt x="16362" y="17712"/>
                  </a:cubicBezTo>
                  <a:cubicBezTo>
                    <a:pt x="16362" y="12312"/>
                    <a:pt x="16362" y="6912"/>
                    <a:pt x="16362" y="6912"/>
                  </a:cubicBezTo>
                  <a:cubicBezTo>
                    <a:pt x="9162" y="1512"/>
                    <a:pt x="16362" y="6912"/>
                    <a:pt x="16362" y="691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2" name="Shape 2121">
              <a:extLst>
                <a:ext uri="{FF2B5EF4-FFF2-40B4-BE49-F238E27FC236}">
                  <a16:creationId xmlns:a16="http://schemas.microsoft.com/office/drawing/2014/main" id="{D05F29E1-7C85-96FF-E684-B6B71A40F7BA}"/>
                </a:ext>
              </a:extLst>
            </p:cNvPr>
            <p:cNvSpPr/>
            <p:nvPr/>
          </p:nvSpPr>
          <p:spPr>
            <a:xfrm>
              <a:off x="7027195" y="1717467"/>
              <a:ext cx="1328466" cy="624220"/>
            </a:xfrm>
            <a:custGeom>
              <a:avLst/>
              <a:gdLst/>
              <a:ahLst/>
              <a:cxnLst>
                <a:cxn ang="0">
                  <a:pos x="wd2" y="hd2"/>
                </a:cxn>
                <a:cxn ang="5400000">
                  <a:pos x="wd2" y="hd2"/>
                </a:cxn>
                <a:cxn ang="10800000">
                  <a:pos x="wd2" y="hd2"/>
                </a:cxn>
                <a:cxn ang="16200000">
                  <a:pos x="wd2" y="hd2"/>
                </a:cxn>
              </a:cxnLst>
              <a:rect l="0" t="0" r="r" b="b"/>
              <a:pathLst>
                <a:path w="21459" h="21045" extrusionOk="0">
                  <a:moveTo>
                    <a:pt x="21246" y="8685"/>
                  </a:moveTo>
                  <a:cubicBezTo>
                    <a:pt x="21246" y="8462"/>
                    <a:pt x="20821" y="8685"/>
                    <a:pt x="20821" y="8685"/>
                  </a:cubicBezTo>
                  <a:cubicBezTo>
                    <a:pt x="20608" y="8685"/>
                    <a:pt x="20501" y="8462"/>
                    <a:pt x="20501" y="8239"/>
                  </a:cubicBezTo>
                  <a:cubicBezTo>
                    <a:pt x="20395" y="7794"/>
                    <a:pt x="20182" y="7794"/>
                    <a:pt x="20182" y="7571"/>
                  </a:cubicBezTo>
                  <a:cubicBezTo>
                    <a:pt x="20076" y="7348"/>
                    <a:pt x="19969" y="6680"/>
                    <a:pt x="19650" y="6680"/>
                  </a:cubicBezTo>
                  <a:cubicBezTo>
                    <a:pt x="19331" y="6680"/>
                    <a:pt x="19012" y="7348"/>
                    <a:pt x="18692" y="6903"/>
                  </a:cubicBezTo>
                  <a:cubicBezTo>
                    <a:pt x="18586" y="6680"/>
                    <a:pt x="18480" y="6458"/>
                    <a:pt x="18373" y="6235"/>
                  </a:cubicBezTo>
                  <a:cubicBezTo>
                    <a:pt x="18267" y="6235"/>
                    <a:pt x="18054" y="6903"/>
                    <a:pt x="17948" y="6903"/>
                  </a:cubicBezTo>
                  <a:cubicBezTo>
                    <a:pt x="17841" y="7126"/>
                    <a:pt x="17203" y="4676"/>
                    <a:pt x="17203" y="4231"/>
                  </a:cubicBezTo>
                  <a:cubicBezTo>
                    <a:pt x="16990" y="3786"/>
                    <a:pt x="16884" y="3118"/>
                    <a:pt x="16564" y="2895"/>
                  </a:cubicBezTo>
                  <a:cubicBezTo>
                    <a:pt x="16458" y="2672"/>
                    <a:pt x="16352" y="2449"/>
                    <a:pt x="16245" y="2449"/>
                  </a:cubicBezTo>
                  <a:cubicBezTo>
                    <a:pt x="16032" y="2227"/>
                    <a:pt x="16245" y="1781"/>
                    <a:pt x="16245" y="1559"/>
                  </a:cubicBezTo>
                  <a:cubicBezTo>
                    <a:pt x="16245" y="1336"/>
                    <a:pt x="15500" y="2227"/>
                    <a:pt x="15394" y="2449"/>
                  </a:cubicBezTo>
                  <a:cubicBezTo>
                    <a:pt x="15288" y="2449"/>
                    <a:pt x="14436" y="3118"/>
                    <a:pt x="14436" y="2895"/>
                  </a:cubicBezTo>
                  <a:cubicBezTo>
                    <a:pt x="14436" y="2449"/>
                    <a:pt x="14649" y="2227"/>
                    <a:pt x="14436" y="2227"/>
                  </a:cubicBezTo>
                  <a:cubicBezTo>
                    <a:pt x="14330" y="2004"/>
                    <a:pt x="14224" y="1781"/>
                    <a:pt x="14117" y="2004"/>
                  </a:cubicBezTo>
                  <a:cubicBezTo>
                    <a:pt x="14117" y="2004"/>
                    <a:pt x="14117" y="2227"/>
                    <a:pt x="14011" y="2004"/>
                  </a:cubicBezTo>
                  <a:cubicBezTo>
                    <a:pt x="13798" y="1781"/>
                    <a:pt x="13904" y="1559"/>
                    <a:pt x="13585" y="1781"/>
                  </a:cubicBezTo>
                  <a:cubicBezTo>
                    <a:pt x="13266" y="2227"/>
                    <a:pt x="13266" y="1559"/>
                    <a:pt x="13266" y="1113"/>
                  </a:cubicBezTo>
                  <a:cubicBezTo>
                    <a:pt x="13372" y="223"/>
                    <a:pt x="12734" y="0"/>
                    <a:pt x="12415" y="0"/>
                  </a:cubicBezTo>
                  <a:cubicBezTo>
                    <a:pt x="12202" y="0"/>
                    <a:pt x="11989" y="223"/>
                    <a:pt x="11776" y="445"/>
                  </a:cubicBezTo>
                  <a:cubicBezTo>
                    <a:pt x="11563" y="668"/>
                    <a:pt x="11351" y="891"/>
                    <a:pt x="11031" y="891"/>
                  </a:cubicBezTo>
                  <a:cubicBezTo>
                    <a:pt x="10180" y="1336"/>
                    <a:pt x="9329" y="2004"/>
                    <a:pt x="8478" y="2004"/>
                  </a:cubicBezTo>
                  <a:cubicBezTo>
                    <a:pt x="8265" y="2004"/>
                    <a:pt x="8052" y="2004"/>
                    <a:pt x="7946" y="2227"/>
                  </a:cubicBezTo>
                  <a:cubicBezTo>
                    <a:pt x="7839" y="2449"/>
                    <a:pt x="8052" y="3118"/>
                    <a:pt x="8265" y="3118"/>
                  </a:cubicBezTo>
                  <a:cubicBezTo>
                    <a:pt x="8691" y="3786"/>
                    <a:pt x="7946" y="3563"/>
                    <a:pt x="7733" y="3786"/>
                  </a:cubicBezTo>
                  <a:cubicBezTo>
                    <a:pt x="7520" y="4008"/>
                    <a:pt x="7839" y="4231"/>
                    <a:pt x="7839" y="4454"/>
                  </a:cubicBezTo>
                  <a:cubicBezTo>
                    <a:pt x="7839" y="4899"/>
                    <a:pt x="7414" y="4899"/>
                    <a:pt x="7414" y="5122"/>
                  </a:cubicBezTo>
                  <a:cubicBezTo>
                    <a:pt x="7414" y="5790"/>
                    <a:pt x="8265" y="5567"/>
                    <a:pt x="8159" y="6458"/>
                  </a:cubicBezTo>
                  <a:cubicBezTo>
                    <a:pt x="8052" y="6680"/>
                    <a:pt x="7946" y="6903"/>
                    <a:pt x="7733" y="6903"/>
                  </a:cubicBezTo>
                  <a:cubicBezTo>
                    <a:pt x="7626" y="6903"/>
                    <a:pt x="7307" y="6903"/>
                    <a:pt x="7201" y="6903"/>
                  </a:cubicBezTo>
                  <a:cubicBezTo>
                    <a:pt x="6988" y="7126"/>
                    <a:pt x="7094" y="7348"/>
                    <a:pt x="6882" y="7126"/>
                  </a:cubicBezTo>
                  <a:cubicBezTo>
                    <a:pt x="6669" y="6903"/>
                    <a:pt x="6456" y="6458"/>
                    <a:pt x="6243" y="6458"/>
                  </a:cubicBezTo>
                  <a:cubicBezTo>
                    <a:pt x="6137" y="6235"/>
                    <a:pt x="5924" y="6680"/>
                    <a:pt x="5818" y="6680"/>
                  </a:cubicBezTo>
                  <a:cubicBezTo>
                    <a:pt x="5605" y="6458"/>
                    <a:pt x="5498" y="6458"/>
                    <a:pt x="5286" y="6680"/>
                  </a:cubicBezTo>
                  <a:cubicBezTo>
                    <a:pt x="5179" y="6903"/>
                    <a:pt x="5073" y="7348"/>
                    <a:pt x="4966" y="7126"/>
                  </a:cubicBezTo>
                  <a:cubicBezTo>
                    <a:pt x="4860" y="7126"/>
                    <a:pt x="4541" y="6458"/>
                    <a:pt x="4434" y="6680"/>
                  </a:cubicBezTo>
                  <a:cubicBezTo>
                    <a:pt x="4328" y="6680"/>
                    <a:pt x="4328" y="7348"/>
                    <a:pt x="4222" y="6903"/>
                  </a:cubicBezTo>
                  <a:cubicBezTo>
                    <a:pt x="4115" y="6458"/>
                    <a:pt x="4009" y="6235"/>
                    <a:pt x="3796" y="6012"/>
                  </a:cubicBezTo>
                  <a:cubicBezTo>
                    <a:pt x="3583" y="5790"/>
                    <a:pt x="3370" y="5790"/>
                    <a:pt x="3264" y="5567"/>
                  </a:cubicBezTo>
                  <a:cubicBezTo>
                    <a:pt x="2945" y="5344"/>
                    <a:pt x="2945" y="5790"/>
                    <a:pt x="2732" y="5790"/>
                  </a:cubicBezTo>
                  <a:cubicBezTo>
                    <a:pt x="2519" y="6012"/>
                    <a:pt x="2413" y="5344"/>
                    <a:pt x="2200" y="5567"/>
                  </a:cubicBezTo>
                  <a:cubicBezTo>
                    <a:pt x="2093" y="5790"/>
                    <a:pt x="2093" y="6012"/>
                    <a:pt x="1987" y="6012"/>
                  </a:cubicBezTo>
                  <a:cubicBezTo>
                    <a:pt x="1881" y="6235"/>
                    <a:pt x="1668" y="6235"/>
                    <a:pt x="1561" y="6235"/>
                  </a:cubicBezTo>
                  <a:cubicBezTo>
                    <a:pt x="1455" y="6458"/>
                    <a:pt x="1242" y="6903"/>
                    <a:pt x="1242" y="7126"/>
                  </a:cubicBezTo>
                  <a:cubicBezTo>
                    <a:pt x="1136" y="7348"/>
                    <a:pt x="1349" y="8016"/>
                    <a:pt x="1136" y="8016"/>
                  </a:cubicBezTo>
                  <a:cubicBezTo>
                    <a:pt x="923" y="8239"/>
                    <a:pt x="604" y="6903"/>
                    <a:pt x="497" y="7571"/>
                  </a:cubicBezTo>
                  <a:cubicBezTo>
                    <a:pt x="391" y="8016"/>
                    <a:pt x="285" y="8016"/>
                    <a:pt x="178" y="8462"/>
                  </a:cubicBezTo>
                  <a:cubicBezTo>
                    <a:pt x="72" y="8907"/>
                    <a:pt x="497" y="8907"/>
                    <a:pt x="285" y="9353"/>
                  </a:cubicBezTo>
                  <a:cubicBezTo>
                    <a:pt x="178" y="9575"/>
                    <a:pt x="-141" y="10021"/>
                    <a:pt x="72" y="10243"/>
                  </a:cubicBezTo>
                  <a:cubicBezTo>
                    <a:pt x="178" y="10243"/>
                    <a:pt x="285" y="10466"/>
                    <a:pt x="285" y="10466"/>
                  </a:cubicBezTo>
                  <a:cubicBezTo>
                    <a:pt x="391" y="10689"/>
                    <a:pt x="285" y="10911"/>
                    <a:pt x="391" y="11134"/>
                  </a:cubicBezTo>
                  <a:cubicBezTo>
                    <a:pt x="604" y="11357"/>
                    <a:pt x="817" y="10911"/>
                    <a:pt x="1029" y="11357"/>
                  </a:cubicBezTo>
                  <a:cubicBezTo>
                    <a:pt x="1136" y="11579"/>
                    <a:pt x="1349" y="12247"/>
                    <a:pt x="1349" y="12693"/>
                  </a:cubicBezTo>
                  <a:cubicBezTo>
                    <a:pt x="1242" y="12693"/>
                    <a:pt x="923" y="12470"/>
                    <a:pt x="1242" y="12915"/>
                  </a:cubicBezTo>
                  <a:cubicBezTo>
                    <a:pt x="1349" y="13138"/>
                    <a:pt x="1349" y="13361"/>
                    <a:pt x="1561" y="12915"/>
                  </a:cubicBezTo>
                  <a:cubicBezTo>
                    <a:pt x="1561" y="12693"/>
                    <a:pt x="1561" y="12693"/>
                    <a:pt x="1668" y="12693"/>
                  </a:cubicBezTo>
                  <a:cubicBezTo>
                    <a:pt x="2200" y="12693"/>
                    <a:pt x="2413" y="12025"/>
                    <a:pt x="2945" y="12470"/>
                  </a:cubicBezTo>
                  <a:cubicBezTo>
                    <a:pt x="3158" y="12693"/>
                    <a:pt x="3370" y="12025"/>
                    <a:pt x="3477" y="12470"/>
                  </a:cubicBezTo>
                  <a:cubicBezTo>
                    <a:pt x="3583" y="12693"/>
                    <a:pt x="3796" y="13584"/>
                    <a:pt x="3690" y="14029"/>
                  </a:cubicBezTo>
                  <a:cubicBezTo>
                    <a:pt x="3583" y="14029"/>
                    <a:pt x="3370" y="14252"/>
                    <a:pt x="3583" y="14252"/>
                  </a:cubicBezTo>
                  <a:cubicBezTo>
                    <a:pt x="3583" y="14474"/>
                    <a:pt x="3583" y="14474"/>
                    <a:pt x="3583" y="14474"/>
                  </a:cubicBezTo>
                  <a:cubicBezTo>
                    <a:pt x="3477" y="14697"/>
                    <a:pt x="3370" y="14697"/>
                    <a:pt x="3370" y="14697"/>
                  </a:cubicBezTo>
                  <a:cubicBezTo>
                    <a:pt x="3051" y="14697"/>
                    <a:pt x="2200" y="14252"/>
                    <a:pt x="2413" y="15365"/>
                  </a:cubicBezTo>
                  <a:cubicBezTo>
                    <a:pt x="2519" y="15810"/>
                    <a:pt x="2413" y="15810"/>
                    <a:pt x="2200" y="15588"/>
                  </a:cubicBezTo>
                  <a:cubicBezTo>
                    <a:pt x="1987" y="15365"/>
                    <a:pt x="2093" y="15810"/>
                    <a:pt x="2200" y="16033"/>
                  </a:cubicBezTo>
                  <a:cubicBezTo>
                    <a:pt x="2413" y="16033"/>
                    <a:pt x="2413" y="16701"/>
                    <a:pt x="2519" y="16924"/>
                  </a:cubicBezTo>
                  <a:cubicBezTo>
                    <a:pt x="2732" y="17146"/>
                    <a:pt x="2413" y="17592"/>
                    <a:pt x="2732" y="17592"/>
                  </a:cubicBezTo>
                  <a:cubicBezTo>
                    <a:pt x="2838" y="17592"/>
                    <a:pt x="3051" y="18037"/>
                    <a:pt x="3158" y="18260"/>
                  </a:cubicBezTo>
                  <a:cubicBezTo>
                    <a:pt x="3477" y="18260"/>
                    <a:pt x="3158" y="18928"/>
                    <a:pt x="3158" y="19373"/>
                  </a:cubicBezTo>
                  <a:cubicBezTo>
                    <a:pt x="3477" y="18928"/>
                    <a:pt x="3902" y="18260"/>
                    <a:pt x="4328" y="18928"/>
                  </a:cubicBezTo>
                  <a:cubicBezTo>
                    <a:pt x="4541" y="19373"/>
                    <a:pt x="4647" y="20041"/>
                    <a:pt x="4966" y="20041"/>
                  </a:cubicBezTo>
                  <a:cubicBezTo>
                    <a:pt x="5179" y="20041"/>
                    <a:pt x="5073" y="19596"/>
                    <a:pt x="5073" y="19373"/>
                  </a:cubicBezTo>
                  <a:cubicBezTo>
                    <a:pt x="5073" y="18705"/>
                    <a:pt x="5073" y="18037"/>
                    <a:pt x="5073" y="17369"/>
                  </a:cubicBezTo>
                  <a:cubicBezTo>
                    <a:pt x="5073" y="16924"/>
                    <a:pt x="4966" y="15142"/>
                    <a:pt x="5179" y="15142"/>
                  </a:cubicBezTo>
                  <a:cubicBezTo>
                    <a:pt x="5392" y="14920"/>
                    <a:pt x="5711" y="14697"/>
                    <a:pt x="5924" y="14474"/>
                  </a:cubicBezTo>
                  <a:cubicBezTo>
                    <a:pt x="6137" y="14474"/>
                    <a:pt x="6350" y="14252"/>
                    <a:pt x="6456" y="14252"/>
                  </a:cubicBezTo>
                  <a:cubicBezTo>
                    <a:pt x="6562" y="14029"/>
                    <a:pt x="6456" y="13584"/>
                    <a:pt x="6669" y="13806"/>
                  </a:cubicBezTo>
                  <a:cubicBezTo>
                    <a:pt x="6775" y="13806"/>
                    <a:pt x="7094" y="14252"/>
                    <a:pt x="7094" y="13806"/>
                  </a:cubicBezTo>
                  <a:cubicBezTo>
                    <a:pt x="7094" y="13584"/>
                    <a:pt x="7307" y="13361"/>
                    <a:pt x="7414" y="13806"/>
                  </a:cubicBezTo>
                  <a:cubicBezTo>
                    <a:pt x="7520" y="14029"/>
                    <a:pt x="7414" y="14252"/>
                    <a:pt x="7520" y="14697"/>
                  </a:cubicBezTo>
                  <a:cubicBezTo>
                    <a:pt x="7520" y="14920"/>
                    <a:pt x="7626" y="15365"/>
                    <a:pt x="7520" y="15588"/>
                  </a:cubicBezTo>
                  <a:cubicBezTo>
                    <a:pt x="7626" y="15810"/>
                    <a:pt x="7733" y="15810"/>
                    <a:pt x="7839" y="16033"/>
                  </a:cubicBezTo>
                  <a:cubicBezTo>
                    <a:pt x="8159" y="16701"/>
                    <a:pt x="8371" y="17146"/>
                    <a:pt x="8797" y="16924"/>
                  </a:cubicBezTo>
                  <a:cubicBezTo>
                    <a:pt x="9010" y="16924"/>
                    <a:pt x="9223" y="17146"/>
                    <a:pt x="9435" y="17146"/>
                  </a:cubicBezTo>
                  <a:cubicBezTo>
                    <a:pt x="9648" y="17146"/>
                    <a:pt x="9755" y="16701"/>
                    <a:pt x="9967" y="16701"/>
                  </a:cubicBezTo>
                  <a:cubicBezTo>
                    <a:pt x="10180" y="16924"/>
                    <a:pt x="10393" y="17592"/>
                    <a:pt x="10499" y="18037"/>
                  </a:cubicBezTo>
                  <a:cubicBezTo>
                    <a:pt x="10606" y="18260"/>
                    <a:pt x="10499" y="18482"/>
                    <a:pt x="10499" y="18928"/>
                  </a:cubicBezTo>
                  <a:cubicBezTo>
                    <a:pt x="10499" y="19373"/>
                    <a:pt x="10819" y="19596"/>
                    <a:pt x="10819" y="20041"/>
                  </a:cubicBezTo>
                  <a:cubicBezTo>
                    <a:pt x="10819" y="20264"/>
                    <a:pt x="11138" y="20264"/>
                    <a:pt x="11244" y="20264"/>
                  </a:cubicBezTo>
                  <a:cubicBezTo>
                    <a:pt x="11457" y="20264"/>
                    <a:pt x="11457" y="20264"/>
                    <a:pt x="11563" y="20709"/>
                  </a:cubicBezTo>
                  <a:cubicBezTo>
                    <a:pt x="11776" y="21600"/>
                    <a:pt x="11989" y="20487"/>
                    <a:pt x="12202" y="20041"/>
                  </a:cubicBezTo>
                  <a:cubicBezTo>
                    <a:pt x="12308" y="19373"/>
                    <a:pt x="12734" y="19373"/>
                    <a:pt x="12947" y="18928"/>
                  </a:cubicBezTo>
                  <a:cubicBezTo>
                    <a:pt x="13159" y="18928"/>
                    <a:pt x="13159" y="18928"/>
                    <a:pt x="13266" y="18705"/>
                  </a:cubicBezTo>
                  <a:cubicBezTo>
                    <a:pt x="13372" y="18037"/>
                    <a:pt x="13479" y="18260"/>
                    <a:pt x="13692" y="18260"/>
                  </a:cubicBezTo>
                  <a:cubicBezTo>
                    <a:pt x="13904" y="18260"/>
                    <a:pt x="14330" y="18928"/>
                    <a:pt x="14436" y="18482"/>
                  </a:cubicBezTo>
                  <a:cubicBezTo>
                    <a:pt x="14436" y="18037"/>
                    <a:pt x="14436" y="17814"/>
                    <a:pt x="14649" y="17592"/>
                  </a:cubicBezTo>
                  <a:cubicBezTo>
                    <a:pt x="14862" y="17369"/>
                    <a:pt x="15075" y="17814"/>
                    <a:pt x="15288" y="17814"/>
                  </a:cubicBezTo>
                  <a:cubicBezTo>
                    <a:pt x="15500" y="18037"/>
                    <a:pt x="15926" y="18037"/>
                    <a:pt x="16139" y="18037"/>
                  </a:cubicBezTo>
                  <a:cubicBezTo>
                    <a:pt x="16777" y="18037"/>
                    <a:pt x="17309" y="18482"/>
                    <a:pt x="17948" y="18705"/>
                  </a:cubicBezTo>
                  <a:cubicBezTo>
                    <a:pt x="17841" y="18260"/>
                    <a:pt x="18054" y="18037"/>
                    <a:pt x="18267" y="17592"/>
                  </a:cubicBezTo>
                  <a:cubicBezTo>
                    <a:pt x="18373" y="17369"/>
                    <a:pt x="18267" y="17369"/>
                    <a:pt x="18160" y="16924"/>
                  </a:cubicBezTo>
                  <a:cubicBezTo>
                    <a:pt x="18054" y="16701"/>
                    <a:pt x="18054" y="16256"/>
                    <a:pt x="18054" y="15810"/>
                  </a:cubicBezTo>
                  <a:cubicBezTo>
                    <a:pt x="17948" y="15810"/>
                    <a:pt x="17948" y="14920"/>
                    <a:pt x="17841" y="15142"/>
                  </a:cubicBezTo>
                  <a:cubicBezTo>
                    <a:pt x="17948" y="14920"/>
                    <a:pt x="18267" y="14920"/>
                    <a:pt x="18480" y="14697"/>
                  </a:cubicBezTo>
                  <a:cubicBezTo>
                    <a:pt x="18799" y="14697"/>
                    <a:pt x="19012" y="15142"/>
                    <a:pt x="19225" y="14697"/>
                  </a:cubicBezTo>
                  <a:cubicBezTo>
                    <a:pt x="19331" y="14697"/>
                    <a:pt x="19118" y="14474"/>
                    <a:pt x="19118" y="14252"/>
                  </a:cubicBezTo>
                  <a:cubicBezTo>
                    <a:pt x="19012" y="14029"/>
                    <a:pt x="19118" y="13584"/>
                    <a:pt x="19225" y="13361"/>
                  </a:cubicBezTo>
                  <a:cubicBezTo>
                    <a:pt x="19331" y="13138"/>
                    <a:pt x="19437" y="11802"/>
                    <a:pt x="19544" y="12025"/>
                  </a:cubicBezTo>
                  <a:cubicBezTo>
                    <a:pt x="19757" y="12247"/>
                    <a:pt x="19863" y="12470"/>
                    <a:pt x="20076" y="12470"/>
                  </a:cubicBezTo>
                  <a:cubicBezTo>
                    <a:pt x="20182" y="12247"/>
                    <a:pt x="20289" y="12693"/>
                    <a:pt x="20395" y="12470"/>
                  </a:cubicBezTo>
                  <a:cubicBezTo>
                    <a:pt x="20501" y="12470"/>
                    <a:pt x="20714" y="12247"/>
                    <a:pt x="20821" y="12025"/>
                  </a:cubicBezTo>
                  <a:cubicBezTo>
                    <a:pt x="20927" y="11802"/>
                    <a:pt x="20714" y="11357"/>
                    <a:pt x="20714" y="10911"/>
                  </a:cubicBezTo>
                  <a:cubicBezTo>
                    <a:pt x="20821" y="10243"/>
                    <a:pt x="21140" y="10466"/>
                    <a:pt x="21353" y="9798"/>
                  </a:cubicBezTo>
                  <a:cubicBezTo>
                    <a:pt x="21353" y="9575"/>
                    <a:pt x="21353" y="9575"/>
                    <a:pt x="21459" y="9353"/>
                  </a:cubicBezTo>
                  <a:cubicBezTo>
                    <a:pt x="21459" y="9130"/>
                    <a:pt x="21353" y="8907"/>
                    <a:pt x="21246" y="8685"/>
                  </a:cubicBezTo>
                  <a:cubicBezTo>
                    <a:pt x="21246" y="8462"/>
                    <a:pt x="21353" y="8685"/>
                    <a:pt x="21246" y="8685"/>
                  </a:cubicBezTo>
                  <a:close/>
                  <a:moveTo>
                    <a:pt x="15607" y="12915"/>
                  </a:moveTo>
                  <a:cubicBezTo>
                    <a:pt x="15394" y="12915"/>
                    <a:pt x="15075" y="13584"/>
                    <a:pt x="14968" y="13806"/>
                  </a:cubicBezTo>
                  <a:cubicBezTo>
                    <a:pt x="14862" y="13806"/>
                    <a:pt x="14756" y="14252"/>
                    <a:pt x="14756" y="14474"/>
                  </a:cubicBezTo>
                  <a:cubicBezTo>
                    <a:pt x="14756" y="14697"/>
                    <a:pt x="14862" y="14920"/>
                    <a:pt x="14862" y="14920"/>
                  </a:cubicBezTo>
                  <a:cubicBezTo>
                    <a:pt x="14756" y="15142"/>
                    <a:pt x="14543" y="14252"/>
                    <a:pt x="14543" y="14029"/>
                  </a:cubicBezTo>
                  <a:cubicBezTo>
                    <a:pt x="14543" y="13584"/>
                    <a:pt x="14649" y="13361"/>
                    <a:pt x="14862" y="13138"/>
                  </a:cubicBezTo>
                  <a:cubicBezTo>
                    <a:pt x="15075" y="12915"/>
                    <a:pt x="15288" y="12693"/>
                    <a:pt x="15500" y="12693"/>
                  </a:cubicBezTo>
                  <a:cubicBezTo>
                    <a:pt x="15500" y="12693"/>
                    <a:pt x="16032" y="12915"/>
                    <a:pt x="16032" y="12915"/>
                  </a:cubicBezTo>
                  <a:cubicBezTo>
                    <a:pt x="15926" y="13138"/>
                    <a:pt x="15607" y="12915"/>
                    <a:pt x="15607" y="12915"/>
                  </a:cubicBezTo>
                  <a:cubicBezTo>
                    <a:pt x="15394" y="12915"/>
                    <a:pt x="15713" y="12915"/>
                    <a:pt x="15607" y="12915"/>
                  </a:cubicBezTo>
                  <a:close/>
                  <a:moveTo>
                    <a:pt x="17416" y="13138"/>
                  </a:moveTo>
                  <a:cubicBezTo>
                    <a:pt x="17309" y="13584"/>
                    <a:pt x="16564" y="13361"/>
                    <a:pt x="16458" y="12915"/>
                  </a:cubicBezTo>
                  <a:cubicBezTo>
                    <a:pt x="16458" y="12915"/>
                    <a:pt x="16884" y="12915"/>
                    <a:pt x="16884" y="12915"/>
                  </a:cubicBezTo>
                  <a:cubicBezTo>
                    <a:pt x="17096" y="12915"/>
                    <a:pt x="17203" y="12915"/>
                    <a:pt x="17416" y="12693"/>
                  </a:cubicBezTo>
                  <a:cubicBezTo>
                    <a:pt x="17416" y="12693"/>
                    <a:pt x="17416" y="13138"/>
                    <a:pt x="17416" y="13138"/>
                  </a:cubicBezTo>
                  <a:cubicBezTo>
                    <a:pt x="17309" y="13361"/>
                    <a:pt x="17416" y="12915"/>
                    <a:pt x="17416" y="1313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3" name="Shape 2122">
              <a:extLst>
                <a:ext uri="{FF2B5EF4-FFF2-40B4-BE49-F238E27FC236}">
                  <a16:creationId xmlns:a16="http://schemas.microsoft.com/office/drawing/2014/main" id="{35BA1984-5677-7B85-5CE8-41FA942E8853}"/>
                </a:ext>
              </a:extLst>
            </p:cNvPr>
            <p:cNvSpPr/>
            <p:nvPr/>
          </p:nvSpPr>
          <p:spPr>
            <a:xfrm>
              <a:off x="7742117" y="2521842"/>
              <a:ext cx="915025" cy="966668"/>
            </a:xfrm>
            <a:custGeom>
              <a:avLst/>
              <a:gdLst/>
              <a:ahLst/>
              <a:cxnLst>
                <a:cxn ang="0">
                  <a:pos x="wd2" y="hd2"/>
                </a:cxn>
                <a:cxn ang="5400000">
                  <a:pos x="wd2" y="hd2"/>
                </a:cxn>
                <a:cxn ang="10800000">
                  <a:pos x="wd2" y="hd2"/>
                </a:cxn>
                <a:cxn ang="16200000">
                  <a:pos x="wd2" y="hd2"/>
                </a:cxn>
              </a:cxnLst>
              <a:rect l="0" t="0" r="r" b="b"/>
              <a:pathLst>
                <a:path w="21398" h="21206" extrusionOk="0">
                  <a:moveTo>
                    <a:pt x="18051" y="10878"/>
                  </a:moveTo>
                  <a:cubicBezTo>
                    <a:pt x="18669" y="11023"/>
                    <a:pt x="18360" y="10444"/>
                    <a:pt x="18514" y="10154"/>
                  </a:cubicBezTo>
                  <a:cubicBezTo>
                    <a:pt x="18514" y="9864"/>
                    <a:pt x="18669" y="9574"/>
                    <a:pt x="18669" y="9429"/>
                  </a:cubicBezTo>
                  <a:cubicBezTo>
                    <a:pt x="18823" y="9284"/>
                    <a:pt x="19131" y="9574"/>
                    <a:pt x="19286" y="9284"/>
                  </a:cubicBezTo>
                  <a:cubicBezTo>
                    <a:pt x="19440" y="8994"/>
                    <a:pt x="19440" y="8704"/>
                    <a:pt x="19440" y="8414"/>
                  </a:cubicBezTo>
                  <a:cubicBezTo>
                    <a:pt x="19594" y="8124"/>
                    <a:pt x="19903" y="7979"/>
                    <a:pt x="19903" y="7689"/>
                  </a:cubicBezTo>
                  <a:cubicBezTo>
                    <a:pt x="19903" y="7399"/>
                    <a:pt x="20366" y="7109"/>
                    <a:pt x="20520" y="6964"/>
                  </a:cubicBezTo>
                  <a:cubicBezTo>
                    <a:pt x="20983" y="6529"/>
                    <a:pt x="20829" y="6964"/>
                    <a:pt x="21137" y="7109"/>
                  </a:cubicBezTo>
                  <a:cubicBezTo>
                    <a:pt x="21137" y="7109"/>
                    <a:pt x="21137" y="6529"/>
                    <a:pt x="21137" y="6529"/>
                  </a:cubicBezTo>
                  <a:cubicBezTo>
                    <a:pt x="21137" y="6384"/>
                    <a:pt x="21600" y="6384"/>
                    <a:pt x="21291" y="6095"/>
                  </a:cubicBezTo>
                  <a:cubicBezTo>
                    <a:pt x="21137" y="6095"/>
                    <a:pt x="20829" y="6095"/>
                    <a:pt x="20674" y="6095"/>
                  </a:cubicBezTo>
                  <a:cubicBezTo>
                    <a:pt x="20674" y="5950"/>
                    <a:pt x="20829" y="5805"/>
                    <a:pt x="20829" y="5805"/>
                  </a:cubicBezTo>
                  <a:cubicBezTo>
                    <a:pt x="20983" y="5660"/>
                    <a:pt x="20829" y="5515"/>
                    <a:pt x="20674" y="5370"/>
                  </a:cubicBezTo>
                  <a:cubicBezTo>
                    <a:pt x="20520" y="5225"/>
                    <a:pt x="20520" y="5225"/>
                    <a:pt x="20366" y="5370"/>
                  </a:cubicBezTo>
                  <a:cubicBezTo>
                    <a:pt x="20057" y="5515"/>
                    <a:pt x="19903" y="5370"/>
                    <a:pt x="19594" y="5225"/>
                  </a:cubicBezTo>
                  <a:cubicBezTo>
                    <a:pt x="19440" y="5225"/>
                    <a:pt x="19131" y="5515"/>
                    <a:pt x="19131" y="5660"/>
                  </a:cubicBezTo>
                  <a:cubicBezTo>
                    <a:pt x="18977" y="5805"/>
                    <a:pt x="18823" y="5660"/>
                    <a:pt x="18669" y="5805"/>
                  </a:cubicBezTo>
                  <a:cubicBezTo>
                    <a:pt x="18514" y="5805"/>
                    <a:pt x="18360" y="5950"/>
                    <a:pt x="18360" y="6095"/>
                  </a:cubicBezTo>
                  <a:cubicBezTo>
                    <a:pt x="18051" y="6384"/>
                    <a:pt x="17897" y="6529"/>
                    <a:pt x="17589" y="6384"/>
                  </a:cubicBezTo>
                  <a:cubicBezTo>
                    <a:pt x="17434" y="6529"/>
                    <a:pt x="17589" y="6819"/>
                    <a:pt x="17743" y="6964"/>
                  </a:cubicBezTo>
                  <a:cubicBezTo>
                    <a:pt x="18051" y="7544"/>
                    <a:pt x="16663" y="7109"/>
                    <a:pt x="16354" y="7254"/>
                  </a:cubicBezTo>
                  <a:cubicBezTo>
                    <a:pt x="16200" y="7399"/>
                    <a:pt x="15737" y="7254"/>
                    <a:pt x="15583" y="7109"/>
                  </a:cubicBezTo>
                  <a:cubicBezTo>
                    <a:pt x="15429" y="6964"/>
                    <a:pt x="15583" y="6674"/>
                    <a:pt x="15583" y="6674"/>
                  </a:cubicBezTo>
                  <a:cubicBezTo>
                    <a:pt x="15583" y="6674"/>
                    <a:pt x="15583" y="6240"/>
                    <a:pt x="15429" y="6384"/>
                  </a:cubicBezTo>
                  <a:cubicBezTo>
                    <a:pt x="15120" y="6384"/>
                    <a:pt x="14811" y="6384"/>
                    <a:pt x="14811" y="6819"/>
                  </a:cubicBezTo>
                  <a:cubicBezTo>
                    <a:pt x="14966" y="6964"/>
                    <a:pt x="15120" y="7399"/>
                    <a:pt x="14966" y="7399"/>
                  </a:cubicBezTo>
                  <a:cubicBezTo>
                    <a:pt x="14657" y="7399"/>
                    <a:pt x="14503" y="7689"/>
                    <a:pt x="14194" y="7399"/>
                  </a:cubicBezTo>
                  <a:cubicBezTo>
                    <a:pt x="14040" y="7109"/>
                    <a:pt x="13886" y="7544"/>
                    <a:pt x="13731" y="7399"/>
                  </a:cubicBezTo>
                  <a:cubicBezTo>
                    <a:pt x="13269" y="7254"/>
                    <a:pt x="13114" y="7254"/>
                    <a:pt x="12651" y="7109"/>
                  </a:cubicBezTo>
                  <a:cubicBezTo>
                    <a:pt x="12343" y="6964"/>
                    <a:pt x="12189" y="6674"/>
                    <a:pt x="11880" y="6674"/>
                  </a:cubicBezTo>
                  <a:cubicBezTo>
                    <a:pt x="11417" y="6819"/>
                    <a:pt x="11417" y="6674"/>
                    <a:pt x="11109" y="6529"/>
                  </a:cubicBezTo>
                  <a:cubicBezTo>
                    <a:pt x="10800" y="6384"/>
                    <a:pt x="10491" y="6529"/>
                    <a:pt x="10337" y="6384"/>
                  </a:cubicBezTo>
                  <a:cubicBezTo>
                    <a:pt x="10029" y="6095"/>
                    <a:pt x="9720" y="5950"/>
                    <a:pt x="9566" y="5805"/>
                  </a:cubicBezTo>
                  <a:cubicBezTo>
                    <a:pt x="9257" y="5660"/>
                    <a:pt x="9103" y="5660"/>
                    <a:pt x="9257" y="5370"/>
                  </a:cubicBezTo>
                  <a:cubicBezTo>
                    <a:pt x="9411" y="5225"/>
                    <a:pt x="9257" y="4935"/>
                    <a:pt x="9566" y="4790"/>
                  </a:cubicBezTo>
                  <a:cubicBezTo>
                    <a:pt x="9874" y="4645"/>
                    <a:pt x="10029" y="4790"/>
                    <a:pt x="9720" y="4500"/>
                  </a:cubicBezTo>
                  <a:cubicBezTo>
                    <a:pt x="9411" y="4355"/>
                    <a:pt x="9103" y="4065"/>
                    <a:pt x="8794" y="3920"/>
                  </a:cubicBezTo>
                  <a:cubicBezTo>
                    <a:pt x="8640" y="3920"/>
                    <a:pt x="8486" y="3630"/>
                    <a:pt x="8177" y="3630"/>
                  </a:cubicBezTo>
                  <a:cubicBezTo>
                    <a:pt x="8177" y="3630"/>
                    <a:pt x="8177" y="3195"/>
                    <a:pt x="8023" y="3050"/>
                  </a:cubicBezTo>
                  <a:cubicBezTo>
                    <a:pt x="7251" y="2325"/>
                    <a:pt x="8794" y="3195"/>
                    <a:pt x="8794" y="2615"/>
                  </a:cubicBezTo>
                  <a:cubicBezTo>
                    <a:pt x="8794" y="2325"/>
                    <a:pt x="8640" y="2325"/>
                    <a:pt x="8331" y="2035"/>
                  </a:cubicBezTo>
                  <a:cubicBezTo>
                    <a:pt x="8177" y="1891"/>
                    <a:pt x="8177" y="1746"/>
                    <a:pt x="8486" y="1601"/>
                  </a:cubicBezTo>
                  <a:cubicBezTo>
                    <a:pt x="8794" y="1601"/>
                    <a:pt x="8640" y="1166"/>
                    <a:pt x="8949" y="1021"/>
                  </a:cubicBezTo>
                  <a:cubicBezTo>
                    <a:pt x="9103" y="876"/>
                    <a:pt x="9411" y="731"/>
                    <a:pt x="9257" y="441"/>
                  </a:cubicBezTo>
                  <a:cubicBezTo>
                    <a:pt x="8949" y="6"/>
                    <a:pt x="8177" y="-139"/>
                    <a:pt x="7714" y="151"/>
                  </a:cubicBezTo>
                  <a:cubicBezTo>
                    <a:pt x="7560" y="296"/>
                    <a:pt x="7560" y="296"/>
                    <a:pt x="7251" y="441"/>
                  </a:cubicBezTo>
                  <a:cubicBezTo>
                    <a:pt x="7097" y="441"/>
                    <a:pt x="7097" y="731"/>
                    <a:pt x="6943" y="876"/>
                  </a:cubicBezTo>
                  <a:cubicBezTo>
                    <a:pt x="6634" y="1021"/>
                    <a:pt x="6326" y="876"/>
                    <a:pt x="6171" y="1021"/>
                  </a:cubicBezTo>
                  <a:cubicBezTo>
                    <a:pt x="6017" y="1166"/>
                    <a:pt x="5709" y="1166"/>
                    <a:pt x="5400" y="1021"/>
                  </a:cubicBezTo>
                  <a:cubicBezTo>
                    <a:pt x="5091" y="1021"/>
                    <a:pt x="4937" y="876"/>
                    <a:pt x="4629" y="1021"/>
                  </a:cubicBezTo>
                  <a:cubicBezTo>
                    <a:pt x="4320" y="1021"/>
                    <a:pt x="4474" y="1456"/>
                    <a:pt x="4629" y="1601"/>
                  </a:cubicBezTo>
                  <a:cubicBezTo>
                    <a:pt x="4629" y="1891"/>
                    <a:pt x="4629" y="2180"/>
                    <a:pt x="4629" y="2325"/>
                  </a:cubicBezTo>
                  <a:cubicBezTo>
                    <a:pt x="4783" y="2615"/>
                    <a:pt x="5091" y="2615"/>
                    <a:pt x="5400" y="2760"/>
                  </a:cubicBezTo>
                  <a:cubicBezTo>
                    <a:pt x="5554" y="3050"/>
                    <a:pt x="5246" y="3050"/>
                    <a:pt x="5091" y="3050"/>
                  </a:cubicBezTo>
                  <a:cubicBezTo>
                    <a:pt x="4937" y="3340"/>
                    <a:pt x="5091" y="3630"/>
                    <a:pt x="5091" y="3920"/>
                  </a:cubicBezTo>
                  <a:cubicBezTo>
                    <a:pt x="5091" y="4065"/>
                    <a:pt x="4783" y="4065"/>
                    <a:pt x="4783" y="4065"/>
                  </a:cubicBezTo>
                  <a:cubicBezTo>
                    <a:pt x="4474" y="4210"/>
                    <a:pt x="4783" y="4645"/>
                    <a:pt x="4474" y="4645"/>
                  </a:cubicBezTo>
                  <a:cubicBezTo>
                    <a:pt x="4166" y="4790"/>
                    <a:pt x="4011" y="4935"/>
                    <a:pt x="4011" y="5080"/>
                  </a:cubicBezTo>
                  <a:cubicBezTo>
                    <a:pt x="3857" y="5370"/>
                    <a:pt x="3703" y="5370"/>
                    <a:pt x="3394" y="5515"/>
                  </a:cubicBezTo>
                  <a:cubicBezTo>
                    <a:pt x="3086" y="5660"/>
                    <a:pt x="3086" y="6095"/>
                    <a:pt x="2931" y="6240"/>
                  </a:cubicBezTo>
                  <a:cubicBezTo>
                    <a:pt x="2777" y="6529"/>
                    <a:pt x="2469" y="6384"/>
                    <a:pt x="2314" y="6674"/>
                  </a:cubicBezTo>
                  <a:cubicBezTo>
                    <a:pt x="2006" y="6819"/>
                    <a:pt x="1851" y="6240"/>
                    <a:pt x="1697" y="6529"/>
                  </a:cubicBezTo>
                  <a:cubicBezTo>
                    <a:pt x="1543" y="6674"/>
                    <a:pt x="926" y="6964"/>
                    <a:pt x="1080" y="7109"/>
                  </a:cubicBezTo>
                  <a:cubicBezTo>
                    <a:pt x="1080" y="7399"/>
                    <a:pt x="1543" y="7399"/>
                    <a:pt x="1543" y="7689"/>
                  </a:cubicBezTo>
                  <a:cubicBezTo>
                    <a:pt x="1389" y="8124"/>
                    <a:pt x="1697" y="8124"/>
                    <a:pt x="2006" y="8269"/>
                  </a:cubicBezTo>
                  <a:cubicBezTo>
                    <a:pt x="2006" y="8559"/>
                    <a:pt x="2160" y="8849"/>
                    <a:pt x="2160" y="9139"/>
                  </a:cubicBezTo>
                  <a:cubicBezTo>
                    <a:pt x="2160" y="9139"/>
                    <a:pt x="1697" y="9139"/>
                    <a:pt x="1543" y="9139"/>
                  </a:cubicBezTo>
                  <a:cubicBezTo>
                    <a:pt x="1389" y="9139"/>
                    <a:pt x="1234" y="9284"/>
                    <a:pt x="1080" y="9284"/>
                  </a:cubicBezTo>
                  <a:cubicBezTo>
                    <a:pt x="1080" y="9284"/>
                    <a:pt x="926" y="9139"/>
                    <a:pt x="771" y="9139"/>
                  </a:cubicBezTo>
                  <a:cubicBezTo>
                    <a:pt x="617" y="9139"/>
                    <a:pt x="0" y="9429"/>
                    <a:pt x="0" y="9574"/>
                  </a:cubicBezTo>
                  <a:cubicBezTo>
                    <a:pt x="309" y="9864"/>
                    <a:pt x="463" y="10009"/>
                    <a:pt x="771" y="10299"/>
                  </a:cubicBezTo>
                  <a:cubicBezTo>
                    <a:pt x="771" y="10299"/>
                    <a:pt x="1697" y="10299"/>
                    <a:pt x="1697" y="10299"/>
                  </a:cubicBezTo>
                  <a:cubicBezTo>
                    <a:pt x="1697" y="10444"/>
                    <a:pt x="1389" y="10589"/>
                    <a:pt x="1234" y="10589"/>
                  </a:cubicBezTo>
                  <a:cubicBezTo>
                    <a:pt x="1080" y="10733"/>
                    <a:pt x="617" y="10444"/>
                    <a:pt x="617" y="10733"/>
                  </a:cubicBezTo>
                  <a:cubicBezTo>
                    <a:pt x="617" y="11023"/>
                    <a:pt x="1389" y="11458"/>
                    <a:pt x="1697" y="11748"/>
                  </a:cubicBezTo>
                  <a:cubicBezTo>
                    <a:pt x="1851" y="11893"/>
                    <a:pt x="2006" y="11893"/>
                    <a:pt x="2314" y="11893"/>
                  </a:cubicBezTo>
                  <a:cubicBezTo>
                    <a:pt x="2623" y="11748"/>
                    <a:pt x="3086" y="11603"/>
                    <a:pt x="3240" y="11313"/>
                  </a:cubicBezTo>
                  <a:cubicBezTo>
                    <a:pt x="3240" y="11313"/>
                    <a:pt x="3086" y="11168"/>
                    <a:pt x="2931" y="11168"/>
                  </a:cubicBezTo>
                  <a:cubicBezTo>
                    <a:pt x="2931" y="11023"/>
                    <a:pt x="3086" y="11023"/>
                    <a:pt x="3086" y="11023"/>
                  </a:cubicBezTo>
                  <a:cubicBezTo>
                    <a:pt x="3240" y="10878"/>
                    <a:pt x="3086" y="10733"/>
                    <a:pt x="3240" y="10733"/>
                  </a:cubicBezTo>
                  <a:cubicBezTo>
                    <a:pt x="3240" y="10733"/>
                    <a:pt x="3549" y="10733"/>
                    <a:pt x="3549" y="10733"/>
                  </a:cubicBezTo>
                  <a:cubicBezTo>
                    <a:pt x="3549" y="10878"/>
                    <a:pt x="3240" y="10878"/>
                    <a:pt x="3394" y="11023"/>
                  </a:cubicBezTo>
                  <a:cubicBezTo>
                    <a:pt x="3394" y="11023"/>
                    <a:pt x="3549" y="11023"/>
                    <a:pt x="3549" y="11023"/>
                  </a:cubicBezTo>
                  <a:cubicBezTo>
                    <a:pt x="3549" y="11168"/>
                    <a:pt x="3394" y="11168"/>
                    <a:pt x="3394" y="11168"/>
                  </a:cubicBezTo>
                  <a:cubicBezTo>
                    <a:pt x="3240" y="11168"/>
                    <a:pt x="3549" y="11168"/>
                    <a:pt x="3549" y="11168"/>
                  </a:cubicBezTo>
                  <a:cubicBezTo>
                    <a:pt x="3549" y="11313"/>
                    <a:pt x="3394" y="11313"/>
                    <a:pt x="3394" y="11458"/>
                  </a:cubicBezTo>
                  <a:cubicBezTo>
                    <a:pt x="3240" y="11458"/>
                    <a:pt x="3549" y="11603"/>
                    <a:pt x="3703" y="11748"/>
                  </a:cubicBezTo>
                  <a:cubicBezTo>
                    <a:pt x="3857" y="11893"/>
                    <a:pt x="3549" y="12183"/>
                    <a:pt x="3394" y="12473"/>
                  </a:cubicBezTo>
                  <a:cubicBezTo>
                    <a:pt x="3394" y="12618"/>
                    <a:pt x="3549" y="12763"/>
                    <a:pt x="3703" y="12908"/>
                  </a:cubicBezTo>
                  <a:cubicBezTo>
                    <a:pt x="3703" y="13198"/>
                    <a:pt x="3703" y="13343"/>
                    <a:pt x="3703" y="13633"/>
                  </a:cubicBezTo>
                  <a:cubicBezTo>
                    <a:pt x="3703" y="13923"/>
                    <a:pt x="3549" y="14358"/>
                    <a:pt x="3549" y="14503"/>
                  </a:cubicBezTo>
                  <a:cubicBezTo>
                    <a:pt x="3549" y="14503"/>
                    <a:pt x="3703" y="14213"/>
                    <a:pt x="3703" y="14213"/>
                  </a:cubicBezTo>
                  <a:cubicBezTo>
                    <a:pt x="3857" y="14358"/>
                    <a:pt x="4011" y="15227"/>
                    <a:pt x="4011" y="15372"/>
                  </a:cubicBezTo>
                  <a:cubicBezTo>
                    <a:pt x="4166" y="15662"/>
                    <a:pt x="4474" y="16097"/>
                    <a:pt x="4629" y="16532"/>
                  </a:cubicBezTo>
                  <a:cubicBezTo>
                    <a:pt x="4783" y="16967"/>
                    <a:pt x="4783" y="17402"/>
                    <a:pt x="4937" y="17837"/>
                  </a:cubicBezTo>
                  <a:cubicBezTo>
                    <a:pt x="5246" y="18417"/>
                    <a:pt x="5709" y="18852"/>
                    <a:pt x="6017" y="19287"/>
                  </a:cubicBezTo>
                  <a:cubicBezTo>
                    <a:pt x="6171" y="19721"/>
                    <a:pt x="6171" y="20156"/>
                    <a:pt x="6326" y="20591"/>
                  </a:cubicBezTo>
                  <a:cubicBezTo>
                    <a:pt x="6634" y="21026"/>
                    <a:pt x="6943" y="21461"/>
                    <a:pt x="7406" y="21026"/>
                  </a:cubicBezTo>
                  <a:cubicBezTo>
                    <a:pt x="7714" y="20881"/>
                    <a:pt x="7714" y="20736"/>
                    <a:pt x="7714" y="20591"/>
                  </a:cubicBezTo>
                  <a:cubicBezTo>
                    <a:pt x="7714" y="20301"/>
                    <a:pt x="8023" y="20156"/>
                    <a:pt x="8177" y="20011"/>
                  </a:cubicBezTo>
                  <a:cubicBezTo>
                    <a:pt x="8331" y="19866"/>
                    <a:pt x="8640" y="19866"/>
                    <a:pt x="8794" y="19721"/>
                  </a:cubicBezTo>
                  <a:cubicBezTo>
                    <a:pt x="8949" y="19576"/>
                    <a:pt x="8794" y="19142"/>
                    <a:pt x="8794" y="18997"/>
                  </a:cubicBezTo>
                  <a:cubicBezTo>
                    <a:pt x="8640" y="18417"/>
                    <a:pt x="9411" y="17982"/>
                    <a:pt x="9257" y="17547"/>
                  </a:cubicBezTo>
                  <a:cubicBezTo>
                    <a:pt x="9103" y="17112"/>
                    <a:pt x="8949" y="16677"/>
                    <a:pt x="8949" y="16242"/>
                  </a:cubicBezTo>
                  <a:cubicBezTo>
                    <a:pt x="8949" y="15662"/>
                    <a:pt x="9566" y="15517"/>
                    <a:pt x="10029" y="15372"/>
                  </a:cubicBezTo>
                  <a:cubicBezTo>
                    <a:pt x="10183" y="15227"/>
                    <a:pt x="10646" y="15227"/>
                    <a:pt x="10646" y="15082"/>
                  </a:cubicBezTo>
                  <a:cubicBezTo>
                    <a:pt x="10800" y="14793"/>
                    <a:pt x="10954" y="14648"/>
                    <a:pt x="11109" y="14503"/>
                  </a:cubicBezTo>
                  <a:cubicBezTo>
                    <a:pt x="11571" y="14068"/>
                    <a:pt x="12034" y="13633"/>
                    <a:pt x="12497" y="13343"/>
                  </a:cubicBezTo>
                  <a:cubicBezTo>
                    <a:pt x="12651" y="13198"/>
                    <a:pt x="12806" y="12908"/>
                    <a:pt x="12960" y="12763"/>
                  </a:cubicBezTo>
                  <a:cubicBezTo>
                    <a:pt x="13114" y="12618"/>
                    <a:pt x="13423" y="12618"/>
                    <a:pt x="13577" y="12473"/>
                  </a:cubicBezTo>
                  <a:cubicBezTo>
                    <a:pt x="13731" y="12328"/>
                    <a:pt x="13886" y="12183"/>
                    <a:pt x="14040" y="12038"/>
                  </a:cubicBezTo>
                  <a:cubicBezTo>
                    <a:pt x="14194" y="11893"/>
                    <a:pt x="13886" y="11748"/>
                    <a:pt x="13886" y="11603"/>
                  </a:cubicBezTo>
                  <a:cubicBezTo>
                    <a:pt x="14040" y="11313"/>
                    <a:pt x="14503" y="11313"/>
                    <a:pt x="14657" y="11168"/>
                  </a:cubicBezTo>
                  <a:cubicBezTo>
                    <a:pt x="14811" y="11168"/>
                    <a:pt x="15120" y="10733"/>
                    <a:pt x="15120" y="10589"/>
                  </a:cubicBezTo>
                  <a:cubicBezTo>
                    <a:pt x="15120" y="10878"/>
                    <a:pt x="14811" y="10878"/>
                    <a:pt x="14966" y="11168"/>
                  </a:cubicBezTo>
                  <a:cubicBezTo>
                    <a:pt x="15274" y="11313"/>
                    <a:pt x="15429" y="10878"/>
                    <a:pt x="15429" y="10878"/>
                  </a:cubicBezTo>
                  <a:cubicBezTo>
                    <a:pt x="15583" y="11023"/>
                    <a:pt x="15429" y="11168"/>
                    <a:pt x="15583" y="11168"/>
                  </a:cubicBezTo>
                  <a:cubicBezTo>
                    <a:pt x="15737" y="10733"/>
                    <a:pt x="15583" y="10299"/>
                    <a:pt x="15274" y="9864"/>
                  </a:cubicBezTo>
                  <a:cubicBezTo>
                    <a:pt x="15120" y="9574"/>
                    <a:pt x="14811" y="9284"/>
                    <a:pt x="14966" y="8849"/>
                  </a:cubicBezTo>
                  <a:cubicBezTo>
                    <a:pt x="15120" y="8414"/>
                    <a:pt x="15891" y="8704"/>
                    <a:pt x="15429" y="8269"/>
                  </a:cubicBezTo>
                  <a:cubicBezTo>
                    <a:pt x="15274" y="8124"/>
                    <a:pt x="14966" y="7979"/>
                    <a:pt x="15120" y="7689"/>
                  </a:cubicBezTo>
                  <a:cubicBezTo>
                    <a:pt x="15274" y="7544"/>
                    <a:pt x="15429" y="7689"/>
                    <a:pt x="15737" y="7834"/>
                  </a:cubicBezTo>
                  <a:cubicBezTo>
                    <a:pt x="15891" y="7979"/>
                    <a:pt x="16046" y="7834"/>
                    <a:pt x="16046" y="8124"/>
                  </a:cubicBezTo>
                  <a:cubicBezTo>
                    <a:pt x="16046" y="8269"/>
                    <a:pt x="16046" y="8414"/>
                    <a:pt x="16354" y="8559"/>
                  </a:cubicBezTo>
                  <a:cubicBezTo>
                    <a:pt x="16509" y="8559"/>
                    <a:pt x="16817" y="8559"/>
                    <a:pt x="16971" y="8559"/>
                  </a:cubicBezTo>
                  <a:cubicBezTo>
                    <a:pt x="17126" y="8559"/>
                    <a:pt x="17434" y="8704"/>
                    <a:pt x="17589" y="8559"/>
                  </a:cubicBezTo>
                  <a:cubicBezTo>
                    <a:pt x="18360" y="8414"/>
                    <a:pt x="17743" y="9284"/>
                    <a:pt x="17434" y="9429"/>
                  </a:cubicBezTo>
                  <a:cubicBezTo>
                    <a:pt x="16971" y="9429"/>
                    <a:pt x="17280" y="10009"/>
                    <a:pt x="17280" y="10154"/>
                  </a:cubicBezTo>
                  <a:cubicBezTo>
                    <a:pt x="17434" y="10154"/>
                    <a:pt x="17743" y="9574"/>
                    <a:pt x="17743" y="9719"/>
                  </a:cubicBezTo>
                  <a:cubicBezTo>
                    <a:pt x="17743" y="10154"/>
                    <a:pt x="18051" y="10589"/>
                    <a:pt x="18051" y="10878"/>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4" name="Shape 2123">
              <a:extLst>
                <a:ext uri="{FF2B5EF4-FFF2-40B4-BE49-F238E27FC236}">
                  <a16:creationId xmlns:a16="http://schemas.microsoft.com/office/drawing/2014/main" id="{DD7F1D39-3837-95C8-5AFD-D557B3A67BC0}"/>
                </a:ext>
              </a:extLst>
            </p:cNvPr>
            <p:cNvSpPr/>
            <p:nvPr/>
          </p:nvSpPr>
          <p:spPr>
            <a:xfrm>
              <a:off x="8501742" y="2796071"/>
              <a:ext cx="269689" cy="638863"/>
            </a:xfrm>
            <a:custGeom>
              <a:avLst/>
              <a:gdLst/>
              <a:ahLst/>
              <a:cxnLst>
                <a:cxn ang="0">
                  <a:pos x="wd2" y="hd2"/>
                </a:cxn>
                <a:cxn ang="5400000">
                  <a:pos x="wd2" y="hd2"/>
                </a:cxn>
                <a:cxn ang="10800000">
                  <a:pos x="wd2" y="hd2"/>
                </a:cxn>
                <a:cxn ang="16200000">
                  <a:pos x="wd2" y="hd2"/>
                </a:cxn>
              </a:cxnLst>
              <a:rect l="0" t="0" r="r" b="b"/>
              <a:pathLst>
                <a:path w="21600" h="21314" extrusionOk="0">
                  <a:moveTo>
                    <a:pt x="20546" y="8090"/>
                  </a:moveTo>
                  <a:cubicBezTo>
                    <a:pt x="20020" y="8090"/>
                    <a:pt x="19493" y="8310"/>
                    <a:pt x="19493" y="7869"/>
                  </a:cubicBezTo>
                  <a:cubicBezTo>
                    <a:pt x="19493" y="7869"/>
                    <a:pt x="19493" y="7649"/>
                    <a:pt x="19493" y="7649"/>
                  </a:cubicBezTo>
                  <a:cubicBezTo>
                    <a:pt x="19493" y="7428"/>
                    <a:pt x="17912" y="7428"/>
                    <a:pt x="17912" y="7428"/>
                  </a:cubicBezTo>
                  <a:cubicBezTo>
                    <a:pt x="17385" y="7208"/>
                    <a:pt x="17912" y="6767"/>
                    <a:pt x="17912" y="6547"/>
                  </a:cubicBezTo>
                  <a:cubicBezTo>
                    <a:pt x="18439" y="6106"/>
                    <a:pt x="16859" y="6326"/>
                    <a:pt x="16332" y="6106"/>
                  </a:cubicBezTo>
                  <a:cubicBezTo>
                    <a:pt x="16332" y="5885"/>
                    <a:pt x="15805" y="5885"/>
                    <a:pt x="15805" y="5665"/>
                  </a:cubicBezTo>
                  <a:cubicBezTo>
                    <a:pt x="15805" y="5445"/>
                    <a:pt x="16859" y="5224"/>
                    <a:pt x="16859" y="5224"/>
                  </a:cubicBezTo>
                  <a:cubicBezTo>
                    <a:pt x="16332" y="4783"/>
                    <a:pt x="13171" y="5445"/>
                    <a:pt x="12644" y="5224"/>
                  </a:cubicBezTo>
                  <a:cubicBezTo>
                    <a:pt x="12644" y="5224"/>
                    <a:pt x="13171" y="4783"/>
                    <a:pt x="13171" y="4563"/>
                  </a:cubicBezTo>
                  <a:cubicBezTo>
                    <a:pt x="12644" y="4343"/>
                    <a:pt x="14224" y="3902"/>
                    <a:pt x="14224" y="3681"/>
                  </a:cubicBezTo>
                  <a:cubicBezTo>
                    <a:pt x="15278" y="3020"/>
                    <a:pt x="16332" y="2579"/>
                    <a:pt x="15805" y="1918"/>
                  </a:cubicBezTo>
                  <a:cubicBezTo>
                    <a:pt x="15805" y="1698"/>
                    <a:pt x="16332" y="1477"/>
                    <a:pt x="16332" y="1257"/>
                  </a:cubicBezTo>
                  <a:cubicBezTo>
                    <a:pt x="16332" y="816"/>
                    <a:pt x="15278" y="1257"/>
                    <a:pt x="14751" y="1036"/>
                  </a:cubicBezTo>
                  <a:cubicBezTo>
                    <a:pt x="14751" y="596"/>
                    <a:pt x="14224" y="375"/>
                    <a:pt x="14224" y="155"/>
                  </a:cubicBezTo>
                  <a:cubicBezTo>
                    <a:pt x="13171" y="-286"/>
                    <a:pt x="13171" y="375"/>
                    <a:pt x="12117" y="155"/>
                  </a:cubicBezTo>
                  <a:cubicBezTo>
                    <a:pt x="12644" y="596"/>
                    <a:pt x="11590" y="596"/>
                    <a:pt x="11590" y="816"/>
                  </a:cubicBezTo>
                  <a:cubicBezTo>
                    <a:pt x="11590" y="816"/>
                    <a:pt x="11590" y="1698"/>
                    <a:pt x="11590" y="1698"/>
                  </a:cubicBezTo>
                  <a:cubicBezTo>
                    <a:pt x="11063" y="1698"/>
                    <a:pt x="11063" y="1257"/>
                    <a:pt x="11063" y="1257"/>
                  </a:cubicBezTo>
                  <a:cubicBezTo>
                    <a:pt x="10010" y="1257"/>
                    <a:pt x="9483" y="1477"/>
                    <a:pt x="9483" y="1698"/>
                  </a:cubicBezTo>
                  <a:cubicBezTo>
                    <a:pt x="8956" y="1918"/>
                    <a:pt x="7902" y="1918"/>
                    <a:pt x="7376" y="2138"/>
                  </a:cubicBezTo>
                  <a:cubicBezTo>
                    <a:pt x="6849" y="2359"/>
                    <a:pt x="7376" y="2800"/>
                    <a:pt x="6849" y="3020"/>
                  </a:cubicBezTo>
                  <a:cubicBezTo>
                    <a:pt x="6849" y="3241"/>
                    <a:pt x="6322" y="3461"/>
                    <a:pt x="5795" y="3681"/>
                  </a:cubicBezTo>
                  <a:cubicBezTo>
                    <a:pt x="5795" y="3902"/>
                    <a:pt x="5795" y="4122"/>
                    <a:pt x="5795" y="4343"/>
                  </a:cubicBezTo>
                  <a:cubicBezTo>
                    <a:pt x="5795" y="4783"/>
                    <a:pt x="5268" y="5224"/>
                    <a:pt x="4741" y="5224"/>
                  </a:cubicBezTo>
                  <a:cubicBezTo>
                    <a:pt x="4215" y="5224"/>
                    <a:pt x="3688" y="5224"/>
                    <a:pt x="3161" y="5224"/>
                  </a:cubicBezTo>
                  <a:cubicBezTo>
                    <a:pt x="2634" y="5665"/>
                    <a:pt x="3161" y="7428"/>
                    <a:pt x="2107" y="7428"/>
                  </a:cubicBezTo>
                  <a:cubicBezTo>
                    <a:pt x="2107" y="7428"/>
                    <a:pt x="1054" y="7428"/>
                    <a:pt x="1054" y="7428"/>
                  </a:cubicBezTo>
                  <a:cubicBezTo>
                    <a:pt x="1054" y="7649"/>
                    <a:pt x="1054" y="7869"/>
                    <a:pt x="1054" y="7869"/>
                  </a:cubicBezTo>
                  <a:cubicBezTo>
                    <a:pt x="1054" y="8090"/>
                    <a:pt x="527" y="8310"/>
                    <a:pt x="0" y="8530"/>
                  </a:cubicBezTo>
                  <a:cubicBezTo>
                    <a:pt x="0" y="8751"/>
                    <a:pt x="2107" y="9853"/>
                    <a:pt x="2634" y="10073"/>
                  </a:cubicBezTo>
                  <a:cubicBezTo>
                    <a:pt x="2634" y="10073"/>
                    <a:pt x="2107" y="9412"/>
                    <a:pt x="2107" y="9412"/>
                  </a:cubicBezTo>
                  <a:cubicBezTo>
                    <a:pt x="2107" y="9412"/>
                    <a:pt x="3688" y="10294"/>
                    <a:pt x="3688" y="10294"/>
                  </a:cubicBezTo>
                  <a:cubicBezTo>
                    <a:pt x="4215" y="10734"/>
                    <a:pt x="3161" y="10734"/>
                    <a:pt x="3688" y="11175"/>
                  </a:cubicBezTo>
                  <a:cubicBezTo>
                    <a:pt x="3161" y="10955"/>
                    <a:pt x="4215" y="10955"/>
                    <a:pt x="4741" y="11175"/>
                  </a:cubicBezTo>
                  <a:cubicBezTo>
                    <a:pt x="5268" y="11616"/>
                    <a:pt x="5795" y="12057"/>
                    <a:pt x="5795" y="12498"/>
                  </a:cubicBezTo>
                  <a:cubicBezTo>
                    <a:pt x="5795" y="12498"/>
                    <a:pt x="5268" y="14481"/>
                    <a:pt x="5268" y="14481"/>
                  </a:cubicBezTo>
                  <a:cubicBezTo>
                    <a:pt x="5795" y="14481"/>
                    <a:pt x="5795" y="13820"/>
                    <a:pt x="5795" y="13820"/>
                  </a:cubicBezTo>
                  <a:cubicBezTo>
                    <a:pt x="5795" y="13820"/>
                    <a:pt x="5795" y="14481"/>
                    <a:pt x="5795" y="14481"/>
                  </a:cubicBezTo>
                  <a:cubicBezTo>
                    <a:pt x="5795" y="14481"/>
                    <a:pt x="6322" y="14261"/>
                    <a:pt x="6322" y="14261"/>
                  </a:cubicBezTo>
                  <a:cubicBezTo>
                    <a:pt x="6322" y="14261"/>
                    <a:pt x="6322" y="14702"/>
                    <a:pt x="6322" y="14702"/>
                  </a:cubicBezTo>
                  <a:cubicBezTo>
                    <a:pt x="6849" y="14702"/>
                    <a:pt x="6849" y="14261"/>
                    <a:pt x="7376" y="14261"/>
                  </a:cubicBezTo>
                  <a:cubicBezTo>
                    <a:pt x="7376" y="14261"/>
                    <a:pt x="7376" y="14481"/>
                    <a:pt x="7376" y="14481"/>
                  </a:cubicBezTo>
                  <a:cubicBezTo>
                    <a:pt x="7376" y="14481"/>
                    <a:pt x="8956" y="14261"/>
                    <a:pt x="8956" y="14041"/>
                  </a:cubicBezTo>
                  <a:cubicBezTo>
                    <a:pt x="9483" y="14041"/>
                    <a:pt x="12117" y="13379"/>
                    <a:pt x="11063" y="13159"/>
                  </a:cubicBezTo>
                  <a:cubicBezTo>
                    <a:pt x="11590" y="13159"/>
                    <a:pt x="11063" y="13600"/>
                    <a:pt x="11590" y="13820"/>
                  </a:cubicBezTo>
                  <a:cubicBezTo>
                    <a:pt x="12117" y="13820"/>
                    <a:pt x="12644" y="13820"/>
                    <a:pt x="12644" y="14041"/>
                  </a:cubicBezTo>
                  <a:cubicBezTo>
                    <a:pt x="13171" y="14481"/>
                    <a:pt x="13171" y="15143"/>
                    <a:pt x="13171" y="15583"/>
                  </a:cubicBezTo>
                  <a:cubicBezTo>
                    <a:pt x="13698" y="16245"/>
                    <a:pt x="13698" y="16685"/>
                    <a:pt x="14751" y="17126"/>
                  </a:cubicBezTo>
                  <a:cubicBezTo>
                    <a:pt x="14751" y="17126"/>
                    <a:pt x="15278" y="17347"/>
                    <a:pt x="15278" y="17347"/>
                  </a:cubicBezTo>
                  <a:cubicBezTo>
                    <a:pt x="15278" y="17787"/>
                    <a:pt x="15805" y="17787"/>
                    <a:pt x="15805" y="17787"/>
                  </a:cubicBezTo>
                  <a:cubicBezTo>
                    <a:pt x="16332" y="18008"/>
                    <a:pt x="15278" y="18449"/>
                    <a:pt x="15805" y="18449"/>
                  </a:cubicBezTo>
                  <a:cubicBezTo>
                    <a:pt x="15805" y="18449"/>
                    <a:pt x="15805" y="18449"/>
                    <a:pt x="16332" y="18449"/>
                  </a:cubicBezTo>
                  <a:cubicBezTo>
                    <a:pt x="16332" y="18669"/>
                    <a:pt x="15278" y="18890"/>
                    <a:pt x="15278" y="19110"/>
                  </a:cubicBezTo>
                  <a:cubicBezTo>
                    <a:pt x="15278" y="19551"/>
                    <a:pt x="15805" y="19110"/>
                    <a:pt x="16332" y="19330"/>
                  </a:cubicBezTo>
                  <a:cubicBezTo>
                    <a:pt x="16332" y="19330"/>
                    <a:pt x="15278" y="21094"/>
                    <a:pt x="15278" y="21314"/>
                  </a:cubicBezTo>
                  <a:cubicBezTo>
                    <a:pt x="16332" y="20873"/>
                    <a:pt x="16859" y="19992"/>
                    <a:pt x="17385" y="19551"/>
                  </a:cubicBezTo>
                  <a:cubicBezTo>
                    <a:pt x="17912" y="19110"/>
                    <a:pt x="18439" y="18890"/>
                    <a:pt x="17912" y="18449"/>
                  </a:cubicBezTo>
                  <a:cubicBezTo>
                    <a:pt x="17385" y="18008"/>
                    <a:pt x="17385" y="17787"/>
                    <a:pt x="17385" y="17347"/>
                  </a:cubicBezTo>
                  <a:cubicBezTo>
                    <a:pt x="16859" y="16906"/>
                    <a:pt x="14224" y="16024"/>
                    <a:pt x="14751" y="15363"/>
                  </a:cubicBezTo>
                  <a:cubicBezTo>
                    <a:pt x="14751" y="15363"/>
                    <a:pt x="15805" y="15143"/>
                    <a:pt x="15805" y="14922"/>
                  </a:cubicBezTo>
                  <a:cubicBezTo>
                    <a:pt x="15278" y="14481"/>
                    <a:pt x="15805" y="14481"/>
                    <a:pt x="15805" y="14041"/>
                  </a:cubicBezTo>
                  <a:cubicBezTo>
                    <a:pt x="16332" y="13379"/>
                    <a:pt x="14224" y="12938"/>
                    <a:pt x="13698" y="12498"/>
                  </a:cubicBezTo>
                  <a:cubicBezTo>
                    <a:pt x="12117" y="12057"/>
                    <a:pt x="13171" y="11175"/>
                    <a:pt x="13698" y="10514"/>
                  </a:cubicBezTo>
                  <a:cubicBezTo>
                    <a:pt x="13698" y="10073"/>
                    <a:pt x="14224" y="10073"/>
                    <a:pt x="15278" y="10073"/>
                  </a:cubicBezTo>
                  <a:cubicBezTo>
                    <a:pt x="16332" y="10073"/>
                    <a:pt x="17385" y="9632"/>
                    <a:pt x="17912" y="9412"/>
                  </a:cubicBezTo>
                  <a:cubicBezTo>
                    <a:pt x="18966" y="9192"/>
                    <a:pt x="19493" y="9412"/>
                    <a:pt x="20546" y="8971"/>
                  </a:cubicBezTo>
                  <a:cubicBezTo>
                    <a:pt x="21073" y="8530"/>
                    <a:pt x="21600" y="8310"/>
                    <a:pt x="21600" y="8090"/>
                  </a:cubicBezTo>
                  <a:cubicBezTo>
                    <a:pt x="21600" y="8090"/>
                    <a:pt x="21073" y="8090"/>
                    <a:pt x="20546" y="809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5" name="Shape 2124">
              <a:extLst>
                <a:ext uri="{FF2B5EF4-FFF2-40B4-BE49-F238E27FC236}">
                  <a16:creationId xmlns:a16="http://schemas.microsoft.com/office/drawing/2014/main" id="{67B91AE6-A8B1-8470-74D0-8378B42564ED}"/>
                </a:ext>
              </a:extLst>
            </p:cNvPr>
            <p:cNvSpPr/>
            <p:nvPr/>
          </p:nvSpPr>
          <p:spPr>
            <a:xfrm>
              <a:off x="8380648" y="2870045"/>
              <a:ext cx="134613" cy="180480"/>
            </a:xfrm>
            <a:custGeom>
              <a:avLst/>
              <a:gdLst/>
              <a:ahLst/>
              <a:cxnLst>
                <a:cxn ang="0">
                  <a:pos x="wd2" y="hd2"/>
                </a:cxn>
                <a:cxn ang="5400000">
                  <a:pos x="wd2" y="hd2"/>
                </a:cxn>
                <a:cxn ang="10800000">
                  <a:pos x="wd2" y="hd2"/>
                </a:cxn>
                <a:cxn ang="16200000">
                  <a:pos x="wd2" y="hd2"/>
                </a:cxn>
              </a:cxnLst>
              <a:rect l="0" t="0" r="r" b="b"/>
              <a:pathLst>
                <a:path w="19310" h="21148" extrusionOk="0">
                  <a:moveTo>
                    <a:pt x="19039" y="19605"/>
                  </a:moveTo>
                  <a:cubicBezTo>
                    <a:pt x="19978" y="18062"/>
                    <a:pt x="18100" y="14205"/>
                    <a:pt x="18100" y="12662"/>
                  </a:cubicBezTo>
                  <a:cubicBezTo>
                    <a:pt x="18100" y="12662"/>
                    <a:pt x="17160" y="9577"/>
                    <a:pt x="16221" y="11891"/>
                  </a:cubicBezTo>
                  <a:cubicBezTo>
                    <a:pt x="16221" y="11891"/>
                    <a:pt x="15282" y="12662"/>
                    <a:pt x="14343" y="13434"/>
                  </a:cubicBezTo>
                  <a:cubicBezTo>
                    <a:pt x="14343" y="12662"/>
                    <a:pt x="12465" y="9577"/>
                    <a:pt x="15282" y="9577"/>
                  </a:cubicBezTo>
                  <a:cubicBezTo>
                    <a:pt x="17160" y="8805"/>
                    <a:pt x="20917" y="4177"/>
                    <a:pt x="16221" y="4948"/>
                  </a:cubicBezTo>
                  <a:cubicBezTo>
                    <a:pt x="15282" y="5719"/>
                    <a:pt x="13404" y="4948"/>
                    <a:pt x="12465" y="4948"/>
                  </a:cubicBezTo>
                  <a:cubicBezTo>
                    <a:pt x="11526" y="4948"/>
                    <a:pt x="9647" y="4948"/>
                    <a:pt x="8708" y="4948"/>
                  </a:cubicBezTo>
                  <a:cubicBezTo>
                    <a:pt x="6830" y="4177"/>
                    <a:pt x="6830" y="3405"/>
                    <a:pt x="6830" y="2634"/>
                  </a:cubicBezTo>
                  <a:cubicBezTo>
                    <a:pt x="6830" y="1091"/>
                    <a:pt x="5891" y="1862"/>
                    <a:pt x="4952" y="1091"/>
                  </a:cubicBezTo>
                  <a:cubicBezTo>
                    <a:pt x="3074" y="319"/>
                    <a:pt x="2134" y="-452"/>
                    <a:pt x="1195" y="319"/>
                  </a:cubicBezTo>
                  <a:cubicBezTo>
                    <a:pt x="256" y="1862"/>
                    <a:pt x="2134" y="2634"/>
                    <a:pt x="3074" y="3405"/>
                  </a:cubicBezTo>
                  <a:cubicBezTo>
                    <a:pt x="5891" y="5719"/>
                    <a:pt x="1195" y="4177"/>
                    <a:pt x="256" y="6491"/>
                  </a:cubicBezTo>
                  <a:cubicBezTo>
                    <a:pt x="-683" y="8805"/>
                    <a:pt x="1195" y="10348"/>
                    <a:pt x="2134" y="11891"/>
                  </a:cubicBezTo>
                  <a:cubicBezTo>
                    <a:pt x="4013" y="14205"/>
                    <a:pt x="4952" y="16519"/>
                    <a:pt x="4013" y="18834"/>
                  </a:cubicBezTo>
                  <a:cubicBezTo>
                    <a:pt x="4952" y="19605"/>
                    <a:pt x="4952" y="17291"/>
                    <a:pt x="4952" y="16519"/>
                  </a:cubicBezTo>
                  <a:cubicBezTo>
                    <a:pt x="4952" y="17291"/>
                    <a:pt x="4952" y="18062"/>
                    <a:pt x="5891" y="18062"/>
                  </a:cubicBezTo>
                  <a:cubicBezTo>
                    <a:pt x="5891" y="18062"/>
                    <a:pt x="5891" y="17291"/>
                    <a:pt x="5891" y="17291"/>
                  </a:cubicBezTo>
                  <a:cubicBezTo>
                    <a:pt x="6830" y="19605"/>
                    <a:pt x="6830" y="17291"/>
                    <a:pt x="6830" y="15748"/>
                  </a:cubicBezTo>
                  <a:cubicBezTo>
                    <a:pt x="6830" y="16519"/>
                    <a:pt x="10587" y="18834"/>
                    <a:pt x="11526" y="16519"/>
                  </a:cubicBezTo>
                  <a:cubicBezTo>
                    <a:pt x="11526" y="15748"/>
                    <a:pt x="10587" y="11891"/>
                    <a:pt x="9647" y="11891"/>
                  </a:cubicBezTo>
                  <a:cubicBezTo>
                    <a:pt x="10587" y="11891"/>
                    <a:pt x="11526" y="13434"/>
                    <a:pt x="11526" y="14205"/>
                  </a:cubicBezTo>
                  <a:cubicBezTo>
                    <a:pt x="12465" y="14977"/>
                    <a:pt x="15282" y="13434"/>
                    <a:pt x="15282" y="14977"/>
                  </a:cubicBezTo>
                  <a:cubicBezTo>
                    <a:pt x="15282" y="15748"/>
                    <a:pt x="16221" y="14977"/>
                    <a:pt x="16221" y="16519"/>
                  </a:cubicBezTo>
                  <a:cubicBezTo>
                    <a:pt x="16221" y="18062"/>
                    <a:pt x="16221" y="19605"/>
                    <a:pt x="17160" y="21148"/>
                  </a:cubicBezTo>
                  <a:cubicBezTo>
                    <a:pt x="18100" y="20377"/>
                    <a:pt x="18100" y="20377"/>
                    <a:pt x="19039" y="19605"/>
                  </a:cubicBezTo>
                  <a:cubicBezTo>
                    <a:pt x="19978" y="18834"/>
                    <a:pt x="18100" y="20377"/>
                    <a:pt x="19039" y="1960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6" name="Shape 2125">
              <a:extLst>
                <a:ext uri="{FF2B5EF4-FFF2-40B4-BE49-F238E27FC236}">
                  <a16:creationId xmlns:a16="http://schemas.microsoft.com/office/drawing/2014/main" id="{1D4EC71C-1145-D88E-7F37-154186E2B1AE}"/>
                </a:ext>
              </a:extLst>
            </p:cNvPr>
            <p:cNvSpPr/>
            <p:nvPr/>
          </p:nvSpPr>
          <p:spPr>
            <a:xfrm>
              <a:off x="8659058" y="3073689"/>
              <a:ext cx="271645" cy="501450"/>
            </a:xfrm>
            <a:custGeom>
              <a:avLst/>
              <a:gdLst/>
              <a:ahLst/>
              <a:cxnLst>
                <a:cxn ang="0">
                  <a:pos x="wd2" y="hd2"/>
                </a:cxn>
                <a:cxn ang="5400000">
                  <a:pos x="wd2" y="hd2"/>
                </a:cxn>
                <a:cxn ang="10800000">
                  <a:pos x="wd2" y="hd2"/>
                </a:cxn>
                <a:cxn ang="16200000">
                  <a:pos x="wd2" y="hd2"/>
                </a:cxn>
              </a:cxnLst>
              <a:rect l="0" t="0" r="r" b="b"/>
              <a:pathLst>
                <a:path w="21226" h="21319" extrusionOk="0">
                  <a:moveTo>
                    <a:pt x="20571" y="8291"/>
                  </a:moveTo>
                  <a:cubicBezTo>
                    <a:pt x="21086" y="8291"/>
                    <a:pt x="20571" y="7730"/>
                    <a:pt x="21086" y="7449"/>
                  </a:cubicBezTo>
                  <a:cubicBezTo>
                    <a:pt x="21600" y="7169"/>
                    <a:pt x="20571" y="6607"/>
                    <a:pt x="20057" y="6607"/>
                  </a:cubicBezTo>
                  <a:cubicBezTo>
                    <a:pt x="19543" y="6327"/>
                    <a:pt x="18514" y="6046"/>
                    <a:pt x="18514" y="5485"/>
                  </a:cubicBezTo>
                  <a:cubicBezTo>
                    <a:pt x="18514" y="4924"/>
                    <a:pt x="19029" y="4644"/>
                    <a:pt x="18000" y="4083"/>
                  </a:cubicBezTo>
                  <a:cubicBezTo>
                    <a:pt x="17486" y="3802"/>
                    <a:pt x="16457" y="3241"/>
                    <a:pt x="15429" y="3241"/>
                  </a:cubicBezTo>
                  <a:cubicBezTo>
                    <a:pt x="14400" y="3241"/>
                    <a:pt x="13886" y="3802"/>
                    <a:pt x="12857" y="3802"/>
                  </a:cubicBezTo>
                  <a:cubicBezTo>
                    <a:pt x="11829" y="3522"/>
                    <a:pt x="11829" y="3522"/>
                    <a:pt x="10800" y="3802"/>
                  </a:cubicBezTo>
                  <a:cubicBezTo>
                    <a:pt x="10800" y="3802"/>
                    <a:pt x="9257" y="4644"/>
                    <a:pt x="8743" y="4363"/>
                  </a:cubicBezTo>
                  <a:cubicBezTo>
                    <a:pt x="8743" y="4083"/>
                    <a:pt x="10286" y="3522"/>
                    <a:pt x="9771" y="3241"/>
                  </a:cubicBezTo>
                  <a:cubicBezTo>
                    <a:pt x="8743" y="2961"/>
                    <a:pt x="9771" y="2680"/>
                    <a:pt x="9771" y="2400"/>
                  </a:cubicBezTo>
                  <a:cubicBezTo>
                    <a:pt x="9771" y="2119"/>
                    <a:pt x="9771" y="1278"/>
                    <a:pt x="9257" y="1278"/>
                  </a:cubicBezTo>
                  <a:cubicBezTo>
                    <a:pt x="8229" y="1558"/>
                    <a:pt x="7200" y="1558"/>
                    <a:pt x="7714" y="997"/>
                  </a:cubicBezTo>
                  <a:cubicBezTo>
                    <a:pt x="8229" y="-125"/>
                    <a:pt x="5657" y="-125"/>
                    <a:pt x="4629" y="156"/>
                  </a:cubicBezTo>
                  <a:cubicBezTo>
                    <a:pt x="4114" y="717"/>
                    <a:pt x="3086" y="997"/>
                    <a:pt x="2057" y="997"/>
                  </a:cubicBezTo>
                  <a:cubicBezTo>
                    <a:pt x="1029" y="997"/>
                    <a:pt x="514" y="1839"/>
                    <a:pt x="514" y="2119"/>
                  </a:cubicBezTo>
                  <a:cubicBezTo>
                    <a:pt x="514" y="2680"/>
                    <a:pt x="0" y="2961"/>
                    <a:pt x="0" y="3522"/>
                  </a:cubicBezTo>
                  <a:cubicBezTo>
                    <a:pt x="0" y="4083"/>
                    <a:pt x="514" y="4083"/>
                    <a:pt x="1543" y="4363"/>
                  </a:cubicBezTo>
                  <a:cubicBezTo>
                    <a:pt x="2057" y="4924"/>
                    <a:pt x="2571" y="5205"/>
                    <a:pt x="3086" y="5485"/>
                  </a:cubicBezTo>
                  <a:cubicBezTo>
                    <a:pt x="3600" y="6046"/>
                    <a:pt x="2571" y="6327"/>
                    <a:pt x="2571" y="6607"/>
                  </a:cubicBezTo>
                  <a:cubicBezTo>
                    <a:pt x="2571" y="6888"/>
                    <a:pt x="3086" y="7169"/>
                    <a:pt x="2571" y="7449"/>
                  </a:cubicBezTo>
                  <a:cubicBezTo>
                    <a:pt x="2571" y="7449"/>
                    <a:pt x="2057" y="7449"/>
                    <a:pt x="2057" y="7730"/>
                  </a:cubicBezTo>
                  <a:cubicBezTo>
                    <a:pt x="1543" y="8010"/>
                    <a:pt x="2571" y="8852"/>
                    <a:pt x="3086" y="9132"/>
                  </a:cubicBezTo>
                  <a:cubicBezTo>
                    <a:pt x="3600" y="9413"/>
                    <a:pt x="4114" y="9693"/>
                    <a:pt x="4629" y="10254"/>
                  </a:cubicBezTo>
                  <a:cubicBezTo>
                    <a:pt x="4629" y="10815"/>
                    <a:pt x="4629" y="11096"/>
                    <a:pt x="5143" y="11657"/>
                  </a:cubicBezTo>
                  <a:cubicBezTo>
                    <a:pt x="5657" y="12779"/>
                    <a:pt x="4114" y="13620"/>
                    <a:pt x="3086" y="14462"/>
                  </a:cubicBezTo>
                  <a:cubicBezTo>
                    <a:pt x="3086" y="14743"/>
                    <a:pt x="2571" y="15023"/>
                    <a:pt x="2571" y="15304"/>
                  </a:cubicBezTo>
                  <a:cubicBezTo>
                    <a:pt x="2057" y="15584"/>
                    <a:pt x="2057" y="15865"/>
                    <a:pt x="2057" y="16145"/>
                  </a:cubicBezTo>
                  <a:cubicBezTo>
                    <a:pt x="2057" y="16426"/>
                    <a:pt x="1543" y="17267"/>
                    <a:pt x="2571" y="17267"/>
                  </a:cubicBezTo>
                  <a:cubicBezTo>
                    <a:pt x="4114" y="17828"/>
                    <a:pt x="4629" y="18670"/>
                    <a:pt x="5657" y="19231"/>
                  </a:cubicBezTo>
                  <a:cubicBezTo>
                    <a:pt x="6171" y="19511"/>
                    <a:pt x="6171" y="19792"/>
                    <a:pt x="6686" y="20072"/>
                  </a:cubicBezTo>
                  <a:cubicBezTo>
                    <a:pt x="7200" y="20072"/>
                    <a:pt x="7714" y="20072"/>
                    <a:pt x="8229" y="20072"/>
                  </a:cubicBezTo>
                  <a:cubicBezTo>
                    <a:pt x="8743" y="20353"/>
                    <a:pt x="9257" y="20353"/>
                    <a:pt x="9257" y="20633"/>
                  </a:cubicBezTo>
                  <a:cubicBezTo>
                    <a:pt x="9257" y="20914"/>
                    <a:pt x="9257" y="21194"/>
                    <a:pt x="9771" y="21194"/>
                  </a:cubicBezTo>
                  <a:cubicBezTo>
                    <a:pt x="9771" y="21475"/>
                    <a:pt x="10286" y="21194"/>
                    <a:pt x="10800" y="21194"/>
                  </a:cubicBezTo>
                  <a:cubicBezTo>
                    <a:pt x="11314" y="21194"/>
                    <a:pt x="11829" y="20633"/>
                    <a:pt x="11829" y="20633"/>
                  </a:cubicBezTo>
                  <a:cubicBezTo>
                    <a:pt x="10800" y="19792"/>
                    <a:pt x="10286" y="19511"/>
                    <a:pt x="8229" y="19231"/>
                  </a:cubicBezTo>
                  <a:cubicBezTo>
                    <a:pt x="7714" y="19231"/>
                    <a:pt x="7200" y="18950"/>
                    <a:pt x="6686" y="18670"/>
                  </a:cubicBezTo>
                  <a:cubicBezTo>
                    <a:pt x="6686" y="18109"/>
                    <a:pt x="7200" y="18670"/>
                    <a:pt x="7714" y="18670"/>
                  </a:cubicBezTo>
                  <a:cubicBezTo>
                    <a:pt x="7200" y="18670"/>
                    <a:pt x="6171" y="16987"/>
                    <a:pt x="6171" y="16706"/>
                  </a:cubicBezTo>
                  <a:cubicBezTo>
                    <a:pt x="6171" y="16426"/>
                    <a:pt x="6171" y="16426"/>
                    <a:pt x="5657" y="16145"/>
                  </a:cubicBezTo>
                  <a:cubicBezTo>
                    <a:pt x="5143" y="16145"/>
                    <a:pt x="4629" y="15865"/>
                    <a:pt x="4629" y="15584"/>
                  </a:cubicBezTo>
                  <a:cubicBezTo>
                    <a:pt x="4114" y="14743"/>
                    <a:pt x="5143" y="13901"/>
                    <a:pt x="5657" y="13340"/>
                  </a:cubicBezTo>
                  <a:cubicBezTo>
                    <a:pt x="5657" y="12779"/>
                    <a:pt x="6686" y="12218"/>
                    <a:pt x="6686" y="11937"/>
                  </a:cubicBezTo>
                  <a:cubicBezTo>
                    <a:pt x="6686" y="11376"/>
                    <a:pt x="6171" y="10254"/>
                    <a:pt x="7200" y="9974"/>
                  </a:cubicBezTo>
                  <a:cubicBezTo>
                    <a:pt x="8743" y="9974"/>
                    <a:pt x="8743" y="10254"/>
                    <a:pt x="8743" y="11096"/>
                  </a:cubicBezTo>
                  <a:cubicBezTo>
                    <a:pt x="8229" y="11657"/>
                    <a:pt x="10286" y="11376"/>
                    <a:pt x="11314" y="11376"/>
                  </a:cubicBezTo>
                  <a:cubicBezTo>
                    <a:pt x="11829" y="11376"/>
                    <a:pt x="13371" y="11937"/>
                    <a:pt x="13886" y="12218"/>
                  </a:cubicBezTo>
                  <a:cubicBezTo>
                    <a:pt x="13886" y="11657"/>
                    <a:pt x="12857" y="11376"/>
                    <a:pt x="12343" y="10535"/>
                  </a:cubicBezTo>
                  <a:cubicBezTo>
                    <a:pt x="12343" y="9974"/>
                    <a:pt x="13371" y="9693"/>
                    <a:pt x="14400" y="9132"/>
                  </a:cubicBezTo>
                  <a:cubicBezTo>
                    <a:pt x="14914" y="8852"/>
                    <a:pt x="16457" y="8852"/>
                    <a:pt x="17486" y="8852"/>
                  </a:cubicBezTo>
                  <a:cubicBezTo>
                    <a:pt x="18514" y="8852"/>
                    <a:pt x="19029" y="8852"/>
                    <a:pt x="19543" y="9132"/>
                  </a:cubicBezTo>
                  <a:cubicBezTo>
                    <a:pt x="20571" y="9132"/>
                    <a:pt x="20057" y="8852"/>
                    <a:pt x="20571" y="8291"/>
                  </a:cubicBezTo>
                  <a:cubicBezTo>
                    <a:pt x="21086" y="8291"/>
                    <a:pt x="20571" y="8571"/>
                    <a:pt x="20571" y="82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7" name="Shape 2126">
              <a:extLst>
                <a:ext uri="{FF2B5EF4-FFF2-40B4-BE49-F238E27FC236}">
                  <a16:creationId xmlns:a16="http://schemas.microsoft.com/office/drawing/2014/main" id="{B29B1A61-0998-51E9-AEE6-A084DBBC6595}"/>
                </a:ext>
              </a:extLst>
            </p:cNvPr>
            <p:cNvSpPr/>
            <p:nvPr/>
          </p:nvSpPr>
          <p:spPr>
            <a:xfrm>
              <a:off x="8809636" y="2974444"/>
              <a:ext cx="246999" cy="499909"/>
            </a:xfrm>
            <a:custGeom>
              <a:avLst/>
              <a:gdLst/>
              <a:ahLst/>
              <a:cxnLst>
                <a:cxn ang="0">
                  <a:pos x="wd2" y="hd2"/>
                </a:cxn>
                <a:cxn ang="5400000">
                  <a:pos x="wd2" y="hd2"/>
                </a:cxn>
                <a:cxn ang="10800000">
                  <a:pos x="wd2" y="hd2"/>
                </a:cxn>
                <a:cxn ang="16200000">
                  <a:pos x="wd2" y="hd2"/>
                </a:cxn>
              </a:cxnLst>
              <a:rect l="0" t="0" r="r" b="b"/>
              <a:pathLst>
                <a:path w="21196" h="20976" extrusionOk="0">
                  <a:moveTo>
                    <a:pt x="21032" y="14839"/>
                  </a:moveTo>
                  <a:cubicBezTo>
                    <a:pt x="20463" y="14562"/>
                    <a:pt x="20463" y="14008"/>
                    <a:pt x="20463" y="13177"/>
                  </a:cubicBezTo>
                  <a:cubicBezTo>
                    <a:pt x="19895" y="12346"/>
                    <a:pt x="19326" y="11793"/>
                    <a:pt x="18189" y="10962"/>
                  </a:cubicBezTo>
                  <a:cubicBezTo>
                    <a:pt x="17621" y="10408"/>
                    <a:pt x="17053" y="10131"/>
                    <a:pt x="15916" y="9854"/>
                  </a:cubicBezTo>
                  <a:cubicBezTo>
                    <a:pt x="14779" y="9300"/>
                    <a:pt x="13074" y="9023"/>
                    <a:pt x="12505" y="8193"/>
                  </a:cubicBezTo>
                  <a:cubicBezTo>
                    <a:pt x="12505" y="7639"/>
                    <a:pt x="11368" y="7362"/>
                    <a:pt x="10232" y="6808"/>
                  </a:cubicBezTo>
                  <a:cubicBezTo>
                    <a:pt x="9663" y="6531"/>
                    <a:pt x="10232" y="5423"/>
                    <a:pt x="10800" y="5146"/>
                  </a:cubicBezTo>
                  <a:cubicBezTo>
                    <a:pt x="11937" y="4870"/>
                    <a:pt x="13074" y="4316"/>
                    <a:pt x="13074" y="3762"/>
                  </a:cubicBezTo>
                  <a:cubicBezTo>
                    <a:pt x="13642" y="3485"/>
                    <a:pt x="15916" y="2931"/>
                    <a:pt x="16484" y="2654"/>
                  </a:cubicBezTo>
                  <a:cubicBezTo>
                    <a:pt x="15347" y="2377"/>
                    <a:pt x="14211" y="2100"/>
                    <a:pt x="13074" y="1546"/>
                  </a:cubicBezTo>
                  <a:cubicBezTo>
                    <a:pt x="11937" y="1270"/>
                    <a:pt x="13642" y="1270"/>
                    <a:pt x="13642" y="716"/>
                  </a:cubicBezTo>
                  <a:cubicBezTo>
                    <a:pt x="13642" y="716"/>
                    <a:pt x="10800" y="439"/>
                    <a:pt x="10800" y="439"/>
                  </a:cubicBezTo>
                  <a:cubicBezTo>
                    <a:pt x="9663" y="162"/>
                    <a:pt x="8526" y="-392"/>
                    <a:pt x="7958" y="439"/>
                  </a:cubicBezTo>
                  <a:cubicBezTo>
                    <a:pt x="7389" y="716"/>
                    <a:pt x="6821" y="716"/>
                    <a:pt x="6253" y="993"/>
                  </a:cubicBezTo>
                  <a:cubicBezTo>
                    <a:pt x="5116" y="1823"/>
                    <a:pt x="5116" y="716"/>
                    <a:pt x="4547" y="993"/>
                  </a:cubicBezTo>
                  <a:cubicBezTo>
                    <a:pt x="3411" y="1270"/>
                    <a:pt x="3411" y="993"/>
                    <a:pt x="2842" y="993"/>
                  </a:cubicBezTo>
                  <a:cubicBezTo>
                    <a:pt x="2274" y="1270"/>
                    <a:pt x="1705" y="1270"/>
                    <a:pt x="1705" y="993"/>
                  </a:cubicBezTo>
                  <a:cubicBezTo>
                    <a:pt x="1705" y="716"/>
                    <a:pt x="568" y="1270"/>
                    <a:pt x="0" y="1270"/>
                  </a:cubicBezTo>
                  <a:cubicBezTo>
                    <a:pt x="0" y="1546"/>
                    <a:pt x="1705" y="2100"/>
                    <a:pt x="2274" y="2100"/>
                  </a:cubicBezTo>
                  <a:cubicBezTo>
                    <a:pt x="2842" y="2654"/>
                    <a:pt x="2274" y="2931"/>
                    <a:pt x="2842" y="3208"/>
                  </a:cubicBezTo>
                  <a:cubicBezTo>
                    <a:pt x="2842" y="3762"/>
                    <a:pt x="4547" y="3762"/>
                    <a:pt x="5116" y="3485"/>
                  </a:cubicBezTo>
                  <a:cubicBezTo>
                    <a:pt x="6253" y="3208"/>
                    <a:pt x="6821" y="4039"/>
                    <a:pt x="6821" y="4316"/>
                  </a:cubicBezTo>
                  <a:cubicBezTo>
                    <a:pt x="7389" y="4870"/>
                    <a:pt x="8526" y="4870"/>
                    <a:pt x="7389" y="5423"/>
                  </a:cubicBezTo>
                  <a:cubicBezTo>
                    <a:pt x="6253" y="5700"/>
                    <a:pt x="5684" y="4870"/>
                    <a:pt x="5684" y="5700"/>
                  </a:cubicBezTo>
                  <a:cubicBezTo>
                    <a:pt x="5684" y="6254"/>
                    <a:pt x="7389" y="6254"/>
                    <a:pt x="7958" y="6531"/>
                  </a:cubicBezTo>
                  <a:cubicBezTo>
                    <a:pt x="9095" y="7085"/>
                    <a:pt x="9663" y="7639"/>
                    <a:pt x="10800" y="8193"/>
                  </a:cubicBezTo>
                  <a:cubicBezTo>
                    <a:pt x="11368" y="8746"/>
                    <a:pt x="12505" y="8746"/>
                    <a:pt x="13074" y="9300"/>
                  </a:cubicBezTo>
                  <a:cubicBezTo>
                    <a:pt x="13642" y="9854"/>
                    <a:pt x="13642" y="10131"/>
                    <a:pt x="14779" y="10408"/>
                  </a:cubicBezTo>
                  <a:cubicBezTo>
                    <a:pt x="15347" y="10685"/>
                    <a:pt x="14779" y="11239"/>
                    <a:pt x="15916" y="11516"/>
                  </a:cubicBezTo>
                  <a:cubicBezTo>
                    <a:pt x="16484" y="11793"/>
                    <a:pt x="15916" y="12623"/>
                    <a:pt x="15347" y="12900"/>
                  </a:cubicBezTo>
                  <a:cubicBezTo>
                    <a:pt x="14779" y="13177"/>
                    <a:pt x="15347" y="13731"/>
                    <a:pt x="15916" y="14008"/>
                  </a:cubicBezTo>
                  <a:cubicBezTo>
                    <a:pt x="15916" y="14562"/>
                    <a:pt x="15916" y="14839"/>
                    <a:pt x="15916" y="15393"/>
                  </a:cubicBezTo>
                  <a:cubicBezTo>
                    <a:pt x="14779" y="15946"/>
                    <a:pt x="14779" y="15946"/>
                    <a:pt x="13074" y="16223"/>
                  </a:cubicBezTo>
                  <a:cubicBezTo>
                    <a:pt x="11937" y="16223"/>
                    <a:pt x="13642" y="17054"/>
                    <a:pt x="11368" y="16777"/>
                  </a:cubicBezTo>
                  <a:cubicBezTo>
                    <a:pt x="10232" y="16777"/>
                    <a:pt x="11368" y="17331"/>
                    <a:pt x="11368" y="17608"/>
                  </a:cubicBezTo>
                  <a:cubicBezTo>
                    <a:pt x="11937" y="18162"/>
                    <a:pt x="10800" y="17885"/>
                    <a:pt x="10232" y="17885"/>
                  </a:cubicBezTo>
                  <a:cubicBezTo>
                    <a:pt x="9095" y="17885"/>
                    <a:pt x="8526" y="17885"/>
                    <a:pt x="7958" y="18162"/>
                  </a:cubicBezTo>
                  <a:cubicBezTo>
                    <a:pt x="6253" y="18716"/>
                    <a:pt x="7389" y="18716"/>
                    <a:pt x="8526" y="18993"/>
                  </a:cubicBezTo>
                  <a:cubicBezTo>
                    <a:pt x="9095" y="18993"/>
                    <a:pt x="7958" y="19823"/>
                    <a:pt x="7958" y="20100"/>
                  </a:cubicBezTo>
                  <a:cubicBezTo>
                    <a:pt x="7389" y="20100"/>
                    <a:pt x="7389" y="21208"/>
                    <a:pt x="7958" y="20931"/>
                  </a:cubicBezTo>
                  <a:cubicBezTo>
                    <a:pt x="9095" y="20654"/>
                    <a:pt x="9663" y="20377"/>
                    <a:pt x="10232" y="20377"/>
                  </a:cubicBezTo>
                  <a:cubicBezTo>
                    <a:pt x="12505" y="20100"/>
                    <a:pt x="11368" y="19823"/>
                    <a:pt x="10800" y="19270"/>
                  </a:cubicBezTo>
                  <a:cubicBezTo>
                    <a:pt x="11368" y="19270"/>
                    <a:pt x="11937" y="19823"/>
                    <a:pt x="12505" y="19546"/>
                  </a:cubicBezTo>
                  <a:cubicBezTo>
                    <a:pt x="13074" y="19270"/>
                    <a:pt x="11937" y="18993"/>
                    <a:pt x="11937" y="18993"/>
                  </a:cubicBezTo>
                  <a:cubicBezTo>
                    <a:pt x="11937" y="18716"/>
                    <a:pt x="13074" y="19270"/>
                    <a:pt x="13074" y="19270"/>
                  </a:cubicBezTo>
                  <a:cubicBezTo>
                    <a:pt x="12505" y="19270"/>
                    <a:pt x="13074" y="18162"/>
                    <a:pt x="13642" y="18162"/>
                  </a:cubicBezTo>
                  <a:cubicBezTo>
                    <a:pt x="13642" y="17885"/>
                    <a:pt x="14779" y="18439"/>
                    <a:pt x="14779" y="18439"/>
                  </a:cubicBezTo>
                  <a:cubicBezTo>
                    <a:pt x="15916" y="18439"/>
                    <a:pt x="16484" y="18162"/>
                    <a:pt x="17053" y="17885"/>
                  </a:cubicBezTo>
                  <a:cubicBezTo>
                    <a:pt x="17621" y="17608"/>
                    <a:pt x="20463" y="17054"/>
                    <a:pt x="20463" y="16500"/>
                  </a:cubicBezTo>
                  <a:cubicBezTo>
                    <a:pt x="20463" y="16223"/>
                    <a:pt x="19895" y="15946"/>
                    <a:pt x="20463" y="15393"/>
                  </a:cubicBezTo>
                  <a:cubicBezTo>
                    <a:pt x="20463" y="15116"/>
                    <a:pt x="21600" y="15393"/>
                    <a:pt x="21032" y="14839"/>
                  </a:cubicBezTo>
                  <a:cubicBezTo>
                    <a:pt x="20463" y="14562"/>
                    <a:pt x="21600" y="15116"/>
                    <a:pt x="21032" y="148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8" name="Shape 2127">
              <a:extLst>
                <a:ext uri="{FF2B5EF4-FFF2-40B4-BE49-F238E27FC236}">
                  <a16:creationId xmlns:a16="http://schemas.microsoft.com/office/drawing/2014/main" id="{A5E47F02-5762-8874-40F9-EB9EAD5A2B0C}"/>
                </a:ext>
              </a:extLst>
            </p:cNvPr>
            <p:cNvSpPr/>
            <p:nvPr/>
          </p:nvSpPr>
          <p:spPr>
            <a:xfrm>
              <a:off x="8751204" y="3005566"/>
              <a:ext cx="242722" cy="289410"/>
            </a:xfrm>
            <a:custGeom>
              <a:avLst/>
              <a:gdLst/>
              <a:ahLst/>
              <a:cxnLst>
                <a:cxn ang="0">
                  <a:pos x="wd2" y="hd2"/>
                </a:cxn>
                <a:cxn ang="5400000">
                  <a:pos x="wd2" y="hd2"/>
                </a:cxn>
                <a:cxn ang="10800000">
                  <a:pos x="wd2" y="hd2"/>
                </a:cxn>
                <a:cxn ang="16200000">
                  <a:pos x="wd2" y="hd2"/>
                </a:cxn>
              </a:cxnLst>
              <a:rect l="0" t="0" r="r" b="b"/>
              <a:pathLst>
                <a:path w="21600" h="21067" extrusionOk="0">
                  <a:moveTo>
                    <a:pt x="21600" y="18240"/>
                  </a:moveTo>
                  <a:cubicBezTo>
                    <a:pt x="21600" y="17760"/>
                    <a:pt x="21016" y="17760"/>
                    <a:pt x="20432" y="16800"/>
                  </a:cubicBezTo>
                  <a:cubicBezTo>
                    <a:pt x="20432" y="15840"/>
                    <a:pt x="19849" y="16320"/>
                    <a:pt x="19265" y="15360"/>
                  </a:cubicBezTo>
                  <a:cubicBezTo>
                    <a:pt x="18681" y="14400"/>
                    <a:pt x="18681" y="13920"/>
                    <a:pt x="17514" y="13440"/>
                  </a:cubicBezTo>
                  <a:cubicBezTo>
                    <a:pt x="16346" y="12480"/>
                    <a:pt x="15762" y="11520"/>
                    <a:pt x="15178" y="10560"/>
                  </a:cubicBezTo>
                  <a:cubicBezTo>
                    <a:pt x="14595" y="10080"/>
                    <a:pt x="13427" y="9120"/>
                    <a:pt x="12843" y="8640"/>
                  </a:cubicBezTo>
                  <a:cubicBezTo>
                    <a:pt x="11676" y="8160"/>
                    <a:pt x="11092" y="8640"/>
                    <a:pt x="11092" y="7200"/>
                  </a:cubicBezTo>
                  <a:cubicBezTo>
                    <a:pt x="11092" y="6720"/>
                    <a:pt x="12259" y="7680"/>
                    <a:pt x="12843" y="6720"/>
                  </a:cubicBezTo>
                  <a:cubicBezTo>
                    <a:pt x="14011" y="6240"/>
                    <a:pt x="12843" y="5760"/>
                    <a:pt x="12259" y="4800"/>
                  </a:cubicBezTo>
                  <a:cubicBezTo>
                    <a:pt x="11092" y="2400"/>
                    <a:pt x="9341" y="5280"/>
                    <a:pt x="8173" y="3840"/>
                  </a:cubicBezTo>
                  <a:cubicBezTo>
                    <a:pt x="7589" y="3360"/>
                    <a:pt x="8173" y="2400"/>
                    <a:pt x="7589" y="1920"/>
                  </a:cubicBezTo>
                  <a:cubicBezTo>
                    <a:pt x="7005" y="1440"/>
                    <a:pt x="5838" y="960"/>
                    <a:pt x="5254" y="0"/>
                  </a:cubicBezTo>
                  <a:cubicBezTo>
                    <a:pt x="5254" y="0"/>
                    <a:pt x="4086" y="0"/>
                    <a:pt x="4086" y="0"/>
                  </a:cubicBezTo>
                  <a:cubicBezTo>
                    <a:pt x="3503" y="480"/>
                    <a:pt x="4670" y="1440"/>
                    <a:pt x="4670" y="1920"/>
                  </a:cubicBezTo>
                  <a:cubicBezTo>
                    <a:pt x="4670" y="2400"/>
                    <a:pt x="5254" y="3360"/>
                    <a:pt x="4670" y="3360"/>
                  </a:cubicBezTo>
                  <a:cubicBezTo>
                    <a:pt x="3503" y="3360"/>
                    <a:pt x="3503" y="2400"/>
                    <a:pt x="2335" y="2400"/>
                  </a:cubicBezTo>
                  <a:cubicBezTo>
                    <a:pt x="1751" y="1920"/>
                    <a:pt x="0" y="4800"/>
                    <a:pt x="0" y="4800"/>
                  </a:cubicBezTo>
                  <a:cubicBezTo>
                    <a:pt x="584" y="6240"/>
                    <a:pt x="0" y="8160"/>
                    <a:pt x="2335" y="7200"/>
                  </a:cubicBezTo>
                  <a:cubicBezTo>
                    <a:pt x="3503" y="6720"/>
                    <a:pt x="2335" y="10560"/>
                    <a:pt x="2335" y="10560"/>
                  </a:cubicBezTo>
                  <a:cubicBezTo>
                    <a:pt x="3503" y="11040"/>
                    <a:pt x="2335" y="11520"/>
                    <a:pt x="1751" y="12480"/>
                  </a:cubicBezTo>
                  <a:cubicBezTo>
                    <a:pt x="1751" y="12960"/>
                    <a:pt x="3503" y="12000"/>
                    <a:pt x="4086" y="12000"/>
                  </a:cubicBezTo>
                  <a:cubicBezTo>
                    <a:pt x="4086" y="11520"/>
                    <a:pt x="5254" y="11040"/>
                    <a:pt x="5838" y="11040"/>
                  </a:cubicBezTo>
                  <a:cubicBezTo>
                    <a:pt x="7005" y="11520"/>
                    <a:pt x="7589" y="11520"/>
                    <a:pt x="8757" y="10560"/>
                  </a:cubicBezTo>
                  <a:cubicBezTo>
                    <a:pt x="9924" y="10080"/>
                    <a:pt x="14011" y="12000"/>
                    <a:pt x="13427" y="13440"/>
                  </a:cubicBezTo>
                  <a:cubicBezTo>
                    <a:pt x="12259" y="15360"/>
                    <a:pt x="14595" y="15840"/>
                    <a:pt x="15762" y="17280"/>
                  </a:cubicBezTo>
                  <a:cubicBezTo>
                    <a:pt x="15762" y="17760"/>
                    <a:pt x="15762" y="18240"/>
                    <a:pt x="15762" y="18720"/>
                  </a:cubicBezTo>
                  <a:cubicBezTo>
                    <a:pt x="15762" y="19200"/>
                    <a:pt x="15178" y="20160"/>
                    <a:pt x="14595" y="20640"/>
                  </a:cubicBezTo>
                  <a:cubicBezTo>
                    <a:pt x="15178" y="20640"/>
                    <a:pt x="16930" y="21600"/>
                    <a:pt x="16930" y="20640"/>
                  </a:cubicBezTo>
                  <a:cubicBezTo>
                    <a:pt x="16930" y="20160"/>
                    <a:pt x="18097" y="19680"/>
                    <a:pt x="18681" y="20160"/>
                  </a:cubicBezTo>
                  <a:cubicBezTo>
                    <a:pt x="19265" y="20640"/>
                    <a:pt x="19849" y="20640"/>
                    <a:pt x="20432" y="20160"/>
                  </a:cubicBezTo>
                  <a:cubicBezTo>
                    <a:pt x="21600" y="20160"/>
                    <a:pt x="21600" y="19200"/>
                    <a:pt x="21600" y="182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09" name="Shape 2128">
              <a:extLst>
                <a:ext uri="{FF2B5EF4-FFF2-40B4-BE49-F238E27FC236}">
                  <a16:creationId xmlns:a16="http://schemas.microsoft.com/office/drawing/2014/main" id="{33DCEC7B-965C-01D2-2566-6C5BD4F5A855}"/>
                </a:ext>
              </a:extLst>
            </p:cNvPr>
            <p:cNvSpPr/>
            <p:nvPr/>
          </p:nvSpPr>
          <p:spPr>
            <a:xfrm>
              <a:off x="9791751" y="3810346"/>
              <a:ext cx="296659" cy="251776"/>
            </a:xfrm>
            <a:custGeom>
              <a:avLst/>
              <a:gdLst/>
              <a:ahLst/>
              <a:cxnLst>
                <a:cxn ang="0">
                  <a:pos x="wd2" y="hd2"/>
                </a:cxn>
                <a:cxn ang="5400000">
                  <a:pos x="wd2" y="hd2"/>
                </a:cxn>
                <a:cxn ang="10800000">
                  <a:pos x="wd2" y="hd2"/>
                </a:cxn>
                <a:cxn ang="16200000">
                  <a:pos x="wd2" y="hd2"/>
                </a:cxn>
              </a:cxnLst>
              <a:rect l="0" t="0" r="r" b="b"/>
              <a:pathLst>
                <a:path w="21600" h="21600" extrusionOk="0">
                  <a:moveTo>
                    <a:pt x="21600" y="16484"/>
                  </a:moveTo>
                  <a:cubicBezTo>
                    <a:pt x="21600" y="15916"/>
                    <a:pt x="21120" y="15347"/>
                    <a:pt x="21600" y="14779"/>
                  </a:cubicBezTo>
                  <a:cubicBezTo>
                    <a:pt x="21600" y="14211"/>
                    <a:pt x="21600" y="14211"/>
                    <a:pt x="21600" y="13642"/>
                  </a:cubicBezTo>
                  <a:cubicBezTo>
                    <a:pt x="21600" y="11937"/>
                    <a:pt x="21600" y="10232"/>
                    <a:pt x="21600" y="8526"/>
                  </a:cubicBezTo>
                  <a:cubicBezTo>
                    <a:pt x="21600" y="6821"/>
                    <a:pt x="21600" y="5116"/>
                    <a:pt x="21600" y="3411"/>
                  </a:cubicBezTo>
                  <a:cubicBezTo>
                    <a:pt x="21600" y="3411"/>
                    <a:pt x="17280" y="1705"/>
                    <a:pt x="16800" y="1705"/>
                  </a:cubicBezTo>
                  <a:cubicBezTo>
                    <a:pt x="15840" y="1137"/>
                    <a:pt x="15360" y="568"/>
                    <a:pt x="14400" y="0"/>
                  </a:cubicBezTo>
                  <a:cubicBezTo>
                    <a:pt x="12960" y="0"/>
                    <a:pt x="12960" y="1137"/>
                    <a:pt x="12480" y="1705"/>
                  </a:cubicBezTo>
                  <a:cubicBezTo>
                    <a:pt x="12480" y="2274"/>
                    <a:pt x="11040" y="2274"/>
                    <a:pt x="10560" y="2842"/>
                  </a:cubicBezTo>
                  <a:cubicBezTo>
                    <a:pt x="10080" y="3979"/>
                    <a:pt x="9600" y="5116"/>
                    <a:pt x="8640" y="5684"/>
                  </a:cubicBezTo>
                  <a:cubicBezTo>
                    <a:pt x="7680" y="6253"/>
                    <a:pt x="6720" y="5684"/>
                    <a:pt x="6720" y="4547"/>
                  </a:cubicBezTo>
                  <a:cubicBezTo>
                    <a:pt x="6240" y="3411"/>
                    <a:pt x="5760" y="3411"/>
                    <a:pt x="5280" y="2842"/>
                  </a:cubicBezTo>
                  <a:cubicBezTo>
                    <a:pt x="5280" y="1705"/>
                    <a:pt x="4800" y="2842"/>
                    <a:pt x="4320" y="3411"/>
                  </a:cubicBezTo>
                  <a:cubicBezTo>
                    <a:pt x="3840" y="3411"/>
                    <a:pt x="3360" y="2842"/>
                    <a:pt x="3360" y="2842"/>
                  </a:cubicBezTo>
                  <a:cubicBezTo>
                    <a:pt x="2880" y="2842"/>
                    <a:pt x="2400" y="3411"/>
                    <a:pt x="1920" y="3411"/>
                  </a:cubicBezTo>
                  <a:cubicBezTo>
                    <a:pt x="1920" y="3979"/>
                    <a:pt x="0" y="3411"/>
                    <a:pt x="0" y="3979"/>
                  </a:cubicBezTo>
                  <a:cubicBezTo>
                    <a:pt x="0" y="4547"/>
                    <a:pt x="960" y="4547"/>
                    <a:pt x="1440" y="4547"/>
                  </a:cubicBezTo>
                  <a:cubicBezTo>
                    <a:pt x="1920" y="5116"/>
                    <a:pt x="1920" y="5684"/>
                    <a:pt x="1920" y="6253"/>
                  </a:cubicBezTo>
                  <a:cubicBezTo>
                    <a:pt x="1920" y="7389"/>
                    <a:pt x="3360" y="7389"/>
                    <a:pt x="3360" y="7958"/>
                  </a:cubicBezTo>
                  <a:cubicBezTo>
                    <a:pt x="3360" y="6821"/>
                    <a:pt x="3360" y="5116"/>
                    <a:pt x="4320" y="4547"/>
                  </a:cubicBezTo>
                  <a:cubicBezTo>
                    <a:pt x="3360" y="5116"/>
                    <a:pt x="3840" y="6253"/>
                    <a:pt x="4800" y="6821"/>
                  </a:cubicBezTo>
                  <a:cubicBezTo>
                    <a:pt x="5760" y="7389"/>
                    <a:pt x="6240" y="7389"/>
                    <a:pt x="7200" y="6821"/>
                  </a:cubicBezTo>
                  <a:cubicBezTo>
                    <a:pt x="5760" y="7389"/>
                    <a:pt x="8160" y="8526"/>
                    <a:pt x="8640" y="8526"/>
                  </a:cubicBezTo>
                  <a:cubicBezTo>
                    <a:pt x="10080" y="9095"/>
                    <a:pt x="11520" y="10232"/>
                    <a:pt x="12960" y="10800"/>
                  </a:cubicBezTo>
                  <a:cubicBezTo>
                    <a:pt x="13920" y="11368"/>
                    <a:pt x="14880" y="11937"/>
                    <a:pt x="15360" y="12505"/>
                  </a:cubicBezTo>
                  <a:cubicBezTo>
                    <a:pt x="15360" y="13642"/>
                    <a:pt x="15840" y="14211"/>
                    <a:pt x="16320" y="14779"/>
                  </a:cubicBezTo>
                  <a:cubicBezTo>
                    <a:pt x="16320" y="14779"/>
                    <a:pt x="17280" y="15347"/>
                    <a:pt x="17280" y="15347"/>
                  </a:cubicBezTo>
                  <a:cubicBezTo>
                    <a:pt x="17280" y="15347"/>
                    <a:pt x="16320" y="15916"/>
                    <a:pt x="16320" y="15916"/>
                  </a:cubicBezTo>
                  <a:cubicBezTo>
                    <a:pt x="16320" y="15916"/>
                    <a:pt x="17280" y="15916"/>
                    <a:pt x="17280" y="16484"/>
                  </a:cubicBezTo>
                  <a:cubicBezTo>
                    <a:pt x="17280" y="15916"/>
                    <a:pt x="16800" y="16484"/>
                    <a:pt x="16800" y="17053"/>
                  </a:cubicBezTo>
                  <a:cubicBezTo>
                    <a:pt x="16320" y="17621"/>
                    <a:pt x="15840" y="17053"/>
                    <a:pt x="15360" y="17621"/>
                  </a:cubicBezTo>
                  <a:cubicBezTo>
                    <a:pt x="14880" y="17621"/>
                    <a:pt x="13440" y="19326"/>
                    <a:pt x="13920" y="19326"/>
                  </a:cubicBezTo>
                  <a:cubicBezTo>
                    <a:pt x="14400" y="19895"/>
                    <a:pt x="15360" y="19895"/>
                    <a:pt x="16320" y="19895"/>
                  </a:cubicBezTo>
                  <a:cubicBezTo>
                    <a:pt x="16320" y="19326"/>
                    <a:pt x="16800" y="17053"/>
                    <a:pt x="17280" y="17621"/>
                  </a:cubicBezTo>
                  <a:cubicBezTo>
                    <a:pt x="17280" y="18189"/>
                    <a:pt x="15840" y="18758"/>
                    <a:pt x="17280" y="18758"/>
                  </a:cubicBezTo>
                  <a:cubicBezTo>
                    <a:pt x="18240" y="19326"/>
                    <a:pt x="18720" y="19326"/>
                    <a:pt x="19200" y="18189"/>
                  </a:cubicBezTo>
                  <a:cubicBezTo>
                    <a:pt x="18720" y="19326"/>
                    <a:pt x="21120" y="21032"/>
                    <a:pt x="21600" y="21600"/>
                  </a:cubicBezTo>
                  <a:cubicBezTo>
                    <a:pt x="21600" y="19895"/>
                    <a:pt x="21600" y="18189"/>
                    <a:pt x="21600" y="1648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0" name="Shape 2129">
              <a:extLst>
                <a:ext uri="{FF2B5EF4-FFF2-40B4-BE49-F238E27FC236}">
                  <a16:creationId xmlns:a16="http://schemas.microsoft.com/office/drawing/2014/main" id="{9699CA89-882C-BE28-7C05-DB246D546322}"/>
                </a:ext>
              </a:extLst>
            </p:cNvPr>
            <p:cNvSpPr/>
            <p:nvPr/>
          </p:nvSpPr>
          <p:spPr>
            <a:xfrm>
              <a:off x="10085340" y="3850813"/>
              <a:ext cx="328738" cy="266104"/>
            </a:xfrm>
            <a:custGeom>
              <a:avLst/>
              <a:gdLst/>
              <a:ahLst/>
              <a:cxnLst>
                <a:cxn ang="0">
                  <a:pos x="wd2" y="hd2"/>
                </a:cxn>
                <a:cxn ang="5400000">
                  <a:pos x="wd2" y="hd2"/>
                </a:cxn>
                <a:cxn ang="10800000">
                  <a:pos x="wd2" y="hd2"/>
                </a:cxn>
                <a:cxn ang="16200000">
                  <a:pos x="wd2" y="hd2"/>
                </a:cxn>
              </a:cxnLst>
              <a:rect l="0" t="0" r="r" b="b"/>
              <a:pathLst>
                <a:path w="21063" h="21307" extrusionOk="0">
                  <a:moveTo>
                    <a:pt x="20941" y="20546"/>
                  </a:moveTo>
                  <a:cubicBezTo>
                    <a:pt x="20094" y="20020"/>
                    <a:pt x="19247" y="20020"/>
                    <a:pt x="18824" y="19493"/>
                  </a:cubicBezTo>
                  <a:cubicBezTo>
                    <a:pt x="18400" y="18966"/>
                    <a:pt x="19247" y="18439"/>
                    <a:pt x="19671" y="18966"/>
                  </a:cubicBezTo>
                  <a:cubicBezTo>
                    <a:pt x="18824" y="18439"/>
                    <a:pt x="17553" y="18966"/>
                    <a:pt x="17553" y="17912"/>
                  </a:cubicBezTo>
                  <a:cubicBezTo>
                    <a:pt x="17553" y="16859"/>
                    <a:pt x="16283" y="16859"/>
                    <a:pt x="15859" y="15805"/>
                  </a:cubicBezTo>
                  <a:cubicBezTo>
                    <a:pt x="15436" y="15278"/>
                    <a:pt x="15859" y="15278"/>
                    <a:pt x="15436" y="14751"/>
                  </a:cubicBezTo>
                  <a:cubicBezTo>
                    <a:pt x="15012" y="14224"/>
                    <a:pt x="14589" y="14224"/>
                    <a:pt x="14165" y="13698"/>
                  </a:cubicBezTo>
                  <a:cubicBezTo>
                    <a:pt x="14165" y="13698"/>
                    <a:pt x="12471" y="11063"/>
                    <a:pt x="12047" y="11063"/>
                  </a:cubicBezTo>
                  <a:cubicBezTo>
                    <a:pt x="12471" y="10537"/>
                    <a:pt x="13741" y="11063"/>
                    <a:pt x="14165" y="11063"/>
                  </a:cubicBezTo>
                  <a:cubicBezTo>
                    <a:pt x="15012" y="11063"/>
                    <a:pt x="14589" y="10537"/>
                    <a:pt x="14165" y="9483"/>
                  </a:cubicBezTo>
                  <a:cubicBezTo>
                    <a:pt x="14165" y="8956"/>
                    <a:pt x="13318" y="8956"/>
                    <a:pt x="12894" y="8956"/>
                  </a:cubicBezTo>
                  <a:cubicBezTo>
                    <a:pt x="11624" y="7902"/>
                    <a:pt x="10777" y="7376"/>
                    <a:pt x="10353" y="6322"/>
                  </a:cubicBezTo>
                  <a:cubicBezTo>
                    <a:pt x="9930" y="5268"/>
                    <a:pt x="8659" y="4215"/>
                    <a:pt x="7812" y="3688"/>
                  </a:cubicBezTo>
                  <a:cubicBezTo>
                    <a:pt x="7389" y="3161"/>
                    <a:pt x="6965" y="3161"/>
                    <a:pt x="6541" y="3161"/>
                  </a:cubicBezTo>
                  <a:cubicBezTo>
                    <a:pt x="6118" y="3161"/>
                    <a:pt x="5694" y="2107"/>
                    <a:pt x="5271" y="2107"/>
                  </a:cubicBezTo>
                  <a:cubicBezTo>
                    <a:pt x="4847" y="1580"/>
                    <a:pt x="4000" y="1580"/>
                    <a:pt x="3153" y="1054"/>
                  </a:cubicBezTo>
                  <a:cubicBezTo>
                    <a:pt x="2306" y="1054"/>
                    <a:pt x="1459" y="0"/>
                    <a:pt x="189" y="0"/>
                  </a:cubicBezTo>
                  <a:cubicBezTo>
                    <a:pt x="189" y="1580"/>
                    <a:pt x="189" y="3688"/>
                    <a:pt x="189" y="5268"/>
                  </a:cubicBezTo>
                  <a:cubicBezTo>
                    <a:pt x="189" y="6849"/>
                    <a:pt x="612" y="8956"/>
                    <a:pt x="189" y="10537"/>
                  </a:cubicBezTo>
                  <a:cubicBezTo>
                    <a:pt x="-235" y="11063"/>
                    <a:pt x="189" y="12117"/>
                    <a:pt x="189" y="13171"/>
                  </a:cubicBezTo>
                  <a:cubicBezTo>
                    <a:pt x="189" y="14224"/>
                    <a:pt x="189" y="14751"/>
                    <a:pt x="189" y="15805"/>
                  </a:cubicBezTo>
                  <a:cubicBezTo>
                    <a:pt x="189" y="17385"/>
                    <a:pt x="612" y="17385"/>
                    <a:pt x="1459" y="17385"/>
                  </a:cubicBezTo>
                  <a:cubicBezTo>
                    <a:pt x="2730" y="17385"/>
                    <a:pt x="4000" y="17385"/>
                    <a:pt x="5271" y="16332"/>
                  </a:cubicBezTo>
                  <a:cubicBezTo>
                    <a:pt x="5694" y="16332"/>
                    <a:pt x="3577" y="14751"/>
                    <a:pt x="3577" y="14751"/>
                  </a:cubicBezTo>
                  <a:cubicBezTo>
                    <a:pt x="4000" y="14751"/>
                    <a:pt x="5694" y="16332"/>
                    <a:pt x="5694" y="15805"/>
                  </a:cubicBezTo>
                  <a:cubicBezTo>
                    <a:pt x="5694" y="15278"/>
                    <a:pt x="5271" y="14751"/>
                    <a:pt x="5271" y="13698"/>
                  </a:cubicBezTo>
                  <a:cubicBezTo>
                    <a:pt x="5271" y="13698"/>
                    <a:pt x="6541" y="14751"/>
                    <a:pt x="6118" y="14224"/>
                  </a:cubicBezTo>
                  <a:cubicBezTo>
                    <a:pt x="6118" y="13171"/>
                    <a:pt x="6965" y="13171"/>
                    <a:pt x="7389" y="13171"/>
                  </a:cubicBezTo>
                  <a:cubicBezTo>
                    <a:pt x="7812" y="13171"/>
                    <a:pt x="10777" y="14751"/>
                    <a:pt x="10777" y="14224"/>
                  </a:cubicBezTo>
                  <a:cubicBezTo>
                    <a:pt x="10777" y="15278"/>
                    <a:pt x="12471" y="16332"/>
                    <a:pt x="12894" y="17385"/>
                  </a:cubicBezTo>
                  <a:cubicBezTo>
                    <a:pt x="13318" y="18439"/>
                    <a:pt x="14165" y="20020"/>
                    <a:pt x="15012" y="20020"/>
                  </a:cubicBezTo>
                  <a:cubicBezTo>
                    <a:pt x="16283" y="20020"/>
                    <a:pt x="17553" y="20546"/>
                    <a:pt x="18824" y="21073"/>
                  </a:cubicBezTo>
                  <a:cubicBezTo>
                    <a:pt x="19247" y="21073"/>
                    <a:pt x="20094" y="21600"/>
                    <a:pt x="20094" y="21073"/>
                  </a:cubicBezTo>
                  <a:cubicBezTo>
                    <a:pt x="20094" y="20546"/>
                    <a:pt x="21365" y="20546"/>
                    <a:pt x="20941" y="20546"/>
                  </a:cubicBezTo>
                  <a:cubicBezTo>
                    <a:pt x="20518" y="20020"/>
                    <a:pt x="21365" y="20546"/>
                    <a:pt x="20941" y="2054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1" name="Shape 2130">
              <a:extLst>
                <a:ext uri="{FF2B5EF4-FFF2-40B4-BE49-F238E27FC236}">
                  <a16:creationId xmlns:a16="http://schemas.microsoft.com/office/drawing/2014/main" id="{1251B159-2396-8468-A25F-3BCC533DBAB5}"/>
                </a:ext>
              </a:extLst>
            </p:cNvPr>
            <p:cNvSpPr/>
            <p:nvPr/>
          </p:nvSpPr>
          <p:spPr>
            <a:xfrm>
              <a:off x="9034374" y="3617321"/>
              <a:ext cx="328340" cy="277316"/>
            </a:xfrm>
            <a:custGeom>
              <a:avLst/>
              <a:gdLst/>
              <a:ahLst/>
              <a:cxnLst>
                <a:cxn ang="0">
                  <a:pos x="wd2" y="hd2"/>
                </a:cxn>
                <a:cxn ang="5400000">
                  <a:pos x="wd2" y="hd2"/>
                </a:cxn>
                <a:cxn ang="10800000">
                  <a:pos x="wd2" y="hd2"/>
                </a:cxn>
                <a:cxn ang="16200000">
                  <a:pos x="wd2" y="hd2"/>
                </a:cxn>
              </a:cxnLst>
              <a:rect l="0" t="0" r="r" b="b"/>
              <a:pathLst>
                <a:path w="21038" h="20186" extrusionOk="0">
                  <a:moveTo>
                    <a:pt x="13976" y="1560"/>
                  </a:moveTo>
                  <a:cubicBezTo>
                    <a:pt x="13553" y="3000"/>
                    <a:pt x="13129" y="3960"/>
                    <a:pt x="12282" y="5400"/>
                  </a:cubicBezTo>
                  <a:cubicBezTo>
                    <a:pt x="11859" y="7320"/>
                    <a:pt x="9741" y="7320"/>
                    <a:pt x="8471" y="6840"/>
                  </a:cubicBezTo>
                  <a:cubicBezTo>
                    <a:pt x="7624" y="6360"/>
                    <a:pt x="6776" y="7320"/>
                    <a:pt x="6353" y="7800"/>
                  </a:cubicBezTo>
                  <a:cubicBezTo>
                    <a:pt x="5929" y="8280"/>
                    <a:pt x="4659" y="7800"/>
                    <a:pt x="4235" y="8280"/>
                  </a:cubicBezTo>
                  <a:cubicBezTo>
                    <a:pt x="3388" y="8760"/>
                    <a:pt x="3388" y="8760"/>
                    <a:pt x="2965" y="7800"/>
                  </a:cubicBezTo>
                  <a:cubicBezTo>
                    <a:pt x="2118" y="7320"/>
                    <a:pt x="1694" y="6840"/>
                    <a:pt x="1271" y="5880"/>
                  </a:cubicBezTo>
                  <a:cubicBezTo>
                    <a:pt x="847" y="5400"/>
                    <a:pt x="0" y="8280"/>
                    <a:pt x="0" y="8760"/>
                  </a:cubicBezTo>
                  <a:cubicBezTo>
                    <a:pt x="0" y="10200"/>
                    <a:pt x="1271" y="11640"/>
                    <a:pt x="1694" y="13080"/>
                  </a:cubicBezTo>
                  <a:cubicBezTo>
                    <a:pt x="2541" y="14520"/>
                    <a:pt x="2118" y="15960"/>
                    <a:pt x="3388" y="16920"/>
                  </a:cubicBezTo>
                  <a:cubicBezTo>
                    <a:pt x="4235" y="17400"/>
                    <a:pt x="5082" y="17880"/>
                    <a:pt x="5506" y="17880"/>
                  </a:cubicBezTo>
                  <a:cubicBezTo>
                    <a:pt x="6776" y="17400"/>
                    <a:pt x="5506" y="18360"/>
                    <a:pt x="5929" y="18840"/>
                  </a:cubicBezTo>
                  <a:cubicBezTo>
                    <a:pt x="6353" y="18840"/>
                    <a:pt x="7624" y="18840"/>
                    <a:pt x="8047" y="18840"/>
                  </a:cubicBezTo>
                  <a:cubicBezTo>
                    <a:pt x="8471" y="18360"/>
                    <a:pt x="8471" y="17400"/>
                    <a:pt x="8894" y="17880"/>
                  </a:cubicBezTo>
                  <a:cubicBezTo>
                    <a:pt x="9318" y="18360"/>
                    <a:pt x="10165" y="18840"/>
                    <a:pt x="10588" y="18360"/>
                  </a:cubicBezTo>
                  <a:cubicBezTo>
                    <a:pt x="11012" y="18360"/>
                    <a:pt x="11859" y="17880"/>
                    <a:pt x="11859" y="18360"/>
                  </a:cubicBezTo>
                  <a:cubicBezTo>
                    <a:pt x="12282" y="19800"/>
                    <a:pt x="11435" y="20760"/>
                    <a:pt x="13129" y="19800"/>
                  </a:cubicBezTo>
                  <a:cubicBezTo>
                    <a:pt x="13553" y="19800"/>
                    <a:pt x="13976" y="19320"/>
                    <a:pt x="14400" y="19320"/>
                  </a:cubicBezTo>
                  <a:cubicBezTo>
                    <a:pt x="14824" y="19320"/>
                    <a:pt x="15247" y="19800"/>
                    <a:pt x="15247" y="19800"/>
                  </a:cubicBezTo>
                  <a:cubicBezTo>
                    <a:pt x="15671" y="18840"/>
                    <a:pt x="14824" y="17880"/>
                    <a:pt x="15671" y="16920"/>
                  </a:cubicBezTo>
                  <a:cubicBezTo>
                    <a:pt x="16094" y="16440"/>
                    <a:pt x="15671" y="15960"/>
                    <a:pt x="15671" y="15000"/>
                  </a:cubicBezTo>
                  <a:cubicBezTo>
                    <a:pt x="15671" y="14520"/>
                    <a:pt x="16094" y="14040"/>
                    <a:pt x="16518" y="13560"/>
                  </a:cubicBezTo>
                  <a:cubicBezTo>
                    <a:pt x="17365" y="12600"/>
                    <a:pt x="18212" y="12120"/>
                    <a:pt x="17788" y="10680"/>
                  </a:cubicBezTo>
                  <a:cubicBezTo>
                    <a:pt x="17788" y="9720"/>
                    <a:pt x="19059" y="7800"/>
                    <a:pt x="19906" y="8280"/>
                  </a:cubicBezTo>
                  <a:cubicBezTo>
                    <a:pt x="20329" y="8760"/>
                    <a:pt x="21600" y="8280"/>
                    <a:pt x="20753" y="7800"/>
                  </a:cubicBezTo>
                  <a:cubicBezTo>
                    <a:pt x="20329" y="6840"/>
                    <a:pt x="19059" y="6360"/>
                    <a:pt x="19059" y="5400"/>
                  </a:cubicBezTo>
                  <a:cubicBezTo>
                    <a:pt x="19059" y="4440"/>
                    <a:pt x="18212" y="3480"/>
                    <a:pt x="17788" y="2520"/>
                  </a:cubicBezTo>
                  <a:cubicBezTo>
                    <a:pt x="17365" y="1080"/>
                    <a:pt x="18635" y="2520"/>
                    <a:pt x="18635" y="2040"/>
                  </a:cubicBezTo>
                  <a:cubicBezTo>
                    <a:pt x="19059" y="1560"/>
                    <a:pt x="17365" y="1080"/>
                    <a:pt x="18635" y="600"/>
                  </a:cubicBezTo>
                  <a:cubicBezTo>
                    <a:pt x="16941" y="120"/>
                    <a:pt x="14400" y="-840"/>
                    <a:pt x="13976" y="1560"/>
                  </a:cubicBezTo>
                  <a:cubicBezTo>
                    <a:pt x="13553" y="2520"/>
                    <a:pt x="14400" y="600"/>
                    <a:pt x="13976" y="15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2" name="Shape 2131">
              <a:extLst>
                <a:ext uri="{FF2B5EF4-FFF2-40B4-BE49-F238E27FC236}">
                  <a16:creationId xmlns:a16="http://schemas.microsoft.com/office/drawing/2014/main" id="{F3ABB77F-332B-9E25-2C75-639B1B852823}"/>
                </a:ext>
              </a:extLst>
            </p:cNvPr>
            <p:cNvSpPr/>
            <p:nvPr/>
          </p:nvSpPr>
          <p:spPr>
            <a:xfrm>
              <a:off x="9054603" y="3532681"/>
              <a:ext cx="317291" cy="205731"/>
            </a:xfrm>
            <a:custGeom>
              <a:avLst/>
              <a:gdLst/>
              <a:ahLst/>
              <a:cxnLst>
                <a:cxn ang="0">
                  <a:pos x="wd2" y="hd2"/>
                </a:cxn>
                <a:cxn ang="5400000">
                  <a:pos x="wd2" y="hd2"/>
                </a:cxn>
                <a:cxn ang="10800000">
                  <a:pos x="wd2" y="hd2"/>
                </a:cxn>
                <a:cxn ang="16200000">
                  <a:pos x="wd2" y="hd2"/>
                </a:cxn>
              </a:cxnLst>
              <a:rect l="0" t="0" r="r" b="b"/>
              <a:pathLst>
                <a:path w="21177" h="21029" extrusionOk="0">
                  <a:moveTo>
                    <a:pt x="19837" y="6179"/>
                  </a:moveTo>
                  <a:cubicBezTo>
                    <a:pt x="21159" y="6179"/>
                    <a:pt x="21600" y="5504"/>
                    <a:pt x="20718" y="4829"/>
                  </a:cubicBezTo>
                  <a:cubicBezTo>
                    <a:pt x="19837" y="4154"/>
                    <a:pt x="19837" y="3479"/>
                    <a:pt x="18955" y="4154"/>
                  </a:cubicBezTo>
                  <a:cubicBezTo>
                    <a:pt x="18514" y="4829"/>
                    <a:pt x="18955" y="4154"/>
                    <a:pt x="18514" y="3479"/>
                  </a:cubicBezTo>
                  <a:cubicBezTo>
                    <a:pt x="18514" y="3479"/>
                    <a:pt x="18073" y="3479"/>
                    <a:pt x="18073" y="3479"/>
                  </a:cubicBezTo>
                  <a:cubicBezTo>
                    <a:pt x="18073" y="3479"/>
                    <a:pt x="18073" y="2129"/>
                    <a:pt x="18073" y="2129"/>
                  </a:cubicBezTo>
                  <a:cubicBezTo>
                    <a:pt x="17633" y="1454"/>
                    <a:pt x="17192" y="779"/>
                    <a:pt x="17192" y="779"/>
                  </a:cubicBezTo>
                  <a:cubicBezTo>
                    <a:pt x="16310" y="-571"/>
                    <a:pt x="16751" y="104"/>
                    <a:pt x="16310" y="779"/>
                  </a:cubicBezTo>
                  <a:cubicBezTo>
                    <a:pt x="15869" y="1454"/>
                    <a:pt x="15869" y="104"/>
                    <a:pt x="15869" y="104"/>
                  </a:cubicBezTo>
                  <a:cubicBezTo>
                    <a:pt x="15429" y="104"/>
                    <a:pt x="14106" y="2804"/>
                    <a:pt x="14106" y="3479"/>
                  </a:cubicBezTo>
                  <a:cubicBezTo>
                    <a:pt x="13665" y="3479"/>
                    <a:pt x="13224" y="4154"/>
                    <a:pt x="13224" y="4829"/>
                  </a:cubicBezTo>
                  <a:cubicBezTo>
                    <a:pt x="12784" y="4829"/>
                    <a:pt x="12784" y="5504"/>
                    <a:pt x="12784" y="5504"/>
                  </a:cubicBezTo>
                  <a:cubicBezTo>
                    <a:pt x="12784" y="6179"/>
                    <a:pt x="12784" y="6179"/>
                    <a:pt x="12784" y="6179"/>
                  </a:cubicBezTo>
                  <a:cubicBezTo>
                    <a:pt x="12784" y="6854"/>
                    <a:pt x="11461" y="6854"/>
                    <a:pt x="11020" y="7529"/>
                  </a:cubicBezTo>
                  <a:cubicBezTo>
                    <a:pt x="9698" y="7529"/>
                    <a:pt x="10139" y="8879"/>
                    <a:pt x="11020" y="9554"/>
                  </a:cubicBezTo>
                  <a:cubicBezTo>
                    <a:pt x="11902" y="10904"/>
                    <a:pt x="11461" y="9554"/>
                    <a:pt x="11902" y="8879"/>
                  </a:cubicBezTo>
                  <a:cubicBezTo>
                    <a:pt x="11902" y="8204"/>
                    <a:pt x="12784" y="8204"/>
                    <a:pt x="12784" y="8204"/>
                  </a:cubicBezTo>
                  <a:cubicBezTo>
                    <a:pt x="12784" y="8204"/>
                    <a:pt x="12343" y="7529"/>
                    <a:pt x="12343" y="6854"/>
                  </a:cubicBezTo>
                  <a:cubicBezTo>
                    <a:pt x="12343" y="7529"/>
                    <a:pt x="12784" y="8204"/>
                    <a:pt x="12784" y="8204"/>
                  </a:cubicBezTo>
                  <a:cubicBezTo>
                    <a:pt x="12784" y="8204"/>
                    <a:pt x="11902" y="8204"/>
                    <a:pt x="11461" y="8879"/>
                  </a:cubicBezTo>
                  <a:cubicBezTo>
                    <a:pt x="11461" y="10904"/>
                    <a:pt x="10580" y="8879"/>
                    <a:pt x="10139" y="8204"/>
                  </a:cubicBezTo>
                  <a:cubicBezTo>
                    <a:pt x="8816" y="10229"/>
                    <a:pt x="7935" y="12254"/>
                    <a:pt x="6171" y="12929"/>
                  </a:cubicBezTo>
                  <a:cubicBezTo>
                    <a:pt x="5290" y="13604"/>
                    <a:pt x="4408" y="13604"/>
                    <a:pt x="3967" y="14954"/>
                  </a:cubicBezTo>
                  <a:cubicBezTo>
                    <a:pt x="3527" y="15629"/>
                    <a:pt x="3527" y="16304"/>
                    <a:pt x="3086" y="16979"/>
                  </a:cubicBezTo>
                  <a:cubicBezTo>
                    <a:pt x="3086" y="17654"/>
                    <a:pt x="3967" y="18329"/>
                    <a:pt x="3967" y="18329"/>
                  </a:cubicBezTo>
                  <a:cubicBezTo>
                    <a:pt x="3527" y="19004"/>
                    <a:pt x="441" y="16979"/>
                    <a:pt x="0" y="16979"/>
                  </a:cubicBezTo>
                  <a:cubicBezTo>
                    <a:pt x="441" y="18329"/>
                    <a:pt x="1322" y="20354"/>
                    <a:pt x="2204" y="21029"/>
                  </a:cubicBezTo>
                  <a:cubicBezTo>
                    <a:pt x="2645" y="21029"/>
                    <a:pt x="3086" y="20354"/>
                    <a:pt x="3086" y="20354"/>
                  </a:cubicBezTo>
                  <a:cubicBezTo>
                    <a:pt x="3967" y="19679"/>
                    <a:pt x="5290" y="20354"/>
                    <a:pt x="5290" y="19679"/>
                  </a:cubicBezTo>
                  <a:cubicBezTo>
                    <a:pt x="6612" y="17654"/>
                    <a:pt x="7494" y="18329"/>
                    <a:pt x="8816" y="19004"/>
                  </a:cubicBezTo>
                  <a:cubicBezTo>
                    <a:pt x="10139" y="19004"/>
                    <a:pt x="11461" y="17654"/>
                    <a:pt x="11902" y="15629"/>
                  </a:cubicBezTo>
                  <a:cubicBezTo>
                    <a:pt x="12343" y="14279"/>
                    <a:pt x="12784" y="12929"/>
                    <a:pt x="13224" y="11579"/>
                  </a:cubicBezTo>
                  <a:cubicBezTo>
                    <a:pt x="13224" y="9554"/>
                    <a:pt x="13665" y="8879"/>
                    <a:pt x="14988" y="8879"/>
                  </a:cubicBezTo>
                  <a:cubicBezTo>
                    <a:pt x="16310" y="8879"/>
                    <a:pt x="17633" y="9554"/>
                    <a:pt x="18955" y="8879"/>
                  </a:cubicBezTo>
                  <a:cubicBezTo>
                    <a:pt x="20718" y="8204"/>
                    <a:pt x="17633" y="6179"/>
                    <a:pt x="19837" y="617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3" name="Shape 2132">
              <a:extLst>
                <a:ext uri="{FF2B5EF4-FFF2-40B4-BE49-F238E27FC236}">
                  <a16:creationId xmlns:a16="http://schemas.microsoft.com/office/drawing/2014/main" id="{65ACDDC9-63A4-BDA1-5D81-935CD4287528}"/>
                </a:ext>
              </a:extLst>
            </p:cNvPr>
            <p:cNvSpPr/>
            <p:nvPr/>
          </p:nvSpPr>
          <p:spPr>
            <a:xfrm>
              <a:off x="8405729" y="2798997"/>
              <a:ext cx="97196" cy="56631"/>
            </a:xfrm>
            <a:custGeom>
              <a:avLst/>
              <a:gdLst/>
              <a:ahLst/>
              <a:cxnLst>
                <a:cxn ang="0">
                  <a:pos x="wd2" y="hd2"/>
                </a:cxn>
                <a:cxn ang="5400000">
                  <a:pos x="wd2" y="hd2"/>
                </a:cxn>
                <a:cxn ang="10800000">
                  <a:pos x="wd2" y="hd2"/>
                </a:cxn>
                <a:cxn ang="16200000">
                  <a:pos x="wd2" y="hd2"/>
                </a:cxn>
              </a:cxnLst>
              <a:rect l="0" t="0" r="r" b="b"/>
              <a:pathLst>
                <a:path w="18683" h="18763" extrusionOk="0">
                  <a:moveTo>
                    <a:pt x="692" y="15709"/>
                  </a:moveTo>
                  <a:cubicBezTo>
                    <a:pt x="1963" y="17869"/>
                    <a:pt x="5775" y="20029"/>
                    <a:pt x="7045" y="17869"/>
                  </a:cubicBezTo>
                  <a:cubicBezTo>
                    <a:pt x="9586" y="15709"/>
                    <a:pt x="10857" y="20029"/>
                    <a:pt x="13398" y="17869"/>
                  </a:cubicBezTo>
                  <a:cubicBezTo>
                    <a:pt x="14669" y="17869"/>
                    <a:pt x="19751" y="17869"/>
                    <a:pt x="18480" y="15709"/>
                  </a:cubicBezTo>
                  <a:cubicBezTo>
                    <a:pt x="17210" y="11389"/>
                    <a:pt x="15939" y="9229"/>
                    <a:pt x="17210" y="4909"/>
                  </a:cubicBezTo>
                  <a:cubicBezTo>
                    <a:pt x="14669" y="2749"/>
                    <a:pt x="12127" y="7069"/>
                    <a:pt x="10857" y="4909"/>
                  </a:cubicBezTo>
                  <a:cubicBezTo>
                    <a:pt x="9586" y="2749"/>
                    <a:pt x="7045" y="-1571"/>
                    <a:pt x="5775" y="589"/>
                  </a:cubicBezTo>
                  <a:cubicBezTo>
                    <a:pt x="3233" y="4909"/>
                    <a:pt x="-1849" y="11389"/>
                    <a:pt x="692" y="15709"/>
                  </a:cubicBezTo>
                  <a:cubicBezTo>
                    <a:pt x="1963" y="17869"/>
                    <a:pt x="-578" y="13549"/>
                    <a:pt x="692" y="1570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4" name="Shape 2133">
              <a:extLst>
                <a:ext uri="{FF2B5EF4-FFF2-40B4-BE49-F238E27FC236}">
                  <a16:creationId xmlns:a16="http://schemas.microsoft.com/office/drawing/2014/main" id="{6C0A02D2-FE18-4F39-A80A-3268B061E7B4}"/>
                </a:ext>
              </a:extLst>
            </p:cNvPr>
            <p:cNvSpPr/>
            <p:nvPr/>
          </p:nvSpPr>
          <p:spPr>
            <a:xfrm>
              <a:off x="8137660" y="2720071"/>
              <a:ext cx="244967" cy="148029"/>
            </a:xfrm>
            <a:custGeom>
              <a:avLst/>
              <a:gdLst/>
              <a:ahLst/>
              <a:cxnLst>
                <a:cxn ang="0">
                  <a:pos x="wd2" y="hd2"/>
                </a:cxn>
                <a:cxn ang="5400000">
                  <a:pos x="wd2" y="hd2"/>
                </a:cxn>
                <a:cxn ang="10800000">
                  <a:pos x="wd2" y="hd2"/>
                </a:cxn>
                <a:cxn ang="16200000">
                  <a:pos x="wd2" y="hd2"/>
                </a:cxn>
              </a:cxnLst>
              <a:rect l="0" t="0" r="r" b="b"/>
              <a:pathLst>
                <a:path w="21600" h="20917" extrusionOk="0">
                  <a:moveTo>
                    <a:pt x="584" y="2817"/>
                  </a:moveTo>
                  <a:cubicBezTo>
                    <a:pt x="0" y="3757"/>
                    <a:pt x="0" y="7513"/>
                    <a:pt x="0" y="8452"/>
                  </a:cubicBezTo>
                  <a:cubicBezTo>
                    <a:pt x="584" y="9391"/>
                    <a:pt x="2335" y="10330"/>
                    <a:pt x="2919" y="12209"/>
                  </a:cubicBezTo>
                  <a:cubicBezTo>
                    <a:pt x="3503" y="12209"/>
                    <a:pt x="4086" y="13148"/>
                    <a:pt x="4086" y="13148"/>
                  </a:cubicBezTo>
                  <a:cubicBezTo>
                    <a:pt x="5254" y="14087"/>
                    <a:pt x="5838" y="13148"/>
                    <a:pt x="7005" y="14087"/>
                  </a:cubicBezTo>
                  <a:cubicBezTo>
                    <a:pt x="7589" y="14087"/>
                    <a:pt x="8173" y="15026"/>
                    <a:pt x="8757" y="15026"/>
                  </a:cubicBezTo>
                  <a:cubicBezTo>
                    <a:pt x="9341" y="15026"/>
                    <a:pt x="10508" y="15026"/>
                    <a:pt x="11092" y="15026"/>
                  </a:cubicBezTo>
                  <a:cubicBezTo>
                    <a:pt x="11676" y="15965"/>
                    <a:pt x="12259" y="16904"/>
                    <a:pt x="12843" y="17843"/>
                  </a:cubicBezTo>
                  <a:cubicBezTo>
                    <a:pt x="13427" y="17843"/>
                    <a:pt x="14595" y="17843"/>
                    <a:pt x="15178" y="18783"/>
                  </a:cubicBezTo>
                  <a:cubicBezTo>
                    <a:pt x="15762" y="18783"/>
                    <a:pt x="16346" y="20661"/>
                    <a:pt x="16930" y="20661"/>
                  </a:cubicBezTo>
                  <a:cubicBezTo>
                    <a:pt x="17514" y="20661"/>
                    <a:pt x="18097" y="18783"/>
                    <a:pt x="18681" y="18783"/>
                  </a:cubicBezTo>
                  <a:cubicBezTo>
                    <a:pt x="19265" y="19722"/>
                    <a:pt x="19265" y="21600"/>
                    <a:pt x="20432" y="20661"/>
                  </a:cubicBezTo>
                  <a:cubicBezTo>
                    <a:pt x="20432" y="20661"/>
                    <a:pt x="21600" y="19722"/>
                    <a:pt x="21600" y="19722"/>
                  </a:cubicBezTo>
                  <a:cubicBezTo>
                    <a:pt x="21600" y="18783"/>
                    <a:pt x="21600" y="17843"/>
                    <a:pt x="21600" y="16904"/>
                  </a:cubicBezTo>
                  <a:cubicBezTo>
                    <a:pt x="21016" y="15965"/>
                    <a:pt x="21600" y="15026"/>
                    <a:pt x="21600" y="13148"/>
                  </a:cubicBezTo>
                  <a:cubicBezTo>
                    <a:pt x="20432" y="13148"/>
                    <a:pt x="19849" y="14087"/>
                    <a:pt x="18681" y="13148"/>
                  </a:cubicBezTo>
                  <a:cubicBezTo>
                    <a:pt x="18681" y="13148"/>
                    <a:pt x="18097" y="12209"/>
                    <a:pt x="18097" y="12209"/>
                  </a:cubicBezTo>
                  <a:cubicBezTo>
                    <a:pt x="17514" y="12209"/>
                    <a:pt x="16930" y="13148"/>
                    <a:pt x="16346" y="12209"/>
                  </a:cubicBezTo>
                  <a:cubicBezTo>
                    <a:pt x="16346" y="12209"/>
                    <a:pt x="15762" y="11270"/>
                    <a:pt x="15178" y="11270"/>
                  </a:cubicBezTo>
                  <a:cubicBezTo>
                    <a:pt x="14595" y="11270"/>
                    <a:pt x="14011" y="13148"/>
                    <a:pt x="14011" y="11270"/>
                  </a:cubicBezTo>
                  <a:cubicBezTo>
                    <a:pt x="12843" y="9391"/>
                    <a:pt x="12259" y="10330"/>
                    <a:pt x="11676" y="9391"/>
                  </a:cubicBezTo>
                  <a:cubicBezTo>
                    <a:pt x="11092" y="8452"/>
                    <a:pt x="11092" y="7513"/>
                    <a:pt x="10508" y="7513"/>
                  </a:cubicBezTo>
                  <a:cubicBezTo>
                    <a:pt x="9924" y="6574"/>
                    <a:pt x="9341" y="6574"/>
                    <a:pt x="9341" y="6574"/>
                  </a:cubicBezTo>
                  <a:cubicBezTo>
                    <a:pt x="8173" y="5635"/>
                    <a:pt x="6422" y="3757"/>
                    <a:pt x="5838" y="1878"/>
                  </a:cubicBezTo>
                  <a:cubicBezTo>
                    <a:pt x="5838" y="939"/>
                    <a:pt x="5254" y="0"/>
                    <a:pt x="4670" y="0"/>
                  </a:cubicBezTo>
                  <a:cubicBezTo>
                    <a:pt x="3503" y="0"/>
                    <a:pt x="3503" y="939"/>
                    <a:pt x="2919" y="1878"/>
                  </a:cubicBezTo>
                  <a:cubicBezTo>
                    <a:pt x="2919" y="2817"/>
                    <a:pt x="2335" y="1878"/>
                    <a:pt x="2335" y="1878"/>
                  </a:cubicBezTo>
                  <a:cubicBezTo>
                    <a:pt x="1751" y="2817"/>
                    <a:pt x="1168" y="2817"/>
                    <a:pt x="584" y="2817"/>
                  </a:cubicBezTo>
                  <a:cubicBezTo>
                    <a:pt x="0" y="3757"/>
                    <a:pt x="1168" y="2817"/>
                    <a:pt x="584" y="281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5" name="Shape 2134">
              <a:extLst>
                <a:ext uri="{FF2B5EF4-FFF2-40B4-BE49-F238E27FC236}">
                  <a16:creationId xmlns:a16="http://schemas.microsoft.com/office/drawing/2014/main" id="{9C8FD5E2-4A54-CFBF-7B9B-4208AE537C53}"/>
                </a:ext>
              </a:extLst>
            </p:cNvPr>
            <p:cNvSpPr/>
            <p:nvPr/>
          </p:nvSpPr>
          <p:spPr>
            <a:xfrm>
              <a:off x="8816377" y="3280110"/>
              <a:ext cx="179068" cy="148078"/>
            </a:xfrm>
            <a:custGeom>
              <a:avLst/>
              <a:gdLst/>
              <a:ahLst/>
              <a:cxnLst>
                <a:cxn ang="0">
                  <a:pos x="wd2" y="hd2"/>
                </a:cxn>
                <a:cxn ang="5400000">
                  <a:pos x="wd2" y="hd2"/>
                </a:cxn>
                <a:cxn ang="10800000">
                  <a:pos x="wd2" y="hd2"/>
                </a:cxn>
                <a:cxn ang="16200000">
                  <a:pos x="wd2" y="hd2"/>
                </a:cxn>
              </a:cxnLst>
              <a:rect l="0" t="0" r="r" b="b"/>
              <a:pathLst>
                <a:path w="20988" h="20924" extrusionOk="0">
                  <a:moveTo>
                    <a:pt x="10800" y="17167"/>
                  </a:moveTo>
                  <a:cubicBezTo>
                    <a:pt x="10800" y="16228"/>
                    <a:pt x="15429" y="18107"/>
                    <a:pt x="14657" y="16228"/>
                  </a:cubicBezTo>
                  <a:cubicBezTo>
                    <a:pt x="14657" y="16228"/>
                    <a:pt x="13886" y="13411"/>
                    <a:pt x="14657" y="13411"/>
                  </a:cubicBezTo>
                  <a:cubicBezTo>
                    <a:pt x="15429" y="13411"/>
                    <a:pt x="16200" y="14350"/>
                    <a:pt x="16200" y="12472"/>
                  </a:cubicBezTo>
                  <a:cubicBezTo>
                    <a:pt x="16200" y="10594"/>
                    <a:pt x="17743" y="11533"/>
                    <a:pt x="18514" y="10594"/>
                  </a:cubicBezTo>
                  <a:cubicBezTo>
                    <a:pt x="20057" y="10594"/>
                    <a:pt x="20057" y="8715"/>
                    <a:pt x="20829" y="7776"/>
                  </a:cubicBezTo>
                  <a:cubicBezTo>
                    <a:pt x="21600" y="5898"/>
                    <a:pt x="19286" y="1202"/>
                    <a:pt x="20057" y="263"/>
                  </a:cubicBezTo>
                  <a:cubicBezTo>
                    <a:pt x="18514" y="1202"/>
                    <a:pt x="18514" y="1202"/>
                    <a:pt x="16971" y="263"/>
                  </a:cubicBezTo>
                  <a:cubicBezTo>
                    <a:pt x="16200" y="-676"/>
                    <a:pt x="14657" y="1202"/>
                    <a:pt x="14657" y="1202"/>
                  </a:cubicBezTo>
                  <a:cubicBezTo>
                    <a:pt x="14657" y="3081"/>
                    <a:pt x="13114" y="1202"/>
                    <a:pt x="13114" y="1202"/>
                  </a:cubicBezTo>
                  <a:cubicBezTo>
                    <a:pt x="10029" y="263"/>
                    <a:pt x="4629" y="-676"/>
                    <a:pt x="2314" y="2141"/>
                  </a:cubicBezTo>
                  <a:cubicBezTo>
                    <a:pt x="1543" y="3081"/>
                    <a:pt x="0" y="4020"/>
                    <a:pt x="0" y="5898"/>
                  </a:cubicBezTo>
                  <a:cubicBezTo>
                    <a:pt x="0" y="6837"/>
                    <a:pt x="771" y="7776"/>
                    <a:pt x="771" y="8715"/>
                  </a:cubicBezTo>
                  <a:cubicBezTo>
                    <a:pt x="2314" y="9654"/>
                    <a:pt x="2314" y="11533"/>
                    <a:pt x="2314" y="12472"/>
                  </a:cubicBezTo>
                  <a:cubicBezTo>
                    <a:pt x="3086" y="14350"/>
                    <a:pt x="3086" y="15289"/>
                    <a:pt x="3857" y="16228"/>
                  </a:cubicBezTo>
                  <a:cubicBezTo>
                    <a:pt x="3857" y="17167"/>
                    <a:pt x="4629" y="16228"/>
                    <a:pt x="4629" y="17167"/>
                  </a:cubicBezTo>
                  <a:cubicBezTo>
                    <a:pt x="5400" y="17167"/>
                    <a:pt x="4629" y="18107"/>
                    <a:pt x="5400" y="19046"/>
                  </a:cubicBezTo>
                  <a:cubicBezTo>
                    <a:pt x="6943" y="19046"/>
                    <a:pt x="6171" y="19985"/>
                    <a:pt x="6171" y="20924"/>
                  </a:cubicBezTo>
                  <a:cubicBezTo>
                    <a:pt x="6171" y="19985"/>
                    <a:pt x="10800" y="18107"/>
                    <a:pt x="10800" y="17167"/>
                  </a:cubicBezTo>
                  <a:cubicBezTo>
                    <a:pt x="10800" y="17167"/>
                    <a:pt x="10800" y="18107"/>
                    <a:pt x="10800" y="1716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6" name="Shape 2135">
              <a:extLst>
                <a:ext uri="{FF2B5EF4-FFF2-40B4-BE49-F238E27FC236}">
                  <a16:creationId xmlns:a16="http://schemas.microsoft.com/office/drawing/2014/main" id="{EB59D241-6868-4429-C026-D103F2C847E3}"/>
                </a:ext>
              </a:extLst>
            </p:cNvPr>
            <p:cNvSpPr/>
            <p:nvPr/>
          </p:nvSpPr>
          <p:spPr>
            <a:xfrm>
              <a:off x="8744459" y="3545083"/>
              <a:ext cx="139442" cy="173098"/>
            </a:xfrm>
            <a:custGeom>
              <a:avLst/>
              <a:gdLst/>
              <a:ahLst/>
              <a:cxnLst>
                <a:cxn ang="0">
                  <a:pos x="wd2" y="hd2"/>
                </a:cxn>
                <a:cxn ang="5400000">
                  <a:pos x="wd2" y="hd2"/>
                </a:cxn>
                <a:cxn ang="10800000">
                  <a:pos x="wd2" y="hd2"/>
                </a:cxn>
                <a:cxn ang="16200000">
                  <a:pos x="wd2" y="hd2"/>
                </a:cxn>
              </a:cxnLst>
              <a:rect l="0" t="0" r="r" b="b"/>
              <a:pathLst>
                <a:path w="20618" h="21600" extrusionOk="0">
                  <a:moveTo>
                    <a:pt x="9818" y="2492"/>
                  </a:moveTo>
                  <a:cubicBezTo>
                    <a:pt x="8836" y="2492"/>
                    <a:pt x="7855" y="3323"/>
                    <a:pt x="6873" y="3323"/>
                  </a:cubicBezTo>
                  <a:cubicBezTo>
                    <a:pt x="6873" y="2492"/>
                    <a:pt x="5891" y="3323"/>
                    <a:pt x="5891" y="3323"/>
                  </a:cubicBezTo>
                  <a:cubicBezTo>
                    <a:pt x="4909" y="3323"/>
                    <a:pt x="4909" y="1662"/>
                    <a:pt x="4909" y="831"/>
                  </a:cubicBezTo>
                  <a:cubicBezTo>
                    <a:pt x="3927" y="0"/>
                    <a:pt x="1964" y="0"/>
                    <a:pt x="0" y="0"/>
                  </a:cubicBezTo>
                  <a:cubicBezTo>
                    <a:pt x="982" y="831"/>
                    <a:pt x="982" y="3323"/>
                    <a:pt x="982" y="4985"/>
                  </a:cubicBezTo>
                  <a:cubicBezTo>
                    <a:pt x="1964" y="6646"/>
                    <a:pt x="2945" y="9138"/>
                    <a:pt x="3927" y="11631"/>
                  </a:cubicBezTo>
                  <a:cubicBezTo>
                    <a:pt x="5891" y="13292"/>
                    <a:pt x="6873" y="15785"/>
                    <a:pt x="8836" y="17446"/>
                  </a:cubicBezTo>
                  <a:cubicBezTo>
                    <a:pt x="11782" y="18277"/>
                    <a:pt x="14727" y="21600"/>
                    <a:pt x="18655" y="21600"/>
                  </a:cubicBezTo>
                  <a:cubicBezTo>
                    <a:pt x="21600" y="21600"/>
                    <a:pt x="20618" y="20769"/>
                    <a:pt x="19636" y="19108"/>
                  </a:cubicBezTo>
                  <a:cubicBezTo>
                    <a:pt x="17673" y="16615"/>
                    <a:pt x="15709" y="14954"/>
                    <a:pt x="15709" y="11631"/>
                  </a:cubicBezTo>
                  <a:cubicBezTo>
                    <a:pt x="15709" y="9138"/>
                    <a:pt x="17673" y="7477"/>
                    <a:pt x="15709" y="4985"/>
                  </a:cubicBezTo>
                  <a:cubicBezTo>
                    <a:pt x="14727" y="4154"/>
                    <a:pt x="10800" y="0"/>
                    <a:pt x="9818" y="2492"/>
                  </a:cubicBezTo>
                  <a:cubicBezTo>
                    <a:pt x="8836" y="3323"/>
                    <a:pt x="9818" y="1662"/>
                    <a:pt x="9818" y="249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7" name="Shape 2136">
              <a:extLst>
                <a:ext uri="{FF2B5EF4-FFF2-40B4-BE49-F238E27FC236}">
                  <a16:creationId xmlns:a16="http://schemas.microsoft.com/office/drawing/2014/main" id="{3F20EBE4-E530-289B-51FA-8B99772D3D55}"/>
                </a:ext>
              </a:extLst>
            </p:cNvPr>
            <p:cNvSpPr/>
            <p:nvPr/>
          </p:nvSpPr>
          <p:spPr>
            <a:xfrm>
              <a:off x="7927169" y="1800159"/>
              <a:ext cx="1962897" cy="1284087"/>
            </a:xfrm>
            <a:custGeom>
              <a:avLst/>
              <a:gdLst/>
              <a:ahLst/>
              <a:cxnLst>
                <a:cxn ang="0">
                  <a:pos x="wd2" y="hd2"/>
                </a:cxn>
                <a:cxn ang="5400000">
                  <a:pos x="wd2" y="hd2"/>
                </a:cxn>
                <a:cxn ang="10800000">
                  <a:pos x="wd2" y="hd2"/>
                </a:cxn>
                <a:cxn ang="16200000">
                  <a:pos x="wd2" y="hd2"/>
                </a:cxn>
              </a:cxnLst>
              <a:rect l="0" t="0" r="r" b="b"/>
              <a:pathLst>
                <a:path w="21462" h="21533" extrusionOk="0">
                  <a:moveTo>
                    <a:pt x="21398" y="4031"/>
                  </a:moveTo>
                  <a:cubicBezTo>
                    <a:pt x="21398" y="3810"/>
                    <a:pt x="21110" y="3921"/>
                    <a:pt x="21038" y="4031"/>
                  </a:cubicBezTo>
                  <a:cubicBezTo>
                    <a:pt x="20894" y="4031"/>
                    <a:pt x="20822" y="4142"/>
                    <a:pt x="20678" y="4253"/>
                  </a:cubicBezTo>
                  <a:cubicBezTo>
                    <a:pt x="20534" y="4364"/>
                    <a:pt x="20030" y="4364"/>
                    <a:pt x="20030" y="4031"/>
                  </a:cubicBezTo>
                  <a:cubicBezTo>
                    <a:pt x="19886" y="3588"/>
                    <a:pt x="19814" y="3367"/>
                    <a:pt x="19526" y="3145"/>
                  </a:cubicBezTo>
                  <a:cubicBezTo>
                    <a:pt x="19310" y="3035"/>
                    <a:pt x="18878" y="3035"/>
                    <a:pt x="18806" y="2591"/>
                  </a:cubicBezTo>
                  <a:cubicBezTo>
                    <a:pt x="18734" y="1927"/>
                    <a:pt x="18590" y="1151"/>
                    <a:pt x="18302" y="598"/>
                  </a:cubicBezTo>
                  <a:cubicBezTo>
                    <a:pt x="18086" y="265"/>
                    <a:pt x="17798" y="265"/>
                    <a:pt x="17510" y="44"/>
                  </a:cubicBezTo>
                  <a:cubicBezTo>
                    <a:pt x="17222" y="-67"/>
                    <a:pt x="16718" y="44"/>
                    <a:pt x="16430" y="265"/>
                  </a:cubicBezTo>
                  <a:cubicBezTo>
                    <a:pt x="16358" y="376"/>
                    <a:pt x="16214" y="487"/>
                    <a:pt x="16142" y="598"/>
                  </a:cubicBezTo>
                  <a:cubicBezTo>
                    <a:pt x="16142" y="708"/>
                    <a:pt x="16358" y="708"/>
                    <a:pt x="16358" y="819"/>
                  </a:cubicBezTo>
                  <a:cubicBezTo>
                    <a:pt x="16430" y="1262"/>
                    <a:pt x="16070" y="1595"/>
                    <a:pt x="15998" y="1927"/>
                  </a:cubicBezTo>
                  <a:cubicBezTo>
                    <a:pt x="15926" y="2038"/>
                    <a:pt x="15926" y="2148"/>
                    <a:pt x="15926" y="2259"/>
                  </a:cubicBezTo>
                  <a:cubicBezTo>
                    <a:pt x="15926" y="2370"/>
                    <a:pt x="15926" y="2370"/>
                    <a:pt x="15926" y="2481"/>
                  </a:cubicBezTo>
                  <a:cubicBezTo>
                    <a:pt x="15926" y="2702"/>
                    <a:pt x="15710" y="2702"/>
                    <a:pt x="15566" y="2813"/>
                  </a:cubicBezTo>
                  <a:cubicBezTo>
                    <a:pt x="15494" y="2813"/>
                    <a:pt x="15422" y="2924"/>
                    <a:pt x="15350" y="2924"/>
                  </a:cubicBezTo>
                  <a:cubicBezTo>
                    <a:pt x="15278" y="2924"/>
                    <a:pt x="14918" y="2702"/>
                    <a:pt x="14918" y="2702"/>
                  </a:cubicBezTo>
                  <a:cubicBezTo>
                    <a:pt x="14846" y="2924"/>
                    <a:pt x="14774" y="3256"/>
                    <a:pt x="14702" y="3478"/>
                  </a:cubicBezTo>
                  <a:cubicBezTo>
                    <a:pt x="14702" y="3588"/>
                    <a:pt x="14630" y="3699"/>
                    <a:pt x="14630" y="3810"/>
                  </a:cubicBezTo>
                  <a:cubicBezTo>
                    <a:pt x="14630" y="3810"/>
                    <a:pt x="14486" y="4475"/>
                    <a:pt x="14702" y="4253"/>
                  </a:cubicBezTo>
                  <a:cubicBezTo>
                    <a:pt x="14774" y="4142"/>
                    <a:pt x="14774" y="4142"/>
                    <a:pt x="14918" y="4142"/>
                  </a:cubicBezTo>
                  <a:cubicBezTo>
                    <a:pt x="14990" y="4142"/>
                    <a:pt x="15134" y="4364"/>
                    <a:pt x="15206" y="4253"/>
                  </a:cubicBezTo>
                  <a:cubicBezTo>
                    <a:pt x="15494" y="3921"/>
                    <a:pt x="15710" y="4142"/>
                    <a:pt x="15926" y="4585"/>
                  </a:cubicBezTo>
                  <a:cubicBezTo>
                    <a:pt x="15998" y="4696"/>
                    <a:pt x="16142" y="4918"/>
                    <a:pt x="16070" y="5028"/>
                  </a:cubicBezTo>
                  <a:cubicBezTo>
                    <a:pt x="16070" y="5028"/>
                    <a:pt x="15782" y="4918"/>
                    <a:pt x="15710" y="4918"/>
                  </a:cubicBezTo>
                  <a:cubicBezTo>
                    <a:pt x="15494" y="5028"/>
                    <a:pt x="15206" y="5028"/>
                    <a:pt x="14990" y="5139"/>
                  </a:cubicBezTo>
                  <a:cubicBezTo>
                    <a:pt x="14774" y="5250"/>
                    <a:pt x="14774" y="5915"/>
                    <a:pt x="14486" y="5915"/>
                  </a:cubicBezTo>
                  <a:cubicBezTo>
                    <a:pt x="14342" y="5915"/>
                    <a:pt x="14198" y="5804"/>
                    <a:pt x="14126" y="6025"/>
                  </a:cubicBezTo>
                  <a:cubicBezTo>
                    <a:pt x="14054" y="6136"/>
                    <a:pt x="13910" y="6358"/>
                    <a:pt x="13766" y="6358"/>
                  </a:cubicBezTo>
                  <a:cubicBezTo>
                    <a:pt x="13550" y="6247"/>
                    <a:pt x="13118" y="5804"/>
                    <a:pt x="13046" y="6468"/>
                  </a:cubicBezTo>
                  <a:cubicBezTo>
                    <a:pt x="13046" y="6690"/>
                    <a:pt x="13190" y="6801"/>
                    <a:pt x="13190" y="6911"/>
                  </a:cubicBezTo>
                  <a:cubicBezTo>
                    <a:pt x="13190" y="7133"/>
                    <a:pt x="12974" y="7133"/>
                    <a:pt x="12902" y="7244"/>
                  </a:cubicBezTo>
                  <a:cubicBezTo>
                    <a:pt x="12686" y="7576"/>
                    <a:pt x="12614" y="7908"/>
                    <a:pt x="12326" y="7908"/>
                  </a:cubicBezTo>
                  <a:cubicBezTo>
                    <a:pt x="11966" y="7908"/>
                    <a:pt x="11606" y="7908"/>
                    <a:pt x="11246" y="8019"/>
                  </a:cubicBezTo>
                  <a:cubicBezTo>
                    <a:pt x="11102" y="8130"/>
                    <a:pt x="10814" y="8573"/>
                    <a:pt x="10742" y="8462"/>
                  </a:cubicBezTo>
                  <a:cubicBezTo>
                    <a:pt x="10598" y="8462"/>
                    <a:pt x="10526" y="8241"/>
                    <a:pt x="10454" y="8241"/>
                  </a:cubicBezTo>
                  <a:cubicBezTo>
                    <a:pt x="10310" y="8241"/>
                    <a:pt x="10238" y="8241"/>
                    <a:pt x="10094" y="8241"/>
                  </a:cubicBezTo>
                  <a:cubicBezTo>
                    <a:pt x="9950" y="8130"/>
                    <a:pt x="9806" y="8130"/>
                    <a:pt x="9662" y="7908"/>
                  </a:cubicBezTo>
                  <a:cubicBezTo>
                    <a:pt x="9518" y="7798"/>
                    <a:pt x="9446" y="7798"/>
                    <a:pt x="9374" y="7687"/>
                  </a:cubicBezTo>
                  <a:cubicBezTo>
                    <a:pt x="9086" y="7687"/>
                    <a:pt x="8942" y="7687"/>
                    <a:pt x="8654" y="7687"/>
                  </a:cubicBezTo>
                  <a:cubicBezTo>
                    <a:pt x="8438" y="7687"/>
                    <a:pt x="8078" y="7798"/>
                    <a:pt x="7790" y="7687"/>
                  </a:cubicBezTo>
                  <a:cubicBezTo>
                    <a:pt x="7718" y="7687"/>
                    <a:pt x="7646" y="7465"/>
                    <a:pt x="7646" y="7355"/>
                  </a:cubicBezTo>
                  <a:cubicBezTo>
                    <a:pt x="7502" y="7133"/>
                    <a:pt x="7430" y="6911"/>
                    <a:pt x="7286" y="6690"/>
                  </a:cubicBezTo>
                  <a:cubicBezTo>
                    <a:pt x="7070" y="6468"/>
                    <a:pt x="6926" y="6136"/>
                    <a:pt x="6710" y="6136"/>
                  </a:cubicBezTo>
                  <a:cubicBezTo>
                    <a:pt x="6566" y="6136"/>
                    <a:pt x="5774" y="6136"/>
                    <a:pt x="5918" y="5693"/>
                  </a:cubicBezTo>
                  <a:cubicBezTo>
                    <a:pt x="6062" y="5250"/>
                    <a:pt x="5990" y="4475"/>
                    <a:pt x="5630" y="4142"/>
                  </a:cubicBezTo>
                  <a:cubicBezTo>
                    <a:pt x="5342" y="3810"/>
                    <a:pt x="4982" y="3810"/>
                    <a:pt x="4910" y="3145"/>
                  </a:cubicBezTo>
                  <a:cubicBezTo>
                    <a:pt x="4838" y="3256"/>
                    <a:pt x="4766" y="3145"/>
                    <a:pt x="4694" y="3256"/>
                  </a:cubicBezTo>
                  <a:cubicBezTo>
                    <a:pt x="4622" y="3367"/>
                    <a:pt x="4622" y="3367"/>
                    <a:pt x="4622" y="3478"/>
                  </a:cubicBezTo>
                  <a:cubicBezTo>
                    <a:pt x="4478" y="3810"/>
                    <a:pt x="4262" y="3699"/>
                    <a:pt x="4190" y="4031"/>
                  </a:cubicBezTo>
                  <a:cubicBezTo>
                    <a:pt x="4190" y="4253"/>
                    <a:pt x="4334" y="4475"/>
                    <a:pt x="4262" y="4585"/>
                  </a:cubicBezTo>
                  <a:cubicBezTo>
                    <a:pt x="4190" y="4696"/>
                    <a:pt x="4046" y="4807"/>
                    <a:pt x="3974" y="4807"/>
                  </a:cubicBezTo>
                  <a:cubicBezTo>
                    <a:pt x="3902" y="4918"/>
                    <a:pt x="3830" y="4696"/>
                    <a:pt x="3758" y="4807"/>
                  </a:cubicBezTo>
                  <a:cubicBezTo>
                    <a:pt x="3614" y="4807"/>
                    <a:pt x="3542" y="4696"/>
                    <a:pt x="3398" y="4585"/>
                  </a:cubicBezTo>
                  <a:cubicBezTo>
                    <a:pt x="3326" y="4475"/>
                    <a:pt x="3254" y="5028"/>
                    <a:pt x="3182" y="5139"/>
                  </a:cubicBezTo>
                  <a:cubicBezTo>
                    <a:pt x="3182" y="5250"/>
                    <a:pt x="3110" y="5471"/>
                    <a:pt x="3110" y="5582"/>
                  </a:cubicBezTo>
                  <a:cubicBezTo>
                    <a:pt x="3110" y="5804"/>
                    <a:pt x="3182" y="5804"/>
                    <a:pt x="3182" y="5915"/>
                  </a:cubicBezTo>
                  <a:cubicBezTo>
                    <a:pt x="3182" y="6136"/>
                    <a:pt x="2750" y="5915"/>
                    <a:pt x="2750" y="5915"/>
                  </a:cubicBezTo>
                  <a:cubicBezTo>
                    <a:pt x="2606" y="6025"/>
                    <a:pt x="2318" y="6025"/>
                    <a:pt x="2246" y="6136"/>
                  </a:cubicBezTo>
                  <a:cubicBezTo>
                    <a:pt x="2318" y="6025"/>
                    <a:pt x="2390" y="6801"/>
                    <a:pt x="2390" y="6911"/>
                  </a:cubicBezTo>
                  <a:cubicBezTo>
                    <a:pt x="2462" y="7022"/>
                    <a:pt x="2534" y="7133"/>
                    <a:pt x="2606" y="7244"/>
                  </a:cubicBezTo>
                  <a:cubicBezTo>
                    <a:pt x="2606" y="7355"/>
                    <a:pt x="2390" y="7576"/>
                    <a:pt x="2318" y="7687"/>
                  </a:cubicBezTo>
                  <a:cubicBezTo>
                    <a:pt x="2246" y="7798"/>
                    <a:pt x="2318" y="8130"/>
                    <a:pt x="2246" y="8130"/>
                  </a:cubicBezTo>
                  <a:cubicBezTo>
                    <a:pt x="2174" y="8241"/>
                    <a:pt x="2030" y="8241"/>
                    <a:pt x="1958" y="8351"/>
                  </a:cubicBezTo>
                  <a:cubicBezTo>
                    <a:pt x="1814" y="8462"/>
                    <a:pt x="1742" y="8573"/>
                    <a:pt x="1670" y="8684"/>
                  </a:cubicBezTo>
                  <a:cubicBezTo>
                    <a:pt x="1526" y="8684"/>
                    <a:pt x="1454" y="8684"/>
                    <a:pt x="1310" y="8795"/>
                  </a:cubicBezTo>
                  <a:cubicBezTo>
                    <a:pt x="1166" y="8795"/>
                    <a:pt x="1094" y="8905"/>
                    <a:pt x="1022" y="9127"/>
                  </a:cubicBezTo>
                  <a:cubicBezTo>
                    <a:pt x="1022" y="9127"/>
                    <a:pt x="734" y="9238"/>
                    <a:pt x="734" y="9238"/>
                  </a:cubicBezTo>
                  <a:cubicBezTo>
                    <a:pt x="734" y="9238"/>
                    <a:pt x="734" y="9127"/>
                    <a:pt x="734" y="9127"/>
                  </a:cubicBezTo>
                  <a:cubicBezTo>
                    <a:pt x="662" y="9127"/>
                    <a:pt x="590" y="9127"/>
                    <a:pt x="446" y="9127"/>
                  </a:cubicBezTo>
                  <a:cubicBezTo>
                    <a:pt x="374" y="9127"/>
                    <a:pt x="158" y="9348"/>
                    <a:pt x="158" y="9459"/>
                  </a:cubicBezTo>
                  <a:cubicBezTo>
                    <a:pt x="86" y="9681"/>
                    <a:pt x="14" y="9902"/>
                    <a:pt x="14" y="10013"/>
                  </a:cubicBezTo>
                  <a:cubicBezTo>
                    <a:pt x="-58" y="10235"/>
                    <a:pt x="158" y="10456"/>
                    <a:pt x="230" y="10456"/>
                  </a:cubicBezTo>
                  <a:cubicBezTo>
                    <a:pt x="446" y="10456"/>
                    <a:pt x="374" y="10456"/>
                    <a:pt x="446" y="10788"/>
                  </a:cubicBezTo>
                  <a:cubicBezTo>
                    <a:pt x="446" y="10899"/>
                    <a:pt x="518" y="10899"/>
                    <a:pt x="518" y="11121"/>
                  </a:cubicBezTo>
                  <a:cubicBezTo>
                    <a:pt x="518" y="11121"/>
                    <a:pt x="446" y="11342"/>
                    <a:pt x="446" y="11342"/>
                  </a:cubicBezTo>
                  <a:cubicBezTo>
                    <a:pt x="590" y="11453"/>
                    <a:pt x="662" y="11453"/>
                    <a:pt x="734" y="11564"/>
                  </a:cubicBezTo>
                  <a:cubicBezTo>
                    <a:pt x="878" y="11785"/>
                    <a:pt x="806" y="12007"/>
                    <a:pt x="950" y="12118"/>
                  </a:cubicBezTo>
                  <a:cubicBezTo>
                    <a:pt x="1094" y="12228"/>
                    <a:pt x="1238" y="12339"/>
                    <a:pt x="1382" y="12450"/>
                  </a:cubicBezTo>
                  <a:cubicBezTo>
                    <a:pt x="1454" y="12450"/>
                    <a:pt x="1526" y="12339"/>
                    <a:pt x="1598" y="12228"/>
                  </a:cubicBezTo>
                  <a:cubicBezTo>
                    <a:pt x="1814" y="12007"/>
                    <a:pt x="2174" y="12118"/>
                    <a:pt x="2318" y="12450"/>
                  </a:cubicBezTo>
                  <a:cubicBezTo>
                    <a:pt x="2390" y="12671"/>
                    <a:pt x="2246" y="12782"/>
                    <a:pt x="2174" y="12893"/>
                  </a:cubicBezTo>
                  <a:cubicBezTo>
                    <a:pt x="2102" y="13004"/>
                    <a:pt x="2102" y="13004"/>
                    <a:pt x="2102" y="13115"/>
                  </a:cubicBezTo>
                  <a:cubicBezTo>
                    <a:pt x="2030" y="13336"/>
                    <a:pt x="1958" y="13336"/>
                    <a:pt x="1886" y="13336"/>
                  </a:cubicBezTo>
                  <a:cubicBezTo>
                    <a:pt x="1670" y="13558"/>
                    <a:pt x="2246" y="13890"/>
                    <a:pt x="2030" y="14111"/>
                  </a:cubicBezTo>
                  <a:cubicBezTo>
                    <a:pt x="1958" y="14333"/>
                    <a:pt x="1886" y="14222"/>
                    <a:pt x="1742" y="14222"/>
                  </a:cubicBezTo>
                  <a:cubicBezTo>
                    <a:pt x="1454" y="14111"/>
                    <a:pt x="1814" y="14555"/>
                    <a:pt x="1814" y="14555"/>
                  </a:cubicBezTo>
                  <a:cubicBezTo>
                    <a:pt x="1814" y="14776"/>
                    <a:pt x="1742" y="14887"/>
                    <a:pt x="1886" y="14887"/>
                  </a:cubicBezTo>
                  <a:cubicBezTo>
                    <a:pt x="2030" y="14998"/>
                    <a:pt x="2030" y="15108"/>
                    <a:pt x="2174" y="15219"/>
                  </a:cubicBezTo>
                  <a:cubicBezTo>
                    <a:pt x="2318" y="15219"/>
                    <a:pt x="2390" y="15441"/>
                    <a:pt x="2534" y="15551"/>
                  </a:cubicBezTo>
                  <a:cubicBezTo>
                    <a:pt x="2534" y="15551"/>
                    <a:pt x="2606" y="15662"/>
                    <a:pt x="2678" y="15662"/>
                  </a:cubicBezTo>
                  <a:cubicBezTo>
                    <a:pt x="2750" y="15662"/>
                    <a:pt x="2678" y="15441"/>
                    <a:pt x="2822" y="15441"/>
                  </a:cubicBezTo>
                  <a:cubicBezTo>
                    <a:pt x="3110" y="15441"/>
                    <a:pt x="3254" y="16216"/>
                    <a:pt x="3542" y="16216"/>
                  </a:cubicBezTo>
                  <a:cubicBezTo>
                    <a:pt x="3686" y="16216"/>
                    <a:pt x="3686" y="16548"/>
                    <a:pt x="3830" y="16548"/>
                  </a:cubicBezTo>
                  <a:cubicBezTo>
                    <a:pt x="3974" y="16659"/>
                    <a:pt x="4046" y="16881"/>
                    <a:pt x="4118" y="16881"/>
                  </a:cubicBezTo>
                  <a:cubicBezTo>
                    <a:pt x="4262" y="16659"/>
                    <a:pt x="4262" y="16991"/>
                    <a:pt x="4406" y="16991"/>
                  </a:cubicBezTo>
                  <a:cubicBezTo>
                    <a:pt x="4478" y="16991"/>
                    <a:pt x="4478" y="16881"/>
                    <a:pt x="4550" y="16881"/>
                  </a:cubicBezTo>
                  <a:cubicBezTo>
                    <a:pt x="4622" y="16881"/>
                    <a:pt x="4622" y="16991"/>
                    <a:pt x="4694" y="17102"/>
                  </a:cubicBezTo>
                  <a:cubicBezTo>
                    <a:pt x="4838" y="17102"/>
                    <a:pt x="4982" y="17102"/>
                    <a:pt x="5126" y="16991"/>
                  </a:cubicBezTo>
                  <a:cubicBezTo>
                    <a:pt x="5342" y="16881"/>
                    <a:pt x="5198" y="17102"/>
                    <a:pt x="5270" y="17213"/>
                  </a:cubicBezTo>
                  <a:cubicBezTo>
                    <a:pt x="5270" y="17213"/>
                    <a:pt x="5414" y="16881"/>
                    <a:pt x="5486" y="16881"/>
                  </a:cubicBezTo>
                  <a:cubicBezTo>
                    <a:pt x="5558" y="16770"/>
                    <a:pt x="5702" y="16770"/>
                    <a:pt x="5774" y="16881"/>
                  </a:cubicBezTo>
                  <a:cubicBezTo>
                    <a:pt x="5918" y="17102"/>
                    <a:pt x="6062" y="16881"/>
                    <a:pt x="6206" y="16991"/>
                  </a:cubicBezTo>
                  <a:cubicBezTo>
                    <a:pt x="6350" y="17102"/>
                    <a:pt x="6494" y="16881"/>
                    <a:pt x="6566" y="16659"/>
                  </a:cubicBezTo>
                  <a:cubicBezTo>
                    <a:pt x="6638" y="16659"/>
                    <a:pt x="6638" y="16548"/>
                    <a:pt x="6710" y="16548"/>
                  </a:cubicBezTo>
                  <a:cubicBezTo>
                    <a:pt x="6782" y="16438"/>
                    <a:pt x="6854" y="16548"/>
                    <a:pt x="6926" y="16438"/>
                  </a:cubicBezTo>
                  <a:cubicBezTo>
                    <a:pt x="6998" y="16327"/>
                    <a:pt x="7070" y="16105"/>
                    <a:pt x="7214" y="16216"/>
                  </a:cubicBezTo>
                  <a:cubicBezTo>
                    <a:pt x="7358" y="16327"/>
                    <a:pt x="7358" y="16327"/>
                    <a:pt x="7574" y="16105"/>
                  </a:cubicBezTo>
                  <a:cubicBezTo>
                    <a:pt x="7646" y="15995"/>
                    <a:pt x="7790" y="16327"/>
                    <a:pt x="7790" y="16438"/>
                  </a:cubicBezTo>
                  <a:cubicBezTo>
                    <a:pt x="7718" y="16659"/>
                    <a:pt x="7574" y="16770"/>
                    <a:pt x="7718" y="16770"/>
                  </a:cubicBezTo>
                  <a:cubicBezTo>
                    <a:pt x="7934" y="16770"/>
                    <a:pt x="7934" y="16770"/>
                    <a:pt x="8150" y="16659"/>
                  </a:cubicBezTo>
                  <a:cubicBezTo>
                    <a:pt x="8222" y="16659"/>
                    <a:pt x="8294" y="16991"/>
                    <a:pt x="8294" y="17102"/>
                  </a:cubicBezTo>
                  <a:cubicBezTo>
                    <a:pt x="8294" y="17102"/>
                    <a:pt x="8294" y="17324"/>
                    <a:pt x="8366" y="17213"/>
                  </a:cubicBezTo>
                  <a:cubicBezTo>
                    <a:pt x="8366" y="17213"/>
                    <a:pt x="8510" y="17213"/>
                    <a:pt x="8510" y="17324"/>
                  </a:cubicBezTo>
                  <a:cubicBezTo>
                    <a:pt x="8510" y="17435"/>
                    <a:pt x="8366" y="17545"/>
                    <a:pt x="8438" y="17656"/>
                  </a:cubicBezTo>
                  <a:cubicBezTo>
                    <a:pt x="8510" y="17878"/>
                    <a:pt x="8438" y="18210"/>
                    <a:pt x="8366" y="18321"/>
                  </a:cubicBezTo>
                  <a:cubicBezTo>
                    <a:pt x="8294" y="18542"/>
                    <a:pt x="8150" y="18653"/>
                    <a:pt x="8078" y="18764"/>
                  </a:cubicBezTo>
                  <a:cubicBezTo>
                    <a:pt x="8078" y="18875"/>
                    <a:pt x="8078" y="19428"/>
                    <a:pt x="8006" y="19318"/>
                  </a:cubicBezTo>
                  <a:cubicBezTo>
                    <a:pt x="8078" y="19428"/>
                    <a:pt x="8510" y="19096"/>
                    <a:pt x="8582" y="19318"/>
                  </a:cubicBezTo>
                  <a:cubicBezTo>
                    <a:pt x="8582" y="19318"/>
                    <a:pt x="8438" y="19428"/>
                    <a:pt x="8510" y="19650"/>
                  </a:cubicBezTo>
                  <a:cubicBezTo>
                    <a:pt x="8582" y="19871"/>
                    <a:pt x="8798" y="19871"/>
                    <a:pt x="8726" y="19982"/>
                  </a:cubicBezTo>
                  <a:cubicBezTo>
                    <a:pt x="8726" y="20093"/>
                    <a:pt x="8654" y="20315"/>
                    <a:pt x="8654" y="20425"/>
                  </a:cubicBezTo>
                  <a:cubicBezTo>
                    <a:pt x="8726" y="20536"/>
                    <a:pt x="8942" y="20425"/>
                    <a:pt x="8942" y="20536"/>
                  </a:cubicBezTo>
                  <a:cubicBezTo>
                    <a:pt x="8942" y="20536"/>
                    <a:pt x="8942" y="20647"/>
                    <a:pt x="8942" y="20647"/>
                  </a:cubicBezTo>
                  <a:cubicBezTo>
                    <a:pt x="8942" y="20868"/>
                    <a:pt x="9014" y="20758"/>
                    <a:pt x="9086" y="20758"/>
                  </a:cubicBezTo>
                  <a:cubicBezTo>
                    <a:pt x="9158" y="20758"/>
                    <a:pt x="9230" y="20647"/>
                    <a:pt x="9302" y="20758"/>
                  </a:cubicBezTo>
                  <a:cubicBezTo>
                    <a:pt x="9374" y="20758"/>
                    <a:pt x="9446" y="20868"/>
                    <a:pt x="9518" y="20979"/>
                  </a:cubicBezTo>
                  <a:cubicBezTo>
                    <a:pt x="9662" y="21090"/>
                    <a:pt x="9590" y="20647"/>
                    <a:pt x="9590" y="20536"/>
                  </a:cubicBezTo>
                  <a:cubicBezTo>
                    <a:pt x="9446" y="20093"/>
                    <a:pt x="9590" y="20315"/>
                    <a:pt x="9734" y="20093"/>
                  </a:cubicBezTo>
                  <a:cubicBezTo>
                    <a:pt x="9878" y="19982"/>
                    <a:pt x="9806" y="20093"/>
                    <a:pt x="9950" y="20204"/>
                  </a:cubicBezTo>
                  <a:cubicBezTo>
                    <a:pt x="9950" y="20204"/>
                    <a:pt x="10094" y="20093"/>
                    <a:pt x="10094" y="20093"/>
                  </a:cubicBezTo>
                  <a:cubicBezTo>
                    <a:pt x="10094" y="20204"/>
                    <a:pt x="10238" y="19982"/>
                    <a:pt x="10238" y="20093"/>
                  </a:cubicBezTo>
                  <a:cubicBezTo>
                    <a:pt x="10310" y="20204"/>
                    <a:pt x="10310" y="20315"/>
                    <a:pt x="10454" y="20093"/>
                  </a:cubicBezTo>
                  <a:cubicBezTo>
                    <a:pt x="10526" y="19982"/>
                    <a:pt x="10526" y="20093"/>
                    <a:pt x="10598" y="19982"/>
                  </a:cubicBezTo>
                  <a:cubicBezTo>
                    <a:pt x="10670" y="19871"/>
                    <a:pt x="10670" y="19650"/>
                    <a:pt x="10814" y="19650"/>
                  </a:cubicBezTo>
                  <a:cubicBezTo>
                    <a:pt x="10886" y="19650"/>
                    <a:pt x="10958" y="19871"/>
                    <a:pt x="11102" y="19871"/>
                  </a:cubicBezTo>
                  <a:cubicBezTo>
                    <a:pt x="11102" y="19871"/>
                    <a:pt x="11390" y="19982"/>
                    <a:pt x="11390" y="19982"/>
                  </a:cubicBezTo>
                  <a:cubicBezTo>
                    <a:pt x="11390" y="20093"/>
                    <a:pt x="11246" y="20204"/>
                    <a:pt x="11246" y="20315"/>
                  </a:cubicBezTo>
                  <a:cubicBezTo>
                    <a:pt x="11318" y="20425"/>
                    <a:pt x="11462" y="20536"/>
                    <a:pt x="11534" y="20647"/>
                  </a:cubicBezTo>
                  <a:cubicBezTo>
                    <a:pt x="11678" y="20758"/>
                    <a:pt x="11966" y="20868"/>
                    <a:pt x="12038" y="20536"/>
                  </a:cubicBezTo>
                  <a:cubicBezTo>
                    <a:pt x="12038" y="20536"/>
                    <a:pt x="12182" y="20758"/>
                    <a:pt x="12182" y="20758"/>
                  </a:cubicBezTo>
                  <a:cubicBezTo>
                    <a:pt x="12254" y="20868"/>
                    <a:pt x="12326" y="20647"/>
                    <a:pt x="12470" y="20758"/>
                  </a:cubicBezTo>
                  <a:cubicBezTo>
                    <a:pt x="12542" y="20868"/>
                    <a:pt x="12398" y="20979"/>
                    <a:pt x="12398" y="21090"/>
                  </a:cubicBezTo>
                  <a:cubicBezTo>
                    <a:pt x="12398" y="21201"/>
                    <a:pt x="12542" y="21422"/>
                    <a:pt x="12542" y="21533"/>
                  </a:cubicBezTo>
                  <a:cubicBezTo>
                    <a:pt x="12614" y="21533"/>
                    <a:pt x="12686" y="21422"/>
                    <a:pt x="12758" y="21422"/>
                  </a:cubicBezTo>
                  <a:cubicBezTo>
                    <a:pt x="12758" y="21311"/>
                    <a:pt x="12542" y="21201"/>
                    <a:pt x="12614" y="21090"/>
                  </a:cubicBezTo>
                  <a:cubicBezTo>
                    <a:pt x="12758" y="20758"/>
                    <a:pt x="12902" y="20758"/>
                    <a:pt x="13118" y="20647"/>
                  </a:cubicBezTo>
                  <a:cubicBezTo>
                    <a:pt x="13262" y="20536"/>
                    <a:pt x="13406" y="20536"/>
                    <a:pt x="13550" y="20536"/>
                  </a:cubicBezTo>
                  <a:cubicBezTo>
                    <a:pt x="13622" y="20536"/>
                    <a:pt x="13622" y="20315"/>
                    <a:pt x="13694" y="20315"/>
                  </a:cubicBezTo>
                  <a:cubicBezTo>
                    <a:pt x="13838" y="20315"/>
                    <a:pt x="13766" y="20204"/>
                    <a:pt x="13766" y="20093"/>
                  </a:cubicBezTo>
                  <a:cubicBezTo>
                    <a:pt x="13766" y="20204"/>
                    <a:pt x="14054" y="20093"/>
                    <a:pt x="14054" y="20093"/>
                  </a:cubicBezTo>
                  <a:cubicBezTo>
                    <a:pt x="14198" y="19982"/>
                    <a:pt x="14342" y="20093"/>
                    <a:pt x="14486" y="20093"/>
                  </a:cubicBezTo>
                  <a:cubicBezTo>
                    <a:pt x="14630" y="20093"/>
                    <a:pt x="14702" y="19982"/>
                    <a:pt x="14846" y="19871"/>
                  </a:cubicBezTo>
                  <a:cubicBezTo>
                    <a:pt x="14918" y="19871"/>
                    <a:pt x="14918" y="19539"/>
                    <a:pt x="14990" y="19539"/>
                  </a:cubicBezTo>
                  <a:cubicBezTo>
                    <a:pt x="15134" y="19539"/>
                    <a:pt x="15206" y="19428"/>
                    <a:pt x="15278" y="19318"/>
                  </a:cubicBezTo>
                  <a:cubicBezTo>
                    <a:pt x="15350" y="19318"/>
                    <a:pt x="15422" y="19207"/>
                    <a:pt x="15422" y="19096"/>
                  </a:cubicBezTo>
                  <a:cubicBezTo>
                    <a:pt x="15350" y="19096"/>
                    <a:pt x="15638" y="18985"/>
                    <a:pt x="15638" y="18985"/>
                  </a:cubicBezTo>
                  <a:cubicBezTo>
                    <a:pt x="15710" y="18875"/>
                    <a:pt x="15782" y="18653"/>
                    <a:pt x="15854" y="18542"/>
                  </a:cubicBezTo>
                  <a:cubicBezTo>
                    <a:pt x="15926" y="18431"/>
                    <a:pt x="15926" y="18431"/>
                    <a:pt x="15926" y="18321"/>
                  </a:cubicBezTo>
                  <a:cubicBezTo>
                    <a:pt x="15998" y="18099"/>
                    <a:pt x="15854" y="18210"/>
                    <a:pt x="15854" y="18099"/>
                  </a:cubicBezTo>
                  <a:cubicBezTo>
                    <a:pt x="15854" y="18099"/>
                    <a:pt x="16214" y="18099"/>
                    <a:pt x="15998" y="17878"/>
                  </a:cubicBezTo>
                  <a:cubicBezTo>
                    <a:pt x="15926" y="17767"/>
                    <a:pt x="15998" y="17767"/>
                    <a:pt x="16070" y="17767"/>
                  </a:cubicBezTo>
                  <a:cubicBezTo>
                    <a:pt x="16142" y="17767"/>
                    <a:pt x="16142" y="17656"/>
                    <a:pt x="16214" y="17545"/>
                  </a:cubicBezTo>
                  <a:cubicBezTo>
                    <a:pt x="16286" y="17435"/>
                    <a:pt x="16286" y="17324"/>
                    <a:pt x="16358" y="17213"/>
                  </a:cubicBezTo>
                  <a:cubicBezTo>
                    <a:pt x="16358" y="17213"/>
                    <a:pt x="16358" y="16991"/>
                    <a:pt x="16358" y="16991"/>
                  </a:cubicBezTo>
                  <a:cubicBezTo>
                    <a:pt x="16430" y="16881"/>
                    <a:pt x="16502" y="16881"/>
                    <a:pt x="16574" y="16770"/>
                  </a:cubicBezTo>
                  <a:cubicBezTo>
                    <a:pt x="16646" y="16659"/>
                    <a:pt x="16574" y="16548"/>
                    <a:pt x="16574" y="16548"/>
                  </a:cubicBezTo>
                  <a:cubicBezTo>
                    <a:pt x="16574" y="16438"/>
                    <a:pt x="16646" y="16438"/>
                    <a:pt x="16646" y="16438"/>
                  </a:cubicBezTo>
                  <a:cubicBezTo>
                    <a:pt x="16718" y="16438"/>
                    <a:pt x="16646" y="16216"/>
                    <a:pt x="16646" y="16216"/>
                  </a:cubicBezTo>
                  <a:cubicBezTo>
                    <a:pt x="16646" y="16216"/>
                    <a:pt x="16790" y="16327"/>
                    <a:pt x="16790" y="16216"/>
                  </a:cubicBezTo>
                  <a:cubicBezTo>
                    <a:pt x="16934" y="16105"/>
                    <a:pt x="16790" y="16105"/>
                    <a:pt x="16718" y="15995"/>
                  </a:cubicBezTo>
                  <a:cubicBezTo>
                    <a:pt x="16718" y="15995"/>
                    <a:pt x="16934" y="15773"/>
                    <a:pt x="16934" y="15773"/>
                  </a:cubicBezTo>
                  <a:cubicBezTo>
                    <a:pt x="16862" y="15995"/>
                    <a:pt x="16646" y="15662"/>
                    <a:pt x="16574" y="15551"/>
                  </a:cubicBezTo>
                  <a:cubicBezTo>
                    <a:pt x="16574" y="15551"/>
                    <a:pt x="16502" y="15662"/>
                    <a:pt x="16430" y="15662"/>
                  </a:cubicBezTo>
                  <a:cubicBezTo>
                    <a:pt x="16358" y="15773"/>
                    <a:pt x="16286" y="15551"/>
                    <a:pt x="16214" y="15662"/>
                  </a:cubicBezTo>
                  <a:cubicBezTo>
                    <a:pt x="16358" y="15551"/>
                    <a:pt x="16502" y="15441"/>
                    <a:pt x="16574" y="15330"/>
                  </a:cubicBezTo>
                  <a:cubicBezTo>
                    <a:pt x="16646" y="15219"/>
                    <a:pt x="16862" y="15219"/>
                    <a:pt x="16718" y="14998"/>
                  </a:cubicBezTo>
                  <a:cubicBezTo>
                    <a:pt x="16574" y="14887"/>
                    <a:pt x="16502" y="14776"/>
                    <a:pt x="16358" y="14555"/>
                  </a:cubicBezTo>
                  <a:cubicBezTo>
                    <a:pt x="16358" y="14444"/>
                    <a:pt x="15998" y="14665"/>
                    <a:pt x="15998" y="14333"/>
                  </a:cubicBezTo>
                  <a:cubicBezTo>
                    <a:pt x="15998" y="14555"/>
                    <a:pt x="16358" y="14555"/>
                    <a:pt x="16430" y="14555"/>
                  </a:cubicBezTo>
                  <a:cubicBezTo>
                    <a:pt x="16502" y="14555"/>
                    <a:pt x="16718" y="14887"/>
                    <a:pt x="16790" y="14665"/>
                  </a:cubicBezTo>
                  <a:cubicBezTo>
                    <a:pt x="16862" y="14444"/>
                    <a:pt x="16430" y="14222"/>
                    <a:pt x="16430" y="14001"/>
                  </a:cubicBezTo>
                  <a:cubicBezTo>
                    <a:pt x="16358" y="13779"/>
                    <a:pt x="16358" y="13336"/>
                    <a:pt x="16214" y="13225"/>
                  </a:cubicBezTo>
                  <a:cubicBezTo>
                    <a:pt x="16142" y="13004"/>
                    <a:pt x="15710" y="13004"/>
                    <a:pt x="15854" y="12671"/>
                  </a:cubicBezTo>
                  <a:cubicBezTo>
                    <a:pt x="15926" y="12450"/>
                    <a:pt x="15998" y="12339"/>
                    <a:pt x="16070" y="12228"/>
                  </a:cubicBezTo>
                  <a:cubicBezTo>
                    <a:pt x="16214" y="12007"/>
                    <a:pt x="16070" y="12118"/>
                    <a:pt x="16142" y="12007"/>
                  </a:cubicBezTo>
                  <a:cubicBezTo>
                    <a:pt x="16142" y="11896"/>
                    <a:pt x="16358" y="12007"/>
                    <a:pt x="16358" y="12007"/>
                  </a:cubicBezTo>
                  <a:cubicBezTo>
                    <a:pt x="16430" y="11896"/>
                    <a:pt x="16286" y="11785"/>
                    <a:pt x="16430" y="11675"/>
                  </a:cubicBezTo>
                  <a:cubicBezTo>
                    <a:pt x="16574" y="11675"/>
                    <a:pt x="16646" y="11564"/>
                    <a:pt x="16718" y="11453"/>
                  </a:cubicBezTo>
                  <a:cubicBezTo>
                    <a:pt x="16790" y="11453"/>
                    <a:pt x="16862" y="11453"/>
                    <a:pt x="16862" y="11453"/>
                  </a:cubicBezTo>
                  <a:cubicBezTo>
                    <a:pt x="16934" y="11453"/>
                    <a:pt x="16862" y="11564"/>
                    <a:pt x="16934" y="11564"/>
                  </a:cubicBezTo>
                  <a:cubicBezTo>
                    <a:pt x="17006" y="11675"/>
                    <a:pt x="17078" y="11342"/>
                    <a:pt x="17078" y="11231"/>
                  </a:cubicBezTo>
                  <a:cubicBezTo>
                    <a:pt x="16934" y="11010"/>
                    <a:pt x="16790" y="11121"/>
                    <a:pt x="16718" y="11121"/>
                  </a:cubicBezTo>
                  <a:cubicBezTo>
                    <a:pt x="16574" y="11121"/>
                    <a:pt x="16502" y="10899"/>
                    <a:pt x="16358" y="11010"/>
                  </a:cubicBezTo>
                  <a:cubicBezTo>
                    <a:pt x="16286" y="11010"/>
                    <a:pt x="16214" y="11231"/>
                    <a:pt x="16070" y="11231"/>
                  </a:cubicBezTo>
                  <a:cubicBezTo>
                    <a:pt x="15998" y="11342"/>
                    <a:pt x="15854" y="11342"/>
                    <a:pt x="15782" y="11231"/>
                  </a:cubicBezTo>
                  <a:cubicBezTo>
                    <a:pt x="15710" y="11121"/>
                    <a:pt x="15854" y="10899"/>
                    <a:pt x="15782" y="10788"/>
                  </a:cubicBezTo>
                  <a:cubicBezTo>
                    <a:pt x="15638" y="10678"/>
                    <a:pt x="15062" y="10678"/>
                    <a:pt x="15278" y="10124"/>
                  </a:cubicBezTo>
                  <a:cubicBezTo>
                    <a:pt x="15350" y="10013"/>
                    <a:pt x="15422" y="10124"/>
                    <a:pt x="15566" y="10124"/>
                  </a:cubicBezTo>
                  <a:cubicBezTo>
                    <a:pt x="15638" y="10124"/>
                    <a:pt x="15782" y="10013"/>
                    <a:pt x="15854" y="9902"/>
                  </a:cubicBezTo>
                  <a:cubicBezTo>
                    <a:pt x="15998" y="9570"/>
                    <a:pt x="16214" y="9348"/>
                    <a:pt x="16430" y="9127"/>
                  </a:cubicBezTo>
                  <a:cubicBezTo>
                    <a:pt x="16502" y="8905"/>
                    <a:pt x="16574" y="8905"/>
                    <a:pt x="16718" y="8905"/>
                  </a:cubicBezTo>
                  <a:cubicBezTo>
                    <a:pt x="16718" y="9016"/>
                    <a:pt x="16934" y="9016"/>
                    <a:pt x="16934" y="9127"/>
                  </a:cubicBezTo>
                  <a:cubicBezTo>
                    <a:pt x="16862" y="9238"/>
                    <a:pt x="16862" y="9459"/>
                    <a:pt x="16790" y="9570"/>
                  </a:cubicBezTo>
                  <a:cubicBezTo>
                    <a:pt x="16718" y="9570"/>
                    <a:pt x="16574" y="9681"/>
                    <a:pt x="16574" y="9791"/>
                  </a:cubicBezTo>
                  <a:cubicBezTo>
                    <a:pt x="16574" y="9902"/>
                    <a:pt x="16790" y="9902"/>
                    <a:pt x="16790" y="9902"/>
                  </a:cubicBezTo>
                  <a:cubicBezTo>
                    <a:pt x="16790" y="9902"/>
                    <a:pt x="16502" y="10235"/>
                    <a:pt x="16574" y="10235"/>
                  </a:cubicBezTo>
                  <a:cubicBezTo>
                    <a:pt x="16646" y="10345"/>
                    <a:pt x="17006" y="9791"/>
                    <a:pt x="17078" y="9791"/>
                  </a:cubicBezTo>
                  <a:cubicBezTo>
                    <a:pt x="17222" y="9681"/>
                    <a:pt x="17366" y="9570"/>
                    <a:pt x="17510" y="9570"/>
                  </a:cubicBezTo>
                  <a:cubicBezTo>
                    <a:pt x="17654" y="9570"/>
                    <a:pt x="17654" y="9570"/>
                    <a:pt x="17726" y="9348"/>
                  </a:cubicBezTo>
                  <a:cubicBezTo>
                    <a:pt x="17870" y="9238"/>
                    <a:pt x="18086" y="9127"/>
                    <a:pt x="18230" y="8905"/>
                  </a:cubicBezTo>
                  <a:cubicBezTo>
                    <a:pt x="18302" y="8795"/>
                    <a:pt x="18446" y="8462"/>
                    <a:pt x="18590" y="8462"/>
                  </a:cubicBezTo>
                  <a:cubicBezTo>
                    <a:pt x="18662" y="8351"/>
                    <a:pt x="19094" y="8795"/>
                    <a:pt x="19094" y="8462"/>
                  </a:cubicBezTo>
                  <a:cubicBezTo>
                    <a:pt x="19094" y="8351"/>
                    <a:pt x="19022" y="8241"/>
                    <a:pt x="19094" y="8130"/>
                  </a:cubicBezTo>
                  <a:cubicBezTo>
                    <a:pt x="19166" y="8130"/>
                    <a:pt x="19238" y="8130"/>
                    <a:pt x="19310" y="8130"/>
                  </a:cubicBezTo>
                  <a:cubicBezTo>
                    <a:pt x="19454" y="8130"/>
                    <a:pt x="19382" y="8019"/>
                    <a:pt x="19454" y="7908"/>
                  </a:cubicBezTo>
                  <a:cubicBezTo>
                    <a:pt x="19598" y="7798"/>
                    <a:pt x="19670" y="7908"/>
                    <a:pt x="19670" y="7687"/>
                  </a:cubicBezTo>
                  <a:cubicBezTo>
                    <a:pt x="19670" y="7355"/>
                    <a:pt x="19886" y="7687"/>
                    <a:pt x="19958" y="7798"/>
                  </a:cubicBezTo>
                  <a:cubicBezTo>
                    <a:pt x="19958" y="7576"/>
                    <a:pt x="20174" y="7576"/>
                    <a:pt x="20174" y="7355"/>
                  </a:cubicBezTo>
                  <a:cubicBezTo>
                    <a:pt x="20174" y="7133"/>
                    <a:pt x="20246" y="6801"/>
                    <a:pt x="20174" y="6579"/>
                  </a:cubicBezTo>
                  <a:cubicBezTo>
                    <a:pt x="20030" y="6247"/>
                    <a:pt x="20102" y="6358"/>
                    <a:pt x="20246" y="6136"/>
                  </a:cubicBezTo>
                  <a:cubicBezTo>
                    <a:pt x="20390" y="6025"/>
                    <a:pt x="20462" y="5915"/>
                    <a:pt x="20606" y="6025"/>
                  </a:cubicBezTo>
                  <a:cubicBezTo>
                    <a:pt x="20822" y="6136"/>
                    <a:pt x="20822" y="6136"/>
                    <a:pt x="20894" y="5804"/>
                  </a:cubicBezTo>
                  <a:cubicBezTo>
                    <a:pt x="20966" y="5582"/>
                    <a:pt x="21110" y="5471"/>
                    <a:pt x="21182" y="5139"/>
                  </a:cubicBezTo>
                  <a:cubicBezTo>
                    <a:pt x="21182" y="4918"/>
                    <a:pt x="21254" y="4696"/>
                    <a:pt x="21398" y="4475"/>
                  </a:cubicBezTo>
                  <a:cubicBezTo>
                    <a:pt x="21542" y="4253"/>
                    <a:pt x="21398" y="4253"/>
                    <a:pt x="21398" y="4031"/>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A3C3EB"/>
                  </a:solidFill>
                  <a:latin typeface="Lato Light"/>
                  <a:ea typeface="Lato Light"/>
                  <a:cs typeface="Lato Light"/>
                  <a:sym typeface="Lato Light"/>
                </a:defRPr>
              </a:pPr>
              <a:endParaRPr sz="3600" b="0" i="0">
                <a:solidFill>
                  <a:srgbClr val="A3C3EB"/>
                </a:solidFill>
                <a:latin typeface="DM Sans" pitchFamily="2" charset="77"/>
                <a:ea typeface="Lato Light"/>
                <a:cs typeface="Lato Light"/>
                <a:sym typeface="Lato Light"/>
              </a:endParaRPr>
            </a:p>
          </p:txBody>
        </p:sp>
        <p:sp>
          <p:nvSpPr>
            <p:cNvPr id="318" name="Shape 2137">
              <a:extLst>
                <a:ext uri="{FF2B5EF4-FFF2-40B4-BE49-F238E27FC236}">
                  <a16:creationId xmlns:a16="http://schemas.microsoft.com/office/drawing/2014/main" id="{BF722803-FBBF-C30C-A607-C00FA79C185C}"/>
                </a:ext>
              </a:extLst>
            </p:cNvPr>
            <p:cNvSpPr/>
            <p:nvPr/>
          </p:nvSpPr>
          <p:spPr>
            <a:xfrm>
              <a:off x="8375886" y="1866601"/>
              <a:ext cx="1019533" cy="439093"/>
            </a:xfrm>
            <a:custGeom>
              <a:avLst/>
              <a:gdLst/>
              <a:ahLst/>
              <a:cxnLst>
                <a:cxn ang="0">
                  <a:pos x="wd2" y="hd2"/>
                </a:cxn>
                <a:cxn ang="5400000">
                  <a:pos x="wd2" y="hd2"/>
                </a:cxn>
                <a:cxn ang="10800000">
                  <a:pos x="wd2" y="hd2"/>
                </a:cxn>
                <a:cxn ang="16200000">
                  <a:pos x="wd2" y="hd2"/>
                </a:cxn>
              </a:cxnLst>
              <a:rect l="0" t="0" r="r" b="b"/>
              <a:pathLst>
                <a:path w="21302" h="21095" extrusionOk="0">
                  <a:moveTo>
                    <a:pt x="0" y="5782"/>
                  </a:moveTo>
                  <a:cubicBezTo>
                    <a:pt x="138" y="7053"/>
                    <a:pt x="413" y="7688"/>
                    <a:pt x="963" y="8006"/>
                  </a:cubicBezTo>
                  <a:cubicBezTo>
                    <a:pt x="1238" y="8323"/>
                    <a:pt x="1376" y="8641"/>
                    <a:pt x="1651" y="8959"/>
                  </a:cubicBezTo>
                  <a:cubicBezTo>
                    <a:pt x="1789" y="9594"/>
                    <a:pt x="1926" y="10547"/>
                    <a:pt x="2064" y="11182"/>
                  </a:cubicBezTo>
                  <a:cubicBezTo>
                    <a:pt x="2201" y="11500"/>
                    <a:pt x="2064" y="11500"/>
                    <a:pt x="2064" y="11818"/>
                  </a:cubicBezTo>
                  <a:cubicBezTo>
                    <a:pt x="1926" y="11818"/>
                    <a:pt x="2064" y="12135"/>
                    <a:pt x="2064" y="12453"/>
                  </a:cubicBezTo>
                  <a:cubicBezTo>
                    <a:pt x="1926" y="13406"/>
                    <a:pt x="1789" y="13406"/>
                    <a:pt x="2201" y="14041"/>
                  </a:cubicBezTo>
                  <a:cubicBezTo>
                    <a:pt x="2752" y="14359"/>
                    <a:pt x="3302" y="14041"/>
                    <a:pt x="3852" y="14676"/>
                  </a:cubicBezTo>
                  <a:cubicBezTo>
                    <a:pt x="4127" y="15312"/>
                    <a:pt x="4678" y="16265"/>
                    <a:pt x="4953" y="16900"/>
                  </a:cubicBezTo>
                  <a:cubicBezTo>
                    <a:pt x="5090" y="17218"/>
                    <a:pt x="5228" y="17853"/>
                    <a:pt x="5366" y="18488"/>
                  </a:cubicBezTo>
                  <a:cubicBezTo>
                    <a:pt x="5503" y="19123"/>
                    <a:pt x="5916" y="18806"/>
                    <a:pt x="6054" y="18806"/>
                  </a:cubicBezTo>
                  <a:cubicBezTo>
                    <a:pt x="6604" y="18806"/>
                    <a:pt x="7154" y="18806"/>
                    <a:pt x="7704" y="18806"/>
                  </a:cubicBezTo>
                  <a:cubicBezTo>
                    <a:pt x="7980" y="18806"/>
                    <a:pt x="8530" y="18806"/>
                    <a:pt x="8805" y="19123"/>
                  </a:cubicBezTo>
                  <a:cubicBezTo>
                    <a:pt x="9080" y="19441"/>
                    <a:pt x="9218" y="20076"/>
                    <a:pt x="9493" y="20076"/>
                  </a:cubicBezTo>
                  <a:cubicBezTo>
                    <a:pt x="9768" y="20394"/>
                    <a:pt x="10181" y="20712"/>
                    <a:pt x="10456" y="20712"/>
                  </a:cubicBezTo>
                  <a:cubicBezTo>
                    <a:pt x="10731" y="20394"/>
                    <a:pt x="11006" y="21347"/>
                    <a:pt x="11144" y="21029"/>
                  </a:cubicBezTo>
                  <a:cubicBezTo>
                    <a:pt x="11694" y="20394"/>
                    <a:pt x="12107" y="19759"/>
                    <a:pt x="12795" y="19441"/>
                  </a:cubicBezTo>
                  <a:cubicBezTo>
                    <a:pt x="13345" y="19441"/>
                    <a:pt x="14171" y="19759"/>
                    <a:pt x="14583" y="19123"/>
                  </a:cubicBezTo>
                  <a:cubicBezTo>
                    <a:pt x="14996" y="18488"/>
                    <a:pt x="15134" y="17535"/>
                    <a:pt x="15546" y="17218"/>
                  </a:cubicBezTo>
                  <a:cubicBezTo>
                    <a:pt x="15959" y="16900"/>
                    <a:pt x="15959" y="16582"/>
                    <a:pt x="15684" y="15947"/>
                  </a:cubicBezTo>
                  <a:cubicBezTo>
                    <a:pt x="15546" y="15629"/>
                    <a:pt x="15546" y="14994"/>
                    <a:pt x="15822" y="14676"/>
                  </a:cubicBezTo>
                  <a:cubicBezTo>
                    <a:pt x="16234" y="13723"/>
                    <a:pt x="16785" y="15629"/>
                    <a:pt x="17335" y="14359"/>
                  </a:cubicBezTo>
                  <a:cubicBezTo>
                    <a:pt x="17473" y="14041"/>
                    <a:pt x="17610" y="13723"/>
                    <a:pt x="17885" y="13723"/>
                  </a:cubicBezTo>
                  <a:cubicBezTo>
                    <a:pt x="18298" y="13406"/>
                    <a:pt x="18436" y="13723"/>
                    <a:pt x="18848" y="13088"/>
                  </a:cubicBezTo>
                  <a:cubicBezTo>
                    <a:pt x="18986" y="12771"/>
                    <a:pt x="18986" y="11818"/>
                    <a:pt x="19124" y="11818"/>
                  </a:cubicBezTo>
                  <a:cubicBezTo>
                    <a:pt x="19399" y="11500"/>
                    <a:pt x="19536" y="11500"/>
                    <a:pt x="19674" y="11500"/>
                  </a:cubicBezTo>
                  <a:cubicBezTo>
                    <a:pt x="20224" y="11182"/>
                    <a:pt x="20637" y="10865"/>
                    <a:pt x="21187" y="11182"/>
                  </a:cubicBezTo>
                  <a:cubicBezTo>
                    <a:pt x="21600" y="11182"/>
                    <a:pt x="20775" y="8959"/>
                    <a:pt x="20637" y="8959"/>
                  </a:cubicBezTo>
                  <a:cubicBezTo>
                    <a:pt x="20499" y="8641"/>
                    <a:pt x="20224" y="8323"/>
                    <a:pt x="19949" y="8641"/>
                  </a:cubicBezTo>
                  <a:cubicBezTo>
                    <a:pt x="19674" y="8641"/>
                    <a:pt x="19674" y="9276"/>
                    <a:pt x="19399" y="8959"/>
                  </a:cubicBezTo>
                  <a:cubicBezTo>
                    <a:pt x="19261" y="8641"/>
                    <a:pt x="18848" y="8323"/>
                    <a:pt x="18711" y="8641"/>
                  </a:cubicBezTo>
                  <a:cubicBezTo>
                    <a:pt x="18573" y="9276"/>
                    <a:pt x="18436" y="8959"/>
                    <a:pt x="18436" y="8323"/>
                  </a:cubicBezTo>
                  <a:cubicBezTo>
                    <a:pt x="18436" y="7688"/>
                    <a:pt x="18848" y="6418"/>
                    <a:pt x="18848" y="5782"/>
                  </a:cubicBezTo>
                  <a:cubicBezTo>
                    <a:pt x="18986" y="5147"/>
                    <a:pt x="19399" y="4194"/>
                    <a:pt x="18848" y="4194"/>
                  </a:cubicBezTo>
                  <a:cubicBezTo>
                    <a:pt x="18436" y="4194"/>
                    <a:pt x="18436" y="4512"/>
                    <a:pt x="18023" y="4194"/>
                  </a:cubicBezTo>
                  <a:cubicBezTo>
                    <a:pt x="17610" y="3876"/>
                    <a:pt x="17473" y="3876"/>
                    <a:pt x="17060" y="4512"/>
                  </a:cubicBezTo>
                  <a:cubicBezTo>
                    <a:pt x="16647" y="5147"/>
                    <a:pt x="16097" y="5465"/>
                    <a:pt x="15684" y="5782"/>
                  </a:cubicBezTo>
                  <a:cubicBezTo>
                    <a:pt x="14996" y="6100"/>
                    <a:pt x="14721" y="5782"/>
                    <a:pt x="14171" y="5782"/>
                  </a:cubicBezTo>
                  <a:cubicBezTo>
                    <a:pt x="13896" y="5465"/>
                    <a:pt x="13758" y="5465"/>
                    <a:pt x="13483" y="5147"/>
                  </a:cubicBezTo>
                  <a:cubicBezTo>
                    <a:pt x="13345" y="5147"/>
                    <a:pt x="13208" y="4512"/>
                    <a:pt x="12932" y="4512"/>
                  </a:cubicBezTo>
                  <a:cubicBezTo>
                    <a:pt x="12382" y="4194"/>
                    <a:pt x="12107" y="3559"/>
                    <a:pt x="11419" y="3241"/>
                  </a:cubicBezTo>
                  <a:cubicBezTo>
                    <a:pt x="11144" y="3241"/>
                    <a:pt x="10869" y="3559"/>
                    <a:pt x="10594" y="3876"/>
                  </a:cubicBezTo>
                  <a:cubicBezTo>
                    <a:pt x="10318" y="4194"/>
                    <a:pt x="10043" y="3876"/>
                    <a:pt x="9768" y="3559"/>
                  </a:cubicBezTo>
                  <a:cubicBezTo>
                    <a:pt x="9493" y="3241"/>
                    <a:pt x="9355" y="3241"/>
                    <a:pt x="9355" y="2288"/>
                  </a:cubicBezTo>
                  <a:cubicBezTo>
                    <a:pt x="9218" y="1653"/>
                    <a:pt x="9218" y="1653"/>
                    <a:pt x="8805" y="1335"/>
                  </a:cubicBezTo>
                  <a:cubicBezTo>
                    <a:pt x="8530" y="1018"/>
                    <a:pt x="8255" y="700"/>
                    <a:pt x="7980" y="700"/>
                  </a:cubicBezTo>
                  <a:cubicBezTo>
                    <a:pt x="7704" y="700"/>
                    <a:pt x="7292" y="-253"/>
                    <a:pt x="7154" y="65"/>
                  </a:cubicBezTo>
                  <a:cubicBezTo>
                    <a:pt x="6879" y="65"/>
                    <a:pt x="6329" y="1335"/>
                    <a:pt x="6191" y="1971"/>
                  </a:cubicBezTo>
                  <a:cubicBezTo>
                    <a:pt x="6191" y="2606"/>
                    <a:pt x="6604" y="3241"/>
                    <a:pt x="6466" y="3876"/>
                  </a:cubicBezTo>
                  <a:cubicBezTo>
                    <a:pt x="6329" y="4512"/>
                    <a:pt x="5916" y="5147"/>
                    <a:pt x="5641" y="4512"/>
                  </a:cubicBezTo>
                  <a:cubicBezTo>
                    <a:pt x="5366" y="4512"/>
                    <a:pt x="5228" y="4194"/>
                    <a:pt x="5090" y="4194"/>
                  </a:cubicBezTo>
                  <a:cubicBezTo>
                    <a:pt x="4953" y="4194"/>
                    <a:pt x="4815" y="4194"/>
                    <a:pt x="4678" y="4194"/>
                  </a:cubicBezTo>
                  <a:cubicBezTo>
                    <a:pt x="4265" y="3876"/>
                    <a:pt x="4265" y="3241"/>
                    <a:pt x="3852" y="2923"/>
                  </a:cubicBezTo>
                  <a:cubicBezTo>
                    <a:pt x="3577" y="2606"/>
                    <a:pt x="3164" y="2288"/>
                    <a:pt x="2889" y="2606"/>
                  </a:cubicBezTo>
                  <a:cubicBezTo>
                    <a:pt x="2476" y="2923"/>
                    <a:pt x="2201" y="3559"/>
                    <a:pt x="1789" y="3876"/>
                  </a:cubicBezTo>
                  <a:cubicBezTo>
                    <a:pt x="1513" y="4194"/>
                    <a:pt x="1238" y="4829"/>
                    <a:pt x="963" y="5147"/>
                  </a:cubicBezTo>
                  <a:cubicBezTo>
                    <a:pt x="550" y="5147"/>
                    <a:pt x="275" y="5782"/>
                    <a:pt x="0" y="57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19" name="Shape 2138">
              <a:extLst>
                <a:ext uri="{FF2B5EF4-FFF2-40B4-BE49-F238E27FC236}">
                  <a16:creationId xmlns:a16="http://schemas.microsoft.com/office/drawing/2014/main" id="{19A11AB5-DC87-BE5B-B7DF-B5F1E5B1E53F}"/>
                </a:ext>
              </a:extLst>
            </p:cNvPr>
            <p:cNvSpPr/>
            <p:nvPr/>
          </p:nvSpPr>
          <p:spPr>
            <a:xfrm>
              <a:off x="5885756" y="1003396"/>
              <a:ext cx="413523" cy="707329"/>
            </a:xfrm>
            <a:custGeom>
              <a:avLst/>
              <a:gdLst/>
              <a:ahLst/>
              <a:cxnLst>
                <a:cxn ang="0">
                  <a:pos x="wd2" y="hd2"/>
                </a:cxn>
                <a:cxn ang="5400000">
                  <a:pos x="wd2" y="hd2"/>
                </a:cxn>
                <a:cxn ang="10800000">
                  <a:pos x="wd2" y="hd2"/>
                </a:cxn>
                <a:cxn ang="16200000">
                  <a:pos x="wd2" y="hd2"/>
                </a:cxn>
              </a:cxnLst>
              <a:rect l="0" t="0" r="r" b="b"/>
              <a:pathLst>
                <a:path w="21600" h="21440" extrusionOk="0">
                  <a:moveTo>
                    <a:pt x="20914" y="4840"/>
                  </a:moveTo>
                  <a:cubicBezTo>
                    <a:pt x="20571" y="4640"/>
                    <a:pt x="21257" y="4240"/>
                    <a:pt x="20914" y="3840"/>
                  </a:cubicBezTo>
                  <a:cubicBezTo>
                    <a:pt x="20571" y="3440"/>
                    <a:pt x="20914" y="3440"/>
                    <a:pt x="20914" y="3040"/>
                  </a:cubicBezTo>
                  <a:cubicBezTo>
                    <a:pt x="20914" y="2840"/>
                    <a:pt x="20571" y="2640"/>
                    <a:pt x="20571" y="2440"/>
                  </a:cubicBezTo>
                  <a:cubicBezTo>
                    <a:pt x="20229" y="2240"/>
                    <a:pt x="20571" y="2240"/>
                    <a:pt x="20571" y="2040"/>
                  </a:cubicBezTo>
                  <a:cubicBezTo>
                    <a:pt x="20229" y="1640"/>
                    <a:pt x="20229" y="1440"/>
                    <a:pt x="19543" y="1240"/>
                  </a:cubicBezTo>
                  <a:cubicBezTo>
                    <a:pt x="18857" y="1040"/>
                    <a:pt x="18171" y="1040"/>
                    <a:pt x="17486" y="840"/>
                  </a:cubicBezTo>
                  <a:cubicBezTo>
                    <a:pt x="16800" y="440"/>
                    <a:pt x="16114" y="-160"/>
                    <a:pt x="15086" y="40"/>
                  </a:cubicBezTo>
                  <a:cubicBezTo>
                    <a:pt x="14743" y="40"/>
                    <a:pt x="15086" y="640"/>
                    <a:pt x="15086" y="840"/>
                  </a:cubicBezTo>
                  <a:cubicBezTo>
                    <a:pt x="14743" y="1440"/>
                    <a:pt x="12686" y="1040"/>
                    <a:pt x="11657" y="840"/>
                  </a:cubicBezTo>
                  <a:cubicBezTo>
                    <a:pt x="11657" y="1240"/>
                    <a:pt x="11657" y="1440"/>
                    <a:pt x="11657" y="1840"/>
                  </a:cubicBezTo>
                  <a:cubicBezTo>
                    <a:pt x="11314" y="1840"/>
                    <a:pt x="10629" y="1640"/>
                    <a:pt x="9943" y="1840"/>
                  </a:cubicBezTo>
                  <a:cubicBezTo>
                    <a:pt x="9600" y="1840"/>
                    <a:pt x="9600" y="2040"/>
                    <a:pt x="9257" y="2240"/>
                  </a:cubicBezTo>
                  <a:cubicBezTo>
                    <a:pt x="9257" y="2440"/>
                    <a:pt x="8571" y="2640"/>
                    <a:pt x="8571" y="2840"/>
                  </a:cubicBezTo>
                  <a:cubicBezTo>
                    <a:pt x="8229" y="3040"/>
                    <a:pt x="8914" y="3440"/>
                    <a:pt x="8571" y="3440"/>
                  </a:cubicBezTo>
                  <a:cubicBezTo>
                    <a:pt x="8571" y="3640"/>
                    <a:pt x="8229" y="3640"/>
                    <a:pt x="8229" y="3840"/>
                  </a:cubicBezTo>
                  <a:cubicBezTo>
                    <a:pt x="7543" y="4040"/>
                    <a:pt x="6857" y="4440"/>
                    <a:pt x="6857" y="4840"/>
                  </a:cubicBezTo>
                  <a:cubicBezTo>
                    <a:pt x="6857" y="5240"/>
                    <a:pt x="6171" y="4840"/>
                    <a:pt x="5829" y="5240"/>
                  </a:cubicBezTo>
                  <a:cubicBezTo>
                    <a:pt x="5829" y="5640"/>
                    <a:pt x="5829" y="6040"/>
                    <a:pt x="5486" y="6440"/>
                  </a:cubicBezTo>
                  <a:cubicBezTo>
                    <a:pt x="5486" y="6840"/>
                    <a:pt x="4457" y="7040"/>
                    <a:pt x="4457" y="7440"/>
                  </a:cubicBezTo>
                  <a:cubicBezTo>
                    <a:pt x="4457" y="7640"/>
                    <a:pt x="5486" y="8040"/>
                    <a:pt x="5143" y="8240"/>
                  </a:cubicBezTo>
                  <a:cubicBezTo>
                    <a:pt x="4457" y="8640"/>
                    <a:pt x="3771" y="8440"/>
                    <a:pt x="3086" y="8640"/>
                  </a:cubicBezTo>
                  <a:cubicBezTo>
                    <a:pt x="2057" y="8840"/>
                    <a:pt x="1714" y="9440"/>
                    <a:pt x="1714" y="10040"/>
                  </a:cubicBezTo>
                  <a:cubicBezTo>
                    <a:pt x="2057" y="10440"/>
                    <a:pt x="2057" y="10840"/>
                    <a:pt x="2057" y="11240"/>
                  </a:cubicBezTo>
                  <a:cubicBezTo>
                    <a:pt x="2057" y="11840"/>
                    <a:pt x="1371" y="12040"/>
                    <a:pt x="2743" y="12440"/>
                  </a:cubicBezTo>
                  <a:cubicBezTo>
                    <a:pt x="3429" y="12840"/>
                    <a:pt x="3086" y="13040"/>
                    <a:pt x="2400" y="13240"/>
                  </a:cubicBezTo>
                  <a:cubicBezTo>
                    <a:pt x="2057" y="13440"/>
                    <a:pt x="2743" y="14240"/>
                    <a:pt x="2400" y="14640"/>
                  </a:cubicBezTo>
                  <a:cubicBezTo>
                    <a:pt x="2400" y="15040"/>
                    <a:pt x="1371" y="15040"/>
                    <a:pt x="1371" y="15440"/>
                  </a:cubicBezTo>
                  <a:cubicBezTo>
                    <a:pt x="1371" y="15640"/>
                    <a:pt x="1371" y="16440"/>
                    <a:pt x="1029" y="16440"/>
                  </a:cubicBezTo>
                  <a:cubicBezTo>
                    <a:pt x="1029" y="16440"/>
                    <a:pt x="343" y="16240"/>
                    <a:pt x="0" y="16240"/>
                  </a:cubicBezTo>
                  <a:cubicBezTo>
                    <a:pt x="0" y="17040"/>
                    <a:pt x="1371" y="17240"/>
                    <a:pt x="1371" y="17840"/>
                  </a:cubicBezTo>
                  <a:cubicBezTo>
                    <a:pt x="1029" y="18040"/>
                    <a:pt x="2057" y="19040"/>
                    <a:pt x="2400" y="19240"/>
                  </a:cubicBezTo>
                  <a:cubicBezTo>
                    <a:pt x="3086" y="19640"/>
                    <a:pt x="2743" y="19840"/>
                    <a:pt x="2743" y="20240"/>
                  </a:cubicBezTo>
                  <a:cubicBezTo>
                    <a:pt x="2743" y="20440"/>
                    <a:pt x="3429" y="20840"/>
                    <a:pt x="3429" y="21240"/>
                  </a:cubicBezTo>
                  <a:cubicBezTo>
                    <a:pt x="3086" y="21440"/>
                    <a:pt x="4457" y="21240"/>
                    <a:pt x="4800" y="21440"/>
                  </a:cubicBezTo>
                  <a:cubicBezTo>
                    <a:pt x="5486" y="21440"/>
                    <a:pt x="5143" y="21240"/>
                    <a:pt x="5143" y="20840"/>
                  </a:cubicBezTo>
                  <a:cubicBezTo>
                    <a:pt x="5143" y="19840"/>
                    <a:pt x="7886" y="20640"/>
                    <a:pt x="8229" y="20040"/>
                  </a:cubicBezTo>
                  <a:cubicBezTo>
                    <a:pt x="8571" y="19440"/>
                    <a:pt x="8914" y="18840"/>
                    <a:pt x="9257" y="18240"/>
                  </a:cubicBezTo>
                  <a:cubicBezTo>
                    <a:pt x="9257" y="17840"/>
                    <a:pt x="9257" y="17440"/>
                    <a:pt x="8914" y="17240"/>
                  </a:cubicBezTo>
                  <a:cubicBezTo>
                    <a:pt x="8571" y="16840"/>
                    <a:pt x="8914" y="16840"/>
                    <a:pt x="9600" y="16640"/>
                  </a:cubicBezTo>
                  <a:cubicBezTo>
                    <a:pt x="9943" y="16640"/>
                    <a:pt x="10971" y="16440"/>
                    <a:pt x="10971" y="16240"/>
                  </a:cubicBezTo>
                  <a:cubicBezTo>
                    <a:pt x="10971" y="16240"/>
                    <a:pt x="10971" y="16040"/>
                    <a:pt x="10971" y="16040"/>
                  </a:cubicBezTo>
                  <a:cubicBezTo>
                    <a:pt x="11314" y="16040"/>
                    <a:pt x="12000" y="16040"/>
                    <a:pt x="12000" y="15840"/>
                  </a:cubicBezTo>
                  <a:cubicBezTo>
                    <a:pt x="12000" y="15640"/>
                    <a:pt x="11657" y="15640"/>
                    <a:pt x="11657" y="15440"/>
                  </a:cubicBezTo>
                  <a:cubicBezTo>
                    <a:pt x="12000" y="15440"/>
                    <a:pt x="12343" y="15240"/>
                    <a:pt x="12343" y="15240"/>
                  </a:cubicBezTo>
                  <a:cubicBezTo>
                    <a:pt x="13029" y="14840"/>
                    <a:pt x="12686" y="14640"/>
                    <a:pt x="12000" y="14440"/>
                  </a:cubicBezTo>
                  <a:cubicBezTo>
                    <a:pt x="11314" y="14040"/>
                    <a:pt x="9943" y="13840"/>
                    <a:pt x="9943" y="13040"/>
                  </a:cubicBezTo>
                  <a:cubicBezTo>
                    <a:pt x="9943" y="12640"/>
                    <a:pt x="9943" y="12240"/>
                    <a:pt x="10286" y="11840"/>
                  </a:cubicBezTo>
                  <a:cubicBezTo>
                    <a:pt x="10629" y="11440"/>
                    <a:pt x="10629" y="11440"/>
                    <a:pt x="10286" y="11040"/>
                  </a:cubicBezTo>
                  <a:cubicBezTo>
                    <a:pt x="9943" y="11040"/>
                    <a:pt x="11314" y="10440"/>
                    <a:pt x="11314" y="10440"/>
                  </a:cubicBezTo>
                  <a:cubicBezTo>
                    <a:pt x="12000" y="10040"/>
                    <a:pt x="12343" y="9640"/>
                    <a:pt x="13371" y="9440"/>
                  </a:cubicBezTo>
                  <a:cubicBezTo>
                    <a:pt x="14400" y="9240"/>
                    <a:pt x="16114" y="8640"/>
                    <a:pt x="16800" y="8040"/>
                  </a:cubicBezTo>
                  <a:cubicBezTo>
                    <a:pt x="17486" y="7440"/>
                    <a:pt x="15771" y="7040"/>
                    <a:pt x="17143" y="6840"/>
                  </a:cubicBezTo>
                  <a:cubicBezTo>
                    <a:pt x="17829" y="6640"/>
                    <a:pt x="17486" y="6640"/>
                    <a:pt x="17143" y="6240"/>
                  </a:cubicBezTo>
                  <a:cubicBezTo>
                    <a:pt x="17143" y="6040"/>
                    <a:pt x="18171" y="5840"/>
                    <a:pt x="18514" y="5840"/>
                  </a:cubicBezTo>
                  <a:cubicBezTo>
                    <a:pt x="19200" y="5440"/>
                    <a:pt x="19543" y="5240"/>
                    <a:pt x="19886" y="5640"/>
                  </a:cubicBezTo>
                  <a:cubicBezTo>
                    <a:pt x="20229" y="5640"/>
                    <a:pt x="20571" y="5440"/>
                    <a:pt x="20571" y="5440"/>
                  </a:cubicBezTo>
                  <a:cubicBezTo>
                    <a:pt x="20914" y="5440"/>
                    <a:pt x="21257" y="5440"/>
                    <a:pt x="21600" y="5440"/>
                  </a:cubicBezTo>
                  <a:cubicBezTo>
                    <a:pt x="21600" y="5240"/>
                    <a:pt x="21257" y="5240"/>
                    <a:pt x="20914" y="4840"/>
                  </a:cubicBezTo>
                  <a:cubicBezTo>
                    <a:pt x="20571" y="4640"/>
                    <a:pt x="20914" y="5040"/>
                    <a:pt x="20914" y="484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0" name="Shape 2139">
              <a:extLst>
                <a:ext uri="{FF2B5EF4-FFF2-40B4-BE49-F238E27FC236}">
                  <a16:creationId xmlns:a16="http://schemas.microsoft.com/office/drawing/2014/main" id="{DE3579FF-6CBD-6AB9-A4EB-E0ADDBE1C066}"/>
                </a:ext>
              </a:extLst>
            </p:cNvPr>
            <p:cNvSpPr/>
            <p:nvPr/>
          </p:nvSpPr>
          <p:spPr>
            <a:xfrm>
              <a:off x="6189156" y="944157"/>
              <a:ext cx="350414" cy="549976"/>
            </a:xfrm>
            <a:custGeom>
              <a:avLst/>
              <a:gdLst/>
              <a:ahLst/>
              <a:cxnLst>
                <a:cxn ang="0">
                  <a:pos x="wd2" y="hd2"/>
                </a:cxn>
                <a:cxn ang="5400000">
                  <a:pos x="wd2" y="hd2"/>
                </a:cxn>
                <a:cxn ang="10800000">
                  <a:pos x="wd2" y="hd2"/>
                </a:cxn>
                <a:cxn ang="16200000">
                  <a:pos x="wd2" y="hd2"/>
                </a:cxn>
              </a:cxnLst>
              <a:rect l="0" t="0" r="r" b="b"/>
              <a:pathLst>
                <a:path w="21315" h="21395" extrusionOk="0">
                  <a:moveTo>
                    <a:pt x="21200" y="15171"/>
                  </a:moveTo>
                  <a:cubicBezTo>
                    <a:pt x="20800" y="14657"/>
                    <a:pt x="19600" y="14400"/>
                    <a:pt x="18800" y="14143"/>
                  </a:cubicBezTo>
                  <a:cubicBezTo>
                    <a:pt x="17600" y="13629"/>
                    <a:pt x="19200" y="13629"/>
                    <a:pt x="19600" y="13114"/>
                  </a:cubicBezTo>
                  <a:cubicBezTo>
                    <a:pt x="19600" y="13114"/>
                    <a:pt x="18000" y="11571"/>
                    <a:pt x="17600" y="11314"/>
                  </a:cubicBezTo>
                  <a:cubicBezTo>
                    <a:pt x="17600" y="11314"/>
                    <a:pt x="18400" y="11057"/>
                    <a:pt x="18400" y="11057"/>
                  </a:cubicBezTo>
                  <a:cubicBezTo>
                    <a:pt x="18400" y="10800"/>
                    <a:pt x="17600" y="10029"/>
                    <a:pt x="17600" y="9771"/>
                  </a:cubicBezTo>
                  <a:cubicBezTo>
                    <a:pt x="17600" y="9514"/>
                    <a:pt x="18000" y="9514"/>
                    <a:pt x="18000" y="9257"/>
                  </a:cubicBezTo>
                  <a:cubicBezTo>
                    <a:pt x="18400" y="9000"/>
                    <a:pt x="17600" y="8486"/>
                    <a:pt x="17600" y="8229"/>
                  </a:cubicBezTo>
                  <a:cubicBezTo>
                    <a:pt x="16800" y="7714"/>
                    <a:pt x="16000" y="7200"/>
                    <a:pt x="16800" y="6686"/>
                  </a:cubicBezTo>
                  <a:cubicBezTo>
                    <a:pt x="17200" y="6429"/>
                    <a:pt x="18000" y="6171"/>
                    <a:pt x="18000" y="5914"/>
                  </a:cubicBezTo>
                  <a:cubicBezTo>
                    <a:pt x="18400" y="5400"/>
                    <a:pt x="17600" y="5143"/>
                    <a:pt x="17600" y="4886"/>
                  </a:cubicBezTo>
                  <a:cubicBezTo>
                    <a:pt x="17200" y="4629"/>
                    <a:pt x="14400" y="3857"/>
                    <a:pt x="15200" y="3343"/>
                  </a:cubicBezTo>
                  <a:cubicBezTo>
                    <a:pt x="15200" y="3343"/>
                    <a:pt x="16000" y="3086"/>
                    <a:pt x="16000" y="3086"/>
                  </a:cubicBezTo>
                  <a:cubicBezTo>
                    <a:pt x="16000" y="3086"/>
                    <a:pt x="14800" y="2571"/>
                    <a:pt x="15600" y="2571"/>
                  </a:cubicBezTo>
                  <a:cubicBezTo>
                    <a:pt x="16800" y="2571"/>
                    <a:pt x="17600" y="1286"/>
                    <a:pt x="16400" y="771"/>
                  </a:cubicBezTo>
                  <a:cubicBezTo>
                    <a:pt x="16000" y="514"/>
                    <a:pt x="15200" y="514"/>
                    <a:pt x="14800" y="257"/>
                  </a:cubicBezTo>
                  <a:cubicBezTo>
                    <a:pt x="14400" y="0"/>
                    <a:pt x="14000" y="0"/>
                    <a:pt x="13600" y="0"/>
                  </a:cubicBezTo>
                  <a:cubicBezTo>
                    <a:pt x="12800" y="257"/>
                    <a:pt x="12400" y="0"/>
                    <a:pt x="11600" y="257"/>
                  </a:cubicBezTo>
                  <a:cubicBezTo>
                    <a:pt x="11200" y="514"/>
                    <a:pt x="10400" y="1029"/>
                    <a:pt x="10000" y="1286"/>
                  </a:cubicBezTo>
                  <a:cubicBezTo>
                    <a:pt x="10000" y="1543"/>
                    <a:pt x="10000" y="2571"/>
                    <a:pt x="9600" y="2571"/>
                  </a:cubicBezTo>
                  <a:cubicBezTo>
                    <a:pt x="9200" y="2829"/>
                    <a:pt x="8800" y="3086"/>
                    <a:pt x="8400" y="3343"/>
                  </a:cubicBezTo>
                  <a:cubicBezTo>
                    <a:pt x="8000" y="3343"/>
                    <a:pt x="7200" y="2829"/>
                    <a:pt x="6800" y="2829"/>
                  </a:cubicBezTo>
                  <a:cubicBezTo>
                    <a:pt x="6400" y="2829"/>
                    <a:pt x="6000" y="3086"/>
                    <a:pt x="5600" y="3086"/>
                  </a:cubicBezTo>
                  <a:cubicBezTo>
                    <a:pt x="4400" y="3343"/>
                    <a:pt x="3600" y="3086"/>
                    <a:pt x="2800" y="2571"/>
                  </a:cubicBezTo>
                  <a:cubicBezTo>
                    <a:pt x="2800" y="2314"/>
                    <a:pt x="2000" y="1800"/>
                    <a:pt x="1600" y="1800"/>
                  </a:cubicBezTo>
                  <a:cubicBezTo>
                    <a:pt x="1200" y="1800"/>
                    <a:pt x="400" y="2314"/>
                    <a:pt x="0" y="2314"/>
                  </a:cubicBezTo>
                  <a:cubicBezTo>
                    <a:pt x="800" y="2829"/>
                    <a:pt x="2000" y="3343"/>
                    <a:pt x="3200" y="3600"/>
                  </a:cubicBezTo>
                  <a:cubicBezTo>
                    <a:pt x="3600" y="3600"/>
                    <a:pt x="4400" y="3857"/>
                    <a:pt x="4800" y="4114"/>
                  </a:cubicBezTo>
                  <a:cubicBezTo>
                    <a:pt x="5200" y="4371"/>
                    <a:pt x="5200" y="4629"/>
                    <a:pt x="5600" y="4886"/>
                  </a:cubicBezTo>
                  <a:cubicBezTo>
                    <a:pt x="5600" y="5143"/>
                    <a:pt x="5200" y="5143"/>
                    <a:pt x="5600" y="5400"/>
                  </a:cubicBezTo>
                  <a:cubicBezTo>
                    <a:pt x="5600" y="5657"/>
                    <a:pt x="6400" y="5914"/>
                    <a:pt x="6000" y="6171"/>
                  </a:cubicBezTo>
                  <a:cubicBezTo>
                    <a:pt x="6000" y="6429"/>
                    <a:pt x="5600" y="6686"/>
                    <a:pt x="6000" y="6943"/>
                  </a:cubicBezTo>
                  <a:cubicBezTo>
                    <a:pt x="6000" y="6943"/>
                    <a:pt x="6400" y="7457"/>
                    <a:pt x="6400" y="7457"/>
                  </a:cubicBezTo>
                  <a:cubicBezTo>
                    <a:pt x="6000" y="7714"/>
                    <a:pt x="6000" y="8229"/>
                    <a:pt x="6000" y="8486"/>
                  </a:cubicBezTo>
                  <a:cubicBezTo>
                    <a:pt x="6000" y="8486"/>
                    <a:pt x="6800" y="9257"/>
                    <a:pt x="6800" y="9257"/>
                  </a:cubicBezTo>
                  <a:cubicBezTo>
                    <a:pt x="7200" y="9514"/>
                    <a:pt x="8000" y="9771"/>
                    <a:pt x="8400" y="9771"/>
                  </a:cubicBezTo>
                  <a:cubicBezTo>
                    <a:pt x="8800" y="10029"/>
                    <a:pt x="8800" y="10286"/>
                    <a:pt x="8800" y="10543"/>
                  </a:cubicBezTo>
                  <a:cubicBezTo>
                    <a:pt x="8800" y="10800"/>
                    <a:pt x="9200" y="11057"/>
                    <a:pt x="9200" y="11314"/>
                  </a:cubicBezTo>
                  <a:cubicBezTo>
                    <a:pt x="9200" y="11571"/>
                    <a:pt x="8400" y="11314"/>
                    <a:pt x="8000" y="11314"/>
                  </a:cubicBezTo>
                  <a:cubicBezTo>
                    <a:pt x="7600" y="11314"/>
                    <a:pt x="6400" y="12343"/>
                    <a:pt x="6400" y="12600"/>
                  </a:cubicBezTo>
                  <a:cubicBezTo>
                    <a:pt x="6000" y="12857"/>
                    <a:pt x="5600" y="12857"/>
                    <a:pt x="5200" y="13114"/>
                  </a:cubicBezTo>
                  <a:cubicBezTo>
                    <a:pt x="4800" y="13371"/>
                    <a:pt x="4400" y="13629"/>
                    <a:pt x="4000" y="13886"/>
                  </a:cubicBezTo>
                  <a:cubicBezTo>
                    <a:pt x="3600" y="13886"/>
                    <a:pt x="1600" y="14914"/>
                    <a:pt x="1600" y="14657"/>
                  </a:cubicBezTo>
                  <a:cubicBezTo>
                    <a:pt x="1600" y="15171"/>
                    <a:pt x="800" y="15429"/>
                    <a:pt x="800" y="15943"/>
                  </a:cubicBezTo>
                  <a:cubicBezTo>
                    <a:pt x="1200" y="16457"/>
                    <a:pt x="800" y="17229"/>
                    <a:pt x="1600" y="17229"/>
                  </a:cubicBezTo>
                  <a:cubicBezTo>
                    <a:pt x="2000" y="17229"/>
                    <a:pt x="1600" y="18514"/>
                    <a:pt x="1600" y="18771"/>
                  </a:cubicBezTo>
                  <a:cubicBezTo>
                    <a:pt x="1600" y="19286"/>
                    <a:pt x="800" y="19800"/>
                    <a:pt x="1600" y="20057"/>
                  </a:cubicBezTo>
                  <a:cubicBezTo>
                    <a:pt x="1600" y="20057"/>
                    <a:pt x="3200" y="20314"/>
                    <a:pt x="2800" y="20571"/>
                  </a:cubicBezTo>
                  <a:cubicBezTo>
                    <a:pt x="2800" y="20571"/>
                    <a:pt x="2000" y="20829"/>
                    <a:pt x="2000" y="20829"/>
                  </a:cubicBezTo>
                  <a:cubicBezTo>
                    <a:pt x="2800" y="20829"/>
                    <a:pt x="2800" y="20314"/>
                    <a:pt x="3200" y="20314"/>
                  </a:cubicBezTo>
                  <a:cubicBezTo>
                    <a:pt x="4000" y="20057"/>
                    <a:pt x="3200" y="21343"/>
                    <a:pt x="3200" y="21343"/>
                  </a:cubicBezTo>
                  <a:cubicBezTo>
                    <a:pt x="3200" y="21343"/>
                    <a:pt x="4400" y="20571"/>
                    <a:pt x="4400" y="20571"/>
                  </a:cubicBezTo>
                  <a:cubicBezTo>
                    <a:pt x="4800" y="20314"/>
                    <a:pt x="4400" y="21343"/>
                    <a:pt x="4400" y="21343"/>
                  </a:cubicBezTo>
                  <a:cubicBezTo>
                    <a:pt x="5600" y="21600"/>
                    <a:pt x="8000" y="20829"/>
                    <a:pt x="9200" y="20571"/>
                  </a:cubicBezTo>
                  <a:cubicBezTo>
                    <a:pt x="10800" y="20314"/>
                    <a:pt x="12400" y="20314"/>
                    <a:pt x="14400" y="20057"/>
                  </a:cubicBezTo>
                  <a:cubicBezTo>
                    <a:pt x="15600" y="19029"/>
                    <a:pt x="17200" y="18257"/>
                    <a:pt x="18400" y="17486"/>
                  </a:cubicBezTo>
                  <a:cubicBezTo>
                    <a:pt x="19200" y="16971"/>
                    <a:pt x="21600" y="15943"/>
                    <a:pt x="21200" y="15171"/>
                  </a:cubicBezTo>
                  <a:cubicBezTo>
                    <a:pt x="20800" y="14657"/>
                    <a:pt x="21600" y="15943"/>
                    <a:pt x="21200" y="151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1" name="Shape 2140">
              <a:extLst>
                <a:ext uri="{FF2B5EF4-FFF2-40B4-BE49-F238E27FC236}">
                  <a16:creationId xmlns:a16="http://schemas.microsoft.com/office/drawing/2014/main" id="{A3FDE19C-751C-1E54-9381-D3CDDFC81B36}"/>
                </a:ext>
              </a:extLst>
            </p:cNvPr>
            <p:cNvSpPr/>
            <p:nvPr/>
          </p:nvSpPr>
          <p:spPr>
            <a:xfrm>
              <a:off x="5684901" y="882828"/>
              <a:ext cx="833863" cy="702008"/>
            </a:xfrm>
            <a:custGeom>
              <a:avLst/>
              <a:gdLst/>
              <a:ahLst/>
              <a:cxnLst>
                <a:cxn ang="0">
                  <a:pos x="wd2" y="hd2"/>
                </a:cxn>
                <a:cxn ang="5400000">
                  <a:pos x="wd2" y="hd2"/>
                </a:cxn>
                <a:cxn ang="10800000">
                  <a:pos x="wd2" y="hd2"/>
                </a:cxn>
                <a:cxn ang="16200000">
                  <a:pos x="wd2" y="hd2"/>
                </a:cxn>
              </a:cxnLst>
              <a:rect l="0" t="0" r="r" b="b"/>
              <a:pathLst>
                <a:path w="21371" h="21482" extrusionOk="0">
                  <a:moveTo>
                    <a:pt x="5643" y="20271"/>
                  </a:moveTo>
                  <a:cubicBezTo>
                    <a:pt x="5643" y="20271"/>
                    <a:pt x="5812" y="19665"/>
                    <a:pt x="5812" y="19463"/>
                  </a:cubicBezTo>
                  <a:cubicBezTo>
                    <a:pt x="5812" y="19060"/>
                    <a:pt x="5981" y="18858"/>
                    <a:pt x="6318" y="18656"/>
                  </a:cubicBezTo>
                  <a:cubicBezTo>
                    <a:pt x="6656" y="18252"/>
                    <a:pt x="6318" y="17646"/>
                    <a:pt x="6318" y="17445"/>
                  </a:cubicBezTo>
                  <a:cubicBezTo>
                    <a:pt x="6318" y="16839"/>
                    <a:pt x="6993" y="16839"/>
                    <a:pt x="6487" y="16435"/>
                  </a:cubicBezTo>
                  <a:cubicBezTo>
                    <a:pt x="6150" y="16032"/>
                    <a:pt x="5981" y="16032"/>
                    <a:pt x="6150" y="15426"/>
                  </a:cubicBezTo>
                  <a:cubicBezTo>
                    <a:pt x="6318" y="15022"/>
                    <a:pt x="6150" y="14618"/>
                    <a:pt x="6150" y="14215"/>
                  </a:cubicBezTo>
                  <a:cubicBezTo>
                    <a:pt x="5981" y="13609"/>
                    <a:pt x="5812" y="13003"/>
                    <a:pt x="6318" y="12600"/>
                  </a:cubicBezTo>
                  <a:cubicBezTo>
                    <a:pt x="6487" y="12398"/>
                    <a:pt x="6825" y="12398"/>
                    <a:pt x="6993" y="12196"/>
                  </a:cubicBezTo>
                  <a:cubicBezTo>
                    <a:pt x="7162" y="12196"/>
                    <a:pt x="7331" y="12398"/>
                    <a:pt x="7500" y="12196"/>
                  </a:cubicBezTo>
                  <a:cubicBezTo>
                    <a:pt x="7668" y="11792"/>
                    <a:pt x="7500" y="11590"/>
                    <a:pt x="7331" y="11389"/>
                  </a:cubicBezTo>
                  <a:cubicBezTo>
                    <a:pt x="7331" y="10985"/>
                    <a:pt x="7668" y="10783"/>
                    <a:pt x="7837" y="10379"/>
                  </a:cubicBezTo>
                  <a:cubicBezTo>
                    <a:pt x="7837" y="10177"/>
                    <a:pt x="8006" y="9572"/>
                    <a:pt x="8006" y="9168"/>
                  </a:cubicBezTo>
                  <a:cubicBezTo>
                    <a:pt x="8006" y="8764"/>
                    <a:pt x="8681" y="8764"/>
                    <a:pt x="8512" y="8562"/>
                  </a:cubicBezTo>
                  <a:cubicBezTo>
                    <a:pt x="8512" y="8159"/>
                    <a:pt x="8850" y="7957"/>
                    <a:pt x="9018" y="7553"/>
                  </a:cubicBezTo>
                  <a:cubicBezTo>
                    <a:pt x="9356" y="7149"/>
                    <a:pt x="9356" y="7351"/>
                    <a:pt x="9356" y="6746"/>
                  </a:cubicBezTo>
                  <a:cubicBezTo>
                    <a:pt x="9187" y="6544"/>
                    <a:pt x="9862" y="5534"/>
                    <a:pt x="10031" y="5534"/>
                  </a:cubicBezTo>
                  <a:cubicBezTo>
                    <a:pt x="10200" y="5332"/>
                    <a:pt x="10706" y="5534"/>
                    <a:pt x="10875" y="5534"/>
                  </a:cubicBezTo>
                  <a:cubicBezTo>
                    <a:pt x="10875" y="5131"/>
                    <a:pt x="10875" y="4929"/>
                    <a:pt x="10875" y="4525"/>
                  </a:cubicBezTo>
                  <a:cubicBezTo>
                    <a:pt x="11381" y="4727"/>
                    <a:pt x="11718" y="4727"/>
                    <a:pt x="12056" y="4929"/>
                  </a:cubicBezTo>
                  <a:cubicBezTo>
                    <a:pt x="12731" y="4929"/>
                    <a:pt x="12393" y="4121"/>
                    <a:pt x="12562" y="3718"/>
                  </a:cubicBezTo>
                  <a:cubicBezTo>
                    <a:pt x="12562" y="3718"/>
                    <a:pt x="12900" y="3718"/>
                    <a:pt x="13069" y="3718"/>
                  </a:cubicBezTo>
                  <a:cubicBezTo>
                    <a:pt x="13237" y="3516"/>
                    <a:pt x="13575" y="3112"/>
                    <a:pt x="13743" y="3516"/>
                  </a:cubicBezTo>
                  <a:cubicBezTo>
                    <a:pt x="14081" y="3718"/>
                    <a:pt x="14081" y="4121"/>
                    <a:pt x="14418" y="4323"/>
                  </a:cubicBezTo>
                  <a:cubicBezTo>
                    <a:pt x="14587" y="4323"/>
                    <a:pt x="14925" y="4323"/>
                    <a:pt x="15093" y="4323"/>
                  </a:cubicBezTo>
                  <a:cubicBezTo>
                    <a:pt x="15262" y="4323"/>
                    <a:pt x="15431" y="4121"/>
                    <a:pt x="15768" y="4121"/>
                  </a:cubicBezTo>
                  <a:cubicBezTo>
                    <a:pt x="15937" y="4121"/>
                    <a:pt x="16106" y="4525"/>
                    <a:pt x="16443" y="4525"/>
                  </a:cubicBezTo>
                  <a:cubicBezTo>
                    <a:pt x="16443" y="4323"/>
                    <a:pt x="17118" y="3919"/>
                    <a:pt x="17118" y="3919"/>
                  </a:cubicBezTo>
                  <a:cubicBezTo>
                    <a:pt x="17118" y="3314"/>
                    <a:pt x="17118" y="3112"/>
                    <a:pt x="17287" y="2708"/>
                  </a:cubicBezTo>
                  <a:cubicBezTo>
                    <a:pt x="17456" y="2506"/>
                    <a:pt x="17793" y="2103"/>
                    <a:pt x="17962" y="2103"/>
                  </a:cubicBezTo>
                  <a:cubicBezTo>
                    <a:pt x="18131" y="2103"/>
                    <a:pt x="18300" y="2103"/>
                    <a:pt x="18468" y="2103"/>
                  </a:cubicBezTo>
                  <a:cubicBezTo>
                    <a:pt x="18637" y="2103"/>
                    <a:pt x="18637" y="1901"/>
                    <a:pt x="18806" y="1901"/>
                  </a:cubicBezTo>
                  <a:cubicBezTo>
                    <a:pt x="18975" y="1901"/>
                    <a:pt x="19312" y="2304"/>
                    <a:pt x="19481" y="2304"/>
                  </a:cubicBezTo>
                  <a:cubicBezTo>
                    <a:pt x="19818" y="2506"/>
                    <a:pt x="19987" y="2708"/>
                    <a:pt x="19987" y="3314"/>
                  </a:cubicBezTo>
                  <a:cubicBezTo>
                    <a:pt x="20325" y="3314"/>
                    <a:pt x="21169" y="2708"/>
                    <a:pt x="20831" y="2304"/>
                  </a:cubicBezTo>
                  <a:cubicBezTo>
                    <a:pt x="21169" y="2506"/>
                    <a:pt x="20325" y="2506"/>
                    <a:pt x="20156" y="2506"/>
                  </a:cubicBezTo>
                  <a:cubicBezTo>
                    <a:pt x="21000" y="2304"/>
                    <a:pt x="19818" y="1699"/>
                    <a:pt x="19650" y="1901"/>
                  </a:cubicBezTo>
                  <a:cubicBezTo>
                    <a:pt x="19818" y="1699"/>
                    <a:pt x="19987" y="1901"/>
                    <a:pt x="19987" y="1901"/>
                  </a:cubicBezTo>
                  <a:cubicBezTo>
                    <a:pt x="20325" y="1901"/>
                    <a:pt x="20662" y="1901"/>
                    <a:pt x="20831" y="1699"/>
                  </a:cubicBezTo>
                  <a:cubicBezTo>
                    <a:pt x="21000" y="1699"/>
                    <a:pt x="21506" y="1295"/>
                    <a:pt x="21337" y="1093"/>
                  </a:cubicBezTo>
                  <a:cubicBezTo>
                    <a:pt x="21000" y="891"/>
                    <a:pt x="20494" y="689"/>
                    <a:pt x="19987" y="488"/>
                  </a:cubicBezTo>
                  <a:cubicBezTo>
                    <a:pt x="19818" y="286"/>
                    <a:pt x="19650" y="689"/>
                    <a:pt x="19481" y="891"/>
                  </a:cubicBezTo>
                  <a:cubicBezTo>
                    <a:pt x="19481" y="891"/>
                    <a:pt x="19143" y="1497"/>
                    <a:pt x="19143" y="1295"/>
                  </a:cubicBezTo>
                  <a:cubicBezTo>
                    <a:pt x="19143" y="1295"/>
                    <a:pt x="19143" y="1093"/>
                    <a:pt x="19143" y="891"/>
                  </a:cubicBezTo>
                  <a:cubicBezTo>
                    <a:pt x="19143" y="891"/>
                    <a:pt x="18806" y="891"/>
                    <a:pt x="18806" y="891"/>
                  </a:cubicBezTo>
                  <a:cubicBezTo>
                    <a:pt x="18975" y="689"/>
                    <a:pt x="19312" y="891"/>
                    <a:pt x="19312" y="689"/>
                  </a:cubicBezTo>
                  <a:cubicBezTo>
                    <a:pt x="19312" y="689"/>
                    <a:pt x="18806" y="689"/>
                    <a:pt x="18806" y="689"/>
                  </a:cubicBezTo>
                  <a:cubicBezTo>
                    <a:pt x="18806" y="488"/>
                    <a:pt x="19481" y="488"/>
                    <a:pt x="19481" y="286"/>
                  </a:cubicBezTo>
                  <a:cubicBezTo>
                    <a:pt x="19312" y="84"/>
                    <a:pt x="18300" y="-118"/>
                    <a:pt x="18468" y="286"/>
                  </a:cubicBezTo>
                  <a:cubicBezTo>
                    <a:pt x="18637" y="488"/>
                    <a:pt x="18637" y="488"/>
                    <a:pt x="18468" y="689"/>
                  </a:cubicBezTo>
                  <a:cubicBezTo>
                    <a:pt x="18300" y="891"/>
                    <a:pt x="17962" y="1295"/>
                    <a:pt x="17793" y="1295"/>
                  </a:cubicBezTo>
                  <a:cubicBezTo>
                    <a:pt x="17625" y="1295"/>
                    <a:pt x="17793" y="488"/>
                    <a:pt x="17793" y="488"/>
                  </a:cubicBezTo>
                  <a:cubicBezTo>
                    <a:pt x="17793" y="286"/>
                    <a:pt x="16950" y="1699"/>
                    <a:pt x="16781" y="1699"/>
                  </a:cubicBezTo>
                  <a:cubicBezTo>
                    <a:pt x="16275" y="1699"/>
                    <a:pt x="16781" y="891"/>
                    <a:pt x="16950" y="689"/>
                  </a:cubicBezTo>
                  <a:cubicBezTo>
                    <a:pt x="17118" y="689"/>
                    <a:pt x="17287" y="286"/>
                    <a:pt x="17287" y="286"/>
                  </a:cubicBezTo>
                  <a:cubicBezTo>
                    <a:pt x="17118" y="84"/>
                    <a:pt x="16781" y="-118"/>
                    <a:pt x="16781" y="84"/>
                  </a:cubicBezTo>
                  <a:cubicBezTo>
                    <a:pt x="16781" y="84"/>
                    <a:pt x="16950" y="286"/>
                    <a:pt x="16950" y="286"/>
                  </a:cubicBezTo>
                  <a:cubicBezTo>
                    <a:pt x="16950" y="286"/>
                    <a:pt x="16612" y="286"/>
                    <a:pt x="16443" y="286"/>
                  </a:cubicBezTo>
                  <a:cubicBezTo>
                    <a:pt x="16275" y="488"/>
                    <a:pt x="16443" y="286"/>
                    <a:pt x="16275" y="84"/>
                  </a:cubicBezTo>
                  <a:cubicBezTo>
                    <a:pt x="16275" y="84"/>
                    <a:pt x="15937" y="488"/>
                    <a:pt x="15937" y="488"/>
                  </a:cubicBezTo>
                  <a:cubicBezTo>
                    <a:pt x="15937" y="689"/>
                    <a:pt x="16275" y="891"/>
                    <a:pt x="16106" y="891"/>
                  </a:cubicBezTo>
                  <a:cubicBezTo>
                    <a:pt x="15937" y="891"/>
                    <a:pt x="15937" y="891"/>
                    <a:pt x="15937" y="891"/>
                  </a:cubicBezTo>
                  <a:cubicBezTo>
                    <a:pt x="15768" y="891"/>
                    <a:pt x="15768" y="1093"/>
                    <a:pt x="15768" y="1295"/>
                  </a:cubicBezTo>
                  <a:cubicBezTo>
                    <a:pt x="15937" y="891"/>
                    <a:pt x="15262" y="1093"/>
                    <a:pt x="15262" y="1093"/>
                  </a:cubicBezTo>
                  <a:cubicBezTo>
                    <a:pt x="15262" y="1093"/>
                    <a:pt x="15600" y="891"/>
                    <a:pt x="15600" y="689"/>
                  </a:cubicBezTo>
                  <a:cubicBezTo>
                    <a:pt x="15600" y="891"/>
                    <a:pt x="14925" y="1093"/>
                    <a:pt x="14756" y="1093"/>
                  </a:cubicBezTo>
                  <a:cubicBezTo>
                    <a:pt x="14587" y="1093"/>
                    <a:pt x="15262" y="1699"/>
                    <a:pt x="15262" y="1699"/>
                  </a:cubicBezTo>
                  <a:cubicBezTo>
                    <a:pt x="15262" y="1699"/>
                    <a:pt x="15093" y="2103"/>
                    <a:pt x="15093" y="2103"/>
                  </a:cubicBezTo>
                  <a:cubicBezTo>
                    <a:pt x="15093" y="2103"/>
                    <a:pt x="14587" y="1497"/>
                    <a:pt x="14587" y="1497"/>
                  </a:cubicBezTo>
                  <a:cubicBezTo>
                    <a:pt x="14587" y="1497"/>
                    <a:pt x="14250" y="2103"/>
                    <a:pt x="14250" y="1497"/>
                  </a:cubicBezTo>
                  <a:cubicBezTo>
                    <a:pt x="14081" y="1295"/>
                    <a:pt x="13575" y="1699"/>
                    <a:pt x="13406" y="1497"/>
                  </a:cubicBezTo>
                  <a:cubicBezTo>
                    <a:pt x="13575" y="1699"/>
                    <a:pt x="14081" y="1699"/>
                    <a:pt x="14081" y="1901"/>
                  </a:cubicBezTo>
                  <a:cubicBezTo>
                    <a:pt x="14081" y="1901"/>
                    <a:pt x="13912" y="1901"/>
                    <a:pt x="13912" y="2103"/>
                  </a:cubicBezTo>
                  <a:cubicBezTo>
                    <a:pt x="13912" y="2304"/>
                    <a:pt x="14081" y="2304"/>
                    <a:pt x="14081" y="2506"/>
                  </a:cubicBezTo>
                  <a:cubicBezTo>
                    <a:pt x="14081" y="2506"/>
                    <a:pt x="13575" y="2304"/>
                    <a:pt x="13575" y="2103"/>
                  </a:cubicBezTo>
                  <a:cubicBezTo>
                    <a:pt x="13406" y="2103"/>
                    <a:pt x="13406" y="2304"/>
                    <a:pt x="13406" y="2506"/>
                  </a:cubicBezTo>
                  <a:cubicBezTo>
                    <a:pt x="13237" y="2506"/>
                    <a:pt x="13237" y="2304"/>
                    <a:pt x="13237" y="2103"/>
                  </a:cubicBezTo>
                  <a:cubicBezTo>
                    <a:pt x="13237" y="2103"/>
                    <a:pt x="12900" y="2506"/>
                    <a:pt x="12900" y="2506"/>
                  </a:cubicBezTo>
                  <a:cubicBezTo>
                    <a:pt x="12731" y="2708"/>
                    <a:pt x="13069" y="2708"/>
                    <a:pt x="13069" y="2910"/>
                  </a:cubicBezTo>
                  <a:cubicBezTo>
                    <a:pt x="13069" y="2910"/>
                    <a:pt x="12731" y="2910"/>
                    <a:pt x="12731" y="2910"/>
                  </a:cubicBezTo>
                  <a:cubicBezTo>
                    <a:pt x="12562" y="2708"/>
                    <a:pt x="12731" y="2506"/>
                    <a:pt x="12731" y="2304"/>
                  </a:cubicBezTo>
                  <a:cubicBezTo>
                    <a:pt x="12731" y="2304"/>
                    <a:pt x="12225" y="2708"/>
                    <a:pt x="12225" y="2708"/>
                  </a:cubicBezTo>
                  <a:cubicBezTo>
                    <a:pt x="12225" y="2708"/>
                    <a:pt x="12225" y="2708"/>
                    <a:pt x="12393" y="2708"/>
                  </a:cubicBezTo>
                  <a:cubicBezTo>
                    <a:pt x="12225" y="2708"/>
                    <a:pt x="12056" y="3112"/>
                    <a:pt x="12056" y="3112"/>
                  </a:cubicBezTo>
                  <a:cubicBezTo>
                    <a:pt x="11887" y="2910"/>
                    <a:pt x="12225" y="2708"/>
                    <a:pt x="12056" y="2708"/>
                  </a:cubicBezTo>
                  <a:cubicBezTo>
                    <a:pt x="11887" y="2506"/>
                    <a:pt x="11718" y="2506"/>
                    <a:pt x="11718" y="2304"/>
                  </a:cubicBezTo>
                  <a:cubicBezTo>
                    <a:pt x="11718" y="2304"/>
                    <a:pt x="12056" y="2304"/>
                    <a:pt x="12056" y="2304"/>
                  </a:cubicBezTo>
                  <a:cubicBezTo>
                    <a:pt x="12056" y="2103"/>
                    <a:pt x="11550" y="1901"/>
                    <a:pt x="11381" y="1901"/>
                  </a:cubicBezTo>
                  <a:cubicBezTo>
                    <a:pt x="11381" y="2103"/>
                    <a:pt x="11550" y="2506"/>
                    <a:pt x="11550" y="2506"/>
                  </a:cubicBezTo>
                  <a:cubicBezTo>
                    <a:pt x="11550" y="2506"/>
                    <a:pt x="10875" y="2708"/>
                    <a:pt x="11044" y="2708"/>
                  </a:cubicBezTo>
                  <a:cubicBezTo>
                    <a:pt x="11044" y="2708"/>
                    <a:pt x="11381" y="2708"/>
                    <a:pt x="11381" y="2708"/>
                  </a:cubicBezTo>
                  <a:cubicBezTo>
                    <a:pt x="11381" y="2708"/>
                    <a:pt x="11212" y="2708"/>
                    <a:pt x="11212" y="2708"/>
                  </a:cubicBezTo>
                  <a:cubicBezTo>
                    <a:pt x="11381" y="3112"/>
                    <a:pt x="11718" y="2708"/>
                    <a:pt x="11550" y="2708"/>
                  </a:cubicBezTo>
                  <a:cubicBezTo>
                    <a:pt x="11718" y="2910"/>
                    <a:pt x="11550" y="3112"/>
                    <a:pt x="11550" y="3112"/>
                  </a:cubicBezTo>
                  <a:cubicBezTo>
                    <a:pt x="11550" y="3314"/>
                    <a:pt x="11212" y="2910"/>
                    <a:pt x="11212" y="2910"/>
                  </a:cubicBezTo>
                  <a:cubicBezTo>
                    <a:pt x="11044" y="2910"/>
                    <a:pt x="11044" y="2708"/>
                    <a:pt x="10875" y="2708"/>
                  </a:cubicBezTo>
                  <a:cubicBezTo>
                    <a:pt x="10875" y="2708"/>
                    <a:pt x="10706" y="3112"/>
                    <a:pt x="10537" y="2910"/>
                  </a:cubicBezTo>
                  <a:cubicBezTo>
                    <a:pt x="10537" y="2708"/>
                    <a:pt x="10031" y="3112"/>
                    <a:pt x="10031" y="3112"/>
                  </a:cubicBezTo>
                  <a:cubicBezTo>
                    <a:pt x="10031" y="3112"/>
                    <a:pt x="10031" y="3718"/>
                    <a:pt x="10031" y="3718"/>
                  </a:cubicBezTo>
                  <a:cubicBezTo>
                    <a:pt x="10031" y="3919"/>
                    <a:pt x="10200" y="3314"/>
                    <a:pt x="10368" y="3516"/>
                  </a:cubicBezTo>
                  <a:cubicBezTo>
                    <a:pt x="10368" y="3516"/>
                    <a:pt x="10706" y="3718"/>
                    <a:pt x="10706" y="3516"/>
                  </a:cubicBezTo>
                  <a:cubicBezTo>
                    <a:pt x="10706" y="3718"/>
                    <a:pt x="10537" y="3718"/>
                    <a:pt x="10537" y="3919"/>
                  </a:cubicBezTo>
                  <a:cubicBezTo>
                    <a:pt x="10368" y="3919"/>
                    <a:pt x="10537" y="4323"/>
                    <a:pt x="10368" y="4323"/>
                  </a:cubicBezTo>
                  <a:cubicBezTo>
                    <a:pt x="10368" y="4525"/>
                    <a:pt x="10200" y="4121"/>
                    <a:pt x="10200" y="4121"/>
                  </a:cubicBezTo>
                  <a:cubicBezTo>
                    <a:pt x="10031" y="4121"/>
                    <a:pt x="10031" y="4525"/>
                    <a:pt x="9862" y="4525"/>
                  </a:cubicBezTo>
                  <a:cubicBezTo>
                    <a:pt x="9862" y="4525"/>
                    <a:pt x="9862" y="4121"/>
                    <a:pt x="9862" y="4121"/>
                  </a:cubicBezTo>
                  <a:cubicBezTo>
                    <a:pt x="9693" y="4121"/>
                    <a:pt x="9693" y="4323"/>
                    <a:pt x="9525" y="4323"/>
                  </a:cubicBezTo>
                  <a:cubicBezTo>
                    <a:pt x="9525" y="4323"/>
                    <a:pt x="9525" y="3919"/>
                    <a:pt x="9525" y="3919"/>
                  </a:cubicBezTo>
                  <a:cubicBezTo>
                    <a:pt x="9525" y="3718"/>
                    <a:pt x="9356" y="4323"/>
                    <a:pt x="9187" y="4323"/>
                  </a:cubicBezTo>
                  <a:cubicBezTo>
                    <a:pt x="8850" y="4525"/>
                    <a:pt x="9356" y="3314"/>
                    <a:pt x="9356" y="3314"/>
                  </a:cubicBezTo>
                  <a:cubicBezTo>
                    <a:pt x="9187" y="3314"/>
                    <a:pt x="8850" y="3516"/>
                    <a:pt x="8850" y="3516"/>
                  </a:cubicBezTo>
                  <a:cubicBezTo>
                    <a:pt x="8681" y="3718"/>
                    <a:pt x="9018" y="3919"/>
                    <a:pt x="9018" y="3919"/>
                  </a:cubicBezTo>
                  <a:cubicBezTo>
                    <a:pt x="8850" y="3919"/>
                    <a:pt x="8850" y="3919"/>
                    <a:pt x="8681" y="3919"/>
                  </a:cubicBezTo>
                  <a:cubicBezTo>
                    <a:pt x="8681" y="3919"/>
                    <a:pt x="8681" y="4121"/>
                    <a:pt x="8512" y="4323"/>
                  </a:cubicBezTo>
                  <a:cubicBezTo>
                    <a:pt x="8681" y="4121"/>
                    <a:pt x="7837" y="4121"/>
                    <a:pt x="8175" y="4323"/>
                  </a:cubicBezTo>
                  <a:cubicBezTo>
                    <a:pt x="8175" y="4525"/>
                    <a:pt x="8512" y="4323"/>
                    <a:pt x="8512" y="4323"/>
                  </a:cubicBezTo>
                  <a:cubicBezTo>
                    <a:pt x="8512" y="4323"/>
                    <a:pt x="8343" y="4525"/>
                    <a:pt x="8512" y="4525"/>
                  </a:cubicBezTo>
                  <a:cubicBezTo>
                    <a:pt x="8512" y="4525"/>
                    <a:pt x="8681" y="4525"/>
                    <a:pt x="8681" y="4323"/>
                  </a:cubicBezTo>
                  <a:cubicBezTo>
                    <a:pt x="8681" y="4323"/>
                    <a:pt x="8681" y="4727"/>
                    <a:pt x="8512" y="4727"/>
                  </a:cubicBezTo>
                  <a:cubicBezTo>
                    <a:pt x="8343" y="4727"/>
                    <a:pt x="8343" y="4525"/>
                    <a:pt x="8175" y="4525"/>
                  </a:cubicBezTo>
                  <a:cubicBezTo>
                    <a:pt x="8006" y="4727"/>
                    <a:pt x="8006" y="5131"/>
                    <a:pt x="7837" y="5131"/>
                  </a:cubicBezTo>
                  <a:cubicBezTo>
                    <a:pt x="7837" y="5131"/>
                    <a:pt x="7331" y="5131"/>
                    <a:pt x="7331" y="5131"/>
                  </a:cubicBezTo>
                  <a:cubicBezTo>
                    <a:pt x="7331" y="5736"/>
                    <a:pt x="8512" y="4929"/>
                    <a:pt x="8512" y="4929"/>
                  </a:cubicBezTo>
                  <a:cubicBezTo>
                    <a:pt x="8681" y="4929"/>
                    <a:pt x="8850" y="4727"/>
                    <a:pt x="9018" y="4929"/>
                  </a:cubicBezTo>
                  <a:cubicBezTo>
                    <a:pt x="9356" y="4929"/>
                    <a:pt x="9187" y="4525"/>
                    <a:pt x="9018" y="4525"/>
                  </a:cubicBezTo>
                  <a:cubicBezTo>
                    <a:pt x="9187" y="4525"/>
                    <a:pt x="9187" y="4525"/>
                    <a:pt x="9187" y="4525"/>
                  </a:cubicBezTo>
                  <a:cubicBezTo>
                    <a:pt x="9356" y="4929"/>
                    <a:pt x="9525" y="4525"/>
                    <a:pt x="9693" y="4525"/>
                  </a:cubicBezTo>
                  <a:cubicBezTo>
                    <a:pt x="9525" y="4525"/>
                    <a:pt x="9525" y="4929"/>
                    <a:pt x="9356" y="4929"/>
                  </a:cubicBezTo>
                  <a:cubicBezTo>
                    <a:pt x="9525" y="4929"/>
                    <a:pt x="9693" y="4929"/>
                    <a:pt x="9693" y="4929"/>
                  </a:cubicBezTo>
                  <a:cubicBezTo>
                    <a:pt x="9693" y="4929"/>
                    <a:pt x="9356" y="5131"/>
                    <a:pt x="9356" y="5332"/>
                  </a:cubicBezTo>
                  <a:cubicBezTo>
                    <a:pt x="9356" y="5332"/>
                    <a:pt x="10200" y="4929"/>
                    <a:pt x="10200" y="5131"/>
                  </a:cubicBezTo>
                  <a:cubicBezTo>
                    <a:pt x="10031" y="5332"/>
                    <a:pt x="9525" y="5131"/>
                    <a:pt x="9525" y="5534"/>
                  </a:cubicBezTo>
                  <a:cubicBezTo>
                    <a:pt x="9356" y="6140"/>
                    <a:pt x="9018" y="5332"/>
                    <a:pt x="9018" y="5332"/>
                  </a:cubicBezTo>
                  <a:cubicBezTo>
                    <a:pt x="9018" y="5131"/>
                    <a:pt x="9018" y="5736"/>
                    <a:pt x="9018" y="5736"/>
                  </a:cubicBezTo>
                  <a:cubicBezTo>
                    <a:pt x="9018" y="5736"/>
                    <a:pt x="8850" y="5332"/>
                    <a:pt x="8681" y="5332"/>
                  </a:cubicBezTo>
                  <a:cubicBezTo>
                    <a:pt x="8512" y="5534"/>
                    <a:pt x="8175" y="5938"/>
                    <a:pt x="8175" y="6140"/>
                  </a:cubicBezTo>
                  <a:cubicBezTo>
                    <a:pt x="8175" y="6140"/>
                    <a:pt x="8512" y="5938"/>
                    <a:pt x="8512" y="5938"/>
                  </a:cubicBezTo>
                  <a:cubicBezTo>
                    <a:pt x="8512" y="6140"/>
                    <a:pt x="8850" y="5938"/>
                    <a:pt x="8850" y="6140"/>
                  </a:cubicBezTo>
                  <a:cubicBezTo>
                    <a:pt x="8850" y="5938"/>
                    <a:pt x="8343" y="6140"/>
                    <a:pt x="8343" y="6342"/>
                  </a:cubicBezTo>
                  <a:cubicBezTo>
                    <a:pt x="8512" y="6544"/>
                    <a:pt x="9018" y="6140"/>
                    <a:pt x="8850" y="6544"/>
                  </a:cubicBezTo>
                  <a:cubicBezTo>
                    <a:pt x="9018" y="6140"/>
                    <a:pt x="7837" y="6746"/>
                    <a:pt x="7837" y="6746"/>
                  </a:cubicBezTo>
                  <a:cubicBezTo>
                    <a:pt x="7837" y="6544"/>
                    <a:pt x="8850" y="6947"/>
                    <a:pt x="8681" y="6947"/>
                  </a:cubicBezTo>
                  <a:cubicBezTo>
                    <a:pt x="8512" y="7149"/>
                    <a:pt x="8343" y="6746"/>
                    <a:pt x="8175" y="6947"/>
                  </a:cubicBezTo>
                  <a:cubicBezTo>
                    <a:pt x="8175" y="6947"/>
                    <a:pt x="8175" y="6947"/>
                    <a:pt x="8175" y="6947"/>
                  </a:cubicBezTo>
                  <a:cubicBezTo>
                    <a:pt x="8175" y="7149"/>
                    <a:pt x="7668" y="6746"/>
                    <a:pt x="7500" y="7149"/>
                  </a:cubicBezTo>
                  <a:cubicBezTo>
                    <a:pt x="7500" y="7149"/>
                    <a:pt x="8006" y="7149"/>
                    <a:pt x="8006" y="7149"/>
                  </a:cubicBezTo>
                  <a:cubicBezTo>
                    <a:pt x="7668" y="7553"/>
                    <a:pt x="7331" y="7149"/>
                    <a:pt x="7500" y="7755"/>
                  </a:cubicBezTo>
                  <a:cubicBezTo>
                    <a:pt x="7500" y="7755"/>
                    <a:pt x="7162" y="7957"/>
                    <a:pt x="7162" y="7957"/>
                  </a:cubicBezTo>
                  <a:cubicBezTo>
                    <a:pt x="6993" y="8159"/>
                    <a:pt x="6993" y="8159"/>
                    <a:pt x="6993" y="8159"/>
                  </a:cubicBezTo>
                  <a:cubicBezTo>
                    <a:pt x="6993" y="8361"/>
                    <a:pt x="6825" y="8361"/>
                    <a:pt x="6825" y="8361"/>
                  </a:cubicBezTo>
                  <a:cubicBezTo>
                    <a:pt x="6825" y="8562"/>
                    <a:pt x="6993" y="8361"/>
                    <a:pt x="6993" y="8361"/>
                  </a:cubicBezTo>
                  <a:cubicBezTo>
                    <a:pt x="7162" y="8361"/>
                    <a:pt x="6993" y="8562"/>
                    <a:pt x="6993" y="8562"/>
                  </a:cubicBezTo>
                  <a:cubicBezTo>
                    <a:pt x="7162" y="8562"/>
                    <a:pt x="7500" y="8764"/>
                    <a:pt x="7668" y="8562"/>
                  </a:cubicBezTo>
                  <a:cubicBezTo>
                    <a:pt x="7331" y="8764"/>
                    <a:pt x="7331" y="8764"/>
                    <a:pt x="6993" y="8764"/>
                  </a:cubicBezTo>
                  <a:cubicBezTo>
                    <a:pt x="6825" y="8764"/>
                    <a:pt x="6318" y="8764"/>
                    <a:pt x="6318" y="8966"/>
                  </a:cubicBezTo>
                  <a:cubicBezTo>
                    <a:pt x="6318" y="8966"/>
                    <a:pt x="6487" y="8966"/>
                    <a:pt x="6487" y="8966"/>
                  </a:cubicBezTo>
                  <a:cubicBezTo>
                    <a:pt x="6487" y="8966"/>
                    <a:pt x="6318" y="9168"/>
                    <a:pt x="6318" y="9168"/>
                  </a:cubicBezTo>
                  <a:cubicBezTo>
                    <a:pt x="6318" y="9168"/>
                    <a:pt x="6656" y="8966"/>
                    <a:pt x="6656" y="9168"/>
                  </a:cubicBezTo>
                  <a:cubicBezTo>
                    <a:pt x="6656" y="9168"/>
                    <a:pt x="6318" y="9572"/>
                    <a:pt x="6318" y="9572"/>
                  </a:cubicBezTo>
                  <a:cubicBezTo>
                    <a:pt x="6318" y="9572"/>
                    <a:pt x="6487" y="9572"/>
                    <a:pt x="6487" y="9774"/>
                  </a:cubicBezTo>
                  <a:cubicBezTo>
                    <a:pt x="6487" y="9774"/>
                    <a:pt x="6150" y="9774"/>
                    <a:pt x="6150" y="9774"/>
                  </a:cubicBezTo>
                  <a:cubicBezTo>
                    <a:pt x="6150" y="9774"/>
                    <a:pt x="6487" y="9975"/>
                    <a:pt x="6487" y="9975"/>
                  </a:cubicBezTo>
                  <a:cubicBezTo>
                    <a:pt x="6318" y="9975"/>
                    <a:pt x="6150" y="9975"/>
                    <a:pt x="6150" y="9975"/>
                  </a:cubicBezTo>
                  <a:cubicBezTo>
                    <a:pt x="6150" y="10177"/>
                    <a:pt x="6318" y="10379"/>
                    <a:pt x="6487" y="10379"/>
                  </a:cubicBezTo>
                  <a:cubicBezTo>
                    <a:pt x="6150" y="10379"/>
                    <a:pt x="5812" y="10379"/>
                    <a:pt x="5643" y="10783"/>
                  </a:cubicBezTo>
                  <a:cubicBezTo>
                    <a:pt x="5643" y="10985"/>
                    <a:pt x="4969" y="10783"/>
                    <a:pt x="4969" y="10783"/>
                  </a:cubicBezTo>
                  <a:cubicBezTo>
                    <a:pt x="4969" y="11389"/>
                    <a:pt x="5981" y="10783"/>
                    <a:pt x="6150" y="10783"/>
                  </a:cubicBezTo>
                  <a:cubicBezTo>
                    <a:pt x="5981" y="10783"/>
                    <a:pt x="5812" y="11187"/>
                    <a:pt x="5812" y="11187"/>
                  </a:cubicBezTo>
                  <a:cubicBezTo>
                    <a:pt x="5306" y="11187"/>
                    <a:pt x="5643" y="11389"/>
                    <a:pt x="5475" y="11590"/>
                  </a:cubicBezTo>
                  <a:cubicBezTo>
                    <a:pt x="5306" y="11792"/>
                    <a:pt x="4969" y="11389"/>
                    <a:pt x="4800" y="11590"/>
                  </a:cubicBezTo>
                  <a:cubicBezTo>
                    <a:pt x="4800" y="11792"/>
                    <a:pt x="4293" y="12196"/>
                    <a:pt x="4293" y="12196"/>
                  </a:cubicBezTo>
                  <a:cubicBezTo>
                    <a:pt x="4293" y="12398"/>
                    <a:pt x="4462" y="12398"/>
                    <a:pt x="4462" y="12398"/>
                  </a:cubicBezTo>
                  <a:cubicBezTo>
                    <a:pt x="4462" y="12600"/>
                    <a:pt x="3956" y="12600"/>
                    <a:pt x="3956" y="12600"/>
                  </a:cubicBezTo>
                  <a:cubicBezTo>
                    <a:pt x="3956" y="12600"/>
                    <a:pt x="4125" y="12802"/>
                    <a:pt x="4125" y="13003"/>
                  </a:cubicBezTo>
                  <a:cubicBezTo>
                    <a:pt x="4125" y="13205"/>
                    <a:pt x="4462" y="13003"/>
                    <a:pt x="4631" y="13003"/>
                  </a:cubicBezTo>
                  <a:cubicBezTo>
                    <a:pt x="4800" y="12802"/>
                    <a:pt x="4969" y="13003"/>
                    <a:pt x="5137" y="12802"/>
                  </a:cubicBezTo>
                  <a:cubicBezTo>
                    <a:pt x="5137" y="12802"/>
                    <a:pt x="4969" y="12600"/>
                    <a:pt x="4969" y="12398"/>
                  </a:cubicBezTo>
                  <a:cubicBezTo>
                    <a:pt x="4969" y="12398"/>
                    <a:pt x="5306" y="12600"/>
                    <a:pt x="5475" y="12802"/>
                  </a:cubicBezTo>
                  <a:cubicBezTo>
                    <a:pt x="5475" y="12802"/>
                    <a:pt x="4969" y="13205"/>
                    <a:pt x="4969" y="13205"/>
                  </a:cubicBezTo>
                  <a:cubicBezTo>
                    <a:pt x="4800" y="13205"/>
                    <a:pt x="4631" y="13407"/>
                    <a:pt x="4631" y="13205"/>
                  </a:cubicBezTo>
                  <a:cubicBezTo>
                    <a:pt x="4462" y="13003"/>
                    <a:pt x="4293" y="13407"/>
                    <a:pt x="4125" y="13407"/>
                  </a:cubicBezTo>
                  <a:cubicBezTo>
                    <a:pt x="3956" y="13205"/>
                    <a:pt x="3956" y="12600"/>
                    <a:pt x="3787" y="13205"/>
                  </a:cubicBezTo>
                  <a:cubicBezTo>
                    <a:pt x="3450" y="14013"/>
                    <a:pt x="3281" y="13003"/>
                    <a:pt x="3450" y="13003"/>
                  </a:cubicBezTo>
                  <a:cubicBezTo>
                    <a:pt x="3112" y="13003"/>
                    <a:pt x="3450" y="13811"/>
                    <a:pt x="3112" y="13609"/>
                  </a:cubicBezTo>
                  <a:cubicBezTo>
                    <a:pt x="2437" y="13609"/>
                    <a:pt x="2943" y="14013"/>
                    <a:pt x="2775" y="14215"/>
                  </a:cubicBezTo>
                  <a:cubicBezTo>
                    <a:pt x="2606" y="14215"/>
                    <a:pt x="2606" y="13811"/>
                    <a:pt x="2606" y="13811"/>
                  </a:cubicBezTo>
                  <a:cubicBezTo>
                    <a:pt x="2268" y="13811"/>
                    <a:pt x="1931" y="14013"/>
                    <a:pt x="1762" y="14215"/>
                  </a:cubicBezTo>
                  <a:cubicBezTo>
                    <a:pt x="1762" y="14417"/>
                    <a:pt x="2437" y="14417"/>
                    <a:pt x="2606" y="14417"/>
                  </a:cubicBezTo>
                  <a:cubicBezTo>
                    <a:pt x="2606" y="14417"/>
                    <a:pt x="3112" y="14215"/>
                    <a:pt x="3112" y="14215"/>
                  </a:cubicBezTo>
                  <a:cubicBezTo>
                    <a:pt x="3281" y="14417"/>
                    <a:pt x="2437" y="14417"/>
                    <a:pt x="2437" y="14417"/>
                  </a:cubicBezTo>
                  <a:cubicBezTo>
                    <a:pt x="2268" y="14417"/>
                    <a:pt x="2268" y="14618"/>
                    <a:pt x="2100" y="14618"/>
                  </a:cubicBezTo>
                  <a:cubicBezTo>
                    <a:pt x="1931" y="14618"/>
                    <a:pt x="1762" y="14618"/>
                    <a:pt x="1593" y="14618"/>
                  </a:cubicBezTo>
                  <a:cubicBezTo>
                    <a:pt x="1256" y="14417"/>
                    <a:pt x="1087" y="14618"/>
                    <a:pt x="1425" y="14820"/>
                  </a:cubicBezTo>
                  <a:cubicBezTo>
                    <a:pt x="1593" y="14820"/>
                    <a:pt x="1931" y="14820"/>
                    <a:pt x="1931" y="15224"/>
                  </a:cubicBezTo>
                  <a:cubicBezTo>
                    <a:pt x="1931" y="15224"/>
                    <a:pt x="1762" y="15628"/>
                    <a:pt x="1762" y="15426"/>
                  </a:cubicBezTo>
                  <a:cubicBezTo>
                    <a:pt x="1593" y="15426"/>
                    <a:pt x="1931" y="15022"/>
                    <a:pt x="1593" y="14820"/>
                  </a:cubicBezTo>
                  <a:cubicBezTo>
                    <a:pt x="1087" y="14820"/>
                    <a:pt x="1425" y="15022"/>
                    <a:pt x="1256" y="15224"/>
                  </a:cubicBezTo>
                  <a:cubicBezTo>
                    <a:pt x="1256" y="15224"/>
                    <a:pt x="1256" y="14618"/>
                    <a:pt x="1087" y="14618"/>
                  </a:cubicBezTo>
                  <a:cubicBezTo>
                    <a:pt x="1087" y="14417"/>
                    <a:pt x="750" y="15628"/>
                    <a:pt x="918" y="15426"/>
                  </a:cubicBezTo>
                  <a:cubicBezTo>
                    <a:pt x="750" y="15426"/>
                    <a:pt x="750" y="15022"/>
                    <a:pt x="750" y="15022"/>
                  </a:cubicBezTo>
                  <a:cubicBezTo>
                    <a:pt x="581" y="15022"/>
                    <a:pt x="581" y="15426"/>
                    <a:pt x="581" y="15426"/>
                  </a:cubicBezTo>
                  <a:cubicBezTo>
                    <a:pt x="412" y="15628"/>
                    <a:pt x="75" y="15426"/>
                    <a:pt x="75" y="15628"/>
                  </a:cubicBezTo>
                  <a:cubicBezTo>
                    <a:pt x="75" y="15830"/>
                    <a:pt x="-94" y="16032"/>
                    <a:pt x="75" y="16032"/>
                  </a:cubicBezTo>
                  <a:cubicBezTo>
                    <a:pt x="243" y="16032"/>
                    <a:pt x="412" y="16032"/>
                    <a:pt x="581" y="16233"/>
                  </a:cubicBezTo>
                  <a:cubicBezTo>
                    <a:pt x="581" y="16233"/>
                    <a:pt x="-94" y="16435"/>
                    <a:pt x="75" y="16637"/>
                  </a:cubicBezTo>
                  <a:cubicBezTo>
                    <a:pt x="75" y="16839"/>
                    <a:pt x="412" y="16839"/>
                    <a:pt x="412" y="16839"/>
                  </a:cubicBezTo>
                  <a:cubicBezTo>
                    <a:pt x="412" y="16839"/>
                    <a:pt x="918" y="16637"/>
                    <a:pt x="918" y="16839"/>
                  </a:cubicBezTo>
                  <a:cubicBezTo>
                    <a:pt x="750" y="17041"/>
                    <a:pt x="243" y="16839"/>
                    <a:pt x="75" y="17243"/>
                  </a:cubicBezTo>
                  <a:cubicBezTo>
                    <a:pt x="-94" y="17445"/>
                    <a:pt x="918" y="17445"/>
                    <a:pt x="581" y="17848"/>
                  </a:cubicBezTo>
                  <a:cubicBezTo>
                    <a:pt x="581" y="17848"/>
                    <a:pt x="412" y="17445"/>
                    <a:pt x="243" y="17646"/>
                  </a:cubicBezTo>
                  <a:cubicBezTo>
                    <a:pt x="75" y="17848"/>
                    <a:pt x="75" y="18050"/>
                    <a:pt x="243" y="18252"/>
                  </a:cubicBezTo>
                  <a:cubicBezTo>
                    <a:pt x="412" y="18252"/>
                    <a:pt x="750" y="18454"/>
                    <a:pt x="918" y="18454"/>
                  </a:cubicBezTo>
                  <a:cubicBezTo>
                    <a:pt x="1087" y="18252"/>
                    <a:pt x="1256" y="17848"/>
                    <a:pt x="1425" y="18050"/>
                  </a:cubicBezTo>
                  <a:cubicBezTo>
                    <a:pt x="1256" y="18050"/>
                    <a:pt x="1087" y="18252"/>
                    <a:pt x="1087" y="18252"/>
                  </a:cubicBezTo>
                  <a:cubicBezTo>
                    <a:pt x="1087" y="18454"/>
                    <a:pt x="918" y="18454"/>
                    <a:pt x="750" y="18454"/>
                  </a:cubicBezTo>
                  <a:cubicBezTo>
                    <a:pt x="750" y="18454"/>
                    <a:pt x="1087" y="18656"/>
                    <a:pt x="1087" y="18858"/>
                  </a:cubicBezTo>
                  <a:cubicBezTo>
                    <a:pt x="1087" y="18858"/>
                    <a:pt x="581" y="18454"/>
                    <a:pt x="750" y="18858"/>
                  </a:cubicBezTo>
                  <a:cubicBezTo>
                    <a:pt x="750" y="19060"/>
                    <a:pt x="1256" y="19261"/>
                    <a:pt x="1256" y="19261"/>
                  </a:cubicBezTo>
                  <a:cubicBezTo>
                    <a:pt x="1256" y="19463"/>
                    <a:pt x="750" y="19060"/>
                    <a:pt x="581" y="19261"/>
                  </a:cubicBezTo>
                  <a:cubicBezTo>
                    <a:pt x="243" y="19261"/>
                    <a:pt x="581" y="18656"/>
                    <a:pt x="412" y="18656"/>
                  </a:cubicBezTo>
                  <a:cubicBezTo>
                    <a:pt x="412" y="18656"/>
                    <a:pt x="75" y="19060"/>
                    <a:pt x="243" y="19261"/>
                  </a:cubicBezTo>
                  <a:cubicBezTo>
                    <a:pt x="412" y="19261"/>
                    <a:pt x="243" y="19665"/>
                    <a:pt x="243" y="19665"/>
                  </a:cubicBezTo>
                  <a:cubicBezTo>
                    <a:pt x="412" y="19867"/>
                    <a:pt x="581" y="19463"/>
                    <a:pt x="750" y="19261"/>
                  </a:cubicBezTo>
                  <a:cubicBezTo>
                    <a:pt x="750" y="19261"/>
                    <a:pt x="750" y="19463"/>
                    <a:pt x="750" y="19463"/>
                  </a:cubicBezTo>
                  <a:cubicBezTo>
                    <a:pt x="918" y="19463"/>
                    <a:pt x="918" y="19261"/>
                    <a:pt x="1087" y="19261"/>
                  </a:cubicBezTo>
                  <a:cubicBezTo>
                    <a:pt x="1087" y="19261"/>
                    <a:pt x="1087" y="19665"/>
                    <a:pt x="918" y="19665"/>
                  </a:cubicBezTo>
                  <a:cubicBezTo>
                    <a:pt x="581" y="19867"/>
                    <a:pt x="1256" y="20271"/>
                    <a:pt x="1256" y="20069"/>
                  </a:cubicBezTo>
                  <a:cubicBezTo>
                    <a:pt x="1256" y="20473"/>
                    <a:pt x="75" y="20069"/>
                    <a:pt x="750" y="20675"/>
                  </a:cubicBezTo>
                  <a:cubicBezTo>
                    <a:pt x="1087" y="20876"/>
                    <a:pt x="1256" y="21078"/>
                    <a:pt x="1593" y="21078"/>
                  </a:cubicBezTo>
                  <a:cubicBezTo>
                    <a:pt x="1593" y="21078"/>
                    <a:pt x="2100" y="21482"/>
                    <a:pt x="2268" y="21482"/>
                  </a:cubicBezTo>
                  <a:cubicBezTo>
                    <a:pt x="2775" y="21482"/>
                    <a:pt x="3450" y="20876"/>
                    <a:pt x="3787" y="20473"/>
                  </a:cubicBezTo>
                  <a:cubicBezTo>
                    <a:pt x="3956" y="20069"/>
                    <a:pt x="4125" y="20069"/>
                    <a:pt x="4462" y="19867"/>
                  </a:cubicBezTo>
                  <a:cubicBezTo>
                    <a:pt x="4631" y="19665"/>
                    <a:pt x="4631" y="19060"/>
                    <a:pt x="4800" y="19060"/>
                  </a:cubicBezTo>
                  <a:cubicBezTo>
                    <a:pt x="4800" y="19060"/>
                    <a:pt x="4800" y="19665"/>
                    <a:pt x="4969" y="19665"/>
                  </a:cubicBezTo>
                  <a:cubicBezTo>
                    <a:pt x="5306" y="19867"/>
                    <a:pt x="5137" y="19867"/>
                    <a:pt x="5137" y="20069"/>
                  </a:cubicBezTo>
                  <a:cubicBezTo>
                    <a:pt x="5306" y="20069"/>
                    <a:pt x="5475" y="20069"/>
                    <a:pt x="5643" y="20271"/>
                  </a:cubicBezTo>
                  <a:cubicBezTo>
                    <a:pt x="5643" y="20473"/>
                    <a:pt x="5475" y="20069"/>
                    <a:pt x="5643" y="2027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2" name="Shape 2141">
              <a:extLst>
                <a:ext uri="{FF2B5EF4-FFF2-40B4-BE49-F238E27FC236}">
                  <a16:creationId xmlns:a16="http://schemas.microsoft.com/office/drawing/2014/main" id="{8321B19D-D835-9248-AB8E-5FDF41C0797C}"/>
                </a:ext>
              </a:extLst>
            </p:cNvPr>
            <p:cNvSpPr/>
            <p:nvPr/>
          </p:nvSpPr>
          <p:spPr>
            <a:xfrm>
              <a:off x="6402025" y="460208"/>
              <a:ext cx="5327144" cy="1847360"/>
            </a:xfrm>
            <a:custGeom>
              <a:avLst/>
              <a:gdLst/>
              <a:ahLst/>
              <a:cxnLst>
                <a:cxn ang="0">
                  <a:pos x="wd2" y="hd2"/>
                </a:cxn>
                <a:cxn ang="5400000">
                  <a:pos x="wd2" y="hd2"/>
                </a:cxn>
                <a:cxn ang="10800000">
                  <a:pos x="wd2" y="hd2"/>
                </a:cxn>
                <a:cxn ang="16200000">
                  <a:pos x="wd2" y="hd2"/>
                </a:cxn>
              </a:cxnLst>
              <a:rect l="0" t="0" r="r" b="b"/>
              <a:pathLst>
                <a:path w="21558" h="21438" extrusionOk="0">
                  <a:moveTo>
                    <a:pt x="21531" y="8457"/>
                  </a:moveTo>
                  <a:cubicBezTo>
                    <a:pt x="21477" y="8304"/>
                    <a:pt x="21397" y="8227"/>
                    <a:pt x="21344" y="8074"/>
                  </a:cubicBezTo>
                  <a:cubicBezTo>
                    <a:pt x="21317" y="7998"/>
                    <a:pt x="21291" y="7921"/>
                    <a:pt x="21237" y="7844"/>
                  </a:cubicBezTo>
                  <a:cubicBezTo>
                    <a:pt x="21211" y="7844"/>
                    <a:pt x="21157" y="7844"/>
                    <a:pt x="21131" y="7768"/>
                  </a:cubicBezTo>
                  <a:cubicBezTo>
                    <a:pt x="21131" y="7844"/>
                    <a:pt x="21157" y="7844"/>
                    <a:pt x="21157" y="7844"/>
                  </a:cubicBezTo>
                  <a:cubicBezTo>
                    <a:pt x="21184" y="7844"/>
                    <a:pt x="21104" y="7921"/>
                    <a:pt x="21077" y="7844"/>
                  </a:cubicBezTo>
                  <a:cubicBezTo>
                    <a:pt x="21077" y="7844"/>
                    <a:pt x="21104" y="7844"/>
                    <a:pt x="21104" y="7768"/>
                  </a:cubicBezTo>
                  <a:cubicBezTo>
                    <a:pt x="21077" y="7691"/>
                    <a:pt x="20944" y="7844"/>
                    <a:pt x="20917" y="7768"/>
                  </a:cubicBezTo>
                  <a:cubicBezTo>
                    <a:pt x="20971" y="7844"/>
                    <a:pt x="20971" y="7844"/>
                    <a:pt x="20971" y="8074"/>
                  </a:cubicBezTo>
                  <a:cubicBezTo>
                    <a:pt x="20944" y="8151"/>
                    <a:pt x="20997" y="8304"/>
                    <a:pt x="20997" y="8304"/>
                  </a:cubicBezTo>
                  <a:cubicBezTo>
                    <a:pt x="20971" y="8304"/>
                    <a:pt x="20971" y="8227"/>
                    <a:pt x="20971" y="8227"/>
                  </a:cubicBezTo>
                  <a:cubicBezTo>
                    <a:pt x="20944" y="8151"/>
                    <a:pt x="20944" y="8304"/>
                    <a:pt x="20917" y="8304"/>
                  </a:cubicBezTo>
                  <a:cubicBezTo>
                    <a:pt x="20917" y="8304"/>
                    <a:pt x="20864" y="7998"/>
                    <a:pt x="20864" y="7998"/>
                  </a:cubicBezTo>
                  <a:cubicBezTo>
                    <a:pt x="20864" y="7921"/>
                    <a:pt x="20864" y="7921"/>
                    <a:pt x="20864" y="7921"/>
                  </a:cubicBezTo>
                  <a:cubicBezTo>
                    <a:pt x="20864" y="7844"/>
                    <a:pt x="20837" y="7768"/>
                    <a:pt x="20864" y="7691"/>
                  </a:cubicBezTo>
                  <a:cubicBezTo>
                    <a:pt x="20891" y="7538"/>
                    <a:pt x="20837" y="7615"/>
                    <a:pt x="20811" y="7538"/>
                  </a:cubicBezTo>
                  <a:cubicBezTo>
                    <a:pt x="20811" y="7461"/>
                    <a:pt x="20757" y="7385"/>
                    <a:pt x="20731" y="7385"/>
                  </a:cubicBezTo>
                  <a:cubicBezTo>
                    <a:pt x="20544" y="7078"/>
                    <a:pt x="20384" y="6772"/>
                    <a:pt x="20197" y="6619"/>
                  </a:cubicBezTo>
                  <a:cubicBezTo>
                    <a:pt x="20144" y="6542"/>
                    <a:pt x="20117" y="6466"/>
                    <a:pt x="20091" y="6389"/>
                  </a:cubicBezTo>
                  <a:cubicBezTo>
                    <a:pt x="20064" y="6312"/>
                    <a:pt x="20011" y="6236"/>
                    <a:pt x="19957" y="6236"/>
                  </a:cubicBezTo>
                  <a:cubicBezTo>
                    <a:pt x="19877" y="6159"/>
                    <a:pt x="19797" y="6083"/>
                    <a:pt x="19691" y="5929"/>
                  </a:cubicBezTo>
                  <a:cubicBezTo>
                    <a:pt x="19611" y="5929"/>
                    <a:pt x="19504" y="5929"/>
                    <a:pt x="19451" y="5929"/>
                  </a:cubicBezTo>
                  <a:cubicBezTo>
                    <a:pt x="19397" y="5929"/>
                    <a:pt x="19371" y="5929"/>
                    <a:pt x="19344" y="5929"/>
                  </a:cubicBezTo>
                  <a:cubicBezTo>
                    <a:pt x="19344" y="5929"/>
                    <a:pt x="19317" y="5853"/>
                    <a:pt x="19317" y="5853"/>
                  </a:cubicBezTo>
                  <a:cubicBezTo>
                    <a:pt x="19291" y="5929"/>
                    <a:pt x="19291" y="6006"/>
                    <a:pt x="19264" y="5929"/>
                  </a:cubicBezTo>
                  <a:cubicBezTo>
                    <a:pt x="19184" y="5929"/>
                    <a:pt x="19104" y="5853"/>
                    <a:pt x="19024" y="5776"/>
                  </a:cubicBezTo>
                  <a:cubicBezTo>
                    <a:pt x="18997" y="5776"/>
                    <a:pt x="18917" y="5700"/>
                    <a:pt x="18917" y="5853"/>
                  </a:cubicBezTo>
                  <a:cubicBezTo>
                    <a:pt x="18891" y="6006"/>
                    <a:pt x="18864" y="6006"/>
                    <a:pt x="18917" y="6083"/>
                  </a:cubicBezTo>
                  <a:cubicBezTo>
                    <a:pt x="18971" y="6236"/>
                    <a:pt x="19024" y="6542"/>
                    <a:pt x="18891" y="6619"/>
                  </a:cubicBezTo>
                  <a:cubicBezTo>
                    <a:pt x="18864" y="6695"/>
                    <a:pt x="18784" y="6695"/>
                    <a:pt x="18757" y="6542"/>
                  </a:cubicBezTo>
                  <a:cubicBezTo>
                    <a:pt x="18731" y="6466"/>
                    <a:pt x="18731" y="6389"/>
                    <a:pt x="18651" y="6389"/>
                  </a:cubicBezTo>
                  <a:cubicBezTo>
                    <a:pt x="18571" y="6312"/>
                    <a:pt x="18624" y="6236"/>
                    <a:pt x="18597" y="6159"/>
                  </a:cubicBezTo>
                  <a:cubicBezTo>
                    <a:pt x="18597" y="6083"/>
                    <a:pt x="18517" y="6006"/>
                    <a:pt x="18491" y="6083"/>
                  </a:cubicBezTo>
                  <a:cubicBezTo>
                    <a:pt x="18411" y="6312"/>
                    <a:pt x="18277" y="6083"/>
                    <a:pt x="18171" y="6083"/>
                  </a:cubicBezTo>
                  <a:cubicBezTo>
                    <a:pt x="18064" y="6083"/>
                    <a:pt x="17957" y="6006"/>
                    <a:pt x="17851" y="6006"/>
                  </a:cubicBezTo>
                  <a:cubicBezTo>
                    <a:pt x="17797" y="6006"/>
                    <a:pt x="17771" y="6006"/>
                    <a:pt x="17717" y="6083"/>
                  </a:cubicBezTo>
                  <a:cubicBezTo>
                    <a:pt x="17664" y="6159"/>
                    <a:pt x="17691" y="6389"/>
                    <a:pt x="17691" y="6542"/>
                  </a:cubicBezTo>
                  <a:cubicBezTo>
                    <a:pt x="17691" y="6542"/>
                    <a:pt x="17691" y="6542"/>
                    <a:pt x="17691" y="6542"/>
                  </a:cubicBezTo>
                  <a:cubicBezTo>
                    <a:pt x="17664" y="6542"/>
                    <a:pt x="17637" y="6159"/>
                    <a:pt x="17611" y="6083"/>
                  </a:cubicBezTo>
                  <a:cubicBezTo>
                    <a:pt x="17584" y="6083"/>
                    <a:pt x="17477" y="6083"/>
                    <a:pt x="17451" y="5929"/>
                  </a:cubicBezTo>
                  <a:cubicBezTo>
                    <a:pt x="17451" y="5700"/>
                    <a:pt x="17557" y="5623"/>
                    <a:pt x="17451" y="5393"/>
                  </a:cubicBezTo>
                  <a:cubicBezTo>
                    <a:pt x="17397" y="5317"/>
                    <a:pt x="17344" y="5240"/>
                    <a:pt x="17264" y="5164"/>
                  </a:cubicBezTo>
                  <a:cubicBezTo>
                    <a:pt x="17104" y="5010"/>
                    <a:pt x="16917" y="5164"/>
                    <a:pt x="16757" y="5240"/>
                  </a:cubicBezTo>
                  <a:cubicBezTo>
                    <a:pt x="16677" y="5240"/>
                    <a:pt x="16597" y="5240"/>
                    <a:pt x="16491" y="5240"/>
                  </a:cubicBezTo>
                  <a:cubicBezTo>
                    <a:pt x="16464" y="5240"/>
                    <a:pt x="16464" y="5240"/>
                    <a:pt x="16437" y="5240"/>
                  </a:cubicBezTo>
                  <a:cubicBezTo>
                    <a:pt x="16384" y="5164"/>
                    <a:pt x="16437" y="5164"/>
                    <a:pt x="16464" y="5087"/>
                  </a:cubicBezTo>
                  <a:cubicBezTo>
                    <a:pt x="16464" y="5010"/>
                    <a:pt x="16331" y="4934"/>
                    <a:pt x="16331" y="4934"/>
                  </a:cubicBezTo>
                  <a:cubicBezTo>
                    <a:pt x="16304" y="4857"/>
                    <a:pt x="16197" y="4934"/>
                    <a:pt x="16171" y="4934"/>
                  </a:cubicBezTo>
                  <a:cubicBezTo>
                    <a:pt x="16171" y="4934"/>
                    <a:pt x="16277" y="4857"/>
                    <a:pt x="16251" y="4781"/>
                  </a:cubicBezTo>
                  <a:cubicBezTo>
                    <a:pt x="16224" y="4781"/>
                    <a:pt x="16197" y="4857"/>
                    <a:pt x="16171" y="4857"/>
                  </a:cubicBezTo>
                  <a:cubicBezTo>
                    <a:pt x="16144" y="4781"/>
                    <a:pt x="16091" y="4704"/>
                    <a:pt x="16091" y="4704"/>
                  </a:cubicBezTo>
                  <a:cubicBezTo>
                    <a:pt x="16064" y="4704"/>
                    <a:pt x="15984" y="4551"/>
                    <a:pt x="16037" y="4551"/>
                  </a:cubicBezTo>
                  <a:cubicBezTo>
                    <a:pt x="16064" y="4551"/>
                    <a:pt x="16117" y="4551"/>
                    <a:pt x="16144" y="4551"/>
                  </a:cubicBezTo>
                  <a:cubicBezTo>
                    <a:pt x="16224" y="4551"/>
                    <a:pt x="16117" y="4321"/>
                    <a:pt x="16091" y="4321"/>
                  </a:cubicBezTo>
                  <a:cubicBezTo>
                    <a:pt x="16037" y="4168"/>
                    <a:pt x="15904" y="4244"/>
                    <a:pt x="15824" y="4168"/>
                  </a:cubicBezTo>
                  <a:cubicBezTo>
                    <a:pt x="15771" y="4168"/>
                    <a:pt x="15744" y="4321"/>
                    <a:pt x="15691" y="4474"/>
                  </a:cubicBezTo>
                  <a:cubicBezTo>
                    <a:pt x="15691" y="4474"/>
                    <a:pt x="15504" y="4781"/>
                    <a:pt x="15504" y="4551"/>
                  </a:cubicBezTo>
                  <a:cubicBezTo>
                    <a:pt x="15531" y="4398"/>
                    <a:pt x="15557" y="4551"/>
                    <a:pt x="15611" y="4474"/>
                  </a:cubicBezTo>
                  <a:cubicBezTo>
                    <a:pt x="15611" y="4474"/>
                    <a:pt x="15584" y="4244"/>
                    <a:pt x="15557" y="4244"/>
                  </a:cubicBezTo>
                  <a:cubicBezTo>
                    <a:pt x="15557" y="4244"/>
                    <a:pt x="15397" y="4244"/>
                    <a:pt x="15397" y="4244"/>
                  </a:cubicBezTo>
                  <a:cubicBezTo>
                    <a:pt x="15424" y="4168"/>
                    <a:pt x="15477" y="4091"/>
                    <a:pt x="15531" y="4091"/>
                  </a:cubicBezTo>
                  <a:cubicBezTo>
                    <a:pt x="15557" y="4168"/>
                    <a:pt x="15744" y="4168"/>
                    <a:pt x="15744" y="4168"/>
                  </a:cubicBezTo>
                  <a:cubicBezTo>
                    <a:pt x="15744" y="4091"/>
                    <a:pt x="15584" y="4091"/>
                    <a:pt x="15557" y="4015"/>
                  </a:cubicBezTo>
                  <a:cubicBezTo>
                    <a:pt x="15504" y="4015"/>
                    <a:pt x="15451" y="4015"/>
                    <a:pt x="15397" y="4015"/>
                  </a:cubicBezTo>
                  <a:cubicBezTo>
                    <a:pt x="15291" y="3938"/>
                    <a:pt x="15184" y="3938"/>
                    <a:pt x="15077" y="3861"/>
                  </a:cubicBezTo>
                  <a:cubicBezTo>
                    <a:pt x="15051" y="3861"/>
                    <a:pt x="14944" y="3785"/>
                    <a:pt x="14944" y="3785"/>
                  </a:cubicBezTo>
                  <a:cubicBezTo>
                    <a:pt x="14944" y="3861"/>
                    <a:pt x="14971" y="3938"/>
                    <a:pt x="14944" y="3938"/>
                  </a:cubicBezTo>
                  <a:cubicBezTo>
                    <a:pt x="14917" y="4015"/>
                    <a:pt x="14891" y="4015"/>
                    <a:pt x="14864" y="4015"/>
                  </a:cubicBezTo>
                  <a:cubicBezTo>
                    <a:pt x="14837" y="4015"/>
                    <a:pt x="14704" y="4091"/>
                    <a:pt x="14731" y="4244"/>
                  </a:cubicBezTo>
                  <a:cubicBezTo>
                    <a:pt x="14757" y="4398"/>
                    <a:pt x="14811" y="4168"/>
                    <a:pt x="14837" y="4244"/>
                  </a:cubicBezTo>
                  <a:cubicBezTo>
                    <a:pt x="14837" y="4244"/>
                    <a:pt x="14757" y="4321"/>
                    <a:pt x="14784" y="4474"/>
                  </a:cubicBezTo>
                  <a:cubicBezTo>
                    <a:pt x="14811" y="4474"/>
                    <a:pt x="14784" y="4551"/>
                    <a:pt x="14784" y="4627"/>
                  </a:cubicBezTo>
                  <a:cubicBezTo>
                    <a:pt x="14811" y="4627"/>
                    <a:pt x="14837" y="4704"/>
                    <a:pt x="14837" y="4781"/>
                  </a:cubicBezTo>
                  <a:cubicBezTo>
                    <a:pt x="14837" y="4781"/>
                    <a:pt x="14731" y="4781"/>
                    <a:pt x="14704" y="4781"/>
                  </a:cubicBezTo>
                  <a:cubicBezTo>
                    <a:pt x="14651" y="4781"/>
                    <a:pt x="14704" y="4704"/>
                    <a:pt x="14704" y="4704"/>
                  </a:cubicBezTo>
                  <a:cubicBezTo>
                    <a:pt x="14677" y="4627"/>
                    <a:pt x="14597" y="4704"/>
                    <a:pt x="14597" y="4704"/>
                  </a:cubicBezTo>
                  <a:cubicBezTo>
                    <a:pt x="14544" y="4781"/>
                    <a:pt x="14491" y="4704"/>
                    <a:pt x="14464" y="4704"/>
                  </a:cubicBezTo>
                  <a:cubicBezTo>
                    <a:pt x="14437" y="4704"/>
                    <a:pt x="14544" y="4781"/>
                    <a:pt x="14544" y="4781"/>
                  </a:cubicBezTo>
                  <a:cubicBezTo>
                    <a:pt x="14624" y="4857"/>
                    <a:pt x="14544" y="5010"/>
                    <a:pt x="14517" y="4934"/>
                  </a:cubicBezTo>
                  <a:cubicBezTo>
                    <a:pt x="14491" y="4934"/>
                    <a:pt x="14491" y="4857"/>
                    <a:pt x="14491" y="4781"/>
                  </a:cubicBezTo>
                  <a:cubicBezTo>
                    <a:pt x="14464" y="4781"/>
                    <a:pt x="14437" y="4781"/>
                    <a:pt x="14411" y="4781"/>
                  </a:cubicBezTo>
                  <a:cubicBezTo>
                    <a:pt x="14357" y="4704"/>
                    <a:pt x="14304" y="4627"/>
                    <a:pt x="14224" y="4704"/>
                  </a:cubicBezTo>
                  <a:cubicBezTo>
                    <a:pt x="14144" y="4704"/>
                    <a:pt x="14091" y="4934"/>
                    <a:pt x="14011" y="4781"/>
                  </a:cubicBezTo>
                  <a:cubicBezTo>
                    <a:pt x="13957" y="4704"/>
                    <a:pt x="13904" y="4627"/>
                    <a:pt x="13877" y="4474"/>
                  </a:cubicBezTo>
                  <a:cubicBezTo>
                    <a:pt x="13851" y="4398"/>
                    <a:pt x="13797" y="4704"/>
                    <a:pt x="13771" y="4704"/>
                  </a:cubicBezTo>
                  <a:cubicBezTo>
                    <a:pt x="13744" y="4857"/>
                    <a:pt x="13717" y="5317"/>
                    <a:pt x="13637" y="5240"/>
                  </a:cubicBezTo>
                  <a:cubicBezTo>
                    <a:pt x="13584" y="5164"/>
                    <a:pt x="13531" y="5164"/>
                    <a:pt x="13477" y="5010"/>
                  </a:cubicBezTo>
                  <a:cubicBezTo>
                    <a:pt x="13451" y="4934"/>
                    <a:pt x="13397" y="4781"/>
                    <a:pt x="13371" y="4704"/>
                  </a:cubicBezTo>
                  <a:cubicBezTo>
                    <a:pt x="13344" y="4551"/>
                    <a:pt x="13291" y="4474"/>
                    <a:pt x="13264" y="4398"/>
                  </a:cubicBezTo>
                  <a:cubicBezTo>
                    <a:pt x="13211" y="4244"/>
                    <a:pt x="13317" y="4321"/>
                    <a:pt x="13344" y="4321"/>
                  </a:cubicBezTo>
                  <a:cubicBezTo>
                    <a:pt x="13371" y="4321"/>
                    <a:pt x="13424" y="4244"/>
                    <a:pt x="13424" y="4168"/>
                  </a:cubicBezTo>
                  <a:cubicBezTo>
                    <a:pt x="13424" y="4168"/>
                    <a:pt x="13291" y="3938"/>
                    <a:pt x="13291" y="3938"/>
                  </a:cubicBezTo>
                  <a:cubicBezTo>
                    <a:pt x="13291" y="3938"/>
                    <a:pt x="13371" y="3938"/>
                    <a:pt x="13371" y="3861"/>
                  </a:cubicBezTo>
                  <a:cubicBezTo>
                    <a:pt x="13344" y="3785"/>
                    <a:pt x="13291" y="3785"/>
                    <a:pt x="13291" y="3785"/>
                  </a:cubicBezTo>
                  <a:cubicBezTo>
                    <a:pt x="13291" y="3632"/>
                    <a:pt x="13424" y="3555"/>
                    <a:pt x="13291" y="3478"/>
                  </a:cubicBezTo>
                  <a:cubicBezTo>
                    <a:pt x="13264" y="3478"/>
                    <a:pt x="13237" y="3325"/>
                    <a:pt x="13184" y="3325"/>
                  </a:cubicBezTo>
                  <a:cubicBezTo>
                    <a:pt x="13157" y="3325"/>
                    <a:pt x="13104" y="3249"/>
                    <a:pt x="13077" y="3325"/>
                  </a:cubicBezTo>
                  <a:cubicBezTo>
                    <a:pt x="13051" y="3325"/>
                    <a:pt x="13051" y="3402"/>
                    <a:pt x="13024" y="3402"/>
                  </a:cubicBezTo>
                  <a:cubicBezTo>
                    <a:pt x="12997" y="3325"/>
                    <a:pt x="12997" y="3325"/>
                    <a:pt x="12971" y="3325"/>
                  </a:cubicBezTo>
                  <a:cubicBezTo>
                    <a:pt x="12944" y="3325"/>
                    <a:pt x="12891" y="3325"/>
                    <a:pt x="12864" y="3249"/>
                  </a:cubicBezTo>
                  <a:cubicBezTo>
                    <a:pt x="12837" y="3249"/>
                    <a:pt x="12811" y="3249"/>
                    <a:pt x="12784" y="3095"/>
                  </a:cubicBezTo>
                  <a:cubicBezTo>
                    <a:pt x="12757" y="3095"/>
                    <a:pt x="12784" y="3019"/>
                    <a:pt x="12731" y="3095"/>
                  </a:cubicBezTo>
                  <a:cubicBezTo>
                    <a:pt x="12731" y="3095"/>
                    <a:pt x="12704" y="3172"/>
                    <a:pt x="12677" y="3172"/>
                  </a:cubicBezTo>
                  <a:cubicBezTo>
                    <a:pt x="12651" y="3172"/>
                    <a:pt x="12651" y="3095"/>
                    <a:pt x="12624" y="3172"/>
                  </a:cubicBezTo>
                  <a:cubicBezTo>
                    <a:pt x="12624" y="3249"/>
                    <a:pt x="12597" y="3325"/>
                    <a:pt x="12597" y="3402"/>
                  </a:cubicBezTo>
                  <a:cubicBezTo>
                    <a:pt x="12597" y="3478"/>
                    <a:pt x="12651" y="3478"/>
                    <a:pt x="12624" y="3555"/>
                  </a:cubicBezTo>
                  <a:cubicBezTo>
                    <a:pt x="12597" y="3632"/>
                    <a:pt x="12624" y="3632"/>
                    <a:pt x="12597" y="3632"/>
                  </a:cubicBezTo>
                  <a:cubicBezTo>
                    <a:pt x="12571" y="3632"/>
                    <a:pt x="12517" y="3632"/>
                    <a:pt x="12491" y="3708"/>
                  </a:cubicBezTo>
                  <a:cubicBezTo>
                    <a:pt x="12517" y="3632"/>
                    <a:pt x="12597" y="3785"/>
                    <a:pt x="12597" y="3785"/>
                  </a:cubicBezTo>
                  <a:cubicBezTo>
                    <a:pt x="12571" y="3861"/>
                    <a:pt x="12491" y="3708"/>
                    <a:pt x="12437" y="3708"/>
                  </a:cubicBezTo>
                  <a:cubicBezTo>
                    <a:pt x="12384" y="3708"/>
                    <a:pt x="12304" y="3708"/>
                    <a:pt x="12224" y="3708"/>
                  </a:cubicBezTo>
                  <a:cubicBezTo>
                    <a:pt x="12197" y="3708"/>
                    <a:pt x="12197" y="3632"/>
                    <a:pt x="12171" y="3632"/>
                  </a:cubicBezTo>
                  <a:cubicBezTo>
                    <a:pt x="12144" y="3555"/>
                    <a:pt x="12064" y="3632"/>
                    <a:pt x="12037" y="3632"/>
                  </a:cubicBezTo>
                  <a:cubicBezTo>
                    <a:pt x="12011" y="3555"/>
                    <a:pt x="11957" y="3555"/>
                    <a:pt x="11931" y="3478"/>
                  </a:cubicBezTo>
                  <a:cubicBezTo>
                    <a:pt x="11931" y="3402"/>
                    <a:pt x="11984" y="3402"/>
                    <a:pt x="11984" y="3325"/>
                  </a:cubicBezTo>
                  <a:cubicBezTo>
                    <a:pt x="12011" y="3249"/>
                    <a:pt x="11771" y="3249"/>
                    <a:pt x="11744" y="3249"/>
                  </a:cubicBezTo>
                  <a:cubicBezTo>
                    <a:pt x="11611" y="3172"/>
                    <a:pt x="11504" y="3249"/>
                    <a:pt x="11371" y="3249"/>
                  </a:cubicBezTo>
                  <a:cubicBezTo>
                    <a:pt x="11291" y="3249"/>
                    <a:pt x="11317" y="3249"/>
                    <a:pt x="11344" y="3402"/>
                  </a:cubicBezTo>
                  <a:cubicBezTo>
                    <a:pt x="11344" y="3478"/>
                    <a:pt x="11291" y="3402"/>
                    <a:pt x="11291" y="3402"/>
                  </a:cubicBezTo>
                  <a:cubicBezTo>
                    <a:pt x="11237" y="3402"/>
                    <a:pt x="11264" y="3325"/>
                    <a:pt x="11264" y="3249"/>
                  </a:cubicBezTo>
                  <a:cubicBezTo>
                    <a:pt x="11264" y="3095"/>
                    <a:pt x="11237" y="2866"/>
                    <a:pt x="11184" y="3019"/>
                  </a:cubicBezTo>
                  <a:cubicBezTo>
                    <a:pt x="11184" y="3172"/>
                    <a:pt x="11077" y="3172"/>
                    <a:pt x="11024" y="3095"/>
                  </a:cubicBezTo>
                  <a:cubicBezTo>
                    <a:pt x="10997" y="3019"/>
                    <a:pt x="11051" y="2866"/>
                    <a:pt x="10944" y="2942"/>
                  </a:cubicBezTo>
                  <a:cubicBezTo>
                    <a:pt x="10917" y="2942"/>
                    <a:pt x="10891" y="2942"/>
                    <a:pt x="10864" y="2942"/>
                  </a:cubicBezTo>
                  <a:cubicBezTo>
                    <a:pt x="10837" y="2866"/>
                    <a:pt x="10811" y="2942"/>
                    <a:pt x="10757" y="3019"/>
                  </a:cubicBezTo>
                  <a:cubicBezTo>
                    <a:pt x="10704" y="3172"/>
                    <a:pt x="10837" y="3095"/>
                    <a:pt x="10837" y="3172"/>
                  </a:cubicBezTo>
                  <a:cubicBezTo>
                    <a:pt x="10837" y="3325"/>
                    <a:pt x="10731" y="3249"/>
                    <a:pt x="10704" y="3325"/>
                  </a:cubicBezTo>
                  <a:cubicBezTo>
                    <a:pt x="10677" y="3402"/>
                    <a:pt x="10624" y="3402"/>
                    <a:pt x="10571" y="3478"/>
                  </a:cubicBezTo>
                  <a:cubicBezTo>
                    <a:pt x="10517" y="3555"/>
                    <a:pt x="10464" y="3555"/>
                    <a:pt x="10384" y="3555"/>
                  </a:cubicBezTo>
                  <a:cubicBezTo>
                    <a:pt x="10331" y="3555"/>
                    <a:pt x="10331" y="3555"/>
                    <a:pt x="10304" y="3708"/>
                  </a:cubicBezTo>
                  <a:cubicBezTo>
                    <a:pt x="10277" y="3785"/>
                    <a:pt x="10171" y="3861"/>
                    <a:pt x="10144" y="3861"/>
                  </a:cubicBezTo>
                  <a:cubicBezTo>
                    <a:pt x="10144" y="3785"/>
                    <a:pt x="10197" y="3785"/>
                    <a:pt x="10197" y="3785"/>
                  </a:cubicBezTo>
                  <a:cubicBezTo>
                    <a:pt x="10251" y="3708"/>
                    <a:pt x="10251" y="3555"/>
                    <a:pt x="10277" y="3478"/>
                  </a:cubicBezTo>
                  <a:cubicBezTo>
                    <a:pt x="10304" y="3325"/>
                    <a:pt x="10331" y="3478"/>
                    <a:pt x="10357" y="3402"/>
                  </a:cubicBezTo>
                  <a:cubicBezTo>
                    <a:pt x="10384" y="3402"/>
                    <a:pt x="10384" y="3325"/>
                    <a:pt x="10411" y="3325"/>
                  </a:cubicBezTo>
                  <a:cubicBezTo>
                    <a:pt x="10491" y="3172"/>
                    <a:pt x="10597" y="3095"/>
                    <a:pt x="10677" y="2942"/>
                  </a:cubicBezTo>
                  <a:cubicBezTo>
                    <a:pt x="10731" y="2866"/>
                    <a:pt x="10784" y="2789"/>
                    <a:pt x="10837" y="2712"/>
                  </a:cubicBezTo>
                  <a:cubicBezTo>
                    <a:pt x="10944" y="2483"/>
                    <a:pt x="11077" y="2329"/>
                    <a:pt x="11184" y="2176"/>
                  </a:cubicBezTo>
                  <a:cubicBezTo>
                    <a:pt x="11264" y="2100"/>
                    <a:pt x="11344" y="1946"/>
                    <a:pt x="11264" y="1717"/>
                  </a:cubicBezTo>
                  <a:cubicBezTo>
                    <a:pt x="11237" y="1640"/>
                    <a:pt x="11237" y="1793"/>
                    <a:pt x="11211" y="1717"/>
                  </a:cubicBezTo>
                  <a:cubicBezTo>
                    <a:pt x="11184" y="1640"/>
                    <a:pt x="11157" y="1640"/>
                    <a:pt x="11131" y="1564"/>
                  </a:cubicBezTo>
                  <a:cubicBezTo>
                    <a:pt x="11131" y="1487"/>
                    <a:pt x="11264" y="1640"/>
                    <a:pt x="11264" y="1640"/>
                  </a:cubicBezTo>
                  <a:cubicBezTo>
                    <a:pt x="11291" y="1640"/>
                    <a:pt x="11371" y="1640"/>
                    <a:pt x="11317" y="1487"/>
                  </a:cubicBezTo>
                  <a:cubicBezTo>
                    <a:pt x="11291" y="1410"/>
                    <a:pt x="11291" y="1334"/>
                    <a:pt x="11264" y="1257"/>
                  </a:cubicBezTo>
                  <a:cubicBezTo>
                    <a:pt x="11237" y="1104"/>
                    <a:pt x="11211" y="1410"/>
                    <a:pt x="11184" y="1410"/>
                  </a:cubicBezTo>
                  <a:cubicBezTo>
                    <a:pt x="11184" y="1334"/>
                    <a:pt x="11184" y="1257"/>
                    <a:pt x="11184" y="1257"/>
                  </a:cubicBezTo>
                  <a:cubicBezTo>
                    <a:pt x="11184" y="1181"/>
                    <a:pt x="11184" y="1181"/>
                    <a:pt x="11157" y="1104"/>
                  </a:cubicBezTo>
                  <a:cubicBezTo>
                    <a:pt x="11157" y="1027"/>
                    <a:pt x="11104" y="951"/>
                    <a:pt x="11077" y="951"/>
                  </a:cubicBezTo>
                  <a:cubicBezTo>
                    <a:pt x="11024" y="874"/>
                    <a:pt x="10997" y="874"/>
                    <a:pt x="10944" y="798"/>
                  </a:cubicBezTo>
                  <a:cubicBezTo>
                    <a:pt x="10891" y="798"/>
                    <a:pt x="10891" y="798"/>
                    <a:pt x="10811" y="874"/>
                  </a:cubicBezTo>
                  <a:cubicBezTo>
                    <a:pt x="10757" y="874"/>
                    <a:pt x="10571" y="644"/>
                    <a:pt x="10544" y="874"/>
                  </a:cubicBezTo>
                  <a:cubicBezTo>
                    <a:pt x="10517" y="951"/>
                    <a:pt x="10357" y="1027"/>
                    <a:pt x="10331" y="951"/>
                  </a:cubicBezTo>
                  <a:cubicBezTo>
                    <a:pt x="10331" y="951"/>
                    <a:pt x="10491" y="644"/>
                    <a:pt x="10437" y="568"/>
                  </a:cubicBezTo>
                  <a:cubicBezTo>
                    <a:pt x="10437" y="568"/>
                    <a:pt x="10251" y="644"/>
                    <a:pt x="10224" y="568"/>
                  </a:cubicBezTo>
                  <a:cubicBezTo>
                    <a:pt x="10224" y="491"/>
                    <a:pt x="10277" y="491"/>
                    <a:pt x="10277" y="491"/>
                  </a:cubicBezTo>
                  <a:cubicBezTo>
                    <a:pt x="10277" y="415"/>
                    <a:pt x="10064" y="491"/>
                    <a:pt x="10064" y="491"/>
                  </a:cubicBezTo>
                  <a:cubicBezTo>
                    <a:pt x="10091" y="338"/>
                    <a:pt x="10197" y="415"/>
                    <a:pt x="10224" y="338"/>
                  </a:cubicBezTo>
                  <a:cubicBezTo>
                    <a:pt x="10251" y="261"/>
                    <a:pt x="10304" y="338"/>
                    <a:pt x="10277" y="261"/>
                  </a:cubicBezTo>
                  <a:cubicBezTo>
                    <a:pt x="10277" y="185"/>
                    <a:pt x="10277" y="108"/>
                    <a:pt x="10251" y="108"/>
                  </a:cubicBezTo>
                  <a:cubicBezTo>
                    <a:pt x="10171" y="108"/>
                    <a:pt x="10144" y="32"/>
                    <a:pt x="10064" y="32"/>
                  </a:cubicBezTo>
                  <a:cubicBezTo>
                    <a:pt x="10011" y="-45"/>
                    <a:pt x="9957" y="32"/>
                    <a:pt x="9904" y="108"/>
                  </a:cubicBezTo>
                  <a:cubicBezTo>
                    <a:pt x="9797" y="185"/>
                    <a:pt x="9691" y="415"/>
                    <a:pt x="9637" y="568"/>
                  </a:cubicBezTo>
                  <a:cubicBezTo>
                    <a:pt x="9611" y="644"/>
                    <a:pt x="9611" y="644"/>
                    <a:pt x="9637" y="721"/>
                  </a:cubicBezTo>
                  <a:cubicBezTo>
                    <a:pt x="9664" y="721"/>
                    <a:pt x="9637" y="798"/>
                    <a:pt x="9637" y="874"/>
                  </a:cubicBezTo>
                  <a:cubicBezTo>
                    <a:pt x="9637" y="1027"/>
                    <a:pt x="9744" y="951"/>
                    <a:pt x="9744" y="1027"/>
                  </a:cubicBezTo>
                  <a:cubicBezTo>
                    <a:pt x="9744" y="951"/>
                    <a:pt x="9611" y="1027"/>
                    <a:pt x="9584" y="1027"/>
                  </a:cubicBezTo>
                  <a:cubicBezTo>
                    <a:pt x="9557" y="1027"/>
                    <a:pt x="9397" y="951"/>
                    <a:pt x="9371" y="1027"/>
                  </a:cubicBezTo>
                  <a:cubicBezTo>
                    <a:pt x="9371" y="951"/>
                    <a:pt x="9451" y="1257"/>
                    <a:pt x="9451" y="1257"/>
                  </a:cubicBezTo>
                  <a:cubicBezTo>
                    <a:pt x="9477" y="1334"/>
                    <a:pt x="9344" y="1181"/>
                    <a:pt x="9317" y="1181"/>
                  </a:cubicBezTo>
                  <a:cubicBezTo>
                    <a:pt x="9291" y="1181"/>
                    <a:pt x="9237" y="1257"/>
                    <a:pt x="9184" y="1334"/>
                  </a:cubicBezTo>
                  <a:cubicBezTo>
                    <a:pt x="9184" y="1334"/>
                    <a:pt x="9184" y="1334"/>
                    <a:pt x="9157" y="1334"/>
                  </a:cubicBezTo>
                  <a:cubicBezTo>
                    <a:pt x="9104" y="1334"/>
                    <a:pt x="9157" y="1334"/>
                    <a:pt x="9131" y="1257"/>
                  </a:cubicBezTo>
                  <a:cubicBezTo>
                    <a:pt x="9131" y="1334"/>
                    <a:pt x="8997" y="1487"/>
                    <a:pt x="8997" y="1487"/>
                  </a:cubicBezTo>
                  <a:cubicBezTo>
                    <a:pt x="8997" y="1410"/>
                    <a:pt x="9051" y="1334"/>
                    <a:pt x="9051" y="1334"/>
                  </a:cubicBezTo>
                  <a:cubicBezTo>
                    <a:pt x="9051" y="1257"/>
                    <a:pt x="8917" y="1334"/>
                    <a:pt x="8891" y="1257"/>
                  </a:cubicBezTo>
                  <a:cubicBezTo>
                    <a:pt x="8891" y="1257"/>
                    <a:pt x="8944" y="1181"/>
                    <a:pt x="8944" y="1181"/>
                  </a:cubicBezTo>
                  <a:cubicBezTo>
                    <a:pt x="8917" y="1257"/>
                    <a:pt x="8784" y="1334"/>
                    <a:pt x="8731" y="1334"/>
                  </a:cubicBezTo>
                  <a:cubicBezTo>
                    <a:pt x="8597" y="1410"/>
                    <a:pt x="8757" y="1410"/>
                    <a:pt x="8784" y="1487"/>
                  </a:cubicBezTo>
                  <a:cubicBezTo>
                    <a:pt x="8757" y="1410"/>
                    <a:pt x="8624" y="1564"/>
                    <a:pt x="8597" y="1564"/>
                  </a:cubicBezTo>
                  <a:cubicBezTo>
                    <a:pt x="8571" y="1564"/>
                    <a:pt x="8544" y="1564"/>
                    <a:pt x="8517" y="1640"/>
                  </a:cubicBezTo>
                  <a:cubicBezTo>
                    <a:pt x="8491" y="1717"/>
                    <a:pt x="8437" y="1640"/>
                    <a:pt x="8384" y="1640"/>
                  </a:cubicBezTo>
                  <a:cubicBezTo>
                    <a:pt x="8357" y="1640"/>
                    <a:pt x="8331" y="1793"/>
                    <a:pt x="8277" y="1793"/>
                  </a:cubicBezTo>
                  <a:cubicBezTo>
                    <a:pt x="8224" y="1870"/>
                    <a:pt x="8197" y="1793"/>
                    <a:pt x="8171" y="1870"/>
                  </a:cubicBezTo>
                  <a:cubicBezTo>
                    <a:pt x="8144" y="1946"/>
                    <a:pt x="8117" y="2023"/>
                    <a:pt x="8091" y="2023"/>
                  </a:cubicBezTo>
                  <a:cubicBezTo>
                    <a:pt x="8037" y="2023"/>
                    <a:pt x="7984" y="2023"/>
                    <a:pt x="7957" y="2023"/>
                  </a:cubicBezTo>
                  <a:cubicBezTo>
                    <a:pt x="7957" y="2023"/>
                    <a:pt x="8037" y="2176"/>
                    <a:pt x="8037" y="2176"/>
                  </a:cubicBezTo>
                  <a:cubicBezTo>
                    <a:pt x="8011" y="2253"/>
                    <a:pt x="7851" y="2253"/>
                    <a:pt x="7851" y="2253"/>
                  </a:cubicBezTo>
                  <a:cubicBezTo>
                    <a:pt x="7851" y="2253"/>
                    <a:pt x="7957" y="2253"/>
                    <a:pt x="7957" y="2253"/>
                  </a:cubicBezTo>
                  <a:cubicBezTo>
                    <a:pt x="7957" y="2253"/>
                    <a:pt x="7904" y="2253"/>
                    <a:pt x="7877" y="2253"/>
                  </a:cubicBezTo>
                  <a:cubicBezTo>
                    <a:pt x="7904" y="2253"/>
                    <a:pt x="7957" y="2329"/>
                    <a:pt x="7957" y="2329"/>
                  </a:cubicBezTo>
                  <a:cubicBezTo>
                    <a:pt x="7931" y="2329"/>
                    <a:pt x="7931" y="2329"/>
                    <a:pt x="7904" y="2329"/>
                  </a:cubicBezTo>
                  <a:cubicBezTo>
                    <a:pt x="7931" y="2329"/>
                    <a:pt x="7904" y="2406"/>
                    <a:pt x="7904" y="2406"/>
                  </a:cubicBezTo>
                  <a:cubicBezTo>
                    <a:pt x="7904" y="2483"/>
                    <a:pt x="7824" y="2406"/>
                    <a:pt x="7824" y="2406"/>
                  </a:cubicBezTo>
                  <a:cubicBezTo>
                    <a:pt x="7824" y="2483"/>
                    <a:pt x="7877" y="2483"/>
                    <a:pt x="7877" y="2559"/>
                  </a:cubicBezTo>
                  <a:cubicBezTo>
                    <a:pt x="7904" y="2559"/>
                    <a:pt x="7851" y="2559"/>
                    <a:pt x="7851" y="2559"/>
                  </a:cubicBezTo>
                  <a:cubicBezTo>
                    <a:pt x="7851" y="2712"/>
                    <a:pt x="7957" y="2559"/>
                    <a:pt x="7931" y="2712"/>
                  </a:cubicBezTo>
                  <a:cubicBezTo>
                    <a:pt x="7877" y="2866"/>
                    <a:pt x="8011" y="2942"/>
                    <a:pt x="7931" y="3019"/>
                  </a:cubicBezTo>
                  <a:cubicBezTo>
                    <a:pt x="7877" y="3019"/>
                    <a:pt x="7824" y="3019"/>
                    <a:pt x="7771" y="3019"/>
                  </a:cubicBezTo>
                  <a:cubicBezTo>
                    <a:pt x="7744" y="3095"/>
                    <a:pt x="7744" y="3172"/>
                    <a:pt x="7691" y="3095"/>
                  </a:cubicBezTo>
                  <a:cubicBezTo>
                    <a:pt x="7664" y="3095"/>
                    <a:pt x="7637" y="3095"/>
                    <a:pt x="7611" y="3095"/>
                  </a:cubicBezTo>
                  <a:cubicBezTo>
                    <a:pt x="7504" y="3172"/>
                    <a:pt x="7397" y="3172"/>
                    <a:pt x="7291" y="3172"/>
                  </a:cubicBezTo>
                  <a:cubicBezTo>
                    <a:pt x="7237" y="3172"/>
                    <a:pt x="7184" y="3172"/>
                    <a:pt x="7157" y="3249"/>
                  </a:cubicBezTo>
                  <a:cubicBezTo>
                    <a:pt x="7131" y="3325"/>
                    <a:pt x="7104" y="3402"/>
                    <a:pt x="7104" y="3478"/>
                  </a:cubicBezTo>
                  <a:cubicBezTo>
                    <a:pt x="7104" y="3555"/>
                    <a:pt x="7157" y="3632"/>
                    <a:pt x="7157" y="3708"/>
                  </a:cubicBezTo>
                  <a:cubicBezTo>
                    <a:pt x="7131" y="3861"/>
                    <a:pt x="7131" y="3938"/>
                    <a:pt x="7157" y="4015"/>
                  </a:cubicBezTo>
                  <a:cubicBezTo>
                    <a:pt x="7211" y="4168"/>
                    <a:pt x="7291" y="4091"/>
                    <a:pt x="7344" y="4244"/>
                  </a:cubicBezTo>
                  <a:cubicBezTo>
                    <a:pt x="7344" y="4244"/>
                    <a:pt x="7397" y="4551"/>
                    <a:pt x="7397" y="4551"/>
                  </a:cubicBezTo>
                  <a:cubicBezTo>
                    <a:pt x="7291" y="4551"/>
                    <a:pt x="7264" y="4551"/>
                    <a:pt x="7184" y="4398"/>
                  </a:cubicBezTo>
                  <a:cubicBezTo>
                    <a:pt x="7104" y="4244"/>
                    <a:pt x="6971" y="4091"/>
                    <a:pt x="6864" y="4091"/>
                  </a:cubicBezTo>
                  <a:cubicBezTo>
                    <a:pt x="6811" y="4091"/>
                    <a:pt x="6837" y="4015"/>
                    <a:pt x="6784" y="3938"/>
                  </a:cubicBezTo>
                  <a:cubicBezTo>
                    <a:pt x="6757" y="3938"/>
                    <a:pt x="6651" y="3938"/>
                    <a:pt x="6651" y="4091"/>
                  </a:cubicBezTo>
                  <a:cubicBezTo>
                    <a:pt x="6651" y="4168"/>
                    <a:pt x="6757" y="4168"/>
                    <a:pt x="6757" y="4168"/>
                  </a:cubicBezTo>
                  <a:cubicBezTo>
                    <a:pt x="6757" y="4168"/>
                    <a:pt x="6677" y="4244"/>
                    <a:pt x="6704" y="4244"/>
                  </a:cubicBezTo>
                  <a:cubicBezTo>
                    <a:pt x="6757" y="4321"/>
                    <a:pt x="6784" y="4244"/>
                    <a:pt x="6811" y="4398"/>
                  </a:cubicBezTo>
                  <a:cubicBezTo>
                    <a:pt x="6811" y="4551"/>
                    <a:pt x="6731" y="4474"/>
                    <a:pt x="6704" y="4474"/>
                  </a:cubicBezTo>
                  <a:cubicBezTo>
                    <a:pt x="6651" y="4398"/>
                    <a:pt x="6624" y="4321"/>
                    <a:pt x="6571" y="4398"/>
                  </a:cubicBezTo>
                  <a:cubicBezTo>
                    <a:pt x="6517" y="4398"/>
                    <a:pt x="6544" y="4627"/>
                    <a:pt x="6571" y="4704"/>
                  </a:cubicBezTo>
                  <a:cubicBezTo>
                    <a:pt x="6597" y="4781"/>
                    <a:pt x="6651" y="4781"/>
                    <a:pt x="6677" y="4781"/>
                  </a:cubicBezTo>
                  <a:cubicBezTo>
                    <a:pt x="6731" y="4857"/>
                    <a:pt x="6784" y="4857"/>
                    <a:pt x="6811" y="4934"/>
                  </a:cubicBezTo>
                  <a:cubicBezTo>
                    <a:pt x="6837" y="5010"/>
                    <a:pt x="6837" y="5087"/>
                    <a:pt x="6837" y="5087"/>
                  </a:cubicBezTo>
                  <a:cubicBezTo>
                    <a:pt x="6864" y="5087"/>
                    <a:pt x="6891" y="5087"/>
                    <a:pt x="6917" y="5087"/>
                  </a:cubicBezTo>
                  <a:cubicBezTo>
                    <a:pt x="6917" y="5087"/>
                    <a:pt x="6837" y="5164"/>
                    <a:pt x="6837" y="5164"/>
                  </a:cubicBezTo>
                  <a:cubicBezTo>
                    <a:pt x="6784" y="5164"/>
                    <a:pt x="6784" y="5087"/>
                    <a:pt x="6757" y="5010"/>
                  </a:cubicBezTo>
                  <a:cubicBezTo>
                    <a:pt x="6704" y="4934"/>
                    <a:pt x="6624" y="4934"/>
                    <a:pt x="6544" y="4934"/>
                  </a:cubicBezTo>
                  <a:cubicBezTo>
                    <a:pt x="6517" y="4934"/>
                    <a:pt x="6384" y="4857"/>
                    <a:pt x="6437" y="4704"/>
                  </a:cubicBezTo>
                  <a:cubicBezTo>
                    <a:pt x="6464" y="4704"/>
                    <a:pt x="6437" y="4627"/>
                    <a:pt x="6437" y="4551"/>
                  </a:cubicBezTo>
                  <a:cubicBezTo>
                    <a:pt x="6411" y="4474"/>
                    <a:pt x="6437" y="4398"/>
                    <a:pt x="6437" y="4321"/>
                  </a:cubicBezTo>
                  <a:cubicBezTo>
                    <a:pt x="6464" y="4168"/>
                    <a:pt x="6491" y="3861"/>
                    <a:pt x="6437" y="3785"/>
                  </a:cubicBezTo>
                  <a:cubicBezTo>
                    <a:pt x="6331" y="3708"/>
                    <a:pt x="6411" y="4091"/>
                    <a:pt x="6384" y="4244"/>
                  </a:cubicBezTo>
                  <a:cubicBezTo>
                    <a:pt x="6331" y="4398"/>
                    <a:pt x="6251" y="4474"/>
                    <a:pt x="6197" y="4627"/>
                  </a:cubicBezTo>
                  <a:cubicBezTo>
                    <a:pt x="6117" y="4857"/>
                    <a:pt x="6144" y="4781"/>
                    <a:pt x="6197" y="4934"/>
                  </a:cubicBezTo>
                  <a:cubicBezTo>
                    <a:pt x="6224" y="5010"/>
                    <a:pt x="6304" y="5240"/>
                    <a:pt x="6304" y="5393"/>
                  </a:cubicBezTo>
                  <a:cubicBezTo>
                    <a:pt x="6304" y="5393"/>
                    <a:pt x="6277" y="5546"/>
                    <a:pt x="6251" y="5546"/>
                  </a:cubicBezTo>
                  <a:cubicBezTo>
                    <a:pt x="6224" y="5700"/>
                    <a:pt x="6197" y="5853"/>
                    <a:pt x="6197" y="6006"/>
                  </a:cubicBezTo>
                  <a:cubicBezTo>
                    <a:pt x="6197" y="6006"/>
                    <a:pt x="6224" y="6389"/>
                    <a:pt x="6251" y="6389"/>
                  </a:cubicBezTo>
                  <a:cubicBezTo>
                    <a:pt x="6304" y="6389"/>
                    <a:pt x="6357" y="6389"/>
                    <a:pt x="6411" y="6312"/>
                  </a:cubicBezTo>
                  <a:cubicBezTo>
                    <a:pt x="6464" y="6236"/>
                    <a:pt x="6544" y="6312"/>
                    <a:pt x="6597" y="6389"/>
                  </a:cubicBezTo>
                  <a:cubicBezTo>
                    <a:pt x="6677" y="6389"/>
                    <a:pt x="6731" y="6542"/>
                    <a:pt x="6757" y="6772"/>
                  </a:cubicBezTo>
                  <a:cubicBezTo>
                    <a:pt x="6784" y="6925"/>
                    <a:pt x="6677" y="7155"/>
                    <a:pt x="6731" y="7232"/>
                  </a:cubicBezTo>
                  <a:cubicBezTo>
                    <a:pt x="6731" y="7232"/>
                    <a:pt x="6891" y="7385"/>
                    <a:pt x="6891" y="7385"/>
                  </a:cubicBezTo>
                  <a:cubicBezTo>
                    <a:pt x="6891" y="7461"/>
                    <a:pt x="6704" y="7308"/>
                    <a:pt x="6677" y="7308"/>
                  </a:cubicBezTo>
                  <a:cubicBezTo>
                    <a:pt x="6677" y="7308"/>
                    <a:pt x="6651" y="7078"/>
                    <a:pt x="6651" y="7078"/>
                  </a:cubicBezTo>
                  <a:cubicBezTo>
                    <a:pt x="6677" y="6925"/>
                    <a:pt x="6704" y="6849"/>
                    <a:pt x="6651" y="6772"/>
                  </a:cubicBezTo>
                  <a:cubicBezTo>
                    <a:pt x="6597" y="6695"/>
                    <a:pt x="6624" y="6542"/>
                    <a:pt x="6571" y="6466"/>
                  </a:cubicBezTo>
                  <a:cubicBezTo>
                    <a:pt x="6517" y="6466"/>
                    <a:pt x="6464" y="6542"/>
                    <a:pt x="6411" y="6542"/>
                  </a:cubicBezTo>
                  <a:cubicBezTo>
                    <a:pt x="6411" y="6542"/>
                    <a:pt x="6304" y="6619"/>
                    <a:pt x="6304" y="6695"/>
                  </a:cubicBezTo>
                  <a:cubicBezTo>
                    <a:pt x="6331" y="6695"/>
                    <a:pt x="6357" y="6695"/>
                    <a:pt x="6331" y="6695"/>
                  </a:cubicBezTo>
                  <a:cubicBezTo>
                    <a:pt x="6331" y="6772"/>
                    <a:pt x="6277" y="6849"/>
                    <a:pt x="6304" y="6925"/>
                  </a:cubicBezTo>
                  <a:cubicBezTo>
                    <a:pt x="6411" y="7078"/>
                    <a:pt x="6331" y="7308"/>
                    <a:pt x="6277" y="7461"/>
                  </a:cubicBezTo>
                  <a:cubicBezTo>
                    <a:pt x="6251" y="7538"/>
                    <a:pt x="6224" y="7691"/>
                    <a:pt x="6224" y="7768"/>
                  </a:cubicBezTo>
                  <a:cubicBezTo>
                    <a:pt x="6197" y="7844"/>
                    <a:pt x="6144" y="7921"/>
                    <a:pt x="6091" y="7921"/>
                  </a:cubicBezTo>
                  <a:cubicBezTo>
                    <a:pt x="6064" y="7998"/>
                    <a:pt x="6037" y="7998"/>
                    <a:pt x="6037" y="8151"/>
                  </a:cubicBezTo>
                  <a:cubicBezTo>
                    <a:pt x="6011" y="8304"/>
                    <a:pt x="5957" y="8227"/>
                    <a:pt x="5931" y="8227"/>
                  </a:cubicBezTo>
                  <a:cubicBezTo>
                    <a:pt x="5851" y="8151"/>
                    <a:pt x="5797" y="8227"/>
                    <a:pt x="5744" y="8151"/>
                  </a:cubicBezTo>
                  <a:cubicBezTo>
                    <a:pt x="5717" y="8151"/>
                    <a:pt x="5691" y="8074"/>
                    <a:pt x="5664" y="8074"/>
                  </a:cubicBezTo>
                  <a:cubicBezTo>
                    <a:pt x="5611" y="8074"/>
                    <a:pt x="5611" y="7998"/>
                    <a:pt x="5584" y="7921"/>
                  </a:cubicBezTo>
                  <a:cubicBezTo>
                    <a:pt x="5584" y="7921"/>
                    <a:pt x="5637" y="7844"/>
                    <a:pt x="5637" y="7921"/>
                  </a:cubicBezTo>
                  <a:cubicBezTo>
                    <a:pt x="5664" y="8074"/>
                    <a:pt x="5717" y="8074"/>
                    <a:pt x="5717" y="7998"/>
                  </a:cubicBezTo>
                  <a:cubicBezTo>
                    <a:pt x="5744" y="7921"/>
                    <a:pt x="5877" y="8151"/>
                    <a:pt x="5931" y="7998"/>
                  </a:cubicBezTo>
                  <a:cubicBezTo>
                    <a:pt x="5931" y="7921"/>
                    <a:pt x="5877" y="7844"/>
                    <a:pt x="5931" y="7844"/>
                  </a:cubicBezTo>
                  <a:cubicBezTo>
                    <a:pt x="5957" y="7768"/>
                    <a:pt x="6011" y="7691"/>
                    <a:pt x="6037" y="7615"/>
                  </a:cubicBezTo>
                  <a:cubicBezTo>
                    <a:pt x="6064" y="7461"/>
                    <a:pt x="6037" y="7461"/>
                    <a:pt x="6117" y="7385"/>
                  </a:cubicBezTo>
                  <a:cubicBezTo>
                    <a:pt x="6197" y="7232"/>
                    <a:pt x="6091" y="7078"/>
                    <a:pt x="6144" y="6925"/>
                  </a:cubicBezTo>
                  <a:cubicBezTo>
                    <a:pt x="6197" y="6849"/>
                    <a:pt x="6197" y="6772"/>
                    <a:pt x="6144" y="6695"/>
                  </a:cubicBezTo>
                  <a:cubicBezTo>
                    <a:pt x="6117" y="6695"/>
                    <a:pt x="6091" y="6619"/>
                    <a:pt x="6064" y="6542"/>
                  </a:cubicBezTo>
                  <a:cubicBezTo>
                    <a:pt x="6037" y="6389"/>
                    <a:pt x="6064" y="6159"/>
                    <a:pt x="6064" y="6006"/>
                  </a:cubicBezTo>
                  <a:cubicBezTo>
                    <a:pt x="6064" y="5853"/>
                    <a:pt x="6037" y="5700"/>
                    <a:pt x="6064" y="5546"/>
                  </a:cubicBezTo>
                  <a:cubicBezTo>
                    <a:pt x="6064" y="5393"/>
                    <a:pt x="6117" y="5393"/>
                    <a:pt x="6117" y="5240"/>
                  </a:cubicBezTo>
                  <a:cubicBezTo>
                    <a:pt x="6091" y="5087"/>
                    <a:pt x="6037" y="5010"/>
                    <a:pt x="6011" y="4934"/>
                  </a:cubicBezTo>
                  <a:cubicBezTo>
                    <a:pt x="5984" y="4857"/>
                    <a:pt x="5957" y="4781"/>
                    <a:pt x="5984" y="4704"/>
                  </a:cubicBezTo>
                  <a:cubicBezTo>
                    <a:pt x="6037" y="4627"/>
                    <a:pt x="6037" y="4474"/>
                    <a:pt x="6064" y="4321"/>
                  </a:cubicBezTo>
                  <a:cubicBezTo>
                    <a:pt x="6091" y="4244"/>
                    <a:pt x="6117" y="4015"/>
                    <a:pt x="6091" y="3938"/>
                  </a:cubicBezTo>
                  <a:cubicBezTo>
                    <a:pt x="6091" y="3861"/>
                    <a:pt x="5984" y="3785"/>
                    <a:pt x="5931" y="3708"/>
                  </a:cubicBezTo>
                  <a:cubicBezTo>
                    <a:pt x="5877" y="3708"/>
                    <a:pt x="5824" y="3708"/>
                    <a:pt x="5771" y="3708"/>
                  </a:cubicBezTo>
                  <a:cubicBezTo>
                    <a:pt x="5744" y="3708"/>
                    <a:pt x="5664" y="3632"/>
                    <a:pt x="5637" y="3708"/>
                  </a:cubicBezTo>
                  <a:cubicBezTo>
                    <a:pt x="5557" y="3861"/>
                    <a:pt x="5557" y="4398"/>
                    <a:pt x="5477" y="4551"/>
                  </a:cubicBezTo>
                  <a:cubicBezTo>
                    <a:pt x="5424" y="4781"/>
                    <a:pt x="5264" y="4857"/>
                    <a:pt x="5264" y="5164"/>
                  </a:cubicBezTo>
                  <a:cubicBezTo>
                    <a:pt x="5264" y="5240"/>
                    <a:pt x="5344" y="5164"/>
                    <a:pt x="5344" y="5164"/>
                  </a:cubicBezTo>
                  <a:cubicBezTo>
                    <a:pt x="5371" y="5240"/>
                    <a:pt x="5344" y="5546"/>
                    <a:pt x="5344" y="5546"/>
                  </a:cubicBezTo>
                  <a:cubicBezTo>
                    <a:pt x="5317" y="5700"/>
                    <a:pt x="5371" y="5776"/>
                    <a:pt x="5291" y="5776"/>
                  </a:cubicBezTo>
                  <a:cubicBezTo>
                    <a:pt x="5291" y="5853"/>
                    <a:pt x="5264" y="5853"/>
                    <a:pt x="5264" y="5929"/>
                  </a:cubicBezTo>
                  <a:cubicBezTo>
                    <a:pt x="5291" y="6006"/>
                    <a:pt x="5317" y="6006"/>
                    <a:pt x="5344" y="6006"/>
                  </a:cubicBezTo>
                  <a:cubicBezTo>
                    <a:pt x="5371" y="6006"/>
                    <a:pt x="5477" y="6006"/>
                    <a:pt x="5477" y="6083"/>
                  </a:cubicBezTo>
                  <a:cubicBezTo>
                    <a:pt x="5477" y="6236"/>
                    <a:pt x="5477" y="6389"/>
                    <a:pt x="5531" y="6466"/>
                  </a:cubicBezTo>
                  <a:cubicBezTo>
                    <a:pt x="5584" y="6542"/>
                    <a:pt x="5637" y="6466"/>
                    <a:pt x="5584" y="6619"/>
                  </a:cubicBezTo>
                  <a:cubicBezTo>
                    <a:pt x="5557" y="6695"/>
                    <a:pt x="5557" y="6849"/>
                    <a:pt x="5531" y="6925"/>
                  </a:cubicBezTo>
                  <a:cubicBezTo>
                    <a:pt x="5504" y="7078"/>
                    <a:pt x="5371" y="6695"/>
                    <a:pt x="5344" y="6619"/>
                  </a:cubicBezTo>
                  <a:cubicBezTo>
                    <a:pt x="5264" y="6466"/>
                    <a:pt x="5157" y="6389"/>
                    <a:pt x="5077" y="6312"/>
                  </a:cubicBezTo>
                  <a:cubicBezTo>
                    <a:pt x="5024" y="6236"/>
                    <a:pt x="4997" y="6159"/>
                    <a:pt x="4944" y="6083"/>
                  </a:cubicBezTo>
                  <a:cubicBezTo>
                    <a:pt x="4917" y="6083"/>
                    <a:pt x="4864" y="6006"/>
                    <a:pt x="4837" y="6006"/>
                  </a:cubicBezTo>
                  <a:cubicBezTo>
                    <a:pt x="4757" y="6006"/>
                    <a:pt x="4677" y="5929"/>
                    <a:pt x="4597" y="5929"/>
                  </a:cubicBezTo>
                  <a:cubicBezTo>
                    <a:pt x="4491" y="5929"/>
                    <a:pt x="4384" y="5929"/>
                    <a:pt x="4464" y="6312"/>
                  </a:cubicBezTo>
                  <a:cubicBezTo>
                    <a:pt x="4517" y="6389"/>
                    <a:pt x="4491" y="6542"/>
                    <a:pt x="4437" y="6619"/>
                  </a:cubicBezTo>
                  <a:cubicBezTo>
                    <a:pt x="4411" y="6695"/>
                    <a:pt x="4331" y="6542"/>
                    <a:pt x="4357" y="6772"/>
                  </a:cubicBezTo>
                  <a:cubicBezTo>
                    <a:pt x="4384" y="6849"/>
                    <a:pt x="4171" y="6849"/>
                    <a:pt x="4277" y="6619"/>
                  </a:cubicBezTo>
                  <a:cubicBezTo>
                    <a:pt x="4304" y="6542"/>
                    <a:pt x="4224" y="6389"/>
                    <a:pt x="4197" y="6466"/>
                  </a:cubicBezTo>
                  <a:cubicBezTo>
                    <a:pt x="4144" y="6466"/>
                    <a:pt x="4091" y="6542"/>
                    <a:pt x="4064" y="6619"/>
                  </a:cubicBezTo>
                  <a:cubicBezTo>
                    <a:pt x="3984" y="6772"/>
                    <a:pt x="3904" y="6619"/>
                    <a:pt x="3824" y="6695"/>
                  </a:cubicBezTo>
                  <a:cubicBezTo>
                    <a:pt x="3744" y="6772"/>
                    <a:pt x="3691" y="6925"/>
                    <a:pt x="3637" y="6925"/>
                  </a:cubicBezTo>
                  <a:cubicBezTo>
                    <a:pt x="3611" y="6925"/>
                    <a:pt x="3451" y="6925"/>
                    <a:pt x="3477" y="6849"/>
                  </a:cubicBezTo>
                  <a:cubicBezTo>
                    <a:pt x="3531" y="6849"/>
                    <a:pt x="3531" y="6849"/>
                    <a:pt x="3531" y="6772"/>
                  </a:cubicBezTo>
                  <a:cubicBezTo>
                    <a:pt x="3531" y="6542"/>
                    <a:pt x="3584" y="6619"/>
                    <a:pt x="3584" y="6466"/>
                  </a:cubicBezTo>
                  <a:cubicBezTo>
                    <a:pt x="3611" y="6389"/>
                    <a:pt x="3424" y="6542"/>
                    <a:pt x="3424" y="6542"/>
                  </a:cubicBezTo>
                  <a:cubicBezTo>
                    <a:pt x="3397" y="6542"/>
                    <a:pt x="3371" y="6542"/>
                    <a:pt x="3371" y="6619"/>
                  </a:cubicBezTo>
                  <a:cubicBezTo>
                    <a:pt x="3371" y="6695"/>
                    <a:pt x="3371" y="6772"/>
                    <a:pt x="3371" y="6849"/>
                  </a:cubicBezTo>
                  <a:cubicBezTo>
                    <a:pt x="3344" y="6849"/>
                    <a:pt x="3291" y="6772"/>
                    <a:pt x="3264" y="6772"/>
                  </a:cubicBezTo>
                  <a:cubicBezTo>
                    <a:pt x="3211" y="6772"/>
                    <a:pt x="3131" y="6849"/>
                    <a:pt x="3077" y="6925"/>
                  </a:cubicBezTo>
                  <a:cubicBezTo>
                    <a:pt x="2997" y="7002"/>
                    <a:pt x="2917" y="7155"/>
                    <a:pt x="2837" y="7232"/>
                  </a:cubicBezTo>
                  <a:cubicBezTo>
                    <a:pt x="2784" y="7232"/>
                    <a:pt x="2757" y="7308"/>
                    <a:pt x="2731" y="7461"/>
                  </a:cubicBezTo>
                  <a:cubicBezTo>
                    <a:pt x="2731" y="7538"/>
                    <a:pt x="2731" y="7768"/>
                    <a:pt x="2677" y="7768"/>
                  </a:cubicBezTo>
                  <a:cubicBezTo>
                    <a:pt x="2624" y="7768"/>
                    <a:pt x="2571" y="7844"/>
                    <a:pt x="2517" y="7844"/>
                  </a:cubicBezTo>
                  <a:cubicBezTo>
                    <a:pt x="2491" y="7844"/>
                    <a:pt x="2464" y="7691"/>
                    <a:pt x="2437" y="7615"/>
                  </a:cubicBezTo>
                  <a:cubicBezTo>
                    <a:pt x="2384" y="7461"/>
                    <a:pt x="2304" y="7538"/>
                    <a:pt x="2357" y="7308"/>
                  </a:cubicBezTo>
                  <a:cubicBezTo>
                    <a:pt x="2384" y="7155"/>
                    <a:pt x="2464" y="7232"/>
                    <a:pt x="2491" y="7155"/>
                  </a:cubicBezTo>
                  <a:cubicBezTo>
                    <a:pt x="2544" y="7155"/>
                    <a:pt x="2597" y="7232"/>
                    <a:pt x="2571" y="7078"/>
                  </a:cubicBezTo>
                  <a:cubicBezTo>
                    <a:pt x="2544" y="7002"/>
                    <a:pt x="2517" y="6849"/>
                    <a:pt x="2491" y="6772"/>
                  </a:cubicBezTo>
                  <a:cubicBezTo>
                    <a:pt x="2437" y="6619"/>
                    <a:pt x="2357" y="6695"/>
                    <a:pt x="2304" y="6695"/>
                  </a:cubicBezTo>
                  <a:cubicBezTo>
                    <a:pt x="2277" y="6695"/>
                    <a:pt x="2117" y="6619"/>
                    <a:pt x="2117" y="6619"/>
                  </a:cubicBezTo>
                  <a:cubicBezTo>
                    <a:pt x="2117" y="6619"/>
                    <a:pt x="2197" y="6695"/>
                    <a:pt x="2197" y="6695"/>
                  </a:cubicBezTo>
                  <a:cubicBezTo>
                    <a:pt x="2224" y="6772"/>
                    <a:pt x="2224" y="6849"/>
                    <a:pt x="2224" y="6925"/>
                  </a:cubicBezTo>
                  <a:cubicBezTo>
                    <a:pt x="2224" y="7002"/>
                    <a:pt x="2224" y="7155"/>
                    <a:pt x="2224" y="7232"/>
                  </a:cubicBezTo>
                  <a:cubicBezTo>
                    <a:pt x="2197" y="7308"/>
                    <a:pt x="2171" y="7385"/>
                    <a:pt x="2171" y="7461"/>
                  </a:cubicBezTo>
                  <a:cubicBezTo>
                    <a:pt x="2197" y="7615"/>
                    <a:pt x="2304" y="7615"/>
                    <a:pt x="2277" y="7844"/>
                  </a:cubicBezTo>
                  <a:cubicBezTo>
                    <a:pt x="2251" y="7921"/>
                    <a:pt x="2224" y="8074"/>
                    <a:pt x="2224" y="8151"/>
                  </a:cubicBezTo>
                  <a:cubicBezTo>
                    <a:pt x="2224" y="8151"/>
                    <a:pt x="2224" y="8457"/>
                    <a:pt x="2224" y="8457"/>
                  </a:cubicBezTo>
                  <a:cubicBezTo>
                    <a:pt x="2224" y="8457"/>
                    <a:pt x="2197" y="8227"/>
                    <a:pt x="2197" y="8227"/>
                  </a:cubicBezTo>
                  <a:cubicBezTo>
                    <a:pt x="2171" y="8227"/>
                    <a:pt x="2144" y="8381"/>
                    <a:pt x="2117" y="8304"/>
                  </a:cubicBezTo>
                  <a:cubicBezTo>
                    <a:pt x="2117" y="8304"/>
                    <a:pt x="2171" y="8227"/>
                    <a:pt x="2171" y="8151"/>
                  </a:cubicBezTo>
                  <a:cubicBezTo>
                    <a:pt x="2144" y="8074"/>
                    <a:pt x="2091" y="8074"/>
                    <a:pt x="2064" y="8074"/>
                  </a:cubicBezTo>
                  <a:cubicBezTo>
                    <a:pt x="2037" y="8074"/>
                    <a:pt x="2011" y="7998"/>
                    <a:pt x="1984" y="8074"/>
                  </a:cubicBezTo>
                  <a:cubicBezTo>
                    <a:pt x="1931" y="8074"/>
                    <a:pt x="1904" y="8227"/>
                    <a:pt x="1851" y="8227"/>
                  </a:cubicBezTo>
                  <a:cubicBezTo>
                    <a:pt x="1797" y="8381"/>
                    <a:pt x="1771" y="8381"/>
                    <a:pt x="1717" y="8534"/>
                  </a:cubicBezTo>
                  <a:cubicBezTo>
                    <a:pt x="1664" y="8687"/>
                    <a:pt x="1611" y="8687"/>
                    <a:pt x="1691" y="8840"/>
                  </a:cubicBezTo>
                  <a:cubicBezTo>
                    <a:pt x="1717" y="8917"/>
                    <a:pt x="1771" y="9146"/>
                    <a:pt x="1744" y="9223"/>
                  </a:cubicBezTo>
                  <a:cubicBezTo>
                    <a:pt x="1717" y="9300"/>
                    <a:pt x="1557" y="9146"/>
                    <a:pt x="1531" y="9146"/>
                  </a:cubicBezTo>
                  <a:cubicBezTo>
                    <a:pt x="1504" y="9070"/>
                    <a:pt x="1424" y="9146"/>
                    <a:pt x="1397" y="9146"/>
                  </a:cubicBezTo>
                  <a:cubicBezTo>
                    <a:pt x="1424" y="9070"/>
                    <a:pt x="1291" y="8764"/>
                    <a:pt x="1264" y="8917"/>
                  </a:cubicBezTo>
                  <a:cubicBezTo>
                    <a:pt x="1131" y="9223"/>
                    <a:pt x="1424" y="9300"/>
                    <a:pt x="1424" y="9453"/>
                  </a:cubicBezTo>
                  <a:cubicBezTo>
                    <a:pt x="1397" y="9759"/>
                    <a:pt x="1317" y="9606"/>
                    <a:pt x="1237" y="9606"/>
                  </a:cubicBezTo>
                  <a:cubicBezTo>
                    <a:pt x="1157" y="9529"/>
                    <a:pt x="1131" y="9376"/>
                    <a:pt x="1051" y="9300"/>
                  </a:cubicBezTo>
                  <a:cubicBezTo>
                    <a:pt x="997" y="9223"/>
                    <a:pt x="997" y="9146"/>
                    <a:pt x="971" y="8993"/>
                  </a:cubicBezTo>
                  <a:cubicBezTo>
                    <a:pt x="971" y="8840"/>
                    <a:pt x="944" y="8840"/>
                    <a:pt x="917" y="8764"/>
                  </a:cubicBezTo>
                  <a:cubicBezTo>
                    <a:pt x="917" y="8687"/>
                    <a:pt x="997" y="8534"/>
                    <a:pt x="997" y="8534"/>
                  </a:cubicBezTo>
                  <a:cubicBezTo>
                    <a:pt x="1024" y="8304"/>
                    <a:pt x="891" y="8151"/>
                    <a:pt x="837" y="8151"/>
                  </a:cubicBezTo>
                  <a:cubicBezTo>
                    <a:pt x="784" y="8074"/>
                    <a:pt x="784" y="7921"/>
                    <a:pt x="731" y="7921"/>
                  </a:cubicBezTo>
                  <a:cubicBezTo>
                    <a:pt x="757" y="7844"/>
                    <a:pt x="624" y="7538"/>
                    <a:pt x="624" y="7538"/>
                  </a:cubicBezTo>
                  <a:cubicBezTo>
                    <a:pt x="677" y="7461"/>
                    <a:pt x="731" y="7691"/>
                    <a:pt x="757" y="7768"/>
                  </a:cubicBezTo>
                  <a:cubicBezTo>
                    <a:pt x="784" y="7844"/>
                    <a:pt x="811" y="7844"/>
                    <a:pt x="811" y="7768"/>
                  </a:cubicBezTo>
                  <a:cubicBezTo>
                    <a:pt x="837" y="7768"/>
                    <a:pt x="864" y="7844"/>
                    <a:pt x="864" y="7844"/>
                  </a:cubicBezTo>
                  <a:cubicBezTo>
                    <a:pt x="944" y="7921"/>
                    <a:pt x="997" y="7998"/>
                    <a:pt x="1077" y="7998"/>
                  </a:cubicBezTo>
                  <a:cubicBezTo>
                    <a:pt x="1131" y="8074"/>
                    <a:pt x="1211" y="8074"/>
                    <a:pt x="1291" y="8151"/>
                  </a:cubicBezTo>
                  <a:cubicBezTo>
                    <a:pt x="1424" y="8304"/>
                    <a:pt x="1531" y="8304"/>
                    <a:pt x="1664" y="8074"/>
                  </a:cubicBezTo>
                  <a:cubicBezTo>
                    <a:pt x="1717" y="7998"/>
                    <a:pt x="1744" y="7921"/>
                    <a:pt x="1797" y="7844"/>
                  </a:cubicBezTo>
                  <a:cubicBezTo>
                    <a:pt x="1877" y="7691"/>
                    <a:pt x="1824" y="7615"/>
                    <a:pt x="1824" y="7385"/>
                  </a:cubicBezTo>
                  <a:cubicBezTo>
                    <a:pt x="1824" y="7155"/>
                    <a:pt x="1637" y="7078"/>
                    <a:pt x="1584" y="6925"/>
                  </a:cubicBezTo>
                  <a:cubicBezTo>
                    <a:pt x="1504" y="6772"/>
                    <a:pt x="1397" y="6619"/>
                    <a:pt x="1317" y="6542"/>
                  </a:cubicBezTo>
                  <a:cubicBezTo>
                    <a:pt x="1237" y="6389"/>
                    <a:pt x="1131" y="6236"/>
                    <a:pt x="1051" y="6236"/>
                  </a:cubicBezTo>
                  <a:cubicBezTo>
                    <a:pt x="1024" y="6159"/>
                    <a:pt x="1024" y="6236"/>
                    <a:pt x="997" y="6236"/>
                  </a:cubicBezTo>
                  <a:cubicBezTo>
                    <a:pt x="971" y="6236"/>
                    <a:pt x="944" y="6159"/>
                    <a:pt x="917" y="6159"/>
                  </a:cubicBezTo>
                  <a:cubicBezTo>
                    <a:pt x="864" y="6083"/>
                    <a:pt x="811" y="6389"/>
                    <a:pt x="757" y="6389"/>
                  </a:cubicBezTo>
                  <a:cubicBezTo>
                    <a:pt x="757" y="6312"/>
                    <a:pt x="864" y="6083"/>
                    <a:pt x="757" y="6083"/>
                  </a:cubicBezTo>
                  <a:cubicBezTo>
                    <a:pt x="731" y="6083"/>
                    <a:pt x="624" y="5929"/>
                    <a:pt x="624" y="5929"/>
                  </a:cubicBezTo>
                  <a:cubicBezTo>
                    <a:pt x="651" y="5853"/>
                    <a:pt x="757" y="6083"/>
                    <a:pt x="757" y="5929"/>
                  </a:cubicBezTo>
                  <a:cubicBezTo>
                    <a:pt x="757" y="5853"/>
                    <a:pt x="651" y="5700"/>
                    <a:pt x="624" y="5700"/>
                  </a:cubicBezTo>
                  <a:cubicBezTo>
                    <a:pt x="597" y="5776"/>
                    <a:pt x="517" y="5929"/>
                    <a:pt x="517" y="5929"/>
                  </a:cubicBezTo>
                  <a:cubicBezTo>
                    <a:pt x="517" y="5853"/>
                    <a:pt x="517" y="5853"/>
                    <a:pt x="491" y="5776"/>
                  </a:cubicBezTo>
                  <a:cubicBezTo>
                    <a:pt x="437" y="5776"/>
                    <a:pt x="437" y="5853"/>
                    <a:pt x="411" y="5929"/>
                  </a:cubicBezTo>
                  <a:cubicBezTo>
                    <a:pt x="411" y="5929"/>
                    <a:pt x="411" y="5929"/>
                    <a:pt x="411" y="5853"/>
                  </a:cubicBezTo>
                  <a:cubicBezTo>
                    <a:pt x="384" y="5929"/>
                    <a:pt x="357" y="6083"/>
                    <a:pt x="331" y="6083"/>
                  </a:cubicBezTo>
                  <a:cubicBezTo>
                    <a:pt x="304" y="6159"/>
                    <a:pt x="251" y="6159"/>
                    <a:pt x="251" y="6159"/>
                  </a:cubicBezTo>
                  <a:cubicBezTo>
                    <a:pt x="224" y="6312"/>
                    <a:pt x="117" y="6312"/>
                    <a:pt x="144" y="6466"/>
                  </a:cubicBezTo>
                  <a:cubicBezTo>
                    <a:pt x="224" y="6619"/>
                    <a:pt x="117" y="6466"/>
                    <a:pt x="117" y="6695"/>
                  </a:cubicBezTo>
                  <a:cubicBezTo>
                    <a:pt x="117" y="6849"/>
                    <a:pt x="224" y="6925"/>
                    <a:pt x="251" y="7002"/>
                  </a:cubicBezTo>
                  <a:cubicBezTo>
                    <a:pt x="304" y="7078"/>
                    <a:pt x="357" y="7232"/>
                    <a:pt x="331" y="7385"/>
                  </a:cubicBezTo>
                  <a:cubicBezTo>
                    <a:pt x="304" y="7538"/>
                    <a:pt x="224" y="7615"/>
                    <a:pt x="224" y="7768"/>
                  </a:cubicBezTo>
                  <a:cubicBezTo>
                    <a:pt x="251" y="7921"/>
                    <a:pt x="304" y="8074"/>
                    <a:pt x="331" y="8227"/>
                  </a:cubicBezTo>
                  <a:cubicBezTo>
                    <a:pt x="357" y="8381"/>
                    <a:pt x="304" y="8381"/>
                    <a:pt x="304" y="8534"/>
                  </a:cubicBezTo>
                  <a:cubicBezTo>
                    <a:pt x="304" y="8687"/>
                    <a:pt x="384" y="8840"/>
                    <a:pt x="331" y="8917"/>
                  </a:cubicBezTo>
                  <a:cubicBezTo>
                    <a:pt x="277" y="8993"/>
                    <a:pt x="357" y="9223"/>
                    <a:pt x="357" y="9300"/>
                  </a:cubicBezTo>
                  <a:cubicBezTo>
                    <a:pt x="411" y="9453"/>
                    <a:pt x="464" y="9453"/>
                    <a:pt x="384" y="9606"/>
                  </a:cubicBezTo>
                  <a:cubicBezTo>
                    <a:pt x="331" y="9759"/>
                    <a:pt x="357" y="9759"/>
                    <a:pt x="384" y="9836"/>
                  </a:cubicBezTo>
                  <a:cubicBezTo>
                    <a:pt x="517" y="10066"/>
                    <a:pt x="597" y="10219"/>
                    <a:pt x="464" y="10525"/>
                  </a:cubicBezTo>
                  <a:cubicBezTo>
                    <a:pt x="331" y="10908"/>
                    <a:pt x="197" y="11215"/>
                    <a:pt x="91" y="11598"/>
                  </a:cubicBezTo>
                  <a:cubicBezTo>
                    <a:pt x="144" y="11598"/>
                    <a:pt x="144" y="11521"/>
                    <a:pt x="171" y="11598"/>
                  </a:cubicBezTo>
                  <a:cubicBezTo>
                    <a:pt x="197" y="11751"/>
                    <a:pt x="251" y="11751"/>
                    <a:pt x="277" y="11827"/>
                  </a:cubicBezTo>
                  <a:cubicBezTo>
                    <a:pt x="437" y="11981"/>
                    <a:pt x="224" y="11981"/>
                    <a:pt x="171" y="11981"/>
                  </a:cubicBezTo>
                  <a:cubicBezTo>
                    <a:pt x="117" y="11981"/>
                    <a:pt x="91" y="12057"/>
                    <a:pt x="91" y="12210"/>
                  </a:cubicBezTo>
                  <a:cubicBezTo>
                    <a:pt x="91" y="12364"/>
                    <a:pt x="37" y="12440"/>
                    <a:pt x="11" y="12593"/>
                  </a:cubicBezTo>
                  <a:cubicBezTo>
                    <a:pt x="-16" y="12670"/>
                    <a:pt x="11" y="12823"/>
                    <a:pt x="37" y="12976"/>
                  </a:cubicBezTo>
                  <a:cubicBezTo>
                    <a:pt x="37" y="13129"/>
                    <a:pt x="-16" y="13283"/>
                    <a:pt x="11" y="13359"/>
                  </a:cubicBezTo>
                  <a:cubicBezTo>
                    <a:pt x="64" y="13436"/>
                    <a:pt x="64" y="13436"/>
                    <a:pt x="64" y="13589"/>
                  </a:cubicBezTo>
                  <a:cubicBezTo>
                    <a:pt x="37" y="13742"/>
                    <a:pt x="91" y="13819"/>
                    <a:pt x="91" y="13972"/>
                  </a:cubicBezTo>
                  <a:cubicBezTo>
                    <a:pt x="91" y="14049"/>
                    <a:pt x="171" y="14202"/>
                    <a:pt x="197" y="14202"/>
                  </a:cubicBezTo>
                  <a:cubicBezTo>
                    <a:pt x="197" y="14202"/>
                    <a:pt x="224" y="14125"/>
                    <a:pt x="251" y="14125"/>
                  </a:cubicBezTo>
                  <a:cubicBezTo>
                    <a:pt x="277" y="14125"/>
                    <a:pt x="277" y="14278"/>
                    <a:pt x="304" y="14278"/>
                  </a:cubicBezTo>
                  <a:cubicBezTo>
                    <a:pt x="357" y="14202"/>
                    <a:pt x="357" y="14125"/>
                    <a:pt x="411" y="14278"/>
                  </a:cubicBezTo>
                  <a:cubicBezTo>
                    <a:pt x="464" y="14355"/>
                    <a:pt x="464" y="14355"/>
                    <a:pt x="464" y="14508"/>
                  </a:cubicBezTo>
                  <a:cubicBezTo>
                    <a:pt x="437" y="14891"/>
                    <a:pt x="544" y="15198"/>
                    <a:pt x="624" y="15351"/>
                  </a:cubicBezTo>
                  <a:cubicBezTo>
                    <a:pt x="677" y="15427"/>
                    <a:pt x="704" y="15504"/>
                    <a:pt x="651" y="15581"/>
                  </a:cubicBezTo>
                  <a:cubicBezTo>
                    <a:pt x="624" y="15734"/>
                    <a:pt x="597" y="15657"/>
                    <a:pt x="544" y="15657"/>
                  </a:cubicBezTo>
                  <a:cubicBezTo>
                    <a:pt x="491" y="15657"/>
                    <a:pt x="571" y="16346"/>
                    <a:pt x="624" y="16270"/>
                  </a:cubicBezTo>
                  <a:cubicBezTo>
                    <a:pt x="651" y="16193"/>
                    <a:pt x="677" y="15964"/>
                    <a:pt x="704" y="16040"/>
                  </a:cubicBezTo>
                  <a:cubicBezTo>
                    <a:pt x="731" y="16040"/>
                    <a:pt x="757" y="16117"/>
                    <a:pt x="811" y="16117"/>
                  </a:cubicBezTo>
                  <a:cubicBezTo>
                    <a:pt x="864" y="16117"/>
                    <a:pt x="917" y="16193"/>
                    <a:pt x="917" y="16346"/>
                  </a:cubicBezTo>
                  <a:cubicBezTo>
                    <a:pt x="917" y="16423"/>
                    <a:pt x="891" y="16423"/>
                    <a:pt x="891" y="16423"/>
                  </a:cubicBezTo>
                  <a:cubicBezTo>
                    <a:pt x="864" y="16500"/>
                    <a:pt x="891" y="16653"/>
                    <a:pt x="917" y="16653"/>
                  </a:cubicBezTo>
                  <a:cubicBezTo>
                    <a:pt x="944" y="16729"/>
                    <a:pt x="997" y="16653"/>
                    <a:pt x="1024" y="16729"/>
                  </a:cubicBezTo>
                  <a:cubicBezTo>
                    <a:pt x="1051" y="16806"/>
                    <a:pt x="1051" y="16959"/>
                    <a:pt x="1051" y="17036"/>
                  </a:cubicBezTo>
                  <a:cubicBezTo>
                    <a:pt x="1051" y="17112"/>
                    <a:pt x="1131" y="17036"/>
                    <a:pt x="1157" y="17036"/>
                  </a:cubicBezTo>
                  <a:cubicBezTo>
                    <a:pt x="1184" y="17112"/>
                    <a:pt x="1237" y="17342"/>
                    <a:pt x="1264" y="17189"/>
                  </a:cubicBezTo>
                  <a:cubicBezTo>
                    <a:pt x="1291" y="17036"/>
                    <a:pt x="1317" y="17112"/>
                    <a:pt x="1344" y="17189"/>
                  </a:cubicBezTo>
                  <a:cubicBezTo>
                    <a:pt x="1397" y="17342"/>
                    <a:pt x="1397" y="17266"/>
                    <a:pt x="1451" y="17266"/>
                  </a:cubicBezTo>
                  <a:cubicBezTo>
                    <a:pt x="1477" y="17266"/>
                    <a:pt x="1504" y="17495"/>
                    <a:pt x="1531" y="17419"/>
                  </a:cubicBezTo>
                  <a:cubicBezTo>
                    <a:pt x="1584" y="17342"/>
                    <a:pt x="1637" y="17495"/>
                    <a:pt x="1664" y="17572"/>
                  </a:cubicBezTo>
                  <a:cubicBezTo>
                    <a:pt x="1717" y="17649"/>
                    <a:pt x="1637" y="17725"/>
                    <a:pt x="1637" y="17725"/>
                  </a:cubicBezTo>
                  <a:cubicBezTo>
                    <a:pt x="1584" y="17802"/>
                    <a:pt x="1664" y="17878"/>
                    <a:pt x="1664" y="17878"/>
                  </a:cubicBezTo>
                  <a:cubicBezTo>
                    <a:pt x="1664" y="17878"/>
                    <a:pt x="1584" y="17878"/>
                    <a:pt x="1611" y="18032"/>
                  </a:cubicBezTo>
                  <a:cubicBezTo>
                    <a:pt x="1664" y="18108"/>
                    <a:pt x="1637" y="18185"/>
                    <a:pt x="1611" y="18261"/>
                  </a:cubicBezTo>
                  <a:cubicBezTo>
                    <a:pt x="1611" y="18338"/>
                    <a:pt x="1531" y="18338"/>
                    <a:pt x="1504" y="18338"/>
                  </a:cubicBezTo>
                  <a:cubicBezTo>
                    <a:pt x="1451" y="18338"/>
                    <a:pt x="1424" y="18491"/>
                    <a:pt x="1397" y="18644"/>
                  </a:cubicBezTo>
                  <a:cubicBezTo>
                    <a:pt x="1424" y="18644"/>
                    <a:pt x="1531" y="18644"/>
                    <a:pt x="1531" y="18721"/>
                  </a:cubicBezTo>
                  <a:cubicBezTo>
                    <a:pt x="1531" y="18798"/>
                    <a:pt x="1397" y="18874"/>
                    <a:pt x="1397" y="18951"/>
                  </a:cubicBezTo>
                  <a:cubicBezTo>
                    <a:pt x="1397" y="19027"/>
                    <a:pt x="1451" y="19027"/>
                    <a:pt x="1451" y="19181"/>
                  </a:cubicBezTo>
                  <a:cubicBezTo>
                    <a:pt x="1451" y="19181"/>
                    <a:pt x="1371" y="19257"/>
                    <a:pt x="1371" y="19257"/>
                  </a:cubicBezTo>
                  <a:cubicBezTo>
                    <a:pt x="1344" y="19334"/>
                    <a:pt x="1344" y="19410"/>
                    <a:pt x="1317" y="19487"/>
                  </a:cubicBezTo>
                  <a:cubicBezTo>
                    <a:pt x="1317" y="19564"/>
                    <a:pt x="1264" y="19487"/>
                    <a:pt x="1264" y="19640"/>
                  </a:cubicBezTo>
                  <a:cubicBezTo>
                    <a:pt x="1237" y="19717"/>
                    <a:pt x="1291" y="19870"/>
                    <a:pt x="1344" y="19870"/>
                  </a:cubicBezTo>
                  <a:cubicBezTo>
                    <a:pt x="1397" y="19946"/>
                    <a:pt x="1451" y="20023"/>
                    <a:pt x="1531" y="20176"/>
                  </a:cubicBezTo>
                  <a:cubicBezTo>
                    <a:pt x="1557" y="20253"/>
                    <a:pt x="1584" y="20329"/>
                    <a:pt x="1611" y="20329"/>
                  </a:cubicBezTo>
                  <a:cubicBezTo>
                    <a:pt x="1637" y="20483"/>
                    <a:pt x="1637" y="20406"/>
                    <a:pt x="1691" y="20329"/>
                  </a:cubicBezTo>
                  <a:cubicBezTo>
                    <a:pt x="1771" y="20329"/>
                    <a:pt x="1851" y="20559"/>
                    <a:pt x="1931" y="20559"/>
                  </a:cubicBezTo>
                  <a:cubicBezTo>
                    <a:pt x="2011" y="20559"/>
                    <a:pt x="2091" y="20712"/>
                    <a:pt x="2171" y="20789"/>
                  </a:cubicBezTo>
                  <a:cubicBezTo>
                    <a:pt x="2251" y="20866"/>
                    <a:pt x="2304" y="20789"/>
                    <a:pt x="2384" y="20789"/>
                  </a:cubicBezTo>
                  <a:cubicBezTo>
                    <a:pt x="2411" y="20866"/>
                    <a:pt x="2437" y="20942"/>
                    <a:pt x="2437" y="21019"/>
                  </a:cubicBezTo>
                  <a:cubicBezTo>
                    <a:pt x="2437" y="21095"/>
                    <a:pt x="2464" y="21095"/>
                    <a:pt x="2491" y="21095"/>
                  </a:cubicBezTo>
                  <a:cubicBezTo>
                    <a:pt x="2571" y="21172"/>
                    <a:pt x="2624" y="21555"/>
                    <a:pt x="2731" y="21402"/>
                  </a:cubicBezTo>
                  <a:cubicBezTo>
                    <a:pt x="2757" y="21325"/>
                    <a:pt x="2811" y="21249"/>
                    <a:pt x="2784" y="21172"/>
                  </a:cubicBezTo>
                  <a:cubicBezTo>
                    <a:pt x="2757" y="21095"/>
                    <a:pt x="2731" y="21019"/>
                    <a:pt x="2704" y="20942"/>
                  </a:cubicBezTo>
                  <a:cubicBezTo>
                    <a:pt x="2651" y="20789"/>
                    <a:pt x="2624" y="20636"/>
                    <a:pt x="2651" y="20406"/>
                  </a:cubicBezTo>
                  <a:cubicBezTo>
                    <a:pt x="2651" y="20253"/>
                    <a:pt x="2624" y="20100"/>
                    <a:pt x="2571" y="20023"/>
                  </a:cubicBezTo>
                  <a:cubicBezTo>
                    <a:pt x="2517" y="19946"/>
                    <a:pt x="2597" y="19793"/>
                    <a:pt x="2624" y="19717"/>
                  </a:cubicBezTo>
                  <a:cubicBezTo>
                    <a:pt x="2651" y="19564"/>
                    <a:pt x="2651" y="19410"/>
                    <a:pt x="2731" y="19410"/>
                  </a:cubicBezTo>
                  <a:cubicBezTo>
                    <a:pt x="2757" y="19410"/>
                    <a:pt x="2784" y="19334"/>
                    <a:pt x="2811" y="19257"/>
                  </a:cubicBezTo>
                  <a:cubicBezTo>
                    <a:pt x="2837" y="19181"/>
                    <a:pt x="2864" y="19181"/>
                    <a:pt x="2891" y="19104"/>
                  </a:cubicBezTo>
                  <a:cubicBezTo>
                    <a:pt x="2864" y="19104"/>
                    <a:pt x="2811" y="19027"/>
                    <a:pt x="2811" y="18951"/>
                  </a:cubicBezTo>
                  <a:cubicBezTo>
                    <a:pt x="2811" y="18874"/>
                    <a:pt x="2864" y="18951"/>
                    <a:pt x="2864" y="18951"/>
                  </a:cubicBezTo>
                  <a:cubicBezTo>
                    <a:pt x="2864" y="18874"/>
                    <a:pt x="2811" y="18644"/>
                    <a:pt x="2784" y="18568"/>
                  </a:cubicBezTo>
                  <a:cubicBezTo>
                    <a:pt x="2757" y="18415"/>
                    <a:pt x="2731" y="18415"/>
                    <a:pt x="2677" y="18415"/>
                  </a:cubicBezTo>
                  <a:cubicBezTo>
                    <a:pt x="2597" y="18415"/>
                    <a:pt x="2651" y="18261"/>
                    <a:pt x="2597" y="18185"/>
                  </a:cubicBezTo>
                  <a:cubicBezTo>
                    <a:pt x="2571" y="18108"/>
                    <a:pt x="2491" y="18108"/>
                    <a:pt x="2544" y="17955"/>
                  </a:cubicBezTo>
                  <a:cubicBezTo>
                    <a:pt x="2571" y="17802"/>
                    <a:pt x="2624" y="17725"/>
                    <a:pt x="2571" y="17649"/>
                  </a:cubicBezTo>
                  <a:cubicBezTo>
                    <a:pt x="2544" y="17495"/>
                    <a:pt x="2597" y="17419"/>
                    <a:pt x="2624" y="17342"/>
                  </a:cubicBezTo>
                  <a:cubicBezTo>
                    <a:pt x="2624" y="17266"/>
                    <a:pt x="2677" y="17036"/>
                    <a:pt x="2677" y="17112"/>
                  </a:cubicBezTo>
                  <a:cubicBezTo>
                    <a:pt x="2704" y="17189"/>
                    <a:pt x="2731" y="17342"/>
                    <a:pt x="2757" y="17419"/>
                  </a:cubicBezTo>
                  <a:cubicBezTo>
                    <a:pt x="2811" y="17419"/>
                    <a:pt x="2837" y="17342"/>
                    <a:pt x="2837" y="17266"/>
                  </a:cubicBezTo>
                  <a:cubicBezTo>
                    <a:pt x="2811" y="17112"/>
                    <a:pt x="2811" y="17036"/>
                    <a:pt x="2864" y="16959"/>
                  </a:cubicBezTo>
                  <a:cubicBezTo>
                    <a:pt x="2917" y="16883"/>
                    <a:pt x="2917" y="16729"/>
                    <a:pt x="2971" y="16729"/>
                  </a:cubicBezTo>
                  <a:cubicBezTo>
                    <a:pt x="3024" y="16653"/>
                    <a:pt x="3077" y="16423"/>
                    <a:pt x="3131" y="16500"/>
                  </a:cubicBezTo>
                  <a:cubicBezTo>
                    <a:pt x="3184" y="16500"/>
                    <a:pt x="3184" y="16653"/>
                    <a:pt x="3237" y="16500"/>
                  </a:cubicBezTo>
                  <a:cubicBezTo>
                    <a:pt x="3291" y="16423"/>
                    <a:pt x="3291" y="16500"/>
                    <a:pt x="3344" y="16576"/>
                  </a:cubicBezTo>
                  <a:cubicBezTo>
                    <a:pt x="3397" y="16576"/>
                    <a:pt x="3451" y="16576"/>
                    <a:pt x="3504" y="16653"/>
                  </a:cubicBezTo>
                  <a:cubicBezTo>
                    <a:pt x="3557" y="16729"/>
                    <a:pt x="3557" y="16883"/>
                    <a:pt x="3611" y="17036"/>
                  </a:cubicBezTo>
                  <a:cubicBezTo>
                    <a:pt x="3611" y="17036"/>
                    <a:pt x="3611" y="16806"/>
                    <a:pt x="3664" y="16883"/>
                  </a:cubicBezTo>
                  <a:cubicBezTo>
                    <a:pt x="3691" y="16883"/>
                    <a:pt x="3717" y="17036"/>
                    <a:pt x="3771" y="17036"/>
                  </a:cubicBezTo>
                  <a:cubicBezTo>
                    <a:pt x="3797" y="17112"/>
                    <a:pt x="3824" y="16959"/>
                    <a:pt x="3851" y="16883"/>
                  </a:cubicBezTo>
                  <a:cubicBezTo>
                    <a:pt x="3904" y="16729"/>
                    <a:pt x="3931" y="16883"/>
                    <a:pt x="3984" y="16883"/>
                  </a:cubicBezTo>
                  <a:cubicBezTo>
                    <a:pt x="4037" y="16883"/>
                    <a:pt x="4064" y="16729"/>
                    <a:pt x="4117" y="16806"/>
                  </a:cubicBezTo>
                  <a:cubicBezTo>
                    <a:pt x="4171" y="16883"/>
                    <a:pt x="4197" y="16959"/>
                    <a:pt x="4251" y="17036"/>
                  </a:cubicBezTo>
                  <a:cubicBezTo>
                    <a:pt x="4304" y="17112"/>
                    <a:pt x="4277" y="17036"/>
                    <a:pt x="4331" y="16959"/>
                  </a:cubicBezTo>
                  <a:cubicBezTo>
                    <a:pt x="4357" y="16883"/>
                    <a:pt x="4464" y="16959"/>
                    <a:pt x="4491" y="16959"/>
                  </a:cubicBezTo>
                  <a:cubicBezTo>
                    <a:pt x="4517" y="16959"/>
                    <a:pt x="4571" y="16806"/>
                    <a:pt x="4571" y="16729"/>
                  </a:cubicBezTo>
                  <a:cubicBezTo>
                    <a:pt x="4571" y="16576"/>
                    <a:pt x="4491" y="16576"/>
                    <a:pt x="4464" y="16500"/>
                  </a:cubicBezTo>
                  <a:cubicBezTo>
                    <a:pt x="4277" y="16270"/>
                    <a:pt x="4544" y="16346"/>
                    <a:pt x="4491" y="16040"/>
                  </a:cubicBezTo>
                  <a:cubicBezTo>
                    <a:pt x="4464" y="15964"/>
                    <a:pt x="4411" y="15964"/>
                    <a:pt x="4491" y="15887"/>
                  </a:cubicBezTo>
                  <a:cubicBezTo>
                    <a:pt x="4517" y="15810"/>
                    <a:pt x="4571" y="15887"/>
                    <a:pt x="4597" y="15810"/>
                  </a:cubicBezTo>
                  <a:cubicBezTo>
                    <a:pt x="4704" y="15810"/>
                    <a:pt x="4411" y="15427"/>
                    <a:pt x="4544" y="15274"/>
                  </a:cubicBezTo>
                  <a:cubicBezTo>
                    <a:pt x="4571" y="15274"/>
                    <a:pt x="4624" y="15274"/>
                    <a:pt x="4651" y="15274"/>
                  </a:cubicBezTo>
                  <a:cubicBezTo>
                    <a:pt x="4731" y="15274"/>
                    <a:pt x="4784" y="15274"/>
                    <a:pt x="4864" y="15198"/>
                  </a:cubicBezTo>
                  <a:cubicBezTo>
                    <a:pt x="4917" y="15121"/>
                    <a:pt x="4971" y="15121"/>
                    <a:pt x="5024" y="15121"/>
                  </a:cubicBezTo>
                  <a:cubicBezTo>
                    <a:pt x="5077" y="15044"/>
                    <a:pt x="5131" y="14968"/>
                    <a:pt x="5211" y="14968"/>
                  </a:cubicBezTo>
                  <a:cubicBezTo>
                    <a:pt x="5317" y="14891"/>
                    <a:pt x="5424" y="14815"/>
                    <a:pt x="5531" y="14661"/>
                  </a:cubicBezTo>
                  <a:cubicBezTo>
                    <a:pt x="5611" y="14508"/>
                    <a:pt x="5771" y="14508"/>
                    <a:pt x="5824" y="14815"/>
                  </a:cubicBezTo>
                  <a:cubicBezTo>
                    <a:pt x="5851" y="14968"/>
                    <a:pt x="5824" y="14968"/>
                    <a:pt x="5851" y="15121"/>
                  </a:cubicBezTo>
                  <a:cubicBezTo>
                    <a:pt x="5851" y="15351"/>
                    <a:pt x="5957" y="15121"/>
                    <a:pt x="6011" y="15198"/>
                  </a:cubicBezTo>
                  <a:cubicBezTo>
                    <a:pt x="6037" y="15198"/>
                    <a:pt x="6011" y="15274"/>
                    <a:pt x="6037" y="15274"/>
                  </a:cubicBezTo>
                  <a:cubicBezTo>
                    <a:pt x="6064" y="15351"/>
                    <a:pt x="6064" y="15274"/>
                    <a:pt x="6064" y="15274"/>
                  </a:cubicBezTo>
                  <a:cubicBezTo>
                    <a:pt x="6091" y="15198"/>
                    <a:pt x="6117" y="15274"/>
                    <a:pt x="6144" y="15351"/>
                  </a:cubicBezTo>
                  <a:cubicBezTo>
                    <a:pt x="6171" y="15351"/>
                    <a:pt x="6171" y="15351"/>
                    <a:pt x="6144" y="15427"/>
                  </a:cubicBezTo>
                  <a:cubicBezTo>
                    <a:pt x="6117" y="15657"/>
                    <a:pt x="6304" y="15504"/>
                    <a:pt x="6357" y="15427"/>
                  </a:cubicBezTo>
                  <a:cubicBezTo>
                    <a:pt x="6357" y="15427"/>
                    <a:pt x="6597" y="15044"/>
                    <a:pt x="6597" y="15121"/>
                  </a:cubicBezTo>
                  <a:cubicBezTo>
                    <a:pt x="6597" y="15198"/>
                    <a:pt x="6544" y="15351"/>
                    <a:pt x="6597" y="15427"/>
                  </a:cubicBezTo>
                  <a:cubicBezTo>
                    <a:pt x="6651" y="15427"/>
                    <a:pt x="6677" y="15504"/>
                    <a:pt x="6704" y="15581"/>
                  </a:cubicBezTo>
                  <a:cubicBezTo>
                    <a:pt x="6784" y="15810"/>
                    <a:pt x="6811" y="16040"/>
                    <a:pt x="6864" y="16270"/>
                  </a:cubicBezTo>
                  <a:cubicBezTo>
                    <a:pt x="6917" y="16500"/>
                    <a:pt x="6944" y="16729"/>
                    <a:pt x="6997" y="16883"/>
                  </a:cubicBezTo>
                  <a:cubicBezTo>
                    <a:pt x="7077" y="17112"/>
                    <a:pt x="7077" y="16576"/>
                    <a:pt x="7157" y="16806"/>
                  </a:cubicBezTo>
                  <a:cubicBezTo>
                    <a:pt x="7264" y="17112"/>
                    <a:pt x="7317" y="16959"/>
                    <a:pt x="7451" y="16883"/>
                  </a:cubicBezTo>
                  <a:cubicBezTo>
                    <a:pt x="7504" y="16806"/>
                    <a:pt x="7531" y="17036"/>
                    <a:pt x="7557" y="17112"/>
                  </a:cubicBezTo>
                  <a:cubicBezTo>
                    <a:pt x="7584" y="17266"/>
                    <a:pt x="7637" y="17266"/>
                    <a:pt x="7664" y="17419"/>
                  </a:cubicBezTo>
                  <a:cubicBezTo>
                    <a:pt x="7691" y="17572"/>
                    <a:pt x="7744" y="17572"/>
                    <a:pt x="7797" y="17572"/>
                  </a:cubicBezTo>
                  <a:cubicBezTo>
                    <a:pt x="7877" y="17495"/>
                    <a:pt x="7851" y="17572"/>
                    <a:pt x="7877" y="17649"/>
                  </a:cubicBezTo>
                  <a:cubicBezTo>
                    <a:pt x="7931" y="17955"/>
                    <a:pt x="8091" y="17572"/>
                    <a:pt x="8171" y="17572"/>
                  </a:cubicBezTo>
                  <a:cubicBezTo>
                    <a:pt x="8251" y="17495"/>
                    <a:pt x="8331" y="17266"/>
                    <a:pt x="8411" y="17189"/>
                  </a:cubicBezTo>
                  <a:cubicBezTo>
                    <a:pt x="8517" y="16959"/>
                    <a:pt x="8571" y="16959"/>
                    <a:pt x="8704" y="17036"/>
                  </a:cubicBezTo>
                  <a:cubicBezTo>
                    <a:pt x="8757" y="17036"/>
                    <a:pt x="8757" y="17112"/>
                    <a:pt x="8811" y="17266"/>
                  </a:cubicBezTo>
                  <a:cubicBezTo>
                    <a:pt x="8837" y="17342"/>
                    <a:pt x="8891" y="17342"/>
                    <a:pt x="8944" y="17342"/>
                  </a:cubicBezTo>
                  <a:cubicBezTo>
                    <a:pt x="8997" y="17342"/>
                    <a:pt x="9024" y="17419"/>
                    <a:pt x="9077" y="17419"/>
                  </a:cubicBezTo>
                  <a:cubicBezTo>
                    <a:pt x="9131" y="17572"/>
                    <a:pt x="9157" y="17419"/>
                    <a:pt x="9211" y="17342"/>
                  </a:cubicBezTo>
                  <a:cubicBezTo>
                    <a:pt x="9291" y="17112"/>
                    <a:pt x="9157" y="16959"/>
                    <a:pt x="9211" y="16729"/>
                  </a:cubicBezTo>
                  <a:cubicBezTo>
                    <a:pt x="9237" y="16576"/>
                    <a:pt x="9344" y="16270"/>
                    <a:pt x="9397" y="16346"/>
                  </a:cubicBezTo>
                  <a:cubicBezTo>
                    <a:pt x="9504" y="16500"/>
                    <a:pt x="9637" y="16500"/>
                    <a:pt x="9744" y="16653"/>
                  </a:cubicBezTo>
                  <a:cubicBezTo>
                    <a:pt x="9797" y="16729"/>
                    <a:pt x="9771" y="16883"/>
                    <a:pt x="9797" y="16959"/>
                  </a:cubicBezTo>
                  <a:cubicBezTo>
                    <a:pt x="9824" y="17189"/>
                    <a:pt x="9877" y="17189"/>
                    <a:pt x="9957" y="17266"/>
                  </a:cubicBezTo>
                  <a:cubicBezTo>
                    <a:pt x="10064" y="17342"/>
                    <a:pt x="10171" y="17112"/>
                    <a:pt x="10277" y="17189"/>
                  </a:cubicBezTo>
                  <a:cubicBezTo>
                    <a:pt x="10304" y="17189"/>
                    <a:pt x="10357" y="17189"/>
                    <a:pt x="10384" y="17266"/>
                  </a:cubicBezTo>
                  <a:cubicBezTo>
                    <a:pt x="10437" y="17342"/>
                    <a:pt x="10491" y="17342"/>
                    <a:pt x="10544" y="17495"/>
                  </a:cubicBezTo>
                  <a:cubicBezTo>
                    <a:pt x="10677" y="17802"/>
                    <a:pt x="10891" y="17802"/>
                    <a:pt x="11051" y="17649"/>
                  </a:cubicBezTo>
                  <a:cubicBezTo>
                    <a:pt x="11157" y="17572"/>
                    <a:pt x="11237" y="17419"/>
                    <a:pt x="11344" y="17342"/>
                  </a:cubicBezTo>
                  <a:cubicBezTo>
                    <a:pt x="11397" y="17189"/>
                    <a:pt x="11477" y="17342"/>
                    <a:pt x="11531" y="17342"/>
                  </a:cubicBezTo>
                  <a:cubicBezTo>
                    <a:pt x="11584" y="17419"/>
                    <a:pt x="11611" y="17266"/>
                    <a:pt x="11664" y="17342"/>
                  </a:cubicBezTo>
                  <a:cubicBezTo>
                    <a:pt x="11691" y="17419"/>
                    <a:pt x="11797" y="17649"/>
                    <a:pt x="11851" y="17572"/>
                  </a:cubicBezTo>
                  <a:cubicBezTo>
                    <a:pt x="11877" y="17572"/>
                    <a:pt x="11931" y="17495"/>
                    <a:pt x="11957" y="17419"/>
                  </a:cubicBezTo>
                  <a:cubicBezTo>
                    <a:pt x="12037" y="17342"/>
                    <a:pt x="12064" y="17342"/>
                    <a:pt x="12064" y="17189"/>
                  </a:cubicBezTo>
                  <a:cubicBezTo>
                    <a:pt x="12064" y="16883"/>
                    <a:pt x="12144" y="16576"/>
                    <a:pt x="12197" y="16423"/>
                  </a:cubicBezTo>
                  <a:cubicBezTo>
                    <a:pt x="12224" y="16346"/>
                    <a:pt x="12251" y="16193"/>
                    <a:pt x="12224" y="16117"/>
                  </a:cubicBezTo>
                  <a:cubicBezTo>
                    <a:pt x="12197" y="16040"/>
                    <a:pt x="12117" y="16040"/>
                    <a:pt x="12171" y="15887"/>
                  </a:cubicBezTo>
                  <a:cubicBezTo>
                    <a:pt x="12251" y="15657"/>
                    <a:pt x="12384" y="15657"/>
                    <a:pt x="12517" y="15581"/>
                  </a:cubicBezTo>
                  <a:cubicBezTo>
                    <a:pt x="12571" y="15581"/>
                    <a:pt x="12624" y="15581"/>
                    <a:pt x="12677" y="15657"/>
                  </a:cubicBezTo>
                  <a:cubicBezTo>
                    <a:pt x="12731" y="15734"/>
                    <a:pt x="12811" y="15734"/>
                    <a:pt x="12864" y="15810"/>
                  </a:cubicBezTo>
                  <a:cubicBezTo>
                    <a:pt x="12944" y="15887"/>
                    <a:pt x="12971" y="16193"/>
                    <a:pt x="13024" y="16423"/>
                  </a:cubicBezTo>
                  <a:cubicBezTo>
                    <a:pt x="13051" y="16653"/>
                    <a:pt x="13104" y="16883"/>
                    <a:pt x="13131" y="17112"/>
                  </a:cubicBezTo>
                  <a:cubicBezTo>
                    <a:pt x="13131" y="17189"/>
                    <a:pt x="13131" y="17342"/>
                    <a:pt x="13157" y="17495"/>
                  </a:cubicBezTo>
                  <a:cubicBezTo>
                    <a:pt x="13157" y="17572"/>
                    <a:pt x="13237" y="17572"/>
                    <a:pt x="13264" y="17572"/>
                  </a:cubicBezTo>
                  <a:cubicBezTo>
                    <a:pt x="13371" y="17649"/>
                    <a:pt x="13504" y="17802"/>
                    <a:pt x="13531" y="18108"/>
                  </a:cubicBezTo>
                  <a:cubicBezTo>
                    <a:pt x="13557" y="18338"/>
                    <a:pt x="13584" y="18491"/>
                    <a:pt x="13691" y="18491"/>
                  </a:cubicBezTo>
                  <a:cubicBezTo>
                    <a:pt x="13717" y="18491"/>
                    <a:pt x="13771" y="18491"/>
                    <a:pt x="13797" y="18491"/>
                  </a:cubicBezTo>
                  <a:cubicBezTo>
                    <a:pt x="13851" y="18491"/>
                    <a:pt x="13851" y="18338"/>
                    <a:pt x="13904" y="18338"/>
                  </a:cubicBezTo>
                  <a:cubicBezTo>
                    <a:pt x="13984" y="18338"/>
                    <a:pt x="14064" y="18108"/>
                    <a:pt x="14117" y="18415"/>
                  </a:cubicBezTo>
                  <a:cubicBezTo>
                    <a:pt x="14117" y="18568"/>
                    <a:pt x="14117" y="18568"/>
                    <a:pt x="14091" y="18644"/>
                  </a:cubicBezTo>
                  <a:cubicBezTo>
                    <a:pt x="14037" y="18798"/>
                    <a:pt x="14037" y="18874"/>
                    <a:pt x="14011" y="19027"/>
                  </a:cubicBezTo>
                  <a:cubicBezTo>
                    <a:pt x="13984" y="19257"/>
                    <a:pt x="13931" y="19487"/>
                    <a:pt x="13877" y="19717"/>
                  </a:cubicBezTo>
                  <a:cubicBezTo>
                    <a:pt x="13851" y="19870"/>
                    <a:pt x="13824" y="19793"/>
                    <a:pt x="13797" y="19717"/>
                  </a:cubicBezTo>
                  <a:cubicBezTo>
                    <a:pt x="13744" y="19640"/>
                    <a:pt x="13744" y="19717"/>
                    <a:pt x="13691" y="19793"/>
                  </a:cubicBezTo>
                  <a:cubicBezTo>
                    <a:pt x="13664" y="19793"/>
                    <a:pt x="13611" y="19870"/>
                    <a:pt x="13611" y="19870"/>
                  </a:cubicBezTo>
                  <a:cubicBezTo>
                    <a:pt x="13584" y="19946"/>
                    <a:pt x="13664" y="20253"/>
                    <a:pt x="13664" y="20406"/>
                  </a:cubicBezTo>
                  <a:cubicBezTo>
                    <a:pt x="13637" y="20483"/>
                    <a:pt x="13637" y="20636"/>
                    <a:pt x="13637" y="20712"/>
                  </a:cubicBezTo>
                  <a:cubicBezTo>
                    <a:pt x="13611" y="20866"/>
                    <a:pt x="13557" y="20789"/>
                    <a:pt x="13557" y="20942"/>
                  </a:cubicBezTo>
                  <a:cubicBezTo>
                    <a:pt x="13611" y="20866"/>
                    <a:pt x="13637" y="20942"/>
                    <a:pt x="13691" y="20789"/>
                  </a:cubicBezTo>
                  <a:cubicBezTo>
                    <a:pt x="13717" y="20636"/>
                    <a:pt x="13771" y="20789"/>
                    <a:pt x="13824" y="20789"/>
                  </a:cubicBezTo>
                  <a:cubicBezTo>
                    <a:pt x="13931" y="20942"/>
                    <a:pt x="14037" y="20789"/>
                    <a:pt x="14144" y="20559"/>
                  </a:cubicBezTo>
                  <a:cubicBezTo>
                    <a:pt x="14224" y="20329"/>
                    <a:pt x="14304" y="20023"/>
                    <a:pt x="14384" y="19793"/>
                  </a:cubicBezTo>
                  <a:cubicBezTo>
                    <a:pt x="14464" y="19487"/>
                    <a:pt x="14544" y="19181"/>
                    <a:pt x="14624" y="18874"/>
                  </a:cubicBezTo>
                  <a:cubicBezTo>
                    <a:pt x="14757" y="18338"/>
                    <a:pt x="14891" y="17955"/>
                    <a:pt x="14864" y="17266"/>
                  </a:cubicBezTo>
                  <a:cubicBezTo>
                    <a:pt x="14864" y="16959"/>
                    <a:pt x="14891" y="16806"/>
                    <a:pt x="14944" y="16576"/>
                  </a:cubicBezTo>
                  <a:cubicBezTo>
                    <a:pt x="14971" y="16423"/>
                    <a:pt x="14971" y="16346"/>
                    <a:pt x="14997" y="16193"/>
                  </a:cubicBezTo>
                  <a:cubicBezTo>
                    <a:pt x="14997" y="16193"/>
                    <a:pt x="14997" y="16117"/>
                    <a:pt x="14997" y="16040"/>
                  </a:cubicBezTo>
                  <a:cubicBezTo>
                    <a:pt x="14997" y="15964"/>
                    <a:pt x="14944" y="15887"/>
                    <a:pt x="14944" y="15810"/>
                  </a:cubicBezTo>
                  <a:cubicBezTo>
                    <a:pt x="14944" y="15810"/>
                    <a:pt x="14997" y="15887"/>
                    <a:pt x="14997" y="15810"/>
                  </a:cubicBezTo>
                  <a:cubicBezTo>
                    <a:pt x="14971" y="15734"/>
                    <a:pt x="14971" y="15657"/>
                    <a:pt x="14944" y="15657"/>
                  </a:cubicBezTo>
                  <a:cubicBezTo>
                    <a:pt x="14917" y="15581"/>
                    <a:pt x="14864" y="15351"/>
                    <a:pt x="14837" y="15274"/>
                  </a:cubicBezTo>
                  <a:cubicBezTo>
                    <a:pt x="14811" y="15274"/>
                    <a:pt x="14677" y="15121"/>
                    <a:pt x="14651" y="15198"/>
                  </a:cubicBezTo>
                  <a:cubicBezTo>
                    <a:pt x="14651" y="15274"/>
                    <a:pt x="14677" y="15351"/>
                    <a:pt x="14651" y="15351"/>
                  </a:cubicBezTo>
                  <a:cubicBezTo>
                    <a:pt x="14597" y="15351"/>
                    <a:pt x="14597" y="15504"/>
                    <a:pt x="14571" y="15504"/>
                  </a:cubicBezTo>
                  <a:cubicBezTo>
                    <a:pt x="14517" y="15657"/>
                    <a:pt x="14491" y="15427"/>
                    <a:pt x="14491" y="15351"/>
                  </a:cubicBezTo>
                  <a:cubicBezTo>
                    <a:pt x="14491" y="15198"/>
                    <a:pt x="14544" y="15121"/>
                    <a:pt x="14464" y="15198"/>
                  </a:cubicBezTo>
                  <a:cubicBezTo>
                    <a:pt x="14384" y="15274"/>
                    <a:pt x="14491" y="15427"/>
                    <a:pt x="14384" y="15427"/>
                  </a:cubicBezTo>
                  <a:cubicBezTo>
                    <a:pt x="14357" y="15427"/>
                    <a:pt x="14411" y="15044"/>
                    <a:pt x="14384" y="14968"/>
                  </a:cubicBezTo>
                  <a:cubicBezTo>
                    <a:pt x="14384" y="15044"/>
                    <a:pt x="14091" y="15044"/>
                    <a:pt x="14224" y="14815"/>
                  </a:cubicBezTo>
                  <a:cubicBezTo>
                    <a:pt x="14331" y="14585"/>
                    <a:pt x="14437" y="14355"/>
                    <a:pt x="14544" y="14125"/>
                  </a:cubicBezTo>
                  <a:cubicBezTo>
                    <a:pt x="14571" y="14049"/>
                    <a:pt x="14597" y="13895"/>
                    <a:pt x="14624" y="13819"/>
                  </a:cubicBezTo>
                  <a:cubicBezTo>
                    <a:pt x="14704" y="13666"/>
                    <a:pt x="14784" y="13512"/>
                    <a:pt x="14837" y="13359"/>
                  </a:cubicBezTo>
                  <a:cubicBezTo>
                    <a:pt x="14864" y="13283"/>
                    <a:pt x="14891" y="13129"/>
                    <a:pt x="14944" y="13053"/>
                  </a:cubicBezTo>
                  <a:cubicBezTo>
                    <a:pt x="14997" y="12900"/>
                    <a:pt x="15051" y="12746"/>
                    <a:pt x="15104" y="12593"/>
                  </a:cubicBezTo>
                  <a:cubicBezTo>
                    <a:pt x="15211" y="12364"/>
                    <a:pt x="15371" y="12364"/>
                    <a:pt x="15504" y="12364"/>
                  </a:cubicBezTo>
                  <a:cubicBezTo>
                    <a:pt x="15531" y="12364"/>
                    <a:pt x="15557" y="12364"/>
                    <a:pt x="15584" y="12364"/>
                  </a:cubicBezTo>
                  <a:cubicBezTo>
                    <a:pt x="15611" y="12440"/>
                    <a:pt x="15611" y="12517"/>
                    <a:pt x="15637" y="12517"/>
                  </a:cubicBezTo>
                  <a:cubicBezTo>
                    <a:pt x="15664" y="12440"/>
                    <a:pt x="15717" y="12440"/>
                    <a:pt x="15744" y="12364"/>
                  </a:cubicBezTo>
                  <a:cubicBezTo>
                    <a:pt x="15771" y="12364"/>
                    <a:pt x="15797" y="12440"/>
                    <a:pt x="15824" y="12440"/>
                  </a:cubicBezTo>
                  <a:cubicBezTo>
                    <a:pt x="15851" y="12440"/>
                    <a:pt x="15877" y="12440"/>
                    <a:pt x="15904" y="12440"/>
                  </a:cubicBezTo>
                  <a:cubicBezTo>
                    <a:pt x="15904" y="12364"/>
                    <a:pt x="15931" y="12440"/>
                    <a:pt x="15957" y="12440"/>
                  </a:cubicBezTo>
                  <a:cubicBezTo>
                    <a:pt x="16011" y="12440"/>
                    <a:pt x="16011" y="12210"/>
                    <a:pt x="16091" y="12210"/>
                  </a:cubicBezTo>
                  <a:cubicBezTo>
                    <a:pt x="16117" y="12210"/>
                    <a:pt x="16171" y="12210"/>
                    <a:pt x="16197" y="12210"/>
                  </a:cubicBezTo>
                  <a:cubicBezTo>
                    <a:pt x="16224" y="12287"/>
                    <a:pt x="16251" y="12364"/>
                    <a:pt x="16277" y="12364"/>
                  </a:cubicBezTo>
                  <a:cubicBezTo>
                    <a:pt x="16304" y="12440"/>
                    <a:pt x="16411" y="12287"/>
                    <a:pt x="16411" y="12517"/>
                  </a:cubicBezTo>
                  <a:cubicBezTo>
                    <a:pt x="16411" y="12517"/>
                    <a:pt x="16331" y="12517"/>
                    <a:pt x="16331" y="12593"/>
                  </a:cubicBezTo>
                  <a:cubicBezTo>
                    <a:pt x="16304" y="12746"/>
                    <a:pt x="16411" y="12670"/>
                    <a:pt x="16411" y="12670"/>
                  </a:cubicBezTo>
                  <a:cubicBezTo>
                    <a:pt x="16464" y="12670"/>
                    <a:pt x="16517" y="12670"/>
                    <a:pt x="16544" y="12670"/>
                  </a:cubicBezTo>
                  <a:cubicBezTo>
                    <a:pt x="16571" y="12593"/>
                    <a:pt x="16571" y="12593"/>
                    <a:pt x="16597" y="12517"/>
                  </a:cubicBezTo>
                  <a:cubicBezTo>
                    <a:pt x="16624" y="12517"/>
                    <a:pt x="16651" y="12593"/>
                    <a:pt x="16704" y="12593"/>
                  </a:cubicBezTo>
                  <a:cubicBezTo>
                    <a:pt x="16731" y="12593"/>
                    <a:pt x="16917" y="12440"/>
                    <a:pt x="16811" y="12364"/>
                  </a:cubicBezTo>
                  <a:cubicBezTo>
                    <a:pt x="16757" y="12364"/>
                    <a:pt x="16731" y="12440"/>
                    <a:pt x="16731" y="12210"/>
                  </a:cubicBezTo>
                  <a:cubicBezTo>
                    <a:pt x="16731" y="12134"/>
                    <a:pt x="16784" y="11904"/>
                    <a:pt x="16811" y="11827"/>
                  </a:cubicBezTo>
                  <a:cubicBezTo>
                    <a:pt x="16864" y="11751"/>
                    <a:pt x="16891" y="11674"/>
                    <a:pt x="16944" y="11521"/>
                  </a:cubicBezTo>
                  <a:cubicBezTo>
                    <a:pt x="16971" y="11444"/>
                    <a:pt x="17024" y="11444"/>
                    <a:pt x="17051" y="11291"/>
                  </a:cubicBezTo>
                  <a:cubicBezTo>
                    <a:pt x="17077" y="11138"/>
                    <a:pt x="17104" y="11061"/>
                    <a:pt x="17157" y="11061"/>
                  </a:cubicBezTo>
                  <a:cubicBezTo>
                    <a:pt x="17211" y="11061"/>
                    <a:pt x="17291" y="10985"/>
                    <a:pt x="17344" y="10985"/>
                  </a:cubicBezTo>
                  <a:cubicBezTo>
                    <a:pt x="17397" y="10985"/>
                    <a:pt x="17424" y="11138"/>
                    <a:pt x="17451" y="11138"/>
                  </a:cubicBezTo>
                  <a:cubicBezTo>
                    <a:pt x="17477" y="11061"/>
                    <a:pt x="17504" y="10908"/>
                    <a:pt x="17531" y="10985"/>
                  </a:cubicBezTo>
                  <a:cubicBezTo>
                    <a:pt x="17557" y="11061"/>
                    <a:pt x="17477" y="11291"/>
                    <a:pt x="17477" y="11368"/>
                  </a:cubicBezTo>
                  <a:cubicBezTo>
                    <a:pt x="17477" y="11521"/>
                    <a:pt x="17504" y="11368"/>
                    <a:pt x="17557" y="11444"/>
                  </a:cubicBezTo>
                  <a:cubicBezTo>
                    <a:pt x="17557" y="11444"/>
                    <a:pt x="17504" y="11598"/>
                    <a:pt x="17504" y="11674"/>
                  </a:cubicBezTo>
                  <a:cubicBezTo>
                    <a:pt x="17504" y="11751"/>
                    <a:pt x="17691" y="11368"/>
                    <a:pt x="17691" y="11368"/>
                  </a:cubicBezTo>
                  <a:cubicBezTo>
                    <a:pt x="17717" y="11291"/>
                    <a:pt x="17744" y="11215"/>
                    <a:pt x="17797" y="11138"/>
                  </a:cubicBezTo>
                  <a:cubicBezTo>
                    <a:pt x="17824" y="11061"/>
                    <a:pt x="17904" y="11215"/>
                    <a:pt x="17904" y="11061"/>
                  </a:cubicBezTo>
                  <a:cubicBezTo>
                    <a:pt x="17877" y="10908"/>
                    <a:pt x="17904" y="10602"/>
                    <a:pt x="17984" y="10602"/>
                  </a:cubicBezTo>
                  <a:cubicBezTo>
                    <a:pt x="18011" y="10525"/>
                    <a:pt x="18064" y="10449"/>
                    <a:pt x="18091" y="10525"/>
                  </a:cubicBezTo>
                  <a:cubicBezTo>
                    <a:pt x="18117" y="10525"/>
                    <a:pt x="18171" y="10678"/>
                    <a:pt x="18197" y="10602"/>
                  </a:cubicBezTo>
                  <a:cubicBezTo>
                    <a:pt x="18144" y="10678"/>
                    <a:pt x="18064" y="10602"/>
                    <a:pt x="18037" y="10832"/>
                  </a:cubicBezTo>
                  <a:cubicBezTo>
                    <a:pt x="18037" y="10908"/>
                    <a:pt x="18037" y="10985"/>
                    <a:pt x="18037" y="11061"/>
                  </a:cubicBezTo>
                  <a:cubicBezTo>
                    <a:pt x="18037" y="11138"/>
                    <a:pt x="17984" y="11138"/>
                    <a:pt x="18011" y="11215"/>
                  </a:cubicBezTo>
                  <a:cubicBezTo>
                    <a:pt x="18011" y="11291"/>
                    <a:pt x="18037" y="11291"/>
                    <a:pt x="18011" y="11368"/>
                  </a:cubicBezTo>
                  <a:cubicBezTo>
                    <a:pt x="17984" y="11368"/>
                    <a:pt x="17957" y="11444"/>
                    <a:pt x="17984" y="11521"/>
                  </a:cubicBezTo>
                  <a:cubicBezTo>
                    <a:pt x="17984" y="11521"/>
                    <a:pt x="17824" y="11674"/>
                    <a:pt x="17824" y="11751"/>
                  </a:cubicBezTo>
                  <a:cubicBezTo>
                    <a:pt x="17771" y="11827"/>
                    <a:pt x="17744" y="11981"/>
                    <a:pt x="17691" y="12057"/>
                  </a:cubicBezTo>
                  <a:cubicBezTo>
                    <a:pt x="17637" y="12210"/>
                    <a:pt x="17584" y="12287"/>
                    <a:pt x="17531" y="12440"/>
                  </a:cubicBezTo>
                  <a:cubicBezTo>
                    <a:pt x="17424" y="12670"/>
                    <a:pt x="17344" y="13206"/>
                    <a:pt x="17211" y="13206"/>
                  </a:cubicBezTo>
                  <a:cubicBezTo>
                    <a:pt x="17184" y="13206"/>
                    <a:pt x="17077" y="13283"/>
                    <a:pt x="17077" y="13359"/>
                  </a:cubicBezTo>
                  <a:cubicBezTo>
                    <a:pt x="17077" y="13589"/>
                    <a:pt x="17077" y="13666"/>
                    <a:pt x="16997" y="13819"/>
                  </a:cubicBezTo>
                  <a:cubicBezTo>
                    <a:pt x="16891" y="14049"/>
                    <a:pt x="16891" y="14508"/>
                    <a:pt x="16917" y="14891"/>
                  </a:cubicBezTo>
                  <a:cubicBezTo>
                    <a:pt x="16944" y="15274"/>
                    <a:pt x="16917" y="15734"/>
                    <a:pt x="16997" y="16040"/>
                  </a:cubicBezTo>
                  <a:cubicBezTo>
                    <a:pt x="17024" y="16193"/>
                    <a:pt x="17024" y="16423"/>
                    <a:pt x="17024" y="16576"/>
                  </a:cubicBezTo>
                  <a:cubicBezTo>
                    <a:pt x="17024" y="16576"/>
                    <a:pt x="17024" y="16729"/>
                    <a:pt x="17051" y="16729"/>
                  </a:cubicBezTo>
                  <a:cubicBezTo>
                    <a:pt x="17077" y="16729"/>
                    <a:pt x="17024" y="16959"/>
                    <a:pt x="17051" y="16959"/>
                  </a:cubicBezTo>
                  <a:cubicBezTo>
                    <a:pt x="17051" y="16959"/>
                    <a:pt x="17184" y="16653"/>
                    <a:pt x="17184" y="16576"/>
                  </a:cubicBezTo>
                  <a:cubicBezTo>
                    <a:pt x="17237" y="16423"/>
                    <a:pt x="17264" y="16270"/>
                    <a:pt x="17291" y="16040"/>
                  </a:cubicBezTo>
                  <a:cubicBezTo>
                    <a:pt x="17317" y="15887"/>
                    <a:pt x="17424" y="15734"/>
                    <a:pt x="17451" y="15734"/>
                  </a:cubicBezTo>
                  <a:cubicBezTo>
                    <a:pt x="17531" y="15887"/>
                    <a:pt x="17451" y="15427"/>
                    <a:pt x="17477" y="15351"/>
                  </a:cubicBezTo>
                  <a:cubicBezTo>
                    <a:pt x="17531" y="15121"/>
                    <a:pt x="17557" y="15044"/>
                    <a:pt x="17637" y="15044"/>
                  </a:cubicBezTo>
                  <a:cubicBezTo>
                    <a:pt x="17717" y="15044"/>
                    <a:pt x="17824" y="15044"/>
                    <a:pt x="17771" y="14815"/>
                  </a:cubicBezTo>
                  <a:cubicBezTo>
                    <a:pt x="17691" y="14585"/>
                    <a:pt x="17744" y="14355"/>
                    <a:pt x="17824" y="14202"/>
                  </a:cubicBezTo>
                  <a:cubicBezTo>
                    <a:pt x="17851" y="14125"/>
                    <a:pt x="17851" y="14278"/>
                    <a:pt x="17877" y="14278"/>
                  </a:cubicBezTo>
                  <a:cubicBezTo>
                    <a:pt x="17931" y="14278"/>
                    <a:pt x="17931" y="14049"/>
                    <a:pt x="17931" y="13972"/>
                  </a:cubicBezTo>
                  <a:cubicBezTo>
                    <a:pt x="17877" y="13819"/>
                    <a:pt x="17824" y="13742"/>
                    <a:pt x="17877" y="13512"/>
                  </a:cubicBezTo>
                  <a:cubicBezTo>
                    <a:pt x="17877" y="13512"/>
                    <a:pt x="17957" y="13436"/>
                    <a:pt x="17931" y="13359"/>
                  </a:cubicBezTo>
                  <a:cubicBezTo>
                    <a:pt x="17904" y="13359"/>
                    <a:pt x="17877" y="13206"/>
                    <a:pt x="17851" y="13206"/>
                  </a:cubicBezTo>
                  <a:cubicBezTo>
                    <a:pt x="17824" y="13206"/>
                    <a:pt x="17851" y="13283"/>
                    <a:pt x="17824" y="13283"/>
                  </a:cubicBezTo>
                  <a:cubicBezTo>
                    <a:pt x="17771" y="13283"/>
                    <a:pt x="17744" y="13206"/>
                    <a:pt x="17771" y="13053"/>
                  </a:cubicBezTo>
                  <a:cubicBezTo>
                    <a:pt x="17797" y="12900"/>
                    <a:pt x="17851" y="12823"/>
                    <a:pt x="17904" y="12593"/>
                  </a:cubicBezTo>
                  <a:cubicBezTo>
                    <a:pt x="17931" y="12440"/>
                    <a:pt x="17931" y="12210"/>
                    <a:pt x="18011" y="12057"/>
                  </a:cubicBezTo>
                  <a:cubicBezTo>
                    <a:pt x="18037" y="11981"/>
                    <a:pt x="18037" y="12134"/>
                    <a:pt x="18037" y="12134"/>
                  </a:cubicBezTo>
                  <a:cubicBezTo>
                    <a:pt x="18091" y="12134"/>
                    <a:pt x="18091" y="11981"/>
                    <a:pt x="18117" y="12057"/>
                  </a:cubicBezTo>
                  <a:cubicBezTo>
                    <a:pt x="18144" y="12057"/>
                    <a:pt x="18144" y="12134"/>
                    <a:pt x="18171" y="12057"/>
                  </a:cubicBezTo>
                  <a:cubicBezTo>
                    <a:pt x="18224" y="11981"/>
                    <a:pt x="18251" y="11904"/>
                    <a:pt x="18304" y="11827"/>
                  </a:cubicBezTo>
                  <a:cubicBezTo>
                    <a:pt x="18384" y="11751"/>
                    <a:pt x="18277" y="12057"/>
                    <a:pt x="18331" y="12134"/>
                  </a:cubicBezTo>
                  <a:cubicBezTo>
                    <a:pt x="18331" y="12210"/>
                    <a:pt x="18437" y="11904"/>
                    <a:pt x="18464" y="11904"/>
                  </a:cubicBezTo>
                  <a:cubicBezTo>
                    <a:pt x="18517" y="11827"/>
                    <a:pt x="18571" y="11751"/>
                    <a:pt x="18651" y="11751"/>
                  </a:cubicBezTo>
                  <a:cubicBezTo>
                    <a:pt x="18704" y="11751"/>
                    <a:pt x="18757" y="11751"/>
                    <a:pt x="18784" y="11904"/>
                  </a:cubicBezTo>
                  <a:cubicBezTo>
                    <a:pt x="18811" y="11904"/>
                    <a:pt x="18837" y="11981"/>
                    <a:pt x="18864" y="12057"/>
                  </a:cubicBezTo>
                  <a:cubicBezTo>
                    <a:pt x="18891" y="12134"/>
                    <a:pt x="18891" y="11904"/>
                    <a:pt x="18917" y="11904"/>
                  </a:cubicBezTo>
                  <a:cubicBezTo>
                    <a:pt x="19131" y="11368"/>
                    <a:pt x="19371" y="11138"/>
                    <a:pt x="19611" y="10832"/>
                  </a:cubicBezTo>
                  <a:cubicBezTo>
                    <a:pt x="19664" y="10755"/>
                    <a:pt x="19744" y="10678"/>
                    <a:pt x="19771" y="10525"/>
                  </a:cubicBezTo>
                  <a:cubicBezTo>
                    <a:pt x="19797" y="10372"/>
                    <a:pt x="19797" y="10602"/>
                    <a:pt x="19851" y="10602"/>
                  </a:cubicBezTo>
                  <a:cubicBezTo>
                    <a:pt x="19877" y="10602"/>
                    <a:pt x="19931" y="10602"/>
                    <a:pt x="19957" y="10602"/>
                  </a:cubicBezTo>
                  <a:cubicBezTo>
                    <a:pt x="19984" y="10678"/>
                    <a:pt x="20011" y="10755"/>
                    <a:pt x="20037" y="10755"/>
                  </a:cubicBezTo>
                  <a:cubicBezTo>
                    <a:pt x="20117" y="10755"/>
                    <a:pt x="20117" y="10449"/>
                    <a:pt x="20091" y="10295"/>
                  </a:cubicBezTo>
                  <a:cubicBezTo>
                    <a:pt x="20091" y="10219"/>
                    <a:pt x="19984" y="10066"/>
                    <a:pt x="20011" y="9989"/>
                  </a:cubicBezTo>
                  <a:cubicBezTo>
                    <a:pt x="20011" y="9912"/>
                    <a:pt x="19957" y="9529"/>
                    <a:pt x="19931" y="9606"/>
                  </a:cubicBezTo>
                  <a:cubicBezTo>
                    <a:pt x="19931" y="9683"/>
                    <a:pt x="19877" y="9529"/>
                    <a:pt x="19851" y="9529"/>
                  </a:cubicBezTo>
                  <a:cubicBezTo>
                    <a:pt x="19824" y="9453"/>
                    <a:pt x="19851" y="9376"/>
                    <a:pt x="19824" y="9300"/>
                  </a:cubicBezTo>
                  <a:cubicBezTo>
                    <a:pt x="19824" y="9223"/>
                    <a:pt x="19744" y="9300"/>
                    <a:pt x="19744" y="9300"/>
                  </a:cubicBezTo>
                  <a:cubicBezTo>
                    <a:pt x="19717" y="9376"/>
                    <a:pt x="19637" y="9300"/>
                    <a:pt x="19664" y="9223"/>
                  </a:cubicBezTo>
                  <a:cubicBezTo>
                    <a:pt x="19664" y="9146"/>
                    <a:pt x="19744" y="9223"/>
                    <a:pt x="19771" y="9223"/>
                  </a:cubicBezTo>
                  <a:cubicBezTo>
                    <a:pt x="19771" y="9146"/>
                    <a:pt x="19691" y="9146"/>
                    <a:pt x="19691" y="9146"/>
                  </a:cubicBezTo>
                  <a:cubicBezTo>
                    <a:pt x="19691" y="8917"/>
                    <a:pt x="19904" y="9300"/>
                    <a:pt x="19931" y="9300"/>
                  </a:cubicBezTo>
                  <a:cubicBezTo>
                    <a:pt x="19984" y="9376"/>
                    <a:pt x="20144" y="9223"/>
                    <a:pt x="20197" y="9070"/>
                  </a:cubicBezTo>
                  <a:cubicBezTo>
                    <a:pt x="20224" y="8993"/>
                    <a:pt x="20171" y="8993"/>
                    <a:pt x="20171" y="8917"/>
                  </a:cubicBezTo>
                  <a:cubicBezTo>
                    <a:pt x="20171" y="8917"/>
                    <a:pt x="20277" y="8917"/>
                    <a:pt x="20277" y="8764"/>
                  </a:cubicBezTo>
                  <a:cubicBezTo>
                    <a:pt x="20251" y="8687"/>
                    <a:pt x="20197" y="8610"/>
                    <a:pt x="20224" y="8534"/>
                  </a:cubicBezTo>
                  <a:cubicBezTo>
                    <a:pt x="20224" y="8457"/>
                    <a:pt x="20277" y="8304"/>
                    <a:pt x="20277" y="8304"/>
                  </a:cubicBezTo>
                  <a:cubicBezTo>
                    <a:pt x="20304" y="8304"/>
                    <a:pt x="20411" y="8381"/>
                    <a:pt x="20411" y="8304"/>
                  </a:cubicBezTo>
                  <a:cubicBezTo>
                    <a:pt x="20384" y="8381"/>
                    <a:pt x="20304" y="8457"/>
                    <a:pt x="20331" y="8534"/>
                  </a:cubicBezTo>
                  <a:cubicBezTo>
                    <a:pt x="20357" y="8610"/>
                    <a:pt x="20384" y="8687"/>
                    <a:pt x="20384" y="8687"/>
                  </a:cubicBezTo>
                  <a:cubicBezTo>
                    <a:pt x="20384" y="8764"/>
                    <a:pt x="20357" y="8840"/>
                    <a:pt x="20384" y="8840"/>
                  </a:cubicBezTo>
                  <a:cubicBezTo>
                    <a:pt x="20437" y="8840"/>
                    <a:pt x="20491" y="8764"/>
                    <a:pt x="20544" y="8764"/>
                  </a:cubicBezTo>
                  <a:cubicBezTo>
                    <a:pt x="20597" y="8764"/>
                    <a:pt x="20651" y="8764"/>
                    <a:pt x="20704" y="8840"/>
                  </a:cubicBezTo>
                  <a:cubicBezTo>
                    <a:pt x="20731" y="8917"/>
                    <a:pt x="20731" y="8917"/>
                    <a:pt x="20731" y="9070"/>
                  </a:cubicBezTo>
                  <a:cubicBezTo>
                    <a:pt x="20731" y="9146"/>
                    <a:pt x="20837" y="9223"/>
                    <a:pt x="20864" y="9223"/>
                  </a:cubicBezTo>
                  <a:cubicBezTo>
                    <a:pt x="20891" y="9300"/>
                    <a:pt x="21051" y="9606"/>
                    <a:pt x="21077" y="9453"/>
                  </a:cubicBezTo>
                  <a:cubicBezTo>
                    <a:pt x="21051" y="9683"/>
                    <a:pt x="21211" y="9453"/>
                    <a:pt x="21211" y="9453"/>
                  </a:cubicBezTo>
                  <a:cubicBezTo>
                    <a:pt x="21211" y="9376"/>
                    <a:pt x="21104" y="9376"/>
                    <a:pt x="21131" y="9300"/>
                  </a:cubicBezTo>
                  <a:cubicBezTo>
                    <a:pt x="21131" y="9146"/>
                    <a:pt x="21211" y="9300"/>
                    <a:pt x="21211" y="9300"/>
                  </a:cubicBezTo>
                  <a:cubicBezTo>
                    <a:pt x="21211" y="9146"/>
                    <a:pt x="21184" y="9300"/>
                    <a:pt x="21211" y="9070"/>
                  </a:cubicBezTo>
                  <a:cubicBezTo>
                    <a:pt x="21211" y="8993"/>
                    <a:pt x="21211" y="8917"/>
                    <a:pt x="21211" y="8840"/>
                  </a:cubicBezTo>
                  <a:cubicBezTo>
                    <a:pt x="21184" y="8764"/>
                    <a:pt x="21157" y="8764"/>
                    <a:pt x="21157" y="8687"/>
                  </a:cubicBezTo>
                  <a:cubicBezTo>
                    <a:pt x="21157" y="8687"/>
                    <a:pt x="21344" y="8840"/>
                    <a:pt x="21371" y="8764"/>
                  </a:cubicBezTo>
                  <a:cubicBezTo>
                    <a:pt x="21371" y="8764"/>
                    <a:pt x="21344" y="8687"/>
                    <a:pt x="21317" y="8687"/>
                  </a:cubicBezTo>
                  <a:cubicBezTo>
                    <a:pt x="21344" y="8687"/>
                    <a:pt x="21424" y="8764"/>
                    <a:pt x="21451" y="8687"/>
                  </a:cubicBezTo>
                  <a:cubicBezTo>
                    <a:pt x="21451" y="8610"/>
                    <a:pt x="21451" y="8534"/>
                    <a:pt x="21477" y="8457"/>
                  </a:cubicBezTo>
                  <a:cubicBezTo>
                    <a:pt x="21477" y="8457"/>
                    <a:pt x="21557" y="8457"/>
                    <a:pt x="21557" y="8457"/>
                  </a:cubicBezTo>
                  <a:cubicBezTo>
                    <a:pt x="21557" y="8457"/>
                    <a:pt x="21531" y="8457"/>
                    <a:pt x="21531" y="8457"/>
                  </a:cubicBezTo>
                  <a:cubicBezTo>
                    <a:pt x="21504" y="8381"/>
                    <a:pt x="21584" y="8457"/>
                    <a:pt x="21531" y="8457"/>
                  </a:cubicBezTo>
                  <a:close/>
                  <a:moveTo>
                    <a:pt x="10784" y="14661"/>
                  </a:moveTo>
                  <a:cubicBezTo>
                    <a:pt x="10757" y="14891"/>
                    <a:pt x="10757" y="15121"/>
                    <a:pt x="10731" y="15351"/>
                  </a:cubicBezTo>
                  <a:cubicBezTo>
                    <a:pt x="10704" y="15504"/>
                    <a:pt x="10624" y="15427"/>
                    <a:pt x="10624" y="15581"/>
                  </a:cubicBezTo>
                  <a:cubicBezTo>
                    <a:pt x="10624" y="15581"/>
                    <a:pt x="10677" y="15581"/>
                    <a:pt x="10704" y="15581"/>
                  </a:cubicBezTo>
                  <a:cubicBezTo>
                    <a:pt x="10704" y="15581"/>
                    <a:pt x="10464" y="16040"/>
                    <a:pt x="10437" y="16040"/>
                  </a:cubicBezTo>
                  <a:cubicBezTo>
                    <a:pt x="10411" y="16117"/>
                    <a:pt x="10384" y="16193"/>
                    <a:pt x="10331" y="16193"/>
                  </a:cubicBezTo>
                  <a:cubicBezTo>
                    <a:pt x="10304" y="16270"/>
                    <a:pt x="10277" y="16423"/>
                    <a:pt x="10251" y="16500"/>
                  </a:cubicBezTo>
                  <a:cubicBezTo>
                    <a:pt x="10224" y="16576"/>
                    <a:pt x="10037" y="16729"/>
                    <a:pt x="10011" y="16576"/>
                  </a:cubicBezTo>
                  <a:cubicBezTo>
                    <a:pt x="10011" y="16500"/>
                    <a:pt x="10197" y="16346"/>
                    <a:pt x="10224" y="16270"/>
                  </a:cubicBezTo>
                  <a:cubicBezTo>
                    <a:pt x="10304" y="16117"/>
                    <a:pt x="10384" y="15887"/>
                    <a:pt x="10464" y="15734"/>
                  </a:cubicBezTo>
                  <a:cubicBezTo>
                    <a:pt x="10517" y="15657"/>
                    <a:pt x="10517" y="15427"/>
                    <a:pt x="10571" y="15351"/>
                  </a:cubicBezTo>
                  <a:cubicBezTo>
                    <a:pt x="10624" y="15121"/>
                    <a:pt x="10677" y="14891"/>
                    <a:pt x="10704" y="14661"/>
                  </a:cubicBezTo>
                  <a:cubicBezTo>
                    <a:pt x="10704" y="14508"/>
                    <a:pt x="10704" y="14508"/>
                    <a:pt x="10757" y="14432"/>
                  </a:cubicBezTo>
                  <a:cubicBezTo>
                    <a:pt x="10811" y="14355"/>
                    <a:pt x="10784" y="14585"/>
                    <a:pt x="10784" y="14661"/>
                  </a:cubicBezTo>
                  <a:cubicBezTo>
                    <a:pt x="10757" y="14738"/>
                    <a:pt x="10784" y="14508"/>
                    <a:pt x="10784" y="14661"/>
                  </a:cubicBezTo>
                  <a:close/>
                </a:path>
              </a:pathLst>
            </a:custGeom>
            <a:grpFill/>
            <a:ln w="3175" cap="flat">
              <a:solidFill>
                <a:schemeClr val="bg1"/>
              </a:solidFill>
              <a:prstDash val="solid"/>
              <a:round/>
            </a:ln>
            <a:effectLst/>
          </p:spPr>
          <p:txBody>
            <a:bodyPr lIns="22860" tIns="22860" rIns="22860" bIns="22860"/>
            <a:lstStyle/>
            <a:p>
              <a:pPr defTabSz="914217">
                <a:defRPr sz="3600">
                  <a:solidFill>
                    <a:schemeClr val="accent1">
                      <a:satOff val="-3355"/>
                      <a:lumOff val="26614"/>
                    </a:schemeClr>
                  </a:solidFill>
                  <a:latin typeface="Lato Light"/>
                  <a:ea typeface="Lato Light"/>
                  <a:cs typeface="Lato Light"/>
                  <a:sym typeface="Lato Light"/>
                </a:defRPr>
              </a:pPr>
              <a:endParaRPr sz="3600" b="0" i="0">
                <a:solidFill>
                  <a:schemeClr val="accent1">
                    <a:satOff val="-3355"/>
                    <a:lumOff val="26614"/>
                  </a:schemeClr>
                </a:solidFill>
                <a:latin typeface="DM Sans" pitchFamily="2" charset="77"/>
                <a:ea typeface="Lato Light"/>
                <a:cs typeface="Lato Light"/>
                <a:sym typeface="Lato Light"/>
              </a:endParaRPr>
            </a:p>
          </p:txBody>
        </p:sp>
        <p:sp>
          <p:nvSpPr>
            <p:cNvPr id="323" name="Shape 2142">
              <a:extLst>
                <a:ext uri="{FF2B5EF4-FFF2-40B4-BE49-F238E27FC236}">
                  <a16:creationId xmlns:a16="http://schemas.microsoft.com/office/drawing/2014/main" id="{F6CF24EE-8C83-4510-6063-BB217B70314A}"/>
                </a:ext>
              </a:extLst>
            </p:cNvPr>
            <p:cNvSpPr/>
            <p:nvPr/>
          </p:nvSpPr>
          <p:spPr>
            <a:xfrm>
              <a:off x="10111436" y="1769171"/>
              <a:ext cx="89342" cy="211312"/>
            </a:xfrm>
            <a:custGeom>
              <a:avLst/>
              <a:gdLst/>
              <a:ahLst/>
              <a:cxnLst>
                <a:cxn ang="0">
                  <a:pos x="wd2" y="hd2"/>
                </a:cxn>
                <a:cxn ang="5400000">
                  <a:pos x="wd2" y="hd2"/>
                </a:cxn>
                <a:cxn ang="10800000">
                  <a:pos x="wd2" y="hd2"/>
                </a:cxn>
                <a:cxn ang="16200000">
                  <a:pos x="wd2" y="hd2"/>
                </a:cxn>
              </a:cxnLst>
              <a:rect l="0" t="0" r="r" b="b"/>
              <a:pathLst>
                <a:path w="19515" h="21600" extrusionOk="0">
                  <a:moveTo>
                    <a:pt x="16635" y="17550"/>
                  </a:moveTo>
                  <a:cubicBezTo>
                    <a:pt x="16635" y="14850"/>
                    <a:pt x="10875" y="11475"/>
                    <a:pt x="12315" y="8775"/>
                  </a:cubicBezTo>
                  <a:cubicBezTo>
                    <a:pt x="13755" y="6750"/>
                    <a:pt x="12315" y="4725"/>
                    <a:pt x="10875" y="2700"/>
                  </a:cubicBezTo>
                  <a:cubicBezTo>
                    <a:pt x="10875" y="2025"/>
                    <a:pt x="10875" y="1350"/>
                    <a:pt x="10875" y="675"/>
                  </a:cubicBezTo>
                  <a:cubicBezTo>
                    <a:pt x="10875" y="0"/>
                    <a:pt x="6555" y="0"/>
                    <a:pt x="6555" y="0"/>
                  </a:cubicBezTo>
                  <a:cubicBezTo>
                    <a:pt x="6555" y="675"/>
                    <a:pt x="7995" y="1350"/>
                    <a:pt x="7995" y="2025"/>
                  </a:cubicBezTo>
                  <a:cubicBezTo>
                    <a:pt x="9435" y="2700"/>
                    <a:pt x="7995" y="3375"/>
                    <a:pt x="6555" y="3375"/>
                  </a:cubicBezTo>
                  <a:cubicBezTo>
                    <a:pt x="5115" y="4050"/>
                    <a:pt x="3675" y="3375"/>
                    <a:pt x="3675" y="4725"/>
                  </a:cubicBezTo>
                  <a:cubicBezTo>
                    <a:pt x="3675" y="5400"/>
                    <a:pt x="3675" y="5400"/>
                    <a:pt x="3675" y="6075"/>
                  </a:cubicBezTo>
                  <a:cubicBezTo>
                    <a:pt x="2235" y="7425"/>
                    <a:pt x="2235" y="8775"/>
                    <a:pt x="795" y="9450"/>
                  </a:cubicBezTo>
                  <a:cubicBezTo>
                    <a:pt x="-2085" y="10125"/>
                    <a:pt x="3675" y="12150"/>
                    <a:pt x="5115" y="13500"/>
                  </a:cubicBezTo>
                  <a:cubicBezTo>
                    <a:pt x="6555" y="14850"/>
                    <a:pt x="3675" y="21600"/>
                    <a:pt x="6555" y="21600"/>
                  </a:cubicBezTo>
                  <a:cubicBezTo>
                    <a:pt x="10875" y="21600"/>
                    <a:pt x="15195" y="21600"/>
                    <a:pt x="19515" y="21600"/>
                  </a:cubicBezTo>
                  <a:cubicBezTo>
                    <a:pt x="19515" y="20250"/>
                    <a:pt x="18075" y="18900"/>
                    <a:pt x="16635" y="17550"/>
                  </a:cubicBezTo>
                  <a:cubicBezTo>
                    <a:pt x="16635" y="16200"/>
                    <a:pt x="16635" y="18225"/>
                    <a:pt x="16635" y="1755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4" name="Shape 2143">
              <a:extLst>
                <a:ext uri="{FF2B5EF4-FFF2-40B4-BE49-F238E27FC236}">
                  <a16:creationId xmlns:a16="http://schemas.microsoft.com/office/drawing/2014/main" id="{333203A1-A329-FD2E-C6F1-24A500CF8686}"/>
                </a:ext>
              </a:extLst>
            </p:cNvPr>
            <p:cNvSpPr/>
            <p:nvPr/>
          </p:nvSpPr>
          <p:spPr>
            <a:xfrm>
              <a:off x="10126866" y="1978720"/>
              <a:ext cx="94140" cy="147879"/>
            </a:xfrm>
            <a:custGeom>
              <a:avLst/>
              <a:gdLst/>
              <a:ahLst/>
              <a:cxnLst>
                <a:cxn ang="0">
                  <a:pos x="wd2" y="hd2"/>
                </a:cxn>
                <a:cxn ang="5400000">
                  <a:pos x="wd2" y="hd2"/>
                </a:cxn>
                <a:cxn ang="10800000">
                  <a:pos x="wd2" y="hd2"/>
                </a:cxn>
                <a:cxn ang="16200000">
                  <a:pos x="wd2" y="hd2"/>
                </a:cxn>
              </a:cxnLst>
              <a:rect l="0" t="0" r="r" b="b"/>
              <a:pathLst>
                <a:path w="20563" h="20896" extrusionOk="0">
                  <a:moveTo>
                    <a:pt x="16243" y="235"/>
                  </a:moveTo>
                  <a:cubicBezTo>
                    <a:pt x="14803" y="235"/>
                    <a:pt x="11923" y="235"/>
                    <a:pt x="9043" y="235"/>
                  </a:cubicBezTo>
                  <a:cubicBezTo>
                    <a:pt x="6163" y="235"/>
                    <a:pt x="3283" y="-704"/>
                    <a:pt x="1843" y="1174"/>
                  </a:cubicBezTo>
                  <a:cubicBezTo>
                    <a:pt x="1843" y="3053"/>
                    <a:pt x="403" y="3992"/>
                    <a:pt x="403" y="5870"/>
                  </a:cubicBezTo>
                  <a:cubicBezTo>
                    <a:pt x="403" y="6809"/>
                    <a:pt x="1843" y="7748"/>
                    <a:pt x="1843" y="9626"/>
                  </a:cubicBezTo>
                  <a:cubicBezTo>
                    <a:pt x="1843" y="10566"/>
                    <a:pt x="-1037" y="20896"/>
                    <a:pt x="403" y="20896"/>
                  </a:cubicBezTo>
                  <a:cubicBezTo>
                    <a:pt x="3283" y="19957"/>
                    <a:pt x="403" y="17139"/>
                    <a:pt x="4723" y="18079"/>
                  </a:cubicBezTo>
                  <a:cubicBezTo>
                    <a:pt x="6163" y="18079"/>
                    <a:pt x="9043" y="17139"/>
                    <a:pt x="9043" y="18079"/>
                  </a:cubicBezTo>
                  <a:cubicBezTo>
                    <a:pt x="10483" y="18079"/>
                    <a:pt x="10483" y="20896"/>
                    <a:pt x="11923" y="20896"/>
                  </a:cubicBezTo>
                  <a:cubicBezTo>
                    <a:pt x="11923" y="20896"/>
                    <a:pt x="11923" y="18079"/>
                    <a:pt x="11923" y="18079"/>
                  </a:cubicBezTo>
                  <a:cubicBezTo>
                    <a:pt x="11923" y="16200"/>
                    <a:pt x="9043" y="15261"/>
                    <a:pt x="7603" y="14322"/>
                  </a:cubicBezTo>
                  <a:cubicBezTo>
                    <a:pt x="6163" y="12444"/>
                    <a:pt x="1843" y="7748"/>
                    <a:pt x="4723" y="5870"/>
                  </a:cubicBezTo>
                  <a:cubicBezTo>
                    <a:pt x="9043" y="3992"/>
                    <a:pt x="7603" y="3053"/>
                    <a:pt x="11923" y="2113"/>
                  </a:cubicBezTo>
                  <a:cubicBezTo>
                    <a:pt x="14803" y="1174"/>
                    <a:pt x="19123" y="3053"/>
                    <a:pt x="20563" y="4931"/>
                  </a:cubicBezTo>
                  <a:cubicBezTo>
                    <a:pt x="19123" y="3053"/>
                    <a:pt x="17683" y="1174"/>
                    <a:pt x="16243" y="23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5" name="Shape 2144">
              <a:extLst>
                <a:ext uri="{FF2B5EF4-FFF2-40B4-BE49-F238E27FC236}">
                  <a16:creationId xmlns:a16="http://schemas.microsoft.com/office/drawing/2014/main" id="{E1D3CEB1-AC64-C0EF-0593-E3A277087209}"/>
                </a:ext>
              </a:extLst>
            </p:cNvPr>
            <p:cNvSpPr/>
            <p:nvPr/>
          </p:nvSpPr>
          <p:spPr>
            <a:xfrm>
              <a:off x="9600723" y="2423337"/>
              <a:ext cx="134563" cy="161562"/>
            </a:xfrm>
            <a:custGeom>
              <a:avLst/>
              <a:gdLst/>
              <a:ahLst/>
              <a:cxnLst>
                <a:cxn ang="0">
                  <a:pos x="wd2" y="hd2"/>
                </a:cxn>
                <a:cxn ang="5400000">
                  <a:pos x="wd2" y="hd2"/>
                </a:cxn>
                <a:cxn ang="10800000">
                  <a:pos x="wd2" y="hd2"/>
                </a:cxn>
                <a:cxn ang="16200000">
                  <a:pos x="wd2" y="hd2"/>
                </a:cxn>
              </a:cxnLst>
              <a:rect l="0" t="0" r="r" b="b"/>
              <a:pathLst>
                <a:path w="20859" h="20978" extrusionOk="0">
                  <a:moveTo>
                    <a:pt x="5143" y="864"/>
                  </a:moveTo>
                  <a:cubicBezTo>
                    <a:pt x="3086" y="1728"/>
                    <a:pt x="2057" y="5184"/>
                    <a:pt x="4114" y="6048"/>
                  </a:cubicBezTo>
                  <a:cubicBezTo>
                    <a:pt x="7200" y="8640"/>
                    <a:pt x="2057" y="7776"/>
                    <a:pt x="1029" y="7776"/>
                  </a:cubicBezTo>
                  <a:cubicBezTo>
                    <a:pt x="1029" y="7776"/>
                    <a:pt x="3086" y="9504"/>
                    <a:pt x="3086" y="9504"/>
                  </a:cubicBezTo>
                  <a:cubicBezTo>
                    <a:pt x="3086" y="11232"/>
                    <a:pt x="3086" y="11232"/>
                    <a:pt x="2057" y="12096"/>
                  </a:cubicBezTo>
                  <a:cubicBezTo>
                    <a:pt x="2057" y="12096"/>
                    <a:pt x="3086" y="12960"/>
                    <a:pt x="3086" y="13824"/>
                  </a:cubicBezTo>
                  <a:cubicBezTo>
                    <a:pt x="2057" y="14688"/>
                    <a:pt x="1029" y="17280"/>
                    <a:pt x="1029" y="17280"/>
                  </a:cubicBezTo>
                  <a:cubicBezTo>
                    <a:pt x="1029" y="17280"/>
                    <a:pt x="3086" y="17280"/>
                    <a:pt x="3086" y="18144"/>
                  </a:cubicBezTo>
                  <a:cubicBezTo>
                    <a:pt x="3086" y="18144"/>
                    <a:pt x="0" y="19872"/>
                    <a:pt x="0" y="20736"/>
                  </a:cubicBezTo>
                  <a:cubicBezTo>
                    <a:pt x="0" y="20736"/>
                    <a:pt x="1029" y="19872"/>
                    <a:pt x="2057" y="19872"/>
                  </a:cubicBezTo>
                  <a:cubicBezTo>
                    <a:pt x="2057" y="19872"/>
                    <a:pt x="2057" y="21600"/>
                    <a:pt x="3086" y="20736"/>
                  </a:cubicBezTo>
                  <a:cubicBezTo>
                    <a:pt x="3086" y="19872"/>
                    <a:pt x="5143" y="19008"/>
                    <a:pt x="6171" y="19008"/>
                  </a:cubicBezTo>
                  <a:cubicBezTo>
                    <a:pt x="7200" y="18144"/>
                    <a:pt x="6171" y="21600"/>
                    <a:pt x="8229" y="19008"/>
                  </a:cubicBezTo>
                  <a:cubicBezTo>
                    <a:pt x="9257" y="17280"/>
                    <a:pt x="8229" y="18144"/>
                    <a:pt x="9257" y="19008"/>
                  </a:cubicBezTo>
                  <a:cubicBezTo>
                    <a:pt x="9257" y="19008"/>
                    <a:pt x="12343" y="18144"/>
                    <a:pt x="12343" y="18144"/>
                  </a:cubicBezTo>
                  <a:cubicBezTo>
                    <a:pt x="14400" y="18144"/>
                    <a:pt x="13371" y="17280"/>
                    <a:pt x="14400" y="17280"/>
                  </a:cubicBezTo>
                  <a:cubicBezTo>
                    <a:pt x="16457" y="17280"/>
                    <a:pt x="16457" y="16416"/>
                    <a:pt x="17486" y="15552"/>
                  </a:cubicBezTo>
                  <a:cubicBezTo>
                    <a:pt x="18514" y="13824"/>
                    <a:pt x="19543" y="16416"/>
                    <a:pt x="20571" y="17280"/>
                  </a:cubicBezTo>
                  <a:cubicBezTo>
                    <a:pt x="21600" y="17280"/>
                    <a:pt x="19543" y="13824"/>
                    <a:pt x="19543" y="13824"/>
                  </a:cubicBezTo>
                  <a:cubicBezTo>
                    <a:pt x="18514" y="12960"/>
                    <a:pt x="17486" y="12096"/>
                    <a:pt x="17486" y="10368"/>
                  </a:cubicBezTo>
                  <a:cubicBezTo>
                    <a:pt x="17486" y="6048"/>
                    <a:pt x="14400" y="3456"/>
                    <a:pt x="12343" y="0"/>
                  </a:cubicBezTo>
                  <a:cubicBezTo>
                    <a:pt x="10286" y="1728"/>
                    <a:pt x="8229" y="864"/>
                    <a:pt x="5143" y="864"/>
                  </a:cubicBezTo>
                  <a:cubicBezTo>
                    <a:pt x="5143" y="1728"/>
                    <a:pt x="6171" y="864"/>
                    <a:pt x="5143" y="86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6" name="Shape 2145">
              <a:extLst>
                <a:ext uri="{FF2B5EF4-FFF2-40B4-BE49-F238E27FC236}">
                  <a16:creationId xmlns:a16="http://schemas.microsoft.com/office/drawing/2014/main" id="{DDD68CB7-5CB0-651E-4DFE-EA393F063AE7}"/>
                </a:ext>
              </a:extLst>
            </p:cNvPr>
            <p:cNvSpPr/>
            <p:nvPr/>
          </p:nvSpPr>
          <p:spPr>
            <a:xfrm>
              <a:off x="9542291" y="2250543"/>
              <a:ext cx="211257" cy="199770"/>
            </a:xfrm>
            <a:custGeom>
              <a:avLst/>
              <a:gdLst/>
              <a:ahLst/>
              <a:cxnLst>
                <a:cxn ang="0">
                  <a:pos x="wd2" y="hd2"/>
                </a:cxn>
                <a:cxn ang="5400000">
                  <a:pos x="wd2" y="hd2"/>
                </a:cxn>
                <a:cxn ang="10800000">
                  <a:pos x="wd2" y="hd2"/>
                </a:cxn>
                <a:cxn ang="16200000">
                  <a:pos x="wd2" y="hd2"/>
                </a:cxn>
              </a:cxnLst>
              <a:rect l="0" t="0" r="r" b="b"/>
              <a:pathLst>
                <a:path w="21600" h="21093" extrusionOk="0">
                  <a:moveTo>
                    <a:pt x="21600" y="1583"/>
                  </a:moveTo>
                  <a:cubicBezTo>
                    <a:pt x="20925" y="887"/>
                    <a:pt x="20250" y="-507"/>
                    <a:pt x="19575" y="190"/>
                  </a:cubicBezTo>
                  <a:cubicBezTo>
                    <a:pt x="18900" y="190"/>
                    <a:pt x="18900" y="1583"/>
                    <a:pt x="18225" y="2280"/>
                  </a:cubicBezTo>
                  <a:cubicBezTo>
                    <a:pt x="18225" y="2280"/>
                    <a:pt x="17550" y="1583"/>
                    <a:pt x="16875" y="2977"/>
                  </a:cubicBezTo>
                  <a:cubicBezTo>
                    <a:pt x="16200" y="3674"/>
                    <a:pt x="14850" y="3674"/>
                    <a:pt x="13500" y="3674"/>
                  </a:cubicBezTo>
                  <a:cubicBezTo>
                    <a:pt x="12150" y="4370"/>
                    <a:pt x="14850" y="5764"/>
                    <a:pt x="13500" y="6461"/>
                  </a:cubicBezTo>
                  <a:cubicBezTo>
                    <a:pt x="11475" y="7158"/>
                    <a:pt x="10800" y="5764"/>
                    <a:pt x="8775" y="5764"/>
                  </a:cubicBezTo>
                  <a:cubicBezTo>
                    <a:pt x="8100" y="5067"/>
                    <a:pt x="6750" y="7158"/>
                    <a:pt x="6750" y="7854"/>
                  </a:cubicBezTo>
                  <a:cubicBezTo>
                    <a:pt x="4725" y="9945"/>
                    <a:pt x="675" y="9945"/>
                    <a:pt x="0" y="12732"/>
                  </a:cubicBezTo>
                  <a:cubicBezTo>
                    <a:pt x="0" y="12732"/>
                    <a:pt x="4050" y="14125"/>
                    <a:pt x="4050" y="14125"/>
                  </a:cubicBezTo>
                  <a:cubicBezTo>
                    <a:pt x="4050" y="14822"/>
                    <a:pt x="3375" y="16216"/>
                    <a:pt x="3375" y="16216"/>
                  </a:cubicBezTo>
                  <a:cubicBezTo>
                    <a:pt x="3375" y="17609"/>
                    <a:pt x="4050" y="16912"/>
                    <a:pt x="4050" y="17609"/>
                  </a:cubicBezTo>
                  <a:cubicBezTo>
                    <a:pt x="4050" y="16912"/>
                    <a:pt x="1350" y="19003"/>
                    <a:pt x="2025" y="19699"/>
                  </a:cubicBezTo>
                  <a:cubicBezTo>
                    <a:pt x="2025" y="19699"/>
                    <a:pt x="3375" y="20396"/>
                    <a:pt x="3375" y="20396"/>
                  </a:cubicBezTo>
                  <a:cubicBezTo>
                    <a:pt x="4050" y="20396"/>
                    <a:pt x="3375" y="20396"/>
                    <a:pt x="3375" y="21093"/>
                  </a:cubicBezTo>
                  <a:cubicBezTo>
                    <a:pt x="3375" y="20396"/>
                    <a:pt x="6075" y="20396"/>
                    <a:pt x="6075" y="21093"/>
                  </a:cubicBezTo>
                  <a:cubicBezTo>
                    <a:pt x="6750" y="21093"/>
                    <a:pt x="7425" y="21093"/>
                    <a:pt x="8100" y="21093"/>
                  </a:cubicBezTo>
                  <a:cubicBezTo>
                    <a:pt x="8100" y="21093"/>
                    <a:pt x="8775" y="19699"/>
                    <a:pt x="9450" y="19003"/>
                  </a:cubicBezTo>
                  <a:cubicBezTo>
                    <a:pt x="11475" y="19003"/>
                    <a:pt x="12825" y="19699"/>
                    <a:pt x="14175" y="18306"/>
                  </a:cubicBezTo>
                  <a:cubicBezTo>
                    <a:pt x="14175" y="16912"/>
                    <a:pt x="10800" y="15519"/>
                    <a:pt x="10800" y="14822"/>
                  </a:cubicBezTo>
                  <a:cubicBezTo>
                    <a:pt x="11475" y="14125"/>
                    <a:pt x="12150" y="13428"/>
                    <a:pt x="13500" y="12732"/>
                  </a:cubicBezTo>
                  <a:cubicBezTo>
                    <a:pt x="14850" y="11338"/>
                    <a:pt x="16200" y="9945"/>
                    <a:pt x="18225" y="9248"/>
                  </a:cubicBezTo>
                  <a:cubicBezTo>
                    <a:pt x="19575" y="7854"/>
                    <a:pt x="17550" y="5764"/>
                    <a:pt x="18225" y="5067"/>
                  </a:cubicBezTo>
                  <a:cubicBezTo>
                    <a:pt x="19575" y="3674"/>
                    <a:pt x="20250" y="2280"/>
                    <a:pt x="21600" y="158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7" name="Shape 2146">
              <a:extLst>
                <a:ext uri="{FF2B5EF4-FFF2-40B4-BE49-F238E27FC236}">
                  <a16:creationId xmlns:a16="http://schemas.microsoft.com/office/drawing/2014/main" id="{B33CA11B-5434-5D29-3BB9-00F0FE9A4947}"/>
                </a:ext>
              </a:extLst>
            </p:cNvPr>
            <p:cNvSpPr/>
            <p:nvPr/>
          </p:nvSpPr>
          <p:spPr>
            <a:xfrm>
              <a:off x="5173331" y="1727855"/>
              <a:ext cx="148717" cy="160456"/>
            </a:xfrm>
            <a:custGeom>
              <a:avLst/>
              <a:gdLst/>
              <a:ahLst/>
              <a:cxnLst>
                <a:cxn ang="0">
                  <a:pos x="wd2" y="hd2"/>
                </a:cxn>
                <a:cxn ang="5400000">
                  <a:pos x="wd2" y="hd2"/>
                </a:cxn>
                <a:cxn ang="10800000">
                  <a:pos x="wd2" y="hd2"/>
                </a:cxn>
                <a:cxn ang="16200000">
                  <a:pos x="wd2" y="hd2"/>
                </a:cxn>
              </a:cxnLst>
              <a:rect l="0" t="0" r="r" b="b"/>
              <a:pathLst>
                <a:path w="20419" h="21120" extrusionOk="0">
                  <a:moveTo>
                    <a:pt x="18900" y="6432"/>
                  </a:moveTo>
                  <a:cubicBezTo>
                    <a:pt x="18000" y="6432"/>
                    <a:pt x="17100" y="3840"/>
                    <a:pt x="16200" y="3840"/>
                  </a:cubicBezTo>
                  <a:cubicBezTo>
                    <a:pt x="14400" y="4704"/>
                    <a:pt x="15300" y="5568"/>
                    <a:pt x="13500" y="4704"/>
                  </a:cubicBezTo>
                  <a:cubicBezTo>
                    <a:pt x="9900" y="3840"/>
                    <a:pt x="13500" y="2112"/>
                    <a:pt x="14400" y="384"/>
                  </a:cubicBezTo>
                  <a:cubicBezTo>
                    <a:pt x="12600" y="384"/>
                    <a:pt x="9900" y="-480"/>
                    <a:pt x="9000" y="384"/>
                  </a:cubicBezTo>
                  <a:cubicBezTo>
                    <a:pt x="9000" y="384"/>
                    <a:pt x="10800" y="384"/>
                    <a:pt x="9000" y="1248"/>
                  </a:cubicBezTo>
                  <a:cubicBezTo>
                    <a:pt x="9000" y="1248"/>
                    <a:pt x="7200" y="2112"/>
                    <a:pt x="8100" y="2112"/>
                  </a:cubicBezTo>
                  <a:cubicBezTo>
                    <a:pt x="8100" y="2976"/>
                    <a:pt x="9900" y="2112"/>
                    <a:pt x="9900" y="2976"/>
                  </a:cubicBezTo>
                  <a:cubicBezTo>
                    <a:pt x="10800" y="3840"/>
                    <a:pt x="8100" y="3840"/>
                    <a:pt x="8100" y="3840"/>
                  </a:cubicBezTo>
                  <a:cubicBezTo>
                    <a:pt x="6300" y="4704"/>
                    <a:pt x="2700" y="3840"/>
                    <a:pt x="1800" y="4704"/>
                  </a:cubicBezTo>
                  <a:cubicBezTo>
                    <a:pt x="1800" y="4704"/>
                    <a:pt x="2700" y="4704"/>
                    <a:pt x="2700" y="5568"/>
                  </a:cubicBezTo>
                  <a:cubicBezTo>
                    <a:pt x="2700" y="5568"/>
                    <a:pt x="900" y="5568"/>
                    <a:pt x="1800" y="6432"/>
                  </a:cubicBezTo>
                  <a:cubicBezTo>
                    <a:pt x="1800" y="6432"/>
                    <a:pt x="1800" y="6432"/>
                    <a:pt x="1800" y="6432"/>
                  </a:cubicBezTo>
                  <a:cubicBezTo>
                    <a:pt x="2700" y="6432"/>
                    <a:pt x="900" y="6432"/>
                    <a:pt x="900" y="6432"/>
                  </a:cubicBezTo>
                  <a:cubicBezTo>
                    <a:pt x="900" y="7296"/>
                    <a:pt x="4500" y="7296"/>
                    <a:pt x="2700" y="8160"/>
                  </a:cubicBezTo>
                  <a:cubicBezTo>
                    <a:pt x="0" y="9888"/>
                    <a:pt x="3600" y="10752"/>
                    <a:pt x="5400" y="10752"/>
                  </a:cubicBezTo>
                  <a:cubicBezTo>
                    <a:pt x="6300" y="10752"/>
                    <a:pt x="4500" y="13344"/>
                    <a:pt x="4500" y="14208"/>
                  </a:cubicBezTo>
                  <a:cubicBezTo>
                    <a:pt x="3600" y="14208"/>
                    <a:pt x="1800" y="17664"/>
                    <a:pt x="900" y="16800"/>
                  </a:cubicBezTo>
                  <a:cubicBezTo>
                    <a:pt x="900" y="16800"/>
                    <a:pt x="2700" y="16800"/>
                    <a:pt x="2700" y="16800"/>
                  </a:cubicBezTo>
                  <a:cubicBezTo>
                    <a:pt x="1800" y="17664"/>
                    <a:pt x="900" y="16800"/>
                    <a:pt x="0" y="18528"/>
                  </a:cubicBezTo>
                  <a:cubicBezTo>
                    <a:pt x="0" y="18528"/>
                    <a:pt x="2700" y="17664"/>
                    <a:pt x="2700" y="17664"/>
                  </a:cubicBezTo>
                  <a:cubicBezTo>
                    <a:pt x="2700" y="17664"/>
                    <a:pt x="1800" y="19392"/>
                    <a:pt x="1800" y="20256"/>
                  </a:cubicBezTo>
                  <a:cubicBezTo>
                    <a:pt x="1800" y="20256"/>
                    <a:pt x="3600" y="19392"/>
                    <a:pt x="3600" y="19392"/>
                  </a:cubicBezTo>
                  <a:cubicBezTo>
                    <a:pt x="3600" y="19392"/>
                    <a:pt x="3600" y="20256"/>
                    <a:pt x="3600" y="21120"/>
                  </a:cubicBezTo>
                  <a:cubicBezTo>
                    <a:pt x="4500" y="21120"/>
                    <a:pt x="6300" y="20256"/>
                    <a:pt x="7200" y="20256"/>
                  </a:cubicBezTo>
                  <a:cubicBezTo>
                    <a:pt x="9900" y="19392"/>
                    <a:pt x="12600" y="16800"/>
                    <a:pt x="15300" y="16800"/>
                  </a:cubicBezTo>
                  <a:cubicBezTo>
                    <a:pt x="18900" y="16800"/>
                    <a:pt x="18000" y="15936"/>
                    <a:pt x="19800" y="13344"/>
                  </a:cubicBezTo>
                  <a:cubicBezTo>
                    <a:pt x="21600" y="10752"/>
                    <a:pt x="18900" y="9024"/>
                    <a:pt x="18900" y="6432"/>
                  </a:cubicBezTo>
                  <a:cubicBezTo>
                    <a:pt x="18000" y="6432"/>
                    <a:pt x="18900" y="7296"/>
                    <a:pt x="18900" y="643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8" name="Shape 2147">
              <a:extLst>
                <a:ext uri="{FF2B5EF4-FFF2-40B4-BE49-F238E27FC236}">
                  <a16:creationId xmlns:a16="http://schemas.microsoft.com/office/drawing/2014/main" id="{5AFF0936-7642-2B0F-F57B-443B0075C1CF}"/>
                </a:ext>
              </a:extLst>
            </p:cNvPr>
            <p:cNvSpPr/>
            <p:nvPr/>
          </p:nvSpPr>
          <p:spPr>
            <a:xfrm>
              <a:off x="5257261" y="1719704"/>
              <a:ext cx="80169" cy="52966"/>
            </a:xfrm>
            <a:custGeom>
              <a:avLst/>
              <a:gdLst/>
              <a:ahLst/>
              <a:cxnLst>
                <a:cxn ang="0">
                  <a:pos x="wd2" y="hd2"/>
                </a:cxn>
                <a:cxn ang="5400000">
                  <a:pos x="wd2" y="hd2"/>
                </a:cxn>
                <a:cxn ang="10800000">
                  <a:pos x="wd2" y="hd2"/>
                </a:cxn>
                <a:cxn ang="16200000">
                  <a:pos x="wd2" y="hd2"/>
                </a:cxn>
              </a:cxnLst>
              <a:rect l="0" t="0" r="r" b="b"/>
              <a:pathLst>
                <a:path w="16394" h="17549" extrusionOk="0">
                  <a:moveTo>
                    <a:pt x="272" y="12219"/>
                  </a:moveTo>
                  <a:cubicBezTo>
                    <a:pt x="-1078" y="14379"/>
                    <a:pt x="2972" y="16539"/>
                    <a:pt x="4322" y="16539"/>
                  </a:cubicBezTo>
                  <a:cubicBezTo>
                    <a:pt x="4322" y="16539"/>
                    <a:pt x="5672" y="14379"/>
                    <a:pt x="5672" y="14379"/>
                  </a:cubicBezTo>
                  <a:cubicBezTo>
                    <a:pt x="7022" y="12219"/>
                    <a:pt x="8372" y="14379"/>
                    <a:pt x="9722" y="16539"/>
                  </a:cubicBezTo>
                  <a:cubicBezTo>
                    <a:pt x="12422" y="20859"/>
                    <a:pt x="20522" y="10059"/>
                    <a:pt x="13772" y="7899"/>
                  </a:cubicBezTo>
                  <a:cubicBezTo>
                    <a:pt x="15122" y="7899"/>
                    <a:pt x="13772" y="3579"/>
                    <a:pt x="13772" y="3579"/>
                  </a:cubicBezTo>
                  <a:cubicBezTo>
                    <a:pt x="12422" y="-741"/>
                    <a:pt x="11072" y="-741"/>
                    <a:pt x="8372" y="1419"/>
                  </a:cubicBezTo>
                  <a:cubicBezTo>
                    <a:pt x="7022" y="1419"/>
                    <a:pt x="4322" y="1419"/>
                    <a:pt x="4322" y="3579"/>
                  </a:cubicBezTo>
                  <a:cubicBezTo>
                    <a:pt x="2972" y="5739"/>
                    <a:pt x="272" y="7899"/>
                    <a:pt x="272" y="12219"/>
                  </a:cubicBezTo>
                  <a:cubicBezTo>
                    <a:pt x="272" y="12219"/>
                    <a:pt x="272" y="10059"/>
                    <a:pt x="272" y="1221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29" name="Shape 2148">
              <a:extLst>
                <a:ext uri="{FF2B5EF4-FFF2-40B4-BE49-F238E27FC236}">
                  <a16:creationId xmlns:a16="http://schemas.microsoft.com/office/drawing/2014/main" id="{D140CD67-DD7E-C9EE-F52B-25440F50229B}"/>
                </a:ext>
              </a:extLst>
            </p:cNvPr>
            <p:cNvSpPr/>
            <p:nvPr/>
          </p:nvSpPr>
          <p:spPr>
            <a:xfrm>
              <a:off x="5219331" y="2212023"/>
              <a:ext cx="407975" cy="299617"/>
            </a:xfrm>
            <a:custGeom>
              <a:avLst/>
              <a:gdLst/>
              <a:ahLst/>
              <a:cxnLst>
                <a:cxn ang="0">
                  <a:pos x="wd2" y="hd2"/>
                </a:cxn>
                <a:cxn ang="5400000">
                  <a:pos x="wd2" y="hd2"/>
                </a:cxn>
                <a:cxn ang="10800000">
                  <a:pos x="wd2" y="hd2"/>
                </a:cxn>
                <a:cxn ang="16200000">
                  <a:pos x="wd2" y="hd2"/>
                </a:cxn>
              </a:cxnLst>
              <a:rect l="0" t="0" r="r" b="b"/>
              <a:pathLst>
                <a:path w="21310" h="21325" extrusionOk="0">
                  <a:moveTo>
                    <a:pt x="19596" y="3757"/>
                  </a:moveTo>
                  <a:cubicBezTo>
                    <a:pt x="18567" y="3757"/>
                    <a:pt x="18224" y="3287"/>
                    <a:pt x="17539" y="2817"/>
                  </a:cubicBezTo>
                  <a:cubicBezTo>
                    <a:pt x="17196" y="2348"/>
                    <a:pt x="16853" y="2817"/>
                    <a:pt x="16510" y="2817"/>
                  </a:cubicBezTo>
                  <a:cubicBezTo>
                    <a:pt x="16167" y="2817"/>
                    <a:pt x="15481" y="2817"/>
                    <a:pt x="15139" y="2817"/>
                  </a:cubicBezTo>
                  <a:cubicBezTo>
                    <a:pt x="14453" y="2348"/>
                    <a:pt x="13767" y="1878"/>
                    <a:pt x="13424" y="1878"/>
                  </a:cubicBezTo>
                  <a:cubicBezTo>
                    <a:pt x="13081" y="1409"/>
                    <a:pt x="13081" y="1409"/>
                    <a:pt x="12739" y="939"/>
                  </a:cubicBezTo>
                  <a:cubicBezTo>
                    <a:pt x="12396" y="1409"/>
                    <a:pt x="12053" y="939"/>
                    <a:pt x="11710" y="939"/>
                  </a:cubicBezTo>
                  <a:cubicBezTo>
                    <a:pt x="11024" y="470"/>
                    <a:pt x="10681" y="939"/>
                    <a:pt x="10339" y="939"/>
                  </a:cubicBezTo>
                  <a:cubicBezTo>
                    <a:pt x="9653" y="939"/>
                    <a:pt x="9310" y="939"/>
                    <a:pt x="8967" y="939"/>
                  </a:cubicBezTo>
                  <a:cubicBezTo>
                    <a:pt x="7939" y="939"/>
                    <a:pt x="6910" y="470"/>
                    <a:pt x="5539" y="470"/>
                  </a:cubicBezTo>
                  <a:cubicBezTo>
                    <a:pt x="4853" y="470"/>
                    <a:pt x="3481" y="0"/>
                    <a:pt x="2453" y="0"/>
                  </a:cubicBezTo>
                  <a:cubicBezTo>
                    <a:pt x="2110" y="470"/>
                    <a:pt x="1081" y="939"/>
                    <a:pt x="396" y="1409"/>
                  </a:cubicBezTo>
                  <a:cubicBezTo>
                    <a:pt x="-290" y="1878"/>
                    <a:pt x="53" y="2348"/>
                    <a:pt x="396" y="2817"/>
                  </a:cubicBezTo>
                  <a:cubicBezTo>
                    <a:pt x="396" y="3757"/>
                    <a:pt x="396" y="4226"/>
                    <a:pt x="396" y="5165"/>
                  </a:cubicBezTo>
                  <a:cubicBezTo>
                    <a:pt x="739" y="5165"/>
                    <a:pt x="1424" y="4696"/>
                    <a:pt x="1424" y="4696"/>
                  </a:cubicBezTo>
                  <a:cubicBezTo>
                    <a:pt x="1767" y="4696"/>
                    <a:pt x="1424" y="5635"/>
                    <a:pt x="2110" y="5635"/>
                  </a:cubicBezTo>
                  <a:cubicBezTo>
                    <a:pt x="2796" y="5635"/>
                    <a:pt x="3139" y="5165"/>
                    <a:pt x="3824" y="5165"/>
                  </a:cubicBezTo>
                  <a:cubicBezTo>
                    <a:pt x="4510" y="4696"/>
                    <a:pt x="5196" y="6104"/>
                    <a:pt x="4510" y="6574"/>
                  </a:cubicBezTo>
                  <a:cubicBezTo>
                    <a:pt x="3824" y="7513"/>
                    <a:pt x="4167" y="7983"/>
                    <a:pt x="4167" y="9391"/>
                  </a:cubicBezTo>
                  <a:cubicBezTo>
                    <a:pt x="3824" y="9861"/>
                    <a:pt x="4167" y="11270"/>
                    <a:pt x="3824" y="11739"/>
                  </a:cubicBezTo>
                  <a:cubicBezTo>
                    <a:pt x="2796" y="11739"/>
                    <a:pt x="3139" y="12209"/>
                    <a:pt x="3824" y="13148"/>
                  </a:cubicBezTo>
                  <a:cubicBezTo>
                    <a:pt x="4167" y="13617"/>
                    <a:pt x="3139" y="14557"/>
                    <a:pt x="3139" y="15496"/>
                  </a:cubicBezTo>
                  <a:cubicBezTo>
                    <a:pt x="3824" y="16435"/>
                    <a:pt x="3139" y="16904"/>
                    <a:pt x="3139" y="17843"/>
                  </a:cubicBezTo>
                  <a:cubicBezTo>
                    <a:pt x="4167" y="17374"/>
                    <a:pt x="4853" y="19722"/>
                    <a:pt x="5539" y="20661"/>
                  </a:cubicBezTo>
                  <a:cubicBezTo>
                    <a:pt x="5539" y="21130"/>
                    <a:pt x="6224" y="21600"/>
                    <a:pt x="6567" y="21130"/>
                  </a:cubicBezTo>
                  <a:cubicBezTo>
                    <a:pt x="6567" y="21130"/>
                    <a:pt x="6910" y="20661"/>
                    <a:pt x="6910" y="20191"/>
                  </a:cubicBezTo>
                  <a:cubicBezTo>
                    <a:pt x="7253" y="20191"/>
                    <a:pt x="7939" y="19722"/>
                    <a:pt x="7939" y="19722"/>
                  </a:cubicBezTo>
                  <a:cubicBezTo>
                    <a:pt x="9310" y="19252"/>
                    <a:pt x="10681" y="19722"/>
                    <a:pt x="12053" y="19252"/>
                  </a:cubicBezTo>
                  <a:cubicBezTo>
                    <a:pt x="12396" y="18783"/>
                    <a:pt x="12396" y="18313"/>
                    <a:pt x="13081" y="17843"/>
                  </a:cubicBezTo>
                  <a:cubicBezTo>
                    <a:pt x="13767" y="17374"/>
                    <a:pt x="14110" y="16904"/>
                    <a:pt x="14453" y="16435"/>
                  </a:cubicBezTo>
                  <a:cubicBezTo>
                    <a:pt x="14796" y="15026"/>
                    <a:pt x="15139" y="14557"/>
                    <a:pt x="15824" y="14087"/>
                  </a:cubicBezTo>
                  <a:cubicBezTo>
                    <a:pt x="16167" y="13617"/>
                    <a:pt x="15481" y="12678"/>
                    <a:pt x="15139" y="12209"/>
                  </a:cubicBezTo>
                  <a:cubicBezTo>
                    <a:pt x="15139" y="11739"/>
                    <a:pt x="15824" y="10330"/>
                    <a:pt x="16167" y="9861"/>
                  </a:cubicBezTo>
                  <a:cubicBezTo>
                    <a:pt x="16167" y="9861"/>
                    <a:pt x="16510" y="9391"/>
                    <a:pt x="16853" y="8922"/>
                  </a:cubicBezTo>
                  <a:cubicBezTo>
                    <a:pt x="16853" y="8922"/>
                    <a:pt x="16853" y="7983"/>
                    <a:pt x="17196" y="7983"/>
                  </a:cubicBezTo>
                  <a:cubicBezTo>
                    <a:pt x="18224" y="7043"/>
                    <a:pt x="19253" y="6574"/>
                    <a:pt x="20281" y="6104"/>
                  </a:cubicBezTo>
                  <a:cubicBezTo>
                    <a:pt x="20624" y="5635"/>
                    <a:pt x="21310" y="5165"/>
                    <a:pt x="21310" y="4226"/>
                  </a:cubicBezTo>
                  <a:cubicBezTo>
                    <a:pt x="20967" y="3287"/>
                    <a:pt x="20281" y="4226"/>
                    <a:pt x="19596" y="3757"/>
                  </a:cubicBezTo>
                  <a:cubicBezTo>
                    <a:pt x="18567" y="3757"/>
                    <a:pt x="20281" y="4226"/>
                    <a:pt x="19596" y="375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0" name="Shape 2149">
              <a:extLst>
                <a:ext uri="{FF2B5EF4-FFF2-40B4-BE49-F238E27FC236}">
                  <a16:creationId xmlns:a16="http://schemas.microsoft.com/office/drawing/2014/main" id="{359DA8BD-DE3F-B396-23E4-903CC8E37496}"/>
                </a:ext>
              </a:extLst>
            </p:cNvPr>
            <p:cNvSpPr/>
            <p:nvPr/>
          </p:nvSpPr>
          <p:spPr>
            <a:xfrm>
              <a:off x="5213781" y="2277217"/>
              <a:ext cx="97895" cy="200074"/>
            </a:xfrm>
            <a:custGeom>
              <a:avLst/>
              <a:gdLst/>
              <a:ahLst/>
              <a:cxnLst>
                <a:cxn ang="0">
                  <a:pos x="wd2" y="hd2"/>
                </a:cxn>
                <a:cxn ang="5400000">
                  <a:pos x="wd2" y="hd2"/>
                </a:cxn>
                <a:cxn ang="10800000">
                  <a:pos x="wd2" y="hd2"/>
                </a:cxn>
                <a:cxn ang="16200000">
                  <a:pos x="wd2" y="hd2"/>
                </a:cxn>
              </a:cxnLst>
              <a:rect l="0" t="0" r="r" b="b"/>
              <a:pathLst>
                <a:path w="20018" h="21600" extrusionOk="0">
                  <a:moveTo>
                    <a:pt x="14850" y="18000"/>
                  </a:moveTo>
                  <a:cubicBezTo>
                    <a:pt x="16200" y="16560"/>
                    <a:pt x="13500" y="15840"/>
                    <a:pt x="14850" y="15120"/>
                  </a:cubicBezTo>
                  <a:cubicBezTo>
                    <a:pt x="16200" y="12960"/>
                    <a:pt x="16200" y="12960"/>
                    <a:pt x="13500" y="11520"/>
                  </a:cubicBezTo>
                  <a:cubicBezTo>
                    <a:pt x="12150" y="10080"/>
                    <a:pt x="14850" y="10800"/>
                    <a:pt x="16200" y="10080"/>
                  </a:cubicBezTo>
                  <a:cubicBezTo>
                    <a:pt x="17550" y="9360"/>
                    <a:pt x="17550" y="7200"/>
                    <a:pt x="17550" y="6480"/>
                  </a:cubicBezTo>
                  <a:cubicBezTo>
                    <a:pt x="17550" y="4320"/>
                    <a:pt x="16200" y="4320"/>
                    <a:pt x="18900" y="2880"/>
                  </a:cubicBezTo>
                  <a:cubicBezTo>
                    <a:pt x="21600" y="2160"/>
                    <a:pt x="18900" y="0"/>
                    <a:pt x="16200" y="720"/>
                  </a:cubicBezTo>
                  <a:cubicBezTo>
                    <a:pt x="13500" y="720"/>
                    <a:pt x="12150" y="1440"/>
                    <a:pt x="9450" y="1440"/>
                  </a:cubicBezTo>
                  <a:cubicBezTo>
                    <a:pt x="6750" y="1440"/>
                    <a:pt x="8100" y="0"/>
                    <a:pt x="6750" y="0"/>
                  </a:cubicBezTo>
                  <a:cubicBezTo>
                    <a:pt x="8100" y="0"/>
                    <a:pt x="4050" y="0"/>
                    <a:pt x="5400" y="0"/>
                  </a:cubicBezTo>
                  <a:cubicBezTo>
                    <a:pt x="2700" y="720"/>
                    <a:pt x="4050" y="1440"/>
                    <a:pt x="4050" y="2880"/>
                  </a:cubicBezTo>
                  <a:cubicBezTo>
                    <a:pt x="4050" y="3600"/>
                    <a:pt x="4050" y="5040"/>
                    <a:pt x="4050" y="5760"/>
                  </a:cubicBezTo>
                  <a:cubicBezTo>
                    <a:pt x="2700" y="7200"/>
                    <a:pt x="2700" y="8640"/>
                    <a:pt x="2700" y="9360"/>
                  </a:cubicBezTo>
                  <a:cubicBezTo>
                    <a:pt x="1350" y="11520"/>
                    <a:pt x="0" y="12240"/>
                    <a:pt x="0" y="14400"/>
                  </a:cubicBezTo>
                  <a:cubicBezTo>
                    <a:pt x="1350" y="15120"/>
                    <a:pt x="2700" y="14400"/>
                    <a:pt x="2700" y="15840"/>
                  </a:cubicBezTo>
                  <a:cubicBezTo>
                    <a:pt x="4050" y="16560"/>
                    <a:pt x="2700" y="18720"/>
                    <a:pt x="2700" y="20160"/>
                  </a:cubicBezTo>
                  <a:cubicBezTo>
                    <a:pt x="2700" y="21600"/>
                    <a:pt x="5400" y="21600"/>
                    <a:pt x="8100" y="21600"/>
                  </a:cubicBezTo>
                  <a:cubicBezTo>
                    <a:pt x="13500" y="21600"/>
                    <a:pt x="12150" y="19440"/>
                    <a:pt x="14850" y="18000"/>
                  </a:cubicBezTo>
                  <a:cubicBezTo>
                    <a:pt x="16200" y="16560"/>
                    <a:pt x="13500" y="18720"/>
                    <a:pt x="14850" y="18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1" name="Shape 2150">
              <a:extLst>
                <a:ext uri="{FF2B5EF4-FFF2-40B4-BE49-F238E27FC236}">
                  <a16:creationId xmlns:a16="http://schemas.microsoft.com/office/drawing/2014/main" id="{CCAD8985-79BE-7337-B663-EC2D9C8E1F5E}"/>
                </a:ext>
              </a:extLst>
            </p:cNvPr>
            <p:cNvSpPr/>
            <p:nvPr/>
          </p:nvSpPr>
          <p:spPr>
            <a:xfrm>
              <a:off x="6485815" y="4096215"/>
              <a:ext cx="342514" cy="568991"/>
            </a:xfrm>
            <a:custGeom>
              <a:avLst/>
              <a:gdLst/>
              <a:ahLst/>
              <a:cxnLst>
                <a:cxn ang="0">
                  <a:pos x="wd2" y="hd2"/>
                </a:cxn>
                <a:cxn ang="5400000">
                  <a:pos x="wd2" y="hd2"/>
                </a:cxn>
                <a:cxn ang="10800000">
                  <a:pos x="wd2" y="hd2"/>
                </a:cxn>
                <a:cxn ang="16200000">
                  <a:pos x="wd2" y="hd2"/>
                </a:cxn>
              </a:cxnLst>
              <a:rect l="0" t="0" r="r" b="b"/>
              <a:pathLst>
                <a:path w="21238" h="21109" extrusionOk="0">
                  <a:moveTo>
                    <a:pt x="21192" y="5298"/>
                  </a:moveTo>
                  <a:cubicBezTo>
                    <a:pt x="19970" y="3826"/>
                    <a:pt x="20377" y="1862"/>
                    <a:pt x="20377" y="389"/>
                  </a:cubicBezTo>
                  <a:cubicBezTo>
                    <a:pt x="20377" y="-347"/>
                    <a:pt x="19562" y="144"/>
                    <a:pt x="18747" y="389"/>
                  </a:cubicBezTo>
                  <a:cubicBezTo>
                    <a:pt x="18340" y="635"/>
                    <a:pt x="17525" y="1126"/>
                    <a:pt x="16709" y="1126"/>
                  </a:cubicBezTo>
                  <a:cubicBezTo>
                    <a:pt x="16302" y="1126"/>
                    <a:pt x="15487" y="880"/>
                    <a:pt x="15487" y="1371"/>
                  </a:cubicBezTo>
                  <a:cubicBezTo>
                    <a:pt x="14672" y="2108"/>
                    <a:pt x="13857" y="1371"/>
                    <a:pt x="13042" y="1371"/>
                  </a:cubicBezTo>
                  <a:cubicBezTo>
                    <a:pt x="12226" y="1371"/>
                    <a:pt x="12226" y="1862"/>
                    <a:pt x="11411" y="1371"/>
                  </a:cubicBezTo>
                  <a:cubicBezTo>
                    <a:pt x="11004" y="1371"/>
                    <a:pt x="9781" y="1371"/>
                    <a:pt x="9374" y="1371"/>
                  </a:cubicBezTo>
                  <a:cubicBezTo>
                    <a:pt x="8151" y="1371"/>
                    <a:pt x="8558" y="3580"/>
                    <a:pt x="9781" y="4071"/>
                  </a:cubicBezTo>
                  <a:cubicBezTo>
                    <a:pt x="9781" y="4071"/>
                    <a:pt x="9781" y="4562"/>
                    <a:pt x="10189" y="4562"/>
                  </a:cubicBezTo>
                  <a:cubicBezTo>
                    <a:pt x="10189" y="4808"/>
                    <a:pt x="10596" y="4808"/>
                    <a:pt x="11004" y="5053"/>
                  </a:cubicBezTo>
                  <a:cubicBezTo>
                    <a:pt x="11004" y="5544"/>
                    <a:pt x="11004" y="6280"/>
                    <a:pt x="11004" y="6526"/>
                  </a:cubicBezTo>
                  <a:cubicBezTo>
                    <a:pt x="11004" y="7017"/>
                    <a:pt x="11411" y="7262"/>
                    <a:pt x="10189" y="7262"/>
                  </a:cubicBezTo>
                  <a:cubicBezTo>
                    <a:pt x="9781" y="7262"/>
                    <a:pt x="9781" y="7998"/>
                    <a:pt x="9781" y="8244"/>
                  </a:cubicBezTo>
                  <a:cubicBezTo>
                    <a:pt x="9374" y="7998"/>
                    <a:pt x="8558" y="7508"/>
                    <a:pt x="8151" y="7262"/>
                  </a:cubicBezTo>
                  <a:cubicBezTo>
                    <a:pt x="7743" y="6771"/>
                    <a:pt x="8558" y="6280"/>
                    <a:pt x="8558" y="5789"/>
                  </a:cubicBezTo>
                  <a:cubicBezTo>
                    <a:pt x="8966" y="4562"/>
                    <a:pt x="7743" y="5544"/>
                    <a:pt x="6521" y="5053"/>
                  </a:cubicBezTo>
                  <a:cubicBezTo>
                    <a:pt x="6113" y="4808"/>
                    <a:pt x="6113" y="4317"/>
                    <a:pt x="5298" y="4562"/>
                  </a:cubicBezTo>
                  <a:cubicBezTo>
                    <a:pt x="3668" y="5053"/>
                    <a:pt x="2445" y="5298"/>
                    <a:pt x="815" y="5544"/>
                  </a:cubicBezTo>
                  <a:cubicBezTo>
                    <a:pt x="408" y="5789"/>
                    <a:pt x="0" y="5789"/>
                    <a:pt x="0" y="6035"/>
                  </a:cubicBezTo>
                  <a:cubicBezTo>
                    <a:pt x="0" y="6280"/>
                    <a:pt x="408" y="6771"/>
                    <a:pt x="408" y="7017"/>
                  </a:cubicBezTo>
                  <a:cubicBezTo>
                    <a:pt x="1630" y="7017"/>
                    <a:pt x="4891" y="7508"/>
                    <a:pt x="4891" y="8244"/>
                  </a:cubicBezTo>
                  <a:cubicBezTo>
                    <a:pt x="5298" y="8980"/>
                    <a:pt x="5298" y="9717"/>
                    <a:pt x="5298" y="10453"/>
                  </a:cubicBezTo>
                  <a:cubicBezTo>
                    <a:pt x="4891" y="10944"/>
                    <a:pt x="5706" y="11680"/>
                    <a:pt x="4891" y="12417"/>
                  </a:cubicBezTo>
                  <a:cubicBezTo>
                    <a:pt x="4075" y="13153"/>
                    <a:pt x="3260" y="14135"/>
                    <a:pt x="2445" y="14871"/>
                  </a:cubicBezTo>
                  <a:cubicBezTo>
                    <a:pt x="1630" y="15362"/>
                    <a:pt x="2445" y="16344"/>
                    <a:pt x="2445" y="16589"/>
                  </a:cubicBezTo>
                  <a:cubicBezTo>
                    <a:pt x="3260" y="17571"/>
                    <a:pt x="3260" y="18062"/>
                    <a:pt x="3260" y="18798"/>
                  </a:cubicBezTo>
                  <a:cubicBezTo>
                    <a:pt x="3260" y="19535"/>
                    <a:pt x="3260" y="20271"/>
                    <a:pt x="3668" y="21008"/>
                  </a:cubicBezTo>
                  <a:cubicBezTo>
                    <a:pt x="3668" y="21253"/>
                    <a:pt x="4891" y="21008"/>
                    <a:pt x="4891" y="20762"/>
                  </a:cubicBezTo>
                  <a:cubicBezTo>
                    <a:pt x="5298" y="20517"/>
                    <a:pt x="5298" y="20026"/>
                    <a:pt x="5298" y="20026"/>
                  </a:cubicBezTo>
                  <a:cubicBezTo>
                    <a:pt x="4891" y="20026"/>
                    <a:pt x="4483" y="20026"/>
                    <a:pt x="4483" y="20026"/>
                  </a:cubicBezTo>
                  <a:cubicBezTo>
                    <a:pt x="4483" y="19289"/>
                    <a:pt x="5706" y="18798"/>
                    <a:pt x="6521" y="18553"/>
                  </a:cubicBezTo>
                  <a:cubicBezTo>
                    <a:pt x="7743" y="18308"/>
                    <a:pt x="9374" y="18062"/>
                    <a:pt x="10189" y="17326"/>
                  </a:cubicBezTo>
                  <a:cubicBezTo>
                    <a:pt x="10189" y="17080"/>
                    <a:pt x="10189" y="15853"/>
                    <a:pt x="10189" y="15362"/>
                  </a:cubicBezTo>
                  <a:cubicBezTo>
                    <a:pt x="10189" y="14871"/>
                    <a:pt x="8558" y="11435"/>
                    <a:pt x="8558" y="11435"/>
                  </a:cubicBezTo>
                  <a:cubicBezTo>
                    <a:pt x="8966" y="11189"/>
                    <a:pt x="8966" y="11926"/>
                    <a:pt x="9781" y="11435"/>
                  </a:cubicBezTo>
                  <a:cubicBezTo>
                    <a:pt x="10596" y="10944"/>
                    <a:pt x="11004" y="10698"/>
                    <a:pt x="11819" y="10453"/>
                  </a:cubicBezTo>
                  <a:cubicBezTo>
                    <a:pt x="12634" y="10208"/>
                    <a:pt x="13042" y="8735"/>
                    <a:pt x="14264" y="8980"/>
                  </a:cubicBezTo>
                  <a:cubicBezTo>
                    <a:pt x="14672" y="8980"/>
                    <a:pt x="15487" y="8489"/>
                    <a:pt x="16302" y="8489"/>
                  </a:cubicBezTo>
                  <a:cubicBezTo>
                    <a:pt x="17117" y="8244"/>
                    <a:pt x="17932" y="7998"/>
                    <a:pt x="18747" y="7508"/>
                  </a:cubicBezTo>
                  <a:cubicBezTo>
                    <a:pt x="19155" y="7262"/>
                    <a:pt x="21600" y="5789"/>
                    <a:pt x="21192" y="5298"/>
                  </a:cubicBezTo>
                  <a:cubicBezTo>
                    <a:pt x="20785" y="5053"/>
                    <a:pt x="21192" y="5544"/>
                    <a:pt x="21192" y="529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2" name="Shape 2151">
              <a:extLst>
                <a:ext uri="{FF2B5EF4-FFF2-40B4-BE49-F238E27FC236}">
                  <a16:creationId xmlns:a16="http://schemas.microsoft.com/office/drawing/2014/main" id="{6590BA2D-936C-6B38-3AE3-1CB70E590FE1}"/>
                </a:ext>
              </a:extLst>
            </p:cNvPr>
            <p:cNvSpPr/>
            <p:nvPr/>
          </p:nvSpPr>
          <p:spPr>
            <a:xfrm>
              <a:off x="6569748" y="4068866"/>
              <a:ext cx="95083" cy="249530"/>
            </a:xfrm>
            <a:custGeom>
              <a:avLst/>
              <a:gdLst/>
              <a:ahLst/>
              <a:cxnLst>
                <a:cxn ang="0">
                  <a:pos x="wd2" y="hd2"/>
                </a:cxn>
                <a:cxn ang="5400000">
                  <a:pos x="wd2" y="hd2"/>
                </a:cxn>
                <a:cxn ang="10800000">
                  <a:pos x="wd2" y="hd2"/>
                </a:cxn>
                <a:cxn ang="16200000">
                  <a:pos x="wd2" y="hd2"/>
                </a:cxn>
              </a:cxnLst>
              <a:rect l="0" t="0" r="r" b="b"/>
              <a:pathLst>
                <a:path w="19443" h="21600" extrusionOk="0">
                  <a:moveTo>
                    <a:pt x="4322" y="14211"/>
                  </a:moveTo>
                  <a:cubicBezTo>
                    <a:pt x="7022" y="14779"/>
                    <a:pt x="11072" y="13642"/>
                    <a:pt x="11072" y="14779"/>
                  </a:cubicBezTo>
                  <a:cubicBezTo>
                    <a:pt x="12422" y="15916"/>
                    <a:pt x="11072" y="16484"/>
                    <a:pt x="9722" y="17621"/>
                  </a:cubicBezTo>
                  <a:cubicBezTo>
                    <a:pt x="7022" y="18758"/>
                    <a:pt x="12422" y="20463"/>
                    <a:pt x="15122" y="21600"/>
                  </a:cubicBezTo>
                  <a:cubicBezTo>
                    <a:pt x="16472" y="21032"/>
                    <a:pt x="15122" y="19895"/>
                    <a:pt x="15122" y="19326"/>
                  </a:cubicBezTo>
                  <a:cubicBezTo>
                    <a:pt x="16472" y="18758"/>
                    <a:pt x="20522" y="19895"/>
                    <a:pt x="19172" y="18758"/>
                  </a:cubicBezTo>
                  <a:cubicBezTo>
                    <a:pt x="19172" y="17621"/>
                    <a:pt x="19172" y="16484"/>
                    <a:pt x="19172" y="15347"/>
                  </a:cubicBezTo>
                  <a:cubicBezTo>
                    <a:pt x="17822" y="14211"/>
                    <a:pt x="16472" y="13642"/>
                    <a:pt x="15122" y="12505"/>
                  </a:cubicBezTo>
                  <a:cubicBezTo>
                    <a:pt x="13772" y="14211"/>
                    <a:pt x="9722" y="11937"/>
                    <a:pt x="9722" y="11368"/>
                  </a:cubicBezTo>
                  <a:cubicBezTo>
                    <a:pt x="9722" y="10232"/>
                    <a:pt x="9722" y="9663"/>
                    <a:pt x="9722" y="9095"/>
                  </a:cubicBezTo>
                  <a:cubicBezTo>
                    <a:pt x="9722" y="7958"/>
                    <a:pt x="9722" y="8526"/>
                    <a:pt x="8372" y="7958"/>
                  </a:cubicBezTo>
                  <a:cubicBezTo>
                    <a:pt x="7022" y="7958"/>
                    <a:pt x="9722" y="4547"/>
                    <a:pt x="9722" y="4547"/>
                  </a:cubicBezTo>
                  <a:cubicBezTo>
                    <a:pt x="9722" y="3411"/>
                    <a:pt x="8372" y="2842"/>
                    <a:pt x="8372" y="1705"/>
                  </a:cubicBezTo>
                  <a:cubicBezTo>
                    <a:pt x="7022" y="1137"/>
                    <a:pt x="5672" y="0"/>
                    <a:pt x="8372" y="568"/>
                  </a:cubicBezTo>
                  <a:cubicBezTo>
                    <a:pt x="7022" y="0"/>
                    <a:pt x="2972" y="0"/>
                    <a:pt x="1622" y="0"/>
                  </a:cubicBezTo>
                  <a:cubicBezTo>
                    <a:pt x="1622" y="568"/>
                    <a:pt x="7022" y="2842"/>
                    <a:pt x="4322" y="3411"/>
                  </a:cubicBezTo>
                  <a:cubicBezTo>
                    <a:pt x="272" y="3979"/>
                    <a:pt x="1622" y="6821"/>
                    <a:pt x="4322" y="7958"/>
                  </a:cubicBezTo>
                  <a:cubicBezTo>
                    <a:pt x="4322" y="8526"/>
                    <a:pt x="1622" y="8526"/>
                    <a:pt x="1622" y="9095"/>
                  </a:cubicBezTo>
                  <a:cubicBezTo>
                    <a:pt x="272" y="9095"/>
                    <a:pt x="272" y="10800"/>
                    <a:pt x="272" y="11368"/>
                  </a:cubicBezTo>
                  <a:cubicBezTo>
                    <a:pt x="-1078" y="12505"/>
                    <a:pt x="2972" y="13642"/>
                    <a:pt x="4322" y="14211"/>
                  </a:cubicBezTo>
                  <a:cubicBezTo>
                    <a:pt x="5672" y="14779"/>
                    <a:pt x="4322" y="13642"/>
                    <a:pt x="4322" y="1421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3" name="Shape 2152">
              <a:extLst>
                <a:ext uri="{FF2B5EF4-FFF2-40B4-BE49-F238E27FC236}">
                  <a16:creationId xmlns:a16="http://schemas.microsoft.com/office/drawing/2014/main" id="{A82E233A-6B7E-FDB9-46B0-33C8AE27690C}"/>
                </a:ext>
              </a:extLst>
            </p:cNvPr>
            <p:cNvSpPr/>
            <p:nvPr/>
          </p:nvSpPr>
          <p:spPr>
            <a:xfrm>
              <a:off x="6212672" y="4021659"/>
              <a:ext cx="381257" cy="330457"/>
            </a:xfrm>
            <a:custGeom>
              <a:avLst/>
              <a:gdLst/>
              <a:ahLst/>
              <a:cxnLst>
                <a:cxn ang="0">
                  <a:pos x="wd2" y="hd2"/>
                </a:cxn>
                <a:cxn ang="5400000">
                  <a:pos x="wd2" y="hd2"/>
                </a:cxn>
                <a:cxn ang="10800000">
                  <a:pos x="wd2" y="hd2"/>
                </a:cxn>
                <a:cxn ang="16200000">
                  <a:pos x="wd2" y="hd2"/>
                </a:cxn>
              </a:cxnLst>
              <a:rect l="0" t="0" r="r" b="b"/>
              <a:pathLst>
                <a:path w="20820" h="21600" extrusionOk="0">
                  <a:moveTo>
                    <a:pt x="19858" y="12960"/>
                  </a:moveTo>
                  <a:cubicBezTo>
                    <a:pt x="19138" y="11664"/>
                    <a:pt x="19858" y="11664"/>
                    <a:pt x="19498" y="10368"/>
                  </a:cubicBezTo>
                  <a:cubicBezTo>
                    <a:pt x="19498" y="9936"/>
                    <a:pt x="19858" y="9936"/>
                    <a:pt x="20218" y="9504"/>
                  </a:cubicBezTo>
                  <a:cubicBezTo>
                    <a:pt x="20578" y="9072"/>
                    <a:pt x="20218" y="8640"/>
                    <a:pt x="20218" y="8208"/>
                  </a:cubicBezTo>
                  <a:cubicBezTo>
                    <a:pt x="19858" y="7344"/>
                    <a:pt x="19858" y="6048"/>
                    <a:pt x="20578" y="5616"/>
                  </a:cubicBezTo>
                  <a:cubicBezTo>
                    <a:pt x="21298" y="5184"/>
                    <a:pt x="20218" y="3888"/>
                    <a:pt x="19858" y="3456"/>
                  </a:cubicBezTo>
                  <a:cubicBezTo>
                    <a:pt x="19498" y="2592"/>
                    <a:pt x="18778" y="2160"/>
                    <a:pt x="18058" y="2160"/>
                  </a:cubicBezTo>
                  <a:cubicBezTo>
                    <a:pt x="17698" y="1728"/>
                    <a:pt x="17338" y="1296"/>
                    <a:pt x="16978" y="1296"/>
                  </a:cubicBezTo>
                  <a:cubicBezTo>
                    <a:pt x="16618" y="864"/>
                    <a:pt x="16258" y="432"/>
                    <a:pt x="15898" y="0"/>
                  </a:cubicBezTo>
                  <a:cubicBezTo>
                    <a:pt x="15898" y="0"/>
                    <a:pt x="13738" y="432"/>
                    <a:pt x="13378" y="432"/>
                  </a:cubicBezTo>
                  <a:cubicBezTo>
                    <a:pt x="12658" y="432"/>
                    <a:pt x="12658" y="1296"/>
                    <a:pt x="11938" y="1728"/>
                  </a:cubicBezTo>
                  <a:cubicBezTo>
                    <a:pt x="11578" y="2592"/>
                    <a:pt x="11938" y="3888"/>
                    <a:pt x="12298" y="4320"/>
                  </a:cubicBezTo>
                  <a:cubicBezTo>
                    <a:pt x="12298" y="5616"/>
                    <a:pt x="11578" y="6048"/>
                    <a:pt x="11578" y="7344"/>
                  </a:cubicBezTo>
                  <a:cubicBezTo>
                    <a:pt x="11578" y="7776"/>
                    <a:pt x="12298" y="9072"/>
                    <a:pt x="13018" y="9072"/>
                  </a:cubicBezTo>
                  <a:cubicBezTo>
                    <a:pt x="13738" y="9072"/>
                    <a:pt x="14098" y="8640"/>
                    <a:pt x="14098" y="9936"/>
                  </a:cubicBezTo>
                  <a:cubicBezTo>
                    <a:pt x="14098" y="10800"/>
                    <a:pt x="14098" y="11232"/>
                    <a:pt x="13738" y="11232"/>
                  </a:cubicBezTo>
                  <a:cubicBezTo>
                    <a:pt x="13018" y="11664"/>
                    <a:pt x="12658" y="12096"/>
                    <a:pt x="12298" y="11232"/>
                  </a:cubicBezTo>
                  <a:cubicBezTo>
                    <a:pt x="11938" y="10368"/>
                    <a:pt x="11578" y="9504"/>
                    <a:pt x="10858" y="9504"/>
                  </a:cubicBezTo>
                  <a:cubicBezTo>
                    <a:pt x="10138" y="9072"/>
                    <a:pt x="9778" y="8208"/>
                    <a:pt x="9418" y="7344"/>
                  </a:cubicBezTo>
                  <a:cubicBezTo>
                    <a:pt x="8698" y="9072"/>
                    <a:pt x="7978" y="8208"/>
                    <a:pt x="6898" y="7776"/>
                  </a:cubicBezTo>
                  <a:cubicBezTo>
                    <a:pt x="6178" y="7776"/>
                    <a:pt x="6178" y="6912"/>
                    <a:pt x="5458" y="6912"/>
                  </a:cubicBezTo>
                  <a:cubicBezTo>
                    <a:pt x="5458" y="6912"/>
                    <a:pt x="5098" y="7344"/>
                    <a:pt x="4738" y="6912"/>
                  </a:cubicBezTo>
                  <a:cubicBezTo>
                    <a:pt x="4378" y="6912"/>
                    <a:pt x="4378" y="6048"/>
                    <a:pt x="3658" y="6048"/>
                  </a:cubicBezTo>
                  <a:cubicBezTo>
                    <a:pt x="3658" y="6912"/>
                    <a:pt x="3658" y="7776"/>
                    <a:pt x="3658" y="8640"/>
                  </a:cubicBezTo>
                  <a:cubicBezTo>
                    <a:pt x="3658" y="9504"/>
                    <a:pt x="4018" y="10368"/>
                    <a:pt x="3298" y="10368"/>
                  </a:cubicBezTo>
                  <a:cubicBezTo>
                    <a:pt x="2218" y="10368"/>
                    <a:pt x="1138" y="10368"/>
                    <a:pt x="418" y="10368"/>
                  </a:cubicBezTo>
                  <a:cubicBezTo>
                    <a:pt x="58" y="10368"/>
                    <a:pt x="58" y="12096"/>
                    <a:pt x="58" y="12528"/>
                  </a:cubicBezTo>
                  <a:cubicBezTo>
                    <a:pt x="58" y="14256"/>
                    <a:pt x="-302" y="17280"/>
                    <a:pt x="778" y="18576"/>
                  </a:cubicBezTo>
                  <a:cubicBezTo>
                    <a:pt x="1138" y="19008"/>
                    <a:pt x="2218" y="20736"/>
                    <a:pt x="2578" y="20736"/>
                  </a:cubicBezTo>
                  <a:cubicBezTo>
                    <a:pt x="3298" y="20304"/>
                    <a:pt x="6538" y="20304"/>
                    <a:pt x="5458" y="21600"/>
                  </a:cubicBezTo>
                  <a:cubicBezTo>
                    <a:pt x="6178" y="21600"/>
                    <a:pt x="5818" y="21600"/>
                    <a:pt x="6178" y="21600"/>
                  </a:cubicBezTo>
                  <a:cubicBezTo>
                    <a:pt x="6898" y="21168"/>
                    <a:pt x="7258" y="21600"/>
                    <a:pt x="7618" y="21600"/>
                  </a:cubicBezTo>
                  <a:cubicBezTo>
                    <a:pt x="8698" y="21600"/>
                    <a:pt x="9418" y="21600"/>
                    <a:pt x="9778" y="20304"/>
                  </a:cubicBezTo>
                  <a:cubicBezTo>
                    <a:pt x="10138" y="19872"/>
                    <a:pt x="10498" y="19440"/>
                    <a:pt x="10858" y="19008"/>
                  </a:cubicBezTo>
                  <a:cubicBezTo>
                    <a:pt x="11218" y="18576"/>
                    <a:pt x="11938" y="18576"/>
                    <a:pt x="12298" y="17712"/>
                  </a:cubicBezTo>
                  <a:cubicBezTo>
                    <a:pt x="12658" y="17280"/>
                    <a:pt x="12658" y="16848"/>
                    <a:pt x="13018" y="16416"/>
                  </a:cubicBezTo>
                  <a:cubicBezTo>
                    <a:pt x="13738" y="16416"/>
                    <a:pt x="14458" y="16416"/>
                    <a:pt x="15178" y="16416"/>
                  </a:cubicBezTo>
                  <a:cubicBezTo>
                    <a:pt x="14818" y="15984"/>
                    <a:pt x="14818" y="15120"/>
                    <a:pt x="14818" y="15120"/>
                  </a:cubicBezTo>
                  <a:cubicBezTo>
                    <a:pt x="15538" y="14688"/>
                    <a:pt x="15898" y="14688"/>
                    <a:pt x="16258" y="14256"/>
                  </a:cubicBezTo>
                  <a:cubicBezTo>
                    <a:pt x="17338" y="13824"/>
                    <a:pt x="18778" y="13392"/>
                    <a:pt x="19858" y="12960"/>
                  </a:cubicBezTo>
                  <a:cubicBezTo>
                    <a:pt x="19498" y="12528"/>
                    <a:pt x="19498" y="12960"/>
                    <a:pt x="19858" y="12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4" name="Shape 2153">
              <a:extLst>
                <a:ext uri="{FF2B5EF4-FFF2-40B4-BE49-F238E27FC236}">
                  <a16:creationId xmlns:a16="http://schemas.microsoft.com/office/drawing/2014/main" id="{AA23CEA3-360A-86AC-9C07-31F594C0B6B2}"/>
                </a:ext>
              </a:extLst>
            </p:cNvPr>
            <p:cNvSpPr/>
            <p:nvPr/>
          </p:nvSpPr>
          <p:spPr>
            <a:xfrm>
              <a:off x="5911515" y="4318393"/>
              <a:ext cx="405230" cy="414232"/>
            </a:xfrm>
            <a:custGeom>
              <a:avLst/>
              <a:gdLst/>
              <a:ahLst/>
              <a:cxnLst>
                <a:cxn ang="0">
                  <a:pos x="wd2" y="hd2"/>
                </a:cxn>
                <a:cxn ang="5400000">
                  <a:pos x="wd2" y="hd2"/>
                </a:cxn>
                <a:cxn ang="10800000">
                  <a:pos x="wd2" y="hd2"/>
                </a:cxn>
                <a:cxn ang="16200000">
                  <a:pos x="wd2" y="hd2"/>
                </a:cxn>
              </a:cxnLst>
              <a:rect l="0" t="0" r="r" b="b"/>
              <a:pathLst>
                <a:path w="20827" h="21514" extrusionOk="0">
                  <a:moveTo>
                    <a:pt x="10854" y="1714"/>
                  </a:moveTo>
                  <a:cubicBezTo>
                    <a:pt x="10516" y="1714"/>
                    <a:pt x="10179" y="686"/>
                    <a:pt x="10179" y="686"/>
                  </a:cubicBezTo>
                  <a:cubicBezTo>
                    <a:pt x="9841" y="686"/>
                    <a:pt x="9504" y="686"/>
                    <a:pt x="9166" y="686"/>
                  </a:cubicBezTo>
                  <a:cubicBezTo>
                    <a:pt x="8154" y="686"/>
                    <a:pt x="6804" y="686"/>
                    <a:pt x="5791" y="686"/>
                  </a:cubicBezTo>
                  <a:cubicBezTo>
                    <a:pt x="4779" y="686"/>
                    <a:pt x="4104" y="686"/>
                    <a:pt x="3091" y="686"/>
                  </a:cubicBezTo>
                  <a:cubicBezTo>
                    <a:pt x="2754" y="686"/>
                    <a:pt x="2754" y="0"/>
                    <a:pt x="2079" y="0"/>
                  </a:cubicBezTo>
                  <a:cubicBezTo>
                    <a:pt x="1741" y="0"/>
                    <a:pt x="1404" y="686"/>
                    <a:pt x="1066" y="686"/>
                  </a:cubicBezTo>
                  <a:cubicBezTo>
                    <a:pt x="729" y="686"/>
                    <a:pt x="391" y="686"/>
                    <a:pt x="54" y="686"/>
                  </a:cubicBezTo>
                  <a:cubicBezTo>
                    <a:pt x="-284" y="2400"/>
                    <a:pt x="1066" y="3086"/>
                    <a:pt x="1741" y="4800"/>
                  </a:cubicBezTo>
                  <a:cubicBezTo>
                    <a:pt x="2079" y="5486"/>
                    <a:pt x="2416" y="6514"/>
                    <a:pt x="2754" y="7200"/>
                  </a:cubicBezTo>
                  <a:cubicBezTo>
                    <a:pt x="3091" y="8229"/>
                    <a:pt x="3766" y="8914"/>
                    <a:pt x="4104" y="9943"/>
                  </a:cubicBezTo>
                  <a:cubicBezTo>
                    <a:pt x="4104" y="10286"/>
                    <a:pt x="4104" y="11314"/>
                    <a:pt x="4104" y="11657"/>
                  </a:cubicBezTo>
                  <a:cubicBezTo>
                    <a:pt x="4104" y="12686"/>
                    <a:pt x="4441" y="13371"/>
                    <a:pt x="4441" y="14400"/>
                  </a:cubicBezTo>
                  <a:cubicBezTo>
                    <a:pt x="4779" y="15429"/>
                    <a:pt x="4779" y="16457"/>
                    <a:pt x="5116" y="17486"/>
                  </a:cubicBezTo>
                  <a:cubicBezTo>
                    <a:pt x="5454" y="18857"/>
                    <a:pt x="6466" y="19886"/>
                    <a:pt x="7141" y="20914"/>
                  </a:cubicBezTo>
                  <a:cubicBezTo>
                    <a:pt x="8154" y="19886"/>
                    <a:pt x="8154" y="20571"/>
                    <a:pt x="9166" y="21257"/>
                  </a:cubicBezTo>
                  <a:cubicBezTo>
                    <a:pt x="9504" y="21600"/>
                    <a:pt x="10516" y="21600"/>
                    <a:pt x="10854" y="21257"/>
                  </a:cubicBezTo>
                  <a:cubicBezTo>
                    <a:pt x="11866" y="21257"/>
                    <a:pt x="12541" y="20914"/>
                    <a:pt x="12541" y="19886"/>
                  </a:cubicBezTo>
                  <a:cubicBezTo>
                    <a:pt x="12541" y="17829"/>
                    <a:pt x="12541" y="15771"/>
                    <a:pt x="12541" y="13714"/>
                  </a:cubicBezTo>
                  <a:cubicBezTo>
                    <a:pt x="12541" y="12343"/>
                    <a:pt x="12541" y="10971"/>
                    <a:pt x="12541" y="9600"/>
                  </a:cubicBezTo>
                  <a:cubicBezTo>
                    <a:pt x="12541" y="9257"/>
                    <a:pt x="12541" y="8914"/>
                    <a:pt x="12879" y="8914"/>
                  </a:cubicBezTo>
                  <a:cubicBezTo>
                    <a:pt x="12879" y="8914"/>
                    <a:pt x="14229" y="8914"/>
                    <a:pt x="14229" y="8914"/>
                  </a:cubicBezTo>
                  <a:cubicBezTo>
                    <a:pt x="14229" y="6857"/>
                    <a:pt x="14229" y="4457"/>
                    <a:pt x="14229" y="2400"/>
                  </a:cubicBezTo>
                  <a:cubicBezTo>
                    <a:pt x="15241" y="2743"/>
                    <a:pt x="15916" y="2057"/>
                    <a:pt x="16928" y="2057"/>
                  </a:cubicBezTo>
                  <a:cubicBezTo>
                    <a:pt x="16928" y="1714"/>
                    <a:pt x="17266" y="1714"/>
                    <a:pt x="17603" y="1714"/>
                  </a:cubicBezTo>
                  <a:cubicBezTo>
                    <a:pt x="17603" y="1714"/>
                    <a:pt x="18279" y="2743"/>
                    <a:pt x="18616" y="2743"/>
                  </a:cubicBezTo>
                  <a:cubicBezTo>
                    <a:pt x="18954" y="2400"/>
                    <a:pt x="18616" y="2057"/>
                    <a:pt x="19291" y="2057"/>
                  </a:cubicBezTo>
                  <a:cubicBezTo>
                    <a:pt x="19628" y="2057"/>
                    <a:pt x="19966" y="1714"/>
                    <a:pt x="20641" y="1714"/>
                  </a:cubicBezTo>
                  <a:cubicBezTo>
                    <a:pt x="21316" y="1371"/>
                    <a:pt x="19966" y="686"/>
                    <a:pt x="19628" y="686"/>
                  </a:cubicBezTo>
                  <a:cubicBezTo>
                    <a:pt x="17941" y="686"/>
                    <a:pt x="16591" y="1714"/>
                    <a:pt x="14904" y="1714"/>
                  </a:cubicBezTo>
                  <a:cubicBezTo>
                    <a:pt x="13553" y="1714"/>
                    <a:pt x="12204" y="1714"/>
                    <a:pt x="10854" y="171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5" name="Shape 2154">
              <a:extLst>
                <a:ext uri="{FF2B5EF4-FFF2-40B4-BE49-F238E27FC236}">
                  <a16:creationId xmlns:a16="http://schemas.microsoft.com/office/drawing/2014/main" id="{9A71416E-5EF8-9007-7EC3-35C4488349A4}"/>
                </a:ext>
              </a:extLst>
            </p:cNvPr>
            <p:cNvSpPr/>
            <p:nvPr/>
          </p:nvSpPr>
          <p:spPr>
            <a:xfrm>
              <a:off x="5920885" y="3575929"/>
              <a:ext cx="594749" cy="623325"/>
            </a:xfrm>
            <a:custGeom>
              <a:avLst/>
              <a:gdLst/>
              <a:ahLst/>
              <a:cxnLst>
                <a:cxn ang="0">
                  <a:pos x="wd2" y="hd2"/>
                </a:cxn>
                <a:cxn ang="5400000">
                  <a:pos x="wd2" y="hd2"/>
                </a:cxn>
                <a:cxn ang="10800000">
                  <a:pos x="wd2" y="hd2"/>
                </a:cxn>
                <a:cxn ang="16200000">
                  <a:pos x="wd2" y="hd2"/>
                </a:cxn>
              </a:cxnLst>
              <a:rect l="0" t="0" r="r" b="b"/>
              <a:pathLst>
                <a:path w="21409" h="21467" extrusionOk="0">
                  <a:moveTo>
                    <a:pt x="21231" y="3278"/>
                  </a:moveTo>
                  <a:cubicBezTo>
                    <a:pt x="20993" y="3050"/>
                    <a:pt x="20993" y="2595"/>
                    <a:pt x="20993" y="2141"/>
                  </a:cubicBezTo>
                  <a:cubicBezTo>
                    <a:pt x="20993" y="1913"/>
                    <a:pt x="20519" y="1686"/>
                    <a:pt x="20281" y="1459"/>
                  </a:cubicBezTo>
                  <a:cubicBezTo>
                    <a:pt x="20281" y="1231"/>
                    <a:pt x="19806" y="776"/>
                    <a:pt x="19569" y="776"/>
                  </a:cubicBezTo>
                  <a:cubicBezTo>
                    <a:pt x="19332" y="776"/>
                    <a:pt x="19332" y="1231"/>
                    <a:pt x="18857" y="1004"/>
                  </a:cubicBezTo>
                  <a:cubicBezTo>
                    <a:pt x="18382" y="776"/>
                    <a:pt x="18620" y="1004"/>
                    <a:pt x="18145" y="1231"/>
                  </a:cubicBezTo>
                  <a:cubicBezTo>
                    <a:pt x="18145" y="1231"/>
                    <a:pt x="17670" y="1004"/>
                    <a:pt x="17670" y="776"/>
                  </a:cubicBezTo>
                  <a:cubicBezTo>
                    <a:pt x="17433" y="549"/>
                    <a:pt x="17195" y="322"/>
                    <a:pt x="16958" y="94"/>
                  </a:cubicBezTo>
                  <a:cubicBezTo>
                    <a:pt x="16721" y="-133"/>
                    <a:pt x="16483" y="322"/>
                    <a:pt x="16246" y="322"/>
                  </a:cubicBezTo>
                  <a:cubicBezTo>
                    <a:pt x="16009" y="549"/>
                    <a:pt x="15534" y="322"/>
                    <a:pt x="15297" y="94"/>
                  </a:cubicBezTo>
                  <a:cubicBezTo>
                    <a:pt x="14822" y="-133"/>
                    <a:pt x="14822" y="94"/>
                    <a:pt x="14347" y="322"/>
                  </a:cubicBezTo>
                  <a:cubicBezTo>
                    <a:pt x="14110" y="549"/>
                    <a:pt x="13635" y="322"/>
                    <a:pt x="13398" y="322"/>
                  </a:cubicBezTo>
                  <a:cubicBezTo>
                    <a:pt x="13160" y="549"/>
                    <a:pt x="12448" y="549"/>
                    <a:pt x="12211" y="549"/>
                  </a:cubicBezTo>
                  <a:cubicBezTo>
                    <a:pt x="11499" y="94"/>
                    <a:pt x="11973" y="1231"/>
                    <a:pt x="11261" y="1231"/>
                  </a:cubicBezTo>
                  <a:cubicBezTo>
                    <a:pt x="10787" y="1459"/>
                    <a:pt x="9837" y="1231"/>
                    <a:pt x="9363" y="1004"/>
                  </a:cubicBezTo>
                  <a:cubicBezTo>
                    <a:pt x="8888" y="776"/>
                    <a:pt x="8650" y="322"/>
                    <a:pt x="8176" y="322"/>
                  </a:cubicBezTo>
                  <a:cubicBezTo>
                    <a:pt x="7938" y="94"/>
                    <a:pt x="7464" y="549"/>
                    <a:pt x="7226" y="776"/>
                  </a:cubicBezTo>
                  <a:cubicBezTo>
                    <a:pt x="6752" y="1231"/>
                    <a:pt x="7226" y="1913"/>
                    <a:pt x="6989" y="2595"/>
                  </a:cubicBezTo>
                  <a:cubicBezTo>
                    <a:pt x="6277" y="3732"/>
                    <a:pt x="6277" y="5096"/>
                    <a:pt x="5565" y="6006"/>
                  </a:cubicBezTo>
                  <a:cubicBezTo>
                    <a:pt x="5090" y="6688"/>
                    <a:pt x="4853" y="7143"/>
                    <a:pt x="4378" y="7825"/>
                  </a:cubicBezTo>
                  <a:cubicBezTo>
                    <a:pt x="4141" y="8280"/>
                    <a:pt x="4141" y="8734"/>
                    <a:pt x="4141" y="9189"/>
                  </a:cubicBezTo>
                  <a:cubicBezTo>
                    <a:pt x="4141" y="9871"/>
                    <a:pt x="4378" y="10326"/>
                    <a:pt x="3903" y="10781"/>
                  </a:cubicBezTo>
                  <a:cubicBezTo>
                    <a:pt x="3666" y="10781"/>
                    <a:pt x="2479" y="11463"/>
                    <a:pt x="2479" y="11463"/>
                  </a:cubicBezTo>
                  <a:cubicBezTo>
                    <a:pt x="2242" y="11463"/>
                    <a:pt x="2716" y="10781"/>
                    <a:pt x="2242" y="11008"/>
                  </a:cubicBezTo>
                  <a:cubicBezTo>
                    <a:pt x="1530" y="11463"/>
                    <a:pt x="1530" y="11918"/>
                    <a:pt x="1055" y="11235"/>
                  </a:cubicBezTo>
                  <a:cubicBezTo>
                    <a:pt x="817" y="11463"/>
                    <a:pt x="343" y="11918"/>
                    <a:pt x="343" y="12372"/>
                  </a:cubicBezTo>
                  <a:cubicBezTo>
                    <a:pt x="343" y="12372"/>
                    <a:pt x="343" y="12600"/>
                    <a:pt x="105" y="12600"/>
                  </a:cubicBezTo>
                  <a:cubicBezTo>
                    <a:pt x="-132" y="12827"/>
                    <a:pt x="105" y="13054"/>
                    <a:pt x="105" y="13282"/>
                  </a:cubicBezTo>
                  <a:cubicBezTo>
                    <a:pt x="1055" y="12600"/>
                    <a:pt x="1767" y="12827"/>
                    <a:pt x="2954" y="12827"/>
                  </a:cubicBezTo>
                  <a:cubicBezTo>
                    <a:pt x="3428" y="12827"/>
                    <a:pt x="3666" y="12827"/>
                    <a:pt x="4141" y="12827"/>
                  </a:cubicBezTo>
                  <a:cubicBezTo>
                    <a:pt x="4615" y="12827"/>
                    <a:pt x="4853" y="13509"/>
                    <a:pt x="5090" y="13964"/>
                  </a:cubicBezTo>
                  <a:cubicBezTo>
                    <a:pt x="5327" y="14419"/>
                    <a:pt x="5565" y="15101"/>
                    <a:pt x="6039" y="15328"/>
                  </a:cubicBezTo>
                  <a:cubicBezTo>
                    <a:pt x="6277" y="15555"/>
                    <a:pt x="7226" y="15328"/>
                    <a:pt x="7701" y="15101"/>
                  </a:cubicBezTo>
                  <a:cubicBezTo>
                    <a:pt x="7938" y="15101"/>
                    <a:pt x="7938" y="14419"/>
                    <a:pt x="8176" y="14191"/>
                  </a:cubicBezTo>
                  <a:cubicBezTo>
                    <a:pt x="8176" y="13736"/>
                    <a:pt x="8888" y="13964"/>
                    <a:pt x="9125" y="13964"/>
                  </a:cubicBezTo>
                  <a:cubicBezTo>
                    <a:pt x="9125" y="14419"/>
                    <a:pt x="9125" y="14419"/>
                    <a:pt x="9600" y="14419"/>
                  </a:cubicBezTo>
                  <a:cubicBezTo>
                    <a:pt x="9837" y="14419"/>
                    <a:pt x="10549" y="14191"/>
                    <a:pt x="10549" y="14646"/>
                  </a:cubicBezTo>
                  <a:cubicBezTo>
                    <a:pt x="10549" y="15101"/>
                    <a:pt x="10787" y="15328"/>
                    <a:pt x="10787" y="15783"/>
                  </a:cubicBezTo>
                  <a:cubicBezTo>
                    <a:pt x="10787" y="16010"/>
                    <a:pt x="10787" y="16238"/>
                    <a:pt x="10549" y="16692"/>
                  </a:cubicBezTo>
                  <a:cubicBezTo>
                    <a:pt x="10549" y="16920"/>
                    <a:pt x="10787" y="17374"/>
                    <a:pt x="11024" y="17602"/>
                  </a:cubicBezTo>
                  <a:cubicBezTo>
                    <a:pt x="11261" y="17829"/>
                    <a:pt x="11024" y="18284"/>
                    <a:pt x="11024" y="18511"/>
                  </a:cubicBezTo>
                  <a:cubicBezTo>
                    <a:pt x="11024" y="19193"/>
                    <a:pt x="12211" y="18511"/>
                    <a:pt x="12448" y="18511"/>
                  </a:cubicBezTo>
                  <a:cubicBezTo>
                    <a:pt x="12923" y="18511"/>
                    <a:pt x="13160" y="18511"/>
                    <a:pt x="13398" y="18739"/>
                  </a:cubicBezTo>
                  <a:cubicBezTo>
                    <a:pt x="13872" y="19193"/>
                    <a:pt x="13635" y="18966"/>
                    <a:pt x="14110" y="18966"/>
                  </a:cubicBezTo>
                  <a:cubicBezTo>
                    <a:pt x="14584" y="18966"/>
                    <a:pt x="14584" y="19193"/>
                    <a:pt x="14822" y="19421"/>
                  </a:cubicBezTo>
                  <a:cubicBezTo>
                    <a:pt x="15059" y="19421"/>
                    <a:pt x="15297" y="19648"/>
                    <a:pt x="15534" y="19648"/>
                  </a:cubicBezTo>
                  <a:cubicBezTo>
                    <a:pt x="16246" y="19875"/>
                    <a:pt x="16483" y="19875"/>
                    <a:pt x="16721" y="19193"/>
                  </a:cubicBezTo>
                  <a:cubicBezTo>
                    <a:pt x="16958" y="19875"/>
                    <a:pt x="17195" y="20103"/>
                    <a:pt x="17908" y="20330"/>
                  </a:cubicBezTo>
                  <a:cubicBezTo>
                    <a:pt x="18382" y="20558"/>
                    <a:pt x="18382" y="21240"/>
                    <a:pt x="18857" y="21467"/>
                  </a:cubicBezTo>
                  <a:cubicBezTo>
                    <a:pt x="18857" y="21467"/>
                    <a:pt x="19806" y="21240"/>
                    <a:pt x="19806" y="21240"/>
                  </a:cubicBezTo>
                  <a:cubicBezTo>
                    <a:pt x="19806" y="20785"/>
                    <a:pt x="20044" y="19875"/>
                    <a:pt x="19569" y="20103"/>
                  </a:cubicBezTo>
                  <a:cubicBezTo>
                    <a:pt x="18857" y="20330"/>
                    <a:pt x="18382" y="19875"/>
                    <a:pt x="18145" y="19193"/>
                  </a:cubicBezTo>
                  <a:cubicBezTo>
                    <a:pt x="18145" y="18739"/>
                    <a:pt x="18620" y="18056"/>
                    <a:pt x="18382" y="17374"/>
                  </a:cubicBezTo>
                  <a:cubicBezTo>
                    <a:pt x="18382" y="17147"/>
                    <a:pt x="18145" y="16692"/>
                    <a:pt x="18382" y="16465"/>
                  </a:cubicBezTo>
                  <a:cubicBezTo>
                    <a:pt x="18382" y="16465"/>
                    <a:pt x="18382" y="16238"/>
                    <a:pt x="18620" y="16238"/>
                  </a:cubicBezTo>
                  <a:cubicBezTo>
                    <a:pt x="18857" y="16238"/>
                    <a:pt x="18620" y="15783"/>
                    <a:pt x="18857" y="15783"/>
                  </a:cubicBezTo>
                  <a:cubicBezTo>
                    <a:pt x="19094" y="15328"/>
                    <a:pt x="20281" y="15328"/>
                    <a:pt x="20519" y="15328"/>
                  </a:cubicBezTo>
                  <a:cubicBezTo>
                    <a:pt x="20044" y="15101"/>
                    <a:pt x="20281" y="14419"/>
                    <a:pt x="19806" y="14191"/>
                  </a:cubicBezTo>
                  <a:cubicBezTo>
                    <a:pt x="19569" y="13964"/>
                    <a:pt x="19332" y="13736"/>
                    <a:pt x="19332" y="13509"/>
                  </a:cubicBezTo>
                  <a:cubicBezTo>
                    <a:pt x="19332" y="13054"/>
                    <a:pt x="19332" y="12600"/>
                    <a:pt x="19094" y="12372"/>
                  </a:cubicBezTo>
                  <a:cubicBezTo>
                    <a:pt x="19094" y="11918"/>
                    <a:pt x="18857" y="11690"/>
                    <a:pt x="18857" y="11235"/>
                  </a:cubicBezTo>
                  <a:cubicBezTo>
                    <a:pt x="18857" y="11008"/>
                    <a:pt x="18857" y="9871"/>
                    <a:pt x="19094" y="10099"/>
                  </a:cubicBezTo>
                  <a:cubicBezTo>
                    <a:pt x="18857" y="9189"/>
                    <a:pt x="18857" y="8734"/>
                    <a:pt x="19332" y="7825"/>
                  </a:cubicBezTo>
                  <a:cubicBezTo>
                    <a:pt x="19569" y="7143"/>
                    <a:pt x="19569" y="6915"/>
                    <a:pt x="19569" y="6233"/>
                  </a:cubicBezTo>
                  <a:cubicBezTo>
                    <a:pt x="19569" y="5551"/>
                    <a:pt x="20044" y="5096"/>
                    <a:pt x="20519" y="4642"/>
                  </a:cubicBezTo>
                  <a:cubicBezTo>
                    <a:pt x="20756" y="4414"/>
                    <a:pt x="20993" y="4187"/>
                    <a:pt x="21231" y="3960"/>
                  </a:cubicBezTo>
                  <a:cubicBezTo>
                    <a:pt x="21468" y="3732"/>
                    <a:pt x="21468" y="3732"/>
                    <a:pt x="21231" y="3278"/>
                  </a:cubicBezTo>
                  <a:cubicBezTo>
                    <a:pt x="20993" y="3278"/>
                    <a:pt x="21468" y="3505"/>
                    <a:pt x="21231" y="327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6" name="Shape 2155">
              <a:extLst>
                <a:ext uri="{FF2B5EF4-FFF2-40B4-BE49-F238E27FC236}">
                  <a16:creationId xmlns:a16="http://schemas.microsoft.com/office/drawing/2014/main" id="{25C82E95-6FEC-271B-9940-DF3EFFDB1E0A}"/>
                </a:ext>
              </a:extLst>
            </p:cNvPr>
            <p:cNvSpPr/>
            <p:nvPr/>
          </p:nvSpPr>
          <p:spPr>
            <a:xfrm>
              <a:off x="5910477" y="3947931"/>
              <a:ext cx="370824" cy="405063"/>
            </a:xfrm>
            <a:custGeom>
              <a:avLst/>
              <a:gdLst/>
              <a:ahLst/>
              <a:cxnLst>
                <a:cxn ang="0">
                  <a:pos x="wd2" y="hd2"/>
                </a:cxn>
                <a:cxn ang="5400000">
                  <a:pos x="wd2" y="hd2"/>
                </a:cxn>
                <a:cxn ang="10800000">
                  <a:pos x="wd2" y="hd2"/>
                </a:cxn>
                <a:cxn ang="16200000">
                  <a:pos x="wd2" y="hd2"/>
                </a:cxn>
              </a:cxnLst>
              <a:rect l="0" t="0" r="r" b="b"/>
              <a:pathLst>
                <a:path w="21600" h="21038" extrusionOk="0">
                  <a:moveTo>
                    <a:pt x="19671" y="9000"/>
                  </a:moveTo>
                  <a:cubicBezTo>
                    <a:pt x="18900" y="9000"/>
                    <a:pt x="18514" y="9343"/>
                    <a:pt x="18514" y="8657"/>
                  </a:cubicBezTo>
                  <a:cubicBezTo>
                    <a:pt x="18514" y="7972"/>
                    <a:pt x="18514" y="7629"/>
                    <a:pt x="18129" y="6943"/>
                  </a:cubicBezTo>
                  <a:cubicBezTo>
                    <a:pt x="17357" y="5914"/>
                    <a:pt x="18514" y="4886"/>
                    <a:pt x="17743" y="3857"/>
                  </a:cubicBezTo>
                  <a:cubicBezTo>
                    <a:pt x="17743" y="3514"/>
                    <a:pt x="17743" y="2486"/>
                    <a:pt x="17743" y="2486"/>
                  </a:cubicBezTo>
                  <a:cubicBezTo>
                    <a:pt x="17743" y="2486"/>
                    <a:pt x="16586" y="2486"/>
                    <a:pt x="16586" y="2486"/>
                  </a:cubicBezTo>
                  <a:cubicBezTo>
                    <a:pt x="15429" y="2486"/>
                    <a:pt x="15429" y="2829"/>
                    <a:pt x="15429" y="1800"/>
                  </a:cubicBezTo>
                  <a:cubicBezTo>
                    <a:pt x="14271" y="1800"/>
                    <a:pt x="13886" y="1457"/>
                    <a:pt x="13500" y="2486"/>
                  </a:cubicBezTo>
                  <a:cubicBezTo>
                    <a:pt x="13500" y="2486"/>
                    <a:pt x="13500" y="3514"/>
                    <a:pt x="13114" y="3514"/>
                  </a:cubicBezTo>
                  <a:cubicBezTo>
                    <a:pt x="12729" y="3857"/>
                    <a:pt x="11957" y="3857"/>
                    <a:pt x="11186" y="3857"/>
                  </a:cubicBezTo>
                  <a:cubicBezTo>
                    <a:pt x="8486" y="4200"/>
                    <a:pt x="9257" y="86"/>
                    <a:pt x="6943" y="86"/>
                  </a:cubicBezTo>
                  <a:cubicBezTo>
                    <a:pt x="5014" y="86"/>
                    <a:pt x="2700" y="-257"/>
                    <a:pt x="1157" y="429"/>
                  </a:cubicBezTo>
                  <a:cubicBezTo>
                    <a:pt x="386" y="1114"/>
                    <a:pt x="2314" y="3172"/>
                    <a:pt x="2314" y="3857"/>
                  </a:cubicBezTo>
                  <a:cubicBezTo>
                    <a:pt x="2700" y="4200"/>
                    <a:pt x="2700" y="4886"/>
                    <a:pt x="2314" y="5229"/>
                  </a:cubicBezTo>
                  <a:cubicBezTo>
                    <a:pt x="1543" y="5572"/>
                    <a:pt x="2314" y="6257"/>
                    <a:pt x="2314" y="6600"/>
                  </a:cubicBezTo>
                  <a:cubicBezTo>
                    <a:pt x="3471" y="7972"/>
                    <a:pt x="4243" y="9686"/>
                    <a:pt x="3086" y="11057"/>
                  </a:cubicBezTo>
                  <a:cubicBezTo>
                    <a:pt x="2314" y="12086"/>
                    <a:pt x="1543" y="12772"/>
                    <a:pt x="1157" y="13800"/>
                  </a:cubicBezTo>
                  <a:cubicBezTo>
                    <a:pt x="771" y="14829"/>
                    <a:pt x="386" y="15857"/>
                    <a:pt x="0" y="16886"/>
                  </a:cubicBezTo>
                  <a:cubicBezTo>
                    <a:pt x="0" y="17572"/>
                    <a:pt x="0" y="18257"/>
                    <a:pt x="0" y="18600"/>
                  </a:cubicBezTo>
                  <a:cubicBezTo>
                    <a:pt x="0" y="18943"/>
                    <a:pt x="0" y="19629"/>
                    <a:pt x="0" y="19972"/>
                  </a:cubicBezTo>
                  <a:cubicBezTo>
                    <a:pt x="386" y="19972"/>
                    <a:pt x="771" y="19972"/>
                    <a:pt x="1157" y="19972"/>
                  </a:cubicBezTo>
                  <a:cubicBezTo>
                    <a:pt x="1929" y="19972"/>
                    <a:pt x="1929" y="18943"/>
                    <a:pt x="3086" y="19629"/>
                  </a:cubicBezTo>
                  <a:cubicBezTo>
                    <a:pt x="3086" y="19629"/>
                    <a:pt x="3471" y="19972"/>
                    <a:pt x="3471" y="19972"/>
                  </a:cubicBezTo>
                  <a:cubicBezTo>
                    <a:pt x="4629" y="19972"/>
                    <a:pt x="5400" y="19972"/>
                    <a:pt x="6171" y="19972"/>
                  </a:cubicBezTo>
                  <a:cubicBezTo>
                    <a:pt x="7329" y="19972"/>
                    <a:pt x="8486" y="19972"/>
                    <a:pt x="9643" y="19972"/>
                  </a:cubicBezTo>
                  <a:cubicBezTo>
                    <a:pt x="10029" y="19972"/>
                    <a:pt x="11186" y="19972"/>
                    <a:pt x="11571" y="19972"/>
                  </a:cubicBezTo>
                  <a:cubicBezTo>
                    <a:pt x="12343" y="21343"/>
                    <a:pt x="13886" y="21000"/>
                    <a:pt x="15043" y="21000"/>
                  </a:cubicBezTo>
                  <a:cubicBezTo>
                    <a:pt x="16971" y="21000"/>
                    <a:pt x="18514" y="20657"/>
                    <a:pt x="20443" y="20314"/>
                  </a:cubicBezTo>
                  <a:cubicBezTo>
                    <a:pt x="19286" y="19286"/>
                    <a:pt x="17743" y="18600"/>
                    <a:pt x="17743" y="17229"/>
                  </a:cubicBezTo>
                  <a:cubicBezTo>
                    <a:pt x="17743" y="15514"/>
                    <a:pt x="17743" y="13800"/>
                    <a:pt x="17743" y="12429"/>
                  </a:cubicBezTo>
                  <a:cubicBezTo>
                    <a:pt x="17743" y="12086"/>
                    <a:pt x="21600" y="12772"/>
                    <a:pt x="21600" y="11743"/>
                  </a:cubicBezTo>
                  <a:cubicBezTo>
                    <a:pt x="21600" y="11057"/>
                    <a:pt x="21600" y="10029"/>
                    <a:pt x="21600" y="9000"/>
                  </a:cubicBezTo>
                  <a:cubicBezTo>
                    <a:pt x="21600" y="7972"/>
                    <a:pt x="20443" y="9000"/>
                    <a:pt x="19671" y="9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7" name="Shape 2156">
              <a:extLst>
                <a:ext uri="{FF2B5EF4-FFF2-40B4-BE49-F238E27FC236}">
                  <a16:creationId xmlns:a16="http://schemas.microsoft.com/office/drawing/2014/main" id="{CD4AB412-B088-74C5-80FC-EE4E078663DB}"/>
                </a:ext>
              </a:extLst>
            </p:cNvPr>
            <p:cNvSpPr/>
            <p:nvPr/>
          </p:nvSpPr>
          <p:spPr>
            <a:xfrm>
              <a:off x="6152367" y="4351833"/>
              <a:ext cx="293737" cy="303762"/>
            </a:xfrm>
            <a:custGeom>
              <a:avLst/>
              <a:gdLst/>
              <a:ahLst/>
              <a:cxnLst>
                <a:cxn ang="0">
                  <a:pos x="wd2" y="hd2"/>
                </a:cxn>
                <a:cxn ang="5400000">
                  <a:pos x="wd2" y="hd2"/>
                </a:cxn>
                <a:cxn ang="10800000">
                  <a:pos x="wd2" y="hd2"/>
                </a:cxn>
                <a:cxn ang="16200000">
                  <a:pos x="wd2" y="hd2"/>
                </a:cxn>
              </a:cxnLst>
              <a:rect l="0" t="0" r="r" b="b"/>
              <a:pathLst>
                <a:path w="20912" h="20700" extrusionOk="0">
                  <a:moveTo>
                    <a:pt x="11478" y="0"/>
                  </a:moveTo>
                  <a:cubicBezTo>
                    <a:pt x="11009" y="450"/>
                    <a:pt x="10069" y="450"/>
                    <a:pt x="9600" y="450"/>
                  </a:cubicBezTo>
                  <a:cubicBezTo>
                    <a:pt x="8661" y="450"/>
                    <a:pt x="9130" y="1800"/>
                    <a:pt x="8191" y="900"/>
                  </a:cubicBezTo>
                  <a:cubicBezTo>
                    <a:pt x="6782" y="-900"/>
                    <a:pt x="4435" y="1350"/>
                    <a:pt x="2556" y="900"/>
                  </a:cubicBezTo>
                  <a:cubicBezTo>
                    <a:pt x="2556" y="3150"/>
                    <a:pt x="2556" y="5400"/>
                    <a:pt x="2556" y="7200"/>
                  </a:cubicBezTo>
                  <a:cubicBezTo>
                    <a:pt x="2556" y="7650"/>
                    <a:pt x="3026" y="9450"/>
                    <a:pt x="2556" y="9450"/>
                  </a:cubicBezTo>
                  <a:cubicBezTo>
                    <a:pt x="2087" y="9900"/>
                    <a:pt x="209" y="9000"/>
                    <a:pt x="209" y="9900"/>
                  </a:cubicBezTo>
                  <a:cubicBezTo>
                    <a:pt x="209" y="10800"/>
                    <a:pt x="209" y="12150"/>
                    <a:pt x="209" y="13050"/>
                  </a:cubicBezTo>
                  <a:cubicBezTo>
                    <a:pt x="209" y="13950"/>
                    <a:pt x="-261" y="15300"/>
                    <a:pt x="209" y="16200"/>
                  </a:cubicBezTo>
                  <a:cubicBezTo>
                    <a:pt x="2087" y="16650"/>
                    <a:pt x="2556" y="18900"/>
                    <a:pt x="1617" y="20250"/>
                  </a:cubicBezTo>
                  <a:cubicBezTo>
                    <a:pt x="1617" y="20700"/>
                    <a:pt x="3496" y="20700"/>
                    <a:pt x="3496" y="20700"/>
                  </a:cubicBezTo>
                  <a:cubicBezTo>
                    <a:pt x="4435" y="20700"/>
                    <a:pt x="4904" y="19800"/>
                    <a:pt x="5843" y="18900"/>
                  </a:cubicBezTo>
                  <a:cubicBezTo>
                    <a:pt x="6782" y="18000"/>
                    <a:pt x="6782" y="16650"/>
                    <a:pt x="8661" y="17550"/>
                  </a:cubicBezTo>
                  <a:cubicBezTo>
                    <a:pt x="10539" y="18450"/>
                    <a:pt x="12417" y="18900"/>
                    <a:pt x="13356" y="16650"/>
                  </a:cubicBezTo>
                  <a:cubicBezTo>
                    <a:pt x="13356" y="16200"/>
                    <a:pt x="13356" y="15750"/>
                    <a:pt x="14296" y="15750"/>
                  </a:cubicBezTo>
                  <a:cubicBezTo>
                    <a:pt x="15235" y="15750"/>
                    <a:pt x="15704" y="14850"/>
                    <a:pt x="15704" y="14400"/>
                  </a:cubicBezTo>
                  <a:cubicBezTo>
                    <a:pt x="16643" y="13050"/>
                    <a:pt x="18522" y="11700"/>
                    <a:pt x="19930" y="10800"/>
                  </a:cubicBezTo>
                  <a:cubicBezTo>
                    <a:pt x="20869" y="10350"/>
                    <a:pt x="21339" y="9900"/>
                    <a:pt x="20400" y="9000"/>
                  </a:cubicBezTo>
                  <a:cubicBezTo>
                    <a:pt x="19930" y="8550"/>
                    <a:pt x="18522" y="9000"/>
                    <a:pt x="18522" y="8550"/>
                  </a:cubicBezTo>
                  <a:cubicBezTo>
                    <a:pt x="18052" y="8100"/>
                    <a:pt x="17582" y="7650"/>
                    <a:pt x="17582" y="6750"/>
                  </a:cubicBezTo>
                  <a:cubicBezTo>
                    <a:pt x="17582" y="6750"/>
                    <a:pt x="18052" y="6300"/>
                    <a:pt x="18052" y="5850"/>
                  </a:cubicBezTo>
                  <a:cubicBezTo>
                    <a:pt x="17582" y="5850"/>
                    <a:pt x="17113" y="5850"/>
                    <a:pt x="16643" y="5400"/>
                  </a:cubicBezTo>
                  <a:cubicBezTo>
                    <a:pt x="16643" y="5400"/>
                    <a:pt x="17113" y="4950"/>
                    <a:pt x="16643" y="4950"/>
                  </a:cubicBezTo>
                  <a:cubicBezTo>
                    <a:pt x="16174" y="4950"/>
                    <a:pt x="16174" y="4500"/>
                    <a:pt x="15704" y="4500"/>
                  </a:cubicBezTo>
                  <a:cubicBezTo>
                    <a:pt x="14765" y="4050"/>
                    <a:pt x="14296" y="3600"/>
                    <a:pt x="13826" y="2250"/>
                  </a:cubicBezTo>
                  <a:cubicBezTo>
                    <a:pt x="13826" y="1800"/>
                    <a:pt x="12417" y="0"/>
                    <a:pt x="11478" y="0"/>
                  </a:cubicBezTo>
                  <a:cubicBezTo>
                    <a:pt x="11478" y="0"/>
                    <a:pt x="11948" y="0"/>
                    <a:pt x="11478"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8" name="Shape 2157">
              <a:extLst>
                <a:ext uri="{FF2B5EF4-FFF2-40B4-BE49-F238E27FC236}">
                  <a16:creationId xmlns:a16="http://schemas.microsoft.com/office/drawing/2014/main" id="{E8805F41-2F9D-4EC7-AE9F-D6F1B2E017E0}"/>
                </a:ext>
              </a:extLst>
            </p:cNvPr>
            <p:cNvSpPr/>
            <p:nvPr/>
          </p:nvSpPr>
          <p:spPr>
            <a:xfrm>
              <a:off x="6322359" y="4273432"/>
              <a:ext cx="248859" cy="229297"/>
            </a:xfrm>
            <a:custGeom>
              <a:avLst/>
              <a:gdLst/>
              <a:ahLst/>
              <a:cxnLst>
                <a:cxn ang="0">
                  <a:pos x="wd2" y="hd2"/>
                </a:cxn>
                <a:cxn ang="5400000">
                  <a:pos x="wd2" y="hd2"/>
                </a:cxn>
                <a:cxn ang="10800000">
                  <a:pos x="wd2" y="hd2"/>
                </a:cxn>
                <a:cxn ang="16200000">
                  <a:pos x="wd2" y="hd2"/>
                </a:cxn>
              </a:cxnLst>
              <a:rect l="0" t="0" r="r" b="b"/>
              <a:pathLst>
                <a:path w="20798" h="21600" extrusionOk="0">
                  <a:moveTo>
                    <a:pt x="20798" y="13577"/>
                  </a:moveTo>
                  <a:cubicBezTo>
                    <a:pt x="20798" y="12960"/>
                    <a:pt x="20244" y="11726"/>
                    <a:pt x="20244" y="11109"/>
                  </a:cubicBezTo>
                  <a:cubicBezTo>
                    <a:pt x="20244" y="9874"/>
                    <a:pt x="20798" y="9257"/>
                    <a:pt x="20798" y="8640"/>
                  </a:cubicBezTo>
                  <a:cubicBezTo>
                    <a:pt x="20798" y="6789"/>
                    <a:pt x="20798" y="5554"/>
                    <a:pt x="20244" y="4320"/>
                  </a:cubicBezTo>
                  <a:cubicBezTo>
                    <a:pt x="20244" y="2469"/>
                    <a:pt x="15260" y="1234"/>
                    <a:pt x="14152" y="1234"/>
                  </a:cubicBezTo>
                  <a:cubicBezTo>
                    <a:pt x="14152" y="0"/>
                    <a:pt x="14152" y="0"/>
                    <a:pt x="12490" y="0"/>
                  </a:cubicBezTo>
                  <a:cubicBezTo>
                    <a:pt x="10829" y="0"/>
                    <a:pt x="10829" y="617"/>
                    <a:pt x="9721" y="1851"/>
                  </a:cubicBezTo>
                  <a:cubicBezTo>
                    <a:pt x="9167" y="3086"/>
                    <a:pt x="7506" y="3703"/>
                    <a:pt x="6398" y="4320"/>
                  </a:cubicBezTo>
                  <a:cubicBezTo>
                    <a:pt x="5844" y="5554"/>
                    <a:pt x="5290" y="7406"/>
                    <a:pt x="4183" y="7406"/>
                  </a:cubicBezTo>
                  <a:cubicBezTo>
                    <a:pt x="3075" y="7406"/>
                    <a:pt x="1967" y="6789"/>
                    <a:pt x="306" y="7406"/>
                  </a:cubicBezTo>
                  <a:cubicBezTo>
                    <a:pt x="-802" y="8023"/>
                    <a:pt x="1413" y="9257"/>
                    <a:pt x="1967" y="9874"/>
                  </a:cubicBezTo>
                  <a:cubicBezTo>
                    <a:pt x="2521" y="11109"/>
                    <a:pt x="2521" y="12343"/>
                    <a:pt x="3629" y="12960"/>
                  </a:cubicBezTo>
                  <a:cubicBezTo>
                    <a:pt x="4183" y="13577"/>
                    <a:pt x="4736" y="14194"/>
                    <a:pt x="5290" y="14194"/>
                  </a:cubicBezTo>
                  <a:cubicBezTo>
                    <a:pt x="5844" y="14194"/>
                    <a:pt x="5290" y="14811"/>
                    <a:pt x="5290" y="14811"/>
                  </a:cubicBezTo>
                  <a:cubicBezTo>
                    <a:pt x="5844" y="14811"/>
                    <a:pt x="6398" y="15429"/>
                    <a:pt x="6952" y="15429"/>
                  </a:cubicBezTo>
                  <a:cubicBezTo>
                    <a:pt x="6952" y="16046"/>
                    <a:pt x="6398" y="16663"/>
                    <a:pt x="6398" y="17280"/>
                  </a:cubicBezTo>
                  <a:cubicBezTo>
                    <a:pt x="6398" y="17897"/>
                    <a:pt x="6952" y="19131"/>
                    <a:pt x="7506" y="19131"/>
                  </a:cubicBezTo>
                  <a:cubicBezTo>
                    <a:pt x="9167" y="19131"/>
                    <a:pt x="9721" y="19131"/>
                    <a:pt x="10275" y="20983"/>
                  </a:cubicBezTo>
                  <a:cubicBezTo>
                    <a:pt x="10829" y="21600"/>
                    <a:pt x="11936" y="20983"/>
                    <a:pt x="13044" y="21600"/>
                  </a:cubicBezTo>
                  <a:cubicBezTo>
                    <a:pt x="13598" y="21600"/>
                    <a:pt x="13598" y="21600"/>
                    <a:pt x="14152" y="21600"/>
                  </a:cubicBezTo>
                  <a:cubicBezTo>
                    <a:pt x="16367" y="21600"/>
                    <a:pt x="16921" y="20983"/>
                    <a:pt x="18029" y="19131"/>
                  </a:cubicBezTo>
                  <a:cubicBezTo>
                    <a:pt x="18583" y="18514"/>
                    <a:pt x="19136" y="17280"/>
                    <a:pt x="19136" y="16663"/>
                  </a:cubicBezTo>
                  <a:cubicBezTo>
                    <a:pt x="19690" y="15429"/>
                    <a:pt x="20798" y="14811"/>
                    <a:pt x="20798" y="1357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39" name="Shape 2158">
              <a:extLst>
                <a:ext uri="{FF2B5EF4-FFF2-40B4-BE49-F238E27FC236}">
                  <a16:creationId xmlns:a16="http://schemas.microsoft.com/office/drawing/2014/main" id="{EAE9FAB0-75C0-44B7-46FE-0412609B03E5}"/>
                </a:ext>
              </a:extLst>
            </p:cNvPr>
            <p:cNvSpPr/>
            <p:nvPr/>
          </p:nvSpPr>
          <p:spPr>
            <a:xfrm>
              <a:off x="6501332" y="4621290"/>
              <a:ext cx="41475" cy="56484"/>
            </a:xfrm>
            <a:custGeom>
              <a:avLst/>
              <a:gdLst/>
              <a:ahLst/>
              <a:cxnLst>
                <a:cxn ang="0">
                  <a:pos x="wd2" y="hd2"/>
                </a:cxn>
                <a:cxn ang="5400000">
                  <a:pos x="wd2" y="hd2"/>
                </a:cxn>
                <a:cxn ang="10800000">
                  <a:pos x="wd2" y="hd2"/>
                </a:cxn>
                <a:cxn ang="16200000">
                  <a:pos x="wd2" y="hd2"/>
                </a:cxn>
              </a:cxnLst>
              <a:rect l="0" t="0" r="r" b="b"/>
              <a:pathLst>
                <a:path w="13745" h="16446" extrusionOk="0">
                  <a:moveTo>
                    <a:pt x="5657" y="170"/>
                  </a:moveTo>
                  <a:cubicBezTo>
                    <a:pt x="-5143" y="2133"/>
                    <a:pt x="1337" y="19806"/>
                    <a:pt x="9977" y="15879"/>
                  </a:cubicBezTo>
                  <a:cubicBezTo>
                    <a:pt x="16457" y="13915"/>
                    <a:pt x="14297" y="-1794"/>
                    <a:pt x="5657" y="170"/>
                  </a:cubicBezTo>
                  <a:cubicBezTo>
                    <a:pt x="1337" y="170"/>
                    <a:pt x="7817" y="170"/>
                    <a:pt x="5657" y="17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0" name="Shape 2159">
              <a:extLst>
                <a:ext uri="{FF2B5EF4-FFF2-40B4-BE49-F238E27FC236}">
                  <a16:creationId xmlns:a16="http://schemas.microsoft.com/office/drawing/2014/main" id="{AFDB2A41-AC16-B83E-1EE6-BE6E92C33E32}"/>
                </a:ext>
              </a:extLst>
            </p:cNvPr>
            <p:cNvSpPr/>
            <p:nvPr/>
          </p:nvSpPr>
          <p:spPr>
            <a:xfrm>
              <a:off x="6050628" y="4498254"/>
              <a:ext cx="513846" cy="448810"/>
            </a:xfrm>
            <a:custGeom>
              <a:avLst/>
              <a:gdLst/>
              <a:ahLst/>
              <a:cxnLst>
                <a:cxn ang="0">
                  <a:pos x="wd2" y="hd2"/>
                </a:cxn>
                <a:cxn ang="5400000">
                  <a:pos x="wd2" y="hd2"/>
                </a:cxn>
                <a:cxn ang="10800000">
                  <a:pos x="wd2" y="hd2"/>
                </a:cxn>
                <a:cxn ang="16200000">
                  <a:pos x="wd2" y="hd2"/>
                </a:cxn>
              </a:cxnLst>
              <a:rect l="0" t="0" r="r" b="b"/>
              <a:pathLst>
                <a:path w="21287" h="21243" extrusionOk="0">
                  <a:moveTo>
                    <a:pt x="19920" y="8345"/>
                  </a:moveTo>
                  <a:cubicBezTo>
                    <a:pt x="19100" y="8345"/>
                    <a:pt x="18279" y="7406"/>
                    <a:pt x="18553" y="6780"/>
                  </a:cubicBezTo>
                  <a:cubicBezTo>
                    <a:pt x="18553" y="6154"/>
                    <a:pt x="19100" y="5841"/>
                    <a:pt x="19373" y="5841"/>
                  </a:cubicBezTo>
                  <a:cubicBezTo>
                    <a:pt x="19646" y="5841"/>
                    <a:pt x="19920" y="6154"/>
                    <a:pt x="20193" y="6154"/>
                  </a:cubicBezTo>
                  <a:cubicBezTo>
                    <a:pt x="20193" y="5215"/>
                    <a:pt x="20467" y="4276"/>
                    <a:pt x="20193" y="3336"/>
                  </a:cubicBezTo>
                  <a:cubicBezTo>
                    <a:pt x="19920" y="3023"/>
                    <a:pt x="19646" y="2397"/>
                    <a:pt x="19646" y="2084"/>
                  </a:cubicBezTo>
                  <a:cubicBezTo>
                    <a:pt x="19373" y="1458"/>
                    <a:pt x="19373" y="832"/>
                    <a:pt x="19373" y="206"/>
                  </a:cubicBezTo>
                  <a:cubicBezTo>
                    <a:pt x="18826" y="519"/>
                    <a:pt x="18006" y="206"/>
                    <a:pt x="17733" y="206"/>
                  </a:cubicBezTo>
                  <a:cubicBezTo>
                    <a:pt x="16912" y="-107"/>
                    <a:pt x="16365" y="-107"/>
                    <a:pt x="16092" y="519"/>
                  </a:cubicBezTo>
                  <a:cubicBezTo>
                    <a:pt x="15545" y="832"/>
                    <a:pt x="14998" y="832"/>
                    <a:pt x="14725" y="1458"/>
                  </a:cubicBezTo>
                  <a:cubicBezTo>
                    <a:pt x="14452" y="1771"/>
                    <a:pt x="13905" y="2084"/>
                    <a:pt x="13631" y="2397"/>
                  </a:cubicBezTo>
                  <a:cubicBezTo>
                    <a:pt x="13358" y="2710"/>
                    <a:pt x="13358" y="3336"/>
                    <a:pt x="13084" y="3650"/>
                  </a:cubicBezTo>
                  <a:cubicBezTo>
                    <a:pt x="12811" y="4276"/>
                    <a:pt x="12264" y="3650"/>
                    <a:pt x="11991" y="4276"/>
                  </a:cubicBezTo>
                  <a:cubicBezTo>
                    <a:pt x="11717" y="4589"/>
                    <a:pt x="11991" y="4902"/>
                    <a:pt x="11717" y="5215"/>
                  </a:cubicBezTo>
                  <a:cubicBezTo>
                    <a:pt x="11171" y="6467"/>
                    <a:pt x="9803" y="5528"/>
                    <a:pt x="8983" y="5215"/>
                  </a:cubicBezTo>
                  <a:cubicBezTo>
                    <a:pt x="8163" y="4589"/>
                    <a:pt x="7890" y="5841"/>
                    <a:pt x="7343" y="6467"/>
                  </a:cubicBezTo>
                  <a:cubicBezTo>
                    <a:pt x="7069" y="6780"/>
                    <a:pt x="6796" y="7406"/>
                    <a:pt x="6249" y="7406"/>
                  </a:cubicBezTo>
                  <a:cubicBezTo>
                    <a:pt x="6249" y="7406"/>
                    <a:pt x="5155" y="7406"/>
                    <a:pt x="5155" y="7093"/>
                  </a:cubicBezTo>
                  <a:cubicBezTo>
                    <a:pt x="5702" y="6154"/>
                    <a:pt x="5429" y="4589"/>
                    <a:pt x="4335" y="4276"/>
                  </a:cubicBezTo>
                  <a:cubicBezTo>
                    <a:pt x="4335" y="5841"/>
                    <a:pt x="4335" y="7406"/>
                    <a:pt x="4335" y="8971"/>
                  </a:cubicBezTo>
                  <a:cubicBezTo>
                    <a:pt x="4335" y="8971"/>
                    <a:pt x="4609" y="9910"/>
                    <a:pt x="4335" y="10223"/>
                  </a:cubicBezTo>
                  <a:cubicBezTo>
                    <a:pt x="3515" y="10850"/>
                    <a:pt x="3241" y="11163"/>
                    <a:pt x="2148" y="10850"/>
                  </a:cubicBezTo>
                  <a:cubicBezTo>
                    <a:pt x="1874" y="10850"/>
                    <a:pt x="1601" y="10850"/>
                    <a:pt x="1328" y="10536"/>
                  </a:cubicBezTo>
                  <a:cubicBezTo>
                    <a:pt x="1054" y="9910"/>
                    <a:pt x="781" y="9597"/>
                    <a:pt x="234" y="10223"/>
                  </a:cubicBezTo>
                  <a:cubicBezTo>
                    <a:pt x="-313" y="10850"/>
                    <a:pt x="234" y="11789"/>
                    <a:pt x="507" y="12415"/>
                  </a:cubicBezTo>
                  <a:cubicBezTo>
                    <a:pt x="781" y="12728"/>
                    <a:pt x="1054" y="13354"/>
                    <a:pt x="1054" y="13980"/>
                  </a:cubicBezTo>
                  <a:cubicBezTo>
                    <a:pt x="1601" y="15232"/>
                    <a:pt x="2695" y="15858"/>
                    <a:pt x="2148" y="17423"/>
                  </a:cubicBezTo>
                  <a:cubicBezTo>
                    <a:pt x="1874" y="18050"/>
                    <a:pt x="1601" y="18050"/>
                    <a:pt x="1874" y="18676"/>
                  </a:cubicBezTo>
                  <a:cubicBezTo>
                    <a:pt x="2148" y="18989"/>
                    <a:pt x="2148" y="19302"/>
                    <a:pt x="2148" y="19302"/>
                  </a:cubicBezTo>
                  <a:cubicBezTo>
                    <a:pt x="2421" y="19615"/>
                    <a:pt x="2148" y="20241"/>
                    <a:pt x="2421" y="20554"/>
                  </a:cubicBezTo>
                  <a:cubicBezTo>
                    <a:pt x="2421" y="20554"/>
                    <a:pt x="2421" y="19928"/>
                    <a:pt x="2695" y="19928"/>
                  </a:cubicBezTo>
                  <a:cubicBezTo>
                    <a:pt x="2695" y="19928"/>
                    <a:pt x="3515" y="20867"/>
                    <a:pt x="3788" y="21180"/>
                  </a:cubicBezTo>
                  <a:cubicBezTo>
                    <a:pt x="4335" y="21493"/>
                    <a:pt x="4882" y="20554"/>
                    <a:pt x="5429" y="20554"/>
                  </a:cubicBezTo>
                  <a:cubicBezTo>
                    <a:pt x="5976" y="20241"/>
                    <a:pt x="6522" y="20867"/>
                    <a:pt x="6796" y="20241"/>
                  </a:cubicBezTo>
                  <a:cubicBezTo>
                    <a:pt x="7343" y="19928"/>
                    <a:pt x="7616" y="19928"/>
                    <a:pt x="8163" y="19928"/>
                  </a:cubicBezTo>
                  <a:cubicBezTo>
                    <a:pt x="8710" y="19928"/>
                    <a:pt x="9257" y="19928"/>
                    <a:pt x="10077" y="19928"/>
                  </a:cubicBezTo>
                  <a:cubicBezTo>
                    <a:pt x="10077" y="19928"/>
                    <a:pt x="10350" y="19928"/>
                    <a:pt x="10350" y="19928"/>
                  </a:cubicBezTo>
                  <a:cubicBezTo>
                    <a:pt x="10624" y="19928"/>
                    <a:pt x="10624" y="19615"/>
                    <a:pt x="10897" y="19615"/>
                  </a:cubicBezTo>
                  <a:cubicBezTo>
                    <a:pt x="10897" y="19615"/>
                    <a:pt x="10897" y="19302"/>
                    <a:pt x="11171" y="19302"/>
                  </a:cubicBezTo>
                  <a:cubicBezTo>
                    <a:pt x="11171" y="19615"/>
                    <a:pt x="11171" y="20241"/>
                    <a:pt x="11717" y="20241"/>
                  </a:cubicBezTo>
                  <a:cubicBezTo>
                    <a:pt x="11717" y="20241"/>
                    <a:pt x="11444" y="18989"/>
                    <a:pt x="12264" y="19302"/>
                  </a:cubicBezTo>
                  <a:cubicBezTo>
                    <a:pt x="13358" y="19615"/>
                    <a:pt x="14452" y="18363"/>
                    <a:pt x="15272" y="17423"/>
                  </a:cubicBezTo>
                  <a:cubicBezTo>
                    <a:pt x="16092" y="16797"/>
                    <a:pt x="16639" y="15858"/>
                    <a:pt x="17459" y="14919"/>
                  </a:cubicBezTo>
                  <a:cubicBezTo>
                    <a:pt x="18279" y="13980"/>
                    <a:pt x="18553" y="12728"/>
                    <a:pt x="19373" y="11476"/>
                  </a:cubicBezTo>
                  <a:cubicBezTo>
                    <a:pt x="19646" y="11163"/>
                    <a:pt x="20467" y="10850"/>
                    <a:pt x="20740" y="10223"/>
                  </a:cubicBezTo>
                  <a:cubicBezTo>
                    <a:pt x="21014" y="9597"/>
                    <a:pt x="21287" y="8345"/>
                    <a:pt x="21287" y="7719"/>
                  </a:cubicBezTo>
                  <a:cubicBezTo>
                    <a:pt x="21014" y="7719"/>
                    <a:pt x="20740" y="7719"/>
                    <a:pt x="20467" y="7719"/>
                  </a:cubicBezTo>
                  <a:cubicBezTo>
                    <a:pt x="20193" y="7719"/>
                    <a:pt x="20193" y="8345"/>
                    <a:pt x="19920" y="8345"/>
                  </a:cubicBezTo>
                  <a:close/>
                  <a:moveTo>
                    <a:pt x="16639" y="12102"/>
                  </a:moveTo>
                  <a:cubicBezTo>
                    <a:pt x="16365" y="12102"/>
                    <a:pt x="16365" y="12728"/>
                    <a:pt x="16365" y="12728"/>
                  </a:cubicBezTo>
                  <a:cubicBezTo>
                    <a:pt x="16092" y="13354"/>
                    <a:pt x="15545" y="13041"/>
                    <a:pt x="15272" y="13354"/>
                  </a:cubicBezTo>
                  <a:cubicBezTo>
                    <a:pt x="14998" y="13354"/>
                    <a:pt x="14998" y="13667"/>
                    <a:pt x="14725" y="13667"/>
                  </a:cubicBezTo>
                  <a:cubicBezTo>
                    <a:pt x="14178" y="13667"/>
                    <a:pt x="13905" y="13041"/>
                    <a:pt x="13905" y="12728"/>
                  </a:cubicBezTo>
                  <a:cubicBezTo>
                    <a:pt x="13631" y="12102"/>
                    <a:pt x="14452" y="11163"/>
                    <a:pt x="14998" y="10850"/>
                  </a:cubicBezTo>
                  <a:cubicBezTo>
                    <a:pt x="15272" y="10536"/>
                    <a:pt x="15819" y="10536"/>
                    <a:pt x="16092" y="10850"/>
                  </a:cubicBezTo>
                  <a:cubicBezTo>
                    <a:pt x="16365" y="11163"/>
                    <a:pt x="17186" y="11789"/>
                    <a:pt x="16639" y="12102"/>
                  </a:cubicBezTo>
                  <a:cubicBezTo>
                    <a:pt x="16365" y="12102"/>
                    <a:pt x="16912" y="11789"/>
                    <a:pt x="16639" y="1210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1" name="Shape 2160">
              <a:extLst>
                <a:ext uri="{FF2B5EF4-FFF2-40B4-BE49-F238E27FC236}">
                  <a16:creationId xmlns:a16="http://schemas.microsoft.com/office/drawing/2014/main" id="{F0BA9806-323D-AB1D-5A6A-0C93F0F73D42}"/>
                </a:ext>
              </a:extLst>
            </p:cNvPr>
            <p:cNvSpPr/>
            <p:nvPr/>
          </p:nvSpPr>
          <p:spPr>
            <a:xfrm>
              <a:off x="6386162" y="4723956"/>
              <a:ext cx="70541" cy="62772"/>
            </a:xfrm>
            <a:custGeom>
              <a:avLst/>
              <a:gdLst/>
              <a:ahLst/>
              <a:cxnLst>
                <a:cxn ang="0">
                  <a:pos x="wd2" y="hd2"/>
                </a:cxn>
                <a:cxn ang="5400000">
                  <a:pos x="wd2" y="hd2"/>
                </a:cxn>
                <a:cxn ang="10800000">
                  <a:pos x="wd2" y="hd2"/>
                </a:cxn>
                <a:cxn ang="16200000">
                  <a:pos x="wd2" y="hd2"/>
                </a:cxn>
              </a:cxnLst>
              <a:rect l="0" t="0" r="r" b="b"/>
              <a:pathLst>
                <a:path w="17841" h="15465" extrusionOk="0">
                  <a:moveTo>
                    <a:pt x="16765" y="4203"/>
                  </a:moveTo>
                  <a:cubicBezTo>
                    <a:pt x="13442" y="880"/>
                    <a:pt x="6796" y="-2443"/>
                    <a:pt x="3473" y="2542"/>
                  </a:cubicBezTo>
                  <a:cubicBezTo>
                    <a:pt x="150" y="5865"/>
                    <a:pt x="-1512" y="9188"/>
                    <a:pt x="1811" y="12511"/>
                  </a:cubicBezTo>
                  <a:cubicBezTo>
                    <a:pt x="5134" y="19157"/>
                    <a:pt x="6796" y="12511"/>
                    <a:pt x="10119" y="12511"/>
                  </a:cubicBezTo>
                  <a:cubicBezTo>
                    <a:pt x="15103" y="12511"/>
                    <a:pt x="20088" y="5865"/>
                    <a:pt x="16765" y="4203"/>
                  </a:cubicBezTo>
                  <a:cubicBezTo>
                    <a:pt x="15103" y="2542"/>
                    <a:pt x="18426" y="4203"/>
                    <a:pt x="16765" y="420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2" name="Shape 2161">
              <a:extLst>
                <a:ext uri="{FF2B5EF4-FFF2-40B4-BE49-F238E27FC236}">
                  <a16:creationId xmlns:a16="http://schemas.microsoft.com/office/drawing/2014/main" id="{95B0AA80-16F9-8799-8015-69F361244EC3}"/>
                </a:ext>
              </a:extLst>
            </p:cNvPr>
            <p:cNvSpPr/>
            <p:nvPr/>
          </p:nvSpPr>
          <p:spPr>
            <a:xfrm>
              <a:off x="5917222" y="3900675"/>
              <a:ext cx="33712" cy="49046"/>
            </a:xfrm>
            <a:custGeom>
              <a:avLst/>
              <a:gdLst/>
              <a:ahLst/>
              <a:cxnLst>
                <a:cxn ang="0">
                  <a:pos x="wd2" y="hd2"/>
                </a:cxn>
                <a:cxn ang="5400000">
                  <a:pos x="wd2" y="hd2"/>
                </a:cxn>
                <a:cxn ang="10800000">
                  <a:pos x="wd2" y="hd2"/>
                </a:cxn>
                <a:cxn ang="16200000">
                  <a:pos x="wd2" y="hd2"/>
                </a:cxn>
              </a:cxnLst>
              <a:rect l="0" t="0" r="r" b="b"/>
              <a:pathLst>
                <a:path w="21600" h="19636" extrusionOk="0">
                  <a:moveTo>
                    <a:pt x="8640" y="11536"/>
                  </a:moveTo>
                  <a:cubicBezTo>
                    <a:pt x="8640" y="8836"/>
                    <a:pt x="17280" y="3436"/>
                    <a:pt x="21600" y="736"/>
                  </a:cubicBezTo>
                  <a:cubicBezTo>
                    <a:pt x="17280" y="-1964"/>
                    <a:pt x="8640" y="3436"/>
                    <a:pt x="4320" y="6136"/>
                  </a:cubicBezTo>
                  <a:cubicBezTo>
                    <a:pt x="0" y="8836"/>
                    <a:pt x="0" y="14236"/>
                    <a:pt x="0" y="19636"/>
                  </a:cubicBezTo>
                  <a:cubicBezTo>
                    <a:pt x="8640" y="16936"/>
                    <a:pt x="8640" y="14236"/>
                    <a:pt x="8640" y="1153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3" name="Shape 2162">
              <a:extLst>
                <a:ext uri="{FF2B5EF4-FFF2-40B4-BE49-F238E27FC236}">
                  <a16:creationId xmlns:a16="http://schemas.microsoft.com/office/drawing/2014/main" id="{6CB2ECEE-3ECD-DA44-7E96-03EACC959A7F}"/>
                </a:ext>
              </a:extLst>
            </p:cNvPr>
            <p:cNvSpPr/>
            <p:nvPr/>
          </p:nvSpPr>
          <p:spPr>
            <a:xfrm>
              <a:off x="5885754" y="3630760"/>
              <a:ext cx="229237" cy="291988"/>
            </a:xfrm>
            <a:custGeom>
              <a:avLst/>
              <a:gdLst/>
              <a:ahLst/>
              <a:cxnLst>
                <a:cxn ang="0">
                  <a:pos x="wd2" y="hd2"/>
                </a:cxn>
                <a:cxn ang="5400000">
                  <a:pos x="wd2" y="hd2"/>
                </a:cxn>
                <a:cxn ang="10800000">
                  <a:pos x="wd2" y="hd2"/>
                </a:cxn>
                <a:cxn ang="16200000">
                  <a:pos x="wd2" y="hd2"/>
                </a:cxn>
              </a:cxnLst>
              <a:rect l="0" t="0" r="r" b="b"/>
              <a:pathLst>
                <a:path w="21600" h="21254" extrusionOk="0">
                  <a:moveTo>
                    <a:pt x="6789" y="20774"/>
                  </a:moveTo>
                  <a:cubicBezTo>
                    <a:pt x="7406" y="20774"/>
                    <a:pt x="8640" y="19814"/>
                    <a:pt x="9257" y="19334"/>
                  </a:cubicBezTo>
                  <a:cubicBezTo>
                    <a:pt x="10491" y="18854"/>
                    <a:pt x="9257" y="20294"/>
                    <a:pt x="9874" y="20294"/>
                  </a:cubicBezTo>
                  <a:cubicBezTo>
                    <a:pt x="9874" y="20294"/>
                    <a:pt x="14194" y="18374"/>
                    <a:pt x="14194" y="17414"/>
                  </a:cubicBezTo>
                  <a:cubicBezTo>
                    <a:pt x="14194" y="15494"/>
                    <a:pt x="14194" y="13574"/>
                    <a:pt x="15429" y="12134"/>
                  </a:cubicBezTo>
                  <a:cubicBezTo>
                    <a:pt x="16663" y="10214"/>
                    <a:pt x="18514" y="8774"/>
                    <a:pt x="19131" y="7334"/>
                  </a:cubicBezTo>
                  <a:cubicBezTo>
                    <a:pt x="19749" y="5894"/>
                    <a:pt x="19749" y="4934"/>
                    <a:pt x="20366" y="3494"/>
                  </a:cubicBezTo>
                  <a:cubicBezTo>
                    <a:pt x="20366" y="2534"/>
                    <a:pt x="21600" y="1574"/>
                    <a:pt x="21600" y="614"/>
                  </a:cubicBezTo>
                  <a:cubicBezTo>
                    <a:pt x="20366" y="614"/>
                    <a:pt x="19131" y="-346"/>
                    <a:pt x="17897" y="134"/>
                  </a:cubicBezTo>
                  <a:cubicBezTo>
                    <a:pt x="17280" y="134"/>
                    <a:pt x="16046" y="134"/>
                    <a:pt x="16046" y="614"/>
                  </a:cubicBezTo>
                  <a:cubicBezTo>
                    <a:pt x="15429" y="1574"/>
                    <a:pt x="15429" y="2054"/>
                    <a:pt x="15429" y="2534"/>
                  </a:cubicBezTo>
                  <a:cubicBezTo>
                    <a:pt x="14811" y="3974"/>
                    <a:pt x="14194" y="4454"/>
                    <a:pt x="12343" y="4454"/>
                  </a:cubicBezTo>
                  <a:cubicBezTo>
                    <a:pt x="10491" y="3974"/>
                    <a:pt x="8023" y="3494"/>
                    <a:pt x="6171" y="3494"/>
                  </a:cubicBezTo>
                  <a:cubicBezTo>
                    <a:pt x="6171" y="4454"/>
                    <a:pt x="5554" y="6374"/>
                    <a:pt x="8023" y="5894"/>
                  </a:cubicBezTo>
                  <a:cubicBezTo>
                    <a:pt x="10491" y="4934"/>
                    <a:pt x="8640" y="7814"/>
                    <a:pt x="8640" y="8774"/>
                  </a:cubicBezTo>
                  <a:cubicBezTo>
                    <a:pt x="8640" y="9254"/>
                    <a:pt x="8640" y="9734"/>
                    <a:pt x="9257" y="10214"/>
                  </a:cubicBezTo>
                  <a:cubicBezTo>
                    <a:pt x="9874" y="10694"/>
                    <a:pt x="9874" y="11174"/>
                    <a:pt x="9874" y="11654"/>
                  </a:cubicBezTo>
                  <a:cubicBezTo>
                    <a:pt x="9874" y="12614"/>
                    <a:pt x="9874" y="14054"/>
                    <a:pt x="9257" y="15014"/>
                  </a:cubicBezTo>
                  <a:cubicBezTo>
                    <a:pt x="9257" y="15494"/>
                    <a:pt x="8023" y="14534"/>
                    <a:pt x="8023" y="14534"/>
                  </a:cubicBezTo>
                  <a:cubicBezTo>
                    <a:pt x="6789" y="14534"/>
                    <a:pt x="6789" y="15494"/>
                    <a:pt x="6171" y="15014"/>
                  </a:cubicBezTo>
                  <a:cubicBezTo>
                    <a:pt x="6171" y="14534"/>
                    <a:pt x="5554" y="14054"/>
                    <a:pt x="4937" y="13574"/>
                  </a:cubicBezTo>
                  <a:cubicBezTo>
                    <a:pt x="4320" y="13574"/>
                    <a:pt x="4320" y="14534"/>
                    <a:pt x="3703" y="15014"/>
                  </a:cubicBezTo>
                  <a:cubicBezTo>
                    <a:pt x="3703" y="15014"/>
                    <a:pt x="2469" y="15014"/>
                    <a:pt x="2469" y="15014"/>
                  </a:cubicBezTo>
                  <a:cubicBezTo>
                    <a:pt x="1234" y="15014"/>
                    <a:pt x="1851" y="15974"/>
                    <a:pt x="1851" y="16454"/>
                  </a:cubicBezTo>
                  <a:cubicBezTo>
                    <a:pt x="2469" y="17894"/>
                    <a:pt x="1851" y="17414"/>
                    <a:pt x="0" y="18374"/>
                  </a:cubicBezTo>
                  <a:cubicBezTo>
                    <a:pt x="1234" y="19334"/>
                    <a:pt x="2469" y="19814"/>
                    <a:pt x="3086" y="21254"/>
                  </a:cubicBezTo>
                  <a:cubicBezTo>
                    <a:pt x="3703" y="20774"/>
                    <a:pt x="4320" y="20294"/>
                    <a:pt x="4937" y="19814"/>
                  </a:cubicBezTo>
                  <a:cubicBezTo>
                    <a:pt x="6171" y="19334"/>
                    <a:pt x="6171" y="20294"/>
                    <a:pt x="6789" y="20774"/>
                  </a:cubicBezTo>
                  <a:cubicBezTo>
                    <a:pt x="7406" y="20774"/>
                    <a:pt x="6171" y="20294"/>
                    <a:pt x="6789" y="207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4" name="Shape 2163">
              <a:extLst>
                <a:ext uri="{FF2B5EF4-FFF2-40B4-BE49-F238E27FC236}">
                  <a16:creationId xmlns:a16="http://schemas.microsoft.com/office/drawing/2014/main" id="{474532EC-8E8C-9136-1338-03C12D1BA041}"/>
                </a:ext>
              </a:extLst>
            </p:cNvPr>
            <p:cNvSpPr/>
            <p:nvPr/>
          </p:nvSpPr>
          <p:spPr>
            <a:xfrm>
              <a:off x="5994296" y="3387724"/>
              <a:ext cx="394384" cy="296736"/>
            </a:xfrm>
            <a:custGeom>
              <a:avLst/>
              <a:gdLst/>
              <a:ahLst/>
              <a:cxnLst>
                <a:cxn ang="0">
                  <a:pos x="wd2" y="hd2"/>
                </a:cxn>
                <a:cxn ang="5400000">
                  <a:pos x="wd2" y="hd2"/>
                </a:cxn>
                <a:cxn ang="10800000">
                  <a:pos x="wd2" y="hd2"/>
                </a:cxn>
                <a:cxn ang="16200000">
                  <a:pos x="wd2" y="hd2"/>
                </a:cxn>
              </a:cxnLst>
              <a:rect l="0" t="0" r="r" b="b"/>
              <a:pathLst>
                <a:path w="20270" h="21600" extrusionOk="0">
                  <a:moveTo>
                    <a:pt x="3554" y="17760"/>
                  </a:moveTo>
                  <a:cubicBezTo>
                    <a:pt x="3891" y="17760"/>
                    <a:pt x="4904" y="17280"/>
                    <a:pt x="5242" y="17760"/>
                  </a:cubicBezTo>
                  <a:cubicBezTo>
                    <a:pt x="5242" y="18240"/>
                    <a:pt x="6254" y="18240"/>
                    <a:pt x="6254" y="18240"/>
                  </a:cubicBezTo>
                  <a:cubicBezTo>
                    <a:pt x="6592" y="17280"/>
                    <a:pt x="6254" y="16320"/>
                    <a:pt x="6592" y="15840"/>
                  </a:cubicBezTo>
                  <a:cubicBezTo>
                    <a:pt x="6592" y="15360"/>
                    <a:pt x="7267" y="13920"/>
                    <a:pt x="7941" y="14400"/>
                  </a:cubicBezTo>
                  <a:cubicBezTo>
                    <a:pt x="8617" y="14400"/>
                    <a:pt x="8954" y="15360"/>
                    <a:pt x="9629" y="15840"/>
                  </a:cubicBezTo>
                  <a:cubicBezTo>
                    <a:pt x="10304" y="16320"/>
                    <a:pt x="10979" y="16320"/>
                    <a:pt x="11654" y="16320"/>
                  </a:cubicBezTo>
                  <a:cubicBezTo>
                    <a:pt x="11992" y="16320"/>
                    <a:pt x="12666" y="16800"/>
                    <a:pt x="12666" y="16320"/>
                  </a:cubicBezTo>
                  <a:cubicBezTo>
                    <a:pt x="13004" y="15840"/>
                    <a:pt x="13004" y="13920"/>
                    <a:pt x="13342" y="14400"/>
                  </a:cubicBezTo>
                  <a:cubicBezTo>
                    <a:pt x="14017" y="14880"/>
                    <a:pt x="14017" y="14880"/>
                    <a:pt x="14692" y="14880"/>
                  </a:cubicBezTo>
                  <a:cubicBezTo>
                    <a:pt x="15367" y="14400"/>
                    <a:pt x="15704" y="14880"/>
                    <a:pt x="16379" y="14880"/>
                  </a:cubicBezTo>
                  <a:cubicBezTo>
                    <a:pt x="17054" y="14880"/>
                    <a:pt x="17392" y="13440"/>
                    <a:pt x="18067" y="13920"/>
                  </a:cubicBezTo>
                  <a:cubicBezTo>
                    <a:pt x="18404" y="13920"/>
                    <a:pt x="19079" y="14880"/>
                    <a:pt x="19754" y="14400"/>
                  </a:cubicBezTo>
                  <a:cubicBezTo>
                    <a:pt x="21104" y="13440"/>
                    <a:pt x="19417" y="12480"/>
                    <a:pt x="19079" y="11520"/>
                  </a:cubicBezTo>
                  <a:cubicBezTo>
                    <a:pt x="18742" y="10560"/>
                    <a:pt x="18742" y="10080"/>
                    <a:pt x="18067" y="9600"/>
                  </a:cubicBezTo>
                  <a:cubicBezTo>
                    <a:pt x="17392" y="9120"/>
                    <a:pt x="17054" y="8640"/>
                    <a:pt x="16717" y="7680"/>
                  </a:cubicBezTo>
                  <a:cubicBezTo>
                    <a:pt x="16717" y="6720"/>
                    <a:pt x="16042" y="6720"/>
                    <a:pt x="15367" y="6240"/>
                  </a:cubicBezTo>
                  <a:cubicBezTo>
                    <a:pt x="15367" y="6240"/>
                    <a:pt x="15367" y="5760"/>
                    <a:pt x="15029" y="5760"/>
                  </a:cubicBezTo>
                  <a:cubicBezTo>
                    <a:pt x="15029" y="5760"/>
                    <a:pt x="14354" y="5760"/>
                    <a:pt x="14354" y="5760"/>
                  </a:cubicBezTo>
                  <a:cubicBezTo>
                    <a:pt x="14017" y="5280"/>
                    <a:pt x="14354" y="3360"/>
                    <a:pt x="14354" y="2880"/>
                  </a:cubicBezTo>
                  <a:cubicBezTo>
                    <a:pt x="14354" y="1920"/>
                    <a:pt x="13679" y="1440"/>
                    <a:pt x="13342" y="480"/>
                  </a:cubicBezTo>
                  <a:cubicBezTo>
                    <a:pt x="13342" y="480"/>
                    <a:pt x="13342" y="0"/>
                    <a:pt x="13342" y="0"/>
                  </a:cubicBezTo>
                  <a:cubicBezTo>
                    <a:pt x="13004" y="0"/>
                    <a:pt x="12666" y="0"/>
                    <a:pt x="12329" y="0"/>
                  </a:cubicBezTo>
                  <a:cubicBezTo>
                    <a:pt x="11654" y="480"/>
                    <a:pt x="11654" y="480"/>
                    <a:pt x="11317" y="1440"/>
                  </a:cubicBezTo>
                  <a:cubicBezTo>
                    <a:pt x="11317" y="2880"/>
                    <a:pt x="8954" y="4800"/>
                    <a:pt x="8279" y="4800"/>
                  </a:cubicBezTo>
                  <a:cubicBezTo>
                    <a:pt x="7941" y="4800"/>
                    <a:pt x="6592" y="4800"/>
                    <a:pt x="6929" y="5280"/>
                  </a:cubicBezTo>
                  <a:cubicBezTo>
                    <a:pt x="7267" y="6240"/>
                    <a:pt x="6254" y="7200"/>
                    <a:pt x="5917" y="7200"/>
                  </a:cubicBezTo>
                  <a:cubicBezTo>
                    <a:pt x="5242" y="7680"/>
                    <a:pt x="4567" y="8160"/>
                    <a:pt x="3891" y="8160"/>
                  </a:cubicBezTo>
                  <a:cubicBezTo>
                    <a:pt x="3216" y="8640"/>
                    <a:pt x="3216" y="7680"/>
                    <a:pt x="2542" y="8160"/>
                  </a:cubicBezTo>
                  <a:cubicBezTo>
                    <a:pt x="1866" y="8640"/>
                    <a:pt x="1529" y="8160"/>
                    <a:pt x="1529" y="8640"/>
                  </a:cubicBezTo>
                  <a:cubicBezTo>
                    <a:pt x="1191" y="9600"/>
                    <a:pt x="854" y="10560"/>
                    <a:pt x="516" y="11040"/>
                  </a:cubicBezTo>
                  <a:cubicBezTo>
                    <a:pt x="-496" y="12960"/>
                    <a:pt x="179" y="14400"/>
                    <a:pt x="854" y="16320"/>
                  </a:cubicBezTo>
                  <a:cubicBezTo>
                    <a:pt x="1191" y="17280"/>
                    <a:pt x="1191" y="17760"/>
                    <a:pt x="1529" y="18720"/>
                  </a:cubicBezTo>
                  <a:cubicBezTo>
                    <a:pt x="2204" y="19680"/>
                    <a:pt x="2542" y="20160"/>
                    <a:pt x="2542" y="21600"/>
                  </a:cubicBezTo>
                  <a:cubicBezTo>
                    <a:pt x="2542" y="21120"/>
                    <a:pt x="2879" y="17760"/>
                    <a:pt x="3554" y="177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5" name="Shape 2164">
              <a:extLst>
                <a:ext uri="{FF2B5EF4-FFF2-40B4-BE49-F238E27FC236}">
                  <a16:creationId xmlns:a16="http://schemas.microsoft.com/office/drawing/2014/main" id="{A598D547-FE23-7553-8075-89682FB2BE38}"/>
                </a:ext>
              </a:extLst>
            </p:cNvPr>
            <p:cNvSpPr/>
            <p:nvPr/>
          </p:nvSpPr>
          <p:spPr>
            <a:xfrm>
              <a:off x="5527247" y="2965101"/>
              <a:ext cx="760797" cy="541768"/>
            </a:xfrm>
            <a:custGeom>
              <a:avLst/>
              <a:gdLst/>
              <a:ahLst/>
              <a:cxnLst>
                <a:cxn ang="0">
                  <a:pos x="wd2" y="hd2"/>
                </a:cxn>
                <a:cxn ang="5400000">
                  <a:pos x="wd2" y="hd2"/>
                </a:cxn>
                <a:cxn ang="10800000">
                  <a:pos x="wd2" y="hd2"/>
                </a:cxn>
                <a:cxn ang="16200000">
                  <a:pos x="wd2" y="hd2"/>
                </a:cxn>
              </a:cxnLst>
              <a:rect l="0" t="0" r="r" b="b"/>
              <a:pathLst>
                <a:path w="21318" h="21600" extrusionOk="0">
                  <a:moveTo>
                    <a:pt x="14487" y="21337"/>
                  </a:moveTo>
                  <a:cubicBezTo>
                    <a:pt x="14672" y="21073"/>
                    <a:pt x="14856" y="21600"/>
                    <a:pt x="15041" y="21600"/>
                  </a:cubicBezTo>
                  <a:cubicBezTo>
                    <a:pt x="15410" y="21337"/>
                    <a:pt x="15780" y="21073"/>
                    <a:pt x="16149" y="20810"/>
                  </a:cubicBezTo>
                  <a:cubicBezTo>
                    <a:pt x="16333" y="20810"/>
                    <a:pt x="16887" y="20546"/>
                    <a:pt x="16887" y="20020"/>
                  </a:cubicBezTo>
                  <a:cubicBezTo>
                    <a:pt x="16887" y="19493"/>
                    <a:pt x="17072" y="19756"/>
                    <a:pt x="17441" y="19493"/>
                  </a:cubicBezTo>
                  <a:cubicBezTo>
                    <a:pt x="17995" y="19493"/>
                    <a:pt x="18733" y="18702"/>
                    <a:pt x="19103" y="17912"/>
                  </a:cubicBezTo>
                  <a:cubicBezTo>
                    <a:pt x="19287" y="17649"/>
                    <a:pt x="19287" y="17385"/>
                    <a:pt x="19472" y="17122"/>
                  </a:cubicBezTo>
                  <a:cubicBezTo>
                    <a:pt x="19656" y="16859"/>
                    <a:pt x="20026" y="16859"/>
                    <a:pt x="20395" y="16859"/>
                  </a:cubicBezTo>
                  <a:cubicBezTo>
                    <a:pt x="20395" y="16332"/>
                    <a:pt x="20026" y="16068"/>
                    <a:pt x="19841" y="15541"/>
                  </a:cubicBezTo>
                  <a:cubicBezTo>
                    <a:pt x="19841" y="15278"/>
                    <a:pt x="20026" y="14488"/>
                    <a:pt x="19472" y="14488"/>
                  </a:cubicBezTo>
                  <a:cubicBezTo>
                    <a:pt x="19287" y="14488"/>
                    <a:pt x="19841" y="13961"/>
                    <a:pt x="19656" y="13698"/>
                  </a:cubicBezTo>
                  <a:cubicBezTo>
                    <a:pt x="19656" y="12907"/>
                    <a:pt x="19841" y="12644"/>
                    <a:pt x="20026" y="12117"/>
                  </a:cubicBezTo>
                  <a:cubicBezTo>
                    <a:pt x="20026" y="11590"/>
                    <a:pt x="20395" y="11590"/>
                    <a:pt x="20395" y="11063"/>
                  </a:cubicBezTo>
                  <a:cubicBezTo>
                    <a:pt x="20395" y="10800"/>
                    <a:pt x="20580" y="10537"/>
                    <a:pt x="20764" y="10537"/>
                  </a:cubicBezTo>
                  <a:cubicBezTo>
                    <a:pt x="21318" y="10537"/>
                    <a:pt x="21318" y="10537"/>
                    <a:pt x="21318" y="10010"/>
                  </a:cubicBezTo>
                  <a:cubicBezTo>
                    <a:pt x="21318" y="8429"/>
                    <a:pt x="21318" y="7112"/>
                    <a:pt x="21318" y="5532"/>
                  </a:cubicBezTo>
                  <a:cubicBezTo>
                    <a:pt x="21318" y="5005"/>
                    <a:pt x="20580" y="4741"/>
                    <a:pt x="20210" y="4478"/>
                  </a:cubicBezTo>
                  <a:cubicBezTo>
                    <a:pt x="18364" y="3161"/>
                    <a:pt x="16518" y="1580"/>
                    <a:pt x="14672" y="263"/>
                  </a:cubicBezTo>
                  <a:cubicBezTo>
                    <a:pt x="14487" y="263"/>
                    <a:pt x="14487" y="0"/>
                    <a:pt x="14303" y="0"/>
                  </a:cubicBezTo>
                  <a:cubicBezTo>
                    <a:pt x="14118" y="263"/>
                    <a:pt x="13749" y="527"/>
                    <a:pt x="13564" y="527"/>
                  </a:cubicBezTo>
                  <a:cubicBezTo>
                    <a:pt x="13380" y="790"/>
                    <a:pt x="13010" y="1317"/>
                    <a:pt x="12826" y="1317"/>
                  </a:cubicBezTo>
                  <a:cubicBezTo>
                    <a:pt x="12641" y="1317"/>
                    <a:pt x="12456" y="790"/>
                    <a:pt x="12087" y="527"/>
                  </a:cubicBezTo>
                  <a:cubicBezTo>
                    <a:pt x="11903" y="263"/>
                    <a:pt x="11718" y="263"/>
                    <a:pt x="11533" y="263"/>
                  </a:cubicBezTo>
                  <a:cubicBezTo>
                    <a:pt x="11164" y="0"/>
                    <a:pt x="10980" y="0"/>
                    <a:pt x="10610" y="263"/>
                  </a:cubicBezTo>
                  <a:cubicBezTo>
                    <a:pt x="9318" y="1317"/>
                    <a:pt x="8026" y="2634"/>
                    <a:pt x="6733" y="3688"/>
                  </a:cubicBezTo>
                  <a:cubicBezTo>
                    <a:pt x="6180" y="4215"/>
                    <a:pt x="5626" y="4741"/>
                    <a:pt x="5072" y="5532"/>
                  </a:cubicBezTo>
                  <a:cubicBezTo>
                    <a:pt x="4887" y="5795"/>
                    <a:pt x="4703" y="5795"/>
                    <a:pt x="4518" y="5795"/>
                  </a:cubicBezTo>
                  <a:cubicBezTo>
                    <a:pt x="3964" y="5795"/>
                    <a:pt x="3780" y="5795"/>
                    <a:pt x="3780" y="6585"/>
                  </a:cubicBezTo>
                  <a:cubicBezTo>
                    <a:pt x="3780" y="7376"/>
                    <a:pt x="3780" y="8166"/>
                    <a:pt x="3780" y="8956"/>
                  </a:cubicBezTo>
                  <a:cubicBezTo>
                    <a:pt x="3780" y="9746"/>
                    <a:pt x="3595" y="10537"/>
                    <a:pt x="3226" y="11063"/>
                  </a:cubicBezTo>
                  <a:cubicBezTo>
                    <a:pt x="3041" y="11327"/>
                    <a:pt x="2487" y="11327"/>
                    <a:pt x="2303" y="11327"/>
                  </a:cubicBezTo>
                  <a:cubicBezTo>
                    <a:pt x="1933" y="11327"/>
                    <a:pt x="1564" y="11327"/>
                    <a:pt x="1195" y="11327"/>
                  </a:cubicBezTo>
                  <a:cubicBezTo>
                    <a:pt x="826" y="11327"/>
                    <a:pt x="456" y="11590"/>
                    <a:pt x="87" y="11590"/>
                  </a:cubicBezTo>
                  <a:cubicBezTo>
                    <a:pt x="-282" y="11590"/>
                    <a:pt x="641" y="13434"/>
                    <a:pt x="641" y="13434"/>
                  </a:cubicBezTo>
                  <a:cubicBezTo>
                    <a:pt x="826" y="14224"/>
                    <a:pt x="1010" y="14751"/>
                    <a:pt x="1564" y="15015"/>
                  </a:cubicBezTo>
                  <a:cubicBezTo>
                    <a:pt x="1564" y="15015"/>
                    <a:pt x="1749" y="14751"/>
                    <a:pt x="1749" y="14751"/>
                  </a:cubicBezTo>
                  <a:cubicBezTo>
                    <a:pt x="1933" y="15015"/>
                    <a:pt x="1933" y="15805"/>
                    <a:pt x="2303" y="15278"/>
                  </a:cubicBezTo>
                  <a:cubicBezTo>
                    <a:pt x="2672" y="14751"/>
                    <a:pt x="3041" y="16068"/>
                    <a:pt x="3226" y="16332"/>
                  </a:cubicBezTo>
                  <a:cubicBezTo>
                    <a:pt x="3226" y="16068"/>
                    <a:pt x="3410" y="15541"/>
                    <a:pt x="3410" y="15278"/>
                  </a:cubicBezTo>
                  <a:cubicBezTo>
                    <a:pt x="3410" y="15015"/>
                    <a:pt x="3595" y="14751"/>
                    <a:pt x="3595" y="14488"/>
                  </a:cubicBezTo>
                  <a:cubicBezTo>
                    <a:pt x="3780" y="13698"/>
                    <a:pt x="3780" y="13698"/>
                    <a:pt x="4333" y="13434"/>
                  </a:cubicBezTo>
                  <a:cubicBezTo>
                    <a:pt x="4518" y="13171"/>
                    <a:pt x="4703" y="13171"/>
                    <a:pt x="4887" y="13171"/>
                  </a:cubicBezTo>
                  <a:cubicBezTo>
                    <a:pt x="5072" y="12907"/>
                    <a:pt x="5256" y="13434"/>
                    <a:pt x="5441" y="13434"/>
                  </a:cubicBezTo>
                  <a:cubicBezTo>
                    <a:pt x="5810" y="13434"/>
                    <a:pt x="5995" y="13698"/>
                    <a:pt x="6180" y="13961"/>
                  </a:cubicBezTo>
                  <a:cubicBezTo>
                    <a:pt x="6364" y="14224"/>
                    <a:pt x="6549" y="14224"/>
                    <a:pt x="6918" y="14224"/>
                  </a:cubicBezTo>
                  <a:cubicBezTo>
                    <a:pt x="7472" y="13698"/>
                    <a:pt x="7656" y="14488"/>
                    <a:pt x="8210" y="14488"/>
                  </a:cubicBezTo>
                  <a:cubicBezTo>
                    <a:pt x="8764" y="14488"/>
                    <a:pt x="9318" y="13961"/>
                    <a:pt x="9872" y="13961"/>
                  </a:cubicBezTo>
                  <a:cubicBezTo>
                    <a:pt x="10241" y="13961"/>
                    <a:pt x="10980" y="14224"/>
                    <a:pt x="11533" y="13961"/>
                  </a:cubicBezTo>
                  <a:cubicBezTo>
                    <a:pt x="11718" y="13961"/>
                    <a:pt x="11903" y="13698"/>
                    <a:pt x="12087" y="13434"/>
                  </a:cubicBezTo>
                  <a:cubicBezTo>
                    <a:pt x="12456" y="13171"/>
                    <a:pt x="12272" y="12907"/>
                    <a:pt x="12272" y="12380"/>
                  </a:cubicBezTo>
                  <a:cubicBezTo>
                    <a:pt x="12272" y="11063"/>
                    <a:pt x="13195" y="10273"/>
                    <a:pt x="13933" y="9220"/>
                  </a:cubicBezTo>
                  <a:cubicBezTo>
                    <a:pt x="14118" y="8956"/>
                    <a:pt x="13933" y="8429"/>
                    <a:pt x="13933" y="8166"/>
                  </a:cubicBezTo>
                  <a:cubicBezTo>
                    <a:pt x="13933" y="7376"/>
                    <a:pt x="13933" y="6849"/>
                    <a:pt x="13933" y="6059"/>
                  </a:cubicBezTo>
                  <a:cubicBezTo>
                    <a:pt x="14118" y="5532"/>
                    <a:pt x="14303" y="4741"/>
                    <a:pt x="14303" y="4215"/>
                  </a:cubicBezTo>
                  <a:cubicBezTo>
                    <a:pt x="14118" y="3688"/>
                    <a:pt x="13933" y="3161"/>
                    <a:pt x="13749" y="2898"/>
                  </a:cubicBezTo>
                  <a:cubicBezTo>
                    <a:pt x="13380" y="2107"/>
                    <a:pt x="13564" y="1317"/>
                    <a:pt x="13564" y="527"/>
                  </a:cubicBezTo>
                  <a:cubicBezTo>
                    <a:pt x="13564" y="1317"/>
                    <a:pt x="13564" y="1844"/>
                    <a:pt x="13564" y="2371"/>
                  </a:cubicBezTo>
                  <a:cubicBezTo>
                    <a:pt x="13564" y="2898"/>
                    <a:pt x="14118" y="3688"/>
                    <a:pt x="14118" y="4215"/>
                  </a:cubicBezTo>
                  <a:cubicBezTo>
                    <a:pt x="14303" y="5005"/>
                    <a:pt x="13933" y="6059"/>
                    <a:pt x="13933" y="6849"/>
                  </a:cubicBezTo>
                  <a:cubicBezTo>
                    <a:pt x="13933" y="7376"/>
                    <a:pt x="14118" y="8429"/>
                    <a:pt x="13933" y="9220"/>
                  </a:cubicBezTo>
                  <a:cubicBezTo>
                    <a:pt x="13749" y="9746"/>
                    <a:pt x="13010" y="10273"/>
                    <a:pt x="12826" y="10800"/>
                  </a:cubicBezTo>
                  <a:cubicBezTo>
                    <a:pt x="12456" y="11063"/>
                    <a:pt x="12272" y="11590"/>
                    <a:pt x="12272" y="12117"/>
                  </a:cubicBezTo>
                  <a:cubicBezTo>
                    <a:pt x="12087" y="12907"/>
                    <a:pt x="12456" y="13171"/>
                    <a:pt x="12641" y="13961"/>
                  </a:cubicBezTo>
                  <a:cubicBezTo>
                    <a:pt x="12641" y="14224"/>
                    <a:pt x="12826" y="14224"/>
                    <a:pt x="13010" y="14488"/>
                  </a:cubicBezTo>
                  <a:cubicBezTo>
                    <a:pt x="13380" y="14751"/>
                    <a:pt x="13564" y="15015"/>
                    <a:pt x="13564" y="15541"/>
                  </a:cubicBezTo>
                  <a:cubicBezTo>
                    <a:pt x="13564" y="16068"/>
                    <a:pt x="13564" y="16595"/>
                    <a:pt x="13564" y="17122"/>
                  </a:cubicBezTo>
                  <a:cubicBezTo>
                    <a:pt x="13564" y="17385"/>
                    <a:pt x="13749" y="17912"/>
                    <a:pt x="13933" y="18439"/>
                  </a:cubicBezTo>
                  <a:cubicBezTo>
                    <a:pt x="13380" y="18439"/>
                    <a:pt x="12087" y="18439"/>
                    <a:pt x="13010" y="19493"/>
                  </a:cubicBezTo>
                  <a:cubicBezTo>
                    <a:pt x="13380" y="19756"/>
                    <a:pt x="13564" y="20020"/>
                    <a:pt x="13749" y="20546"/>
                  </a:cubicBezTo>
                  <a:cubicBezTo>
                    <a:pt x="13749" y="20810"/>
                    <a:pt x="13933" y="21073"/>
                    <a:pt x="13933" y="21337"/>
                  </a:cubicBezTo>
                  <a:cubicBezTo>
                    <a:pt x="13933" y="21600"/>
                    <a:pt x="14487" y="21337"/>
                    <a:pt x="14487" y="21337"/>
                  </a:cubicBezTo>
                  <a:cubicBezTo>
                    <a:pt x="14856" y="21073"/>
                    <a:pt x="14487" y="21337"/>
                    <a:pt x="14487" y="2133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6" name="Shape 2165">
              <a:extLst>
                <a:ext uri="{FF2B5EF4-FFF2-40B4-BE49-F238E27FC236}">
                  <a16:creationId xmlns:a16="http://schemas.microsoft.com/office/drawing/2014/main" id="{F012CB89-959E-89EF-BACB-5F6A342ABE94}"/>
                </a:ext>
              </a:extLst>
            </p:cNvPr>
            <p:cNvSpPr/>
            <p:nvPr/>
          </p:nvSpPr>
          <p:spPr>
            <a:xfrm>
              <a:off x="6218633" y="2978589"/>
              <a:ext cx="536871" cy="661803"/>
            </a:xfrm>
            <a:custGeom>
              <a:avLst/>
              <a:gdLst/>
              <a:ahLst/>
              <a:cxnLst>
                <a:cxn ang="0">
                  <a:pos x="wd2" y="hd2"/>
                </a:cxn>
                <a:cxn ang="5400000">
                  <a:pos x="wd2" y="hd2"/>
                </a:cxn>
                <a:cxn ang="10800000">
                  <a:pos x="wd2" y="hd2"/>
                </a:cxn>
                <a:cxn ang="16200000">
                  <a:pos x="wd2" y="hd2"/>
                </a:cxn>
              </a:cxnLst>
              <a:rect l="0" t="0" r="r" b="b"/>
              <a:pathLst>
                <a:path w="21410" h="21411" extrusionOk="0">
                  <a:moveTo>
                    <a:pt x="1390" y="8341"/>
                  </a:moveTo>
                  <a:cubicBezTo>
                    <a:pt x="1390" y="8341"/>
                    <a:pt x="1390" y="8554"/>
                    <a:pt x="1390" y="8768"/>
                  </a:cubicBezTo>
                  <a:cubicBezTo>
                    <a:pt x="1127" y="8982"/>
                    <a:pt x="864" y="8982"/>
                    <a:pt x="864" y="9196"/>
                  </a:cubicBezTo>
                  <a:cubicBezTo>
                    <a:pt x="864" y="9624"/>
                    <a:pt x="337" y="10051"/>
                    <a:pt x="337" y="10479"/>
                  </a:cubicBezTo>
                  <a:cubicBezTo>
                    <a:pt x="337" y="10693"/>
                    <a:pt x="600" y="10907"/>
                    <a:pt x="337" y="10907"/>
                  </a:cubicBezTo>
                  <a:cubicBezTo>
                    <a:pt x="337" y="11121"/>
                    <a:pt x="-190" y="11335"/>
                    <a:pt x="73" y="11335"/>
                  </a:cubicBezTo>
                  <a:cubicBezTo>
                    <a:pt x="864" y="11335"/>
                    <a:pt x="600" y="12190"/>
                    <a:pt x="864" y="12404"/>
                  </a:cubicBezTo>
                  <a:cubicBezTo>
                    <a:pt x="864" y="12618"/>
                    <a:pt x="1127" y="12618"/>
                    <a:pt x="1390" y="12832"/>
                  </a:cubicBezTo>
                  <a:cubicBezTo>
                    <a:pt x="1390" y="13046"/>
                    <a:pt x="1390" y="13259"/>
                    <a:pt x="1390" y="13473"/>
                  </a:cubicBezTo>
                  <a:cubicBezTo>
                    <a:pt x="1654" y="13901"/>
                    <a:pt x="2181" y="14115"/>
                    <a:pt x="2181" y="14543"/>
                  </a:cubicBezTo>
                  <a:cubicBezTo>
                    <a:pt x="2181" y="14756"/>
                    <a:pt x="1917" y="15826"/>
                    <a:pt x="2181" y="15826"/>
                  </a:cubicBezTo>
                  <a:cubicBezTo>
                    <a:pt x="2971" y="15826"/>
                    <a:pt x="3234" y="16040"/>
                    <a:pt x="3761" y="16253"/>
                  </a:cubicBezTo>
                  <a:cubicBezTo>
                    <a:pt x="4288" y="16467"/>
                    <a:pt x="4025" y="17109"/>
                    <a:pt x="4551" y="17323"/>
                  </a:cubicBezTo>
                  <a:cubicBezTo>
                    <a:pt x="4815" y="17537"/>
                    <a:pt x="5605" y="17537"/>
                    <a:pt x="5605" y="17964"/>
                  </a:cubicBezTo>
                  <a:cubicBezTo>
                    <a:pt x="5605" y="18392"/>
                    <a:pt x="6395" y="18606"/>
                    <a:pt x="6659" y="18820"/>
                  </a:cubicBezTo>
                  <a:cubicBezTo>
                    <a:pt x="6659" y="19034"/>
                    <a:pt x="6659" y="19248"/>
                    <a:pt x="6659" y="19461"/>
                  </a:cubicBezTo>
                  <a:cubicBezTo>
                    <a:pt x="6922" y="19461"/>
                    <a:pt x="7186" y="19675"/>
                    <a:pt x="7186" y="19675"/>
                  </a:cubicBezTo>
                  <a:cubicBezTo>
                    <a:pt x="7449" y="19889"/>
                    <a:pt x="7712" y="20317"/>
                    <a:pt x="8239" y="20531"/>
                  </a:cubicBezTo>
                  <a:cubicBezTo>
                    <a:pt x="8503" y="20745"/>
                    <a:pt x="8503" y="19889"/>
                    <a:pt x="9030" y="20317"/>
                  </a:cubicBezTo>
                  <a:cubicBezTo>
                    <a:pt x="9556" y="20531"/>
                    <a:pt x="9556" y="20103"/>
                    <a:pt x="10083" y="20103"/>
                  </a:cubicBezTo>
                  <a:cubicBezTo>
                    <a:pt x="10610" y="20317"/>
                    <a:pt x="10873" y="20958"/>
                    <a:pt x="11400" y="21386"/>
                  </a:cubicBezTo>
                  <a:cubicBezTo>
                    <a:pt x="11927" y="20317"/>
                    <a:pt x="12717" y="21600"/>
                    <a:pt x="13244" y="21386"/>
                  </a:cubicBezTo>
                  <a:cubicBezTo>
                    <a:pt x="13508" y="21172"/>
                    <a:pt x="13771" y="20958"/>
                    <a:pt x="14298" y="20958"/>
                  </a:cubicBezTo>
                  <a:cubicBezTo>
                    <a:pt x="14561" y="20958"/>
                    <a:pt x="15088" y="20958"/>
                    <a:pt x="15351" y="20745"/>
                  </a:cubicBezTo>
                  <a:cubicBezTo>
                    <a:pt x="15878" y="19889"/>
                    <a:pt x="16932" y="19461"/>
                    <a:pt x="17986" y="20103"/>
                  </a:cubicBezTo>
                  <a:cubicBezTo>
                    <a:pt x="17986" y="19889"/>
                    <a:pt x="17986" y="19675"/>
                    <a:pt x="17986" y="19461"/>
                  </a:cubicBezTo>
                  <a:cubicBezTo>
                    <a:pt x="17986" y="19248"/>
                    <a:pt x="17195" y="19248"/>
                    <a:pt x="17195" y="19248"/>
                  </a:cubicBezTo>
                  <a:cubicBezTo>
                    <a:pt x="16669" y="18820"/>
                    <a:pt x="16405" y="18178"/>
                    <a:pt x="15878" y="17750"/>
                  </a:cubicBezTo>
                  <a:cubicBezTo>
                    <a:pt x="15615" y="17537"/>
                    <a:pt x="15615" y="17323"/>
                    <a:pt x="15351" y="17109"/>
                  </a:cubicBezTo>
                  <a:cubicBezTo>
                    <a:pt x="15088" y="16895"/>
                    <a:pt x="14825" y="16895"/>
                    <a:pt x="14561" y="16681"/>
                  </a:cubicBezTo>
                  <a:cubicBezTo>
                    <a:pt x="13771" y="16040"/>
                    <a:pt x="15351" y="16040"/>
                    <a:pt x="15351" y="16040"/>
                  </a:cubicBezTo>
                  <a:cubicBezTo>
                    <a:pt x="15878" y="15826"/>
                    <a:pt x="15615" y="14756"/>
                    <a:pt x="15878" y="14329"/>
                  </a:cubicBezTo>
                  <a:cubicBezTo>
                    <a:pt x="15878" y="14115"/>
                    <a:pt x="15878" y="13687"/>
                    <a:pt x="16142" y="13687"/>
                  </a:cubicBezTo>
                  <a:cubicBezTo>
                    <a:pt x="16405" y="13473"/>
                    <a:pt x="16932" y="13473"/>
                    <a:pt x="16932" y="13259"/>
                  </a:cubicBezTo>
                  <a:cubicBezTo>
                    <a:pt x="16932" y="13046"/>
                    <a:pt x="16932" y="12832"/>
                    <a:pt x="16932" y="12404"/>
                  </a:cubicBezTo>
                  <a:cubicBezTo>
                    <a:pt x="16932" y="12190"/>
                    <a:pt x="17195" y="11976"/>
                    <a:pt x="17459" y="11762"/>
                  </a:cubicBezTo>
                  <a:cubicBezTo>
                    <a:pt x="17722" y="11335"/>
                    <a:pt x="18249" y="11549"/>
                    <a:pt x="18512" y="11121"/>
                  </a:cubicBezTo>
                  <a:cubicBezTo>
                    <a:pt x="18512" y="10693"/>
                    <a:pt x="18776" y="10265"/>
                    <a:pt x="18776" y="9624"/>
                  </a:cubicBezTo>
                  <a:cubicBezTo>
                    <a:pt x="18776" y="9410"/>
                    <a:pt x="18776" y="9196"/>
                    <a:pt x="18776" y="8982"/>
                  </a:cubicBezTo>
                  <a:cubicBezTo>
                    <a:pt x="18776" y="8554"/>
                    <a:pt x="19303" y="8127"/>
                    <a:pt x="19303" y="7913"/>
                  </a:cubicBezTo>
                  <a:cubicBezTo>
                    <a:pt x="19303" y="7057"/>
                    <a:pt x="19566" y="6416"/>
                    <a:pt x="20620" y="6202"/>
                  </a:cubicBezTo>
                  <a:cubicBezTo>
                    <a:pt x="20883" y="6202"/>
                    <a:pt x="21147" y="6202"/>
                    <a:pt x="21410" y="5774"/>
                  </a:cubicBezTo>
                  <a:cubicBezTo>
                    <a:pt x="21410" y="5560"/>
                    <a:pt x="20883" y="5133"/>
                    <a:pt x="20620" y="4919"/>
                  </a:cubicBezTo>
                  <a:cubicBezTo>
                    <a:pt x="20093" y="4491"/>
                    <a:pt x="19830" y="4063"/>
                    <a:pt x="19830" y="3636"/>
                  </a:cubicBezTo>
                  <a:cubicBezTo>
                    <a:pt x="19830" y="3422"/>
                    <a:pt x="19566" y="2352"/>
                    <a:pt x="19830" y="2352"/>
                  </a:cubicBezTo>
                  <a:cubicBezTo>
                    <a:pt x="20093" y="2139"/>
                    <a:pt x="19830" y="2139"/>
                    <a:pt x="19566" y="1925"/>
                  </a:cubicBezTo>
                  <a:cubicBezTo>
                    <a:pt x="19303" y="1711"/>
                    <a:pt x="19303" y="1497"/>
                    <a:pt x="19303" y="1069"/>
                  </a:cubicBezTo>
                  <a:cubicBezTo>
                    <a:pt x="18776" y="642"/>
                    <a:pt x="17986" y="428"/>
                    <a:pt x="17722" y="0"/>
                  </a:cubicBezTo>
                  <a:cubicBezTo>
                    <a:pt x="17459" y="0"/>
                    <a:pt x="16932" y="214"/>
                    <a:pt x="16669" y="428"/>
                  </a:cubicBezTo>
                  <a:cubicBezTo>
                    <a:pt x="16405" y="1069"/>
                    <a:pt x="15878" y="642"/>
                    <a:pt x="15615" y="1069"/>
                  </a:cubicBezTo>
                  <a:cubicBezTo>
                    <a:pt x="15351" y="1925"/>
                    <a:pt x="15088" y="1069"/>
                    <a:pt x="14561" y="1069"/>
                  </a:cubicBezTo>
                  <a:cubicBezTo>
                    <a:pt x="13508" y="1069"/>
                    <a:pt x="12717" y="1069"/>
                    <a:pt x="11927" y="1069"/>
                  </a:cubicBezTo>
                  <a:cubicBezTo>
                    <a:pt x="9556" y="1069"/>
                    <a:pt x="6922" y="1069"/>
                    <a:pt x="4288" y="1069"/>
                  </a:cubicBezTo>
                  <a:cubicBezTo>
                    <a:pt x="3761" y="1069"/>
                    <a:pt x="4025" y="2566"/>
                    <a:pt x="4025" y="2994"/>
                  </a:cubicBezTo>
                  <a:cubicBezTo>
                    <a:pt x="4025" y="3422"/>
                    <a:pt x="3761" y="3422"/>
                    <a:pt x="3234" y="3422"/>
                  </a:cubicBezTo>
                  <a:cubicBezTo>
                    <a:pt x="2444" y="3422"/>
                    <a:pt x="2708" y="3422"/>
                    <a:pt x="2708" y="3850"/>
                  </a:cubicBezTo>
                  <a:cubicBezTo>
                    <a:pt x="2708" y="4919"/>
                    <a:pt x="2708" y="5774"/>
                    <a:pt x="2708" y="6844"/>
                  </a:cubicBezTo>
                  <a:cubicBezTo>
                    <a:pt x="2708" y="7271"/>
                    <a:pt x="2708" y="7699"/>
                    <a:pt x="2708" y="7913"/>
                  </a:cubicBezTo>
                  <a:cubicBezTo>
                    <a:pt x="2708" y="8341"/>
                    <a:pt x="1654" y="8127"/>
                    <a:pt x="1390" y="8341"/>
                  </a:cubicBezTo>
                  <a:close/>
                </a:path>
              </a:pathLst>
            </a:custGeom>
            <a:solidFill>
              <a:schemeClr val="accent1"/>
            </a:solid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7" name="Shape 2166">
              <a:extLst>
                <a:ext uri="{FF2B5EF4-FFF2-40B4-BE49-F238E27FC236}">
                  <a16:creationId xmlns:a16="http://schemas.microsoft.com/office/drawing/2014/main" id="{C75A13BA-76B7-803B-1559-D0B471DD035F}"/>
                </a:ext>
              </a:extLst>
            </p:cNvPr>
            <p:cNvSpPr/>
            <p:nvPr/>
          </p:nvSpPr>
          <p:spPr>
            <a:xfrm>
              <a:off x="6688084" y="3149437"/>
              <a:ext cx="211257" cy="191082"/>
            </a:xfrm>
            <a:custGeom>
              <a:avLst/>
              <a:gdLst/>
              <a:ahLst/>
              <a:cxnLst>
                <a:cxn ang="0">
                  <a:pos x="wd2" y="hd2"/>
                </a:cxn>
                <a:cxn ang="5400000">
                  <a:pos x="wd2" y="hd2"/>
                </a:cxn>
                <a:cxn ang="10800000">
                  <a:pos x="wd2" y="hd2"/>
                </a:cxn>
                <a:cxn ang="16200000">
                  <a:pos x="wd2" y="hd2"/>
                </a:cxn>
              </a:cxnLst>
              <a:rect l="0" t="0" r="r" b="b"/>
              <a:pathLst>
                <a:path w="21600" h="21600" extrusionOk="0">
                  <a:moveTo>
                    <a:pt x="2025" y="14152"/>
                  </a:moveTo>
                  <a:cubicBezTo>
                    <a:pt x="2700" y="14152"/>
                    <a:pt x="4050" y="15641"/>
                    <a:pt x="4725" y="14897"/>
                  </a:cubicBezTo>
                  <a:cubicBezTo>
                    <a:pt x="4725" y="14152"/>
                    <a:pt x="4050" y="12662"/>
                    <a:pt x="4725" y="12662"/>
                  </a:cubicBezTo>
                  <a:cubicBezTo>
                    <a:pt x="6075" y="12662"/>
                    <a:pt x="6075" y="14152"/>
                    <a:pt x="6750" y="14152"/>
                  </a:cubicBezTo>
                  <a:cubicBezTo>
                    <a:pt x="7425" y="14152"/>
                    <a:pt x="8100" y="13407"/>
                    <a:pt x="8100" y="13407"/>
                  </a:cubicBezTo>
                  <a:cubicBezTo>
                    <a:pt x="8775" y="12662"/>
                    <a:pt x="9450" y="13407"/>
                    <a:pt x="9450" y="13407"/>
                  </a:cubicBezTo>
                  <a:cubicBezTo>
                    <a:pt x="14850" y="13407"/>
                    <a:pt x="16875" y="17876"/>
                    <a:pt x="19575" y="21600"/>
                  </a:cubicBezTo>
                  <a:cubicBezTo>
                    <a:pt x="20250" y="21600"/>
                    <a:pt x="20925" y="20855"/>
                    <a:pt x="21600" y="20110"/>
                  </a:cubicBezTo>
                  <a:cubicBezTo>
                    <a:pt x="19575" y="18621"/>
                    <a:pt x="17550" y="16386"/>
                    <a:pt x="16200" y="14152"/>
                  </a:cubicBezTo>
                  <a:cubicBezTo>
                    <a:pt x="15525" y="12662"/>
                    <a:pt x="14175" y="12662"/>
                    <a:pt x="12825" y="11917"/>
                  </a:cubicBezTo>
                  <a:cubicBezTo>
                    <a:pt x="12150" y="11917"/>
                    <a:pt x="12150" y="10428"/>
                    <a:pt x="11475" y="10428"/>
                  </a:cubicBezTo>
                  <a:cubicBezTo>
                    <a:pt x="10800" y="10428"/>
                    <a:pt x="11475" y="11172"/>
                    <a:pt x="11475" y="11917"/>
                  </a:cubicBezTo>
                  <a:cubicBezTo>
                    <a:pt x="11475" y="11917"/>
                    <a:pt x="10800" y="10428"/>
                    <a:pt x="10800" y="10428"/>
                  </a:cubicBezTo>
                  <a:cubicBezTo>
                    <a:pt x="10125" y="8938"/>
                    <a:pt x="9450" y="8193"/>
                    <a:pt x="9450" y="6703"/>
                  </a:cubicBezTo>
                  <a:cubicBezTo>
                    <a:pt x="8775" y="4469"/>
                    <a:pt x="8775" y="2234"/>
                    <a:pt x="6750" y="0"/>
                  </a:cubicBezTo>
                  <a:cubicBezTo>
                    <a:pt x="6075" y="2979"/>
                    <a:pt x="2700" y="2979"/>
                    <a:pt x="1350" y="5214"/>
                  </a:cubicBezTo>
                  <a:cubicBezTo>
                    <a:pt x="675" y="6703"/>
                    <a:pt x="1350" y="8193"/>
                    <a:pt x="675" y="9683"/>
                  </a:cubicBezTo>
                  <a:cubicBezTo>
                    <a:pt x="0" y="11172"/>
                    <a:pt x="0" y="12662"/>
                    <a:pt x="0" y="14897"/>
                  </a:cubicBezTo>
                  <a:cubicBezTo>
                    <a:pt x="675" y="14152"/>
                    <a:pt x="1350" y="14152"/>
                    <a:pt x="2025" y="1415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8" name="Shape 2167">
              <a:extLst>
                <a:ext uri="{FF2B5EF4-FFF2-40B4-BE49-F238E27FC236}">
                  <a16:creationId xmlns:a16="http://schemas.microsoft.com/office/drawing/2014/main" id="{7D890E52-98F7-B517-67B9-42E81635D61B}"/>
                </a:ext>
              </a:extLst>
            </p:cNvPr>
            <p:cNvSpPr/>
            <p:nvPr/>
          </p:nvSpPr>
          <p:spPr>
            <a:xfrm>
              <a:off x="6580220" y="3262432"/>
              <a:ext cx="485427" cy="379038"/>
            </a:xfrm>
            <a:custGeom>
              <a:avLst/>
              <a:gdLst/>
              <a:ahLst/>
              <a:cxnLst>
                <a:cxn ang="0">
                  <a:pos x="wd2" y="hd2"/>
                </a:cxn>
                <a:cxn ang="5400000">
                  <a:pos x="wd2" y="hd2"/>
                </a:cxn>
                <a:cxn ang="10800000">
                  <a:pos x="wd2" y="hd2"/>
                </a:cxn>
                <a:cxn ang="16200000">
                  <a:pos x="wd2" y="hd2"/>
                </a:cxn>
              </a:cxnLst>
              <a:rect l="0" t="0" r="r" b="b"/>
              <a:pathLst>
                <a:path w="21500" h="20233" extrusionOk="0">
                  <a:moveTo>
                    <a:pt x="20332" y="12344"/>
                  </a:moveTo>
                  <a:cubicBezTo>
                    <a:pt x="18873" y="11636"/>
                    <a:pt x="17705" y="11281"/>
                    <a:pt x="16538" y="10573"/>
                  </a:cubicBezTo>
                  <a:cubicBezTo>
                    <a:pt x="15662" y="10219"/>
                    <a:pt x="15370" y="9865"/>
                    <a:pt x="14786" y="9157"/>
                  </a:cubicBezTo>
                  <a:cubicBezTo>
                    <a:pt x="14495" y="8803"/>
                    <a:pt x="14203" y="8095"/>
                    <a:pt x="13911" y="7386"/>
                  </a:cubicBezTo>
                  <a:cubicBezTo>
                    <a:pt x="13911" y="7032"/>
                    <a:pt x="14786" y="6324"/>
                    <a:pt x="14786" y="5970"/>
                  </a:cubicBezTo>
                  <a:cubicBezTo>
                    <a:pt x="14203" y="6324"/>
                    <a:pt x="13619" y="6678"/>
                    <a:pt x="13035" y="7032"/>
                  </a:cubicBezTo>
                  <a:cubicBezTo>
                    <a:pt x="12451" y="7032"/>
                    <a:pt x="12451" y="5616"/>
                    <a:pt x="12743" y="5262"/>
                  </a:cubicBezTo>
                  <a:cubicBezTo>
                    <a:pt x="13619" y="4199"/>
                    <a:pt x="13327" y="4199"/>
                    <a:pt x="12743" y="3137"/>
                  </a:cubicBezTo>
                  <a:cubicBezTo>
                    <a:pt x="12159" y="2429"/>
                    <a:pt x="11576" y="1013"/>
                    <a:pt x="10700" y="658"/>
                  </a:cubicBezTo>
                  <a:cubicBezTo>
                    <a:pt x="10116" y="658"/>
                    <a:pt x="8657" y="-50"/>
                    <a:pt x="8073" y="304"/>
                  </a:cubicBezTo>
                  <a:cubicBezTo>
                    <a:pt x="7489" y="1367"/>
                    <a:pt x="6905" y="-1112"/>
                    <a:pt x="6905" y="658"/>
                  </a:cubicBezTo>
                  <a:cubicBezTo>
                    <a:pt x="6905" y="1367"/>
                    <a:pt x="6322" y="1013"/>
                    <a:pt x="6030" y="658"/>
                  </a:cubicBezTo>
                  <a:cubicBezTo>
                    <a:pt x="5738" y="658"/>
                    <a:pt x="5446" y="658"/>
                    <a:pt x="5154" y="658"/>
                  </a:cubicBezTo>
                  <a:cubicBezTo>
                    <a:pt x="4570" y="1013"/>
                    <a:pt x="4862" y="1013"/>
                    <a:pt x="4862" y="1721"/>
                  </a:cubicBezTo>
                  <a:cubicBezTo>
                    <a:pt x="4862" y="2075"/>
                    <a:pt x="4570" y="3137"/>
                    <a:pt x="4278" y="3491"/>
                  </a:cubicBezTo>
                  <a:cubicBezTo>
                    <a:pt x="4278" y="3845"/>
                    <a:pt x="3403" y="3491"/>
                    <a:pt x="3403" y="3845"/>
                  </a:cubicBezTo>
                  <a:cubicBezTo>
                    <a:pt x="3403" y="4554"/>
                    <a:pt x="2819" y="4908"/>
                    <a:pt x="2819" y="5262"/>
                  </a:cubicBezTo>
                  <a:cubicBezTo>
                    <a:pt x="2819" y="5616"/>
                    <a:pt x="3111" y="6678"/>
                    <a:pt x="2819" y="7032"/>
                  </a:cubicBezTo>
                  <a:cubicBezTo>
                    <a:pt x="1068" y="7386"/>
                    <a:pt x="1651" y="9511"/>
                    <a:pt x="1359" y="10927"/>
                  </a:cubicBezTo>
                  <a:cubicBezTo>
                    <a:pt x="1068" y="11281"/>
                    <a:pt x="776" y="11281"/>
                    <a:pt x="192" y="11281"/>
                  </a:cubicBezTo>
                  <a:cubicBezTo>
                    <a:pt x="-100" y="11636"/>
                    <a:pt x="-100" y="12344"/>
                    <a:pt x="484" y="12344"/>
                  </a:cubicBezTo>
                  <a:cubicBezTo>
                    <a:pt x="1359" y="12698"/>
                    <a:pt x="2235" y="14822"/>
                    <a:pt x="2527" y="15531"/>
                  </a:cubicBezTo>
                  <a:cubicBezTo>
                    <a:pt x="2819" y="16239"/>
                    <a:pt x="3111" y="16239"/>
                    <a:pt x="3695" y="16593"/>
                  </a:cubicBezTo>
                  <a:cubicBezTo>
                    <a:pt x="3986" y="16947"/>
                    <a:pt x="3695" y="17655"/>
                    <a:pt x="3986" y="18009"/>
                  </a:cubicBezTo>
                  <a:cubicBezTo>
                    <a:pt x="4570" y="18718"/>
                    <a:pt x="5154" y="18009"/>
                    <a:pt x="5738" y="18363"/>
                  </a:cubicBezTo>
                  <a:cubicBezTo>
                    <a:pt x="6030" y="18718"/>
                    <a:pt x="6614" y="19426"/>
                    <a:pt x="7197" y="19780"/>
                  </a:cubicBezTo>
                  <a:cubicBezTo>
                    <a:pt x="7781" y="19780"/>
                    <a:pt x="8949" y="20488"/>
                    <a:pt x="9532" y="20134"/>
                  </a:cubicBezTo>
                  <a:cubicBezTo>
                    <a:pt x="10116" y="19426"/>
                    <a:pt x="10408" y="18718"/>
                    <a:pt x="11284" y="19072"/>
                  </a:cubicBezTo>
                  <a:cubicBezTo>
                    <a:pt x="12159" y="19426"/>
                    <a:pt x="13035" y="19072"/>
                    <a:pt x="13619" y="18718"/>
                  </a:cubicBezTo>
                  <a:cubicBezTo>
                    <a:pt x="14203" y="18009"/>
                    <a:pt x="14786" y="17655"/>
                    <a:pt x="15662" y="17655"/>
                  </a:cubicBezTo>
                  <a:cubicBezTo>
                    <a:pt x="15954" y="17655"/>
                    <a:pt x="17122" y="17655"/>
                    <a:pt x="17122" y="17655"/>
                  </a:cubicBezTo>
                  <a:cubicBezTo>
                    <a:pt x="18581" y="15885"/>
                    <a:pt x="20041" y="14114"/>
                    <a:pt x="21500" y="12344"/>
                  </a:cubicBezTo>
                  <a:cubicBezTo>
                    <a:pt x="21208" y="12344"/>
                    <a:pt x="20624" y="12344"/>
                    <a:pt x="20332" y="1234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49" name="Shape 2168">
              <a:extLst>
                <a:ext uri="{FF2B5EF4-FFF2-40B4-BE49-F238E27FC236}">
                  <a16:creationId xmlns:a16="http://schemas.microsoft.com/office/drawing/2014/main" id="{48981090-2749-9E3B-C7F3-4D37319A0AC9}"/>
                </a:ext>
              </a:extLst>
            </p:cNvPr>
            <p:cNvSpPr/>
            <p:nvPr/>
          </p:nvSpPr>
          <p:spPr>
            <a:xfrm>
              <a:off x="6602679" y="3360749"/>
              <a:ext cx="567829" cy="548511"/>
            </a:xfrm>
            <a:custGeom>
              <a:avLst/>
              <a:gdLst/>
              <a:ahLst/>
              <a:cxnLst>
                <a:cxn ang="0">
                  <a:pos x="wd2" y="hd2"/>
                </a:cxn>
                <a:cxn ang="5400000">
                  <a:pos x="wd2" y="hd2"/>
                </a:cxn>
                <a:cxn ang="10800000">
                  <a:pos x="wd2" y="hd2"/>
                </a:cxn>
                <a:cxn ang="16200000">
                  <a:pos x="wd2" y="hd2"/>
                </a:cxn>
              </a:cxnLst>
              <a:rect l="0" t="0" r="r" b="b"/>
              <a:pathLst>
                <a:path w="21402" h="21600" extrusionOk="0">
                  <a:moveTo>
                    <a:pt x="21352" y="260"/>
                  </a:moveTo>
                  <a:cubicBezTo>
                    <a:pt x="21600" y="0"/>
                    <a:pt x="20855" y="0"/>
                    <a:pt x="20607" y="0"/>
                  </a:cubicBezTo>
                  <a:cubicBezTo>
                    <a:pt x="20359" y="260"/>
                    <a:pt x="20110" y="520"/>
                    <a:pt x="19614" y="781"/>
                  </a:cubicBezTo>
                  <a:cubicBezTo>
                    <a:pt x="19117" y="781"/>
                    <a:pt x="18372" y="781"/>
                    <a:pt x="17628" y="781"/>
                  </a:cubicBezTo>
                  <a:cubicBezTo>
                    <a:pt x="17628" y="1041"/>
                    <a:pt x="17379" y="1041"/>
                    <a:pt x="17131" y="1041"/>
                  </a:cubicBezTo>
                  <a:cubicBezTo>
                    <a:pt x="16883" y="1041"/>
                    <a:pt x="16883" y="781"/>
                    <a:pt x="16883" y="781"/>
                  </a:cubicBezTo>
                  <a:cubicBezTo>
                    <a:pt x="16386" y="1041"/>
                    <a:pt x="16138" y="1561"/>
                    <a:pt x="15641" y="1561"/>
                  </a:cubicBezTo>
                  <a:cubicBezTo>
                    <a:pt x="15145" y="1561"/>
                    <a:pt x="15145" y="1301"/>
                    <a:pt x="14400" y="1301"/>
                  </a:cubicBezTo>
                  <a:cubicBezTo>
                    <a:pt x="14152" y="1561"/>
                    <a:pt x="13655" y="2082"/>
                    <a:pt x="13159" y="1822"/>
                  </a:cubicBezTo>
                  <a:cubicBezTo>
                    <a:pt x="12414" y="1561"/>
                    <a:pt x="12166" y="1301"/>
                    <a:pt x="11669" y="520"/>
                  </a:cubicBezTo>
                  <a:cubicBezTo>
                    <a:pt x="11669" y="781"/>
                    <a:pt x="10924" y="1301"/>
                    <a:pt x="10924" y="1561"/>
                  </a:cubicBezTo>
                  <a:cubicBezTo>
                    <a:pt x="11172" y="2082"/>
                    <a:pt x="11421" y="2602"/>
                    <a:pt x="11917" y="3123"/>
                  </a:cubicBezTo>
                  <a:cubicBezTo>
                    <a:pt x="12414" y="3643"/>
                    <a:pt x="13159" y="3904"/>
                    <a:pt x="13903" y="4164"/>
                  </a:cubicBezTo>
                  <a:cubicBezTo>
                    <a:pt x="15145" y="4684"/>
                    <a:pt x="16138" y="5205"/>
                    <a:pt x="17379" y="5205"/>
                  </a:cubicBezTo>
                  <a:cubicBezTo>
                    <a:pt x="16883" y="5725"/>
                    <a:pt x="16138" y="6506"/>
                    <a:pt x="15641" y="7027"/>
                  </a:cubicBezTo>
                  <a:cubicBezTo>
                    <a:pt x="15145" y="7547"/>
                    <a:pt x="14648" y="8067"/>
                    <a:pt x="14400" y="8588"/>
                  </a:cubicBezTo>
                  <a:cubicBezTo>
                    <a:pt x="14152" y="8588"/>
                    <a:pt x="13903" y="9108"/>
                    <a:pt x="13655" y="9108"/>
                  </a:cubicBezTo>
                  <a:cubicBezTo>
                    <a:pt x="13159" y="9369"/>
                    <a:pt x="12414" y="8848"/>
                    <a:pt x="11917" y="9108"/>
                  </a:cubicBezTo>
                  <a:cubicBezTo>
                    <a:pt x="11421" y="9108"/>
                    <a:pt x="10924" y="9629"/>
                    <a:pt x="10428" y="9889"/>
                  </a:cubicBezTo>
                  <a:cubicBezTo>
                    <a:pt x="9931" y="10149"/>
                    <a:pt x="9434" y="10410"/>
                    <a:pt x="8938" y="10149"/>
                  </a:cubicBezTo>
                  <a:cubicBezTo>
                    <a:pt x="8690" y="10149"/>
                    <a:pt x="8193" y="9889"/>
                    <a:pt x="7945" y="10149"/>
                  </a:cubicBezTo>
                  <a:cubicBezTo>
                    <a:pt x="7200" y="10670"/>
                    <a:pt x="7200" y="11190"/>
                    <a:pt x="6455" y="10930"/>
                  </a:cubicBezTo>
                  <a:cubicBezTo>
                    <a:pt x="5959" y="10670"/>
                    <a:pt x="5462" y="10670"/>
                    <a:pt x="5214" y="10670"/>
                  </a:cubicBezTo>
                  <a:cubicBezTo>
                    <a:pt x="4717" y="10410"/>
                    <a:pt x="4221" y="9889"/>
                    <a:pt x="3972" y="9629"/>
                  </a:cubicBezTo>
                  <a:cubicBezTo>
                    <a:pt x="3724" y="9629"/>
                    <a:pt x="2979" y="9889"/>
                    <a:pt x="2731" y="9629"/>
                  </a:cubicBezTo>
                  <a:cubicBezTo>
                    <a:pt x="2483" y="9369"/>
                    <a:pt x="1986" y="8848"/>
                    <a:pt x="1738" y="8848"/>
                  </a:cubicBezTo>
                  <a:cubicBezTo>
                    <a:pt x="745" y="9108"/>
                    <a:pt x="497" y="9369"/>
                    <a:pt x="0" y="10149"/>
                  </a:cubicBezTo>
                  <a:cubicBezTo>
                    <a:pt x="0" y="10410"/>
                    <a:pt x="745" y="10410"/>
                    <a:pt x="745" y="10670"/>
                  </a:cubicBezTo>
                  <a:cubicBezTo>
                    <a:pt x="745" y="11190"/>
                    <a:pt x="745" y="11451"/>
                    <a:pt x="993" y="11711"/>
                  </a:cubicBezTo>
                  <a:cubicBezTo>
                    <a:pt x="1490" y="12231"/>
                    <a:pt x="1241" y="13533"/>
                    <a:pt x="745" y="14053"/>
                  </a:cubicBezTo>
                  <a:cubicBezTo>
                    <a:pt x="497" y="14313"/>
                    <a:pt x="248" y="14573"/>
                    <a:pt x="0" y="15094"/>
                  </a:cubicBezTo>
                  <a:cubicBezTo>
                    <a:pt x="0" y="15875"/>
                    <a:pt x="497" y="15354"/>
                    <a:pt x="745" y="15614"/>
                  </a:cubicBezTo>
                  <a:cubicBezTo>
                    <a:pt x="745" y="15614"/>
                    <a:pt x="0" y="16655"/>
                    <a:pt x="248" y="16916"/>
                  </a:cubicBezTo>
                  <a:cubicBezTo>
                    <a:pt x="497" y="16916"/>
                    <a:pt x="745" y="17176"/>
                    <a:pt x="993" y="17176"/>
                  </a:cubicBezTo>
                  <a:cubicBezTo>
                    <a:pt x="1986" y="17957"/>
                    <a:pt x="2979" y="18477"/>
                    <a:pt x="3724" y="18998"/>
                  </a:cubicBezTo>
                  <a:cubicBezTo>
                    <a:pt x="4469" y="19258"/>
                    <a:pt x="4717" y="19258"/>
                    <a:pt x="4717" y="20039"/>
                  </a:cubicBezTo>
                  <a:cubicBezTo>
                    <a:pt x="4717" y="20559"/>
                    <a:pt x="6207" y="21340"/>
                    <a:pt x="6455" y="21600"/>
                  </a:cubicBezTo>
                  <a:cubicBezTo>
                    <a:pt x="6952" y="20819"/>
                    <a:pt x="7200" y="20299"/>
                    <a:pt x="7448" y="19778"/>
                  </a:cubicBezTo>
                  <a:cubicBezTo>
                    <a:pt x="7448" y="19258"/>
                    <a:pt x="7697" y="18737"/>
                    <a:pt x="8193" y="18737"/>
                  </a:cubicBezTo>
                  <a:cubicBezTo>
                    <a:pt x="8441" y="18477"/>
                    <a:pt x="8441" y="18217"/>
                    <a:pt x="8690" y="17957"/>
                  </a:cubicBezTo>
                  <a:cubicBezTo>
                    <a:pt x="9186" y="17696"/>
                    <a:pt x="9434" y="17436"/>
                    <a:pt x="9931" y="16916"/>
                  </a:cubicBezTo>
                  <a:cubicBezTo>
                    <a:pt x="11172" y="14834"/>
                    <a:pt x="12910" y="13793"/>
                    <a:pt x="14648" y="12492"/>
                  </a:cubicBezTo>
                  <a:cubicBezTo>
                    <a:pt x="16883" y="10930"/>
                    <a:pt x="18124" y="8588"/>
                    <a:pt x="19117" y="6246"/>
                  </a:cubicBezTo>
                  <a:cubicBezTo>
                    <a:pt x="19614" y="5205"/>
                    <a:pt x="20359" y="4684"/>
                    <a:pt x="20855" y="3643"/>
                  </a:cubicBezTo>
                  <a:cubicBezTo>
                    <a:pt x="21103" y="3123"/>
                    <a:pt x="21103" y="2342"/>
                    <a:pt x="21352" y="1822"/>
                  </a:cubicBezTo>
                  <a:cubicBezTo>
                    <a:pt x="21352" y="1561"/>
                    <a:pt x="21103" y="520"/>
                    <a:pt x="21352" y="260"/>
                  </a:cubicBezTo>
                  <a:cubicBezTo>
                    <a:pt x="21352" y="260"/>
                    <a:pt x="21352" y="260"/>
                    <a:pt x="21352" y="2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0" name="Shape 2169">
              <a:extLst>
                <a:ext uri="{FF2B5EF4-FFF2-40B4-BE49-F238E27FC236}">
                  <a16:creationId xmlns:a16="http://schemas.microsoft.com/office/drawing/2014/main" id="{C493EA1B-56A1-8291-CB19-CA425C140083}"/>
                </a:ext>
              </a:extLst>
            </p:cNvPr>
            <p:cNvSpPr/>
            <p:nvPr/>
          </p:nvSpPr>
          <p:spPr>
            <a:xfrm>
              <a:off x="6861135" y="3333242"/>
              <a:ext cx="52975" cy="62482"/>
            </a:xfrm>
            <a:custGeom>
              <a:avLst/>
              <a:gdLst/>
              <a:ahLst/>
              <a:cxnLst>
                <a:cxn ang="0">
                  <a:pos x="wd2" y="hd2"/>
                </a:cxn>
                <a:cxn ang="5400000">
                  <a:pos x="wd2" y="hd2"/>
                </a:cxn>
                <a:cxn ang="10800000">
                  <a:pos x="wd2" y="hd2"/>
                </a:cxn>
                <a:cxn ang="16200000">
                  <a:pos x="wd2" y="hd2"/>
                </a:cxn>
              </a:cxnLst>
              <a:rect l="0" t="0" r="r" b="b"/>
              <a:pathLst>
                <a:path w="19582" h="18761" extrusionOk="0">
                  <a:moveTo>
                    <a:pt x="7200" y="2737"/>
                  </a:moveTo>
                  <a:cubicBezTo>
                    <a:pt x="4800" y="4701"/>
                    <a:pt x="2400" y="6665"/>
                    <a:pt x="2400" y="8628"/>
                  </a:cubicBezTo>
                  <a:cubicBezTo>
                    <a:pt x="0" y="8628"/>
                    <a:pt x="0" y="16483"/>
                    <a:pt x="0" y="18446"/>
                  </a:cubicBezTo>
                  <a:cubicBezTo>
                    <a:pt x="4800" y="20410"/>
                    <a:pt x="16800" y="12555"/>
                    <a:pt x="19200" y="12555"/>
                  </a:cubicBezTo>
                  <a:cubicBezTo>
                    <a:pt x="19200" y="10592"/>
                    <a:pt x="12000" y="8628"/>
                    <a:pt x="9600" y="10592"/>
                  </a:cubicBezTo>
                  <a:cubicBezTo>
                    <a:pt x="12000" y="8628"/>
                    <a:pt x="21600" y="6665"/>
                    <a:pt x="19200" y="4701"/>
                  </a:cubicBezTo>
                  <a:cubicBezTo>
                    <a:pt x="16800" y="-1190"/>
                    <a:pt x="12000" y="-1190"/>
                    <a:pt x="7200" y="2737"/>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1" name="Shape 2170">
              <a:extLst>
                <a:ext uri="{FF2B5EF4-FFF2-40B4-BE49-F238E27FC236}">
                  <a16:creationId xmlns:a16="http://schemas.microsoft.com/office/drawing/2014/main" id="{6660EEBB-159C-4399-4D62-6C7A9CBB03C0}"/>
                </a:ext>
              </a:extLst>
            </p:cNvPr>
            <p:cNvSpPr/>
            <p:nvPr/>
          </p:nvSpPr>
          <p:spPr>
            <a:xfrm>
              <a:off x="6465590" y="3619269"/>
              <a:ext cx="170802" cy="180480"/>
            </a:xfrm>
            <a:custGeom>
              <a:avLst/>
              <a:gdLst/>
              <a:ahLst/>
              <a:cxnLst>
                <a:cxn ang="0">
                  <a:pos x="wd2" y="hd2"/>
                </a:cxn>
                <a:cxn ang="5400000">
                  <a:pos x="wd2" y="hd2"/>
                </a:cxn>
                <a:cxn ang="10800000">
                  <a:pos x="wd2" y="hd2"/>
                </a:cxn>
                <a:cxn ang="16200000">
                  <a:pos x="wd2" y="hd2"/>
                </a:cxn>
              </a:cxnLst>
              <a:rect l="0" t="0" r="r" b="b"/>
              <a:pathLst>
                <a:path w="21600" h="21148" extrusionOk="0">
                  <a:moveTo>
                    <a:pt x="18277" y="13886"/>
                  </a:moveTo>
                  <a:cubicBezTo>
                    <a:pt x="18277" y="12343"/>
                    <a:pt x="19938" y="11571"/>
                    <a:pt x="20769" y="10800"/>
                  </a:cubicBezTo>
                  <a:cubicBezTo>
                    <a:pt x="21600" y="10029"/>
                    <a:pt x="21600" y="7714"/>
                    <a:pt x="21600" y="6171"/>
                  </a:cubicBezTo>
                  <a:cubicBezTo>
                    <a:pt x="21600" y="4629"/>
                    <a:pt x="19938" y="3857"/>
                    <a:pt x="19938" y="2314"/>
                  </a:cubicBezTo>
                  <a:cubicBezTo>
                    <a:pt x="19938" y="771"/>
                    <a:pt x="18277" y="771"/>
                    <a:pt x="17446" y="0"/>
                  </a:cubicBezTo>
                  <a:cubicBezTo>
                    <a:pt x="16615" y="771"/>
                    <a:pt x="14954" y="0"/>
                    <a:pt x="13292" y="771"/>
                  </a:cubicBezTo>
                  <a:cubicBezTo>
                    <a:pt x="12462" y="1543"/>
                    <a:pt x="10800" y="3086"/>
                    <a:pt x="9969" y="2314"/>
                  </a:cubicBezTo>
                  <a:cubicBezTo>
                    <a:pt x="8308" y="771"/>
                    <a:pt x="5815" y="0"/>
                    <a:pt x="4985" y="1543"/>
                  </a:cubicBezTo>
                  <a:cubicBezTo>
                    <a:pt x="4154" y="3086"/>
                    <a:pt x="4985" y="5400"/>
                    <a:pt x="5815" y="6171"/>
                  </a:cubicBezTo>
                  <a:cubicBezTo>
                    <a:pt x="6646" y="7714"/>
                    <a:pt x="5815" y="7714"/>
                    <a:pt x="4985" y="9257"/>
                  </a:cubicBezTo>
                  <a:cubicBezTo>
                    <a:pt x="4154" y="10800"/>
                    <a:pt x="2492" y="11571"/>
                    <a:pt x="1662" y="12343"/>
                  </a:cubicBezTo>
                  <a:cubicBezTo>
                    <a:pt x="831" y="13886"/>
                    <a:pt x="0" y="14657"/>
                    <a:pt x="0" y="16971"/>
                  </a:cubicBezTo>
                  <a:cubicBezTo>
                    <a:pt x="0" y="17743"/>
                    <a:pt x="831" y="19286"/>
                    <a:pt x="0" y="20829"/>
                  </a:cubicBezTo>
                  <a:cubicBezTo>
                    <a:pt x="1662" y="21600"/>
                    <a:pt x="1662" y="20829"/>
                    <a:pt x="3323" y="20057"/>
                  </a:cubicBezTo>
                  <a:cubicBezTo>
                    <a:pt x="4985" y="19286"/>
                    <a:pt x="7477" y="19286"/>
                    <a:pt x="9138" y="19286"/>
                  </a:cubicBezTo>
                  <a:cubicBezTo>
                    <a:pt x="8308" y="16971"/>
                    <a:pt x="9969" y="16200"/>
                    <a:pt x="11631" y="15429"/>
                  </a:cubicBezTo>
                  <a:cubicBezTo>
                    <a:pt x="13292" y="14657"/>
                    <a:pt x="16615" y="13114"/>
                    <a:pt x="17446" y="15429"/>
                  </a:cubicBezTo>
                  <a:cubicBezTo>
                    <a:pt x="17446" y="14657"/>
                    <a:pt x="17446" y="13886"/>
                    <a:pt x="18277" y="13886"/>
                  </a:cubicBezTo>
                  <a:cubicBezTo>
                    <a:pt x="18277" y="12343"/>
                    <a:pt x="17446" y="13886"/>
                    <a:pt x="18277" y="1388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2" name="Shape 2171">
              <a:extLst>
                <a:ext uri="{FF2B5EF4-FFF2-40B4-BE49-F238E27FC236}">
                  <a16:creationId xmlns:a16="http://schemas.microsoft.com/office/drawing/2014/main" id="{6B38E2F1-A6FC-D914-2332-7C5D58310479}"/>
                </a:ext>
              </a:extLst>
            </p:cNvPr>
            <p:cNvSpPr/>
            <p:nvPr/>
          </p:nvSpPr>
          <p:spPr>
            <a:xfrm>
              <a:off x="6445362" y="3830580"/>
              <a:ext cx="59535" cy="65192"/>
            </a:xfrm>
            <a:custGeom>
              <a:avLst/>
              <a:gdLst/>
              <a:ahLst/>
              <a:cxnLst>
                <a:cxn ang="0">
                  <a:pos x="wd2" y="hd2"/>
                </a:cxn>
                <a:cxn ang="5400000">
                  <a:pos x="wd2" y="hd2"/>
                </a:cxn>
                <a:cxn ang="10800000">
                  <a:pos x="wd2" y="hd2"/>
                </a:cxn>
                <a:cxn ang="16200000">
                  <a:pos x="wd2" y="hd2"/>
                </a:cxn>
              </a:cxnLst>
              <a:rect l="0" t="0" r="r" b="b"/>
              <a:pathLst>
                <a:path w="19731" h="21600" extrusionOk="0">
                  <a:moveTo>
                    <a:pt x="2160" y="12960"/>
                  </a:moveTo>
                  <a:cubicBezTo>
                    <a:pt x="4320" y="15120"/>
                    <a:pt x="4320" y="19440"/>
                    <a:pt x="6480" y="21600"/>
                  </a:cubicBezTo>
                  <a:cubicBezTo>
                    <a:pt x="10800" y="19440"/>
                    <a:pt x="15120" y="15120"/>
                    <a:pt x="19440" y="10800"/>
                  </a:cubicBezTo>
                  <a:cubicBezTo>
                    <a:pt x="21600" y="6480"/>
                    <a:pt x="10800" y="8640"/>
                    <a:pt x="17280" y="0"/>
                  </a:cubicBezTo>
                  <a:cubicBezTo>
                    <a:pt x="15120" y="0"/>
                    <a:pt x="6480" y="0"/>
                    <a:pt x="8640" y="2160"/>
                  </a:cubicBezTo>
                  <a:cubicBezTo>
                    <a:pt x="10800" y="6480"/>
                    <a:pt x="2160" y="4320"/>
                    <a:pt x="0" y="2160"/>
                  </a:cubicBezTo>
                  <a:cubicBezTo>
                    <a:pt x="0" y="6480"/>
                    <a:pt x="2160" y="8640"/>
                    <a:pt x="2160" y="129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3" name="Shape 2172">
              <a:extLst>
                <a:ext uri="{FF2B5EF4-FFF2-40B4-BE49-F238E27FC236}">
                  <a16:creationId xmlns:a16="http://schemas.microsoft.com/office/drawing/2014/main" id="{85DFB465-A4F2-C255-DA53-8D3DB451AE8A}"/>
                </a:ext>
              </a:extLst>
            </p:cNvPr>
            <p:cNvSpPr/>
            <p:nvPr/>
          </p:nvSpPr>
          <p:spPr>
            <a:xfrm>
              <a:off x="6445362" y="3790117"/>
              <a:ext cx="60796" cy="54996"/>
            </a:xfrm>
            <a:custGeom>
              <a:avLst/>
              <a:gdLst/>
              <a:ahLst/>
              <a:cxnLst>
                <a:cxn ang="0">
                  <a:pos x="wd2" y="hd2"/>
                </a:cxn>
                <a:cxn ang="5400000">
                  <a:pos x="wd2" y="hd2"/>
                </a:cxn>
                <a:cxn ang="10800000">
                  <a:pos x="wd2" y="hd2"/>
                </a:cxn>
                <a:cxn ang="16200000">
                  <a:pos x="wd2" y="hd2"/>
                </a:cxn>
              </a:cxnLst>
              <a:rect l="0" t="0" r="r" b="b"/>
              <a:pathLst>
                <a:path w="18260" h="19571" extrusionOk="0">
                  <a:moveTo>
                    <a:pt x="5891" y="2400"/>
                  </a:moveTo>
                  <a:cubicBezTo>
                    <a:pt x="1964" y="4800"/>
                    <a:pt x="0" y="12000"/>
                    <a:pt x="0" y="16800"/>
                  </a:cubicBezTo>
                  <a:cubicBezTo>
                    <a:pt x="1964" y="19200"/>
                    <a:pt x="9818" y="21600"/>
                    <a:pt x="7855" y="16800"/>
                  </a:cubicBezTo>
                  <a:cubicBezTo>
                    <a:pt x="5891" y="14400"/>
                    <a:pt x="13745" y="14400"/>
                    <a:pt x="15709" y="14400"/>
                  </a:cubicBezTo>
                  <a:cubicBezTo>
                    <a:pt x="21600" y="12000"/>
                    <a:pt x="15709" y="2400"/>
                    <a:pt x="13745" y="0"/>
                  </a:cubicBezTo>
                  <a:cubicBezTo>
                    <a:pt x="9818" y="2400"/>
                    <a:pt x="9818" y="4800"/>
                    <a:pt x="5891" y="2400"/>
                  </a:cubicBezTo>
                  <a:cubicBezTo>
                    <a:pt x="3927" y="2400"/>
                    <a:pt x="7855" y="2400"/>
                    <a:pt x="5891" y="2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4" name="Shape 2173">
              <a:extLst>
                <a:ext uri="{FF2B5EF4-FFF2-40B4-BE49-F238E27FC236}">
                  <a16:creationId xmlns:a16="http://schemas.microsoft.com/office/drawing/2014/main" id="{93117258-B846-8A34-B18D-2BA71E007971}"/>
                </a:ext>
              </a:extLst>
            </p:cNvPr>
            <p:cNvSpPr/>
            <p:nvPr/>
          </p:nvSpPr>
          <p:spPr>
            <a:xfrm>
              <a:off x="6463778" y="3780535"/>
              <a:ext cx="350160" cy="363247"/>
            </a:xfrm>
            <a:custGeom>
              <a:avLst/>
              <a:gdLst/>
              <a:ahLst/>
              <a:cxnLst>
                <a:cxn ang="0">
                  <a:pos x="wd2" y="hd2"/>
                </a:cxn>
                <a:cxn ang="5400000">
                  <a:pos x="wd2" y="hd2"/>
                </a:cxn>
                <a:cxn ang="10800000">
                  <a:pos x="wd2" y="hd2"/>
                </a:cxn>
                <a:cxn ang="16200000">
                  <a:pos x="wd2" y="hd2"/>
                </a:cxn>
              </a:cxnLst>
              <a:rect l="0" t="0" r="r" b="b"/>
              <a:pathLst>
                <a:path w="21300" h="20411" extrusionOk="0">
                  <a:moveTo>
                    <a:pt x="16100" y="4243"/>
                  </a:moveTo>
                  <a:cubicBezTo>
                    <a:pt x="13700" y="2754"/>
                    <a:pt x="11300" y="1636"/>
                    <a:pt x="8900" y="519"/>
                  </a:cubicBezTo>
                  <a:cubicBezTo>
                    <a:pt x="8500" y="1264"/>
                    <a:pt x="7300" y="2009"/>
                    <a:pt x="6500" y="2009"/>
                  </a:cubicBezTo>
                  <a:cubicBezTo>
                    <a:pt x="6500" y="2009"/>
                    <a:pt x="8100" y="2381"/>
                    <a:pt x="8100" y="2754"/>
                  </a:cubicBezTo>
                  <a:cubicBezTo>
                    <a:pt x="7700" y="3126"/>
                    <a:pt x="6900" y="2754"/>
                    <a:pt x="6500" y="2754"/>
                  </a:cubicBezTo>
                  <a:cubicBezTo>
                    <a:pt x="5700" y="2381"/>
                    <a:pt x="5700" y="2754"/>
                    <a:pt x="4900" y="3126"/>
                  </a:cubicBezTo>
                  <a:cubicBezTo>
                    <a:pt x="4900" y="3126"/>
                    <a:pt x="4100" y="2754"/>
                    <a:pt x="4100" y="2381"/>
                  </a:cubicBezTo>
                  <a:cubicBezTo>
                    <a:pt x="3700" y="2009"/>
                    <a:pt x="4100" y="1264"/>
                    <a:pt x="4500" y="892"/>
                  </a:cubicBezTo>
                  <a:cubicBezTo>
                    <a:pt x="4900" y="-598"/>
                    <a:pt x="2500" y="147"/>
                    <a:pt x="1700" y="519"/>
                  </a:cubicBezTo>
                  <a:cubicBezTo>
                    <a:pt x="2100" y="892"/>
                    <a:pt x="2900" y="2009"/>
                    <a:pt x="2500" y="2381"/>
                  </a:cubicBezTo>
                  <a:cubicBezTo>
                    <a:pt x="2500" y="2754"/>
                    <a:pt x="900" y="3871"/>
                    <a:pt x="1700" y="3871"/>
                  </a:cubicBezTo>
                  <a:cubicBezTo>
                    <a:pt x="2900" y="4243"/>
                    <a:pt x="2500" y="4616"/>
                    <a:pt x="2100" y="5361"/>
                  </a:cubicBezTo>
                  <a:cubicBezTo>
                    <a:pt x="1700" y="5361"/>
                    <a:pt x="900" y="5733"/>
                    <a:pt x="500" y="6105"/>
                  </a:cubicBezTo>
                  <a:cubicBezTo>
                    <a:pt x="-300" y="6478"/>
                    <a:pt x="100" y="6478"/>
                    <a:pt x="100" y="7223"/>
                  </a:cubicBezTo>
                  <a:cubicBezTo>
                    <a:pt x="500" y="9085"/>
                    <a:pt x="1300" y="10202"/>
                    <a:pt x="1700" y="11692"/>
                  </a:cubicBezTo>
                  <a:cubicBezTo>
                    <a:pt x="1700" y="13554"/>
                    <a:pt x="3300" y="14299"/>
                    <a:pt x="4500" y="15043"/>
                  </a:cubicBezTo>
                  <a:cubicBezTo>
                    <a:pt x="4900" y="15416"/>
                    <a:pt x="5300" y="15416"/>
                    <a:pt x="5700" y="15416"/>
                  </a:cubicBezTo>
                  <a:cubicBezTo>
                    <a:pt x="6100" y="15416"/>
                    <a:pt x="6100" y="15788"/>
                    <a:pt x="6500" y="16161"/>
                  </a:cubicBezTo>
                  <a:cubicBezTo>
                    <a:pt x="7300" y="16161"/>
                    <a:pt x="8500" y="16161"/>
                    <a:pt x="9300" y="16905"/>
                  </a:cubicBezTo>
                  <a:cubicBezTo>
                    <a:pt x="9700" y="17278"/>
                    <a:pt x="9700" y="18395"/>
                    <a:pt x="9700" y="19140"/>
                  </a:cubicBezTo>
                  <a:cubicBezTo>
                    <a:pt x="10100" y="19512"/>
                    <a:pt x="9700" y="19885"/>
                    <a:pt x="10500" y="19885"/>
                  </a:cubicBezTo>
                  <a:cubicBezTo>
                    <a:pt x="10900" y="19885"/>
                    <a:pt x="11300" y="19885"/>
                    <a:pt x="11700" y="19885"/>
                  </a:cubicBezTo>
                  <a:cubicBezTo>
                    <a:pt x="12100" y="19885"/>
                    <a:pt x="12500" y="19885"/>
                    <a:pt x="12900" y="20257"/>
                  </a:cubicBezTo>
                  <a:cubicBezTo>
                    <a:pt x="13300" y="20630"/>
                    <a:pt x="13700" y="20257"/>
                    <a:pt x="14100" y="19885"/>
                  </a:cubicBezTo>
                  <a:cubicBezTo>
                    <a:pt x="14900" y="19512"/>
                    <a:pt x="15700" y="21002"/>
                    <a:pt x="16500" y="19885"/>
                  </a:cubicBezTo>
                  <a:cubicBezTo>
                    <a:pt x="16500" y="19140"/>
                    <a:pt x="17700" y="19512"/>
                    <a:pt x="18100" y="19512"/>
                  </a:cubicBezTo>
                  <a:cubicBezTo>
                    <a:pt x="19300" y="19140"/>
                    <a:pt x="20100" y="18395"/>
                    <a:pt x="21300" y="17650"/>
                  </a:cubicBezTo>
                  <a:cubicBezTo>
                    <a:pt x="19300" y="16533"/>
                    <a:pt x="19300" y="15043"/>
                    <a:pt x="19300" y="12809"/>
                  </a:cubicBezTo>
                  <a:cubicBezTo>
                    <a:pt x="18900" y="12436"/>
                    <a:pt x="19700" y="11692"/>
                    <a:pt x="19300" y="11319"/>
                  </a:cubicBezTo>
                  <a:cubicBezTo>
                    <a:pt x="18900" y="10947"/>
                    <a:pt x="18100" y="10574"/>
                    <a:pt x="18100" y="9830"/>
                  </a:cubicBezTo>
                  <a:cubicBezTo>
                    <a:pt x="18100" y="9457"/>
                    <a:pt x="18900" y="6850"/>
                    <a:pt x="18900" y="6850"/>
                  </a:cubicBezTo>
                  <a:cubicBezTo>
                    <a:pt x="18500" y="6850"/>
                    <a:pt x="18100" y="6478"/>
                    <a:pt x="17700" y="6105"/>
                  </a:cubicBezTo>
                  <a:cubicBezTo>
                    <a:pt x="17300" y="5733"/>
                    <a:pt x="16900" y="5733"/>
                    <a:pt x="16100" y="5361"/>
                  </a:cubicBezTo>
                  <a:cubicBezTo>
                    <a:pt x="16100" y="4988"/>
                    <a:pt x="16100" y="4616"/>
                    <a:pt x="16100" y="424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5" name="Shape 2174">
              <a:extLst>
                <a:ext uri="{FF2B5EF4-FFF2-40B4-BE49-F238E27FC236}">
                  <a16:creationId xmlns:a16="http://schemas.microsoft.com/office/drawing/2014/main" id="{A0BC9A93-5BAF-F70A-52C0-CE81EBE3BB89}"/>
                </a:ext>
              </a:extLst>
            </p:cNvPr>
            <p:cNvSpPr/>
            <p:nvPr/>
          </p:nvSpPr>
          <p:spPr>
            <a:xfrm>
              <a:off x="5813842" y="3677716"/>
              <a:ext cx="175902" cy="204570"/>
            </a:xfrm>
            <a:custGeom>
              <a:avLst/>
              <a:gdLst/>
              <a:ahLst/>
              <a:cxnLst>
                <a:cxn ang="0">
                  <a:pos x="wd2" y="hd2"/>
                </a:cxn>
                <a:cxn ang="5400000">
                  <a:pos x="wd2" y="hd2"/>
                </a:cxn>
                <a:cxn ang="10800000">
                  <a:pos x="wd2" y="hd2"/>
                </a:cxn>
                <a:cxn ang="16200000">
                  <a:pos x="wd2" y="hd2"/>
                </a:cxn>
              </a:cxnLst>
              <a:rect l="0" t="0" r="r" b="b"/>
              <a:pathLst>
                <a:path w="21400" h="21600" extrusionOk="0">
                  <a:moveTo>
                    <a:pt x="12000" y="20206"/>
                  </a:moveTo>
                  <a:cubicBezTo>
                    <a:pt x="12000" y="19510"/>
                    <a:pt x="10400" y="16723"/>
                    <a:pt x="12000" y="16723"/>
                  </a:cubicBezTo>
                  <a:cubicBezTo>
                    <a:pt x="12000" y="16723"/>
                    <a:pt x="13600" y="16723"/>
                    <a:pt x="13600" y="16723"/>
                  </a:cubicBezTo>
                  <a:cubicBezTo>
                    <a:pt x="14400" y="16026"/>
                    <a:pt x="14400" y="14632"/>
                    <a:pt x="15200" y="14632"/>
                  </a:cubicBezTo>
                  <a:cubicBezTo>
                    <a:pt x="16000" y="15329"/>
                    <a:pt x="16800" y="16026"/>
                    <a:pt x="16800" y="16723"/>
                  </a:cubicBezTo>
                  <a:cubicBezTo>
                    <a:pt x="17600" y="17419"/>
                    <a:pt x="17600" y="16026"/>
                    <a:pt x="19200" y="16026"/>
                  </a:cubicBezTo>
                  <a:cubicBezTo>
                    <a:pt x="19200" y="16026"/>
                    <a:pt x="20800" y="17419"/>
                    <a:pt x="20800" y="16723"/>
                  </a:cubicBezTo>
                  <a:cubicBezTo>
                    <a:pt x="20800" y="16026"/>
                    <a:pt x="20800" y="15329"/>
                    <a:pt x="20800" y="14632"/>
                  </a:cubicBezTo>
                  <a:cubicBezTo>
                    <a:pt x="21600" y="13239"/>
                    <a:pt x="21600" y="11148"/>
                    <a:pt x="20800" y="9755"/>
                  </a:cubicBezTo>
                  <a:cubicBezTo>
                    <a:pt x="20000" y="9058"/>
                    <a:pt x="20000" y="8361"/>
                    <a:pt x="20000" y="7665"/>
                  </a:cubicBezTo>
                  <a:cubicBezTo>
                    <a:pt x="20000" y="6271"/>
                    <a:pt x="21600" y="5574"/>
                    <a:pt x="20800" y="4181"/>
                  </a:cubicBezTo>
                  <a:cubicBezTo>
                    <a:pt x="20000" y="2090"/>
                    <a:pt x="16800" y="4877"/>
                    <a:pt x="16800" y="2787"/>
                  </a:cubicBezTo>
                  <a:cubicBezTo>
                    <a:pt x="16800" y="1394"/>
                    <a:pt x="17600" y="0"/>
                    <a:pt x="15200" y="0"/>
                  </a:cubicBezTo>
                  <a:cubicBezTo>
                    <a:pt x="14400" y="0"/>
                    <a:pt x="12800" y="0"/>
                    <a:pt x="11200" y="0"/>
                  </a:cubicBezTo>
                  <a:cubicBezTo>
                    <a:pt x="8000" y="0"/>
                    <a:pt x="12000" y="4877"/>
                    <a:pt x="8800" y="4877"/>
                  </a:cubicBezTo>
                  <a:cubicBezTo>
                    <a:pt x="7200" y="4877"/>
                    <a:pt x="5600" y="4877"/>
                    <a:pt x="4000" y="4877"/>
                  </a:cubicBezTo>
                  <a:cubicBezTo>
                    <a:pt x="3200" y="4877"/>
                    <a:pt x="3200" y="4877"/>
                    <a:pt x="3200" y="4877"/>
                  </a:cubicBezTo>
                  <a:cubicBezTo>
                    <a:pt x="1600" y="6271"/>
                    <a:pt x="3200" y="6271"/>
                    <a:pt x="3200" y="6968"/>
                  </a:cubicBezTo>
                  <a:cubicBezTo>
                    <a:pt x="3200" y="8361"/>
                    <a:pt x="0" y="9755"/>
                    <a:pt x="0" y="11148"/>
                  </a:cubicBezTo>
                  <a:cubicBezTo>
                    <a:pt x="800" y="12542"/>
                    <a:pt x="2400" y="14632"/>
                    <a:pt x="3200" y="16026"/>
                  </a:cubicBezTo>
                  <a:cubicBezTo>
                    <a:pt x="4800" y="16723"/>
                    <a:pt x="5600" y="18116"/>
                    <a:pt x="7200" y="19510"/>
                  </a:cubicBezTo>
                  <a:cubicBezTo>
                    <a:pt x="8000" y="20206"/>
                    <a:pt x="8800" y="20903"/>
                    <a:pt x="8800" y="21600"/>
                  </a:cubicBezTo>
                  <a:cubicBezTo>
                    <a:pt x="9600" y="20903"/>
                    <a:pt x="11200" y="20903"/>
                    <a:pt x="12000" y="20206"/>
                  </a:cubicBezTo>
                  <a:cubicBezTo>
                    <a:pt x="12000" y="20206"/>
                    <a:pt x="11200" y="20903"/>
                    <a:pt x="12000" y="2020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6" name="Shape 2175">
              <a:extLst>
                <a:ext uri="{FF2B5EF4-FFF2-40B4-BE49-F238E27FC236}">
                  <a16:creationId xmlns:a16="http://schemas.microsoft.com/office/drawing/2014/main" id="{CE4F7E27-8226-D502-9952-A0872B6C0D21}"/>
                </a:ext>
              </a:extLst>
            </p:cNvPr>
            <p:cNvSpPr/>
            <p:nvPr/>
          </p:nvSpPr>
          <p:spPr>
            <a:xfrm>
              <a:off x="5825077" y="3677716"/>
              <a:ext cx="74166" cy="4720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15429"/>
                    <a:pt x="21600" y="6171"/>
                    <a:pt x="21600" y="0"/>
                  </a:cubicBezTo>
                  <a:cubicBezTo>
                    <a:pt x="15709" y="0"/>
                    <a:pt x="11782" y="3086"/>
                    <a:pt x="5891" y="3086"/>
                  </a:cubicBezTo>
                  <a:cubicBezTo>
                    <a:pt x="7855" y="6171"/>
                    <a:pt x="1964" y="9257"/>
                    <a:pt x="0" y="12343"/>
                  </a:cubicBezTo>
                  <a:cubicBezTo>
                    <a:pt x="0" y="15429"/>
                    <a:pt x="3927" y="18514"/>
                    <a:pt x="3927" y="21600"/>
                  </a:cubicBezTo>
                  <a:lnTo>
                    <a:pt x="21600" y="21600"/>
                  </a:ln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7" name="Shape 2176">
              <a:extLst>
                <a:ext uri="{FF2B5EF4-FFF2-40B4-BE49-F238E27FC236}">
                  <a16:creationId xmlns:a16="http://schemas.microsoft.com/office/drawing/2014/main" id="{853DF4A1-7796-CC90-7685-956A9AA35ADC}"/>
                </a:ext>
              </a:extLst>
            </p:cNvPr>
            <p:cNvSpPr/>
            <p:nvPr/>
          </p:nvSpPr>
          <p:spPr>
            <a:xfrm>
              <a:off x="5805078" y="3322533"/>
              <a:ext cx="237999" cy="368098"/>
            </a:xfrm>
            <a:custGeom>
              <a:avLst/>
              <a:gdLst/>
              <a:ahLst/>
              <a:cxnLst>
                <a:cxn ang="0">
                  <a:pos x="wd2" y="hd2"/>
                </a:cxn>
                <a:cxn ang="5400000">
                  <a:pos x="wd2" y="hd2"/>
                </a:cxn>
                <a:cxn ang="10800000">
                  <a:pos x="wd2" y="hd2"/>
                </a:cxn>
                <a:cxn ang="16200000">
                  <a:pos x="wd2" y="hd2"/>
                </a:cxn>
              </a:cxnLst>
              <a:rect l="0" t="0" r="r" b="b"/>
              <a:pathLst>
                <a:path w="21180" h="21179" extrusionOk="0">
                  <a:moveTo>
                    <a:pt x="16510" y="20842"/>
                  </a:moveTo>
                  <a:cubicBezTo>
                    <a:pt x="18261" y="20842"/>
                    <a:pt x="20012" y="21600"/>
                    <a:pt x="21180" y="20842"/>
                  </a:cubicBezTo>
                  <a:cubicBezTo>
                    <a:pt x="21180" y="19326"/>
                    <a:pt x="20012" y="18947"/>
                    <a:pt x="18845" y="18189"/>
                  </a:cubicBezTo>
                  <a:cubicBezTo>
                    <a:pt x="18261" y="17811"/>
                    <a:pt x="18261" y="17432"/>
                    <a:pt x="18261" y="16674"/>
                  </a:cubicBezTo>
                  <a:cubicBezTo>
                    <a:pt x="17677" y="16295"/>
                    <a:pt x="17094" y="15916"/>
                    <a:pt x="17094" y="15158"/>
                  </a:cubicBezTo>
                  <a:cubicBezTo>
                    <a:pt x="16510" y="13642"/>
                    <a:pt x="17677" y="13263"/>
                    <a:pt x="18261" y="12126"/>
                  </a:cubicBezTo>
                  <a:cubicBezTo>
                    <a:pt x="18845" y="11368"/>
                    <a:pt x="19429" y="10989"/>
                    <a:pt x="19429" y="10232"/>
                  </a:cubicBezTo>
                  <a:cubicBezTo>
                    <a:pt x="18845" y="9474"/>
                    <a:pt x="18845" y="8716"/>
                    <a:pt x="17677" y="7958"/>
                  </a:cubicBezTo>
                  <a:cubicBezTo>
                    <a:pt x="17677" y="7958"/>
                    <a:pt x="14758" y="6821"/>
                    <a:pt x="15926" y="6063"/>
                  </a:cubicBezTo>
                  <a:cubicBezTo>
                    <a:pt x="16510" y="5684"/>
                    <a:pt x="18261" y="6063"/>
                    <a:pt x="19429" y="6063"/>
                  </a:cubicBezTo>
                  <a:cubicBezTo>
                    <a:pt x="18261" y="4547"/>
                    <a:pt x="18261" y="3789"/>
                    <a:pt x="18261" y="2274"/>
                  </a:cubicBezTo>
                  <a:cubicBezTo>
                    <a:pt x="18261" y="1895"/>
                    <a:pt x="18261" y="1137"/>
                    <a:pt x="17094" y="758"/>
                  </a:cubicBezTo>
                  <a:cubicBezTo>
                    <a:pt x="17094" y="379"/>
                    <a:pt x="15342" y="0"/>
                    <a:pt x="15342" y="0"/>
                  </a:cubicBezTo>
                  <a:cubicBezTo>
                    <a:pt x="15342" y="758"/>
                    <a:pt x="18845" y="2653"/>
                    <a:pt x="15926" y="3411"/>
                  </a:cubicBezTo>
                  <a:cubicBezTo>
                    <a:pt x="14175" y="4168"/>
                    <a:pt x="13591" y="5305"/>
                    <a:pt x="13007" y="6821"/>
                  </a:cubicBezTo>
                  <a:cubicBezTo>
                    <a:pt x="12423" y="7200"/>
                    <a:pt x="12423" y="8337"/>
                    <a:pt x="11839" y="8337"/>
                  </a:cubicBezTo>
                  <a:cubicBezTo>
                    <a:pt x="10672" y="8716"/>
                    <a:pt x="10672" y="9474"/>
                    <a:pt x="10088" y="10232"/>
                  </a:cubicBezTo>
                  <a:cubicBezTo>
                    <a:pt x="9504" y="10989"/>
                    <a:pt x="8921" y="11747"/>
                    <a:pt x="8337" y="12505"/>
                  </a:cubicBezTo>
                  <a:cubicBezTo>
                    <a:pt x="7169" y="13263"/>
                    <a:pt x="6585" y="11747"/>
                    <a:pt x="6002" y="11747"/>
                  </a:cubicBezTo>
                  <a:cubicBezTo>
                    <a:pt x="3083" y="11747"/>
                    <a:pt x="1331" y="13263"/>
                    <a:pt x="748" y="14779"/>
                  </a:cubicBezTo>
                  <a:cubicBezTo>
                    <a:pt x="748" y="15158"/>
                    <a:pt x="-420" y="15537"/>
                    <a:pt x="164" y="15916"/>
                  </a:cubicBezTo>
                  <a:cubicBezTo>
                    <a:pt x="748" y="16295"/>
                    <a:pt x="1331" y="16674"/>
                    <a:pt x="1915" y="17053"/>
                  </a:cubicBezTo>
                  <a:cubicBezTo>
                    <a:pt x="1915" y="17432"/>
                    <a:pt x="2499" y="16674"/>
                    <a:pt x="2499" y="17053"/>
                  </a:cubicBezTo>
                  <a:cubicBezTo>
                    <a:pt x="3083" y="17432"/>
                    <a:pt x="3666" y="17811"/>
                    <a:pt x="3666" y="18189"/>
                  </a:cubicBezTo>
                  <a:cubicBezTo>
                    <a:pt x="4250" y="18947"/>
                    <a:pt x="3666" y="20084"/>
                    <a:pt x="3666" y="20842"/>
                  </a:cubicBezTo>
                  <a:cubicBezTo>
                    <a:pt x="5418" y="20463"/>
                    <a:pt x="7169" y="20463"/>
                    <a:pt x="8921" y="20463"/>
                  </a:cubicBezTo>
                  <a:cubicBezTo>
                    <a:pt x="11256" y="20463"/>
                    <a:pt x="14175" y="20842"/>
                    <a:pt x="16510" y="2084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8" name="Shape 2177">
              <a:extLst>
                <a:ext uri="{FF2B5EF4-FFF2-40B4-BE49-F238E27FC236}">
                  <a16:creationId xmlns:a16="http://schemas.microsoft.com/office/drawing/2014/main" id="{F772AA6C-8531-B3AF-26D2-359065A40F05}"/>
                </a:ext>
              </a:extLst>
            </p:cNvPr>
            <p:cNvSpPr/>
            <p:nvPr/>
          </p:nvSpPr>
          <p:spPr>
            <a:xfrm>
              <a:off x="5546702" y="3340518"/>
              <a:ext cx="94091" cy="204570"/>
            </a:xfrm>
            <a:custGeom>
              <a:avLst/>
              <a:gdLst/>
              <a:ahLst/>
              <a:cxnLst>
                <a:cxn ang="0">
                  <a:pos x="wd2" y="hd2"/>
                </a:cxn>
                <a:cxn ang="5400000">
                  <a:pos x="wd2" y="hd2"/>
                </a:cxn>
                <a:cxn ang="10800000">
                  <a:pos x="wd2" y="hd2"/>
                </a:cxn>
                <a:cxn ang="16200000">
                  <a:pos x="wd2" y="hd2"/>
                </a:cxn>
              </a:cxnLst>
              <a:rect l="0" t="0" r="r" b="b"/>
              <a:pathLst>
                <a:path w="20552" h="21600" extrusionOk="0">
                  <a:moveTo>
                    <a:pt x="14792" y="0"/>
                  </a:moveTo>
                  <a:cubicBezTo>
                    <a:pt x="11912" y="1394"/>
                    <a:pt x="13352" y="1394"/>
                    <a:pt x="11912" y="2787"/>
                  </a:cubicBezTo>
                  <a:cubicBezTo>
                    <a:pt x="10472" y="4181"/>
                    <a:pt x="7592" y="3484"/>
                    <a:pt x="4712" y="3484"/>
                  </a:cubicBezTo>
                  <a:cubicBezTo>
                    <a:pt x="4712" y="3484"/>
                    <a:pt x="1832" y="4877"/>
                    <a:pt x="392" y="5574"/>
                  </a:cubicBezTo>
                  <a:cubicBezTo>
                    <a:pt x="-1048" y="6271"/>
                    <a:pt x="1832" y="7665"/>
                    <a:pt x="3272" y="9058"/>
                  </a:cubicBezTo>
                  <a:cubicBezTo>
                    <a:pt x="9032" y="12542"/>
                    <a:pt x="4712" y="17419"/>
                    <a:pt x="7592" y="21600"/>
                  </a:cubicBezTo>
                  <a:cubicBezTo>
                    <a:pt x="9032" y="21600"/>
                    <a:pt x="11912" y="21600"/>
                    <a:pt x="14792" y="20903"/>
                  </a:cubicBezTo>
                  <a:cubicBezTo>
                    <a:pt x="16232" y="20903"/>
                    <a:pt x="16232" y="20206"/>
                    <a:pt x="14792" y="18813"/>
                  </a:cubicBezTo>
                  <a:cubicBezTo>
                    <a:pt x="14792" y="16723"/>
                    <a:pt x="14792" y="14632"/>
                    <a:pt x="14792" y="12542"/>
                  </a:cubicBezTo>
                  <a:cubicBezTo>
                    <a:pt x="14792" y="9755"/>
                    <a:pt x="19112" y="8361"/>
                    <a:pt x="20552" y="6271"/>
                  </a:cubicBezTo>
                  <a:cubicBezTo>
                    <a:pt x="20552" y="4181"/>
                    <a:pt x="20552" y="3484"/>
                    <a:pt x="19112" y="2090"/>
                  </a:cubicBezTo>
                  <a:cubicBezTo>
                    <a:pt x="19112" y="2090"/>
                    <a:pt x="14792" y="0"/>
                    <a:pt x="14792" y="0"/>
                  </a:cubicBezTo>
                  <a:cubicBezTo>
                    <a:pt x="13352" y="697"/>
                    <a:pt x="14792" y="0"/>
                    <a:pt x="14792"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59" name="Shape 2178">
              <a:extLst>
                <a:ext uri="{FF2B5EF4-FFF2-40B4-BE49-F238E27FC236}">
                  <a16:creationId xmlns:a16="http://schemas.microsoft.com/office/drawing/2014/main" id="{01FE2F46-A528-A98F-7847-F8F16E59DD18}"/>
                </a:ext>
              </a:extLst>
            </p:cNvPr>
            <p:cNvSpPr/>
            <p:nvPr/>
          </p:nvSpPr>
          <p:spPr>
            <a:xfrm>
              <a:off x="5613188" y="3293621"/>
              <a:ext cx="384942" cy="318978"/>
            </a:xfrm>
            <a:custGeom>
              <a:avLst/>
              <a:gdLst/>
              <a:ahLst/>
              <a:cxnLst>
                <a:cxn ang="0">
                  <a:pos x="wd2" y="hd2"/>
                </a:cxn>
                <a:cxn ang="5400000">
                  <a:pos x="wd2" y="hd2"/>
                </a:cxn>
                <a:cxn ang="10800000">
                  <a:pos x="wd2" y="hd2"/>
                </a:cxn>
                <a:cxn ang="16200000">
                  <a:pos x="wd2" y="hd2"/>
                </a:cxn>
              </a:cxnLst>
              <a:rect l="0" t="0" r="r" b="b"/>
              <a:pathLst>
                <a:path w="21386" h="20433" extrusionOk="0">
                  <a:moveTo>
                    <a:pt x="11135" y="17480"/>
                  </a:moveTo>
                  <a:cubicBezTo>
                    <a:pt x="11501" y="16633"/>
                    <a:pt x="12600" y="15363"/>
                    <a:pt x="13332" y="15363"/>
                  </a:cubicBezTo>
                  <a:cubicBezTo>
                    <a:pt x="13698" y="14939"/>
                    <a:pt x="14430" y="14939"/>
                    <a:pt x="14430" y="14939"/>
                  </a:cubicBezTo>
                  <a:cubicBezTo>
                    <a:pt x="14796" y="15363"/>
                    <a:pt x="15162" y="16210"/>
                    <a:pt x="15528" y="15786"/>
                  </a:cubicBezTo>
                  <a:cubicBezTo>
                    <a:pt x="16261" y="15363"/>
                    <a:pt x="16627" y="14092"/>
                    <a:pt x="16993" y="13245"/>
                  </a:cubicBezTo>
                  <a:cubicBezTo>
                    <a:pt x="16993" y="12821"/>
                    <a:pt x="17359" y="11974"/>
                    <a:pt x="17359" y="11551"/>
                  </a:cubicBezTo>
                  <a:cubicBezTo>
                    <a:pt x="17725" y="11127"/>
                    <a:pt x="18091" y="11551"/>
                    <a:pt x="18457" y="11127"/>
                  </a:cubicBezTo>
                  <a:cubicBezTo>
                    <a:pt x="18457" y="10280"/>
                    <a:pt x="19189" y="5621"/>
                    <a:pt x="20288" y="5621"/>
                  </a:cubicBezTo>
                  <a:cubicBezTo>
                    <a:pt x="21020" y="5621"/>
                    <a:pt x="21386" y="4774"/>
                    <a:pt x="21386" y="4351"/>
                  </a:cubicBezTo>
                  <a:cubicBezTo>
                    <a:pt x="21386" y="3504"/>
                    <a:pt x="20654" y="3504"/>
                    <a:pt x="20654" y="3080"/>
                  </a:cubicBezTo>
                  <a:cubicBezTo>
                    <a:pt x="20654" y="2657"/>
                    <a:pt x="20288" y="2657"/>
                    <a:pt x="20288" y="2233"/>
                  </a:cubicBezTo>
                  <a:cubicBezTo>
                    <a:pt x="19922" y="1386"/>
                    <a:pt x="19922" y="963"/>
                    <a:pt x="19555" y="116"/>
                  </a:cubicBezTo>
                  <a:cubicBezTo>
                    <a:pt x="19189" y="539"/>
                    <a:pt x="18091" y="1810"/>
                    <a:pt x="17359" y="1810"/>
                  </a:cubicBezTo>
                  <a:cubicBezTo>
                    <a:pt x="16261" y="1386"/>
                    <a:pt x="15528" y="1386"/>
                    <a:pt x="14430" y="1386"/>
                  </a:cubicBezTo>
                  <a:cubicBezTo>
                    <a:pt x="13332" y="1386"/>
                    <a:pt x="12600" y="2233"/>
                    <a:pt x="11501" y="2233"/>
                  </a:cubicBezTo>
                  <a:cubicBezTo>
                    <a:pt x="10769" y="2233"/>
                    <a:pt x="10037" y="963"/>
                    <a:pt x="9305" y="1386"/>
                  </a:cubicBezTo>
                  <a:cubicBezTo>
                    <a:pt x="7840" y="2233"/>
                    <a:pt x="7474" y="1810"/>
                    <a:pt x="6742" y="963"/>
                  </a:cubicBezTo>
                  <a:cubicBezTo>
                    <a:pt x="6376" y="539"/>
                    <a:pt x="5278" y="-308"/>
                    <a:pt x="4545" y="116"/>
                  </a:cubicBezTo>
                  <a:cubicBezTo>
                    <a:pt x="4179" y="116"/>
                    <a:pt x="3081" y="539"/>
                    <a:pt x="2715" y="963"/>
                  </a:cubicBezTo>
                  <a:cubicBezTo>
                    <a:pt x="2349" y="1386"/>
                    <a:pt x="2715" y="1810"/>
                    <a:pt x="2349" y="2233"/>
                  </a:cubicBezTo>
                  <a:cubicBezTo>
                    <a:pt x="2349" y="2657"/>
                    <a:pt x="1983" y="3504"/>
                    <a:pt x="1983" y="3927"/>
                  </a:cubicBezTo>
                  <a:cubicBezTo>
                    <a:pt x="1617" y="4774"/>
                    <a:pt x="1617" y="5621"/>
                    <a:pt x="1617" y="6468"/>
                  </a:cubicBezTo>
                  <a:cubicBezTo>
                    <a:pt x="1617" y="7739"/>
                    <a:pt x="518" y="8586"/>
                    <a:pt x="152" y="9857"/>
                  </a:cubicBezTo>
                  <a:cubicBezTo>
                    <a:pt x="-214" y="11127"/>
                    <a:pt x="152" y="14092"/>
                    <a:pt x="518" y="15786"/>
                  </a:cubicBezTo>
                  <a:cubicBezTo>
                    <a:pt x="518" y="16210"/>
                    <a:pt x="1250" y="15786"/>
                    <a:pt x="1617" y="15786"/>
                  </a:cubicBezTo>
                  <a:cubicBezTo>
                    <a:pt x="1983" y="15786"/>
                    <a:pt x="2715" y="16210"/>
                    <a:pt x="3081" y="16210"/>
                  </a:cubicBezTo>
                  <a:cubicBezTo>
                    <a:pt x="3447" y="16633"/>
                    <a:pt x="4911" y="17480"/>
                    <a:pt x="4911" y="17904"/>
                  </a:cubicBezTo>
                  <a:cubicBezTo>
                    <a:pt x="4911" y="18327"/>
                    <a:pt x="4911" y="18327"/>
                    <a:pt x="4911" y="18751"/>
                  </a:cubicBezTo>
                  <a:cubicBezTo>
                    <a:pt x="4911" y="19174"/>
                    <a:pt x="5278" y="19598"/>
                    <a:pt x="5644" y="20021"/>
                  </a:cubicBezTo>
                  <a:cubicBezTo>
                    <a:pt x="6376" y="21292"/>
                    <a:pt x="7474" y="19174"/>
                    <a:pt x="8206" y="19598"/>
                  </a:cubicBezTo>
                  <a:cubicBezTo>
                    <a:pt x="8206" y="19598"/>
                    <a:pt x="7840" y="20021"/>
                    <a:pt x="7840" y="20021"/>
                  </a:cubicBezTo>
                  <a:cubicBezTo>
                    <a:pt x="7840" y="19598"/>
                    <a:pt x="9671" y="19598"/>
                    <a:pt x="9671" y="19598"/>
                  </a:cubicBezTo>
                  <a:cubicBezTo>
                    <a:pt x="10403" y="19598"/>
                    <a:pt x="10403" y="18751"/>
                    <a:pt x="10769" y="19598"/>
                  </a:cubicBezTo>
                  <a:cubicBezTo>
                    <a:pt x="11135" y="18751"/>
                    <a:pt x="11135" y="18327"/>
                    <a:pt x="11135" y="17480"/>
                  </a:cubicBezTo>
                  <a:cubicBezTo>
                    <a:pt x="11501" y="17057"/>
                    <a:pt x="11135" y="17904"/>
                    <a:pt x="11135" y="1748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0" name="Shape 2179">
              <a:extLst>
                <a:ext uri="{FF2B5EF4-FFF2-40B4-BE49-F238E27FC236}">
                  <a16:creationId xmlns:a16="http://schemas.microsoft.com/office/drawing/2014/main" id="{61DD476A-9659-43D4-5BC5-2590351487A4}"/>
                </a:ext>
              </a:extLst>
            </p:cNvPr>
            <p:cNvSpPr/>
            <p:nvPr/>
          </p:nvSpPr>
          <p:spPr>
            <a:xfrm>
              <a:off x="5336391" y="3248346"/>
              <a:ext cx="267637" cy="197825"/>
            </a:xfrm>
            <a:custGeom>
              <a:avLst/>
              <a:gdLst/>
              <a:ahLst/>
              <a:cxnLst>
                <a:cxn ang="0">
                  <a:pos x="wd2" y="hd2"/>
                </a:cxn>
                <a:cxn ang="5400000">
                  <a:pos x="wd2" y="hd2"/>
                </a:cxn>
                <a:cxn ang="10800000">
                  <a:pos x="wd2" y="hd2"/>
                </a:cxn>
                <a:cxn ang="16200000">
                  <a:pos x="wd2" y="hd2"/>
                </a:cxn>
              </a:cxnLst>
              <a:rect l="0" t="0" r="r" b="b"/>
              <a:pathLst>
                <a:path w="20744" h="21600" extrusionOk="0">
                  <a:moveTo>
                    <a:pt x="17555" y="14400"/>
                  </a:moveTo>
                  <a:cubicBezTo>
                    <a:pt x="18584" y="12240"/>
                    <a:pt x="20126" y="14400"/>
                    <a:pt x="20641" y="12240"/>
                  </a:cubicBezTo>
                  <a:cubicBezTo>
                    <a:pt x="21155" y="11520"/>
                    <a:pt x="19612" y="9360"/>
                    <a:pt x="19098" y="9360"/>
                  </a:cubicBezTo>
                  <a:cubicBezTo>
                    <a:pt x="18584" y="10800"/>
                    <a:pt x="17041" y="7920"/>
                    <a:pt x="16526" y="7200"/>
                  </a:cubicBezTo>
                  <a:cubicBezTo>
                    <a:pt x="16526" y="6480"/>
                    <a:pt x="16526" y="5760"/>
                    <a:pt x="16012" y="5040"/>
                  </a:cubicBezTo>
                  <a:cubicBezTo>
                    <a:pt x="14984" y="3600"/>
                    <a:pt x="14984" y="2880"/>
                    <a:pt x="14984" y="720"/>
                  </a:cubicBezTo>
                  <a:cubicBezTo>
                    <a:pt x="14469" y="720"/>
                    <a:pt x="13441" y="0"/>
                    <a:pt x="12926" y="0"/>
                  </a:cubicBezTo>
                  <a:cubicBezTo>
                    <a:pt x="11898" y="720"/>
                    <a:pt x="11384" y="1440"/>
                    <a:pt x="10869" y="1440"/>
                  </a:cubicBezTo>
                  <a:cubicBezTo>
                    <a:pt x="10355" y="2160"/>
                    <a:pt x="9841" y="2880"/>
                    <a:pt x="9326" y="2880"/>
                  </a:cubicBezTo>
                  <a:cubicBezTo>
                    <a:pt x="8812" y="4320"/>
                    <a:pt x="8812" y="2880"/>
                    <a:pt x="8298" y="3600"/>
                  </a:cubicBezTo>
                  <a:cubicBezTo>
                    <a:pt x="7269" y="4320"/>
                    <a:pt x="6241" y="7920"/>
                    <a:pt x="5212" y="7200"/>
                  </a:cubicBezTo>
                  <a:cubicBezTo>
                    <a:pt x="4698" y="7200"/>
                    <a:pt x="4184" y="5760"/>
                    <a:pt x="4184" y="7200"/>
                  </a:cubicBezTo>
                  <a:cubicBezTo>
                    <a:pt x="3669" y="7920"/>
                    <a:pt x="3669" y="9360"/>
                    <a:pt x="3155" y="10080"/>
                  </a:cubicBezTo>
                  <a:cubicBezTo>
                    <a:pt x="3155" y="10800"/>
                    <a:pt x="3155" y="11520"/>
                    <a:pt x="2126" y="11520"/>
                  </a:cubicBezTo>
                  <a:cubicBezTo>
                    <a:pt x="2126" y="11520"/>
                    <a:pt x="69" y="12240"/>
                    <a:pt x="584" y="12960"/>
                  </a:cubicBezTo>
                  <a:cubicBezTo>
                    <a:pt x="2126" y="14400"/>
                    <a:pt x="-445" y="16560"/>
                    <a:pt x="69" y="17280"/>
                  </a:cubicBezTo>
                  <a:cubicBezTo>
                    <a:pt x="1098" y="18000"/>
                    <a:pt x="2126" y="21600"/>
                    <a:pt x="3669" y="20160"/>
                  </a:cubicBezTo>
                  <a:cubicBezTo>
                    <a:pt x="5212" y="18720"/>
                    <a:pt x="6241" y="19440"/>
                    <a:pt x="7784" y="21600"/>
                  </a:cubicBezTo>
                  <a:cubicBezTo>
                    <a:pt x="7269" y="19440"/>
                    <a:pt x="7269" y="17280"/>
                    <a:pt x="7269" y="15840"/>
                  </a:cubicBezTo>
                  <a:cubicBezTo>
                    <a:pt x="9326" y="15840"/>
                    <a:pt x="10869" y="15840"/>
                    <a:pt x="12926" y="15840"/>
                  </a:cubicBezTo>
                  <a:cubicBezTo>
                    <a:pt x="14469" y="15840"/>
                    <a:pt x="17041" y="16560"/>
                    <a:pt x="17555" y="14400"/>
                  </a:cubicBezTo>
                  <a:cubicBezTo>
                    <a:pt x="18069" y="12960"/>
                    <a:pt x="17555" y="14400"/>
                    <a:pt x="17555" y="14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1" name="Shape 2180">
              <a:extLst>
                <a:ext uri="{FF2B5EF4-FFF2-40B4-BE49-F238E27FC236}">
                  <a16:creationId xmlns:a16="http://schemas.microsoft.com/office/drawing/2014/main" id="{C27E4687-1E24-AF75-017A-5148B080A7A6}"/>
                </a:ext>
              </a:extLst>
            </p:cNvPr>
            <p:cNvSpPr/>
            <p:nvPr/>
          </p:nvSpPr>
          <p:spPr>
            <a:xfrm>
              <a:off x="5524426" y="3394467"/>
              <a:ext cx="52728" cy="155722"/>
            </a:xfrm>
            <a:custGeom>
              <a:avLst/>
              <a:gdLst/>
              <a:ahLst/>
              <a:cxnLst>
                <a:cxn ang="0">
                  <a:pos x="wd2" y="hd2"/>
                </a:cxn>
                <a:cxn ang="5400000">
                  <a:pos x="wd2" y="hd2"/>
                </a:cxn>
                <a:cxn ang="10800000">
                  <a:pos x="wd2" y="hd2"/>
                </a:cxn>
                <a:cxn ang="16200000">
                  <a:pos x="wd2" y="hd2"/>
                </a:cxn>
              </a:cxnLst>
              <a:rect l="0" t="0" r="r" b="b"/>
              <a:pathLst>
                <a:path w="17475" h="21375" extrusionOk="0">
                  <a:moveTo>
                    <a:pt x="17040" y="9000"/>
                  </a:moveTo>
                  <a:cubicBezTo>
                    <a:pt x="17040" y="8100"/>
                    <a:pt x="17040" y="6300"/>
                    <a:pt x="14880" y="5400"/>
                  </a:cubicBezTo>
                  <a:cubicBezTo>
                    <a:pt x="12720" y="4500"/>
                    <a:pt x="6240" y="900"/>
                    <a:pt x="8400" y="0"/>
                  </a:cubicBezTo>
                  <a:cubicBezTo>
                    <a:pt x="6240" y="0"/>
                    <a:pt x="4080" y="0"/>
                    <a:pt x="1920" y="0"/>
                  </a:cubicBezTo>
                  <a:cubicBezTo>
                    <a:pt x="-2400" y="0"/>
                    <a:pt x="1920" y="1800"/>
                    <a:pt x="1920" y="2700"/>
                  </a:cubicBezTo>
                  <a:cubicBezTo>
                    <a:pt x="4080" y="4500"/>
                    <a:pt x="1920" y="6300"/>
                    <a:pt x="1920" y="8100"/>
                  </a:cubicBezTo>
                  <a:cubicBezTo>
                    <a:pt x="-240" y="10800"/>
                    <a:pt x="4080" y="10800"/>
                    <a:pt x="6240" y="13500"/>
                  </a:cubicBezTo>
                  <a:cubicBezTo>
                    <a:pt x="6240" y="15300"/>
                    <a:pt x="4080" y="17100"/>
                    <a:pt x="6240" y="18900"/>
                  </a:cubicBezTo>
                  <a:cubicBezTo>
                    <a:pt x="6240" y="19800"/>
                    <a:pt x="8400" y="20700"/>
                    <a:pt x="10560" y="20700"/>
                  </a:cubicBezTo>
                  <a:cubicBezTo>
                    <a:pt x="12720" y="21600"/>
                    <a:pt x="19200" y="21600"/>
                    <a:pt x="17040" y="20700"/>
                  </a:cubicBezTo>
                  <a:cubicBezTo>
                    <a:pt x="17040" y="17100"/>
                    <a:pt x="17040" y="13500"/>
                    <a:pt x="17040" y="9000"/>
                  </a:cubicBezTo>
                  <a:cubicBezTo>
                    <a:pt x="17040" y="6300"/>
                    <a:pt x="17040" y="11700"/>
                    <a:pt x="17040" y="90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2" name="Shape 2181">
              <a:extLst>
                <a:ext uri="{FF2B5EF4-FFF2-40B4-BE49-F238E27FC236}">
                  <a16:creationId xmlns:a16="http://schemas.microsoft.com/office/drawing/2014/main" id="{F215AFB3-807E-05D6-11E6-7240C0776666}"/>
                </a:ext>
              </a:extLst>
            </p:cNvPr>
            <p:cNvSpPr/>
            <p:nvPr/>
          </p:nvSpPr>
          <p:spPr>
            <a:xfrm>
              <a:off x="5242806" y="3405964"/>
              <a:ext cx="192086" cy="199818"/>
            </a:xfrm>
            <a:custGeom>
              <a:avLst/>
              <a:gdLst/>
              <a:ahLst/>
              <a:cxnLst>
                <a:cxn ang="0">
                  <a:pos x="wd2" y="hd2"/>
                </a:cxn>
                <a:cxn ang="5400000">
                  <a:pos x="wd2" y="hd2"/>
                </a:cxn>
                <a:cxn ang="10800000">
                  <a:pos x="wd2" y="hd2"/>
                </a:cxn>
                <a:cxn ang="16200000">
                  <a:pos x="wd2" y="hd2"/>
                </a:cxn>
              </a:cxnLst>
              <a:rect l="0" t="0" r="r" b="b"/>
              <a:pathLst>
                <a:path w="19851" h="21098" extrusionOk="0">
                  <a:moveTo>
                    <a:pt x="16641" y="2285"/>
                  </a:moveTo>
                  <a:cubicBezTo>
                    <a:pt x="15291" y="2285"/>
                    <a:pt x="14616" y="3679"/>
                    <a:pt x="13266" y="2982"/>
                  </a:cubicBezTo>
                  <a:cubicBezTo>
                    <a:pt x="11916" y="2982"/>
                    <a:pt x="10566" y="-502"/>
                    <a:pt x="9216" y="195"/>
                  </a:cubicBezTo>
                  <a:cubicBezTo>
                    <a:pt x="8541" y="892"/>
                    <a:pt x="7866" y="892"/>
                    <a:pt x="7866" y="195"/>
                  </a:cubicBezTo>
                  <a:cubicBezTo>
                    <a:pt x="7191" y="-502"/>
                    <a:pt x="6516" y="892"/>
                    <a:pt x="5841" y="892"/>
                  </a:cubicBezTo>
                  <a:cubicBezTo>
                    <a:pt x="4491" y="1588"/>
                    <a:pt x="3816" y="892"/>
                    <a:pt x="3141" y="892"/>
                  </a:cubicBezTo>
                  <a:cubicBezTo>
                    <a:pt x="2466" y="195"/>
                    <a:pt x="2466" y="1588"/>
                    <a:pt x="1791" y="1588"/>
                  </a:cubicBezTo>
                  <a:cubicBezTo>
                    <a:pt x="1116" y="1588"/>
                    <a:pt x="441" y="2982"/>
                    <a:pt x="1116" y="3679"/>
                  </a:cubicBezTo>
                  <a:cubicBezTo>
                    <a:pt x="1116" y="4375"/>
                    <a:pt x="2466" y="4375"/>
                    <a:pt x="2466" y="4375"/>
                  </a:cubicBezTo>
                  <a:cubicBezTo>
                    <a:pt x="2466" y="5072"/>
                    <a:pt x="1116" y="5769"/>
                    <a:pt x="1116" y="5769"/>
                  </a:cubicBezTo>
                  <a:cubicBezTo>
                    <a:pt x="1116" y="6466"/>
                    <a:pt x="2466" y="7163"/>
                    <a:pt x="2466" y="7859"/>
                  </a:cubicBezTo>
                  <a:cubicBezTo>
                    <a:pt x="2466" y="7859"/>
                    <a:pt x="1116" y="7163"/>
                    <a:pt x="1116" y="8556"/>
                  </a:cubicBezTo>
                  <a:cubicBezTo>
                    <a:pt x="1116" y="9253"/>
                    <a:pt x="1791" y="10646"/>
                    <a:pt x="441" y="10646"/>
                  </a:cubicBezTo>
                  <a:cubicBezTo>
                    <a:pt x="1116" y="11343"/>
                    <a:pt x="1116" y="12040"/>
                    <a:pt x="441" y="12737"/>
                  </a:cubicBezTo>
                  <a:cubicBezTo>
                    <a:pt x="441" y="14130"/>
                    <a:pt x="-909" y="14130"/>
                    <a:pt x="1116" y="15524"/>
                  </a:cubicBezTo>
                  <a:cubicBezTo>
                    <a:pt x="1791" y="15524"/>
                    <a:pt x="3141" y="16221"/>
                    <a:pt x="3816" y="17614"/>
                  </a:cubicBezTo>
                  <a:cubicBezTo>
                    <a:pt x="4491" y="18311"/>
                    <a:pt x="3816" y="19704"/>
                    <a:pt x="3816" y="21098"/>
                  </a:cubicBezTo>
                  <a:cubicBezTo>
                    <a:pt x="6516" y="20401"/>
                    <a:pt x="8541" y="19008"/>
                    <a:pt x="11916" y="19008"/>
                  </a:cubicBezTo>
                  <a:cubicBezTo>
                    <a:pt x="13266" y="18311"/>
                    <a:pt x="15291" y="19008"/>
                    <a:pt x="16641" y="19008"/>
                  </a:cubicBezTo>
                  <a:cubicBezTo>
                    <a:pt x="17991" y="19008"/>
                    <a:pt x="20016" y="19704"/>
                    <a:pt x="19341" y="17614"/>
                  </a:cubicBezTo>
                  <a:cubicBezTo>
                    <a:pt x="19341" y="16221"/>
                    <a:pt x="18666" y="15524"/>
                    <a:pt x="17991" y="14130"/>
                  </a:cubicBezTo>
                  <a:cubicBezTo>
                    <a:pt x="17991" y="12737"/>
                    <a:pt x="18666" y="11343"/>
                    <a:pt x="19341" y="9950"/>
                  </a:cubicBezTo>
                  <a:cubicBezTo>
                    <a:pt x="20016" y="7163"/>
                    <a:pt x="20691" y="2285"/>
                    <a:pt x="16641" y="228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3" name="Shape 2182">
              <a:extLst>
                <a:ext uri="{FF2B5EF4-FFF2-40B4-BE49-F238E27FC236}">
                  <a16:creationId xmlns:a16="http://schemas.microsoft.com/office/drawing/2014/main" id="{82300A98-0D3C-2EBB-123D-73195CC2EBFD}"/>
                </a:ext>
              </a:extLst>
            </p:cNvPr>
            <p:cNvSpPr/>
            <p:nvPr/>
          </p:nvSpPr>
          <p:spPr>
            <a:xfrm>
              <a:off x="5417053" y="3394467"/>
              <a:ext cx="145083" cy="197825"/>
            </a:xfrm>
            <a:custGeom>
              <a:avLst/>
              <a:gdLst/>
              <a:ahLst/>
              <a:cxnLst>
                <a:cxn ang="0">
                  <a:pos x="wd2" y="hd2"/>
                </a:cxn>
                <a:cxn ang="5400000">
                  <a:pos x="wd2" y="hd2"/>
                </a:cxn>
                <a:cxn ang="10800000">
                  <a:pos x="wd2" y="hd2"/>
                </a:cxn>
                <a:cxn ang="16200000">
                  <a:pos x="wd2" y="hd2"/>
                </a:cxn>
              </a:cxnLst>
              <a:rect l="0" t="0" r="r" b="b"/>
              <a:pathLst>
                <a:path w="20812" h="21600" extrusionOk="0">
                  <a:moveTo>
                    <a:pt x="17055" y="9360"/>
                  </a:moveTo>
                  <a:cubicBezTo>
                    <a:pt x="15177" y="7920"/>
                    <a:pt x="16116" y="5760"/>
                    <a:pt x="16116" y="4320"/>
                  </a:cubicBezTo>
                  <a:cubicBezTo>
                    <a:pt x="17055" y="2880"/>
                    <a:pt x="14238" y="1440"/>
                    <a:pt x="15177" y="0"/>
                  </a:cubicBezTo>
                  <a:cubicBezTo>
                    <a:pt x="10482" y="0"/>
                    <a:pt x="6725" y="0"/>
                    <a:pt x="2029" y="0"/>
                  </a:cubicBezTo>
                  <a:cubicBezTo>
                    <a:pt x="2029" y="2160"/>
                    <a:pt x="2969" y="5040"/>
                    <a:pt x="2969" y="7920"/>
                  </a:cubicBezTo>
                  <a:cubicBezTo>
                    <a:pt x="2969" y="10800"/>
                    <a:pt x="-788" y="12960"/>
                    <a:pt x="151" y="15840"/>
                  </a:cubicBezTo>
                  <a:cubicBezTo>
                    <a:pt x="1090" y="18000"/>
                    <a:pt x="2969" y="18720"/>
                    <a:pt x="2029" y="21600"/>
                  </a:cubicBezTo>
                  <a:cubicBezTo>
                    <a:pt x="4847" y="21600"/>
                    <a:pt x="5786" y="21600"/>
                    <a:pt x="8603" y="20880"/>
                  </a:cubicBezTo>
                  <a:cubicBezTo>
                    <a:pt x="13299" y="20160"/>
                    <a:pt x="17055" y="18720"/>
                    <a:pt x="20812" y="17280"/>
                  </a:cubicBezTo>
                  <a:cubicBezTo>
                    <a:pt x="18934" y="16560"/>
                    <a:pt x="17995" y="15120"/>
                    <a:pt x="17995" y="13680"/>
                  </a:cubicBezTo>
                  <a:cubicBezTo>
                    <a:pt x="17995" y="12240"/>
                    <a:pt x="17995" y="10800"/>
                    <a:pt x="17055" y="9360"/>
                  </a:cubicBezTo>
                  <a:cubicBezTo>
                    <a:pt x="15177" y="7920"/>
                    <a:pt x="17995" y="10800"/>
                    <a:pt x="17055" y="936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4" name="Shape 2183">
              <a:extLst>
                <a:ext uri="{FF2B5EF4-FFF2-40B4-BE49-F238E27FC236}">
                  <a16:creationId xmlns:a16="http://schemas.microsoft.com/office/drawing/2014/main" id="{2F701D3A-D649-D356-4A1A-5480E3565F44}"/>
                </a:ext>
              </a:extLst>
            </p:cNvPr>
            <p:cNvSpPr/>
            <p:nvPr/>
          </p:nvSpPr>
          <p:spPr>
            <a:xfrm>
              <a:off x="5086470" y="3424996"/>
              <a:ext cx="90954" cy="103254"/>
            </a:xfrm>
            <a:custGeom>
              <a:avLst/>
              <a:gdLst/>
              <a:ahLst/>
              <a:cxnLst>
                <a:cxn ang="0">
                  <a:pos x="wd2" y="hd2"/>
                </a:cxn>
                <a:cxn ang="5400000">
                  <a:pos x="wd2" y="hd2"/>
                </a:cxn>
                <a:cxn ang="10800000">
                  <a:pos x="wd2" y="hd2"/>
                </a:cxn>
                <a:cxn ang="16200000">
                  <a:pos x="wd2" y="hd2"/>
                </a:cxn>
              </a:cxnLst>
              <a:rect l="0" t="0" r="r" b="b"/>
              <a:pathLst>
                <a:path w="19867" h="18719" extrusionOk="0">
                  <a:moveTo>
                    <a:pt x="16126" y="14933"/>
                  </a:moveTo>
                  <a:cubicBezTo>
                    <a:pt x="20446" y="13733"/>
                    <a:pt x="20446" y="7733"/>
                    <a:pt x="19006" y="5333"/>
                  </a:cubicBezTo>
                  <a:cubicBezTo>
                    <a:pt x="16126" y="533"/>
                    <a:pt x="10366" y="-1867"/>
                    <a:pt x="6046" y="1733"/>
                  </a:cubicBezTo>
                  <a:cubicBezTo>
                    <a:pt x="3166" y="2933"/>
                    <a:pt x="-1154" y="5333"/>
                    <a:pt x="286" y="7733"/>
                  </a:cubicBezTo>
                  <a:cubicBezTo>
                    <a:pt x="1726" y="10133"/>
                    <a:pt x="1726" y="11333"/>
                    <a:pt x="4606" y="12533"/>
                  </a:cubicBezTo>
                  <a:cubicBezTo>
                    <a:pt x="6046" y="14933"/>
                    <a:pt x="6046" y="16133"/>
                    <a:pt x="8926" y="17333"/>
                  </a:cubicBezTo>
                  <a:cubicBezTo>
                    <a:pt x="10366" y="18533"/>
                    <a:pt x="11806" y="19733"/>
                    <a:pt x="13246" y="17333"/>
                  </a:cubicBezTo>
                  <a:cubicBezTo>
                    <a:pt x="13246" y="16133"/>
                    <a:pt x="14686" y="16133"/>
                    <a:pt x="16126" y="14933"/>
                  </a:cubicBezTo>
                  <a:cubicBezTo>
                    <a:pt x="19006" y="13733"/>
                    <a:pt x="14686" y="16133"/>
                    <a:pt x="16126" y="1493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5" name="Shape 2184">
              <a:extLst>
                <a:ext uri="{FF2B5EF4-FFF2-40B4-BE49-F238E27FC236}">
                  <a16:creationId xmlns:a16="http://schemas.microsoft.com/office/drawing/2014/main" id="{CEF2FBD1-4375-0670-8D12-C9C9711DA7CE}"/>
                </a:ext>
              </a:extLst>
            </p:cNvPr>
            <p:cNvSpPr/>
            <p:nvPr/>
          </p:nvSpPr>
          <p:spPr>
            <a:xfrm>
              <a:off x="5139618" y="3472467"/>
              <a:ext cx="142394" cy="133315"/>
            </a:xfrm>
            <a:custGeom>
              <a:avLst/>
              <a:gdLst/>
              <a:ahLst/>
              <a:cxnLst>
                <a:cxn ang="0">
                  <a:pos x="wd2" y="hd2"/>
                </a:cxn>
                <a:cxn ang="5400000">
                  <a:pos x="wd2" y="hd2"/>
                </a:cxn>
                <a:cxn ang="10800000">
                  <a:pos x="wd2" y="hd2"/>
                </a:cxn>
                <a:cxn ang="16200000">
                  <a:pos x="wd2" y="hd2"/>
                </a:cxn>
              </a:cxnLst>
              <a:rect l="0" t="0" r="r" b="b"/>
              <a:pathLst>
                <a:path w="21055" h="20660" extrusionOk="0">
                  <a:moveTo>
                    <a:pt x="20618" y="16546"/>
                  </a:moveTo>
                  <a:cubicBezTo>
                    <a:pt x="21600" y="14489"/>
                    <a:pt x="19636" y="13460"/>
                    <a:pt x="18655" y="12431"/>
                  </a:cubicBezTo>
                  <a:cubicBezTo>
                    <a:pt x="17673" y="12431"/>
                    <a:pt x="13745" y="11403"/>
                    <a:pt x="15709" y="10374"/>
                  </a:cubicBezTo>
                  <a:cubicBezTo>
                    <a:pt x="16691" y="9346"/>
                    <a:pt x="16691" y="6260"/>
                    <a:pt x="15709" y="5231"/>
                  </a:cubicBezTo>
                  <a:cubicBezTo>
                    <a:pt x="14727" y="3174"/>
                    <a:pt x="13745" y="7289"/>
                    <a:pt x="12764" y="7289"/>
                  </a:cubicBezTo>
                  <a:cubicBezTo>
                    <a:pt x="9818" y="7289"/>
                    <a:pt x="10800" y="-940"/>
                    <a:pt x="8836" y="89"/>
                  </a:cubicBezTo>
                  <a:cubicBezTo>
                    <a:pt x="7855" y="1117"/>
                    <a:pt x="5891" y="2146"/>
                    <a:pt x="4909" y="3174"/>
                  </a:cubicBezTo>
                  <a:cubicBezTo>
                    <a:pt x="3927" y="5231"/>
                    <a:pt x="1964" y="6260"/>
                    <a:pt x="0" y="8317"/>
                  </a:cubicBezTo>
                  <a:cubicBezTo>
                    <a:pt x="4909" y="11403"/>
                    <a:pt x="7855" y="14489"/>
                    <a:pt x="11782" y="17574"/>
                  </a:cubicBezTo>
                  <a:cubicBezTo>
                    <a:pt x="13745" y="19631"/>
                    <a:pt x="15709" y="20660"/>
                    <a:pt x="18655" y="20660"/>
                  </a:cubicBezTo>
                  <a:cubicBezTo>
                    <a:pt x="21600" y="20660"/>
                    <a:pt x="19636" y="18603"/>
                    <a:pt x="20618" y="16546"/>
                  </a:cubicBezTo>
                  <a:cubicBezTo>
                    <a:pt x="21600" y="14489"/>
                    <a:pt x="20618" y="18603"/>
                    <a:pt x="20618" y="1654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6" name="Shape 2185">
              <a:extLst>
                <a:ext uri="{FF2B5EF4-FFF2-40B4-BE49-F238E27FC236}">
                  <a16:creationId xmlns:a16="http://schemas.microsoft.com/office/drawing/2014/main" id="{DAA40C80-51FA-1D51-99A3-863C478DCDD1}"/>
                </a:ext>
              </a:extLst>
            </p:cNvPr>
            <p:cNvSpPr/>
            <p:nvPr/>
          </p:nvSpPr>
          <p:spPr>
            <a:xfrm>
              <a:off x="5036236" y="3335439"/>
              <a:ext cx="229237" cy="180270"/>
            </a:xfrm>
            <a:custGeom>
              <a:avLst/>
              <a:gdLst/>
              <a:ahLst/>
              <a:cxnLst>
                <a:cxn ang="0">
                  <a:pos x="wd2" y="hd2"/>
                </a:cxn>
                <a:cxn ang="5400000">
                  <a:pos x="wd2" y="hd2"/>
                </a:cxn>
                <a:cxn ang="10800000">
                  <a:pos x="wd2" y="hd2"/>
                </a:cxn>
                <a:cxn ang="16200000">
                  <a:pos x="wd2" y="hd2"/>
                </a:cxn>
              </a:cxnLst>
              <a:rect l="0" t="0" r="r" b="b"/>
              <a:pathLst>
                <a:path w="21600" h="20141" extrusionOk="0">
                  <a:moveTo>
                    <a:pt x="6171" y="11731"/>
                  </a:moveTo>
                  <a:cubicBezTo>
                    <a:pt x="8640" y="10242"/>
                    <a:pt x="11109" y="8752"/>
                    <a:pt x="12343" y="12476"/>
                  </a:cubicBezTo>
                  <a:cubicBezTo>
                    <a:pt x="13577" y="13966"/>
                    <a:pt x="12960" y="14711"/>
                    <a:pt x="12960" y="16945"/>
                  </a:cubicBezTo>
                  <a:cubicBezTo>
                    <a:pt x="13577" y="17690"/>
                    <a:pt x="14811" y="15455"/>
                    <a:pt x="15429" y="15455"/>
                  </a:cubicBezTo>
                  <a:cubicBezTo>
                    <a:pt x="16663" y="14711"/>
                    <a:pt x="16663" y="21414"/>
                    <a:pt x="17897" y="19924"/>
                  </a:cubicBezTo>
                  <a:cubicBezTo>
                    <a:pt x="18514" y="19924"/>
                    <a:pt x="18514" y="19180"/>
                    <a:pt x="19131" y="19180"/>
                  </a:cubicBezTo>
                  <a:cubicBezTo>
                    <a:pt x="19131" y="18435"/>
                    <a:pt x="20366" y="19180"/>
                    <a:pt x="20366" y="18435"/>
                  </a:cubicBezTo>
                  <a:cubicBezTo>
                    <a:pt x="20983" y="17690"/>
                    <a:pt x="20366" y="16945"/>
                    <a:pt x="20366" y="16945"/>
                  </a:cubicBezTo>
                  <a:cubicBezTo>
                    <a:pt x="20366" y="15455"/>
                    <a:pt x="21600" y="16200"/>
                    <a:pt x="21600" y="16200"/>
                  </a:cubicBezTo>
                  <a:cubicBezTo>
                    <a:pt x="21600" y="15455"/>
                    <a:pt x="19749" y="14711"/>
                    <a:pt x="20983" y="13966"/>
                  </a:cubicBezTo>
                  <a:cubicBezTo>
                    <a:pt x="21600" y="13221"/>
                    <a:pt x="21600" y="12476"/>
                    <a:pt x="20366" y="11731"/>
                  </a:cubicBezTo>
                  <a:cubicBezTo>
                    <a:pt x="19749" y="10986"/>
                    <a:pt x="20983" y="9497"/>
                    <a:pt x="20366" y="8752"/>
                  </a:cubicBezTo>
                  <a:cubicBezTo>
                    <a:pt x="19749" y="8007"/>
                    <a:pt x="20366" y="7262"/>
                    <a:pt x="19749" y="5773"/>
                  </a:cubicBezTo>
                  <a:cubicBezTo>
                    <a:pt x="19131" y="5028"/>
                    <a:pt x="17897" y="-186"/>
                    <a:pt x="16046" y="1304"/>
                  </a:cubicBezTo>
                  <a:cubicBezTo>
                    <a:pt x="16046" y="1304"/>
                    <a:pt x="15429" y="2048"/>
                    <a:pt x="14811" y="2048"/>
                  </a:cubicBezTo>
                  <a:cubicBezTo>
                    <a:pt x="14194" y="2048"/>
                    <a:pt x="14194" y="2048"/>
                    <a:pt x="13577" y="2048"/>
                  </a:cubicBezTo>
                  <a:cubicBezTo>
                    <a:pt x="12960" y="2793"/>
                    <a:pt x="12343" y="2048"/>
                    <a:pt x="11726" y="2048"/>
                  </a:cubicBezTo>
                  <a:cubicBezTo>
                    <a:pt x="11109" y="2048"/>
                    <a:pt x="11109" y="2793"/>
                    <a:pt x="11109" y="2048"/>
                  </a:cubicBezTo>
                  <a:cubicBezTo>
                    <a:pt x="9874" y="1304"/>
                    <a:pt x="10491" y="1304"/>
                    <a:pt x="9257" y="1304"/>
                  </a:cubicBezTo>
                  <a:cubicBezTo>
                    <a:pt x="7406" y="2048"/>
                    <a:pt x="7406" y="559"/>
                    <a:pt x="6171" y="559"/>
                  </a:cubicBezTo>
                  <a:cubicBezTo>
                    <a:pt x="4937" y="-186"/>
                    <a:pt x="3703" y="-186"/>
                    <a:pt x="3086" y="559"/>
                  </a:cubicBezTo>
                  <a:cubicBezTo>
                    <a:pt x="3086" y="1304"/>
                    <a:pt x="1851" y="2048"/>
                    <a:pt x="3086" y="2793"/>
                  </a:cubicBezTo>
                  <a:cubicBezTo>
                    <a:pt x="3703" y="3538"/>
                    <a:pt x="3086" y="4283"/>
                    <a:pt x="1851" y="4283"/>
                  </a:cubicBezTo>
                  <a:cubicBezTo>
                    <a:pt x="617" y="4283"/>
                    <a:pt x="0" y="4283"/>
                    <a:pt x="0" y="5773"/>
                  </a:cubicBezTo>
                  <a:cubicBezTo>
                    <a:pt x="617" y="7262"/>
                    <a:pt x="1234" y="8007"/>
                    <a:pt x="1851" y="9497"/>
                  </a:cubicBezTo>
                  <a:cubicBezTo>
                    <a:pt x="3086" y="10986"/>
                    <a:pt x="3703" y="11731"/>
                    <a:pt x="4937" y="13966"/>
                  </a:cubicBezTo>
                  <a:cubicBezTo>
                    <a:pt x="5554" y="13221"/>
                    <a:pt x="5554" y="12476"/>
                    <a:pt x="6171" y="11731"/>
                  </a:cubicBezTo>
                  <a:cubicBezTo>
                    <a:pt x="6789" y="11731"/>
                    <a:pt x="6171" y="12476"/>
                    <a:pt x="6171" y="117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7" name="Shape 2186">
              <a:extLst>
                <a:ext uri="{FF2B5EF4-FFF2-40B4-BE49-F238E27FC236}">
                  <a16:creationId xmlns:a16="http://schemas.microsoft.com/office/drawing/2014/main" id="{21DD57CC-4A08-EADA-4E70-81AA0566BEF4}"/>
                </a:ext>
              </a:extLst>
            </p:cNvPr>
            <p:cNvSpPr/>
            <p:nvPr/>
          </p:nvSpPr>
          <p:spPr>
            <a:xfrm>
              <a:off x="4975557" y="3340518"/>
              <a:ext cx="95514" cy="47209"/>
            </a:xfrm>
            <a:custGeom>
              <a:avLst/>
              <a:gdLst/>
              <a:ahLst/>
              <a:cxnLst>
                <a:cxn ang="0">
                  <a:pos x="wd2" y="hd2"/>
                </a:cxn>
                <a:cxn ang="5400000">
                  <a:pos x="wd2" y="hd2"/>
                </a:cxn>
                <a:cxn ang="10800000">
                  <a:pos x="wd2" y="hd2"/>
                </a:cxn>
                <a:cxn ang="16200000">
                  <a:pos x="wd2" y="hd2"/>
                </a:cxn>
              </a:cxnLst>
              <a:rect l="0" t="0" r="r" b="b"/>
              <a:pathLst>
                <a:path w="19531" h="21600" extrusionOk="0">
                  <a:moveTo>
                    <a:pt x="13500" y="15429"/>
                  </a:moveTo>
                  <a:cubicBezTo>
                    <a:pt x="14850" y="15429"/>
                    <a:pt x="21600" y="15429"/>
                    <a:pt x="18900" y="9257"/>
                  </a:cubicBezTo>
                  <a:cubicBezTo>
                    <a:pt x="16200" y="6171"/>
                    <a:pt x="18900" y="3086"/>
                    <a:pt x="18900" y="0"/>
                  </a:cubicBezTo>
                  <a:cubicBezTo>
                    <a:pt x="16200" y="0"/>
                    <a:pt x="12150" y="0"/>
                    <a:pt x="9450" y="0"/>
                  </a:cubicBezTo>
                  <a:cubicBezTo>
                    <a:pt x="6750" y="0"/>
                    <a:pt x="6750" y="3086"/>
                    <a:pt x="5400" y="0"/>
                  </a:cubicBezTo>
                  <a:cubicBezTo>
                    <a:pt x="2700" y="0"/>
                    <a:pt x="2700" y="0"/>
                    <a:pt x="0" y="3086"/>
                  </a:cubicBezTo>
                  <a:cubicBezTo>
                    <a:pt x="1350" y="6171"/>
                    <a:pt x="1350" y="9257"/>
                    <a:pt x="4050" y="9257"/>
                  </a:cubicBezTo>
                  <a:cubicBezTo>
                    <a:pt x="5400" y="9257"/>
                    <a:pt x="9450" y="9257"/>
                    <a:pt x="9450" y="9257"/>
                  </a:cubicBezTo>
                  <a:cubicBezTo>
                    <a:pt x="6750" y="15429"/>
                    <a:pt x="9450" y="18514"/>
                    <a:pt x="12150" y="21600"/>
                  </a:cubicBezTo>
                  <a:cubicBezTo>
                    <a:pt x="12150" y="21600"/>
                    <a:pt x="12150" y="15429"/>
                    <a:pt x="13500" y="1542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8" name="Shape 2187">
              <a:extLst>
                <a:ext uri="{FF2B5EF4-FFF2-40B4-BE49-F238E27FC236}">
                  <a16:creationId xmlns:a16="http://schemas.microsoft.com/office/drawing/2014/main" id="{C61981A5-3158-5C03-1D4C-2CA532A5DF96}"/>
                </a:ext>
              </a:extLst>
            </p:cNvPr>
            <p:cNvSpPr/>
            <p:nvPr/>
          </p:nvSpPr>
          <p:spPr>
            <a:xfrm>
              <a:off x="4968813" y="3300903"/>
              <a:ext cx="98887" cy="21630"/>
            </a:xfrm>
            <a:custGeom>
              <a:avLst/>
              <a:gdLst/>
              <a:ahLst/>
              <a:cxnLst>
                <a:cxn ang="0">
                  <a:pos x="wd2" y="hd2"/>
                </a:cxn>
                <a:cxn ang="5400000">
                  <a:pos x="wd2" y="hd2"/>
                </a:cxn>
                <a:cxn ang="10800000">
                  <a:pos x="wd2" y="hd2"/>
                </a:cxn>
                <a:cxn ang="16200000">
                  <a:pos x="wd2" y="hd2"/>
                </a:cxn>
              </a:cxnLst>
              <a:rect l="0" t="0" r="r" b="b"/>
              <a:pathLst>
                <a:path w="21600" h="17318" extrusionOk="0">
                  <a:moveTo>
                    <a:pt x="5760" y="17318"/>
                  </a:moveTo>
                  <a:cubicBezTo>
                    <a:pt x="8640" y="11918"/>
                    <a:pt x="10080" y="6518"/>
                    <a:pt x="12960" y="11918"/>
                  </a:cubicBezTo>
                  <a:cubicBezTo>
                    <a:pt x="14400" y="11918"/>
                    <a:pt x="20160" y="17318"/>
                    <a:pt x="21600" y="6518"/>
                  </a:cubicBezTo>
                  <a:cubicBezTo>
                    <a:pt x="21600" y="11918"/>
                    <a:pt x="12960" y="-4282"/>
                    <a:pt x="11520" y="1118"/>
                  </a:cubicBezTo>
                  <a:cubicBezTo>
                    <a:pt x="7200" y="6518"/>
                    <a:pt x="1440" y="-4282"/>
                    <a:pt x="0" y="17318"/>
                  </a:cubicBezTo>
                  <a:cubicBezTo>
                    <a:pt x="2880" y="17318"/>
                    <a:pt x="4320" y="17318"/>
                    <a:pt x="5760" y="17318"/>
                  </a:cubicBezTo>
                  <a:cubicBezTo>
                    <a:pt x="7200" y="17318"/>
                    <a:pt x="5760" y="17318"/>
                    <a:pt x="5760" y="1731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69" name="Shape 2188">
              <a:extLst>
                <a:ext uri="{FF2B5EF4-FFF2-40B4-BE49-F238E27FC236}">
                  <a16:creationId xmlns:a16="http://schemas.microsoft.com/office/drawing/2014/main" id="{EE060F62-A01E-FCB2-E95A-D6F28E95EDE8}"/>
                </a:ext>
              </a:extLst>
            </p:cNvPr>
            <p:cNvSpPr/>
            <p:nvPr/>
          </p:nvSpPr>
          <p:spPr>
            <a:xfrm>
              <a:off x="4960125" y="2832471"/>
              <a:ext cx="390749" cy="434674"/>
            </a:xfrm>
            <a:custGeom>
              <a:avLst/>
              <a:gdLst/>
              <a:ahLst/>
              <a:cxnLst>
                <a:cxn ang="0">
                  <a:pos x="wd2" y="hd2"/>
                </a:cxn>
                <a:cxn ang="5400000">
                  <a:pos x="wd2" y="hd2"/>
                </a:cxn>
                <a:cxn ang="10800000">
                  <a:pos x="wd2" y="hd2"/>
                </a:cxn>
                <a:cxn ang="16200000">
                  <a:pos x="wd2" y="hd2"/>
                </a:cxn>
              </a:cxnLst>
              <a:rect l="0" t="0" r="r" b="b"/>
              <a:pathLst>
                <a:path w="21338" h="20883" extrusionOk="0">
                  <a:moveTo>
                    <a:pt x="1538" y="18106"/>
                  </a:moveTo>
                  <a:cubicBezTo>
                    <a:pt x="2258" y="18106"/>
                    <a:pt x="4418" y="17471"/>
                    <a:pt x="5138" y="18106"/>
                  </a:cubicBezTo>
                  <a:cubicBezTo>
                    <a:pt x="5498" y="18424"/>
                    <a:pt x="5858" y="18424"/>
                    <a:pt x="6218" y="18741"/>
                  </a:cubicBezTo>
                  <a:cubicBezTo>
                    <a:pt x="6578" y="19376"/>
                    <a:pt x="6938" y="19694"/>
                    <a:pt x="7298" y="20012"/>
                  </a:cubicBezTo>
                  <a:cubicBezTo>
                    <a:pt x="7658" y="20329"/>
                    <a:pt x="9098" y="21600"/>
                    <a:pt x="9458" y="20329"/>
                  </a:cubicBezTo>
                  <a:cubicBezTo>
                    <a:pt x="9818" y="18424"/>
                    <a:pt x="10538" y="20647"/>
                    <a:pt x="11258" y="20329"/>
                  </a:cubicBezTo>
                  <a:cubicBezTo>
                    <a:pt x="11618" y="19694"/>
                    <a:pt x="11618" y="19694"/>
                    <a:pt x="12338" y="19694"/>
                  </a:cubicBezTo>
                  <a:cubicBezTo>
                    <a:pt x="13058" y="19694"/>
                    <a:pt x="13418" y="19694"/>
                    <a:pt x="13778" y="19694"/>
                  </a:cubicBezTo>
                  <a:cubicBezTo>
                    <a:pt x="14498" y="19376"/>
                    <a:pt x="15218" y="19376"/>
                    <a:pt x="15578" y="19376"/>
                  </a:cubicBezTo>
                  <a:cubicBezTo>
                    <a:pt x="16658" y="19376"/>
                    <a:pt x="17738" y="19376"/>
                    <a:pt x="18818" y="19376"/>
                  </a:cubicBezTo>
                  <a:cubicBezTo>
                    <a:pt x="19178" y="19376"/>
                    <a:pt x="20258" y="19694"/>
                    <a:pt x="20618" y="19376"/>
                  </a:cubicBezTo>
                  <a:cubicBezTo>
                    <a:pt x="20978" y="19376"/>
                    <a:pt x="20618" y="17471"/>
                    <a:pt x="20618" y="17153"/>
                  </a:cubicBezTo>
                  <a:cubicBezTo>
                    <a:pt x="20258" y="15247"/>
                    <a:pt x="19898" y="13659"/>
                    <a:pt x="19898" y="12071"/>
                  </a:cubicBezTo>
                  <a:cubicBezTo>
                    <a:pt x="19538" y="9212"/>
                    <a:pt x="18818" y="6671"/>
                    <a:pt x="18458" y="3812"/>
                  </a:cubicBezTo>
                  <a:cubicBezTo>
                    <a:pt x="19538" y="3812"/>
                    <a:pt x="20618" y="3812"/>
                    <a:pt x="21338" y="3812"/>
                  </a:cubicBezTo>
                  <a:cubicBezTo>
                    <a:pt x="19178" y="2541"/>
                    <a:pt x="17018" y="1271"/>
                    <a:pt x="15218" y="0"/>
                  </a:cubicBezTo>
                  <a:cubicBezTo>
                    <a:pt x="15218" y="318"/>
                    <a:pt x="15218" y="2224"/>
                    <a:pt x="14858" y="2224"/>
                  </a:cubicBezTo>
                  <a:cubicBezTo>
                    <a:pt x="14498" y="2224"/>
                    <a:pt x="13778" y="2224"/>
                    <a:pt x="13058" y="2224"/>
                  </a:cubicBezTo>
                  <a:cubicBezTo>
                    <a:pt x="12338" y="2224"/>
                    <a:pt x="11258" y="2224"/>
                    <a:pt x="10178" y="2224"/>
                  </a:cubicBezTo>
                  <a:cubicBezTo>
                    <a:pt x="10178" y="2224"/>
                    <a:pt x="9098" y="2224"/>
                    <a:pt x="9098" y="2224"/>
                  </a:cubicBezTo>
                  <a:cubicBezTo>
                    <a:pt x="8738" y="2541"/>
                    <a:pt x="9098" y="3494"/>
                    <a:pt x="9098" y="3812"/>
                  </a:cubicBezTo>
                  <a:cubicBezTo>
                    <a:pt x="9098" y="4447"/>
                    <a:pt x="9098" y="5400"/>
                    <a:pt x="9098" y="6035"/>
                  </a:cubicBezTo>
                  <a:cubicBezTo>
                    <a:pt x="9098" y="6988"/>
                    <a:pt x="6938" y="6671"/>
                    <a:pt x="6938" y="7941"/>
                  </a:cubicBezTo>
                  <a:cubicBezTo>
                    <a:pt x="6938" y="8259"/>
                    <a:pt x="7298" y="9847"/>
                    <a:pt x="6938" y="10165"/>
                  </a:cubicBezTo>
                  <a:cubicBezTo>
                    <a:pt x="6938" y="10165"/>
                    <a:pt x="5858" y="10165"/>
                    <a:pt x="5498" y="10165"/>
                  </a:cubicBezTo>
                  <a:cubicBezTo>
                    <a:pt x="4058" y="10165"/>
                    <a:pt x="2258" y="10165"/>
                    <a:pt x="818" y="10165"/>
                  </a:cubicBezTo>
                  <a:cubicBezTo>
                    <a:pt x="458" y="10165"/>
                    <a:pt x="-262" y="9847"/>
                    <a:pt x="98" y="10482"/>
                  </a:cubicBezTo>
                  <a:cubicBezTo>
                    <a:pt x="458" y="10800"/>
                    <a:pt x="818" y="11118"/>
                    <a:pt x="1178" y="11435"/>
                  </a:cubicBezTo>
                  <a:cubicBezTo>
                    <a:pt x="1538" y="12071"/>
                    <a:pt x="1178" y="12706"/>
                    <a:pt x="818" y="13024"/>
                  </a:cubicBezTo>
                  <a:cubicBezTo>
                    <a:pt x="818" y="13976"/>
                    <a:pt x="1898" y="14294"/>
                    <a:pt x="1898" y="15247"/>
                  </a:cubicBezTo>
                  <a:cubicBezTo>
                    <a:pt x="2258" y="16200"/>
                    <a:pt x="1178" y="17471"/>
                    <a:pt x="818" y="18424"/>
                  </a:cubicBezTo>
                  <a:cubicBezTo>
                    <a:pt x="1178" y="18424"/>
                    <a:pt x="1178" y="18106"/>
                    <a:pt x="1538" y="18106"/>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0" name="Shape 2189">
              <a:extLst>
                <a:ext uri="{FF2B5EF4-FFF2-40B4-BE49-F238E27FC236}">
                  <a16:creationId xmlns:a16="http://schemas.microsoft.com/office/drawing/2014/main" id="{EC049EF6-558B-E449-A62B-2849B49F94C9}"/>
                </a:ext>
              </a:extLst>
            </p:cNvPr>
            <p:cNvSpPr/>
            <p:nvPr/>
          </p:nvSpPr>
          <p:spPr>
            <a:xfrm>
              <a:off x="4960553" y="3207026"/>
              <a:ext cx="185807" cy="143145"/>
            </a:xfrm>
            <a:custGeom>
              <a:avLst/>
              <a:gdLst/>
              <a:ahLst/>
              <a:cxnLst>
                <a:cxn ang="0">
                  <a:pos x="wd2" y="hd2"/>
                </a:cxn>
                <a:cxn ang="5400000">
                  <a:pos x="wd2" y="hd2"/>
                </a:cxn>
                <a:cxn ang="10800000">
                  <a:pos x="wd2" y="hd2"/>
                </a:cxn>
                <a:cxn ang="16200000">
                  <a:pos x="wd2" y="hd2"/>
                </a:cxn>
              </a:cxnLst>
              <a:rect l="0" t="0" r="r" b="b"/>
              <a:pathLst>
                <a:path w="21009" h="20528" extrusionOk="0">
                  <a:moveTo>
                    <a:pt x="5368" y="20139"/>
                  </a:moveTo>
                  <a:cubicBezTo>
                    <a:pt x="6112" y="20139"/>
                    <a:pt x="6112" y="19200"/>
                    <a:pt x="6857" y="19200"/>
                  </a:cubicBezTo>
                  <a:cubicBezTo>
                    <a:pt x="8347" y="19200"/>
                    <a:pt x="9092" y="19200"/>
                    <a:pt x="10581" y="19200"/>
                  </a:cubicBezTo>
                  <a:cubicBezTo>
                    <a:pt x="12071" y="19200"/>
                    <a:pt x="14306" y="18261"/>
                    <a:pt x="16540" y="19200"/>
                  </a:cubicBezTo>
                  <a:cubicBezTo>
                    <a:pt x="17285" y="20139"/>
                    <a:pt x="18030" y="21078"/>
                    <a:pt x="19519" y="20139"/>
                  </a:cubicBezTo>
                  <a:cubicBezTo>
                    <a:pt x="21009" y="20139"/>
                    <a:pt x="21009" y="19200"/>
                    <a:pt x="21009" y="17321"/>
                  </a:cubicBezTo>
                  <a:cubicBezTo>
                    <a:pt x="21009" y="15443"/>
                    <a:pt x="18030" y="14504"/>
                    <a:pt x="18030" y="12626"/>
                  </a:cubicBezTo>
                  <a:cubicBezTo>
                    <a:pt x="18030" y="12626"/>
                    <a:pt x="18030" y="8869"/>
                    <a:pt x="18030" y="8869"/>
                  </a:cubicBezTo>
                  <a:cubicBezTo>
                    <a:pt x="17285" y="8869"/>
                    <a:pt x="14306" y="4174"/>
                    <a:pt x="13561" y="3235"/>
                  </a:cubicBezTo>
                  <a:cubicBezTo>
                    <a:pt x="11326" y="417"/>
                    <a:pt x="9092" y="-522"/>
                    <a:pt x="6112" y="417"/>
                  </a:cubicBezTo>
                  <a:cubicBezTo>
                    <a:pt x="5368" y="417"/>
                    <a:pt x="3133" y="-522"/>
                    <a:pt x="3133" y="417"/>
                  </a:cubicBezTo>
                  <a:cubicBezTo>
                    <a:pt x="2388" y="1356"/>
                    <a:pt x="899" y="3235"/>
                    <a:pt x="899" y="5113"/>
                  </a:cubicBezTo>
                  <a:cubicBezTo>
                    <a:pt x="1643" y="6991"/>
                    <a:pt x="1643" y="7930"/>
                    <a:pt x="154" y="8869"/>
                  </a:cubicBezTo>
                  <a:cubicBezTo>
                    <a:pt x="-591" y="8869"/>
                    <a:pt x="1643" y="10748"/>
                    <a:pt x="899" y="10748"/>
                  </a:cubicBezTo>
                  <a:cubicBezTo>
                    <a:pt x="2388" y="11687"/>
                    <a:pt x="899" y="11687"/>
                    <a:pt x="899" y="12626"/>
                  </a:cubicBezTo>
                  <a:cubicBezTo>
                    <a:pt x="899" y="12626"/>
                    <a:pt x="1643" y="13565"/>
                    <a:pt x="2388" y="13565"/>
                  </a:cubicBezTo>
                  <a:cubicBezTo>
                    <a:pt x="2388" y="14504"/>
                    <a:pt x="5368" y="13565"/>
                    <a:pt x="6112" y="13565"/>
                  </a:cubicBezTo>
                  <a:cubicBezTo>
                    <a:pt x="6857" y="13565"/>
                    <a:pt x="6857" y="12626"/>
                    <a:pt x="6857" y="12626"/>
                  </a:cubicBezTo>
                  <a:cubicBezTo>
                    <a:pt x="7602" y="12626"/>
                    <a:pt x="12071" y="15443"/>
                    <a:pt x="12071" y="14504"/>
                  </a:cubicBezTo>
                  <a:cubicBezTo>
                    <a:pt x="11326" y="16382"/>
                    <a:pt x="8347" y="15443"/>
                    <a:pt x="7602" y="15443"/>
                  </a:cubicBezTo>
                  <a:cubicBezTo>
                    <a:pt x="6112" y="14504"/>
                    <a:pt x="5368" y="16382"/>
                    <a:pt x="3878" y="16382"/>
                  </a:cubicBezTo>
                  <a:cubicBezTo>
                    <a:pt x="1643" y="16382"/>
                    <a:pt x="154" y="16382"/>
                    <a:pt x="1643" y="19200"/>
                  </a:cubicBezTo>
                  <a:cubicBezTo>
                    <a:pt x="1643" y="20139"/>
                    <a:pt x="2388" y="19200"/>
                    <a:pt x="3133" y="19200"/>
                  </a:cubicBezTo>
                  <a:cubicBezTo>
                    <a:pt x="3878" y="19200"/>
                    <a:pt x="4623" y="20139"/>
                    <a:pt x="5368" y="20139"/>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1" name="Shape 2190">
              <a:extLst>
                <a:ext uri="{FF2B5EF4-FFF2-40B4-BE49-F238E27FC236}">
                  <a16:creationId xmlns:a16="http://schemas.microsoft.com/office/drawing/2014/main" id="{DE073879-62A3-5DA8-CFF8-962761FB5ABF}"/>
                </a:ext>
              </a:extLst>
            </p:cNvPr>
            <p:cNvSpPr/>
            <p:nvPr/>
          </p:nvSpPr>
          <p:spPr>
            <a:xfrm>
              <a:off x="5121638" y="2910320"/>
              <a:ext cx="541805" cy="509476"/>
            </a:xfrm>
            <a:custGeom>
              <a:avLst/>
              <a:gdLst/>
              <a:ahLst/>
              <a:cxnLst>
                <a:cxn ang="0">
                  <a:pos x="wd2" y="hd2"/>
                </a:cxn>
                <a:cxn ang="5400000">
                  <a:pos x="wd2" y="hd2"/>
                </a:cxn>
                <a:cxn ang="10800000">
                  <a:pos x="wd2" y="hd2"/>
                </a:cxn>
                <a:cxn ang="16200000">
                  <a:pos x="wd2" y="hd2"/>
                </a:cxn>
              </a:cxnLst>
              <a:rect l="0" t="0" r="r" b="b"/>
              <a:pathLst>
                <a:path w="21168" h="21377" extrusionOk="0">
                  <a:moveTo>
                    <a:pt x="6943" y="123"/>
                  </a:moveTo>
                  <a:cubicBezTo>
                    <a:pt x="7457" y="4277"/>
                    <a:pt x="7971" y="8431"/>
                    <a:pt x="8486" y="12308"/>
                  </a:cubicBezTo>
                  <a:cubicBezTo>
                    <a:pt x="8486" y="12861"/>
                    <a:pt x="9000" y="13692"/>
                    <a:pt x="8229" y="13692"/>
                  </a:cubicBezTo>
                  <a:cubicBezTo>
                    <a:pt x="7200" y="13692"/>
                    <a:pt x="5914" y="13692"/>
                    <a:pt x="4886" y="13692"/>
                  </a:cubicBezTo>
                  <a:cubicBezTo>
                    <a:pt x="4371" y="13692"/>
                    <a:pt x="4114" y="13692"/>
                    <a:pt x="3857" y="13692"/>
                  </a:cubicBezTo>
                  <a:cubicBezTo>
                    <a:pt x="3600" y="13692"/>
                    <a:pt x="3343" y="13969"/>
                    <a:pt x="3086" y="13969"/>
                  </a:cubicBezTo>
                  <a:cubicBezTo>
                    <a:pt x="2829" y="14246"/>
                    <a:pt x="2571" y="13969"/>
                    <a:pt x="2057" y="13969"/>
                  </a:cubicBezTo>
                  <a:cubicBezTo>
                    <a:pt x="1800" y="13969"/>
                    <a:pt x="1800" y="14523"/>
                    <a:pt x="1543" y="14246"/>
                  </a:cubicBezTo>
                  <a:cubicBezTo>
                    <a:pt x="1286" y="14246"/>
                    <a:pt x="1029" y="13692"/>
                    <a:pt x="771" y="13692"/>
                  </a:cubicBezTo>
                  <a:cubicBezTo>
                    <a:pt x="514" y="13692"/>
                    <a:pt x="514" y="15354"/>
                    <a:pt x="0" y="15077"/>
                  </a:cubicBezTo>
                  <a:cubicBezTo>
                    <a:pt x="0" y="15354"/>
                    <a:pt x="0" y="15908"/>
                    <a:pt x="0" y="16184"/>
                  </a:cubicBezTo>
                  <a:cubicBezTo>
                    <a:pt x="0" y="16738"/>
                    <a:pt x="514" y="16738"/>
                    <a:pt x="771" y="17292"/>
                  </a:cubicBezTo>
                  <a:cubicBezTo>
                    <a:pt x="1029" y="17569"/>
                    <a:pt x="771" y="18123"/>
                    <a:pt x="1029" y="18400"/>
                  </a:cubicBezTo>
                  <a:cubicBezTo>
                    <a:pt x="1286" y="18954"/>
                    <a:pt x="1543" y="18400"/>
                    <a:pt x="1800" y="18677"/>
                  </a:cubicBezTo>
                  <a:cubicBezTo>
                    <a:pt x="1800" y="18954"/>
                    <a:pt x="2571" y="18677"/>
                    <a:pt x="2829" y="18677"/>
                  </a:cubicBezTo>
                  <a:cubicBezTo>
                    <a:pt x="3086" y="18677"/>
                    <a:pt x="3600" y="18123"/>
                    <a:pt x="3857" y="18123"/>
                  </a:cubicBezTo>
                  <a:cubicBezTo>
                    <a:pt x="4371" y="18677"/>
                    <a:pt x="4629" y="20061"/>
                    <a:pt x="5143" y="20615"/>
                  </a:cubicBezTo>
                  <a:cubicBezTo>
                    <a:pt x="5143" y="20615"/>
                    <a:pt x="4886" y="21169"/>
                    <a:pt x="5143" y="21169"/>
                  </a:cubicBezTo>
                  <a:cubicBezTo>
                    <a:pt x="5400" y="21446"/>
                    <a:pt x="5657" y="20892"/>
                    <a:pt x="5914" y="21169"/>
                  </a:cubicBezTo>
                  <a:cubicBezTo>
                    <a:pt x="6171" y="21446"/>
                    <a:pt x="6686" y="21446"/>
                    <a:pt x="6943" y="21169"/>
                  </a:cubicBezTo>
                  <a:cubicBezTo>
                    <a:pt x="7457" y="20615"/>
                    <a:pt x="7457" y="21169"/>
                    <a:pt x="7714" y="21169"/>
                  </a:cubicBezTo>
                  <a:cubicBezTo>
                    <a:pt x="8486" y="21169"/>
                    <a:pt x="9000" y="20061"/>
                    <a:pt x="9000" y="19508"/>
                  </a:cubicBezTo>
                  <a:cubicBezTo>
                    <a:pt x="9000" y="19231"/>
                    <a:pt x="8486" y="19231"/>
                    <a:pt x="9000" y="18954"/>
                  </a:cubicBezTo>
                  <a:cubicBezTo>
                    <a:pt x="9257" y="18677"/>
                    <a:pt x="9771" y="18954"/>
                    <a:pt x="10029" y="18400"/>
                  </a:cubicBezTo>
                  <a:cubicBezTo>
                    <a:pt x="10029" y="18123"/>
                    <a:pt x="10286" y="17569"/>
                    <a:pt x="10286" y="17292"/>
                  </a:cubicBezTo>
                  <a:cubicBezTo>
                    <a:pt x="10543" y="16738"/>
                    <a:pt x="10543" y="16461"/>
                    <a:pt x="10800" y="17015"/>
                  </a:cubicBezTo>
                  <a:cubicBezTo>
                    <a:pt x="11571" y="17569"/>
                    <a:pt x="12086" y="15354"/>
                    <a:pt x="12600" y="15631"/>
                  </a:cubicBezTo>
                  <a:cubicBezTo>
                    <a:pt x="12857" y="15631"/>
                    <a:pt x="12857" y="15631"/>
                    <a:pt x="13114" y="15631"/>
                  </a:cubicBezTo>
                  <a:cubicBezTo>
                    <a:pt x="13114" y="15631"/>
                    <a:pt x="13371" y="15354"/>
                    <a:pt x="13371" y="15354"/>
                  </a:cubicBezTo>
                  <a:cubicBezTo>
                    <a:pt x="13629" y="15077"/>
                    <a:pt x="13886" y="15077"/>
                    <a:pt x="14143" y="14800"/>
                  </a:cubicBezTo>
                  <a:cubicBezTo>
                    <a:pt x="14914" y="13969"/>
                    <a:pt x="15686" y="14800"/>
                    <a:pt x="16714" y="14523"/>
                  </a:cubicBezTo>
                  <a:cubicBezTo>
                    <a:pt x="17229" y="14523"/>
                    <a:pt x="17486" y="14246"/>
                    <a:pt x="18000" y="14246"/>
                  </a:cubicBezTo>
                  <a:cubicBezTo>
                    <a:pt x="18771" y="14246"/>
                    <a:pt x="19543" y="14246"/>
                    <a:pt x="20057" y="13969"/>
                  </a:cubicBezTo>
                  <a:cubicBezTo>
                    <a:pt x="21600" y="13415"/>
                    <a:pt x="21086" y="9815"/>
                    <a:pt x="21086" y="8431"/>
                  </a:cubicBezTo>
                  <a:cubicBezTo>
                    <a:pt x="20829" y="8708"/>
                    <a:pt x="20057" y="9261"/>
                    <a:pt x="19800" y="8708"/>
                  </a:cubicBezTo>
                  <a:cubicBezTo>
                    <a:pt x="19543" y="8431"/>
                    <a:pt x="20057" y="7877"/>
                    <a:pt x="19800" y="7600"/>
                  </a:cubicBezTo>
                  <a:cubicBezTo>
                    <a:pt x="19543" y="7046"/>
                    <a:pt x="18514" y="7323"/>
                    <a:pt x="18000" y="7046"/>
                  </a:cubicBezTo>
                  <a:cubicBezTo>
                    <a:pt x="17486" y="7046"/>
                    <a:pt x="17229" y="6215"/>
                    <a:pt x="16971" y="5938"/>
                  </a:cubicBezTo>
                  <a:cubicBezTo>
                    <a:pt x="16971" y="5661"/>
                    <a:pt x="16714" y="5384"/>
                    <a:pt x="16200" y="5384"/>
                  </a:cubicBezTo>
                  <a:cubicBezTo>
                    <a:pt x="15686" y="4831"/>
                    <a:pt x="14914" y="4277"/>
                    <a:pt x="14400" y="3723"/>
                  </a:cubicBezTo>
                  <a:cubicBezTo>
                    <a:pt x="12857" y="2892"/>
                    <a:pt x="11314" y="1784"/>
                    <a:pt x="10029" y="677"/>
                  </a:cubicBezTo>
                  <a:cubicBezTo>
                    <a:pt x="9771" y="677"/>
                    <a:pt x="9257" y="123"/>
                    <a:pt x="9000" y="123"/>
                  </a:cubicBezTo>
                  <a:cubicBezTo>
                    <a:pt x="8486" y="-154"/>
                    <a:pt x="7714" y="123"/>
                    <a:pt x="6943" y="123"/>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2" name="Shape 2191">
              <a:extLst>
                <a:ext uri="{FF2B5EF4-FFF2-40B4-BE49-F238E27FC236}">
                  <a16:creationId xmlns:a16="http://schemas.microsoft.com/office/drawing/2014/main" id="{83AD9FB1-E561-652E-E2E7-C9FFC9D58AF6}"/>
                </a:ext>
              </a:extLst>
            </p:cNvPr>
            <p:cNvSpPr/>
            <p:nvPr/>
          </p:nvSpPr>
          <p:spPr>
            <a:xfrm>
              <a:off x="6311272" y="2668365"/>
              <a:ext cx="358832" cy="355185"/>
            </a:xfrm>
            <a:custGeom>
              <a:avLst/>
              <a:gdLst/>
              <a:ahLst/>
              <a:cxnLst>
                <a:cxn ang="0">
                  <a:pos x="wd2" y="hd2"/>
                </a:cxn>
                <a:cxn ang="5400000">
                  <a:pos x="wd2" y="hd2"/>
                </a:cxn>
                <a:cxn ang="10800000">
                  <a:pos x="wd2" y="hd2"/>
                </a:cxn>
                <a:cxn ang="16200000">
                  <a:pos x="wd2" y="hd2"/>
                </a:cxn>
              </a:cxnLst>
              <a:rect l="0" t="0" r="r" b="b"/>
              <a:pathLst>
                <a:path w="21289" h="21600" extrusionOk="0">
                  <a:moveTo>
                    <a:pt x="17362" y="21600"/>
                  </a:moveTo>
                  <a:cubicBezTo>
                    <a:pt x="17754" y="21600"/>
                    <a:pt x="17754" y="20400"/>
                    <a:pt x="18540" y="20400"/>
                  </a:cubicBezTo>
                  <a:cubicBezTo>
                    <a:pt x="19718" y="20400"/>
                    <a:pt x="18933" y="19600"/>
                    <a:pt x="19718" y="19200"/>
                  </a:cubicBezTo>
                  <a:cubicBezTo>
                    <a:pt x="20896" y="18800"/>
                    <a:pt x="20896" y="18800"/>
                    <a:pt x="20896" y="17600"/>
                  </a:cubicBezTo>
                  <a:cubicBezTo>
                    <a:pt x="20504" y="16800"/>
                    <a:pt x="20504" y="16800"/>
                    <a:pt x="21289" y="16800"/>
                  </a:cubicBezTo>
                  <a:cubicBezTo>
                    <a:pt x="20896" y="16800"/>
                    <a:pt x="19718" y="14800"/>
                    <a:pt x="19325" y="14400"/>
                  </a:cubicBezTo>
                  <a:cubicBezTo>
                    <a:pt x="18933" y="12800"/>
                    <a:pt x="18147" y="11200"/>
                    <a:pt x="17362" y="10000"/>
                  </a:cubicBezTo>
                  <a:cubicBezTo>
                    <a:pt x="16576" y="8800"/>
                    <a:pt x="16184" y="7200"/>
                    <a:pt x="15398" y="6400"/>
                  </a:cubicBezTo>
                  <a:cubicBezTo>
                    <a:pt x="15005" y="6000"/>
                    <a:pt x="14220" y="3600"/>
                    <a:pt x="14613" y="3200"/>
                  </a:cubicBezTo>
                  <a:cubicBezTo>
                    <a:pt x="14613" y="3200"/>
                    <a:pt x="17754" y="8800"/>
                    <a:pt x="18147" y="8800"/>
                  </a:cubicBezTo>
                  <a:cubicBezTo>
                    <a:pt x="18540" y="8800"/>
                    <a:pt x="18933" y="7600"/>
                    <a:pt x="18933" y="7600"/>
                  </a:cubicBezTo>
                  <a:cubicBezTo>
                    <a:pt x="18933" y="6800"/>
                    <a:pt x="18933" y="6000"/>
                    <a:pt x="18540" y="5600"/>
                  </a:cubicBezTo>
                  <a:cubicBezTo>
                    <a:pt x="18540" y="4000"/>
                    <a:pt x="18147" y="2400"/>
                    <a:pt x="18147" y="800"/>
                  </a:cubicBezTo>
                  <a:cubicBezTo>
                    <a:pt x="17362" y="1600"/>
                    <a:pt x="15398" y="1600"/>
                    <a:pt x="14613" y="800"/>
                  </a:cubicBezTo>
                  <a:cubicBezTo>
                    <a:pt x="13042" y="0"/>
                    <a:pt x="11078" y="400"/>
                    <a:pt x="9507" y="1200"/>
                  </a:cubicBezTo>
                  <a:cubicBezTo>
                    <a:pt x="8329" y="2000"/>
                    <a:pt x="7151" y="1600"/>
                    <a:pt x="5973" y="1200"/>
                  </a:cubicBezTo>
                  <a:cubicBezTo>
                    <a:pt x="4402" y="800"/>
                    <a:pt x="2831" y="800"/>
                    <a:pt x="1260" y="400"/>
                  </a:cubicBezTo>
                  <a:cubicBezTo>
                    <a:pt x="1260" y="400"/>
                    <a:pt x="867" y="0"/>
                    <a:pt x="867" y="0"/>
                  </a:cubicBezTo>
                  <a:cubicBezTo>
                    <a:pt x="474" y="400"/>
                    <a:pt x="474" y="800"/>
                    <a:pt x="82" y="1200"/>
                  </a:cubicBezTo>
                  <a:cubicBezTo>
                    <a:pt x="-311" y="1600"/>
                    <a:pt x="867" y="2000"/>
                    <a:pt x="474" y="2800"/>
                  </a:cubicBezTo>
                  <a:cubicBezTo>
                    <a:pt x="82" y="3200"/>
                    <a:pt x="82" y="3600"/>
                    <a:pt x="82" y="4400"/>
                  </a:cubicBezTo>
                  <a:cubicBezTo>
                    <a:pt x="474" y="4400"/>
                    <a:pt x="474" y="4800"/>
                    <a:pt x="474" y="5200"/>
                  </a:cubicBezTo>
                  <a:cubicBezTo>
                    <a:pt x="474" y="6800"/>
                    <a:pt x="474" y="8400"/>
                    <a:pt x="474" y="10000"/>
                  </a:cubicBezTo>
                  <a:cubicBezTo>
                    <a:pt x="474" y="11200"/>
                    <a:pt x="474" y="20800"/>
                    <a:pt x="474" y="20800"/>
                  </a:cubicBezTo>
                  <a:cubicBezTo>
                    <a:pt x="4794" y="20800"/>
                    <a:pt x="8722" y="20800"/>
                    <a:pt x="13042" y="20800"/>
                  </a:cubicBezTo>
                  <a:cubicBezTo>
                    <a:pt x="13827" y="20800"/>
                    <a:pt x="14613" y="20800"/>
                    <a:pt x="15398" y="20800"/>
                  </a:cubicBezTo>
                  <a:cubicBezTo>
                    <a:pt x="16184" y="20800"/>
                    <a:pt x="16576" y="21600"/>
                    <a:pt x="17362"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3" name="Shape 2192">
              <a:extLst>
                <a:ext uri="{FF2B5EF4-FFF2-40B4-BE49-F238E27FC236}">
                  <a16:creationId xmlns:a16="http://schemas.microsoft.com/office/drawing/2014/main" id="{6F54295C-1479-BD9E-71E1-8BF367269764}"/>
                </a:ext>
              </a:extLst>
            </p:cNvPr>
            <p:cNvSpPr/>
            <p:nvPr/>
          </p:nvSpPr>
          <p:spPr>
            <a:xfrm>
              <a:off x="5768918" y="2463799"/>
              <a:ext cx="130326" cy="256273"/>
            </a:xfrm>
            <a:custGeom>
              <a:avLst/>
              <a:gdLst/>
              <a:ahLst/>
              <a:cxnLst>
                <a:cxn ang="0">
                  <a:pos x="wd2" y="hd2"/>
                </a:cxn>
                <a:cxn ang="5400000">
                  <a:pos x="wd2" y="hd2"/>
                </a:cxn>
                <a:cxn ang="10800000">
                  <a:pos x="wd2" y="hd2"/>
                </a:cxn>
                <a:cxn ang="16200000">
                  <a:pos x="wd2" y="hd2"/>
                </a:cxn>
              </a:cxnLst>
              <a:rect l="0" t="0" r="r" b="b"/>
              <a:pathLst>
                <a:path w="21229" h="21600" extrusionOk="0">
                  <a:moveTo>
                    <a:pt x="14749" y="18831"/>
                  </a:moveTo>
                  <a:cubicBezTo>
                    <a:pt x="12589" y="17723"/>
                    <a:pt x="16909" y="16615"/>
                    <a:pt x="17989" y="16615"/>
                  </a:cubicBezTo>
                  <a:cubicBezTo>
                    <a:pt x="20149" y="16062"/>
                    <a:pt x="21229" y="15508"/>
                    <a:pt x="21229" y="14954"/>
                  </a:cubicBezTo>
                  <a:cubicBezTo>
                    <a:pt x="21229" y="14400"/>
                    <a:pt x="21229" y="13846"/>
                    <a:pt x="21229" y="13292"/>
                  </a:cubicBezTo>
                  <a:cubicBezTo>
                    <a:pt x="21229" y="12738"/>
                    <a:pt x="20149" y="12738"/>
                    <a:pt x="20149" y="12738"/>
                  </a:cubicBezTo>
                  <a:cubicBezTo>
                    <a:pt x="19069" y="12185"/>
                    <a:pt x="19069" y="11631"/>
                    <a:pt x="17989" y="11077"/>
                  </a:cubicBezTo>
                  <a:cubicBezTo>
                    <a:pt x="16909" y="11077"/>
                    <a:pt x="15829" y="11631"/>
                    <a:pt x="14749" y="11077"/>
                  </a:cubicBezTo>
                  <a:cubicBezTo>
                    <a:pt x="11509" y="9969"/>
                    <a:pt x="14749" y="9415"/>
                    <a:pt x="16909" y="8862"/>
                  </a:cubicBezTo>
                  <a:cubicBezTo>
                    <a:pt x="19069" y="8308"/>
                    <a:pt x="20149" y="6646"/>
                    <a:pt x="17989" y="5538"/>
                  </a:cubicBezTo>
                  <a:cubicBezTo>
                    <a:pt x="17989" y="4985"/>
                    <a:pt x="14749" y="3877"/>
                    <a:pt x="15829" y="3323"/>
                  </a:cubicBezTo>
                  <a:cubicBezTo>
                    <a:pt x="16909" y="2769"/>
                    <a:pt x="17989" y="2769"/>
                    <a:pt x="19069" y="2215"/>
                  </a:cubicBezTo>
                  <a:cubicBezTo>
                    <a:pt x="19069" y="2215"/>
                    <a:pt x="19069" y="554"/>
                    <a:pt x="19069" y="554"/>
                  </a:cubicBezTo>
                  <a:cubicBezTo>
                    <a:pt x="17989" y="554"/>
                    <a:pt x="16909" y="2215"/>
                    <a:pt x="15829" y="1662"/>
                  </a:cubicBezTo>
                  <a:cubicBezTo>
                    <a:pt x="15829" y="1662"/>
                    <a:pt x="14749" y="1108"/>
                    <a:pt x="14749" y="1108"/>
                  </a:cubicBezTo>
                  <a:cubicBezTo>
                    <a:pt x="13669" y="554"/>
                    <a:pt x="12589" y="0"/>
                    <a:pt x="11509" y="0"/>
                  </a:cubicBezTo>
                  <a:cubicBezTo>
                    <a:pt x="9349" y="554"/>
                    <a:pt x="6109" y="1108"/>
                    <a:pt x="5029" y="2215"/>
                  </a:cubicBezTo>
                  <a:cubicBezTo>
                    <a:pt x="2869" y="4431"/>
                    <a:pt x="5029" y="7754"/>
                    <a:pt x="1789" y="9415"/>
                  </a:cubicBezTo>
                  <a:cubicBezTo>
                    <a:pt x="-371" y="10523"/>
                    <a:pt x="-371" y="10523"/>
                    <a:pt x="709" y="11631"/>
                  </a:cubicBezTo>
                  <a:cubicBezTo>
                    <a:pt x="709" y="12738"/>
                    <a:pt x="3949" y="13292"/>
                    <a:pt x="3949" y="14400"/>
                  </a:cubicBezTo>
                  <a:cubicBezTo>
                    <a:pt x="5029" y="15508"/>
                    <a:pt x="8269" y="16062"/>
                    <a:pt x="8269" y="16615"/>
                  </a:cubicBezTo>
                  <a:cubicBezTo>
                    <a:pt x="9349" y="18277"/>
                    <a:pt x="10429" y="20492"/>
                    <a:pt x="10429" y="21600"/>
                  </a:cubicBezTo>
                  <a:cubicBezTo>
                    <a:pt x="12589" y="21600"/>
                    <a:pt x="16909" y="20492"/>
                    <a:pt x="14749" y="18831"/>
                  </a:cubicBezTo>
                  <a:cubicBezTo>
                    <a:pt x="13669" y="18277"/>
                    <a:pt x="15829" y="19385"/>
                    <a:pt x="14749" y="1883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4" name="Shape 2193">
              <a:extLst>
                <a:ext uri="{FF2B5EF4-FFF2-40B4-BE49-F238E27FC236}">
                  <a16:creationId xmlns:a16="http://schemas.microsoft.com/office/drawing/2014/main" id="{1BB073C1-DA44-E1EA-7E3E-86F9A01904D5}"/>
                </a:ext>
              </a:extLst>
            </p:cNvPr>
            <p:cNvSpPr/>
            <p:nvPr/>
          </p:nvSpPr>
          <p:spPr>
            <a:xfrm>
              <a:off x="5830328" y="2614414"/>
              <a:ext cx="495926" cy="483321"/>
            </a:xfrm>
            <a:custGeom>
              <a:avLst/>
              <a:gdLst/>
              <a:ahLst/>
              <a:cxnLst>
                <a:cxn ang="0">
                  <a:pos x="wd2" y="hd2"/>
                </a:cxn>
                <a:cxn ang="5400000">
                  <a:pos x="wd2" y="hd2"/>
                </a:cxn>
                <a:cxn ang="10800000">
                  <a:pos x="wd2" y="hd2"/>
                </a:cxn>
                <a:cxn ang="16200000">
                  <a:pos x="wd2" y="hd2"/>
                </a:cxn>
              </a:cxnLst>
              <a:rect l="0" t="0" r="r" b="b"/>
              <a:pathLst>
                <a:path w="21374" h="21600" extrusionOk="0">
                  <a:moveTo>
                    <a:pt x="5742" y="16274"/>
                  </a:moveTo>
                  <a:cubicBezTo>
                    <a:pt x="5742" y="16570"/>
                    <a:pt x="6595" y="17162"/>
                    <a:pt x="6879" y="16866"/>
                  </a:cubicBezTo>
                  <a:cubicBezTo>
                    <a:pt x="7163" y="16570"/>
                    <a:pt x="7448" y="16570"/>
                    <a:pt x="7732" y="16274"/>
                  </a:cubicBezTo>
                  <a:cubicBezTo>
                    <a:pt x="8016" y="16274"/>
                    <a:pt x="8869" y="15682"/>
                    <a:pt x="9153" y="15682"/>
                  </a:cubicBezTo>
                  <a:cubicBezTo>
                    <a:pt x="10290" y="16274"/>
                    <a:pt x="11142" y="16866"/>
                    <a:pt x="12279" y="17458"/>
                  </a:cubicBezTo>
                  <a:cubicBezTo>
                    <a:pt x="14837" y="18937"/>
                    <a:pt x="17111" y="20416"/>
                    <a:pt x="19669" y="21600"/>
                  </a:cubicBezTo>
                  <a:cubicBezTo>
                    <a:pt x="19669" y="21008"/>
                    <a:pt x="19385" y="21008"/>
                    <a:pt x="19953" y="21008"/>
                  </a:cubicBezTo>
                  <a:cubicBezTo>
                    <a:pt x="19953" y="21008"/>
                    <a:pt x="21090" y="21008"/>
                    <a:pt x="21090" y="21008"/>
                  </a:cubicBezTo>
                  <a:cubicBezTo>
                    <a:pt x="21090" y="20416"/>
                    <a:pt x="21090" y="20121"/>
                    <a:pt x="21090" y="19529"/>
                  </a:cubicBezTo>
                  <a:cubicBezTo>
                    <a:pt x="21090" y="17458"/>
                    <a:pt x="21090" y="15386"/>
                    <a:pt x="21090" y="13019"/>
                  </a:cubicBezTo>
                  <a:cubicBezTo>
                    <a:pt x="21090" y="10948"/>
                    <a:pt x="21090" y="8877"/>
                    <a:pt x="21090" y="7101"/>
                  </a:cubicBezTo>
                  <a:cubicBezTo>
                    <a:pt x="21090" y="6510"/>
                    <a:pt x="21090" y="6214"/>
                    <a:pt x="21090" y="5918"/>
                  </a:cubicBezTo>
                  <a:cubicBezTo>
                    <a:pt x="20806" y="5622"/>
                    <a:pt x="20806" y="5326"/>
                    <a:pt x="20806" y="5030"/>
                  </a:cubicBezTo>
                  <a:cubicBezTo>
                    <a:pt x="20806" y="4734"/>
                    <a:pt x="21374" y="4438"/>
                    <a:pt x="21374" y="4142"/>
                  </a:cubicBezTo>
                  <a:cubicBezTo>
                    <a:pt x="21374" y="3847"/>
                    <a:pt x="20806" y="3551"/>
                    <a:pt x="20806" y="3255"/>
                  </a:cubicBezTo>
                  <a:cubicBezTo>
                    <a:pt x="20806" y="2959"/>
                    <a:pt x="21090" y="2663"/>
                    <a:pt x="21374" y="2367"/>
                  </a:cubicBezTo>
                  <a:cubicBezTo>
                    <a:pt x="20521" y="1775"/>
                    <a:pt x="19669" y="2071"/>
                    <a:pt x="18816" y="1479"/>
                  </a:cubicBezTo>
                  <a:cubicBezTo>
                    <a:pt x="18248" y="1184"/>
                    <a:pt x="17963" y="592"/>
                    <a:pt x="17111" y="592"/>
                  </a:cubicBezTo>
                  <a:cubicBezTo>
                    <a:pt x="15974" y="592"/>
                    <a:pt x="14837" y="888"/>
                    <a:pt x="14269" y="1775"/>
                  </a:cubicBezTo>
                  <a:cubicBezTo>
                    <a:pt x="13985" y="2071"/>
                    <a:pt x="13985" y="2367"/>
                    <a:pt x="14269" y="2663"/>
                  </a:cubicBezTo>
                  <a:cubicBezTo>
                    <a:pt x="14553" y="3255"/>
                    <a:pt x="14269" y="3551"/>
                    <a:pt x="13985" y="4142"/>
                  </a:cubicBezTo>
                  <a:cubicBezTo>
                    <a:pt x="13416" y="5030"/>
                    <a:pt x="12279" y="4438"/>
                    <a:pt x="11427" y="3847"/>
                  </a:cubicBezTo>
                  <a:cubicBezTo>
                    <a:pt x="10858" y="3847"/>
                    <a:pt x="10574" y="3551"/>
                    <a:pt x="10006" y="3551"/>
                  </a:cubicBezTo>
                  <a:cubicBezTo>
                    <a:pt x="9437" y="3255"/>
                    <a:pt x="8869" y="3551"/>
                    <a:pt x="8585" y="2959"/>
                  </a:cubicBezTo>
                  <a:cubicBezTo>
                    <a:pt x="8300" y="2663"/>
                    <a:pt x="8300" y="2071"/>
                    <a:pt x="8016" y="1775"/>
                  </a:cubicBezTo>
                  <a:cubicBezTo>
                    <a:pt x="7732" y="1184"/>
                    <a:pt x="6879" y="1184"/>
                    <a:pt x="6311" y="888"/>
                  </a:cubicBezTo>
                  <a:cubicBezTo>
                    <a:pt x="5742" y="592"/>
                    <a:pt x="5174" y="592"/>
                    <a:pt x="4606" y="592"/>
                  </a:cubicBezTo>
                  <a:cubicBezTo>
                    <a:pt x="4037" y="592"/>
                    <a:pt x="3753" y="296"/>
                    <a:pt x="2900" y="0"/>
                  </a:cubicBezTo>
                  <a:cubicBezTo>
                    <a:pt x="2900" y="296"/>
                    <a:pt x="2900" y="592"/>
                    <a:pt x="2900" y="1184"/>
                  </a:cubicBezTo>
                  <a:cubicBezTo>
                    <a:pt x="2900" y="1479"/>
                    <a:pt x="2900" y="1184"/>
                    <a:pt x="2332" y="1775"/>
                  </a:cubicBezTo>
                  <a:cubicBezTo>
                    <a:pt x="2048" y="2071"/>
                    <a:pt x="1763" y="2071"/>
                    <a:pt x="1195" y="2367"/>
                  </a:cubicBezTo>
                  <a:cubicBezTo>
                    <a:pt x="627" y="2959"/>
                    <a:pt x="1479" y="3551"/>
                    <a:pt x="1195" y="4142"/>
                  </a:cubicBezTo>
                  <a:cubicBezTo>
                    <a:pt x="911" y="4734"/>
                    <a:pt x="58" y="4734"/>
                    <a:pt x="58" y="5030"/>
                  </a:cubicBezTo>
                  <a:cubicBezTo>
                    <a:pt x="58" y="5622"/>
                    <a:pt x="342" y="5918"/>
                    <a:pt x="627" y="6214"/>
                  </a:cubicBezTo>
                  <a:cubicBezTo>
                    <a:pt x="627" y="6805"/>
                    <a:pt x="627" y="7397"/>
                    <a:pt x="627" y="7693"/>
                  </a:cubicBezTo>
                  <a:cubicBezTo>
                    <a:pt x="627" y="8285"/>
                    <a:pt x="911" y="8581"/>
                    <a:pt x="627" y="9173"/>
                  </a:cubicBezTo>
                  <a:cubicBezTo>
                    <a:pt x="627" y="9468"/>
                    <a:pt x="627" y="9764"/>
                    <a:pt x="627" y="10060"/>
                  </a:cubicBezTo>
                  <a:cubicBezTo>
                    <a:pt x="627" y="10356"/>
                    <a:pt x="911" y="10652"/>
                    <a:pt x="627" y="10948"/>
                  </a:cubicBezTo>
                  <a:cubicBezTo>
                    <a:pt x="627" y="11244"/>
                    <a:pt x="-226" y="11244"/>
                    <a:pt x="58" y="11836"/>
                  </a:cubicBezTo>
                  <a:cubicBezTo>
                    <a:pt x="627" y="12427"/>
                    <a:pt x="911" y="12723"/>
                    <a:pt x="911" y="13611"/>
                  </a:cubicBezTo>
                  <a:cubicBezTo>
                    <a:pt x="911" y="14203"/>
                    <a:pt x="1479" y="13907"/>
                    <a:pt x="1763" y="14203"/>
                  </a:cubicBezTo>
                  <a:cubicBezTo>
                    <a:pt x="2332" y="14203"/>
                    <a:pt x="2616" y="14203"/>
                    <a:pt x="2900" y="14499"/>
                  </a:cubicBezTo>
                  <a:cubicBezTo>
                    <a:pt x="3185" y="14795"/>
                    <a:pt x="3469" y="15386"/>
                    <a:pt x="3753" y="15682"/>
                  </a:cubicBezTo>
                  <a:cubicBezTo>
                    <a:pt x="4321" y="15978"/>
                    <a:pt x="5174" y="15682"/>
                    <a:pt x="5742" y="16274"/>
                  </a:cubicBezTo>
                  <a:cubicBezTo>
                    <a:pt x="6027" y="16570"/>
                    <a:pt x="5458" y="15978"/>
                    <a:pt x="5742" y="162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5" name="Shape 2194">
              <a:extLst>
                <a:ext uri="{FF2B5EF4-FFF2-40B4-BE49-F238E27FC236}">
                  <a16:creationId xmlns:a16="http://schemas.microsoft.com/office/drawing/2014/main" id="{8B34E743-948F-6480-CB06-C5E2274FD49B}"/>
                </a:ext>
              </a:extLst>
            </p:cNvPr>
            <p:cNvSpPr/>
            <p:nvPr/>
          </p:nvSpPr>
          <p:spPr>
            <a:xfrm>
              <a:off x="4962073" y="2818983"/>
              <a:ext cx="276432" cy="224802"/>
            </a:xfrm>
            <a:custGeom>
              <a:avLst/>
              <a:gdLst/>
              <a:ahLst/>
              <a:cxnLst>
                <a:cxn ang="0">
                  <a:pos x="wd2" y="hd2"/>
                </a:cxn>
                <a:cxn ang="5400000">
                  <a:pos x="wd2" y="hd2"/>
                </a:cxn>
                <a:cxn ang="10800000">
                  <a:pos x="wd2" y="hd2"/>
                </a:cxn>
                <a:cxn ang="16200000">
                  <a:pos x="wd2" y="hd2"/>
                </a:cxn>
              </a:cxnLst>
              <a:rect l="0" t="0" r="r" b="b"/>
              <a:pathLst>
                <a:path w="21600" h="21600" extrusionOk="0">
                  <a:moveTo>
                    <a:pt x="9771" y="21600"/>
                  </a:moveTo>
                  <a:cubicBezTo>
                    <a:pt x="9771" y="19694"/>
                    <a:pt x="9257" y="16518"/>
                    <a:pt x="10286" y="15882"/>
                  </a:cubicBezTo>
                  <a:cubicBezTo>
                    <a:pt x="10800" y="15247"/>
                    <a:pt x="11829" y="14612"/>
                    <a:pt x="12343" y="13976"/>
                  </a:cubicBezTo>
                  <a:cubicBezTo>
                    <a:pt x="12857" y="13976"/>
                    <a:pt x="12857" y="12706"/>
                    <a:pt x="12857" y="12706"/>
                  </a:cubicBezTo>
                  <a:cubicBezTo>
                    <a:pt x="12857" y="10165"/>
                    <a:pt x="12857" y="8259"/>
                    <a:pt x="12857" y="5718"/>
                  </a:cubicBezTo>
                  <a:cubicBezTo>
                    <a:pt x="12857" y="5718"/>
                    <a:pt x="15943" y="5718"/>
                    <a:pt x="16457" y="5718"/>
                  </a:cubicBezTo>
                  <a:cubicBezTo>
                    <a:pt x="18000" y="5718"/>
                    <a:pt x="19543" y="5718"/>
                    <a:pt x="21086" y="5718"/>
                  </a:cubicBezTo>
                  <a:cubicBezTo>
                    <a:pt x="21600" y="5718"/>
                    <a:pt x="21600" y="1906"/>
                    <a:pt x="21600" y="1271"/>
                  </a:cubicBezTo>
                  <a:cubicBezTo>
                    <a:pt x="21600" y="0"/>
                    <a:pt x="21600" y="0"/>
                    <a:pt x="20571" y="0"/>
                  </a:cubicBezTo>
                  <a:cubicBezTo>
                    <a:pt x="16971" y="0"/>
                    <a:pt x="13886" y="0"/>
                    <a:pt x="10286" y="0"/>
                  </a:cubicBezTo>
                  <a:cubicBezTo>
                    <a:pt x="9257" y="1271"/>
                    <a:pt x="8743" y="2541"/>
                    <a:pt x="7714" y="3812"/>
                  </a:cubicBezTo>
                  <a:cubicBezTo>
                    <a:pt x="5657" y="5718"/>
                    <a:pt x="5657" y="7624"/>
                    <a:pt x="5143" y="10800"/>
                  </a:cubicBezTo>
                  <a:cubicBezTo>
                    <a:pt x="5143" y="10800"/>
                    <a:pt x="4629" y="11435"/>
                    <a:pt x="4114" y="11435"/>
                  </a:cubicBezTo>
                  <a:cubicBezTo>
                    <a:pt x="3086" y="12706"/>
                    <a:pt x="2571" y="13976"/>
                    <a:pt x="2057" y="15882"/>
                  </a:cubicBezTo>
                  <a:cubicBezTo>
                    <a:pt x="1029" y="17788"/>
                    <a:pt x="0" y="19059"/>
                    <a:pt x="0" y="21600"/>
                  </a:cubicBezTo>
                  <a:cubicBezTo>
                    <a:pt x="3086" y="21600"/>
                    <a:pt x="6686" y="21600"/>
                    <a:pt x="9771"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6" name="Shape 2195">
              <a:extLst>
                <a:ext uri="{FF2B5EF4-FFF2-40B4-BE49-F238E27FC236}">
                  <a16:creationId xmlns:a16="http://schemas.microsoft.com/office/drawing/2014/main" id="{8C116AF9-3660-E8AA-F5FD-6DA4522047FA}"/>
                </a:ext>
              </a:extLst>
            </p:cNvPr>
            <p:cNvSpPr/>
            <p:nvPr/>
          </p:nvSpPr>
          <p:spPr>
            <a:xfrm>
              <a:off x="5094668" y="2519348"/>
              <a:ext cx="386051" cy="299635"/>
            </a:xfrm>
            <a:custGeom>
              <a:avLst/>
              <a:gdLst/>
              <a:ahLst/>
              <a:cxnLst>
                <a:cxn ang="0">
                  <a:pos x="wd2" y="hd2"/>
                </a:cxn>
                <a:cxn ang="5400000">
                  <a:pos x="wd2" y="hd2"/>
                </a:cxn>
                <a:cxn ang="10800000">
                  <a:pos x="wd2" y="hd2"/>
                </a:cxn>
                <a:cxn ang="16200000">
                  <a:pos x="wd2" y="hd2"/>
                </a:cxn>
              </a:cxnLst>
              <a:rect l="0" t="0" r="r" b="b"/>
              <a:pathLst>
                <a:path w="21082" h="20419" extrusionOk="0">
                  <a:moveTo>
                    <a:pt x="7920" y="20419"/>
                  </a:moveTo>
                  <a:cubicBezTo>
                    <a:pt x="7920" y="19069"/>
                    <a:pt x="7560" y="18169"/>
                    <a:pt x="8280" y="17269"/>
                  </a:cubicBezTo>
                  <a:cubicBezTo>
                    <a:pt x="9000" y="16819"/>
                    <a:pt x="10080" y="16369"/>
                    <a:pt x="10440" y="15469"/>
                  </a:cubicBezTo>
                  <a:cubicBezTo>
                    <a:pt x="10800" y="15469"/>
                    <a:pt x="11520" y="15469"/>
                    <a:pt x="11880" y="15469"/>
                  </a:cubicBezTo>
                  <a:cubicBezTo>
                    <a:pt x="12240" y="15019"/>
                    <a:pt x="12960" y="15019"/>
                    <a:pt x="13680" y="14569"/>
                  </a:cubicBezTo>
                  <a:cubicBezTo>
                    <a:pt x="14040" y="14119"/>
                    <a:pt x="14040" y="13669"/>
                    <a:pt x="14400" y="13219"/>
                  </a:cubicBezTo>
                  <a:cubicBezTo>
                    <a:pt x="14760" y="12769"/>
                    <a:pt x="15840" y="13219"/>
                    <a:pt x="16200" y="12769"/>
                  </a:cubicBezTo>
                  <a:cubicBezTo>
                    <a:pt x="16560" y="12319"/>
                    <a:pt x="16560" y="11869"/>
                    <a:pt x="16560" y="11419"/>
                  </a:cubicBezTo>
                  <a:cubicBezTo>
                    <a:pt x="16560" y="10519"/>
                    <a:pt x="17640" y="10519"/>
                    <a:pt x="18000" y="10069"/>
                  </a:cubicBezTo>
                  <a:cubicBezTo>
                    <a:pt x="18360" y="9619"/>
                    <a:pt x="18360" y="9169"/>
                    <a:pt x="19080" y="9169"/>
                  </a:cubicBezTo>
                  <a:cubicBezTo>
                    <a:pt x="19440" y="9169"/>
                    <a:pt x="20520" y="9619"/>
                    <a:pt x="20880" y="9619"/>
                  </a:cubicBezTo>
                  <a:cubicBezTo>
                    <a:pt x="21600" y="9169"/>
                    <a:pt x="20160" y="6469"/>
                    <a:pt x="20160" y="6019"/>
                  </a:cubicBezTo>
                  <a:cubicBezTo>
                    <a:pt x="20160" y="5119"/>
                    <a:pt x="20160" y="4219"/>
                    <a:pt x="20160" y="3319"/>
                  </a:cubicBezTo>
                  <a:cubicBezTo>
                    <a:pt x="19800" y="2869"/>
                    <a:pt x="19800" y="2419"/>
                    <a:pt x="19800" y="1969"/>
                  </a:cubicBezTo>
                  <a:cubicBezTo>
                    <a:pt x="19080" y="1969"/>
                    <a:pt x="18720" y="1519"/>
                    <a:pt x="18360" y="1519"/>
                  </a:cubicBezTo>
                  <a:cubicBezTo>
                    <a:pt x="18000" y="1069"/>
                    <a:pt x="17280" y="1519"/>
                    <a:pt x="16920" y="1519"/>
                  </a:cubicBezTo>
                  <a:cubicBezTo>
                    <a:pt x="16560" y="1069"/>
                    <a:pt x="15840" y="1519"/>
                    <a:pt x="15120" y="1519"/>
                  </a:cubicBezTo>
                  <a:cubicBezTo>
                    <a:pt x="14400" y="1519"/>
                    <a:pt x="12960" y="-1181"/>
                    <a:pt x="12600" y="619"/>
                  </a:cubicBezTo>
                  <a:cubicBezTo>
                    <a:pt x="12240" y="1969"/>
                    <a:pt x="11880" y="3319"/>
                    <a:pt x="10800" y="4669"/>
                  </a:cubicBezTo>
                  <a:cubicBezTo>
                    <a:pt x="9720" y="6019"/>
                    <a:pt x="8280" y="6019"/>
                    <a:pt x="7200" y="7369"/>
                  </a:cubicBezTo>
                  <a:cubicBezTo>
                    <a:pt x="6480" y="8269"/>
                    <a:pt x="6120" y="9619"/>
                    <a:pt x="5760" y="10969"/>
                  </a:cubicBezTo>
                  <a:cubicBezTo>
                    <a:pt x="5760" y="11869"/>
                    <a:pt x="6120" y="13219"/>
                    <a:pt x="5760" y="14569"/>
                  </a:cubicBezTo>
                  <a:cubicBezTo>
                    <a:pt x="5400" y="15019"/>
                    <a:pt x="5040" y="15919"/>
                    <a:pt x="5040" y="16369"/>
                  </a:cubicBezTo>
                  <a:cubicBezTo>
                    <a:pt x="4680" y="17269"/>
                    <a:pt x="3960" y="17269"/>
                    <a:pt x="3240" y="17719"/>
                  </a:cubicBezTo>
                  <a:cubicBezTo>
                    <a:pt x="2880" y="18169"/>
                    <a:pt x="2520" y="18619"/>
                    <a:pt x="1800" y="19069"/>
                  </a:cubicBezTo>
                  <a:cubicBezTo>
                    <a:pt x="1440" y="19519"/>
                    <a:pt x="720" y="19519"/>
                    <a:pt x="0" y="20419"/>
                  </a:cubicBezTo>
                  <a:lnTo>
                    <a:pt x="7920" y="20419"/>
                  </a:ln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7" name="Shape 2196">
              <a:extLst>
                <a:ext uri="{FF2B5EF4-FFF2-40B4-BE49-F238E27FC236}">
                  <a16:creationId xmlns:a16="http://schemas.microsoft.com/office/drawing/2014/main" id="{19070BFC-1C97-EF2E-BF8F-2471E4EB2CCA}"/>
                </a:ext>
              </a:extLst>
            </p:cNvPr>
            <p:cNvSpPr/>
            <p:nvPr/>
          </p:nvSpPr>
          <p:spPr>
            <a:xfrm>
              <a:off x="5238936" y="2470542"/>
              <a:ext cx="678286" cy="651919"/>
            </a:xfrm>
            <a:custGeom>
              <a:avLst/>
              <a:gdLst/>
              <a:ahLst/>
              <a:cxnLst>
                <a:cxn ang="0">
                  <a:pos x="wd2" y="hd2"/>
                </a:cxn>
                <a:cxn ang="5400000">
                  <a:pos x="wd2" y="hd2"/>
                </a:cxn>
                <a:cxn ang="10800000">
                  <a:pos x="wd2" y="hd2"/>
                </a:cxn>
                <a:cxn ang="16200000">
                  <a:pos x="wd2" y="hd2"/>
                </a:cxn>
              </a:cxnLst>
              <a:rect l="0" t="0" r="r" b="b"/>
              <a:pathLst>
                <a:path w="21444" h="21600" extrusionOk="0">
                  <a:moveTo>
                    <a:pt x="7113" y="4800"/>
                  </a:moveTo>
                  <a:cubicBezTo>
                    <a:pt x="7321" y="5018"/>
                    <a:pt x="8152" y="6327"/>
                    <a:pt x="7321" y="6327"/>
                  </a:cubicBezTo>
                  <a:cubicBezTo>
                    <a:pt x="7113" y="6109"/>
                    <a:pt x="6490" y="5891"/>
                    <a:pt x="6282" y="6109"/>
                  </a:cubicBezTo>
                  <a:cubicBezTo>
                    <a:pt x="6075" y="6327"/>
                    <a:pt x="6075" y="6327"/>
                    <a:pt x="5867" y="6545"/>
                  </a:cubicBezTo>
                  <a:cubicBezTo>
                    <a:pt x="5659" y="6764"/>
                    <a:pt x="5452" y="6764"/>
                    <a:pt x="5244" y="6764"/>
                  </a:cubicBezTo>
                  <a:cubicBezTo>
                    <a:pt x="4829" y="6982"/>
                    <a:pt x="5036" y="7418"/>
                    <a:pt x="4829" y="7636"/>
                  </a:cubicBezTo>
                  <a:cubicBezTo>
                    <a:pt x="4829" y="8073"/>
                    <a:pt x="4206" y="7855"/>
                    <a:pt x="3998" y="8073"/>
                  </a:cubicBezTo>
                  <a:cubicBezTo>
                    <a:pt x="3582" y="8073"/>
                    <a:pt x="3582" y="8509"/>
                    <a:pt x="3375" y="8727"/>
                  </a:cubicBezTo>
                  <a:cubicBezTo>
                    <a:pt x="2959" y="9164"/>
                    <a:pt x="2544" y="8945"/>
                    <a:pt x="2129" y="9164"/>
                  </a:cubicBezTo>
                  <a:cubicBezTo>
                    <a:pt x="1921" y="9164"/>
                    <a:pt x="1713" y="9164"/>
                    <a:pt x="1506" y="9382"/>
                  </a:cubicBezTo>
                  <a:cubicBezTo>
                    <a:pt x="1298" y="9382"/>
                    <a:pt x="882" y="9600"/>
                    <a:pt x="675" y="9818"/>
                  </a:cubicBezTo>
                  <a:cubicBezTo>
                    <a:pt x="-156" y="10255"/>
                    <a:pt x="52" y="10473"/>
                    <a:pt x="52" y="11345"/>
                  </a:cubicBezTo>
                  <a:cubicBezTo>
                    <a:pt x="52" y="12000"/>
                    <a:pt x="-156" y="12000"/>
                    <a:pt x="259" y="12218"/>
                  </a:cubicBezTo>
                  <a:cubicBezTo>
                    <a:pt x="467" y="12436"/>
                    <a:pt x="882" y="12655"/>
                    <a:pt x="1090" y="12873"/>
                  </a:cubicBezTo>
                  <a:cubicBezTo>
                    <a:pt x="3167" y="14400"/>
                    <a:pt x="5244" y="15709"/>
                    <a:pt x="7529" y="17236"/>
                  </a:cubicBezTo>
                  <a:cubicBezTo>
                    <a:pt x="8152" y="17673"/>
                    <a:pt x="8982" y="18327"/>
                    <a:pt x="9813" y="18764"/>
                  </a:cubicBezTo>
                  <a:cubicBezTo>
                    <a:pt x="9813" y="18982"/>
                    <a:pt x="10021" y="18982"/>
                    <a:pt x="10021" y="18982"/>
                  </a:cubicBezTo>
                  <a:cubicBezTo>
                    <a:pt x="10644" y="20073"/>
                    <a:pt x="11059" y="20073"/>
                    <a:pt x="11890" y="20291"/>
                  </a:cubicBezTo>
                  <a:cubicBezTo>
                    <a:pt x="12513" y="20509"/>
                    <a:pt x="11890" y="21382"/>
                    <a:pt x="12513" y="21600"/>
                  </a:cubicBezTo>
                  <a:cubicBezTo>
                    <a:pt x="12721" y="21600"/>
                    <a:pt x="13344" y="21382"/>
                    <a:pt x="13759" y="21164"/>
                  </a:cubicBezTo>
                  <a:cubicBezTo>
                    <a:pt x="13967" y="21164"/>
                    <a:pt x="14590" y="21164"/>
                    <a:pt x="14798" y="20945"/>
                  </a:cubicBezTo>
                  <a:cubicBezTo>
                    <a:pt x="15629" y="20291"/>
                    <a:pt x="16459" y="19636"/>
                    <a:pt x="17498" y="18982"/>
                  </a:cubicBezTo>
                  <a:cubicBezTo>
                    <a:pt x="18536" y="18327"/>
                    <a:pt x="19575" y="17455"/>
                    <a:pt x="20613" y="16800"/>
                  </a:cubicBezTo>
                  <a:cubicBezTo>
                    <a:pt x="20821" y="16800"/>
                    <a:pt x="21029" y="16582"/>
                    <a:pt x="21444" y="16364"/>
                  </a:cubicBezTo>
                  <a:cubicBezTo>
                    <a:pt x="21029" y="15491"/>
                    <a:pt x="20821" y="15273"/>
                    <a:pt x="19990" y="15055"/>
                  </a:cubicBezTo>
                  <a:cubicBezTo>
                    <a:pt x="19782" y="15055"/>
                    <a:pt x="19367" y="15055"/>
                    <a:pt x="19367" y="15055"/>
                  </a:cubicBezTo>
                  <a:cubicBezTo>
                    <a:pt x="19367" y="14400"/>
                    <a:pt x="19367" y="14182"/>
                    <a:pt x="18952" y="13745"/>
                  </a:cubicBezTo>
                  <a:cubicBezTo>
                    <a:pt x="18744" y="13309"/>
                    <a:pt x="18744" y="13309"/>
                    <a:pt x="18952" y="13091"/>
                  </a:cubicBezTo>
                  <a:cubicBezTo>
                    <a:pt x="19367" y="12655"/>
                    <a:pt x="19159" y="12436"/>
                    <a:pt x="19159" y="12000"/>
                  </a:cubicBezTo>
                  <a:cubicBezTo>
                    <a:pt x="19159" y="11564"/>
                    <a:pt x="19367" y="11345"/>
                    <a:pt x="19159" y="10909"/>
                  </a:cubicBezTo>
                  <a:cubicBezTo>
                    <a:pt x="19159" y="10691"/>
                    <a:pt x="19159" y="10473"/>
                    <a:pt x="19159" y="10036"/>
                  </a:cubicBezTo>
                  <a:cubicBezTo>
                    <a:pt x="19159" y="9818"/>
                    <a:pt x="19159" y="9382"/>
                    <a:pt x="18952" y="9164"/>
                  </a:cubicBezTo>
                  <a:cubicBezTo>
                    <a:pt x="18744" y="8945"/>
                    <a:pt x="18744" y="8509"/>
                    <a:pt x="18744" y="8073"/>
                  </a:cubicBezTo>
                  <a:cubicBezTo>
                    <a:pt x="18744" y="7418"/>
                    <a:pt x="18536" y="6545"/>
                    <a:pt x="17913" y="5891"/>
                  </a:cubicBezTo>
                  <a:cubicBezTo>
                    <a:pt x="17498" y="5455"/>
                    <a:pt x="17082" y="5018"/>
                    <a:pt x="16875" y="4364"/>
                  </a:cubicBezTo>
                  <a:cubicBezTo>
                    <a:pt x="16459" y="3491"/>
                    <a:pt x="17290" y="3709"/>
                    <a:pt x="17498" y="2836"/>
                  </a:cubicBezTo>
                  <a:cubicBezTo>
                    <a:pt x="17498" y="1964"/>
                    <a:pt x="17498" y="1309"/>
                    <a:pt x="17706" y="436"/>
                  </a:cubicBezTo>
                  <a:cubicBezTo>
                    <a:pt x="17498" y="436"/>
                    <a:pt x="17498" y="218"/>
                    <a:pt x="17290" y="218"/>
                  </a:cubicBezTo>
                  <a:cubicBezTo>
                    <a:pt x="16875" y="436"/>
                    <a:pt x="16875" y="0"/>
                    <a:pt x="16667" y="0"/>
                  </a:cubicBezTo>
                  <a:cubicBezTo>
                    <a:pt x="16459" y="0"/>
                    <a:pt x="16459" y="218"/>
                    <a:pt x="16252" y="218"/>
                  </a:cubicBezTo>
                  <a:cubicBezTo>
                    <a:pt x="15836" y="218"/>
                    <a:pt x="15836" y="0"/>
                    <a:pt x="15421" y="0"/>
                  </a:cubicBezTo>
                  <a:cubicBezTo>
                    <a:pt x="15213" y="218"/>
                    <a:pt x="15006" y="218"/>
                    <a:pt x="14798" y="436"/>
                  </a:cubicBezTo>
                  <a:cubicBezTo>
                    <a:pt x="14382" y="655"/>
                    <a:pt x="14382" y="436"/>
                    <a:pt x="13967" y="218"/>
                  </a:cubicBezTo>
                  <a:cubicBezTo>
                    <a:pt x="13552" y="218"/>
                    <a:pt x="12929" y="218"/>
                    <a:pt x="12513" y="436"/>
                  </a:cubicBezTo>
                  <a:cubicBezTo>
                    <a:pt x="11475" y="655"/>
                    <a:pt x="10436" y="655"/>
                    <a:pt x="9398" y="1091"/>
                  </a:cubicBezTo>
                  <a:cubicBezTo>
                    <a:pt x="9190" y="1309"/>
                    <a:pt x="8982" y="1527"/>
                    <a:pt x="8775" y="1527"/>
                  </a:cubicBezTo>
                  <a:cubicBezTo>
                    <a:pt x="8567" y="1745"/>
                    <a:pt x="8152" y="1745"/>
                    <a:pt x="7944" y="1745"/>
                  </a:cubicBezTo>
                  <a:cubicBezTo>
                    <a:pt x="7529" y="1964"/>
                    <a:pt x="7529" y="2618"/>
                    <a:pt x="6906" y="2618"/>
                  </a:cubicBezTo>
                  <a:cubicBezTo>
                    <a:pt x="7113" y="3273"/>
                    <a:pt x="7113" y="3927"/>
                    <a:pt x="7113" y="4800"/>
                  </a:cubicBezTo>
                  <a:cubicBezTo>
                    <a:pt x="7321" y="5018"/>
                    <a:pt x="7113" y="4364"/>
                    <a:pt x="7113" y="48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8" name="Shape 2197">
              <a:extLst>
                <a:ext uri="{FF2B5EF4-FFF2-40B4-BE49-F238E27FC236}">
                  <a16:creationId xmlns:a16="http://schemas.microsoft.com/office/drawing/2014/main" id="{B7A2F8A3-5CFC-7681-9ACE-62C88438E0FF}"/>
                </a:ext>
              </a:extLst>
            </p:cNvPr>
            <p:cNvSpPr/>
            <p:nvPr/>
          </p:nvSpPr>
          <p:spPr>
            <a:xfrm>
              <a:off x="3116951" y="0"/>
              <a:ext cx="2005895" cy="1499412"/>
            </a:xfrm>
            <a:custGeom>
              <a:avLst/>
              <a:gdLst/>
              <a:ahLst/>
              <a:cxnLst>
                <a:cxn ang="0">
                  <a:pos x="wd2" y="hd2"/>
                </a:cxn>
                <a:cxn ang="5400000">
                  <a:pos x="wd2" y="hd2"/>
                </a:cxn>
                <a:cxn ang="10800000">
                  <a:pos x="wd2" y="hd2"/>
                </a:cxn>
                <a:cxn ang="16200000">
                  <a:pos x="wd2" y="hd2"/>
                </a:cxn>
              </a:cxnLst>
              <a:rect l="0" t="0" r="r" b="b"/>
              <a:pathLst>
                <a:path w="21541" h="21600" extrusionOk="0">
                  <a:moveTo>
                    <a:pt x="2266" y="3521"/>
                  </a:moveTo>
                  <a:cubicBezTo>
                    <a:pt x="2195" y="3616"/>
                    <a:pt x="1841" y="3806"/>
                    <a:pt x="1912" y="3901"/>
                  </a:cubicBezTo>
                  <a:cubicBezTo>
                    <a:pt x="1983" y="3996"/>
                    <a:pt x="2125" y="3996"/>
                    <a:pt x="2266" y="4092"/>
                  </a:cubicBezTo>
                  <a:cubicBezTo>
                    <a:pt x="2408" y="4092"/>
                    <a:pt x="2550" y="4092"/>
                    <a:pt x="2762" y="4092"/>
                  </a:cubicBezTo>
                  <a:cubicBezTo>
                    <a:pt x="2762" y="4092"/>
                    <a:pt x="3116" y="3996"/>
                    <a:pt x="3187" y="3996"/>
                  </a:cubicBezTo>
                  <a:cubicBezTo>
                    <a:pt x="3116" y="3996"/>
                    <a:pt x="2974" y="4092"/>
                    <a:pt x="2904" y="4187"/>
                  </a:cubicBezTo>
                  <a:cubicBezTo>
                    <a:pt x="2833" y="4282"/>
                    <a:pt x="2762" y="4377"/>
                    <a:pt x="2833" y="4567"/>
                  </a:cubicBezTo>
                  <a:cubicBezTo>
                    <a:pt x="2974" y="4758"/>
                    <a:pt x="2550" y="5233"/>
                    <a:pt x="2337" y="5138"/>
                  </a:cubicBezTo>
                  <a:cubicBezTo>
                    <a:pt x="2266" y="5043"/>
                    <a:pt x="2125" y="5138"/>
                    <a:pt x="1983" y="5138"/>
                  </a:cubicBezTo>
                  <a:cubicBezTo>
                    <a:pt x="1912" y="5043"/>
                    <a:pt x="1770" y="5138"/>
                    <a:pt x="1700" y="5138"/>
                  </a:cubicBezTo>
                  <a:cubicBezTo>
                    <a:pt x="1629" y="5138"/>
                    <a:pt x="1487" y="5138"/>
                    <a:pt x="1416" y="5329"/>
                  </a:cubicBezTo>
                  <a:cubicBezTo>
                    <a:pt x="1346" y="5424"/>
                    <a:pt x="1275" y="5424"/>
                    <a:pt x="1133" y="5424"/>
                  </a:cubicBezTo>
                  <a:cubicBezTo>
                    <a:pt x="921" y="5519"/>
                    <a:pt x="708" y="5614"/>
                    <a:pt x="496" y="5614"/>
                  </a:cubicBezTo>
                  <a:cubicBezTo>
                    <a:pt x="425" y="5614"/>
                    <a:pt x="283" y="5519"/>
                    <a:pt x="283" y="5614"/>
                  </a:cubicBezTo>
                  <a:cubicBezTo>
                    <a:pt x="212" y="5709"/>
                    <a:pt x="0" y="5709"/>
                    <a:pt x="0" y="5900"/>
                  </a:cubicBezTo>
                  <a:cubicBezTo>
                    <a:pt x="0" y="5995"/>
                    <a:pt x="71" y="5900"/>
                    <a:pt x="71" y="5995"/>
                  </a:cubicBezTo>
                  <a:cubicBezTo>
                    <a:pt x="71" y="5995"/>
                    <a:pt x="0" y="6090"/>
                    <a:pt x="0" y="6090"/>
                  </a:cubicBezTo>
                  <a:cubicBezTo>
                    <a:pt x="0" y="6185"/>
                    <a:pt x="142" y="6375"/>
                    <a:pt x="212" y="6470"/>
                  </a:cubicBezTo>
                  <a:cubicBezTo>
                    <a:pt x="212" y="6470"/>
                    <a:pt x="283" y="6375"/>
                    <a:pt x="283" y="6375"/>
                  </a:cubicBezTo>
                  <a:cubicBezTo>
                    <a:pt x="354" y="6280"/>
                    <a:pt x="425" y="6375"/>
                    <a:pt x="496" y="6470"/>
                  </a:cubicBezTo>
                  <a:cubicBezTo>
                    <a:pt x="567" y="6470"/>
                    <a:pt x="921" y="6566"/>
                    <a:pt x="921" y="6375"/>
                  </a:cubicBezTo>
                  <a:cubicBezTo>
                    <a:pt x="921" y="6470"/>
                    <a:pt x="850" y="6470"/>
                    <a:pt x="921" y="6566"/>
                  </a:cubicBezTo>
                  <a:cubicBezTo>
                    <a:pt x="921" y="6661"/>
                    <a:pt x="1062" y="6756"/>
                    <a:pt x="1133" y="6756"/>
                  </a:cubicBezTo>
                  <a:cubicBezTo>
                    <a:pt x="1204" y="6851"/>
                    <a:pt x="1275" y="6851"/>
                    <a:pt x="1346" y="6851"/>
                  </a:cubicBezTo>
                  <a:cubicBezTo>
                    <a:pt x="1487" y="6851"/>
                    <a:pt x="1487" y="6661"/>
                    <a:pt x="1558" y="6756"/>
                  </a:cubicBezTo>
                  <a:cubicBezTo>
                    <a:pt x="1700" y="6756"/>
                    <a:pt x="1912" y="6756"/>
                    <a:pt x="1983" y="6756"/>
                  </a:cubicBezTo>
                  <a:cubicBezTo>
                    <a:pt x="2054" y="6756"/>
                    <a:pt x="2054" y="6661"/>
                    <a:pt x="2125" y="6566"/>
                  </a:cubicBezTo>
                  <a:cubicBezTo>
                    <a:pt x="2195" y="6566"/>
                    <a:pt x="2408" y="6756"/>
                    <a:pt x="2408" y="6851"/>
                  </a:cubicBezTo>
                  <a:cubicBezTo>
                    <a:pt x="2408" y="6946"/>
                    <a:pt x="1700" y="6851"/>
                    <a:pt x="1558" y="6946"/>
                  </a:cubicBezTo>
                  <a:cubicBezTo>
                    <a:pt x="1416" y="6946"/>
                    <a:pt x="1629" y="7041"/>
                    <a:pt x="1700" y="7041"/>
                  </a:cubicBezTo>
                  <a:cubicBezTo>
                    <a:pt x="1841" y="7137"/>
                    <a:pt x="1912" y="7041"/>
                    <a:pt x="2054" y="7137"/>
                  </a:cubicBezTo>
                  <a:cubicBezTo>
                    <a:pt x="1983" y="7041"/>
                    <a:pt x="1841" y="7137"/>
                    <a:pt x="1700" y="7137"/>
                  </a:cubicBezTo>
                  <a:cubicBezTo>
                    <a:pt x="1487" y="7137"/>
                    <a:pt x="1275" y="7041"/>
                    <a:pt x="1062" y="7041"/>
                  </a:cubicBezTo>
                  <a:cubicBezTo>
                    <a:pt x="921" y="7041"/>
                    <a:pt x="637" y="7041"/>
                    <a:pt x="637" y="7232"/>
                  </a:cubicBezTo>
                  <a:cubicBezTo>
                    <a:pt x="567" y="7327"/>
                    <a:pt x="779" y="7422"/>
                    <a:pt x="850" y="7422"/>
                  </a:cubicBezTo>
                  <a:cubicBezTo>
                    <a:pt x="921" y="7422"/>
                    <a:pt x="1062" y="7327"/>
                    <a:pt x="1062" y="7327"/>
                  </a:cubicBezTo>
                  <a:cubicBezTo>
                    <a:pt x="1133" y="7422"/>
                    <a:pt x="1062" y="7422"/>
                    <a:pt x="1062" y="7517"/>
                  </a:cubicBezTo>
                  <a:cubicBezTo>
                    <a:pt x="1133" y="7612"/>
                    <a:pt x="1275" y="7612"/>
                    <a:pt x="1346" y="7612"/>
                  </a:cubicBezTo>
                  <a:cubicBezTo>
                    <a:pt x="1487" y="7612"/>
                    <a:pt x="1629" y="7612"/>
                    <a:pt x="1770" y="7612"/>
                  </a:cubicBezTo>
                  <a:cubicBezTo>
                    <a:pt x="1770" y="7612"/>
                    <a:pt x="1487" y="7707"/>
                    <a:pt x="1416" y="7707"/>
                  </a:cubicBezTo>
                  <a:cubicBezTo>
                    <a:pt x="1133" y="7803"/>
                    <a:pt x="1346" y="7993"/>
                    <a:pt x="1487" y="8088"/>
                  </a:cubicBezTo>
                  <a:cubicBezTo>
                    <a:pt x="1629" y="8183"/>
                    <a:pt x="1770" y="8183"/>
                    <a:pt x="1912" y="8278"/>
                  </a:cubicBezTo>
                  <a:cubicBezTo>
                    <a:pt x="1912" y="8278"/>
                    <a:pt x="2195" y="8278"/>
                    <a:pt x="2195" y="8278"/>
                  </a:cubicBezTo>
                  <a:cubicBezTo>
                    <a:pt x="2195" y="8278"/>
                    <a:pt x="2054" y="8183"/>
                    <a:pt x="2054" y="8088"/>
                  </a:cubicBezTo>
                  <a:cubicBezTo>
                    <a:pt x="2054" y="7993"/>
                    <a:pt x="2195" y="8088"/>
                    <a:pt x="2195" y="8088"/>
                  </a:cubicBezTo>
                  <a:cubicBezTo>
                    <a:pt x="2266" y="8183"/>
                    <a:pt x="2337" y="8088"/>
                    <a:pt x="2408" y="7993"/>
                  </a:cubicBezTo>
                  <a:cubicBezTo>
                    <a:pt x="2408" y="7993"/>
                    <a:pt x="2479" y="7898"/>
                    <a:pt x="2550" y="7898"/>
                  </a:cubicBezTo>
                  <a:cubicBezTo>
                    <a:pt x="2620" y="7993"/>
                    <a:pt x="2550" y="8183"/>
                    <a:pt x="2550" y="8183"/>
                  </a:cubicBezTo>
                  <a:cubicBezTo>
                    <a:pt x="2620" y="8278"/>
                    <a:pt x="2833" y="8088"/>
                    <a:pt x="2904" y="8088"/>
                  </a:cubicBezTo>
                  <a:cubicBezTo>
                    <a:pt x="3045" y="7993"/>
                    <a:pt x="3045" y="7993"/>
                    <a:pt x="3116" y="8088"/>
                  </a:cubicBezTo>
                  <a:cubicBezTo>
                    <a:pt x="3187" y="8183"/>
                    <a:pt x="3258" y="7993"/>
                    <a:pt x="3329" y="7993"/>
                  </a:cubicBezTo>
                  <a:cubicBezTo>
                    <a:pt x="3399" y="7898"/>
                    <a:pt x="3541" y="7993"/>
                    <a:pt x="3612" y="7993"/>
                  </a:cubicBezTo>
                  <a:cubicBezTo>
                    <a:pt x="3824" y="7993"/>
                    <a:pt x="4108" y="8088"/>
                    <a:pt x="4320" y="8183"/>
                  </a:cubicBezTo>
                  <a:cubicBezTo>
                    <a:pt x="4462" y="8183"/>
                    <a:pt x="4603" y="8374"/>
                    <a:pt x="4745" y="8374"/>
                  </a:cubicBezTo>
                  <a:cubicBezTo>
                    <a:pt x="4887" y="8374"/>
                    <a:pt x="5028" y="8469"/>
                    <a:pt x="5099" y="8564"/>
                  </a:cubicBezTo>
                  <a:cubicBezTo>
                    <a:pt x="5241" y="8659"/>
                    <a:pt x="5170" y="8754"/>
                    <a:pt x="5170" y="8849"/>
                  </a:cubicBezTo>
                  <a:cubicBezTo>
                    <a:pt x="5170" y="8944"/>
                    <a:pt x="5311" y="9135"/>
                    <a:pt x="5382" y="9135"/>
                  </a:cubicBezTo>
                  <a:cubicBezTo>
                    <a:pt x="5453" y="9230"/>
                    <a:pt x="5595" y="9135"/>
                    <a:pt x="5666" y="9230"/>
                  </a:cubicBezTo>
                  <a:cubicBezTo>
                    <a:pt x="5666" y="9420"/>
                    <a:pt x="5807" y="9515"/>
                    <a:pt x="5878" y="9611"/>
                  </a:cubicBezTo>
                  <a:cubicBezTo>
                    <a:pt x="5949" y="9706"/>
                    <a:pt x="5878" y="9896"/>
                    <a:pt x="5949" y="9991"/>
                  </a:cubicBezTo>
                  <a:cubicBezTo>
                    <a:pt x="5949" y="10086"/>
                    <a:pt x="6090" y="10181"/>
                    <a:pt x="6090" y="10372"/>
                  </a:cubicBezTo>
                  <a:cubicBezTo>
                    <a:pt x="6090" y="10467"/>
                    <a:pt x="6020" y="10467"/>
                    <a:pt x="6090" y="10562"/>
                  </a:cubicBezTo>
                  <a:cubicBezTo>
                    <a:pt x="6090" y="10562"/>
                    <a:pt x="6161" y="10657"/>
                    <a:pt x="6161" y="10657"/>
                  </a:cubicBezTo>
                  <a:cubicBezTo>
                    <a:pt x="6161" y="10657"/>
                    <a:pt x="6161" y="10657"/>
                    <a:pt x="6161" y="10657"/>
                  </a:cubicBezTo>
                  <a:cubicBezTo>
                    <a:pt x="6232" y="10562"/>
                    <a:pt x="6374" y="10752"/>
                    <a:pt x="6303" y="10848"/>
                  </a:cubicBezTo>
                  <a:cubicBezTo>
                    <a:pt x="6232" y="10943"/>
                    <a:pt x="6232" y="10943"/>
                    <a:pt x="6232" y="11133"/>
                  </a:cubicBezTo>
                  <a:cubicBezTo>
                    <a:pt x="6232" y="11038"/>
                    <a:pt x="6374" y="10943"/>
                    <a:pt x="6445" y="11133"/>
                  </a:cubicBezTo>
                  <a:cubicBezTo>
                    <a:pt x="6445" y="11228"/>
                    <a:pt x="6445" y="11228"/>
                    <a:pt x="6445" y="11323"/>
                  </a:cubicBezTo>
                  <a:cubicBezTo>
                    <a:pt x="6445" y="11323"/>
                    <a:pt x="6445" y="11514"/>
                    <a:pt x="6445" y="11419"/>
                  </a:cubicBezTo>
                  <a:cubicBezTo>
                    <a:pt x="6445" y="11514"/>
                    <a:pt x="6586" y="11514"/>
                    <a:pt x="6586" y="11514"/>
                  </a:cubicBezTo>
                  <a:cubicBezTo>
                    <a:pt x="6515" y="11419"/>
                    <a:pt x="6303" y="11989"/>
                    <a:pt x="6374" y="11609"/>
                  </a:cubicBezTo>
                  <a:cubicBezTo>
                    <a:pt x="6374" y="11609"/>
                    <a:pt x="6232" y="11514"/>
                    <a:pt x="6232" y="11609"/>
                  </a:cubicBezTo>
                  <a:cubicBezTo>
                    <a:pt x="6232" y="11609"/>
                    <a:pt x="6303" y="11609"/>
                    <a:pt x="6303" y="11609"/>
                  </a:cubicBezTo>
                  <a:cubicBezTo>
                    <a:pt x="6303" y="11704"/>
                    <a:pt x="6090" y="11704"/>
                    <a:pt x="6161" y="11799"/>
                  </a:cubicBezTo>
                  <a:cubicBezTo>
                    <a:pt x="6161" y="11799"/>
                    <a:pt x="6374" y="11894"/>
                    <a:pt x="6303" y="11894"/>
                  </a:cubicBezTo>
                  <a:cubicBezTo>
                    <a:pt x="6161" y="12085"/>
                    <a:pt x="6445" y="12085"/>
                    <a:pt x="6515" y="11989"/>
                  </a:cubicBezTo>
                  <a:cubicBezTo>
                    <a:pt x="6445" y="12085"/>
                    <a:pt x="6374" y="12085"/>
                    <a:pt x="6232" y="12085"/>
                  </a:cubicBezTo>
                  <a:cubicBezTo>
                    <a:pt x="6232" y="12085"/>
                    <a:pt x="6090" y="12275"/>
                    <a:pt x="6090" y="12275"/>
                  </a:cubicBezTo>
                  <a:cubicBezTo>
                    <a:pt x="6090" y="12275"/>
                    <a:pt x="6161" y="12370"/>
                    <a:pt x="6161" y="12370"/>
                  </a:cubicBezTo>
                  <a:cubicBezTo>
                    <a:pt x="6303" y="12465"/>
                    <a:pt x="6232" y="12465"/>
                    <a:pt x="6303" y="12465"/>
                  </a:cubicBezTo>
                  <a:cubicBezTo>
                    <a:pt x="6374" y="12465"/>
                    <a:pt x="6657" y="12656"/>
                    <a:pt x="6728" y="12465"/>
                  </a:cubicBezTo>
                  <a:cubicBezTo>
                    <a:pt x="6728" y="12180"/>
                    <a:pt x="6870" y="12275"/>
                    <a:pt x="6940" y="12180"/>
                  </a:cubicBezTo>
                  <a:cubicBezTo>
                    <a:pt x="6940" y="12180"/>
                    <a:pt x="6799" y="11609"/>
                    <a:pt x="6799" y="11609"/>
                  </a:cubicBezTo>
                  <a:cubicBezTo>
                    <a:pt x="6799" y="11704"/>
                    <a:pt x="6940" y="11989"/>
                    <a:pt x="6940" y="11989"/>
                  </a:cubicBezTo>
                  <a:cubicBezTo>
                    <a:pt x="7011" y="12180"/>
                    <a:pt x="7082" y="11989"/>
                    <a:pt x="7153" y="11989"/>
                  </a:cubicBezTo>
                  <a:cubicBezTo>
                    <a:pt x="7153" y="11989"/>
                    <a:pt x="6940" y="12370"/>
                    <a:pt x="6940" y="12370"/>
                  </a:cubicBezTo>
                  <a:cubicBezTo>
                    <a:pt x="6940" y="12370"/>
                    <a:pt x="7224" y="12275"/>
                    <a:pt x="7224" y="12275"/>
                  </a:cubicBezTo>
                  <a:cubicBezTo>
                    <a:pt x="7294" y="12275"/>
                    <a:pt x="7365" y="12275"/>
                    <a:pt x="7365" y="12275"/>
                  </a:cubicBezTo>
                  <a:cubicBezTo>
                    <a:pt x="7436" y="12275"/>
                    <a:pt x="7507" y="12180"/>
                    <a:pt x="7578" y="12180"/>
                  </a:cubicBezTo>
                  <a:cubicBezTo>
                    <a:pt x="7578" y="12275"/>
                    <a:pt x="7507" y="12370"/>
                    <a:pt x="7436" y="12370"/>
                  </a:cubicBezTo>
                  <a:cubicBezTo>
                    <a:pt x="7365" y="12370"/>
                    <a:pt x="7224" y="12370"/>
                    <a:pt x="7153" y="12465"/>
                  </a:cubicBezTo>
                  <a:cubicBezTo>
                    <a:pt x="7082" y="12560"/>
                    <a:pt x="7294" y="12465"/>
                    <a:pt x="7294" y="12465"/>
                  </a:cubicBezTo>
                  <a:cubicBezTo>
                    <a:pt x="7436" y="12465"/>
                    <a:pt x="7578" y="12465"/>
                    <a:pt x="7719" y="12465"/>
                  </a:cubicBezTo>
                  <a:cubicBezTo>
                    <a:pt x="7649" y="12465"/>
                    <a:pt x="7365" y="12465"/>
                    <a:pt x="7365" y="12560"/>
                  </a:cubicBezTo>
                  <a:cubicBezTo>
                    <a:pt x="7365" y="12560"/>
                    <a:pt x="7507" y="12656"/>
                    <a:pt x="7507" y="12751"/>
                  </a:cubicBezTo>
                  <a:cubicBezTo>
                    <a:pt x="7507" y="12751"/>
                    <a:pt x="7507" y="12846"/>
                    <a:pt x="7507" y="12846"/>
                  </a:cubicBezTo>
                  <a:cubicBezTo>
                    <a:pt x="7507" y="12941"/>
                    <a:pt x="7436" y="12941"/>
                    <a:pt x="7507" y="13036"/>
                  </a:cubicBezTo>
                  <a:cubicBezTo>
                    <a:pt x="7507" y="13036"/>
                    <a:pt x="7649" y="12941"/>
                    <a:pt x="7719" y="12941"/>
                  </a:cubicBezTo>
                  <a:cubicBezTo>
                    <a:pt x="7790" y="12941"/>
                    <a:pt x="7719" y="12941"/>
                    <a:pt x="7790" y="13036"/>
                  </a:cubicBezTo>
                  <a:cubicBezTo>
                    <a:pt x="7861" y="13131"/>
                    <a:pt x="7861" y="13226"/>
                    <a:pt x="7932" y="13322"/>
                  </a:cubicBezTo>
                  <a:cubicBezTo>
                    <a:pt x="7932" y="13417"/>
                    <a:pt x="7719" y="13417"/>
                    <a:pt x="7719" y="13417"/>
                  </a:cubicBezTo>
                  <a:cubicBezTo>
                    <a:pt x="7436" y="13131"/>
                    <a:pt x="7011" y="12941"/>
                    <a:pt x="6728" y="13036"/>
                  </a:cubicBezTo>
                  <a:cubicBezTo>
                    <a:pt x="6445" y="13036"/>
                    <a:pt x="6799" y="13322"/>
                    <a:pt x="6940" y="13322"/>
                  </a:cubicBezTo>
                  <a:cubicBezTo>
                    <a:pt x="7153" y="13417"/>
                    <a:pt x="7294" y="13702"/>
                    <a:pt x="7507" y="13702"/>
                  </a:cubicBezTo>
                  <a:cubicBezTo>
                    <a:pt x="7578" y="13702"/>
                    <a:pt x="7649" y="13607"/>
                    <a:pt x="7790" y="13607"/>
                  </a:cubicBezTo>
                  <a:cubicBezTo>
                    <a:pt x="7790" y="13702"/>
                    <a:pt x="8003" y="13702"/>
                    <a:pt x="8003" y="13702"/>
                  </a:cubicBezTo>
                  <a:cubicBezTo>
                    <a:pt x="8073" y="13797"/>
                    <a:pt x="8003" y="13893"/>
                    <a:pt x="8003" y="13893"/>
                  </a:cubicBezTo>
                  <a:cubicBezTo>
                    <a:pt x="7790" y="13988"/>
                    <a:pt x="8073" y="14083"/>
                    <a:pt x="8003" y="14178"/>
                  </a:cubicBezTo>
                  <a:cubicBezTo>
                    <a:pt x="8003" y="14273"/>
                    <a:pt x="7861" y="14178"/>
                    <a:pt x="7861" y="14368"/>
                  </a:cubicBezTo>
                  <a:cubicBezTo>
                    <a:pt x="7861" y="14463"/>
                    <a:pt x="8003" y="14463"/>
                    <a:pt x="8003" y="14463"/>
                  </a:cubicBezTo>
                  <a:cubicBezTo>
                    <a:pt x="7932" y="14559"/>
                    <a:pt x="7790" y="14368"/>
                    <a:pt x="7790" y="14463"/>
                  </a:cubicBezTo>
                  <a:cubicBezTo>
                    <a:pt x="7719" y="14559"/>
                    <a:pt x="7719" y="14654"/>
                    <a:pt x="7719" y="14749"/>
                  </a:cubicBezTo>
                  <a:cubicBezTo>
                    <a:pt x="7719" y="14749"/>
                    <a:pt x="7861" y="14749"/>
                    <a:pt x="7861" y="14749"/>
                  </a:cubicBezTo>
                  <a:cubicBezTo>
                    <a:pt x="7861" y="14844"/>
                    <a:pt x="7719" y="14939"/>
                    <a:pt x="7649" y="14939"/>
                  </a:cubicBezTo>
                  <a:cubicBezTo>
                    <a:pt x="7578" y="14939"/>
                    <a:pt x="7507" y="14939"/>
                    <a:pt x="7436" y="14939"/>
                  </a:cubicBezTo>
                  <a:cubicBezTo>
                    <a:pt x="7365" y="14844"/>
                    <a:pt x="7294" y="14844"/>
                    <a:pt x="7224" y="14939"/>
                  </a:cubicBezTo>
                  <a:cubicBezTo>
                    <a:pt x="7153" y="15034"/>
                    <a:pt x="7153" y="14939"/>
                    <a:pt x="7082" y="15034"/>
                  </a:cubicBezTo>
                  <a:cubicBezTo>
                    <a:pt x="7082" y="15034"/>
                    <a:pt x="7294" y="15320"/>
                    <a:pt x="7365" y="15320"/>
                  </a:cubicBezTo>
                  <a:cubicBezTo>
                    <a:pt x="7365" y="15225"/>
                    <a:pt x="7365" y="15225"/>
                    <a:pt x="7294" y="15225"/>
                  </a:cubicBezTo>
                  <a:cubicBezTo>
                    <a:pt x="7294" y="15225"/>
                    <a:pt x="7507" y="15225"/>
                    <a:pt x="7507" y="15225"/>
                  </a:cubicBezTo>
                  <a:cubicBezTo>
                    <a:pt x="7507" y="15225"/>
                    <a:pt x="7861" y="15034"/>
                    <a:pt x="7861" y="15130"/>
                  </a:cubicBezTo>
                  <a:cubicBezTo>
                    <a:pt x="7790" y="15130"/>
                    <a:pt x="7719" y="15130"/>
                    <a:pt x="7649" y="15225"/>
                  </a:cubicBezTo>
                  <a:cubicBezTo>
                    <a:pt x="7719" y="15130"/>
                    <a:pt x="7861" y="15320"/>
                    <a:pt x="7790" y="15320"/>
                  </a:cubicBezTo>
                  <a:cubicBezTo>
                    <a:pt x="7861" y="15320"/>
                    <a:pt x="8073" y="15415"/>
                    <a:pt x="8144" y="15415"/>
                  </a:cubicBezTo>
                  <a:cubicBezTo>
                    <a:pt x="8073" y="15415"/>
                    <a:pt x="7932" y="15415"/>
                    <a:pt x="7932" y="15415"/>
                  </a:cubicBezTo>
                  <a:cubicBezTo>
                    <a:pt x="7932" y="15415"/>
                    <a:pt x="8215" y="15700"/>
                    <a:pt x="8215" y="15700"/>
                  </a:cubicBezTo>
                  <a:cubicBezTo>
                    <a:pt x="8003" y="15700"/>
                    <a:pt x="7861" y="15320"/>
                    <a:pt x="7649" y="15320"/>
                  </a:cubicBezTo>
                  <a:cubicBezTo>
                    <a:pt x="7507" y="15320"/>
                    <a:pt x="7153" y="15225"/>
                    <a:pt x="7082" y="15415"/>
                  </a:cubicBezTo>
                  <a:cubicBezTo>
                    <a:pt x="7082" y="15510"/>
                    <a:pt x="7011" y="15510"/>
                    <a:pt x="6940" y="15605"/>
                  </a:cubicBezTo>
                  <a:cubicBezTo>
                    <a:pt x="6870" y="15605"/>
                    <a:pt x="6870" y="15796"/>
                    <a:pt x="6940" y="15700"/>
                  </a:cubicBezTo>
                  <a:cubicBezTo>
                    <a:pt x="7082" y="15700"/>
                    <a:pt x="7224" y="15605"/>
                    <a:pt x="7294" y="15415"/>
                  </a:cubicBezTo>
                  <a:cubicBezTo>
                    <a:pt x="7294" y="15510"/>
                    <a:pt x="7436" y="15510"/>
                    <a:pt x="7436" y="15510"/>
                  </a:cubicBezTo>
                  <a:cubicBezTo>
                    <a:pt x="7507" y="15510"/>
                    <a:pt x="7649" y="15796"/>
                    <a:pt x="7649" y="15510"/>
                  </a:cubicBezTo>
                  <a:cubicBezTo>
                    <a:pt x="7649" y="15415"/>
                    <a:pt x="7790" y="15605"/>
                    <a:pt x="7790" y="15605"/>
                  </a:cubicBezTo>
                  <a:cubicBezTo>
                    <a:pt x="7790" y="15605"/>
                    <a:pt x="8073" y="15605"/>
                    <a:pt x="8003" y="15700"/>
                  </a:cubicBezTo>
                  <a:cubicBezTo>
                    <a:pt x="8003" y="15700"/>
                    <a:pt x="7932" y="15700"/>
                    <a:pt x="7932" y="15700"/>
                  </a:cubicBezTo>
                  <a:cubicBezTo>
                    <a:pt x="7932" y="15700"/>
                    <a:pt x="8073" y="15796"/>
                    <a:pt x="8073" y="15796"/>
                  </a:cubicBezTo>
                  <a:cubicBezTo>
                    <a:pt x="8003" y="15796"/>
                    <a:pt x="7861" y="15796"/>
                    <a:pt x="7790" y="15700"/>
                  </a:cubicBezTo>
                  <a:cubicBezTo>
                    <a:pt x="7719" y="15605"/>
                    <a:pt x="7719" y="15700"/>
                    <a:pt x="7719" y="15796"/>
                  </a:cubicBezTo>
                  <a:cubicBezTo>
                    <a:pt x="7719" y="15700"/>
                    <a:pt x="7294" y="15605"/>
                    <a:pt x="7224" y="15605"/>
                  </a:cubicBezTo>
                  <a:cubicBezTo>
                    <a:pt x="7153" y="15605"/>
                    <a:pt x="6728" y="15796"/>
                    <a:pt x="6799" y="15986"/>
                  </a:cubicBezTo>
                  <a:cubicBezTo>
                    <a:pt x="6870" y="16081"/>
                    <a:pt x="7294" y="15891"/>
                    <a:pt x="7365" y="15891"/>
                  </a:cubicBezTo>
                  <a:cubicBezTo>
                    <a:pt x="7436" y="15891"/>
                    <a:pt x="7578" y="15891"/>
                    <a:pt x="7649" y="15986"/>
                  </a:cubicBezTo>
                  <a:cubicBezTo>
                    <a:pt x="7649" y="15986"/>
                    <a:pt x="7932" y="16081"/>
                    <a:pt x="7932" y="16081"/>
                  </a:cubicBezTo>
                  <a:cubicBezTo>
                    <a:pt x="7932" y="16176"/>
                    <a:pt x="7578" y="15986"/>
                    <a:pt x="7578" y="15986"/>
                  </a:cubicBezTo>
                  <a:cubicBezTo>
                    <a:pt x="7436" y="15891"/>
                    <a:pt x="7224" y="15986"/>
                    <a:pt x="7082" y="15986"/>
                  </a:cubicBezTo>
                  <a:cubicBezTo>
                    <a:pt x="6586" y="16176"/>
                    <a:pt x="7153" y="16367"/>
                    <a:pt x="7294" y="16271"/>
                  </a:cubicBezTo>
                  <a:cubicBezTo>
                    <a:pt x="7224" y="16367"/>
                    <a:pt x="7153" y="16462"/>
                    <a:pt x="7011" y="16462"/>
                  </a:cubicBezTo>
                  <a:cubicBezTo>
                    <a:pt x="6799" y="16557"/>
                    <a:pt x="7153" y="16652"/>
                    <a:pt x="7153" y="16652"/>
                  </a:cubicBezTo>
                  <a:cubicBezTo>
                    <a:pt x="7153" y="16652"/>
                    <a:pt x="6870" y="16557"/>
                    <a:pt x="6870" y="16747"/>
                  </a:cubicBezTo>
                  <a:cubicBezTo>
                    <a:pt x="6870" y="17033"/>
                    <a:pt x="7011" y="16842"/>
                    <a:pt x="7153" y="16747"/>
                  </a:cubicBezTo>
                  <a:cubicBezTo>
                    <a:pt x="7294" y="16652"/>
                    <a:pt x="7436" y="16462"/>
                    <a:pt x="7578" y="16367"/>
                  </a:cubicBezTo>
                  <a:cubicBezTo>
                    <a:pt x="7649" y="16367"/>
                    <a:pt x="8073" y="16081"/>
                    <a:pt x="8073" y="16271"/>
                  </a:cubicBezTo>
                  <a:cubicBezTo>
                    <a:pt x="8073" y="16271"/>
                    <a:pt x="7861" y="16271"/>
                    <a:pt x="7861" y="16271"/>
                  </a:cubicBezTo>
                  <a:cubicBezTo>
                    <a:pt x="7861" y="16271"/>
                    <a:pt x="8003" y="16271"/>
                    <a:pt x="8073" y="16367"/>
                  </a:cubicBezTo>
                  <a:cubicBezTo>
                    <a:pt x="7861" y="16176"/>
                    <a:pt x="6940" y="16937"/>
                    <a:pt x="7011" y="17033"/>
                  </a:cubicBezTo>
                  <a:cubicBezTo>
                    <a:pt x="7011" y="17128"/>
                    <a:pt x="7436" y="16937"/>
                    <a:pt x="7507" y="16937"/>
                  </a:cubicBezTo>
                  <a:cubicBezTo>
                    <a:pt x="7507" y="16937"/>
                    <a:pt x="7224" y="17033"/>
                    <a:pt x="7153" y="17128"/>
                  </a:cubicBezTo>
                  <a:cubicBezTo>
                    <a:pt x="7153" y="17128"/>
                    <a:pt x="7294" y="17508"/>
                    <a:pt x="7365" y="17413"/>
                  </a:cubicBezTo>
                  <a:cubicBezTo>
                    <a:pt x="7436" y="17318"/>
                    <a:pt x="7507" y="17128"/>
                    <a:pt x="7578" y="17128"/>
                  </a:cubicBezTo>
                  <a:cubicBezTo>
                    <a:pt x="7649" y="17128"/>
                    <a:pt x="7932" y="17223"/>
                    <a:pt x="7932" y="17223"/>
                  </a:cubicBezTo>
                  <a:cubicBezTo>
                    <a:pt x="7932" y="17223"/>
                    <a:pt x="7649" y="17223"/>
                    <a:pt x="7649" y="17223"/>
                  </a:cubicBezTo>
                  <a:cubicBezTo>
                    <a:pt x="7507" y="17223"/>
                    <a:pt x="7436" y="17318"/>
                    <a:pt x="7365" y="17413"/>
                  </a:cubicBezTo>
                  <a:cubicBezTo>
                    <a:pt x="7365" y="17508"/>
                    <a:pt x="7365" y="17604"/>
                    <a:pt x="7365" y="17699"/>
                  </a:cubicBezTo>
                  <a:cubicBezTo>
                    <a:pt x="7436" y="17984"/>
                    <a:pt x="7436" y="17889"/>
                    <a:pt x="7578" y="17794"/>
                  </a:cubicBezTo>
                  <a:cubicBezTo>
                    <a:pt x="7507" y="17889"/>
                    <a:pt x="7436" y="18270"/>
                    <a:pt x="7507" y="18365"/>
                  </a:cubicBezTo>
                  <a:cubicBezTo>
                    <a:pt x="7507" y="18365"/>
                    <a:pt x="7719" y="17984"/>
                    <a:pt x="7790" y="17984"/>
                  </a:cubicBezTo>
                  <a:cubicBezTo>
                    <a:pt x="7790" y="18079"/>
                    <a:pt x="7719" y="18174"/>
                    <a:pt x="7790" y="18270"/>
                  </a:cubicBezTo>
                  <a:cubicBezTo>
                    <a:pt x="7790" y="18365"/>
                    <a:pt x="7861" y="18174"/>
                    <a:pt x="7932" y="18174"/>
                  </a:cubicBezTo>
                  <a:cubicBezTo>
                    <a:pt x="8073" y="17984"/>
                    <a:pt x="7790" y="17794"/>
                    <a:pt x="7790" y="17699"/>
                  </a:cubicBezTo>
                  <a:cubicBezTo>
                    <a:pt x="7790" y="17699"/>
                    <a:pt x="7932" y="17984"/>
                    <a:pt x="8003" y="17984"/>
                  </a:cubicBezTo>
                  <a:cubicBezTo>
                    <a:pt x="8073" y="18079"/>
                    <a:pt x="8073" y="17984"/>
                    <a:pt x="8144" y="17889"/>
                  </a:cubicBezTo>
                  <a:cubicBezTo>
                    <a:pt x="8073" y="17889"/>
                    <a:pt x="8286" y="18174"/>
                    <a:pt x="8215" y="18270"/>
                  </a:cubicBezTo>
                  <a:cubicBezTo>
                    <a:pt x="8286" y="18174"/>
                    <a:pt x="8073" y="17984"/>
                    <a:pt x="8073" y="18174"/>
                  </a:cubicBezTo>
                  <a:cubicBezTo>
                    <a:pt x="8073" y="18365"/>
                    <a:pt x="8215" y="18555"/>
                    <a:pt x="8073" y="18650"/>
                  </a:cubicBezTo>
                  <a:cubicBezTo>
                    <a:pt x="8073" y="18650"/>
                    <a:pt x="8073" y="18365"/>
                    <a:pt x="8073" y="18365"/>
                  </a:cubicBezTo>
                  <a:cubicBezTo>
                    <a:pt x="8073" y="18270"/>
                    <a:pt x="7932" y="18460"/>
                    <a:pt x="7861" y="18460"/>
                  </a:cubicBezTo>
                  <a:cubicBezTo>
                    <a:pt x="7790" y="18460"/>
                    <a:pt x="7719" y="18650"/>
                    <a:pt x="7719" y="18745"/>
                  </a:cubicBezTo>
                  <a:cubicBezTo>
                    <a:pt x="7649" y="18936"/>
                    <a:pt x="7861" y="18745"/>
                    <a:pt x="7861" y="18841"/>
                  </a:cubicBezTo>
                  <a:cubicBezTo>
                    <a:pt x="7932" y="18936"/>
                    <a:pt x="7790" y="19031"/>
                    <a:pt x="7790" y="19031"/>
                  </a:cubicBezTo>
                  <a:cubicBezTo>
                    <a:pt x="7790" y="19031"/>
                    <a:pt x="7932" y="18936"/>
                    <a:pt x="8003" y="19126"/>
                  </a:cubicBezTo>
                  <a:cubicBezTo>
                    <a:pt x="8003" y="19316"/>
                    <a:pt x="8144" y="19411"/>
                    <a:pt x="8144" y="19507"/>
                  </a:cubicBezTo>
                  <a:cubicBezTo>
                    <a:pt x="8073" y="19697"/>
                    <a:pt x="8144" y="19697"/>
                    <a:pt x="8286" y="19887"/>
                  </a:cubicBezTo>
                  <a:cubicBezTo>
                    <a:pt x="8357" y="19982"/>
                    <a:pt x="8428" y="20173"/>
                    <a:pt x="8498" y="19982"/>
                  </a:cubicBezTo>
                  <a:cubicBezTo>
                    <a:pt x="8498" y="19982"/>
                    <a:pt x="8569" y="20458"/>
                    <a:pt x="8640" y="20458"/>
                  </a:cubicBezTo>
                  <a:cubicBezTo>
                    <a:pt x="8711" y="20553"/>
                    <a:pt x="8640" y="20458"/>
                    <a:pt x="8711" y="20458"/>
                  </a:cubicBezTo>
                  <a:cubicBezTo>
                    <a:pt x="8782" y="20553"/>
                    <a:pt x="8852" y="20648"/>
                    <a:pt x="8923" y="20744"/>
                  </a:cubicBezTo>
                  <a:cubicBezTo>
                    <a:pt x="9065" y="20839"/>
                    <a:pt x="9207" y="20934"/>
                    <a:pt x="9348" y="20839"/>
                  </a:cubicBezTo>
                  <a:cubicBezTo>
                    <a:pt x="9419" y="20839"/>
                    <a:pt x="9631" y="20839"/>
                    <a:pt x="9631" y="20744"/>
                  </a:cubicBezTo>
                  <a:cubicBezTo>
                    <a:pt x="9631" y="20744"/>
                    <a:pt x="9631" y="21029"/>
                    <a:pt x="9631" y="21029"/>
                  </a:cubicBezTo>
                  <a:cubicBezTo>
                    <a:pt x="9631" y="21029"/>
                    <a:pt x="9773" y="20648"/>
                    <a:pt x="9773" y="20744"/>
                  </a:cubicBezTo>
                  <a:cubicBezTo>
                    <a:pt x="9844" y="20744"/>
                    <a:pt x="9773" y="20839"/>
                    <a:pt x="9773" y="20839"/>
                  </a:cubicBezTo>
                  <a:cubicBezTo>
                    <a:pt x="9773" y="20934"/>
                    <a:pt x="9844" y="20934"/>
                    <a:pt x="9844" y="20934"/>
                  </a:cubicBezTo>
                  <a:cubicBezTo>
                    <a:pt x="9844" y="20934"/>
                    <a:pt x="9631" y="21029"/>
                    <a:pt x="9702" y="21124"/>
                  </a:cubicBezTo>
                  <a:cubicBezTo>
                    <a:pt x="9773" y="21124"/>
                    <a:pt x="9773" y="21124"/>
                    <a:pt x="9844" y="21029"/>
                  </a:cubicBezTo>
                  <a:cubicBezTo>
                    <a:pt x="9915" y="21124"/>
                    <a:pt x="9844" y="21219"/>
                    <a:pt x="9844" y="21219"/>
                  </a:cubicBezTo>
                  <a:cubicBezTo>
                    <a:pt x="9844" y="21315"/>
                    <a:pt x="10056" y="21029"/>
                    <a:pt x="10056" y="21124"/>
                  </a:cubicBezTo>
                  <a:cubicBezTo>
                    <a:pt x="10056" y="21219"/>
                    <a:pt x="9915" y="21315"/>
                    <a:pt x="9915" y="21410"/>
                  </a:cubicBezTo>
                  <a:cubicBezTo>
                    <a:pt x="9915" y="21315"/>
                    <a:pt x="10127" y="21219"/>
                    <a:pt x="10056" y="21410"/>
                  </a:cubicBezTo>
                  <a:cubicBezTo>
                    <a:pt x="10056" y="21410"/>
                    <a:pt x="10056" y="21410"/>
                    <a:pt x="10056" y="21315"/>
                  </a:cubicBezTo>
                  <a:cubicBezTo>
                    <a:pt x="10056" y="21505"/>
                    <a:pt x="10269" y="21219"/>
                    <a:pt x="10269" y="21219"/>
                  </a:cubicBezTo>
                  <a:cubicBezTo>
                    <a:pt x="10340" y="21315"/>
                    <a:pt x="10269" y="21505"/>
                    <a:pt x="10269" y="21600"/>
                  </a:cubicBezTo>
                  <a:cubicBezTo>
                    <a:pt x="10198" y="21410"/>
                    <a:pt x="10835" y="21410"/>
                    <a:pt x="10410" y="21124"/>
                  </a:cubicBezTo>
                  <a:cubicBezTo>
                    <a:pt x="10481" y="21124"/>
                    <a:pt x="10835" y="21124"/>
                    <a:pt x="10623" y="21029"/>
                  </a:cubicBezTo>
                  <a:cubicBezTo>
                    <a:pt x="10410" y="20839"/>
                    <a:pt x="10694" y="20934"/>
                    <a:pt x="10765" y="20744"/>
                  </a:cubicBezTo>
                  <a:cubicBezTo>
                    <a:pt x="10765" y="20744"/>
                    <a:pt x="10552" y="20744"/>
                    <a:pt x="10552" y="20744"/>
                  </a:cubicBezTo>
                  <a:cubicBezTo>
                    <a:pt x="10623" y="20648"/>
                    <a:pt x="10694" y="20553"/>
                    <a:pt x="10765" y="20553"/>
                  </a:cubicBezTo>
                  <a:cubicBezTo>
                    <a:pt x="10906" y="20363"/>
                    <a:pt x="10694" y="20458"/>
                    <a:pt x="10694" y="20363"/>
                  </a:cubicBezTo>
                  <a:cubicBezTo>
                    <a:pt x="10694" y="20363"/>
                    <a:pt x="10906" y="20268"/>
                    <a:pt x="10906" y="20173"/>
                  </a:cubicBezTo>
                  <a:cubicBezTo>
                    <a:pt x="10906" y="20078"/>
                    <a:pt x="10906" y="19887"/>
                    <a:pt x="10835" y="19792"/>
                  </a:cubicBezTo>
                  <a:cubicBezTo>
                    <a:pt x="10765" y="19792"/>
                    <a:pt x="10906" y="19697"/>
                    <a:pt x="10835" y="19602"/>
                  </a:cubicBezTo>
                  <a:cubicBezTo>
                    <a:pt x="10835" y="19602"/>
                    <a:pt x="10694" y="19507"/>
                    <a:pt x="10694" y="19507"/>
                  </a:cubicBezTo>
                  <a:cubicBezTo>
                    <a:pt x="10694" y="19507"/>
                    <a:pt x="10977" y="19411"/>
                    <a:pt x="11048" y="19411"/>
                  </a:cubicBezTo>
                  <a:cubicBezTo>
                    <a:pt x="11260" y="19411"/>
                    <a:pt x="11048" y="19316"/>
                    <a:pt x="10977" y="19221"/>
                  </a:cubicBezTo>
                  <a:cubicBezTo>
                    <a:pt x="10977" y="19221"/>
                    <a:pt x="11331" y="19221"/>
                    <a:pt x="11331" y="19221"/>
                  </a:cubicBezTo>
                  <a:cubicBezTo>
                    <a:pt x="11260" y="19126"/>
                    <a:pt x="11119" y="19126"/>
                    <a:pt x="11048" y="19031"/>
                  </a:cubicBezTo>
                  <a:cubicBezTo>
                    <a:pt x="11048" y="19031"/>
                    <a:pt x="11331" y="19126"/>
                    <a:pt x="11331" y="19031"/>
                  </a:cubicBezTo>
                  <a:cubicBezTo>
                    <a:pt x="11402" y="19031"/>
                    <a:pt x="11331" y="19031"/>
                    <a:pt x="11331" y="18936"/>
                  </a:cubicBezTo>
                  <a:cubicBezTo>
                    <a:pt x="11402" y="18936"/>
                    <a:pt x="11402" y="18936"/>
                    <a:pt x="11402" y="18936"/>
                  </a:cubicBezTo>
                  <a:cubicBezTo>
                    <a:pt x="11473" y="18841"/>
                    <a:pt x="11190" y="18745"/>
                    <a:pt x="11190" y="18745"/>
                  </a:cubicBezTo>
                  <a:cubicBezTo>
                    <a:pt x="11190" y="18745"/>
                    <a:pt x="11544" y="18745"/>
                    <a:pt x="11473" y="18650"/>
                  </a:cubicBezTo>
                  <a:cubicBezTo>
                    <a:pt x="11473" y="18555"/>
                    <a:pt x="11544" y="18555"/>
                    <a:pt x="11402" y="18460"/>
                  </a:cubicBezTo>
                  <a:cubicBezTo>
                    <a:pt x="11402" y="18460"/>
                    <a:pt x="11190" y="18460"/>
                    <a:pt x="11190" y="18365"/>
                  </a:cubicBezTo>
                  <a:cubicBezTo>
                    <a:pt x="11190" y="18365"/>
                    <a:pt x="11544" y="18270"/>
                    <a:pt x="11544" y="18270"/>
                  </a:cubicBezTo>
                  <a:cubicBezTo>
                    <a:pt x="11685" y="18270"/>
                    <a:pt x="11614" y="17984"/>
                    <a:pt x="11473" y="17984"/>
                  </a:cubicBezTo>
                  <a:cubicBezTo>
                    <a:pt x="11402" y="17889"/>
                    <a:pt x="11190" y="17794"/>
                    <a:pt x="11402" y="17699"/>
                  </a:cubicBezTo>
                  <a:cubicBezTo>
                    <a:pt x="11544" y="17699"/>
                    <a:pt x="11756" y="17794"/>
                    <a:pt x="11827" y="17604"/>
                  </a:cubicBezTo>
                  <a:cubicBezTo>
                    <a:pt x="11827" y="17604"/>
                    <a:pt x="11685" y="17413"/>
                    <a:pt x="11685" y="17413"/>
                  </a:cubicBezTo>
                  <a:cubicBezTo>
                    <a:pt x="11685" y="17318"/>
                    <a:pt x="11827" y="17318"/>
                    <a:pt x="11827" y="17318"/>
                  </a:cubicBezTo>
                  <a:cubicBezTo>
                    <a:pt x="11898" y="17223"/>
                    <a:pt x="12039" y="17223"/>
                    <a:pt x="12181" y="17318"/>
                  </a:cubicBezTo>
                  <a:cubicBezTo>
                    <a:pt x="12181" y="17318"/>
                    <a:pt x="12323" y="17318"/>
                    <a:pt x="12323" y="17318"/>
                  </a:cubicBezTo>
                  <a:cubicBezTo>
                    <a:pt x="12393" y="17223"/>
                    <a:pt x="12252" y="17128"/>
                    <a:pt x="12252" y="17033"/>
                  </a:cubicBezTo>
                  <a:cubicBezTo>
                    <a:pt x="12323" y="16937"/>
                    <a:pt x="12535" y="16557"/>
                    <a:pt x="12677" y="16747"/>
                  </a:cubicBezTo>
                  <a:cubicBezTo>
                    <a:pt x="12606" y="16652"/>
                    <a:pt x="12393" y="17223"/>
                    <a:pt x="12464" y="17223"/>
                  </a:cubicBezTo>
                  <a:cubicBezTo>
                    <a:pt x="12535" y="17318"/>
                    <a:pt x="12677" y="17033"/>
                    <a:pt x="12818" y="17033"/>
                  </a:cubicBezTo>
                  <a:cubicBezTo>
                    <a:pt x="12818" y="17033"/>
                    <a:pt x="12960" y="17128"/>
                    <a:pt x="12960" y="17128"/>
                  </a:cubicBezTo>
                  <a:cubicBezTo>
                    <a:pt x="12960" y="17128"/>
                    <a:pt x="12960" y="16937"/>
                    <a:pt x="12960" y="16937"/>
                  </a:cubicBezTo>
                  <a:cubicBezTo>
                    <a:pt x="13172" y="17033"/>
                    <a:pt x="13172" y="16937"/>
                    <a:pt x="13243" y="16842"/>
                  </a:cubicBezTo>
                  <a:cubicBezTo>
                    <a:pt x="13314" y="16747"/>
                    <a:pt x="13385" y="16747"/>
                    <a:pt x="13456" y="16747"/>
                  </a:cubicBezTo>
                  <a:cubicBezTo>
                    <a:pt x="13597" y="16652"/>
                    <a:pt x="13597" y="16557"/>
                    <a:pt x="13668" y="16462"/>
                  </a:cubicBezTo>
                  <a:cubicBezTo>
                    <a:pt x="13739" y="16367"/>
                    <a:pt x="13881" y="16176"/>
                    <a:pt x="13951" y="15986"/>
                  </a:cubicBezTo>
                  <a:cubicBezTo>
                    <a:pt x="14093" y="15796"/>
                    <a:pt x="14093" y="15700"/>
                    <a:pt x="14235" y="15700"/>
                  </a:cubicBezTo>
                  <a:cubicBezTo>
                    <a:pt x="14306" y="15605"/>
                    <a:pt x="14518" y="15605"/>
                    <a:pt x="14518" y="15415"/>
                  </a:cubicBezTo>
                  <a:cubicBezTo>
                    <a:pt x="14447" y="15415"/>
                    <a:pt x="14376" y="14939"/>
                    <a:pt x="14376" y="14939"/>
                  </a:cubicBezTo>
                  <a:cubicBezTo>
                    <a:pt x="14447" y="14939"/>
                    <a:pt x="14660" y="15225"/>
                    <a:pt x="14730" y="15225"/>
                  </a:cubicBezTo>
                  <a:cubicBezTo>
                    <a:pt x="14801" y="15320"/>
                    <a:pt x="14872" y="15320"/>
                    <a:pt x="14943" y="15320"/>
                  </a:cubicBezTo>
                  <a:cubicBezTo>
                    <a:pt x="14943" y="15320"/>
                    <a:pt x="15085" y="15225"/>
                    <a:pt x="15085" y="15225"/>
                  </a:cubicBezTo>
                  <a:cubicBezTo>
                    <a:pt x="15155" y="15225"/>
                    <a:pt x="15226" y="15320"/>
                    <a:pt x="15297" y="15225"/>
                  </a:cubicBezTo>
                  <a:cubicBezTo>
                    <a:pt x="15297" y="15225"/>
                    <a:pt x="15155" y="15034"/>
                    <a:pt x="15368" y="15130"/>
                  </a:cubicBezTo>
                  <a:cubicBezTo>
                    <a:pt x="15510" y="15130"/>
                    <a:pt x="15651" y="15130"/>
                    <a:pt x="15793" y="15034"/>
                  </a:cubicBezTo>
                  <a:cubicBezTo>
                    <a:pt x="16147" y="14939"/>
                    <a:pt x="16430" y="14844"/>
                    <a:pt x="16784" y="14654"/>
                  </a:cubicBezTo>
                  <a:cubicBezTo>
                    <a:pt x="16855" y="14559"/>
                    <a:pt x="17988" y="13607"/>
                    <a:pt x="18059" y="13607"/>
                  </a:cubicBezTo>
                  <a:cubicBezTo>
                    <a:pt x="17988" y="13607"/>
                    <a:pt x="17492" y="13607"/>
                    <a:pt x="17422" y="13607"/>
                  </a:cubicBezTo>
                  <a:cubicBezTo>
                    <a:pt x="17280" y="13512"/>
                    <a:pt x="17138" y="13417"/>
                    <a:pt x="16997" y="13417"/>
                  </a:cubicBezTo>
                  <a:cubicBezTo>
                    <a:pt x="16855" y="13417"/>
                    <a:pt x="16713" y="13512"/>
                    <a:pt x="16643" y="13512"/>
                  </a:cubicBezTo>
                  <a:cubicBezTo>
                    <a:pt x="16501" y="13607"/>
                    <a:pt x="16501" y="13417"/>
                    <a:pt x="16430" y="13512"/>
                  </a:cubicBezTo>
                  <a:cubicBezTo>
                    <a:pt x="16359" y="13512"/>
                    <a:pt x="16289" y="13702"/>
                    <a:pt x="16218" y="13702"/>
                  </a:cubicBezTo>
                  <a:cubicBezTo>
                    <a:pt x="15934" y="13702"/>
                    <a:pt x="16430" y="13322"/>
                    <a:pt x="16501" y="13417"/>
                  </a:cubicBezTo>
                  <a:cubicBezTo>
                    <a:pt x="16430" y="13322"/>
                    <a:pt x="16218" y="13417"/>
                    <a:pt x="16147" y="13417"/>
                  </a:cubicBezTo>
                  <a:cubicBezTo>
                    <a:pt x="15934" y="13417"/>
                    <a:pt x="15793" y="13322"/>
                    <a:pt x="15651" y="13322"/>
                  </a:cubicBezTo>
                  <a:cubicBezTo>
                    <a:pt x="15722" y="13322"/>
                    <a:pt x="15934" y="13131"/>
                    <a:pt x="16005" y="13036"/>
                  </a:cubicBezTo>
                  <a:cubicBezTo>
                    <a:pt x="16005" y="12751"/>
                    <a:pt x="16147" y="12846"/>
                    <a:pt x="16218" y="12941"/>
                  </a:cubicBezTo>
                  <a:cubicBezTo>
                    <a:pt x="16359" y="12941"/>
                    <a:pt x="16926" y="12751"/>
                    <a:pt x="16997" y="12656"/>
                  </a:cubicBezTo>
                  <a:cubicBezTo>
                    <a:pt x="16997" y="12560"/>
                    <a:pt x="16643" y="12465"/>
                    <a:pt x="16572" y="12370"/>
                  </a:cubicBezTo>
                  <a:cubicBezTo>
                    <a:pt x="16643" y="12465"/>
                    <a:pt x="16926" y="12560"/>
                    <a:pt x="16997" y="12560"/>
                  </a:cubicBezTo>
                  <a:cubicBezTo>
                    <a:pt x="17068" y="12656"/>
                    <a:pt x="17351" y="12656"/>
                    <a:pt x="17351" y="12846"/>
                  </a:cubicBezTo>
                  <a:cubicBezTo>
                    <a:pt x="17280" y="13131"/>
                    <a:pt x="17422" y="13226"/>
                    <a:pt x="17563" y="13226"/>
                  </a:cubicBezTo>
                  <a:cubicBezTo>
                    <a:pt x="17563" y="13226"/>
                    <a:pt x="17988" y="13226"/>
                    <a:pt x="17917" y="13131"/>
                  </a:cubicBezTo>
                  <a:cubicBezTo>
                    <a:pt x="17917" y="13131"/>
                    <a:pt x="17917" y="13322"/>
                    <a:pt x="17988" y="13322"/>
                  </a:cubicBezTo>
                  <a:cubicBezTo>
                    <a:pt x="18130" y="13226"/>
                    <a:pt x="18201" y="12941"/>
                    <a:pt x="18201" y="12751"/>
                  </a:cubicBezTo>
                  <a:cubicBezTo>
                    <a:pt x="18201" y="12656"/>
                    <a:pt x="18201" y="12275"/>
                    <a:pt x="18059" y="12370"/>
                  </a:cubicBezTo>
                  <a:cubicBezTo>
                    <a:pt x="17917" y="12560"/>
                    <a:pt x="17988" y="12370"/>
                    <a:pt x="17917" y="12275"/>
                  </a:cubicBezTo>
                  <a:cubicBezTo>
                    <a:pt x="17776" y="12085"/>
                    <a:pt x="17563" y="11989"/>
                    <a:pt x="17351" y="11799"/>
                  </a:cubicBezTo>
                  <a:cubicBezTo>
                    <a:pt x="17280" y="11704"/>
                    <a:pt x="17209" y="11704"/>
                    <a:pt x="17138" y="11609"/>
                  </a:cubicBezTo>
                  <a:cubicBezTo>
                    <a:pt x="17138" y="11609"/>
                    <a:pt x="16855" y="11704"/>
                    <a:pt x="16855" y="11799"/>
                  </a:cubicBezTo>
                  <a:cubicBezTo>
                    <a:pt x="16855" y="11799"/>
                    <a:pt x="16926" y="11704"/>
                    <a:pt x="16855" y="11704"/>
                  </a:cubicBezTo>
                  <a:cubicBezTo>
                    <a:pt x="16855" y="11704"/>
                    <a:pt x="16784" y="11609"/>
                    <a:pt x="16784" y="11609"/>
                  </a:cubicBezTo>
                  <a:cubicBezTo>
                    <a:pt x="16784" y="11514"/>
                    <a:pt x="17068" y="11609"/>
                    <a:pt x="17068" y="11514"/>
                  </a:cubicBezTo>
                  <a:cubicBezTo>
                    <a:pt x="17068" y="11323"/>
                    <a:pt x="17068" y="11228"/>
                    <a:pt x="16855" y="11228"/>
                  </a:cubicBezTo>
                  <a:cubicBezTo>
                    <a:pt x="16713" y="11323"/>
                    <a:pt x="16643" y="11514"/>
                    <a:pt x="16501" y="11323"/>
                  </a:cubicBezTo>
                  <a:cubicBezTo>
                    <a:pt x="16501" y="11323"/>
                    <a:pt x="16218" y="11323"/>
                    <a:pt x="16218" y="11228"/>
                  </a:cubicBezTo>
                  <a:cubicBezTo>
                    <a:pt x="16218" y="11038"/>
                    <a:pt x="16572" y="11323"/>
                    <a:pt x="16572" y="11323"/>
                  </a:cubicBezTo>
                  <a:cubicBezTo>
                    <a:pt x="16643" y="11323"/>
                    <a:pt x="16997" y="11228"/>
                    <a:pt x="16997" y="11133"/>
                  </a:cubicBezTo>
                  <a:cubicBezTo>
                    <a:pt x="17068" y="11133"/>
                    <a:pt x="16713" y="10943"/>
                    <a:pt x="16643" y="10943"/>
                  </a:cubicBezTo>
                  <a:cubicBezTo>
                    <a:pt x="16501" y="10943"/>
                    <a:pt x="16289" y="10943"/>
                    <a:pt x="16147" y="11038"/>
                  </a:cubicBezTo>
                  <a:cubicBezTo>
                    <a:pt x="16218" y="11038"/>
                    <a:pt x="16501" y="10752"/>
                    <a:pt x="16501" y="10848"/>
                  </a:cubicBezTo>
                  <a:cubicBezTo>
                    <a:pt x="16501" y="10752"/>
                    <a:pt x="16218" y="10752"/>
                    <a:pt x="16218" y="10657"/>
                  </a:cubicBezTo>
                  <a:cubicBezTo>
                    <a:pt x="16430" y="10752"/>
                    <a:pt x="16643" y="10943"/>
                    <a:pt x="16855" y="10752"/>
                  </a:cubicBezTo>
                  <a:cubicBezTo>
                    <a:pt x="16855" y="10752"/>
                    <a:pt x="17068" y="10657"/>
                    <a:pt x="17068" y="10562"/>
                  </a:cubicBezTo>
                  <a:cubicBezTo>
                    <a:pt x="16997" y="10467"/>
                    <a:pt x="16855" y="10372"/>
                    <a:pt x="16855" y="10277"/>
                  </a:cubicBezTo>
                  <a:cubicBezTo>
                    <a:pt x="16855" y="10372"/>
                    <a:pt x="17068" y="10467"/>
                    <a:pt x="17138" y="10467"/>
                  </a:cubicBezTo>
                  <a:cubicBezTo>
                    <a:pt x="17280" y="10562"/>
                    <a:pt x="17209" y="10372"/>
                    <a:pt x="17351" y="10372"/>
                  </a:cubicBezTo>
                  <a:cubicBezTo>
                    <a:pt x="17422" y="10372"/>
                    <a:pt x="17988" y="10562"/>
                    <a:pt x="17988" y="10562"/>
                  </a:cubicBezTo>
                  <a:cubicBezTo>
                    <a:pt x="17917" y="10562"/>
                    <a:pt x="17422" y="10467"/>
                    <a:pt x="17422" y="10467"/>
                  </a:cubicBezTo>
                  <a:cubicBezTo>
                    <a:pt x="17563" y="10848"/>
                    <a:pt x="17988" y="10752"/>
                    <a:pt x="18201" y="10752"/>
                  </a:cubicBezTo>
                  <a:cubicBezTo>
                    <a:pt x="18271" y="10657"/>
                    <a:pt x="18484" y="10752"/>
                    <a:pt x="18555" y="10657"/>
                  </a:cubicBezTo>
                  <a:cubicBezTo>
                    <a:pt x="18767" y="10562"/>
                    <a:pt x="18696" y="10372"/>
                    <a:pt x="18555" y="10277"/>
                  </a:cubicBezTo>
                  <a:cubicBezTo>
                    <a:pt x="18484" y="10181"/>
                    <a:pt x="18271" y="10086"/>
                    <a:pt x="18201" y="10086"/>
                  </a:cubicBezTo>
                  <a:cubicBezTo>
                    <a:pt x="18130" y="10086"/>
                    <a:pt x="18201" y="10372"/>
                    <a:pt x="18201" y="10467"/>
                  </a:cubicBezTo>
                  <a:cubicBezTo>
                    <a:pt x="18130" y="10372"/>
                    <a:pt x="18130" y="10277"/>
                    <a:pt x="18059" y="10181"/>
                  </a:cubicBezTo>
                  <a:cubicBezTo>
                    <a:pt x="18059" y="10086"/>
                    <a:pt x="17988" y="10181"/>
                    <a:pt x="17917" y="10086"/>
                  </a:cubicBezTo>
                  <a:cubicBezTo>
                    <a:pt x="17988" y="10181"/>
                    <a:pt x="18130" y="9611"/>
                    <a:pt x="18130" y="9515"/>
                  </a:cubicBezTo>
                  <a:cubicBezTo>
                    <a:pt x="18130" y="9515"/>
                    <a:pt x="18201" y="9801"/>
                    <a:pt x="18201" y="9801"/>
                  </a:cubicBezTo>
                  <a:cubicBezTo>
                    <a:pt x="18201" y="9991"/>
                    <a:pt x="18201" y="10086"/>
                    <a:pt x="18271" y="10086"/>
                  </a:cubicBezTo>
                  <a:cubicBezTo>
                    <a:pt x="18484" y="10086"/>
                    <a:pt x="18626" y="9991"/>
                    <a:pt x="18767" y="9991"/>
                  </a:cubicBezTo>
                  <a:cubicBezTo>
                    <a:pt x="18838" y="9991"/>
                    <a:pt x="19263" y="9801"/>
                    <a:pt x="19121" y="9611"/>
                  </a:cubicBezTo>
                  <a:cubicBezTo>
                    <a:pt x="18980" y="9515"/>
                    <a:pt x="18909" y="9706"/>
                    <a:pt x="18838" y="9611"/>
                  </a:cubicBezTo>
                  <a:cubicBezTo>
                    <a:pt x="18838" y="9515"/>
                    <a:pt x="18838" y="9515"/>
                    <a:pt x="18838" y="9420"/>
                  </a:cubicBezTo>
                  <a:cubicBezTo>
                    <a:pt x="18909" y="9325"/>
                    <a:pt x="18838" y="9230"/>
                    <a:pt x="18767" y="9230"/>
                  </a:cubicBezTo>
                  <a:cubicBezTo>
                    <a:pt x="18767" y="9135"/>
                    <a:pt x="18555" y="9135"/>
                    <a:pt x="18484" y="9135"/>
                  </a:cubicBezTo>
                  <a:cubicBezTo>
                    <a:pt x="18342" y="9135"/>
                    <a:pt x="18271" y="9325"/>
                    <a:pt x="18130" y="9135"/>
                  </a:cubicBezTo>
                  <a:cubicBezTo>
                    <a:pt x="18413" y="9420"/>
                    <a:pt x="18555" y="8659"/>
                    <a:pt x="18838" y="9040"/>
                  </a:cubicBezTo>
                  <a:cubicBezTo>
                    <a:pt x="18909" y="9230"/>
                    <a:pt x="19050" y="8944"/>
                    <a:pt x="19050" y="8754"/>
                  </a:cubicBezTo>
                  <a:cubicBezTo>
                    <a:pt x="19050" y="8659"/>
                    <a:pt x="18838" y="8374"/>
                    <a:pt x="18838" y="8374"/>
                  </a:cubicBezTo>
                  <a:cubicBezTo>
                    <a:pt x="18838" y="8278"/>
                    <a:pt x="19050" y="8564"/>
                    <a:pt x="19050" y="8659"/>
                  </a:cubicBezTo>
                  <a:cubicBezTo>
                    <a:pt x="19050" y="8754"/>
                    <a:pt x="19192" y="8564"/>
                    <a:pt x="19121" y="8374"/>
                  </a:cubicBezTo>
                  <a:cubicBezTo>
                    <a:pt x="19050" y="8278"/>
                    <a:pt x="18909" y="8088"/>
                    <a:pt x="18838" y="7993"/>
                  </a:cubicBezTo>
                  <a:cubicBezTo>
                    <a:pt x="18696" y="7993"/>
                    <a:pt x="18484" y="8088"/>
                    <a:pt x="18342" y="7993"/>
                  </a:cubicBezTo>
                  <a:cubicBezTo>
                    <a:pt x="18271" y="7898"/>
                    <a:pt x="18271" y="7707"/>
                    <a:pt x="18130" y="7707"/>
                  </a:cubicBezTo>
                  <a:cubicBezTo>
                    <a:pt x="18130" y="7612"/>
                    <a:pt x="17847" y="7707"/>
                    <a:pt x="17917" y="7612"/>
                  </a:cubicBezTo>
                  <a:cubicBezTo>
                    <a:pt x="17988" y="7422"/>
                    <a:pt x="17988" y="7327"/>
                    <a:pt x="18130" y="7517"/>
                  </a:cubicBezTo>
                  <a:cubicBezTo>
                    <a:pt x="18271" y="7707"/>
                    <a:pt x="18413" y="7422"/>
                    <a:pt x="18555" y="7327"/>
                  </a:cubicBezTo>
                  <a:cubicBezTo>
                    <a:pt x="18767" y="7137"/>
                    <a:pt x="19192" y="7707"/>
                    <a:pt x="19405" y="7422"/>
                  </a:cubicBezTo>
                  <a:cubicBezTo>
                    <a:pt x="19475" y="7327"/>
                    <a:pt x="19475" y="6851"/>
                    <a:pt x="19263" y="6946"/>
                  </a:cubicBezTo>
                  <a:cubicBezTo>
                    <a:pt x="19192" y="6946"/>
                    <a:pt x="19121" y="7041"/>
                    <a:pt x="19050" y="6946"/>
                  </a:cubicBezTo>
                  <a:cubicBezTo>
                    <a:pt x="18909" y="6946"/>
                    <a:pt x="18767" y="6851"/>
                    <a:pt x="18626" y="6661"/>
                  </a:cubicBezTo>
                  <a:cubicBezTo>
                    <a:pt x="18413" y="6470"/>
                    <a:pt x="19192" y="6756"/>
                    <a:pt x="19192" y="6661"/>
                  </a:cubicBezTo>
                  <a:cubicBezTo>
                    <a:pt x="19121" y="6470"/>
                    <a:pt x="18767" y="6375"/>
                    <a:pt x="18626" y="6280"/>
                  </a:cubicBezTo>
                  <a:cubicBezTo>
                    <a:pt x="18413" y="6185"/>
                    <a:pt x="18413" y="6280"/>
                    <a:pt x="18342" y="6470"/>
                  </a:cubicBezTo>
                  <a:cubicBezTo>
                    <a:pt x="18342" y="6566"/>
                    <a:pt x="18201" y="6661"/>
                    <a:pt x="18130" y="6566"/>
                  </a:cubicBezTo>
                  <a:cubicBezTo>
                    <a:pt x="18059" y="6566"/>
                    <a:pt x="18271" y="6185"/>
                    <a:pt x="18271" y="6090"/>
                  </a:cubicBezTo>
                  <a:cubicBezTo>
                    <a:pt x="18271" y="5995"/>
                    <a:pt x="18342" y="5804"/>
                    <a:pt x="18413" y="5709"/>
                  </a:cubicBezTo>
                  <a:cubicBezTo>
                    <a:pt x="18413" y="5614"/>
                    <a:pt x="18413" y="5424"/>
                    <a:pt x="18484" y="5424"/>
                  </a:cubicBezTo>
                  <a:cubicBezTo>
                    <a:pt x="18555" y="5424"/>
                    <a:pt x="18696" y="5424"/>
                    <a:pt x="18767" y="5329"/>
                  </a:cubicBezTo>
                  <a:cubicBezTo>
                    <a:pt x="18767" y="5329"/>
                    <a:pt x="19121" y="4853"/>
                    <a:pt x="19121" y="4948"/>
                  </a:cubicBezTo>
                  <a:cubicBezTo>
                    <a:pt x="19121" y="4948"/>
                    <a:pt x="18980" y="4853"/>
                    <a:pt x="18980" y="4853"/>
                  </a:cubicBezTo>
                  <a:cubicBezTo>
                    <a:pt x="18980" y="4758"/>
                    <a:pt x="18980" y="4663"/>
                    <a:pt x="18980" y="4567"/>
                  </a:cubicBezTo>
                  <a:cubicBezTo>
                    <a:pt x="18980" y="4377"/>
                    <a:pt x="19050" y="4377"/>
                    <a:pt x="19192" y="4377"/>
                  </a:cubicBezTo>
                  <a:cubicBezTo>
                    <a:pt x="19334" y="4377"/>
                    <a:pt x="19900" y="4092"/>
                    <a:pt x="19546" y="4092"/>
                  </a:cubicBezTo>
                  <a:cubicBezTo>
                    <a:pt x="19334" y="4092"/>
                    <a:pt x="18980" y="3996"/>
                    <a:pt x="18838" y="4187"/>
                  </a:cubicBezTo>
                  <a:cubicBezTo>
                    <a:pt x="18767" y="4282"/>
                    <a:pt x="18767" y="4472"/>
                    <a:pt x="18626" y="4377"/>
                  </a:cubicBezTo>
                  <a:cubicBezTo>
                    <a:pt x="18484" y="4282"/>
                    <a:pt x="18626" y="4092"/>
                    <a:pt x="18696" y="3996"/>
                  </a:cubicBezTo>
                  <a:cubicBezTo>
                    <a:pt x="18838" y="3711"/>
                    <a:pt x="19121" y="3901"/>
                    <a:pt x="19334" y="3901"/>
                  </a:cubicBezTo>
                  <a:cubicBezTo>
                    <a:pt x="19617" y="3901"/>
                    <a:pt x="19900" y="3996"/>
                    <a:pt x="20042" y="3616"/>
                  </a:cubicBezTo>
                  <a:cubicBezTo>
                    <a:pt x="20113" y="3616"/>
                    <a:pt x="19830" y="3521"/>
                    <a:pt x="19830" y="3521"/>
                  </a:cubicBezTo>
                  <a:cubicBezTo>
                    <a:pt x="19688" y="3426"/>
                    <a:pt x="19546" y="3521"/>
                    <a:pt x="19405" y="3521"/>
                  </a:cubicBezTo>
                  <a:cubicBezTo>
                    <a:pt x="19263" y="3521"/>
                    <a:pt x="19192" y="3426"/>
                    <a:pt x="19050" y="3426"/>
                  </a:cubicBezTo>
                  <a:cubicBezTo>
                    <a:pt x="18980" y="3426"/>
                    <a:pt x="18838" y="3426"/>
                    <a:pt x="18767" y="3426"/>
                  </a:cubicBezTo>
                  <a:cubicBezTo>
                    <a:pt x="18838" y="3521"/>
                    <a:pt x="19050" y="3426"/>
                    <a:pt x="19192" y="3426"/>
                  </a:cubicBezTo>
                  <a:cubicBezTo>
                    <a:pt x="19405" y="3426"/>
                    <a:pt x="19546" y="3330"/>
                    <a:pt x="19759" y="3330"/>
                  </a:cubicBezTo>
                  <a:cubicBezTo>
                    <a:pt x="20042" y="3426"/>
                    <a:pt x="20184" y="3235"/>
                    <a:pt x="20396" y="3235"/>
                  </a:cubicBezTo>
                  <a:cubicBezTo>
                    <a:pt x="20467" y="3235"/>
                    <a:pt x="20609" y="3235"/>
                    <a:pt x="20609" y="3140"/>
                  </a:cubicBezTo>
                  <a:cubicBezTo>
                    <a:pt x="20609" y="3140"/>
                    <a:pt x="20467" y="2950"/>
                    <a:pt x="20538" y="2950"/>
                  </a:cubicBezTo>
                  <a:cubicBezTo>
                    <a:pt x="20892" y="2855"/>
                    <a:pt x="21246" y="2759"/>
                    <a:pt x="21529" y="2474"/>
                  </a:cubicBezTo>
                  <a:cubicBezTo>
                    <a:pt x="21600" y="2379"/>
                    <a:pt x="21317" y="2284"/>
                    <a:pt x="21317" y="2284"/>
                  </a:cubicBezTo>
                  <a:cubicBezTo>
                    <a:pt x="21104" y="2189"/>
                    <a:pt x="20892" y="2093"/>
                    <a:pt x="20750" y="2093"/>
                  </a:cubicBezTo>
                  <a:cubicBezTo>
                    <a:pt x="20325" y="1998"/>
                    <a:pt x="19971" y="1903"/>
                    <a:pt x="19617" y="2379"/>
                  </a:cubicBezTo>
                  <a:cubicBezTo>
                    <a:pt x="19475" y="2664"/>
                    <a:pt x="19334" y="2474"/>
                    <a:pt x="19050" y="2474"/>
                  </a:cubicBezTo>
                  <a:cubicBezTo>
                    <a:pt x="18980" y="2474"/>
                    <a:pt x="18696" y="2759"/>
                    <a:pt x="18767" y="2474"/>
                  </a:cubicBezTo>
                  <a:cubicBezTo>
                    <a:pt x="18767" y="2284"/>
                    <a:pt x="18413" y="2569"/>
                    <a:pt x="18342" y="2664"/>
                  </a:cubicBezTo>
                  <a:cubicBezTo>
                    <a:pt x="18201" y="2759"/>
                    <a:pt x="18059" y="2855"/>
                    <a:pt x="17917" y="2950"/>
                  </a:cubicBezTo>
                  <a:cubicBezTo>
                    <a:pt x="17847" y="2950"/>
                    <a:pt x="17280" y="3521"/>
                    <a:pt x="17280" y="3521"/>
                  </a:cubicBezTo>
                  <a:cubicBezTo>
                    <a:pt x="17138" y="3330"/>
                    <a:pt x="18696" y="2093"/>
                    <a:pt x="17776" y="1808"/>
                  </a:cubicBezTo>
                  <a:cubicBezTo>
                    <a:pt x="17422" y="1808"/>
                    <a:pt x="17492" y="2093"/>
                    <a:pt x="17209" y="2284"/>
                  </a:cubicBezTo>
                  <a:cubicBezTo>
                    <a:pt x="16997" y="2379"/>
                    <a:pt x="16855" y="2379"/>
                    <a:pt x="16643" y="2474"/>
                  </a:cubicBezTo>
                  <a:cubicBezTo>
                    <a:pt x="16572" y="2474"/>
                    <a:pt x="16218" y="2664"/>
                    <a:pt x="16147" y="2664"/>
                  </a:cubicBezTo>
                  <a:cubicBezTo>
                    <a:pt x="16005" y="2379"/>
                    <a:pt x="16501" y="2284"/>
                    <a:pt x="16643" y="2284"/>
                  </a:cubicBezTo>
                  <a:cubicBezTo>
                    <a:pt x="16643" y="2189"/>
                    <a:pt x="17068" y="2093"/>
                    <a:pt x="16855" y="1998"/>
                  </a:cubicBezTo>
                  <a:cubicBezTo>
                    <a:pt x="16643" y="1903"/>
                    <a:pt x="16430" y="1903"/>
                    <a:pt x="16218" y="1903"/>
                  </a:cubicBezTo>
                  <a:cubicBezTo>
                    <a:pt x="15651" y="1903"/>
                    <a:pt x="15085" y="1998"/>
                    <a:pt x="14518" y="2189"/>
                  </a:cubicBezTo>
                  <a:cubicBezTo>
                    <a:pt x="14518" y="2189"/>
                    <a:pt x="14306" y="2379"/>
                    <a:pt x="14235" y="2284"/>
                  </a:cubicBezTo>
                  <a:cubicBezTo>
                    <a:pt x="14235" y="2093"/>
                    <a:pt x="14164" y="2093"/>
                    <a:pt x="14306" y="2093"/>
                  </a:cubicBezTo>
                  <a:cubicBezTo>
                    <a:pt x="14589" y="1903"/>
                    <a:pt x="14872" y="1808"/>
                    <a:pt x="15155" y="1713"/>
                  </a:cubicBezTo>
                  <a:cubicBezTo>
                    <a:pt x="15651" y="1618"/>
                    <a:pt x="16218" y="1713"/>
                    <a:pt x="16784" y="1713"/>
                  </a:cubicBezTo>
                  <a:cubicBezTo>
                    <a:pt x="16926" y="1713"/>
                    <a:pt x="17068" y="1713"/>
                    <a:pt x="17209" y="1713"/>
                  </a:cubicBezTo>
                  <a:cubicBezTo>
                    <a:pt x="17492" y="1522"/>
                    <a:pt x="17847" y="1522"/>
                    <a:pt x="18130" y="1332"/>
                  </a:cubicBezTo>
                  <a:cubicBezTo>
                    <a:pt x="18271" y="1332"/>
                    <a:pt x="18342" y="1237"/>
                    <a:pt x="18130" y="1142"/>
                  </a:cubicBezTo>
                  <a:cubicBezTo>
                    <a:pt x="17988" y="1047"/>
                    <a:pt x="17705" y="952"/>
                    <a:pt x="17563" y="1047"/>
                  </a:cubicBezTo>
                  <a:cubicBezTo>
                    <a:pt x="17422" y="1047"/>
                    <a:pt x="17422" y="952"/>
                    <a:pt x="17280" y="856"/>
                  </a:cubicBezTo>
                  <a:cubicBezTo>
                    <a:pt x="17138" y="856"/>
                    <a:pt x="16997" y="1047"/>
                    <a:pt x="16855" y="1047"/>
                  </a:cubicBezTo>
                  <a:cubicBezTo>
                    <a:pt x="16855" y="1047"/>
                    <a:pt x="16997" y="761"/>
                    <a:pt x="17068" y="761"/>
                  </a:cubicBezTo>
                  <a:cubicBezTo>
                    <a:pt x="17138" y="571"/>
                    <a:pt x="16855" y="571"/>
                    <a:pt x="16784" y="571"/>
                  </a:cubicBezTo>
                  <a:cubicBezTo>
                    <a:pt x="16359" y="666"/>
                    <a:pt x="16005" y="666"/>
                    <a:pt x="15580" y="571"/>
                  </a:cubicBezTo>
                  <a:cubicBezTo>
                    <a:pt x="15226" y="571"/>
                    <a:pt x="14943" y="761"/>
                    <a:pt x="14589" y="761"/>
                  </a:cubicBezTo>
                  <a:cubicBezTo>
                    <a:pt x="14447" y="761"/>
                    <a:pt x="14235" y="761"/>
                    <a:pt x="14093" y="761"/>
                  </a:cubicBezTo>
                  <a:cubicBezTo>
                    <a:pt x="13951" y="856"/>
                    <a:pt x="13739" y="761"/>
                    <a:pt x="13668" y="856"/>
                  </a:cubicBezTo>
                  <a:cubicBezTo>
                    <a:pt x="13881" y="761"/>
                    <a:pt x="14093" y="761"/>
                    <a:pt x="14306" y="666"/>
                  </a:cubicBezTo>
                  <a:cubicBezTo>
                    <a:pt x="14660" y="666"/>
                    <a:pt x="14943" y="571"/>
                    <a:pt x="15226" y="571"/>
                  </a:cubicBezTo>
                  <a:cubicBezTo>
                    <a:pt x="15368" y="571"/>
                    <a:pt x="16784" y="571"/>
                    <a:pt x="16784" y="381"/>
                  </a:cubicBezTo>
                  <a:cubicBezTo>
                    <a:pt x="16713" y="381"/>
                    <a:pt x="16501" y="285"/>
                    <a:pt x="16430" y="190"/>
                  </a:cubicBezTo>
                  <a:cubicBezTo>
                    <a:pt x="16218" y="190"/>
                    <a:pt x="16076" y="190"/>
                    <a:pt x="15864" y="190"/>
                  </a:cubicBezTo>
                  <a:cubicBezTo>
                    <a:pt x="15580" y="190"/>
                    <a:pt x="15297" y="95"/>
                    <a:pt x="15085" y="0"/>
                  </a:cubicBezTo>
                  <a:cubicBezTo>
                    <a:pt x="14589" y="0"/>
                    <a:pt x="14164" y="0"/>
                    <a:pt x="13739" y="0"/>
                  </a:cubicBezTo>
                  <a:cubicBezTo>
                    <a:pt x="13527" y="95"/>
                    <a:pt x="13314" y="95"/>
                    <a:pt x="13102" y="95"/>
                  </a:cubicBezTo>
                  <a:cubicBezTo>
                    <a:pt x="13031" y="95"/>
                    <a:pt x="12960" y="285"/>
                    <a:pt x="12960" y="285"/>
                  </a:cubicBezTo>
                  <a:cubicBezTo>
                    <a:pt x="12818" y="285"/>
                    <a:pt x="12677" y="190"/>
                    <a:pt x="12535" y="190"/>
                  </a:cubicBezTo>
                  <a:cubicBezTo>
                    <a:pt x="12464" y="190"/>
                    <a:pt x="12393" y="285"/>
                    <a:pt x="12252" y="285"/>
                  </a:cubicBezTo>
                  <a:cubicBezTo>
                    <a:pt x="12110" y="285"/>
                    <a:pt x="12110" y="381"/>
                    <a:pt x="12252" y="381"/>
                  </a:cubicBezTo>
                  <a:cubicBezTo>
                    <a:pt x="12464" y="476"/>
                    <a:pt x="12677" y="476"/>
                    <a:pt x="12818" y="571"/>
                  </a:cubicBezTo>
                  <a:cubicBezTo>
                    <a:pt x="12748" y="476"/>
                    <a:pt x="12323" y="666"/>
                    <a:pt x="12252" y="761"/>
                  </a:cubicBezTo>
                  <a:cubicBezTo>
                    <a:pt x="12252" y="761"/>
                    <a:pt x="12039" y="761"/>
                    <a:pt x="12039" y="761"/>
                  </a:cubicBezTo>
                  <a:cubicBezTo>
                    <a:pt x="12039" y="761"/>
                    <a:pt x="12181" y="952"/>
                    <a:pt x="12181" y="952"/>
                  </a:cubicBezTo>
                  <a:cubicBezTo>
                    <a:pt x="12110" y="952"/>
                    <a:pt x="11969" y="856"/>
                    <a:pt x="11898" y="761"/>
                  </a:cubicBezTo>
                  <a:cubicBezTo>
                    <a:pt x="11827" y="666"/>
                    <a:pt x="11614" y="761"/>
                    <a:pt x="11544" y="761"/>
                  </a:cubicBezTo>
                  <a:cubicBezTo>
                    <a:pt x="11331" y="666"/>
                    <a:pt x="11119" y="571"/>
                    <a:pt x="10906" y="476"/>
                  </a:cubicBezTo>
                  <a:cubicBezTo>
                    <a:pt x="10765" y="381"/>
                    <a:pt x="10623" y="571"/>
                    <a:pt x="10410" y="571"/>
                  </a:cubicBezTo>
                  <a:cubicBezTo>
                    <a:pt x="10340" y="571"/>
                    <a:pt x="9915" y="476"/>
                    <a:pt x="9915" y="666"/>
                  </a:cubicBezTo>
                  <a:cubicBezTo>
                    <a:pt x="9844" y="666"/>
                    <a:pt x="10835" y="856"/>
                    <a:pt x="10977" y="952"/>
                  </a:cubicBezTo>
                  <a:cubicBezTo>
                    <a:pt x="11190" y="952"/>
                    <a:pt x="11402" y="952"/>
                    <a:pt x="11544" y="1047"/>
                  </a:cubicBezTo>
                  <a:cubicBezTo>
                    <a:pt x="11614" y="1047"/>
                    <a:pt x="11685" y="1047"/>
                    <a:pt x="11756" y="1142"/>
                  </a:cubicBezTo>
                  <a:cubicBezTo>
                    <a:pt x="11756" y="1142"/>
                    <a:pt x="11756" y="1427"/>
                    <a:pt x="11756" y="1427"/>
                  </a:cubicBezTo>
                  <a:cubicBezTo>
                    <a:pt x="11756" y="1522"/>
                    <a:pt x="11685" y="1332"/>
                    <a:pt x="11685" y="1237"/>
                  </a:cubicBezTo>
                  <a:cubicBezTo>
                    <a:pt x="11614" y="1142"/>
                    <a:pt x="11402" y="1142"/>
                    <a:pt x="11331" y="1047"/>
                  </a:cubicBezTo>
                  <a:cubicBezTo>
                    <a:pt x="11331" y="1047"/>
                    <a:pt x="11119" y="1047"/>
                    <a:pt x="11119" y="1047"/>
                  </a:cubicBezTo>
                  <a:cubicBezTo>
                    <a:pt x="11119" y="1142"/>
                    <a:pt x="11190" y="1332"/>
                    <a:pt x="11190" y="1332"/>
                  </a:cubicBezTo>
                  <a:cubicBezTo>
                    <a:pt x="11048" y="1332"/>
                    <a:pt x="10977" y="1047"/>
                    <a:pt x="10906" y="1047"/>
                  </a:cubicBezTo>
                  <a:cubicBezTo>
                    <a:pt x="10765" y="1047"/>
                    <a:pt x="10623" y="1047"/>
                    <a:pt x="10481" y="952"/>
                  </a:cubicBezTo>
                  <a:cubicBezTo>
                    <a:pt x="10410" y="952"/>
                    <a:pt x="9844" y="952"/>
                    <a:pt x="9844" y="952"/>
                  </a:cubicBezTo>
                  <a:cubicBezTo>
                    <a:pt x="9773" y="1142"/>
                    <a:pt x="10694" y="1618"/>
                    <a:pt x="10694" y="1618"/>
                  </a:cubicBezTo>
                  <a:cubicBezTo>
                    <a:pt x="10694" y="1713"/>
                    <a:pt x="10340" y="1618"/>
                    <a:pt x="10340" y="1618"/>
                  </a:cubicBezTo>
                  <a:cubicBezTo>
                    <a:pt x="10127" y="1618"/>
                    <a:pt x="10056" y="1522"/>
                    <a:pt x="10127" y="1808"/>
                  </a:cubicBezTo>
                  <a:cubicBezTo>
                    <a:pt x="10056" y="1808"/>
                    <a:pt x="9986" y="1713"/>
                    <a:pt x="9915" y="1618"/>
                  </a:cubicBezTo>
                  <a:cubicBezTo>
                    <a:pt x="9915" y="1522"/>
                    <a:pt x="10056" y="1618"/>
                    <a:pt x="10127" y="1522"/>
                  </a:cubicBezTo>
                  <a:cubicBezTo>
                    <a:pt x="10127" y="1522"/>
                    <a:pt x="9986" y="1332"/>
                    <a:pt x="9915" y="1332"/>
                  </a:cubicBezTo>
                  <a:cubicBezTo>
                    <a:pt x="9773" y="1237"/>
                    <a:pt x="9631" y="1142"/>
                    <a:pt x="9419" y="1142"/>
                  </a:cubicBezTo>
                  <a:cubicBezTo>
                    <a:pt x="9348" y="1142"/>
                    <a:pt x="9207" y="1047"/>
                    <a:pt x="9136" y="1142"/>
                  </a:cubicBezTo>
                  <a:cubicBezTo>
                    <a:pt x="9065" y="1142"/>
                    <a:pt x="9277" y="1427"/>
                    <a:pt x="9277" y="1427"/>
                  </a:cubicBezTo>
                  <a:cubicBezTo>
                    <a:pt x="9490" y="1618"/>
                    <a:pt x="9773" y="1618"/>
                    <a:pt x="10056" y="1903"/>
                  </a:cubicBezTo>
                  <a:cubicBezTo>
                    <a:pt x="10127" y="1903"/>
                    <a:pt x="10198" y="1998"/>
                    <a:pt x="10127" y="2093"/>
                  </a:cubicBezTo>
                  <a:cubicBezTo>
                    <a:pt x="9986" y="2284"/>
                    <a:pt x="9844" y="2093"/>
                    <a:pt x="9702" y="1998"/>
                  </a:cubicBezTo>
                  <a:cubicBezTo>
                    <a:pt x="9348" y="1713"/>
                    <a:pt x="8923" y="1522"/>
                    <a:pt x="8498" y="1427"/>
                  </a:cubicBezTo>
                  <a:cubicBezTo>
                    <a:pt x="8286" y="1332"/>
                    <a:pt x="8073" y="1237"/>
                    <a:pt x="7861" y="1332"/>
                  </a:cubicBezTo>
                  <a:cubicBezTo>
                    <a:pt x="7790" y="1332"/>
                    <a:pt x="8003" y="1618"/>
                    <a:pt x="8003" y="1713"/>
                  </a:cubicBezTo>
                  <a:cubicBezTo>
                    <a:pt x="8003" y="1713"/>
                    <a:pt x="8286" y="1998"/>
                    <a:pt x="8286" y="1998"/>
                  </a:cubicBezTo>
                  <a:cubicBezTo>
                    <a:pt x="8286" y="2093"/>
                    <a:pt x="7861" y="1998"/>
                    <a:pt x="7861" y="1998"/>
                  </a:cubicBezTo>
                  <a:cubicBezTo>
                    <a:pt x="7861" y="2189"/>
                    <a:pt x="8144" y="2093"/>
                    <a:pt x="8144" y="2284"/>
                  </a:cubicBezTo>
                  <a:cubicBezTo>
                    <a:pt x="8144" y="2284"/>
                    <a:pt x="7861" y="2189"/>
                    <a:pt x="7790" y="2093"/>
                  </a:cubicBezTo>
                  <a:cubicBezTo>
                    <a:pt x="7649" y="1998"/>
                    <a:pt x="7507" y="1998"/>
                    <a:pt x="7294" y="1903"/>
                  </a:cubicBezTo>
                  <a:cubicBezTo>
                    <a:pt x="7153" y="1808"/>
                    <a:pt x="7153" y="1903"/>
                    <a:pt x="7153" y="2093"/>
                  </a:cubicBezTo>
                  <a:cubicBezTo>
                    <a:pt x="7082" y="2189"/>
                    <a:pt x="7011" y="2189"/>
                    <a:pt x="6940" y="2189"/>
                  </a:cubicBezTo>
                  <a:cubicBezTo>
                    <a:pt x="6940" y="2284"/>
                    <a:pt x="6940" y="2474"/>
                    <a:pt x="6870" y="2474"/>
                  </a:cubicBezTo>
                  <a:cubicBezTo>
                    <a:pt x="6870" y="2569"/>
                    <a:pt x="6870" y="2284"/>
                    <a:pt x="6870" y="2189"/>
                  </a:cubicBezTo>
                  <a:cubicBezTo>
                    <a:pt x="6870" y="2093"/>
                    <a:pt x="6940" y="1998"/>
                    <a:pt x="6940" y="1903"/>
                  </a:cubicBezTo>
                  <a:cubicBezTo>
                    <a:pt x="6870" y="1522"/>
                    <a:pt x="6586" y="1522"/>
                    <a:pt x="6374" y="1522"/>
                  </a:cubicBezTo>
                  <a:cubicBezTo>
                    <a:pt x="6090" y="1618"/>
                    <a:pt x="5807" y="1713"/>
                    <a:pt x="5524" y="1713"/>
                  </a:cubicBezTo>
                  <a:cubicBezTo>
                    <a:pt x="5453" y="1808"/>
                    <a:pt x="5311" y="1808"/>
                    <a:pt x="5241" y="1808"/>
                  </a:cubicBezTo>
                  <a:cubicBezTo>
                    <a:pt x="5241" y="1808"/>
                    <a:pt x="4887" y="1903"/>
                    <a:pt x="4887" y="1903"/>
                  </a:cubicBezTo>
                  <a:cubicBezTo>
                    <a:pt x="4957" y="1998"/>
                    <a:pt x="5099" y="1998"/>
                    <a:pt x="5170" y="1998"/>
                  </a:cubicBezTo>
                  <a:cubicBezTo>
                    <a:pt x="5241" y="2093"/>
                    <a:pt x="5311" y="2189"/>
                    <a:pt x="5453" y="2284"/>
                  </a:cubicBezTo>
                  <a:cubicBezTo>
                    <a:pt x="5453" y="2284"/>
                    <a:pt x="5736" y="2569"/>
                    <a:pt x="5736" y="2569"/>
                  </a:cubicBezTo>
                  <a:cubicBezTo>
                    <a:pt x="5666" y="2569"/>
                    <a:pt x="5382" y="2379"/>
                    <a:pt x="5311" y="2379"/>
                  </a:cubicBezTo>
                  <a:cubicBezTo>
                    <a:pt x="5170" y="2284"/>
                    <a:pt x="5099" y="2093"/>
                    <a:pt x="4957" y="2093"/>
                  </a:cubicBezTo>
                  <a:cubicBezTo>
                    <a:pt x="4745" y="1998"/>
                    <a:pt x="4532" y="2093"/>
                    <a:pt x="4320" y="2093"/>
                  </a:cubicBezTo>
                  <a:cubicBezTo>
                    <a:pt x="4108" y="2189"/>
                    <a:pt x="4108" y="2093"/>
                    <a:pt x="4249" y="2379"/>
                  </a:cubicBezTo>
                  <a:cubicBezTo>
                    <a:pt x="4249" y="2474"/>
                    <a:pt x="4249" y="2759"/>
                    <a:pt x="4249" y="2855"/>
                  </a:cubicBezTo>
                  <a:cubicBezTo>
                    <a:pt x="4249" y="3045"/>
                    <a:pt x="3966" y="2855"/>
                    <a:pt x="3895" y="2855"/>
                  </a:cubicBezTo>
                  <a:cubicBezTo>
                    <a:pt x="3824" y="2855"/>
                    <a:pt x="3612" y="2664"/>
                    <a:pt x="3541" y="2855"/>
                  </a:cubicBezTo>
                  <a:cubicBezTo>
                    <a:pt x="3470" y="2950"/>
                    <a:pt x="3541" y="3235"/>
                    <a:pt x="3541" y="3235"/>
                  </a:cubicBezTo>
                  <a:cubicBezTo>
                    <a:pt x="3470" y="3330"/>
                    <a:pt x="3399" y="3140"/>
                    <a:pt x="3329" y="3045"/>
                  </a:cubicBezTo>
                  <a:cubicBezTo>
                    <a:pt x="3187" y="2950"/>
                    <a:pt x="3045" y="2950"/>
                    <a:pt x="2974" y="3045"/>
                  </a:cubicBezTo>
                  <a:cubicBezTo>
                    <a:pt x="2762" y="3235"/>
                    <a:pt x="2550" y="3426"/>
                    <a:pt x="2266" y="3521"/>
                  </a:cubicBezTo>
                  <a:cubicBezTo>
                    <a:pt x="2195" y="3616"/>
                    <a:pt x="2408" y="3521"/>
                    <a:pt x="2266" y="352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79" name="Shape 2198">
              <a:extLst>
                <a:ext uri="{FF2B5EF4-FFF2-40B4-BE49-F238E27FC236}">
                  <a16:creationId xmlns:a16="http://schemas.microsoft.com/office/drawing/2014/main" id="{12E9FAC4-3DC3-61E7-82AE-E5305CE7426F}"/>
                </a:ext>
              </a:extLst>
            </p:cNvPr>
            <p:cNvSpPr/>
            <p:nvPr/>
          </p:nvSpPr>
          <p:spPr>
            <a:xfrm>
              <a:off x="3715070" y="934416"/>
              <a:ext cx="100827" cy="61399"/>
            </a:xfrm>
            <a:custGeom>
              <a:avLst/>
              <a:gdLst/>
              <a:ahLst/>
              <a:cxnLst>
                <a:cxn ang="0">
                  <a:pos x="wd2" y="hd2"/>
                </a:cxn>
                <a:cxn ang="5400000">
                  <a:pos x="wd2" y="hd2"/>
                </a:cxn>
                <a:cxn ang="10800000">
                  <a:pos x="wd2" y="hd2"/>
                </a:cxn>
                <a:cxn ang="16200000">
                  <a:pos x="wd2" y="hd2"/>
                </a:cxn>
              </a:cxnLst>
              <a:rect l="0" t="0" r="r" b="b"/>
              <a:pathLst>
                <a:path w="20618" h="17877" extrusionOk="0">
                  <a:moveTo>
                    <a:pt x="20618" y="10691"/>
                  </a:moveTo>
                  <a:cubicBezTo>
                    <a:pt x="19268" y="8727"/>
                    <a:pt x="13868" y="4800"/>
                    <a:pt x="13868" y="4800"/>
                  </a:cubicBezTo>
                  <a:cubicBezTo>
                    <a:pt x="11168" y="2836"/>
                    <a:pt x="8468" y="873"/>
                    <a:pt x="5768" y="873"/>
                  </a:cubicBezTo>
                  <a:cubicBezTo>
                    <a:pt x="4418" y="873"/>
                    <a:pt x="1718" y="-1091"/>
                    <a:pt x="368" y="873"/>
                  </a:cubicBezTo>
                  <a:cubicBezTo>
                    <a:pt x="-982" y="2836"/>
                    <a:pt x="3068" y="4800"/>
                    <a:pt x="3068" y="4800"/>
                  </a:cubicBezTo>
                  <a:cubicBezTo>
                    <a:pt x="1718" y="4800"/>
                    <a:pt x="-982" y="10691"/>
                    <a:pt x="368" y="12654"/>
                  </a:cubicBezTo>
                  <a:cubicBezTo>
                    <a:pt x="1718" y="12654"/>
                    <a:pt x="4418" y="10691"/>
                    <a:pt x="5768" y="12654"/>
                  </a:cubicBezTo>
                  <a:cubicBezTo>
                    <a:pt x="8468" y="14618"/>
                    <a:pt x="5768" y="14618"/>
                    <a:pt x="5768" y="16582"/>
                  </a:cubicBezTo>
                  <a:cubicBezTo>
                    <a:pt x="5768" y="20509"/>
                    <a:pt x="20618" y="14618"/>
                    <a:pt x="20618" y="10691"/>
                  </a:cubicBezTo>
                  <a:cubicBezTo>
                    <a:pt x="19268" y="8727"/>
                    <a:pt x="20618" y="12654"/>
                    <a:pt x="20618" y="10691"/>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0" name="Shape 2199">
              <a:extLst>
                <a:ext uri="{FF2B5EF4-FFF2-40B4-BE49-F238E27FC236}">
                  <a16:creationId xmlns:a16="http://schemas.microsoft.com/office/drawing/2014/main" id="{36AC06BD-9F59-D1EB-4E05-0A8252A7734C}"/>
                </a:ext>
              </a:extLst>
            </p:cNvPr>
            <p:cNvSpPr/>
            <p:nvPr/>
          </p:nvSpPr>
          <p:spPr>
            <a:xfrm>
              <a:off x="3749678" y="878964"/>
              <a:ext cx="15572" cy="13490"/>
            </a:xfrm>
            <a:custGeom>
              <a:avLst/>
              <a:gdLst/>
              <a:ahLst/>
              <a:cxnLst>
                <a:cxn ang="0">
                  <a:pos x="wd2" y="hd2"/>
                </a:cxn>
                <a:cxn ang="5400000">
                  <a:pos x="wd2" y="hd2"/>
                </a:cxn>
                <a:cxn ang="10800000">
                  <a:pos x="wd2" y="hd2"/>
                </a:cxn>
                <a:cxn ang="16200000">
                  <a:pos x="wd2" y="hd2"/>
                </a:cxn>
              </a:cxnLst>
              <a:rect l="0" t="0" r="r" b="b"/>
              <a:pathLst>
                <a:path w="12471" h="21600" extrusionOk="0">
                  <a:moveTo>
                    <a:pt x="6235" y="21600"/>
                  </a:moveTo>
                  <a:cubicBezTo>
                    <a:pt x="-4565" y="21600"/>
                    <a:pt x="835" y="0"/>
                    <a:pt x="6235" y="0"/>
                  </a:cubicBezTo>
                  <a:cubicBezTo>
                    <a:pt x="11635" y="0"/>
                    <a:pt x="17035" y="21600"/>
                    <a:pt x="6235"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1" name="Shape 2200">
              <a:extLst>
                <a:ext uri="{FF2B5EF4-FFF2-40B4-BE49-F238E27FC236}">
                  <a16:creationId xmlns:a16="http://schemas.microsoft.com/office/drawing/2014/main" id="{3537C112-6E4F-B9B1-6B97-AFE6A7D179A3}"/>
                </a:ext>
              </a:extLst>
            </p:cNvPr>
            <p:cNvSpPr/>
            <p:nvPr/>
          </p:nvSpPr>
          <p:spPr>
            <a:xfrm>
              <a:off x="3771688" y="104297"/>
              <a:ext cx="61167" cy="31127"/>
            </a:xfrm>
            <a:custGeom>
              <a:avLst/>
              <a:gdLst/>
              <a:ahLst/>
              <a:cxnLst>
                <a:cxn ang="0">
                  <a:pos x="wd2" y="hd2"/>
                </a:cxn>
                <a:cxn ang="5400000">
                  <a:pos x="wd2" y="hd2"/>
                </a:cxn>
                <a:cxn ang="10800000">
                  <a:pos x="wd2" y="hd2"/>
                </a:cxn>
                <a:cxn ang="16200000">
                  <a:pos x="wd2" y="hd2"/>
                </a:cxn>
              </a:cxnLst>
              <a:rect l="0" t="0" r="r" b="b"/>
              <a:pathLst>
                <a:path w="18371" h="16616" extrusionOk="0">
                  <a:moveTo>
                    <a:pt x="15426" y="11525"/>
                  </a:moveTo>
                  <a:cubicBezTo>
                    <a:pt x="19353" y="15125"/>
                    <a:pt x="19353" y="18725"/>
                    <a:pt x="15426" y="15125"/>
                  </a:cubicBezTo>
                  <a:cubicBezTo>
                    <a:pt x="11498" y="15125"/>
                    <a:pt x="5608" y="11525"/>
                    <a:pt x="3644" y="11525"/>
                  </a:cubicBezTo>
                  <a:cubicBezTo>
                    <a:pt x="1680" y="7925"/>
                    <a:pt x="-2247" y="-2875"/>
                    <a:pt x="1680" y="725"/>
                  </a:cubicBezTo>
                  <a:cubicBezTo>
                    <a:pt x="5608" y="4325"/>
                    <a:pt x="11498" y="7925"/>
                    <a:pt x="15426" y="11525"/>
                  </a:cubicBezTo>
                  <a:cubicBezTo>
                    <a:pt x="19353" y="15125"/>
                    <a:pt x="11498" y="7925"/>
                    <a:pt x="15426" y="115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2" name="Shape 2201">
              <a:extLst>
                <a:ext uri="{FF2B5EF4-FFF2-40B4-BE49-F238E27FC236}">
                  <a16:creationId xmlns:a16="http://schemas.microsoft.com/office/drawing/2014/main" id="{C5E62D69-8DB9-0DA1-D580-4A5630CE9FBA}"/>
                </a:ext>
              </a:extLst>
            </p:cNvPr>
            <p:cNvSpPr/>
            <p:nvPr/>
          </p:nvSpPr>
          <p:spPr>
            <a:xfrm>
              <a:off x="3986700" y="46188"/>
              <a:ext cx="53938" cy="20019"/>
            </a:xfrm>
            <a:custGeom>
              <a:avLst/>
              <a:gdLst/>
              <a:ahLst/>
              <a:cxnLst>
                <a:cxn ang="0">
                  <a:pos x="wd2" y="hd2"/>
                </a:cxn>
                <a:cxn ang="5400000">
                  <a:pos x="wd2" y="hd2"/>
                </a:cxn>
                <a:cxn ang="10800000">
                  <a:pos x="wd2" y="hd2"/>
                </a:cxn>
                <a:cxn ang="16200000">
                  <a:pos x="wd2" y="hd2"/>
                </a:cxn>
              </a:cxnLst>
              <a:rect l="0" t="0" r="r" b="b"/>
              <a:pathLst>
                <a:path w="21600" h="13739" extrusionOk="0">
                  <a:moveTo>
                    <a:pt x="21600" y="9030"/>
                  </a:moveTo>
                  <a:cubicBezTo>
                    <a:pt x="21600" y="17670"/>
                    <a:pt x="0" y="13350"/>
                    <a:pt x="0" y="4710"/>
                  </a:cubicBezTo>
                  <a:cubicBezTo>
                    <a:pt x="0" y="-3930"/>
                    <a:pt x="21600" y="390"/>
                    <a:pt x="21600" y="903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3" name="Shape 2202">
              <a:extLst>
                <a:ext uri="{FF2B5EF4-FFF2-40B4-BE49-F238E27FC236}">
                  <a16:creationId xmlns:a16="http://schemas.microsoft.com/office/drawing/2014/main" id="{8DDCE57E-C562-E2DA-2BA6-9630A7D0F3C2}"/>
                </a:ext>
              </a:extLst>
            </p:cNvPr>
            <p:cNvSpPr/>
            <p:nvPr/>
          </p:nvSpPr>
          <p:spPr>
            <a:xfrm>
              <a:off x="4843819" y="125887"/>
              <a:ext cx="27500" cy="21315"/>
            </a:xfrm>
            <a:custGeom>
              <a:avLst/>
              <a:gdLst/>
              <a:ahLst/>
              <a:cxnLst>
                <a:cxn ang="0">
                  <a:pos x="wd2" y="hd2"/>
                </a:cxn>
                <a:cxn ang="5400000">
                  <a:pos x="wd2" y="hd2"/>
                </a:cxn>
                <a:cxn ang="10800000">
                  <a:pos x="wd2" y="hd2"/>
                </a:cxn>
                <a:cxn ang="16200000">
                  <a:pos x="wd2" y="hd2"/>
                </a:cxn>
              </a:cxnLst>
              <a:rect l="0" t="0" r="r" b="b"/>
              <a:pathLst>
                <a:path w="15546" h="17067" extrusionOk="0">
                  <a:moveTo>
                    <a:pt x="14973" y="16200"/>
                  </a:moveTo>
                  <a:cubicBezTo>
                    <a:pt x="11373" y="21600"/>
                    <a:pt x="-3027" y="0"/>
                    <a:pt x="573" y="0"/>
                  </a:cubicBezTo>
                  <a:cubicBezTo>
                    <a:pt x="4173" y="0"/>
                    <a:pt x="18573" y="10800"/>
                    <a:pt x="14973" y="16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4" name="Shape 2203">
              <a:extLst>
                <a:ext uri="{FF2B5EF4-FFF2-40B4-BE49-F238E27FC236}">
                  <a16:creationId xmlns:a16="http://schemas.microsoft.com/office/drawing/2014/main" id="{232B8DF7-ED3C-1C70-D408-78340E0616BC}"/>
                </a:ext>
              </a:extLst>
            </p:cNvPr>
            <p:cNvSpPr/>
            <p:nvPr/>
          </p:nvSpPr>
          <p:spPr>
            <a:xfrm>
              <a:off x="4898056" y="152861"/>
              <a:ext cx="20908" cy="6746"/>
            </a:xfrm>
            <a:custGeom>
              <a:avLst/>
              <a:gdLst/>
              <a:ahLst/>
              <a:cxnLst>
                <a:cxn ang="0">
                  <a:pos x="wd2" y="hd2"/>
                </a:cxn>
                <a:cxn ang="5400000">
                  <a:pos x="wd2" y="hd2"/>
                </a:cxn>
                <a:cxn ang="10800000">
                  <a:pos x="wd2" y="hd2"/>
                </a:cxn>
                <a:cxn ang="16200000">
                  <a:pos x="wd2" y="hd2"/>
                </a:cxn>
              </a:cxnLst>
              <a:rect l="0" t="0" r="r" b="b"/>
              <a:pathLst>
                <a:path w="13396" h="21600" extrusionOk="0">
                  <a:moveTo>
                    <a:pt x="12219" y="21600"/>
                  </a:moveTo>
                  <a:cubicBezTo>
                    <a:pt x="3579" y="21600"/>
                    <a:pt x="-5061" y="0"/>
                    <a:pt x="3579" y="0"/>
                  </a:cubicBezTo>
                  <a:cubicBezTo>
                    <a:pt x="7899" y="0"/>
                    <a:pt x="16539" y="21600"/>
                    <a:pt x="12219"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5" name="Shape 2204">
              <a:extLst>
                <a:ext uri="{FF2B5EF4-FFF2-40B4-BE49-F238E27FC236}">
                  <a16:creationId xmlns:a16="http://schemas.microsoft.com/office/drawing/2014/main" id="{8E4CF232-042F-0A52-CAF0-4860E38FAFA3}"/>
                </a:ext>
              </a:extLst>
            </p:cNvPr>
            <p:cNvSpPr/>
            <p:nvPr/>
          </p:nvSpPr>
          <p:spPr>
            <a:xfrm>
              <a:off x="4899106" y="528277"/>
              <a:ext cx="18021" cy="47208"/>
            </a:xfrm>
            <a:custGeom>
              <a:avLst/>
              <a:gdLst/>
              <a:ahLst/>
              <a:cxnLst>
                <a:cxn ang="0">
                  <a:pos x="wd2" y="hd2"/>
                </a:cxn>
                <a:cxn ang="5400000">
                  <a:pos x="wd2" y="hd2"/>
                </a:cxn>
                <a:cxn ang="10800000">
                  <a:pos x="wd2" y="hd2"/>
                </a:cxn>
                <a:cxn ang="16200000">
                  <a:pos x="wd2" y="hd2"/>
                </a:cxn>
              </a:cxnLst>
              <a:rect l="0" t="0" r="r" b="b"/>
              <a:pathLst>
                <a:path w="14433" h="21600" extrusionOk="0">
                  <a:moveTo>
                    <a:pt x="3633" y="0"/>
                  </a:moveTo>
                  <a:cubicBezTo>
                    <a:pt x="-7167" y="0"/>
                    <a:pt x="9033" y="21600"/>
                    <a:pt x="14433" y="21600"/>
                  </a:cubicBezTo>
                  <a:cubicBezTo>
                    <a:pt x="14433" y="21600"/>
                    <a:pt x="9033" y="0"/>
                    <a:pt x="3633"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6" name="Shape 2205">
              <a:extLst>
                <a:ext uri="{FF2B5EF4-FFF2-40B4-BE49-F238E27FC236}">
                  <a16:creationId xmlns:a16="http://schemas.microsoft.com/office/drawing/2014/main" id="{BD88667A-B31F-9F16-53DE-819644459EBE}"/>
                </a:ext>
              </a:extLst>
            </p:cNvPr>
            <p:cNvSpPr/>
            <p:nvPr/>
          </p:nvSpPr>
          <p:spPr>
            <a:xfrm>
              <a:off x="4905247" y="613699"/>
              <a:ext cx="33122" cy="26977"/>
            </a:xfrm>
            <a:custGeom>
              <a:avLst/>
              <a:gdLst/>
              <a:ahLst/>
              <a:cxnLst>
                <a:cxn ang="0">
                  <a:pos x="wd2" y="hd2"/>
                </a:cxn>
                <a:cxn ang="5400000">
                  <a:pos x="wd2" y="hd2"/>
                </a:cxn>
                <a:cxn ang="10800000">
                  <a:pos x="wd2" y="hd2"/>
                </a:cxn>
                <a:cxn ang="16200000">
                  <a:pos x="wd2" y="hd2"/>
                </a:cxn>
              </a:cxnLst>
              <a:rect l="0" t="0" r="r" b="b"/>
              <a:pathLst>
                <a:path w="15917" h="21600" extrusionOk="0">
                  <a:moveTo>
                    <a:pt x="2315" y="0"/>
                  </a:moveTo>
                  <a:cubicBezTo>
                    <a:pt x="-771" y="5400"/>
                    <a:pt x="-771" y="16200"/>
                    <a:pt x="2315" y="21600"/>
                  </a:cubicBezTo>
                  <a:cubicBezTo>
                    <a:pt x="5400" y="21600"/>
                    <a:pt x="8486" y="21600"/>
                    <a:pt x="14658" y="21600"/>
                  </a:cubicBezTo>
                  <a:cubicBezTo>
                    <a:pt x="20829" y="21600"/>
                    <a:pt x="2315" y="0"/>
                    <a:pt x="2315" y="0"/>
                  </a:cubicBezTo>
                  <a:cubicBezTo>
                    <a:pt x="-771" y="5400"/>
                    <a:pt x="2315" y="0"/>
                    <a:pt x="2315"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7" name="Shape 2206">
              <a:extLst>
                <a:ext uri="{FF2B5EF4-FFF2-40B4-BE49-F238E27FC236}">
                  <a16:creationId xmlns:a16="http://schemas.microsoft.com/office/drawing/2014/main" id="{24175A19-F003-D7D9-AB3A-93B208183BBF}"/>
                </a:ext>
              </a:extLst>
            </p:cNvPr>
            <p:cNvSpPr/>
            <p:nvPr/>
          </p:nvSpPr>
          <p:spPr>
            <a:xfrm>
              <a:off x="4719354" y="769598"/>
              <a:ext cx="83721" cy="55413"/>
            </a:xfrm>
            <a:custGeom>
              <a:avLst/>
              <a:gdLst/>
              <a:ahLst/>
              <a:cxnLst>
                <a:cxn ang="0">
                  <a:pos x="wd2" y="hd2"/>
                </a:cxn>
                <a:cxn ang="5400000">
                  <a:pos x="wd2" y="hd2"/>
                </a:cxn>
                <a:cxn ang="10800000">
                  <a:pos x="wd2" y="hd2"/>
                </a:cxn>
                <a:cxn ang="16200000">
                  <a:pos x="wd2" y="hd2"/>
                </a:cxn>
              </a:cxnLst>
              <a:rect l="0" t="0" r="r" b="b"/>
              <a:pathLst>
                <a:path w="16093" h="18360" extrusionOk="0">
                  <a:moveTo>
                    <a:pt x="0" y="5400"/>
                  </a:moveTo>
                  <a:cubicBezTo>
                    <a:pt x="1271" y="-3240"/>
                    <a:pt x="8894" y="1080"/>
                    <a:pt x="12706" y="1080"/>
                  </a:cubicBezTo>
                  <a:cubicBezTo>
                    <a:pt x="21600" y="3240"/>
                    <a:pt x="10165" y="5400"/>
                    <a:pt x="10165" y="5400"/>
                  </a:cubicBezTo>
                  <a:cubicBezTo>
                    <a:pt x="10165" y="9720"/>
                    <a:pt x="15247" y="7560"/>
                    <a:pt x="15247" y="11880"/>
                  </a:cubicBezTo>
                  <a:cubicBezTo>
                    <a:pt x="15247" y="11880"/>
                    <a:pt x="12706" y="9720"/>
                    <a:pt x="11435" y="11880"/>
                  </a:cubicBezTo>
                  <a:cubicBezTo>
                    <a:pt x="11435" y="11880"/>
                    <a:pt x="15247" y="18360"/>
                    <a:pt x="13976" y="18360"/>
                  </a:cubicBezTo>
                  <a:cubicBezTo>
                    <a:pt x="12706" y="18360"/>
                    <a:pt x="11435" y="16200"/>
                    <a:pt x="10165" y="16200"/>
                  </a:cubicBezTo>
                  <a:cubicBezTo>
                    <a:pt x="7624" y="14040"/>
                    <a:pt x="0" y="11880"/>
                    <a:pt x="0" y="5400"/>
                  </a:cubicBezTo>
                  <a:cubicBezTo>
                    <a:pt x="0" y="3240"/>
                    <a:pt x="0" y="11880"/>
                    <a:pt x="0" y="54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8" name="Shape 2207">
              <a:extLst>
                <a:ext uri="{FF2B5EF4-FFF2-40B4-BE49-F238E27FC236}">
                  <a16:creationId xmlns:a16="http://schemas.microsoft.com/office/drawing/2014/main" id="{2AEC1C18-5306-2AA1-48B1-0BE8766FF600}"/>
                </a:ext>
              </a:extLst>
            </p:cNvPr>
            <p:cNvSpPr/>
            <p:nvPr/>
          </p:nvSpPr>
          <p:spPr>
            <a:xfrm>
              <a:off x="4699127" y="746333"/>
              <a:ext cx="53816" cy="11382"/>
            </a:xfrm>
            <a:custGeom>
              <a:avLst/>
              <a:gdLst/>
              <a:ahLst/>
              <a:cxnLst>
                <a:cxn ang="0">
                  <a:pos x="wd2" y="hd2"/>
                </a:cxn>
                <a:cxn ang="5400000">
                  <a:pos x="wd2" y="hd2"/>
                </a:cxn>
                <a:cxn ang="10800000">
                  <a:pos x="wd2" y="hd2"/>
                </a:cxn>
                <a:cxn ang="16200000">
                  <a:pos x="wd2" y="hd2"/>
                </a:cxn>
              </a:cxnLst>
              <a:rect l="0" t="0" r="r" b="b"/>
              <a:pathLst>
                <a:path w="19893" h="12150" extrusionOk="0">
                  <a:moveTo>
                    <a:pt x="19200" y="7200"/>
                  </a:moveTo>
                  <a:cubicBezTo>
                    <a:pt x="21600" y="7200"/>
                    <a:pt x="12000" y="0"/>
                    <a:pt x="12000" y="0"/>
                  </a:cubicBezTo>
                  <a:cubicBezTo>
                    <a:pt x="7200" y="0"/>
                    <a:pt x="2400" y="0"/>
                    <a:pt x="0" y="0"/>
                  </a:cubicBezTo>
                  <a:cubicBezTo>
                    <a:pt x="4800" y="0"/>
                    <a:pt x="14400" y="21600"/>
                    <a:pt x="19200" y="7200"/>
                  </a:cubicBezTo>
                  <a:cubicBezTo>
                    <a:pt x="21600" y="7200"/>
                    <a:pt x="16800" y="14400"/>
                    <a:pt x="19200" y="72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89" name="Shape 2208">
              <a:extLst>
                <a:ext uri="{FF2B5EF4-FFF2-40B4-BE49-F238E27FC236}">
                  <a16:creationId xmlns:a16="http://schemas.microsoft.com/office/drawing/2014/main" id="{3A367181-620B-78DD-1056-6400DF0823D5}"/>
                </a:ext>
              </a:extLst>
            </p:cNvPr>
            <p:cNvSpPr/>
            <p:nvPr/>
          </p:nvSpPr>
          <p:spPr>
            <a:xfrm>
              <a:off x="4606983" y="889470"/>
              <a:ext cx="83759" cy="35355"/>
            </a:xfrm>
            <a:custGeom>
              <a:avLst/>
              <a:gdLst/>
              <a:ahLst/>
              <a:cxnLst>
                <a:cxn ang="0">
                  <a:pos x="wd2" y="hd2"/>
                </a:cxn>
                <a:cxn ang="5400000">
                  <a:pos x="wd2" y="hd2"/>
                </a:cxn>
                <a:cxn ang="10800000">
                  <a:pos x="wd2" y="hd2"/>
                </a:cxn>
                <a:cxn ang="16200000">
                  <a:pos x="wd2" y="hd2"/>
                </a:cxn>
              </a:cxnLst>
              <a:rect l="0" t="0" r="r" b="b"/>
              <a:pathLst>
                <a:path w="21185" h="16985" extrusionOk="0">
                  <a:moveTo>
                    <a:pt x="19938" y="10535"/>
                  </a:moveTo>
                  <a:cubicBezTo>
                    <a:pt x="21600" y="7449"/>
                    <a:pt x="21600" y="4363"/>
                    <a:pt x="19938" y="1278"/>
                  </a:cubicBezTo>
                  <a:cubicBezTo>
                    <a:pt x="18277" y="-1808"/>
                    <a:pt x="13292" y="1278"/>
                    <a:pt x="11631" y="4363"/>
                  </a:cubicBezTo>
                  <a:cubicBezTo>
                    <a:pt x="9969" y="4363"/>
                    <a:pt x="6646" y="4363"/>
                    <a:pt x="4985" y="7449"/>
                  </a:cubicBezTo>
                  <a:cubicBezTo>
                    <a:pt x="4985" y="7449"/>
                    <a:pt x="0" y="13621"/>
                    <a:pt x="0" y="13621"/>
                  </a:cubicBezTo>
                  <a:cubicBezTo>
                    <a:pt x="4985" y="19792"/>
                    <a:pt x="16615" y="16706"/>
                    <a:pt x="19938" y="10535"/>
                  </a:cubicBezTo>
                  <a:cubicBezTo>
                    <a:pt x="21600" y="7449"/>
                    <a:pt x="14954" y="16706"/>
                    <a:pt x="19938" y="1053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0" name="Shape 2209">
              <a:extLst>
                <a:ext uri="{FF2B5EF4-FFF2-40B4-BE49-F238E27FC236}">
                  <a16:creationId xmlns:a16="http://schemas.microsoft.com/office/drawing/2014/main" id="{689F54A7-E633-43A4-2BDC-AC6504B32FAB}"/>
                </a:ext>
              </a:extLst>
            </p:cNvPr>
            <p:cNvSpPr/>
            <p:nvPr/>
          </p:nvSpPr>
          <p:spPr>
            <a:xfrm>
              <a:off x="3835031" y="957036"/>
              <a:ext cx="17574" cy="24413"/>
            </a:xfrm>
            <a:custGeom>
              <a:avLst/>
              <a:gdLst/>
              <a:ahLst/>
              <a:cxnLst>
                <a:cxn ang="0">
                  <a:pos x="wd2" y="hd2"/>
                </a:cxn>
                <a:cxn ang="5400000">
                  <a:pos x="wd2" y="hd2"/>
                </a:cxn>
                <a:cxn ang="10800000">
                  <a:pos x="wd2" y="hd2"/>
                </a:cxn>
                <a:cxn ang="16200000">
                  <a:pos x="wd2" y="hd2"/>
                </a:cxn>
              </a:cxnLst>
              <a:rect l="0" t="0" r="r" b="b"/>
              <a:pathLst>
                <a:path w="14074" h="13032" extrusionOk="0">
                  <a:moveTo>
                    <a:pt x="11674" y="3925"/>
                  </a:moveTo>
                  <a:cubicBezTo>
                    <a:pt x="6274" y="-3275"/>
                    <a:pt x="874" y="325"/>
                    <a:pt x="874" y="7525"/>
                  </a:cubicBezTo>
                  <a:cubicBezTo>
                    <a:pt x="-4526" y="18325"/>
                    <a:pt x="17074" y="11125"/>
                    <a:pt x="11674" y="3925"/>
                  </a:cubicBezTo>
                  <a:cubicBezTo>
                    <a:pt x="11674" y="3925"/>
                    <a:pt x="17074" y="7525"/>
                    <a:pt x="11674" y="3925"/>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1" name="Shape 2210">
              <a:extLst>
                <a:ext uri="{FF2B5EF4-FFF2-40B4-BE49-F238E27FC236}">
                  <a16:creationId xmlns:a16="http://schemas.microsoft.com/office/drawing/2014/main" id="{73CE86A2-95B5-04F8-5997-3F6025B882E6}"/>
                </a:ext>
              </a:extLst>
            </p:cNvPr>
            <p:cNvSpPr/>
            <p:nvPr/>
          </p:nvSpPr>
          <p:spPr>
            <a:xfrm>
              <a:off x="3776136" y="870332"/>
              <a:ext cx="19534" cy="13037"/>
            </a:xfrm>
            <a:custGeom>
              <a:avLst/>
              <a:gdLst/>
              <a:ahLst/>
              <a:cxnLst>
                <a:cxn ang="0">
                  <a:pos x="wd2" y="hd2"/>
                </a:cxn>
                <a:cxn ang="5400000">
                  <a:pos x="wd2" y="hd2"/>
                </a:cxn>
                <a:cxn ang="10800000">
                  <a:pos x="wd2" y="hd2"/>
                </a:cxn>
                <a:cxn ang="16200000">
                  <a:pos x="wd2" y="hd2"/>
                </a:cxn>
              </a:cxnLst>
              <a:rect l="0" t="0" r="r" b="b"/>
              <a:pathLst>
                <a:path w="17067" h="10439" extrusionOk="0">
                  <a:moveTo>
                    <a:pt x="17067" y="6912"/>
                  </a:moveTo>
                  <a:cubicBezTo>
                    <a:pt x="11667" y="6912"/>
                    <a:pt x="867" y="-3888"/>
                    <a:pt x="867" y="1512"/>
                  </a:cubicBezTo>
                  <a:cubicBezTo>
                    <a:pt x="-4533" y="17712"/>
                    <a:pt x="17067" y="6912"/>
                    <a:pt x="17067" y="6912"/>
                  </a:cubicBezTo>
                  <a:cubicBezTo>
                    <a:pt x="11667" y="6912"/>
                    <a:pt x="17067" y="6912"/>
                    <a:pt x="17067" y="691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2" name="Shape 2211">
              <a:extLst>
                <a:ext uri="{FF2B5EF4-FFF2-40B4-BE49-F238E27FC236}">
                  <a16:creationId xmlns:a16="http://schemas.microsoft.com/office/drawing/2014/main" id="{11736FB2-6C4A-5072-12DE-BDAF0B2A0AAA}"/>
                </a:ext>
              </a:extLst>
            </p:cNvPr>
            <p:cNvSpPr/>
            <p:nvPr/>
          </p:nvSpPr>
          <p:spPr>
            <a:xfrm>
              <a:off x="4930609" y="446804"/>
              <a:ext cx="13486" cy="9539"/>
            </a:xfrm>
            <a:custGeom>
              <a:avLst/>
              <a:gdLst/>
              <a:ahLst/>
              <a:cxnLst>
                <a:cxn ang="0">
                  <a:pos x="wd2" y="hd2"/>
                </a:cxn>
                <a:cxn ang="5400000">
                  <a:pos x="wd2" y="hd2"/>
                </a:cxn>
                <a:cxn ang="10800000">
                  <a:pos x="wd2" y="hd2"/>
                </a:cxn>
                <a:cxn ang="16200000">
                  <a:pos x="wd2" y="hd2"/>
                </a:cxn>
              </a:cxnLst>
              <a:rect l="0" t="0" r="r" b="b"/>
              <a:pathLst>
                <a:path w="21600" h="15274" extrusionOk="0">
                  <a:moveTo>
                    <a:pt x="21600" y="4474"/>
                  </a:moveTo>
                  <a:cubicBezTo>
                    <a:pt x="21600" y="-6326"/>
                    <a:pt x="0" y="4474"/>
                    <a:pt x="0" y="15274"/>
                  </a:cubicBezTo>
                  <a:cubicBezTo>
                    <a:pt x="10800" y="15274"/>
                    <a:pt x="21600" y="15274"/>
                    <a:pt x="21600" y="4474"/>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3" name="Shape 2212">
              <a:extLst>
                <a:ext uri="{FF2B5EF4-FFF2-40B4-BE49-F238E27FC236}">
                  <a16:creationId xmlns:a16="http://schemas.microsoft.com/office/drawing/2014/main" id="{32969D37-EFE8-9F14-9766-A5F8B0221CEF}"/>
                </a:ext>
              </a:extLst>
            </p:cNvPr>
            <p:cNvSpPr/>
            <p:nvPr/>
          </p:nvSpPr>
          <p:spPr>
            <a:xfrm>
              <a:off x="4880622" y="370917"/>
              <a:ext cx="12329" cy="7949"/>
            </a:xfrm>
            <a:custGeom>
              <a:avLst/>
              <a:gdLst/>
              <a:ahLst/>
              <a:cxnLst>
                <a:cxn ang="0">
                  <a:pos x="wd2" y="hd2"/>
                </a:cxn>
                <a:cxn ang="5400000">
                  <a:pos x="wd2" y="hd2"/>
                </a:cxn>
                <a:cxn ang="10800000">
                  <a:pos x="wd2" y="hd2"/>
                </a:cxn>
                <a:cxn ang="16200000">
                  <a:pos x="wd2" y="hd2"/>
                </a:cxn>
              </a:cxnLst>
              <a:rect l="0" t="0" r="r" b="b"/>
              <a:pathLst>
                <a:path w="13165" h="15274" extrusionOk="0">
                  <a:moveTo>
                    <a:pt x="10182" y="0"/>
                  </a:moveTo>
                  <a:cubicBezTo>
                    <a:pt x="2982" y="0"/>
                    <a:pt x="-4218" y="10800"/>
                    <a:pt x="2982" y="10800"/>
                  </a:cubicBezTo>
                  <a:cubicBezTo>
                    <a:pt x="10182" y="21600"/>
                    <a:pt x="17382" y="10800"/>
                    <a:pt x="10182" y="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4" name="Shape 2213">
              <a:extLst>
                <a:ext uri="{FF2B5EF4-FFF2-40B4-BE49-F238E27FC236}">
                  <a16:creationId xmlns:a16="http://schemas.microsoft.com/office/drawing/2014/main" id="{72DFE592-46FB-EC02-98C3-6C1733FA60DE}"/>
                </a:ext>
              </a:extLst>
            </p:cNvPr>
            <p:cNvSpPr/>
            <p:nvPr/>
          </p:nvSpPr>
          <p:spPr>
            <a:xfrm>
              <a:off x="4934924" y="347892"/>
              <a:ext cx="9350" cy="11427"/>
            </a:xfrm>
            <a:custGeom>
              <a:avLst/>
              <a:gdLst/>
              <a:ahLst/>
              <a:cxnLst>
                <a:cxn ang="0">
                  <a:pos x="wd2" y="hd2"/>
                </a:cxn>
                <a:cxn ang="5400000">
                  <a:pos x="wd2" y="hd2"/>
                </a:cxn>
                <a:cxn ang="10800000">
                  <a:pos x="wd2" y="hd2"/>
                </a:cxn>
                <a:cxn ang="16200000">
                  <a:pos x="wd2" y="hd2"/>
                </a:cxn>
              </a:cxnLst>
              <a:rect l="0" t="0" r="r" b="b"/>
              <a:pathLst>
                <a:path w="11232" h="12198" extrusionOk="0">
                  <a:moveTo>
                    <a:pt x="9216" y="2982"/>
                  </a:moveTo>
                  <a:cubicBezTo>
                    <a:pt x="9216" y="-4218"/>
                    <a:pt x="-5184" y="2982"/>
                    <a:pt x="2016" y="10182"/>
                  </a:cubicBezTo>
                  <a:cubicBezTo>
                    <a:pt x="2016" y="17382"/>
                    <a:pt x="16416" y="2982"/>
                    <a:pt x="9216" y="2982"/>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5" name="Shape 2214">
              <a:extLst>
                <a:ext uri="{FF2B5EF4-FFF2-40B4-BE49-F238E27FC236}">
                  <a16:creationId xmlns:a16="http://schemas.microsoft.com/office/drawing/2014/main" id="{D00D68F9-CB20-34E1-49DA-DBC00DE8F2E1}"/>
                </a:ext>
              </a:extLst>
            </p:cNvPr>
            <p:cNvSpPr/>
            <p:nvPr/>
          </p:nvSpPr>
          <p:spPr>
            <a:xfrm>
              <a:off x="3136105" y="476573"/>
              <a:ext cx="28042" cy="4496"/>
            </a:xfrm>
            <a:custGeom>
              <a:avLst/>
              <a:gdLst/>
              <a:ahLst/>
              <a:cxnLst>
                <a:cxn ang="0">
                  <a:pos x="wd2" y="hd2"/>
                </a:cxn>
                <a:cxn ang="5400000">
                  <a:pos x="wd2" y="hd2"/>
                </a:cxn>
                <a:cxn ang="10800000">
                  <a:pos x="wd2" y="hd2"/>
                </a:cxn>
                <a:cxn ang="16200000">
                  <a:pos x="wd2" y="hd2"/>
                </a:cxn>
              </a:cxnLst>
              <a:rect l="0" t="0" r="r" b="b"/>
              <a:pathLst>
                <a:path w="17968" h="21600" extrusionOk="0">
                  <a:moveTo>
                    <a:pt x="17968" y="21600"/>
                  </a:moveTo>
                  <a:cubicBezTo>
                    <a:pt x="13648" y="0"/>
                    <a:pt x="-3632" y="0"/>
                    <a:pt x="688" y="0"/>
                  </a:cubicBezTo>
                  <a:cubicBezTo>
                    <a:pt x="5008" y="21600"/>
                    <a:pt x="17968" y="21600"/>
                    <a:pt x="17968"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6" name="Shape 2215">
              <a:extLst>
                <a:ext uri="{FF2B5EF4-FFF2-40B4-BE49-F238E27FC236}">
                  <a16:creationId xmlns:a16="http://schemas.microsoft.com/office/drawing/2014/main" id="{21D04ECA-B66D-2493-8317-54DA6C1BB637}"/>
                </a:ext>
              </a:extLst>
            </p:cNvPr>
            <p:cNvSpPr/>
            <p:nvPr/>
          </p:nvSpPr>
          <p:spPr>
            <a:xfrm>
              <a:off x="3176557" y="475148"/>
              <a:ext cx="29115" cy="1141"/>
            </a:xfrm>
            <a:prstGeom prst="ellipse">
              <a:avLst/>
            </a:pr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7" name="Shape 2216">
              <a:extLst>
                <a:ext uri="{FF2B5EF4-FFF2-40B4-BE49-F238E27FC236}">
                  <a16:creationId xmlns:a16="http://schemas.microsoft.com/office/drawing/2014/main" id="{4F4ADEEF-AFE8-3E0D-A02D-D731BCC9F632}"/>
                </a:ext>
              </a:extLst>
            </p:cNvPr>
            <p:cNvSpPr/>
            <p:nvPr/>
          </p:nvSpPr>
          <p:spPr>
            <a:xfrm>
              <a:off x="3934402" y="58448"/>
              <a:ext cx="16886" cy="13490"/>
            </a:xfrm>
            <a:custGeom>
              <a:avLst/>
              <a:gdLst/>
              <a:ahLst/>
              <a:cxnLst>
                <a:cxn ang="0">
                  <a:pos x="wd2" y="hd2"/>
                </a:cxn>
                <a:cxn ang="5400000">
                  <a:pos x="wd2" y="hd2"/>
                </a:cxn>
                <a:cxn ang="10800000">
                  <a:pos x="wd2" y="hd2"/>
                </a:cxn>
                <a:cxn ang="16200000">
                  <a:pos x="wd2" y="hd2"/>
                </a:cxn>
              </a:cxnLst>
              <a:rect l="0" t="0" r="r" b="b"/>
              <a:pathLst>
                <a:path w="13524" h="21600" extrusionOk="0">
                  <a:moveTo>
                    <a:pt x="11287" y="21600"/>
                  </a:moveTo>
                  <a:cubicBezTo>
                    <a:pt x="487" y="21600"/>
                    <a:pt x="-4913" y="0"/>
                    <a:pt x="5887" y="0"/>
                  </a:cubicBezTo>
                  <a:cubicBezTo>
                    <a:pt x="11287" y="0"/>
                    <a:pt x="16687" y="21600"/>
                    <a:pt x="11287" y="21600"/>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sp>
          <p:nvSpPr>
            <p:cNvPr id="398" name="Shape 2217">
              <a:extLst>
                <a:ext uri="{FF2B5EF4-FFF2-40B4-BE49-F238E27FC236}">
                  <a16:creationId xmlns:a16="http://schemas.microsoft.com/office/drawing/2014/main" id="{9240012D-F94C-CF8A-0982-8326E3B3A5C4}"/>
                </a:ext>
              </a:extLst>
            </p:cNvPr>
            <p:cNvSpPr/>
            <p:nvPr/>
          </p:nvSpPr>
          <p:spPr>
            <a:xfrm>
              <a:off x="1121247" y="1675778"/>
              <a:ext cx="60682" cy="68474"/>
            </a:xfrm>
            <a:custGeom>
              <a:avLst/>
              <a:gdLst/>
              <a:ahLst/>
              <a:cxnLst>
                <a:cxn ang="0">
                  <a:pos x="wd2" y="hd2"/>
                </a:cxn>
                <a:cxn ang="5400000">
                  <a:pos x="wd2" y="hd2"/>
                </a:cxn>
                <a:cxn ang="10800000">
                  <a:pos x="wd2" y="hd2"/>
                </a:cxn>
                <a:cxn ang="16200000">
                  <a:pos x="wd2" y="hd2"/>
                </a:cxn>
              </a:cxnLst>
              <a:rect l="0" t="0" r="r" b="b"/>
              <a:pathLst>
                <a:path w="21600" h="18798" extrusionOk="0">
                  <a:moveTo>
                    <a:pt x="21600" y="18278"/>
                  </a:moveTo>
                  <a:cubicBezTo>
                    <a:pt x="19200" y="12878"/>
                    <a:pt x="16800" y="5678"/>
                    <a:pt x="12000" y="2078"/>
                  </a:cubicBezTo>
                  <a:cubicBezTo>
                    <a:pt x="9600" y="278"/>
                    <a:pt x="7200" y="-1522"/>
                    <a:pt x="4800" y="2078"/>
                  </a:cubicBezTo>
                  <a:cubicBezTo>
                    <a:pt x="4800" y="2078"/>
                    <a:pt x="0" y="2078"/>
                    <a:pt x="0" y="3878"/>
                  </a:cubicBezTo>
                  <a:cubicBezTo>
                    <a:pt x="2400" y="5678"/>
                    <a:pt x="7200" y="3878"/>
                    <a:pt x="7200" y="7478"/>
                  </a:cubicBezTo>
                  <a:cubicBezTo>
                    <a:pt x="7200" y="9278"/>
                    <a:pt x="7200" y="9278"/>
                    <a:pt x="7200" y="11078"/>
                  </a:cubicBezTo>
                  <a:cubicBezTo>
                    <a:pt x="7200" y="12878"/>
                    <a:pt x="9600" y="11078"/>
                    <a:pt x="9600" y="11078"/>
                  </a:cubicBezTo>
                  <a:cubicBezTo>
                    <a:pt x="12000" y="12878"/>
                    <a:pt x="7200" y="12878"/>
                    <a:pt x="7200" y="12878"/>
                  </a:cubicBezTo>
                  <a:cubicBezTo>
                    <a:pt x="7200" y="14678"/>
                    <a:pt x="12000" y="18278"/>
                    <a:pt x="14400" y="18278"/>
                  </a:cubicBezTo>
                  <a:cubicBezTo>
                    <a:pt x="14400" y="18278"/>
                    <a:pt x="4800" y="11078"/>
                    <a:pt x="14400" y="14678"/>
                  </a:cubicBezTo>
                  <a:cubicBezTo>
                    <a:pt x="16800" y="14678"/>
                    <a:pt x="21600" y="20078"/>
                    <a:pt x="21600" y="18278"/>
                  </a:cubicBezTo>
                  <a:cubicBezTo>
                    <a:pt x="19200" y="16478"/>
                    <a:pt x="21600" y="20078"/>
                    <a:pt x="21600" y="18278"/>
                  </a:cubicBezTo>
                  <a:close/>
                </a:path>
              </a:pathLst>
            </a:custGeom>
            <a:grpFill/>
            <a:ln w="3175" cap="flat">
              <a:solidFill>
                <a:schemeClr val="bg1"/>
              </a:solidFill>
              <a:prstDash val="solid"/>
              <a:round/>
            </a:ln>
            <a:effectLst/>
          </p:spPr>
          <p:txBody>
            <a:bodyPr lIns="22860" tIns="22860" rIns="22860" bIns="22860"/>
            <a:lstStyle/>
            <a:p>
              <a:pPr defTabSz="914217">
                <a:defRPr sz="3600">
                  <a:solidFill>
                    <a:srgbClr val="7F7F7F"/>
                  </a:solidFill>
                  <a:latin typeface="Lato Light"/>
                  <a:ea typeface="Lato Light"/>
                  <a:cs typeface="Lato Light"/>
                  <a:sym typeface="Lato Light"/>
                </a:defRPr>
              </a:pPr>
              <a:endParaRPr sz="3600" b="0" i="0">
                <a:solidFill>
                  <a:srgbClr val="7F7F7F"/>
                </a:solidFill>
                <a:latin typeface="DM Sans" pitchFamily="2" charset="77"/>
                <a:ea typeface="Lato Light"/>
                <a:cs typeface="Lato Light"/>
                <a:sym typeface="Lato Light"/>
              </a:endParaRPr>
            </a:p>
          </p:txBody>
        </p:sp>
      </p:grpSp>
      <p:sp>
        <p:nvSpPr>
          <p:cNvPr id="3" name="Title 2">
            <a:extLst>
              <a:ext uri="{FF2B5EF4-FFF2-40B4-BE49-F238E27FC236}">
                <a16:creationId xmlns:a16="http://schemas.microsoft.com/office/drawing/2014/main" id="{6D236EBC-3065-C295-EBA0-85FD10C36AD8}"/>
              </a:ext>
            </a:extLst>
          </p:cNvPr>
          <p:cNvSpPr>
            <a:spLocks noGrp="1"/>
          </p:cNvSpPr>
          <p:nvPr>
            <p:ph type="title" hasCustomPrompt="1"/>
          </p:nvPr>
        </p:nvSpPr>
        <p:spPr/>
        <p:txBody>
          <a:bodyPr/>
          <a:lstStyle>
            <a:lvl1pPr algn="ctr">
              <a:defRPr/>
            </a:lvl1pPr>
          </a:lstStyle>
          <a:p>
            <a:r>
              <a:rPr lang="en-US"/>
              <a:t>Map of the World</a:t>
            </a:r>
          </a:p>
        </p:txBody>
      </p:sp>
      <p:pic>
        <p:nvPicPr>
          <p:cNvPr id="400" name="Picture 5">
            <a:extLst>
              <a:ext uri="{FF2B5EF4-FFF2-40B4-BE49-F238E27FC236}">
                <a16:creationId xmlns:a16="http://schemas.microsoft.com/office/drawing/2014/main" id="{67BB0712-39C3-16EC-6C8D-B02279B92399}"/>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185435265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Map of Europ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oup 2269">
            <a:extLst>
              <a:ext uri="{FF2B5EF4-FFF2-40B4-BE49-F238E27FC236}">
                <a16:creationId xmlns:a16="http://schemas.microsoft.com/office/drawing/2014/main" id="{803673F8-81A0-EB63-2B74-D7BB4CB7862B}"/>
              </a:ext>
            </a:extLst>
          </p:cNvPr>
          <p:cNvGrpSpPr/>
          <p:nvPr userDrawn="1"/>
        </p:nvGrpSpPr>
        <p:grpSpPr>
          <a:xfrm>
            <a:off x="4908177" y="0"/>
            <a:ext cx="7283823" cy="5327374"/>
            <a:chOff x="0" y="0"/>
            <a:chExt cx="11252248" cy="8229872"/>
          </a:xfrm>
          <a:solidFill>
            <a:schemeClr val="accent5"/>
          </a:solidFill>
        </p:grpSpPr>
        <p:sp>
          <p:nvSpPr>
            <p:cNvPr id="400" name="Shape 2223">
              <a:extLst>
                <a:ext uri="{FF2B5EF4-FFF2-40B4-BE49-F238E27FC236}">
                  <a16:creationId xmlns:a16="http://schemas.microsoft.com/office/drawing/2014/main" id="{3D3B0381-7BDC-0A83-5041-09690B08C302}"/>
                </a:ext>
              </a:extLst>
            </p:cNvPr>
            <p:cNvSpPr/>
            <p:nvPr/>
          </p:nvSpPr>
          <p:spPr>
            <a:xfrm>
              <a:off x="4947594" y="3994427"/>
              <a:ext cx="419046" cy="209554"/>
            </a:xfrm>
            <a:custGeom>
              <a:avLst/>
              <a:gdLst/>
              <a:ahLst/>
              <a:cxnLst>
                <a:cxn ang="0">
                  <a:pos x="wd2" y="hd2"/>
                </a:cxn>
                <a:cxn ang="5400000">
                  <a:pos x="wd2" y="hd2"/>
                </a:cxn>
                <a:cxn ang="10800000">
                  <a:pos x="wd2" y="hd2"/>
                </a:cxn>
                <a:cxn ang="16200000">
                  <a:pos x="wd2" y="hd2"/>
                </a:cxn>
              </a:cxnLst>
              <a:rect l="0" t="0" r="r" b="b"/>
              <a:pathLst>
                <a:path w="21075" h="20968" extrusionOk="0">
                  <a:moveTo>
                    <a:pt x="8613" y="115"/>
                  </a:moveTo>
                  <a:cubicBezTo>
                    <a:pt x="9444" y="1315"/>
                    <a:pt x="9444" y="1315"/>
                    <a:pt x="9444" y="1315"/>
                  </a:cubicBezTo>
                  <a:cubicBezTo>
                    <a:pt x="10067" y="1715"/>
                    <a:pt x="10067" y="1715"/>
                    <a:pt x="10067" y="1715"/>
                  </a:cubicBezTo>
                  <a:cubicBezTo>
                    <a:pt x="11313" y="2915"/>
                    <a:pt x="11313" y="2915"/>
                    <a:pt x="11313" y="2915"/>
                  </a:cubicBezTo>
                  <a:cubicBezTo>
                    <a:pt x="13806" y="3315"/>
                    <a:pt x="13806" y="3315"/>
                    <a:pt x="13806" y="3315"/>
                  </a:cubicBezTo>
                  <a:cubicBezTo>
                    <a:pt x="14221" y="2515"/>
                    <a:pt x="14221" y="2515"/>
                    <a:pt x="14221" y="2515"/>
                  </a:cubicBezTo>
                  <a:cubicBezTo>
                    <a:pt x="15052" y="2115"/>
                    <a:pt x="15052" y="2115"/>
                    <a:pt x="15052" y="2115"/>
                  </a:cubicBezTo>
                  <a:cubicBezTo>
                    <a:pt x="16506" y="1315"/>
                    <a:pt x="16506" y="1315"/>
                    <a:pt x="16506" y="1315"/>
                  </a:cubicBezTo>
                  <a:cubicBezTo>
                    <a:pt x="17129" y="2915"/>
                    <a:pt x="17129" y="2915"/>
                    <a:pt x="17129" y="2915"/>
                  </a:cubicBezTo>
                  <a:cubicBezTo>
                    <a:pt x="17544" y="2915"/>
                    <a:pt x="17544" y="2915"/>
                    <a:pt x="17544" y="2915"/>
                  </a:cubicBezTo>
                  <a:cubicBezTo>
                    <a:pt x="17544" y="2915"/>
                    <a:pt x="17960" y="3715"/>
                    <a:pt x="18375" y="4515"/>
                  </a:cubicBezTo>
                  <a:cubicBezTo>
                    <a:pt x="18583" y="5315"/>
                    <a:pt x="18998" y="5715"/>
                    <a:pt x="18998" y="5715"/>
                  </a:cubicBezTo>
                  <a:cubicBezTo>
                    <a:pt x="18583" y="8515"/>
                    <a:pt x="18583" y="8515"/>
                    <a:pt x="18583" y="8515"/>
                  </a:cubicBezTo>
                  <a:cubicBezTo>
                    <a:pt x="18583" y="9715"/>
                    <a:pt x="18583" y="9715"/>
                    <a:pt x="18583" y="9715"/>
                  </a:cubicBezTo>
                  <a:cubicBezTo>
                    <a:pt x="18583" y="13715"/>
                    <a:pt x="18583" y="13715"/>
                    <a:pt x="18583" y="13715"/>
                  </a:cubicBezTo>
                  <a:cubicBezTo>
                    <a:pt x="19206" y="15315"/>
                    <a:pt x="19206" y="15315"/>
                    <a:pt x="19206" y="15315"/>
                  </a:cubicBezTo>
                  <a:cubicBezTo>
                    <a:pt x="19206" y="15715"/>
                    <a:pt x="19206" y="15715"/>
                    <a:pt x="19206" y="15715"/>
                  </a:cubicBezTo>
                  <a:cubicBezTo>
                    <a:pt x="20037" y="15315"/>
                    <a:pt x="20037" y="15315"/>
                    <a:pt x="20037" y="15315"/>
                  </a:cubicBezTo>
                  <a:cubicBezTo>
                    <a:pt x="20037" y="15315"/>
                    <a:pt x="20244" y="15315"/>
                    <a:pt x="20244" y="14915"/>
                  </a:cubicBezTo>
                  <a:cubicBezTo>
                    <a:pt x="20244" y="15315"/>
                    <a:pt x="20037" y="15315"/>
                    <a:pt x="20037" y="15315"/>
                  </a:cubicBezTo>
                  <a:cubicBezTo>
                    <a:pt x="18167" y="16115"/>
                    <a:pt x="18167" y="16115"/>
                    <a:pt x="18167" y="16115"/>
                  </a:cubicBezTo>
                  <a:cubicBezTo>
                    <a:pt x="16506" y="18115"/>
                    <a:pt x="16506" y="18115"/>
                    <a:pt x="16506" y="18115"/>
                  </a:cubicBezTo>
                  <a:cubicBezTo>
                    <a:pt x="16506" y="18115"/>
                    <a:pt x="12560" y="18915"/>
                    <a:pt x="12144" y="18915"/>
                  </a:cubicBezTo>
                  <a:cubicBezTo>
                    <a:pt x="11937" y="18915"/>
                    <a:pt x="9444" y="19315"/>
                    <a:pt x="9029" y="19315"/>
                  </a:cubicBezTo>
                  <a:cubicBezTo>
                    <a:pt x="8821" y="19715"/>
                    <a:pt x="7575" y="20115"/>
                    <a:pt x="7160" y="20115"/>
                  </a:cubicBezTo>
                  <a:cubicBezTo>
                    <a:pt x="6744" y="20115"/>
                    <a:pt x="4875" y="20515"/>
                    <a:pt x="4460" y="20515"/>
                  </a:cubicBezTo>
                  <a:cubicBezTo>
                    <a:pt x="4044" y="20515"/>
                    <a:pt x="3006" y="20515"/>
                    <a:pt x="3006" y="20515"/>
                  </a:cubicBezTo>
                  <a:cubicBezTo>
                    <a:pt x="3006" y="20515"/>
                    <a:pt x="929" y="20915"/>
                    <a:pt x="306" y="20915"/>
                  </a:cubicBezTo>
                  <a:cubicBezTo>
                    <a:pt x="-317" y="21315"/>
                    <a:pt x="513" y="19315"/>
                    <a:pt x="513" y="19315"/>
                  </a:cubicBezTo>
                  <a:cubicBezTo>
                    <a:pt x="513" y="19315"/>
                    <a:pt x="3006" y="15315"/>
                    <a:pt x="2175" y="15715"/>
                  </a:cubicBezTo>
                  <a:cubicBezTo>
                    <a:pt x="1137" y="14915"/>
                    <a:pt x="1137" y="14915"/>
                    <a:pt x="1137" y="14915"/>
                  </a:cubicBezTo>
                  <a:cubicBezTo>
                    <a:pt x="306" y="13715"/>
                    <a:pt x="306" y="13715"/>
                    <a:pt x="306" y="13715"/>
                  </a:cubicBezTo>
                  <a:cubicBezTo>
                    <a:pt x="-525" y="10115"/>
                    <a:pt x="513" y="8515"/>
                    <a:pt x="1344" y="8515"/>
                  </a:cubicBezTo>
                  <a:cubicBezTo>
                    <a:pt x="1967" y="8515"/>
                    <a:pt x="3629" y="9715"/>
                    <a:pt x="4667" y="9715"/>
                  </a:cubicBezTo>
                  <a:cubicBezTo>
                    <a:pt x="8406" y="9715"/>
                    <a:pt x="7575" y="7315"/>
                    <a:pt x="7367" y="2915"/>
                  </a:cubicBezTo>
                  <a:cubicBezTo>
                    <a:pt x="7367" y="1715"/>
                    <a:pt x="7575" y="515"/>
                    <a:pt x="7783" y="115"/>
                  </a:cubicBezTo>
                  <a:cubicBezTo>
                    <a:pt x="7990" y="-285"/>
                    <a:pt x="8406" y="515"/>
                    <a:pt x="8613" y="115"/>
                  </a:cubicBezTo>
                  <a:close/>
                  <a:moveTo>
                    <a:pt x="20660" y="14515"/>
                  </a:moveTo>
                  <a:cubicBezTo>
                    <a:pt x="20660" y="14515"/>
                    <a:pt x="20660" y="14515"/>
                    <a:pt x="20660" y="14515"/>
                  </a:cubicBezTo>
                  <a:cubicBezTo>
                    <a:pt x="20660" y="14515"/>
                    <a:pt x="20660" y="14515"/>
                    <a:pt x="20660" y="14515"/>
                  </a:cubicBezTo>
                  <a:cubicBezTo>
                    <a:pt x="20660" y="14915"/>
                    <a:pt x="20660" y="14915"/>
                    <a:pt x="20660" y="14915"/>
                  </a:cubicBezTo>
                  <a:cubicBezTo>
                    <a:pt x="20660" y="14515"/>
                    <a:pt x="20660" y="14515"/>
                    <a:pt x="20660" y="14515"/>
                  </a:cubicBezTo>
                  <a:cubicBezTo>
                    <a:pt x="20660" y="14515"/>
                    <a:pt x="20660" y="14515"/>
                    <a:pt x="20660" y="14515"/>
                  </a:cubicBezTo>
                  <a:close/>
                  <a:moveTo>
                    <a:pt x="20660" y="14915"/>
                  </a:moveTo>
                  <a:cubicBezTo>
                    <a:pt x="20660" y="14915"/>
                    <a:pt x="20660" y="14915"/>
                    <a:pt x="20660" y="14915"/>
                  </a:cubicBezTo>
                  <a:cubicBezTo>
                    <a:pt x="20867" y="15315"/>
                    <a:pt x="21075" y="16115"/>
                    <a:pt x="21075" y="16515"/>
                  </a:cubicBezTo>
                  <a:cubicBezTo>
                    <a:pt x="21075" y="16515"/>
                    <a:pt x="21075" y="16515"/>
                    <a:pt x="21075" y="16515"/>
                  </a:cubicBezTo>
                  <a:cubicBezTo>
                    <a:pt x="21075" y="16115"/>
                    <a:pt x="20867" y="15315"/>
                    <a:pt x="20660" y="14915"/>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1" name="Shape 2224">
              <a:extLst>
                <a:ext uri="{FF2B5EF4-FFF2-40B4-BE49-F238E27FC236}">
                  <a16:creationId xmlns:a16="http://schemas.microsoft.com/office/drawing/2014/main" id="{0BDE21CC-0D2C-806B-4BB6-7E5CAD1E3C0A}"/>
                </a:ext>
              </a:extLst>
            </p:cNvPr>
            <p:cNvSpPr/>
            <p:nvPr/>
          </p:nvSpPr>
          <p:spPr>
            <a:xfrm>
              <a:off x="5378077" y="6561722"/>
              <a:ext cx="306705" cy="307130"/>
            </a:xfrm>
            <a:custGeom>
              <a:avLst/>
              <a:gdLst/>
              <a:ahLst/>
              <a:cxnLst>
                <a:cxn ang="0">
                  <a:pos x="wd2" y="hd2"/>
                </a:cxn>
                <a:cxn ang="5400000">
                  <a:pos x="wd2" y="hd2"/>
                </a:cxn>
                <a:cxn ang="10800000">
                  <a:pos x="wd2" y="hd2"/>
                </a:cxn>
                <a:cxn ang="16200000">
                  <a:pos x="wd2" y="hd2"/>
                </a:cxn>
              </a:cxnLst>
              <a:rect l="0" t="0" r="r" b="b"/>
              <a:pathLst>
                <a:path w="21357" h="21247" extrusionOk="0">
                  <a:moveTo>
                    <a:pt x="20205" y="13093"/>
                  </a:moveTo>
                  <a:cubicBezTo>
                    <a:pt x="19917" y="13370"/>
                    <a:pt x="19917" y="13370"/>
                    <a:pt x="19917" y="13370"/>
                  </a:cubicBezTo>
                  <a:cubicBezTo>
                    <a:pt x="18765" y="13924"/>
                    <a:pt x="17325" y="13370"/>
                    <a:pt x="17037" y="15309"/>
                  </a:cubicBezTo>
                  <a:cubicBezTo>
                    <a:pt x="17037" y="18632"/>
                    <a:pt x="15885" y="15309"/>
                    <a:pt x="14733" y="15309"/>
                  </a:cubicBezTo>
                  <a:cubicBezTo>
                    <a:pt x="13869" y="15309"/>
                    <a:pt x="13869" y="15863"/>
                    <a:pt x="13293" y="16416"/>
                  </a:cubicBezTo>
                  <a:cubicBezTo>
                    <a:pt x="12429" y="16970"/>
                    <a:pt x="11565" y="17247"/>
                    <a:pt x="11277" y="17801"/>
                  </a:cubicBezTo>
                  <a:cubicBezTo>
                    <a:pt x="11277" y="18355"/>
                    <a:pt x="10989" y="18909"/>
                    <a:pt x="10989" y="19463"/>
                  </a:cubicBezTo>
                  <a:cubicBezTo>
                    <a:pt x="11277" y="20293"/>
                    <a:pt x="11277" y="21124"/>
                    <a:pt x="10701" y="21124"/>
                  </a:cubicBezTo>
                  <a:cubicBezTo>
                    <a:pt x="10413" y="21124"/>
                    <a:pt x="9549" y="21401"/>
                    <a:pt x="8973" y="21124"/>
                  </a:cubicBezTo>
                  <a:cubicBezTo>
                    <a:pt x="8973" y="20847"/>
                    <a:pt x="8973" y="20847"/>
                    <a:pt x="8973" y="20847"/>
                  </a:cubicBezTo>
                  <a:cubicBezTo>
                    <a:pt x="9261" y="20016"/>
                    <a:pt x="9261" y="20016"/>
                    <a:pt x="9261" y="20016"/>
                  </a:cubicBezTo>
                  <a:cubicBezTo>
                    <a:pt x="8685" y="19186"/>
                    <a:pt x="8685" y="19186"/>
                    <a:pt x="8685" y="19186"/>
                  </a:cubicBezTo>
                  <a:cubicBezTo>
                    <a:pt x="8685" y="19186"/>
                    <a:pt x="8685" y="19186"/>
                    <a:pt x="8685" y="18909"/>
                  </a:cubicBezTo>
                  <a:cubicBezTo>
                    <a:pt x="8397" y="18632"/>
                    <a:pt x="8397" y="18078"/>
                    <a:pt x="8397" y="18078"/>
                  </a:cubicBezTo>
                  <a:cubicBezTo>
                    <a:pt x="8109" y="17247"/>
                    <a:pt x="8109" y="17247"/>
                    <a:pt x="8109" y="17247"/>
                  </a:cubicBezTo>
                  <a:cubicBezTo>
                    <a:pt x="8109" y="17247"/>
                    <a:pt x="7533" y="16693"/>
                    <a:pt x="7245" y="16416"/>
                  </a:cubicBezTo>
                  <a:cubicBezTo>
                    <a:pt x="7245" y="16416"/>
                    <a:pt x="7245" y="16139"/>
                    <a:pt x="6669" y="15863"/>
                  </a:cubicBezTo>
                  <a:cubicBezTo>
                    <a:pt x="6381" y="15863"/>
                    <a:pt x="5805" y="15586"/>
                    <a:pt x="5805" y="15586"/>
                  </a:cubicBezTo>
                  <a:cubicBezTo>
                    <a:pt x="5517" y="15586"/>
                    <a:pt x="5517" y="15586"/>
                    <a:pt x="5517" y="15586"/>
                  </a:cubicBezTo>
                  <a:cubicBezTo>
                    <a:pt x="5517" y="15586"/>
                    <a:pt x="5229" y="15586"/>
                    <a:pt x="5229" y="15586"/>
                  </a:cubicBezTo>
                  <a:cubicBezTo>
                    <a:pt x="4653" y="15032"/>
                    <a:pt x="4653" y="15032"/>
                    <a:pt x="4653" y="15032"/>
                  </a:cubicBezTo>
                  <a:cubicBezTo>
                    <a:pt x="4077" y="15032"/>
                    <a:pt x="4077" y="15032"/>
                    <a:pt x="4077" y="15032"/>
                  </a:cubicBezTo>
                  <a:cubicBezTo>
                    <a:pt x="3789" y="14201"/>
                    <a:pt x="3789" y="14201"/>
                    <a:pt x="3789" y="14201"/>
                  </a:cubicBezTo>
                  <a:cubicBezTo>
                    <a:pt x="3501" y="13370"/>
                    <a:pt x="3501" y="13370"/>
                    <a:pt x="3501" y="13370"/>
                  </a:cubicBezTo>
                  <a:cubicBezTo>
                    <a:pt x="2925" y="12816"/>
                    <a:pt x="2925" y="12816"/>
                    <a:pt x="2925" y="12816"/>
                  </a:cubicBezTo>
                  <a:cubicBezTo>
                    <a:pt x="2349" y="12539"/>
                    <a:pt x="2349" y="12539"/>
                    <a:pt x="2349" y="12539"/>
                  </a:cubicBezTo>
                  <a:cubicBezTo>
                    <a:pt x="2061" y="12263"/>
                    <a:pt x="2061" y="12263"/>
                    <a:pt x="2061" y="12263"/>
                  </a:cubicBezTo>
                  <a:cubicBezTo>
                    <a:pt x="1485" y="11986"/>
                    <a:pt x="1485" y="11986"/>
                    <a:pt x="1485" y="11986"/>
                  </a:cubicBezTo>
                  <a:cubicBezTo>
                    <a:pt x="1197" y="11432"/>
                    <a:pt x="1773" y="10878"/>
                    <a:pt x="1485" y="10324"/>
                  </a:cubicBezTo>
                  <a:cubicBezTo>
                    <a:pt x="909" y="9770"/>
                    <a:pt x="-243" y="9216"/>
                    <a:pt x="45" y="9216"/>
                  </a:cubicBezTo>
                  <a:cubicBezTo>
                    <a:pt x="333" y="8663"/>
                    <a:pt x="1485" y="8939"/>
                    <a:pt x="2061" y="8663"/>
                  </a:cubicBezTo>
                  <a:cubicBezTo>
                    <a:pt x="2349" y="8663"/>
                    <a:pt x="2349" y="8109"/>
                    <a:pt x="2637" y="7832"/>
                  </a:cubicBezTo>
                  <a:cubicBezTo>
                    <a:pt x="2925" y="7832"/>
                    <a:pt x="3501" y="8109"/>
                    <a:pt x="3501" y="7555"/>
                  </a:cubicBezTo>
                  <a:cubicBezTo>
                    <a:pt x="3501" y="7001"/>
                    <a:pt x="4077" y="7001"/>
                    <a:pt x="4365" y="7278"/>
                  </a:cubicBezTo>
                  <a:cubicBezTo>
                    <a:pt x="4365" y="7278"/>
                    <a:pt x="4653" y="7278"/>
                    <a:pt x="5229" y="6724"/>
                  </a:cubicBezTo>
                  <a:cubicBezTo>
                    <a:pt x="6093" y="6447"/>
                    <a:pt x="5517" y="6447"/>
                    <a:pt x="5517" y="6447"/>
                  </a:cubicBezTo>
                  <a:cubicBezTo>
                    <a:pt x="5229" y="5616"/>
                    <a:pt x="5229" y="5616"/>
                    <a:pt x="5229" y="5616"/>
                  </a:cubicBezTo>
                  <a:cubicBezTo>
                    <a:pt x="6957" y="3955"/>
                    <a:pt x="6957" y="3955"/>
                    <a:pt x="6957" y="3955"/>
                  </a:cubicBezTo>
                  <a:cubicBezTo>
                    <a:pt x="7245" y="2570"/>
                    <a:pt x="7245" y="2570"/>
                    <a:pt x="7245" y="2570"/>
                  </a:cubicBezTo>
                  <a:cubicBezTo>
                    <a:pt x="7245" y="2570"/>
                    <a:pt x="6957" y="2293"/>
                    <a:pt x="6669" y="2016"/>
                  </a:cubicBezTo>
                  <a:cubicBezTo>
                    <a:pt x="6093" y="1463"/>
                    <a:pt x="6381" y="1463"/>
                    <a:pt x="6381" y="1186"/>
                  </a:cubicBezTo>
                  <a:cubicBezTo>
                    <a:pt x="6669" y="909"/>
                    <a:pt x="6957" y="909"/>
                    <a:pt x="6957" y="909"/>
                  </a:cubicBezTo>
                  <a:cubicBezTo>
                    <a:pt x="7245" y="632"/>
                    <a:pt x="7821" y="632"/>
                    <a:pt x="8397" y="78"/>
                  </a:cubicBezTo>
                  <a:cubicBezTo>
                    <a:pt x="8973" y="-199"/>
                    <a:pt x="8973" y="355"/>
                    <a:pt x="8973" y="355"/>
                  </a:cubicBezTo>
                  <a:cubicBezTo>
                    <a:pt x="8973" y="355"/>
                    <a:pt x="9261" y="1186"/>
                    <a:pt x="10125" y="1463"/>
                  </a:cubicBezTo>
                  <a:cubicBezTo>
                    <a:pt x="10701" y="1739"/>
                    <a:pt x="10989" y="1739"/>
                    <a:pt x="10989" y="1739"/>
                  </a:cubicBezTo>
                  <a:cubicBezTo>
                    <a:pt x="11853" y="1739"/>
                    <a:pt x="11853" y="1739"/>
                    <a:pt x="11853" y="1739"/>
                  </a:cubicBezTo>
                  <a:cubicBezTo>
                    <a:pt x="13293" y="2847"/>
                    <a:pt x="13293" y="2847"/>
                    <a:pt x="13293" y="2847"/>
                  </a:cubicBezTo>
                  <a:cubicBezTo>
                    <a:pt x="13293" y="2847"/>
                    <a:pt x="13293" y="2847"/>
                    <a:pt x="13581" y="3124"/>
                  </a:cubicBezTo>
                  <a:cubicBezTo>
                    <a:pt x="13869" y="3401"/>
                    <a:pt x="14157" y="4509"/>
                    <a:pt x="14157" y="4509"/>
                  </a:cubicBezTo>
                  <a:cubicBezTo>
                    <a:pt x="16461" y="5063"/>
                    <a:pt x="16461" y="5063"/>
                    <a:pt x="16461" y="5063"/>
                  </a:cubicBezTo>
                  <a:cubicBezTo>
                    <a:pt x="16749" y="6170"/>
                    <a:pt x="16749" y="6170"/>
                    <a:pt x="16749" y="6170"/>
                  </a:cubicBezTo>
                  <a:cubicBezTo>
                    <a:pt x="16749" y="6170"/>
                    <a:pt x="17901" y="6170"/>
                    <a:pt x="18477" y="6447"/>
                  </a:cubicBezTo>
                  <a:cubicBezTo>
                    <a:pt x="19053" y="6447"/>
                    <a:pt x="19053" y="7001"/>
                    <a:pt x="19053" y="7001"/>
                  </a:cubicBezTo>
                  <a:cubicBezTo>
                    <a:pt x="19917" y="6724"/>
                    <a:pt x="19917" y="6724"/>
                    <a:pt x="19917" y="6724"/>
                  </a:cubicBezTo>
                  <a:cubicBezTo>
                    <a:pt x="21357" y="7001"/>
                    <a:pt x="21357" y="7001"/>
                    <a:pt x="21357" y="7001"/>
                  </a:cubicBezTo>
                  <a:cubicBezTo>
                    <a:pt x="21357" y="7001"/>
                    <a:pt x="21357" y="7278"/>
                    <a:pt x="21069" y="7555"/>
                  </a:cubicBezTo>
                  <a:cubicBezTo>
                    <a:pt x="20781" y="7555"/>
                    <a:pt x="20781" y="8109"/>
                    <a:pt x="20781" y="8386"/>
                  </a:cubicBezTo>
                  <a:cubicBezTo>
                    <a:pt x="20781" y="8939"/>
                    <a:pt x="20781" y="9216"/>
                    <a:pt x="20781" y="9493"/>
                  </a:cubicBezTo>
                  <a:cubicBezTo>
                    <a:pt x="20493" y="10047"/>
                    <a:pt x="20205" y="9770"/>
                    <a:pt x="19917" y="10047"/>
                  </a:cubicBezTo>
                  <a:cubicBezTo>
                    <a:pt x="19629" y="10047"/>
                    <a:pt x="19917" y="10601"/>
                    <a:pt x="20205" y="11155"/>
                  </a:cubicBezTo>
                  <a:cubicBezTo>
                    <a:pt x="20205" y="11432"/>
                    <a:pt x="20205" y="11432"/>
                    <a:pt x="19917" y="11709"/>
                  </a:cubicBezTo>
                  <a:cubicBezTo>
                    <a:pt x="19341" y="12263"/>
                    <a:pt x="19053" y="12263"/>
                    <a:pt x="19053" y="12263"/>
                  </a:cubicBezTo>
                  <a:cubicBezTo>
                    <a:pt x="19917" y="13093"/>
                    <a:pt x="19917" y="13093"/>
                    <a:pt x="19917" y="13093"/>
                  </a:cubicBezTo>
                  <a:cubicBezTo>
                    <a:pt x="19917" y="13093"/>
                    <a:pt x="19917" y="13093"/>
                    <a:pt x="20205" y="1309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2" name="Shape 2225">
              <a:extLst>
                <a:ext uri="{FF2B5EF4-FFF2-40B4-BE49-F238E27FC236}">
                  <a16:creationId xmlns:a16="http://schemas.microsoft.com/office/drawing/2014/main" id="{0F0D96CD-9B4A-2A6F-A238-59F040D6639F}"/>
                </a:ext>
              </a:extLst>
            </p:cNvPr>
            <p:cNvSpPr/>
            <p:nvPr/>
          </p:nvSpPr>
          <p:spPr>
            <a:xfrm>
              <a:off x="5281139" y="6718812"/>
              <a:ext cx="347669" cy="639888"/>
            </a:xfrm>
            <a:custGeom>
              <a:avLst/>
              <a:gdLst/>
              <a:ahLst/>
              <a:cxnLst>
                <a:cxn ang="0">
                  <a:pos x="wd2" y="hd2"/>
                </a:cxn>
                <a:cxn ang="5400000">
                  <a:pos x="wd2" y="hd2"/>
                </a:cxn>
                <a:cxn ang="10800000">
                  <a:pos x="wd2" y="hd2"/>
                </a:cxn>
                <a:cxn ang="16200000">
                  <a:pos x="wd2" y="hd2"/>
                </a:cxn>
              </a:cxnLst>
              <a:rect l="0" t="0" r="r" b="b"/>
              <a:pathLst>
                <a:path w="21459" h="21600" extrusionOk="0">
                  <a:moveTo>
                    <a:pt x="12452" y="21330"/>
                  </a:moveTo>
                  <a:cubicBezTo>
                    <a:pt x="13214" y="21600"/>
                    <a:pt x="13214" y="21600"/>
                    <a:pt x="13214" y="21600"/>
                  </a:cubicBezTo>
                  <a:cubicBezTo>
                    <a:pt x="13976" y="21465"/>
                    <a:pt x="13976" y="21465"/>
                    <a:pt x="13976" y="21465"/>
                  </a:cubicBezTo>
                  <a:cubicBezTo>
                    <a:pt x="14485" y="21330"/>
                    <a:pt x="14485" y="21330"/>
                    <a:pt x="14485" y="21330"/>
                  </a:cubicBezTo>
                  <a:cubicBezTo>
                    <a:pt x="14485" y="21330"/>
                    <a:pt x="14993" y="21060"/>
                    <a:pt x="14993" y="21060"/>
                  </a:cubicBezTo>
                  <a:cubicBezTo>
                    <a:pt x="14993" y="21060"/>
                    <a:pt x="14993" y="20790"/>
                    <a:pt x="14993" y="20790"/>
                  </a:cubicBezTo>
                  <a:cubicBezTo>
                    <a:pt x="14739" y="20655"/>
                    <a:pt x="14739" y="20655"/>
                    <a:pt x="14739" y="20655"/>
                  </a:cubicBezTo>
                  <a:cubicBezTo>
                    <a:pt x="14739" y="20655"/>
                    <a:pt x="14485" y="20385"/>
                    <a:pt x="14739" y="20385"/>
                  </a:cubicBezTo>
                  <a:cubicBezTo>
                    <a:pt x="14993" y="20385"/>
                    <a:pt x="15247" y="20250"/>
                    <a:pt x="15247" y="20385"/>
                  </a:cubicBezTo>
                  <a:cubicBezTo>
                    <a:pt x="15501" y="20385"/>
                    <a:pt x="15247" y="20385"/>
                    <a:pt x="15501" y="20385"/>
                  </a:cubicBezTo>
                  <a:cubicBezTo>
                    <a:pt x="15755" y="20385"/>
                    <a:pt x="16009" y="20250"/>
                    <a:pt x="16009" y="20250"/>
                  </a:cubicBezTo>
                  <a:cubicBezTo>
                    <a:pt x="16009" y="20115"/>
                    <a:pt x="16009" y="20115"/>
                    <a:pt x="16009" y="20115"/>
                  </a:cubicBezTo>
                  <a:cubicBezTo>
                    <a:pt x="16009" y="20115"/>
                    <a:pt x="16009" y="20115"/>
                    <a:pt x="16009" y="20115"/>
                  </a:cubicBezTo>
                  <a:cubicBezTo>
                    <a:pt x="15755" y="19980"/>
                    <a:pt x="14993" y="19710"/>
                    <a:pt x="14739" y="19710"/>
                  </a:cubicBezTo>
                  <a:cubicBezTo>
                    <a:pt x="14739" y="19575"/>
                    <a:pt x="14485" y="19440"/>
                    <a:pt x="14485" y="19440"/>
                  </a:cubicBezTo>
                  <a:cubicBezTo>
                    <a:pt x="14485" y="19305"/>
                    <a:pt x="14739" y="19170"/>
                    <a:pt x="14739" y="19170"/>
                  </a:cubicBezTo>
                  <a:cubicBezTo>
                    <a:pt x="14485" y="19035"/>
                    <a:pt x="14485" y="19035"/>
                    <a:pt x="14485" y="19035"/>
                  </a:cubicBezTo>
                  <a:cubicBezTo>
                    <a:pt x="14485" y="19035"/>
                    <a:pt x="14739" y="18900"/>
                    <a:pt x="14993" y="18900"/>
                  </a:cubicBezTo>
                  <a:cubicBezTo>
                    <a:pt x="14993" y="18900"/>
                    <a:pt x="15247" y="18900"/>
                    <a:pt x="15247" y="18900"/>
                  </a:cubicBezTo>
                  <a:cubicBezTo>
                    <a:pt x="15501" y="18495"/>
                    <a:pt x="15501" y="18495"/>
                    <a:pt x="15501" y="18495"/>
                  </a:cubicBezTo>
                  <a:cubicBezTo>
                    <a:pt x="15501" y="18495"/>
                    <a:pt x="15501" y="18360"/>
                    <a:pt x="15755" y="18360"/>
                  </a:cubicBezTo>
                  <a:cubicBezTo>
                    <a:pt x="15755" y="18360"/>
                    <a:pt x="16009" y="18360"/>
                    <a:pt x="16009" y="18360"/>
                  </a:cubicBezTo>
                  <a:cubicBezTo>
                    <a:pt x="17788" y="17820"/>
                    <a:pt x="17788" y="17820"/>
                    <a:pt x="17788" y="17820"/>
                  </a:cubicBezTo>
                  <a:cubicBezTo>
                    <a:pt x="19059" y="16740"/>
                    <a:pt x="19059" y="16740"/>
                    <a:pt x="19059" y="16740"/>
                  </a:cubicBezTo>
                  <a:cubicBezTo>
                    <a:pt x="19567" y="15525"/>
                    <a:pt x="19567" y="15525"/>
                    <a:pt x="19567" y="15525"/>
                  </a:cubicBezTo>
                  <a:cubicBezTo>
                    <a:pt x="20329" y="14445"/>
                    <a:pt x="20329" y="14445"/>
                    <a:pt x="20329" y="14445"/>
                  </a:cubicBezTo>
                  <a:cubicBezTo>
                    <a:pt x="20329" y="14445"/>
                    <a:pt x="21346" y="13905"/>
                    <a:pt x="21346" y="14040"/>
                  </a:cubicBezTo>
                  <a:cubicBezTo>
                    <a:pt x="21600" y="14175"/>
                    <a:pt x="21346" y="12960"/>
                    <a:pt x="21346" y="12960"/>
                  </a:cubicBezTo>
                  <a:cubicBezTo>
                    <a:pt x="20584" y="12555"/>
                    <a:pt x="20584" y="12555"/>
                    <a:pt x="20584" y="12555"/>
                  </a:cubicBezTo>
                  <a:cubicBezTo>
                    <a:pt x="20584" y="12285"/>
                    <a:pt x="20584" y="12285"/>
                    <a:pt x="20584" y="12285"/>
                  </a:cubicBezTo>
                  <a:cubicBezTo>
                    <a:pt x="20584" y="12285"/>
                    <a:pt x="20329" y="12285"/>
                    <a:pt x="20329" y="12285"/>
                  </a:cubicBezTo>
                  <a:cubicBezTo>
                    <a:pt x="20329" y="12285"/>
                    <a:pt x="20329" y="12285"/>
                    <a:pt x="20075" y="12285"/>
                  </a:cubicBezTo>
                  <a:cubicBezTo>
                    <a:pt x="20075" y="12150"/>
                    <a:pt x="20075" y="12150"/>
                    <a:pt x="20075" y="12150"/>
                  </a:cubicBezTo>
                  <a:cubicBezTo>
                    <a:pt x="19567" y="11880"/>
                    <a:pt x="19567" y="11880"/>
                    <a:pt x="19567" y="11880"/>
                  </a:cubicBezTo>
                  <a:cubicBezTo>
                    <a:pt x="19567" y="11880"/>
                    <a:pt x="19313" y="12015"/>
                    <a:pt x="19059" y="12015"/>
                  </a:cubicBezTo>
                  <a:cubicBezTo>
                    <a:pt x="18805" y="12015"/>
                    <a:pt x="18805" y="11880"/>
                    <a:pt x="18551" y="11880"/>
                  </a:cubicBezTo>
                  <a:cubicBezTo>
                    <a:pt x="18551" y="11880"/>
                    <a:pt x="18551" y="11880"/>
                    <a:pt x="18551" y="11880"/>
                  </a:cubicBezTo>
                  <a:cubicBezTo>
                    <a:pt x="18551" y="11880"/>
                    <a:pt x="18296" y="11880"/>
                    <a:pt x="18042" y="11880"/>
                  </a:cubicBezTo>
                  <a:cubicBezTo>
                    <a:pt x="17788" y="11880"/>
                    <a:pt x="17534"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150"/>
                    <a:pt x="17280" y="12150"/>
                    <a:pt x="17280" y="12150"/>
                  </a:cubicBezTo>
                  <a:cubicBezTo>
                    <a:pt x="17280" y="12015"/>
                    <a:pt x="17280" y="12015"/>
                    <a:pt x="17280" y="12015"/>
                  </a:cubicBezTo>
                  <a:cubicBezTo>
                    <a:pt x="17280" y="11880"/>
                    <a:pt x="17280" y="11880"/>
                    <a:pt x="17026" y="11745"/>
                  </a:cubicBezTo>
                  <a:cubicBezTo>
                    <a:pt x="17026" y="11610"/>
                    <a:pt x="17026" y="11340"/>
                    <a:pt x="16772" y="11205"/>
                  </a:cubicBezTo>
                  <a:cubicBezTo>
                    <a:pt x="16518" y="11070"/>
                    <a:pt x="16518" y="10935"/>
                    <a:pt x="16518" y="10935"/>
                  </a:cubicBezTo>
                  <a:cubicBezTo>
                    <a:pt x="16518" y="10935"/>
                    <a:pt x="16009" y="10935"/>
                    <a:pt x="15755" y="10935"/>
                  </a:cubicBezTo>
                  <a:cubicBezTo>
                    <a:pt x="15755" y="10935"/>
                    <a:pt x="15501" y="10935"/>
                    <a:pt x="15501" y="10935"/>
                  </a:cubicBezTo>
                  <a:cubicBezTo>
                    <a:pt x="15501" y="10935"/>
                    <a:pt x="15247" y="10665"/>
                    <a:pt x="15501" y="10665"/>
                  </a:cubicBezTo>
                  <a:cubicBezTo>
                    <a:pt x="15501" y="10530"/>
                    <a:pt x="15247" y="10395"/>
                    <a:pt x="14993" y="10260"/>
                  </a:cubicBezTo>
                  <a:cubicBezTo>
                    <a:pt x="14993" y="10260"/>
                    <a:pt x="14485" y="9855"/>
                    <a:pt x="14485" y="9855"/>
                  </a:cubicBezTo>
                  <a:cubicBezTo>
                    <a:pt x="14485" y="9855"/>
                    <a:pt x="14231" y="9855"/>
                    <a:pt x="14231" y="9720"/>
                  </a:cubicBezTo>
                  <a:cubicBezTo>
                    <a:pt x="14231" y="9585"/>
                    <a:pt x="14231" y="9450"/>
                    <a:pt x="14231" y="9450"/>
                  </a:cubicBezTo>
                  <a:cubicBezTo>
                    <a:pt x="13976" y="9180"/>
                    <a:pt x="13976" y="9180"/>
                    <a:pt x="13976" y="9180"/>
                  </a:cubicBezTo>
                  <a:cubicBezTo>
                    <a:pt x="13976" y="9180"/>
                    <a:pt x="14485" y="9045"/>
                    <a:pt x="14485" y="8910"/>
                  </a:cubicBezTo>
                  <a:cubicBezTo>
                    <a:pt x="14485" y="8910"/>
                    <a:pt x="14739" y="8775"/>
                    <a:pt x="14485" y="8640"/>
                  </a:cubicBezTo>
                  <a:cubicBezTo>
                    <a:pt x="14485" y="8505"/>
                    <a:pt x="13976" y="8370"/>
                    <a:pt x="13976" y="8370"/>
                  </a:cubicBezTo>
                  <a:cubicBezTo>
                    <a:pt x="13722" y="8235"/>
                    <a:pt x="13468" y="8100"/>
                    <a:pt x="13214" y="7965"/>
                  </a:cubicBezTo>
                  <a:cubicBezTo>
                    <a:pt x="13214" y="7830"/>
                    <a:pt x="13214" y="7695"/>
                    <a:pt x="13214" y="7695"/>
                  </a:cubicBezTo>
                  <a:cubicBezTo>
                    <a:pt x="13214" y="7695"/>
                    <a:pt x="13214" y="7560"/>
                    <a:pt x="13468" y="7560"/>
                  </a:cubicBezTo>
                  <a:cubicBezTo>
                    <a:pt x="13722" y="7425"/>
                    <a:pt x="13976" y="7425"/>
                    <a:pt x="13976" y="7290"/>
                  </a:cubicBezTo>
                  <a:cubicBezTo>
                    <a:pt x="13976" y="7290"/>
                    <a:pt x="14231" y="7290"/>
                    <a:pt x="14231" y="7155"/>
                  </a:cubicBezTo>
                  <a:cubicBezTo>
                    <a:pt x="13976" y="7020"/>
                    <a:pt x="13722" y="6885"/>
                    <a:pt x="13722" y="6885"/>
                  </a:cubicBezTo>
                  <a:cubicBezTo>
                    <a:pt x="13976" y="6480"/>
                    <a:pt x="13976" y="6480"/>
                    <a:pt x="13976" y="6480"/>
                  </a:cubicBezTo>
                  <a:cubicBezTo>
                    <a:pt x="13722" y="6345"/>
                    <a:pt x="13722" y="6345"/>
                    <a:pt x="13722" y="6345"/>
                  </a:cubicBezTo>
                  <a:cubicBezTo>
                    <a:pt x="13722" y="5805"/>
                    <a:pt x="13722" y="5805"/>
                    <a:pt x="13722" y="5805"/>
                  </a:cubicBezTo>
                  <a:cubicBezTo>
                    <a:pt x="13722" y="5670"/>
                    <a:pt x="13722" y="5670"/>
                    <a:pt x="13722" y="5670"/>
                  </a:cubicBezTo>
                  <a:cubicBezTo>
                    <a:pt x="13722" y="5670"/>
                    <a:pt x="13976" y="5400"/>
                    <a:pt x="13976" y="5400"/>
                  </a:cubicBezTo>
                  <a:cubicBezTo>
                    <a:pt x="13976" y="5265"/>
                    <a:pt x="13976" y="4995"/>
                    <a:pt x="13976" y="4995"/>
                  </a:cubicBezTo>
                  <a:cubicBezTo>
                    <a:pt x="13976" y="4860"/>
                    <a:pt x="13976" y="4860"/>
                    <a:pt x="13976" y="4860"/>
                  </a:cubicBezTo>
                  <a:cubicBezTo>
                    <a:pt x="14231" y="4455"/>
                    <a:pt x="14231" y="4455"/>
                    <a:pt x="14231" y="4455"/>
                  </a:cubicBezTo>
                  <a:cubicBezTo>
                    <a:pt x="13722" y="4050"/>
                    <a:pt x="13722" y="4050"/>
                    <a:pt x="13722" y="4050"/>
                  </a:cubicBezTo>
                  <a:cubicBezTo>
                    <a:pt x="13722" y="4050"/>
                    <a:pt x="13722" y="4050"/>
                    <a:pt x="13722" y="3915"/>
                  </a:cubicBezTo>
                  <a:cubicBezTo>
                    <a:pt x="13468" y="3780"/>
                    <a:pt x="13468" y="3510"/>
                    <a:pt x="13468" y="3510"/>
                  </a:cubicBezTo>
                  <a:cubicBezTo>
                    <a:pt x="13214" y="3105"/>
                    <a:pt x="13214" y="3105"/>
                    <a:pt x="13214" y="3105"/>
                  </a:cubicBezTo>
                  <a:cubicBezTo>
                    <a:pt x="13214" y="3105"/>
                    <a:pt x="12706" y="2835"/>
                    <a:pt x="12452" y="2700"/>
                  </a:cubicBezTo>
                  <a:cubicBezTo>
                    <a:pt x="12452" y="2700"/>
                    <a:pt x="12452" y="2565"/>
                    <a:pt x="11944" y="2430"/>
                  </a:cubicBezTo>
                  <a:cubicBezTo>
                    <a:pt x="11689" y="2430"/>
                    <a:pt x="11181" y="2295"/>
                    <a:pt x="11181" y="2295"/>
                  </a:cubicBezTo>
                  <a:cubicBezTo>
                    <a:pt x="10673" y="2295"/>
                    <a:pt x="10673" y="2295"/>
                    <a:pt x="10673" y="2295"/>
                  </a:cubicBezTo>
                  <a:cubicBezTo>
                    <a:pt x="10165" y="2025"/>
                    <a:pt x="10165" y="2025"/>
                    <a:pt x="10165" y="2025"/>
                  </a:cubicBezTo>
                  <a:cubicBezTo>
                    <a:pt x="9656" y="2025"/>
                    <a:pt x="9656" y="2025"/>
                    <a:pt x="9656" y="2025"/>
                  </a:cubicBezTo>
                  <a:cubicBezTo>
                    <a:pt x="9402" y="1620"/>
                    <a:pt x="9402" y="1620"/>
                    <a:pt x="9402" y="1620"/>
                  </a:cubicBezTo>
                  <a:cubicBezTo>
                    <a:pt x="9148" y="1215"/>
                    <a:pt x="9148" y="1215"/>
                    <a:pt x="9148" y="1215"/>
                  </a:cubicBezTo>
                  <a:cubicBezTo>
                    <a:pt x="8640" y="945"/>
                    <a:pt x="8640" y="945"/>
                    <a:pt x="8640" y="945"/>
                  </a:cubicBezTo>
                  <a:cubicBezTo>
                    <a:pt x="8132" y="810"/>
                    <a:pt x="8132" y="810"/>
                    <a:pt x="8132" y="810"/>
                  </a:cubicBezTo>
                  <a:cubicBezTo>
                    <a:pt x="7878" y="675"/>
                    <a:pt x="7878" y="675"/>
                    <a:pt x="7878" y="675"/>
                  </a:cubicBezTo>
                  <a:cubicBezTo>
                    <a:pt x="7369" y="540"/>
                    <a:pt x="7369" y="540"/>
                    <a:pt x="7369" y="540"/>
                  </a:cubicBezTo>
                  <a:cubicBezTo>
                    <a:pt x="7115" y="540"/>
                    <a:pt x="7115" y="540"/>
                    <a:pt x="7115" y="540"/>
                  </a:cubicBezTo>
                  <a:cubicBezTo>
                    <a:pt x="7115" y="540"/>
                    <a:pt x="6861" y="810"/>
                    <a:pt x="6861" y="810"/>
                  </a:cubicBezTo>
                  <a:cubicBezTo>
                    <a:pt x="6861" y="810"/>
                    <a:pt x="6099" y="945"/>
                    <a:pt x="6099" y="945"/>
                  </a:cubicBezTo>
                  <a:cubicBezTo>
                    <a:pt x="5591" y="1215"/>
                    <a:pt x="5591" y="1215"/>
                    <a:pt x="5591" y="1215"/>
                  </a:cubicBezTo>
                  <a:cubicBezTo>
                    <a:pt x="5082" y="1350"/>
                    <a:pt x="5082" y="1350"/>
                    <a:pt x="5082" y="1350"/>
                  </a:cubicBezTo>
                  <a:cubicBezTo>
                    <a:pt x="5082" y="1350"/>
                    <a:pt x="5082" y="1350"/>
                    <a:pt x="5082" y="1215"/>
                  </a:cubicBezTo>
                  <a:cubicBezTo>
                    <a:pt x="4828" y="1215"/>
                    <a:pt x="4828" y="1215"/>
                    <a:pt x="4828" y="1215"/>
                  </a:cubicBezTo>
                  <a:cubicBezTo>
                    <a:pt x="4828" y="1215"/>
                    <a:pt x="4574" y="1080"/>
                    <a:pt x="4574" y="945"/>
                  </a:cubicBezTo>
                  <a:cubicBezTo>
                    <a:pt x="4574" y="945"/>
                    <a:pt x="4320" y="810"/>
                    <a:pt x="4320" y="810"/>
                  </a:cubicBezTo>
                  <a:cubicBezTo>
                    <a:pt x="4320" y="810"/>
                    <a:pt x="4320" y="675"/>
                    <a:pt x="4320" y="675"/>
                  </a:cubicBezTo>
                  <a:cubicBezTo>
                    <a:pt x="4320" y="540"/>
                    <a:pt x="4320" y="405"/>
                    <a:pt x="4320" y="405"/>
                  </a:cubicBezTo>
                  <a:cubicBezTo>
                    <a:pt x="4320" y="270"/>
                    <a:pt x="4320" y="270"/>
                    <a:pt x="4320" y="270"/>
                  </a:cubicBezTo>
                  <a:cubicBezTo>
                    <a:pt x="4066" y="135"/>
                    <a:pt x="4066" y="135"/>
                    <a:pt x="4066" y="135"/>
                  </a:cubicBezTo>
                  <a:cubicBezTo>
                    <a:pt x="4066" y="0"/>
                    <a:pt x="4066" y="0"/>
                    <a:pt x="4066" y="0"/>
                  </a:cubicBezTo>
                  <a:cubicBezTo>
                    <a:pt x="4066" y="0"/>
                    <a:pt x="3558" y="0"/>
                    <a:pt x="3558" y="0"/>
                  </a:cubicBezTo>
                  <a:cubicBezTo>
                    <a:pt x="3558" y="0"/>
                    <a:pt x="2541" y="540"/>
                    <a:pt x="2541" y="540"/>
                  </a:cubicBezTo>
                  <a:cubicBezTo>
                    <a:pt x="2795" y="675"/>
                    <a:pt x="2795" y="675"/>
                    <a:pt x="2795" y="675"/>
                  </a:cubicBezTo>
                  <a:cubicBezTo>
                    <a:pt x="2541" y="945"/>
                    <a:pt x="2541" y="945"/>
                    <a:pt x="2541" y="945"/>
                  </a:cubicBezTo>
                  <a:cubicBezTo>
                    <a:pt x="2287" y="1215"/>
                    <a:pt x="2287" y="1215"/>
                    <a:pt x="2287" y="1215"/>
                  </a:cubicBezTo>
                  <a:cubicBezTo>
                    <a:pt x="2033" y="1485"/>
                    <a:pt x="2033" y="1485"/>
                    <a:pt x="2033" y="1485"/>
                  </a:cubicBezTo>
                  <a:cubicBezTo>
                    <a:pt x="2033" y="1485"/>
                    <a:pt x="1779" y="1620"/>
                    <a:pt x="1779" y="1755"/>
                  </a:cubicBezTo>
                  <a:cubicBezTo>
                    <a:pt x="1779" y="1755"/>
                    <a:pt x="1525" y="1890"/>
                    <a:pt x="1525" y="1890"/>
                  </a:cubicBezTo>
                  <a:cubicBezTo>
                    <a:pt x="1271" y="2025"/>
                    <a:pt x="1271" y="2025"/>
                    <a:pt x="1271" y="2025"/>
                  </a:cubicBezTo>
                  <a:cubicBezTo>
                    <a:pt x="1016" y="2160"/>
                    <a:pt x="1016" y="2160"/>
                    <a:pt x="1016" y="2160"/>
                  </a:cubicBezTo>
                  <a:cubicBezTo>
                    <a:pt x="1016" y="2430"/>
                    <a:pt x="1016" y="2430"/>
                    <a:pt x="1016" y="2430"/>
                  </a:cubicBezTo>
                  <a:cubicBezTo>
                    <a:pt x="1016" y="2430"/>
                    <a:pt x="1016" y="2565"/>
                    <a:pt x="1016" y="2700"/>
                  </a:cubicBezTo>
                  <a:cubicBezTo>
                    <a:pt x="1016" y="2700"/>
                    <a:pt x="762" y="2835"/>
                    <a:pt x="762" y="2835"/>
                  </a:cubicBezTo>
                  <a:cubicBezTo>
                    <a:pt x="508" y="3105"/>
                    <a:pt x="508" y="3105"/>
                    <a:pt x="508" y="3105"/>
                  </a:cubicBezTo>
                  <a:cubicBezTo>
                    <a:pt x="0" y="3375"/>
                    <a:pt x="0" y="3375"/>
                    <a:pt x="0" y="3375"/>
                  </a:cubicBezTo>
                  <a:cubicBezTo>
                    <a:pt x="0" y="3645"/>
                    <a:pt x="0" y="3645"/>
                    <a:pt x="0" y="3645"/>
                  </a:cubicBezTo>
                  <a:cubicBezTo>
                    <a:pt x="254" y="3780"/>
                    <a:pt x="254" y="3780"/>
                    <a:pt x="254" y="3780"/>
                  </a:cubicBezTo>
                  <a:cubicBezTo>
                    <a:pt x="762" y="3915"/>
                    <a:pt x="762" y="3915"/>
                    <a:pt x="762" y="3915"/>
                  </a:cubicBezTo>
                  <a:cubicBezTo>
                    <a:pt x="1271" y="4050"/>
                    <a:pt x="1271" y="4050"/>
                    <a:pt x="1271" y="4050"/>
                  </a:cubicBezTo>
                  <a:cubicBezTo>
                    <a:pt x="1271" y="4050"/>
                    <a:pt x="1271" y="4185"/>
                    <a:pt x="1271" y="4320"/>
                  </a:cubicBezTo>
                  <a:cubicBezTo>
                    <a:pt x="1271" y="4320"/>
                    <a:pt x="1271" y="4455"/>
                    <a:pt x="1271" y="4455"/>
                  </a:cubicBezTo>
                  <a:cubicBezTo>
                    <a:pt x="1016" y="4725"/>
                    <a:pt x="1016" y="4725"/>
                    <a:pt x="1016" y="4725"/>
                  </a:cubicBezTo>
                  <a:cubicBezTo>
                    <a:pt x="1016" y="4725"/>
                    <a:pt x="1271" y="4860"/>
                    <a:pt x="1271" y="4860"/>
                  </a:cubicBezTo>
                  <a:cubicBezTo>
                    <a:pt x="1271" y="4860"/>
                    <a:pt x="1271" y="4995"/>
                    <a:pt x="1271" y="4995"/>
                  </a:cubicBezTo>
                  <a:cubicBezTo>
                    <a:pt x="1271" y="4995"/>
                    <a:pt x="1271" y="5265"/>
                    <a:pt x="1271" y="5265"/>
                  </a:cubicBezTo>
                  <a:cubicBezTo>
                    <a:pt x="1016" y="5400"/>
                    <a:pt x="1016" y="5400"/>
                    <a:pt x="1016" y="5400"/>
                  </a:cubicBezTo>
                  <a:cubicBezTo>
                    <a:pt x="1016" y="5400"/>
                    <a:pt x="1271" y="5535"/>
                    <a:pt x="1271" y="5670"/>
                  </a:cubicBezTo>
                  <a:cubicBezTo>
                    <a:pt x="1271" y="5670"/>
                    <a:pt x="1271" y="5805"/>
                    <a:pt x="1271" y="5805"/>
                  </a:cubicBezTo>
                  <a:cubicBezTo>
                    <a:pt x="1016" y="5805"/>
                    <a:pt x="1525" y="6075"/>
                    <a:pt x="1525" y="6075"/>
                  </a:cubicBezTo>
                  <a:cubicBezTo>
                    <a:pt x="1525" y="6075"/>
                    <a:pt x="1779" y="5940"/>
                    <a:pt x="2033" y="5940"/>
                  </a:cubicBezTo>
                  <a:cubicBezTo>
                    <a:pt x="2033" y="5940"/>
                    <a:pt x="2541" y="5940"/>
                    <a:pt x="2541" y="5940"/>
                  </a:cubicBezTo>
                  <a:cubicBezTo>
                    <a:pt x="3049" y="6075"/>
                    <a:pt x="3049" y="6075"/>
                    <a:pt x="3049" y="6075"/>
                  </a:cubicBezTo>
                  <a:cubicBezTo>
                    <a:pt x="3558" y="6075"/>
                    <a:pt x="3558" y="6075"/>
                    <a:pt x="3558" y="6075"/>
                  </a:cubicBezTo>
                  <a:cubicBezTo>
                    <a:pt x="3812" y="6345"/>
                    <a:pt x="3812" y="6345"/>
                    <a:pt x="3812" y="6345"/>
                  </a:cubicBezTo>
                  <a:cubicBezTo>
                    <a:pt x="3812" y="6615"/>
                    <a:pt x="3812" y="6615"/>
                    <a:pt x="3812" y="6615"/>
                  </a:cubicBezTo>
                  <a:cubicBezTo>
                    <a:pt x="3812" y="7020"/>
                    <a:pt x="3812" y="7020"/>
                    <a:pt x="3812" y="7020"/>
                  </a:cubicBezTo>
                  <a:cubicBezTo>
                    <a:pt x="3558" y="7290"/>
                    <a:pt x="3558" y="7290"/>
                    <a:pt x="3558" y="7290"/>
                  </a:cubicBezTo>
                  <a:cubicBezTo>
                    <a:pt x="4066" y="7425"/>
                    <a:pt x="4066" y="7425"/>
                    <a:pt x="4066" y="7425"/>
                  </a:cubicBezTo>
                  <a:cubicBezTo>
                    <a:pt x="4066" y="7425"/>
                    <a:pt x="4066" y="7425"/>
                    <a:pt x="4066" y="7425"/>
                  </a:cubicBezTo>
                  <a:cubicBezTo>
                    <a:pt x="4066" y="7425"/>
                    <a:pt x="4066" y="7695"/>
                    <a:pt x="4066" y="7830"/>
                  </a:cubicBezTo>
                  <a:cubicBezTo>
                    <a:pt x="3812" y="7830"/>
                    <a:pt x="3558" y="7830"/>
                    <a:pt x="3304" y="7965"/>
                  </a:cubicBezTo>
                  <a:cubicBezTo>
                    <a:pt x="3049" y="7965"/>
                    <a:pt x="2795" y="7965"/>
                    <a:pt x="2795" y="7965"/>
                  </a:cubicBezTo>
                  <a:cubicBezTo>
                    <a:pt x="2795" y="8100"/>
                    <a:pt x="2795" y="8100"/>
                    <a:pt x="2795" y="8100"/>
                  </a:cubicBezTo>
                  <a:cubicBezTo>
                    <a:pt x="3304" y="8235"/>
                    <a:pt x="3304" y="8235"/>
                    <a:pt x="3304" y="8235"/>
                  </a:cubicBezTo>
                  <a:cubicBezTo>
                    <a:pt x="3304" y="8235"/>
                    <a:pt x="3558" y="8235"/>
                    <a:pt x="3558" y="8235"/>
                  </a:cubicBezTo>
                  <a:cubicBezTo>
                    <a:pt x="3558" y="8370"/>
                    <a:pt x="3558" y="8640"/>
                    <a:pt x="3558" y="8640"/>
                  </a:cubicBezTo>
                  <a:cubicBezTo>
                    <a:pt x="3558" y="8640"/>
                    <a:pt x="3558" y="8775"/>
                    <a:pt x="3304" y="8775"/>
                  </a:cubicBezTo>
                  <a:cubicBezTo>
                    <a:pt x="3304" y="8775"/>
                    <a:pt x="3049" y="8910"/>
                    <a:pt x="3049" y="8910"/>
                  </a:cubicBezTo>
                  <a:cubicBezTo>
                    <a:pt x="2795" y="9045"/>
                    <a:pt x="2795" y="9045"/>
                    <a:pt x="2795" y="9045"/>
                  </a:cubicBezTo>
                  <a:cubicBezTo>
                    <a:pt x="2541" y="9180"/>
                    <a:pt x="2541" y="9180"/>
                    <a:pt x="2541" y="9180"/>
                  </a:cubicBezTo>
                  <a:cubicBezTo>
                    <a:pt x="2033" y="9315"/>
                    <a:pt x="2033" y="9315"/>
                    <a:pt x="2033" y="9315"/>
                  </a:cubicBezTo>
                  <a:cubicBezTo>
                    <a:pt x="2541" y="9585"/>
                    <a:pt x="2541" y="9585"/>
                    <a:pt x="2541" y="9585"/>
                  </a:cubicBezTo>
                  <a:cubicBezTo>
                    <a:pt x="2795" y="9585"/>
                    <a:pt x="2795" y="9585"/>
                    <a:pt x="2795" y="9585"/>
                  </a:cubicBezTo>
                  <a:cubicBezTo>
                    <a:pt x="2795" y="9585"/>
                    <a:pt x="3049" y="9720"/>
                    <a:pt x="3049" y="9720"/>
                  </a:cubicBezTo>
                  <a:cubicBezTo>
                    <a:pt x="3049" y="9720"/>
                    <a:pt x="3812" y="9990"/>
                    <a:pt x="3812" y="9990"/>
                  </a:cubicBezTo>
                  <a:cubicBezTo>
                    <a:pt x="3558" y="10125"/>
                    <a:pt x="3558" y="10125"/>
                    <a:pt x="3558" y="10125"/>
                  </a:cubicBezTo>
                  <a:cubicBezTo>
                    <a:pt x="3558" y="10125"/>
                    <a:pt x="3558" y="10260"/>
                    <a:pt x="3558" y="10395"/>
                  </a:cubicBezTo>
                  <a:cubicBezTo>
                    <a:pt x="3558" y="10530"/>
                    <a:pt x="3558" y="10935"/>
                    <a:pt x="3558" y="10935"/>
                  </a:cubicBezTo>
                  <a:cubicBezTo>
                    <a:pt x="3304" y="11070"/>
                    <a:pt x="3304" y="11070"/>
                    <a:pt x="3304" y="11070"/>
                  </a:cubicBezTo>
                  <a:cubicBezTo>
                    <a:pt x="3304" y="11205"/>
                    <a:pt x="3558" y="11610"/>
                    <a:pt x="3558" y="11610"/>
                  </a:cubicBezTo>
                  <a:cubicBezTo>
                    <a:pt x="3558" y="11745"/>
                    <a:pt x="3558" y="11745"/>
                    <a:pt x="3558" y="11745"/>
                  </a:cubicBezTo>
                  <a:cubicBezTo>
                    <a:pt x="3304" y="11880"/>
                    <a:pt x="3304" y="11880"/>
                    <a:pt x="3304" y="11880"/>
                  </a:cubicBezTo>
                  <a:cubicBezTo>
                    <a:pt x="4320" y="12150"/>
                    <a:pt x="4320" y="12150"/>
                    <a:pt x="4320" y="12150"/>
                  </a:cubicBezTo>
                  <a:cubicBezTo>
                    <a:pt x="4066" y="12420"/>
                    <a:pt x="4066" y="12420"/>
                    <a:pt x="4066" y="12420"/>
                  </a:cubicBezTo>
                  <a:cubicBezTo>
                    <a:pt x="3558" y="12555"/>
                    <a:pt x="3558" y="12555"/>
                    <a:pt x="3558" y="12555"/>
                  </a:cubicBezTo>
                  <a:cubicBezTo>
                    <a:pt x="3558" y="12555"/>
                    <a:pt x="3304" y="12555"/>
                    <a:pt x="3304" y="12555"/>
                  </a:cubicBezTo>
                  <a:cubicBezTo>
                    <a:pt x="3304" y="12690"/>
                    <a:pt x="3304" y="12825"/>
                    <a:pt x="3304" y="12825"/>
                  </a:cubicBezTo>
                  <a:cubicBezTo>
                    <a:pt x="3558" y="12960"/>
                    <a:pt x="3558" y="12960"/>
                    <a:pt x="3558" y="12960"/>
                  </a:cubicBezTo>
                  <a:cubicBezTo>
                    <a:pt x="3304" y="13095"/>
                    <a:pt x="3304" y="13095"/>
                    <a:pt x="3304" y="13095"/>
                  </a:cubicBezTo>
                  <a:cubicBezTo>
                    <a:pt x="3304" y="13095"/>
                    <a:pt x="3304" y="13095"/>
                    <a:pt x="3304" y="13095"/>
                  </a:cubicBezTo>
                  <a:cubicBezTo>
                    <a:pt x="3304" y="13095"/>
                    <a:pt x="3304" y="13365"/>
                    <a:pt x="3304" y="13365"/>
                  </a:cubicBezTo>
                  <a:cubicBezTo>
                    <a:pt x="3304" y="13365"/>
                    <a:pt x="3304" y="13500"/>
                    <a:pt x="3049" y="13500"/>
                  </a:cubicBezTo>
                  <a:cubicBezTo>
                    <a:pt x="3049" y="13500"/>
                    <a:pt x="2795" y="13635"/>
                    <a:pt x="2795" y="13635"/>
                  </a:cubicBezTo>
                  <a:cubicBezTo>
                    <a:pt x="3049" y="13905"/>
                    <a:pt x="3049" y="13905"/>
                    <a:pt x="3049" y="13905"/>
                  </a:cubicBezTo>
                  <a:cubicBezTo>
                    <a:pt x="2795" y="14445"/>
                    <a:pt x="2795" y="14445"/>
                    <a:pt x="2795" y="14445"/>
                  </a:cubicBezTo>
                  <a:cubicBezTo>
                    <a:pt x="2795" y="14580"/>
                    <a:pt x="2795" y="14580"/>
                    <a:pt x="2795" y="14580"/>
                  </a:cubicBezTo>
                  <a:cubicBezTo>
                    <a:pt x="3049" y="14985"/>
                    <a:pt x="3049" y="14985"/>
                    <a:pt x="3049" y="14985"/>
                  </a:cubicBezTo>
                  <a:cubicBezTo>
                    <a:pt x="3558" y="15390"/>
                    <a:pt x="3558" y="15390"/>
                    <a:pt x="3558" y="15390"/>
                  </a:cubicBezTo>
                  <a:cubicBezTo>
                    <a:pt x="4066" y="15660"/>
                    <a:pt x="4066" y="15660"/>
                    <a:pt x="4066" y="15660"/>
                  </a:cubicBezTo>
                  <a:cubicBezTo>
                    <a:pt x="4320" y="15930"/>
                    <a:pt x="4320" y="15930"/>
                    <a:pt x="4320" y="15930"/>
                  </a:cubicBezTo>
                  <a:cubicBezTo>
                    <a:pt x="4828" y="16065"/>
                    <a:pt x="4828" y="16065"/>
                    <a:pt x="4828" y="16065"/>
                  </a:cubicBezTo>
                  <a:cubicBezTo>
                    <a:pt x="4574" y="16470"/>
                    <a:pt x="4574" y="16470"/>
                    <a:pt x="4574" y="16470"/>
                  </a:cubicBezTo>
                  <a:cubicBezTo>
                    <a:pt x="4828" y="16605"/>
                    <a:pt x="4828" y="16605"/>
                    <a:pt x="4828" y="16605"/>
                  </a:cubicBezTo>
                  <a:cubicBezTo>
                    <a:pt x="4828" y="16875"/>
                    <a:pt x="4828" y="16875"/>
                    <a:pt x="4828" y="16875"/>
                  </a:cubicBezTo>
                  <a:cubicBezTo>
                    <a:pt x="4828" y="16875"/>
                    <a:pt x="4828" y="16875"/>
                    <a:pt x="4574" y="17010"/>
                  </a:cubicBezTo>
                  <a:cubicBezTo>
                    <a:pt x="4574" y="17010"/>
                    <a:pt x="4574" y="17010"/>
                    <a:pt x="4320" y="16875"/>
                  </a:cubicBezTo>
                  <a:cubicBezTo>
                    <a:pt x="4066" y="16875"/>
                    <a:pt x="3812" y="16605"/>
                    <a:pt x="3812" y="16605"/>
                  </a:cubicBezTo>
                  <a:cubicBezTo>
                    <a:pt x="3812" y="16605"/>
                    <a:pt x="3558" y="16335"/>
                    <a:pt x="3558" y="16335"/>
                  </a:cubicBezTo>
                  <a:cubicBezTo>
                    <a:pt x="3558" y="16335"/>
                    <a:pt x="3304" y="16200"/>
                    <a:pt x="3304" y="16200"/>
                  </a:cubicBezTo>
                  <a:cubicBezTo>
                    <a:pt x="2795" y="16200"/>
                    <a:pt x="2795" y="16200"/>
                    <a:pt x="2795" y="16200"/>
                  </a:cubicBezTo>
                  <a:cubicBezTo>
                    <a:pt x="2795" y="16200"/>
                    <a:pt x="2795" y="16335"/>
                    <a:pt x="2795" y="16335"/>
                  </a:cubicBezTo>
                  <a:cubicBezTo>
                    <a:pt x="2795" y="16470"/>
                    <a:pt x="2795" y="16470"/>
                    <a:pt x="3049" y="16605"/>
                  </a:cubicBezTo>
                  <a:cubicBezTo>
                    <a:pt x="3304" y="16740"/>
                    <a:pt x="3304" y="16740"/>
                    <a:pt x="3558" y="16740"/>
                  </a:cubicBezTo>
                  <a:cubicBezTo>
                    <a:pt x="3558" y="16740"/>
                    <a:pt x="3558" y="16875"/>
                    <a:pt x="3812" y="16875"/>
                  </a:cubicBezTo>
                  <a:cubicBezTo>
                    <a:pt x="3812" y="17010"/>
                    <a:pt x="3812" y="17280"/>
                    <a:pt x="3812" y="17280"/>
                  </a:cubicBezTo>
                  <a:cubicBezTo>
                    <a:pt x="4320" y="17550"/>
                    <a:pt x="4320" y="17550"/>
                    <a:pt x="4320" y="17550"/>
                  </a:cubicBezTo>
                  <a:cubicBezTo>
                    <a:pt x="4828" y="17685"/>
                    <a:pt x="4828" y="17685"/>
                    <a:pt x="4828" y="17685"/>
                  </a:cubicBezTo>
                  <a:cubicBezTo>
                    <a:pt x="6861" y="18225"/>
                    <a:pt x="6861" y="18225"/>
                    <a:pt x="6861" y="18225"/>
                  </a:cubicBezTo>
                  <a:cubicBezTo>
                    <a:pt x="7624" y="18360"/>
                    <a:pt x="7624" y="18360"/>
                    <a:pt x="7624" y="18360"/>
                  </a:cubicBezTo>
                  <a:cubicBezTo>
                    <a:pt x="7878" y="18360"/>
                    <a:pt x="7878" y="18360"/>
                    <a:pt x="7878" y="18360"/>
                  </a:cubicBezTo>
                  <a:cubicBezTo>
                    <a:pt x="8132" y="18630"/>
                    <a:pt x="8132" y="18630"/>
                    <a:pt x="8132" y="18630"/>
                  </a:cubicBezTo>
                  <a:cubicBezTo>
                    <a:pt x="8386" y="18765"/>
                    <a:pt x="8386" y="18765"/>
                    <a:pt x="8386" y="18765"/>
                  </a:cubicBezTo>
                  <a:cubicBezTo>
                    <a:pt x="8386" y="18765"/>
                    <a:pt x="8640" y="18765"/>
                    <a:pt x="8894" y="18765"/>
                  </a:cubicBezTo>
                  <a:cubicBezTo>
                    <a:pt x="8894" y="18765"/>
                    <a:pt x="9402" y="18765"/>
                    <a:pt x="9402" y="18765"/>
                  </a:cubicBezTo>
                  <a:cubicBezTo>
                    <a:pt x="9402" y="18765"/>
                    <a:pt x="9656" y="18630"/>
                    <a:pt x="9656" y="18765"/>
                  </a:cubicBezTo>
                  <a:cubicBezTo>
                    <a:pt x="9656" y="18900"/>
                    <a:pt x="10419" y="19575"/>
                    <a:pt x="10419" y="19575"/>
                  </a:cubicBezTo>
                  <a:cubicBezTo>
                    <a:pt x="10419" y="19575"/>
                    <a:pt x="10419" y="19710"/>
                    <a:pt x="10673" y="19845"/>
                  </a:cubicBezTo>
                  <a:cubicBezTo>
                    <a:pt x="10927" y="19980"/>
                    <a:pt x="11435" y="20115"/>
                    <a:pt x="11435" y="20115"/>
                  </a:cubicBezTo>
                  <a:cubicBezTo>
                    <a:pt x="11435" y="20115"/>
                    <a:pt x="11181" y="20250"/>
                    <a:pt x="11181" y="20385"/>
                  </a:cubicBezTo>
                  <a:cubicBezTo>
                    <a:pt x="11435" y="20520"/>
                    <a:pt x="11181" y="20520"/>
                    <a:pt x="11435" y="20520"/>
                  </a:cubicBezTo>
                  <a:cubicBezTo>
                    <a:pt x="11435" y="20655"/>
                    <a:pt x="11435" y="20655"/>
                    <a:pt x="11435" y="20655"/>
                  </a:cubicBezTo>
                  <a:cubicBezTo>
                    <a:pt x="11435" y="20655"/>
                    <a:pt x="11435" y="20655"/>
                    <a:pt x="11435" y="20790"/>
                  </a:cubicBezTo>
                  <a:cubicBezTo>
                    <a:pt x="11689" y="20790"/>
                    <a:pt x="11689" y="20925"/>
                    <a:pt x="11689" y="20925"/>
                  </a:cubicBezTo>
                  <a:cubicBezTo>
                    <a:pt x="11689" y="21330"/>
                    <a:pt x="11689" y="21330"/>
                    <a:pt x="11689" y="21330"/>
                  </a:cubicBezTo>
                  <a:cubicBezTo>
                    <a:pt x="12198" y="21330"/>
                    <a:pt x="12198" y="21330"/>
                    <a:pt x="12198" y="21330"/>
                  </a:cubicBezTo>
                  <a:lnTo>
                    <a:pt x="12452" y="2133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3" name="Shape 2226">
              <a:extLst>
                <a:ext uri="{FF2B5EF4-FFF2-40B4-BE49-F238E27FC236}">
                  <a16:creationId xmlns:a16="http://schemas.microsoft.com/office/drawing/2014/main" id="{97E03A03-7C1F-0C41-C922-FB23B018627B}"/>
                </a:ext>
              </a:extLst>
            </p:cNvPr>
            <p:cNvSpPr/>
            <p:nvPr/>
          </p:nvSpPr>
          <p:spPr>
            <a:xfrm>
              <a:off x="5281139" y="6718812"/>
              <a:ext cx="349957" cy="639888"/>
            </a:xfrm>
            <a:custGeom>
              <a:avLst/>
              <a:gdLst/>
              <a:ahLst/>
              <a:cxnLst>
                <a:cxn ang="0">
                  <a:pos x="wd2" y="hd2"/>
                </a:cxn>
                <a:cxn ang="5400000">
                  <a:pos x="wd2" y="hd2"/>
                </a:cxn>
                <a:cxn ang="10800000">
                  <a:pos x="wd2" y="hd2"/>
                </a:cxn>
                <a:cxn ang="16200000">
                  <a:pos x="wd2" y="hd2"/>
                </a:cxn>
              </a:cxnLst>
              <a:rect l="0" t="0" r="r" b="b"/>
              <a:pathLst>
                <a:path w="21600" h="21600" extrusionOk="0">
                  <a:moveTo>
                    <a:pt x="13214" y="21600"/>
                  </a:moveTo>
                  <a:cubicBezTo>
                    <a:pt x="13214" y="21600"/>
                    <a:pt x="13214" y="21600"/>
                    <a:pt x="13214" y="21600"/>
                  </a:cubicBezTo>
                  <a:cubicBezTo>
                    <a:pt x="12452" y="21330"/>
                    <a:pt x="12452" y="21330"/>
                    <a:pt x="12452" y="21330"/>
                  </a:cubicBezTo>
                  <a:cubicBezTo>
                    <a:pt x="12198" y="21465"/>
                    <a:pt x="12198" y="21465"/>
                    <a:pt x="12198" y="21465"/>
                  </a:cubicBezTo>
                  <a:cubicBezTo>
                    <a:pt x="11689" y="21330"/>
                    <a:pt x="11689" y="21330"/>
                    <a:pt x="11689" y="21330"/>
                  </a:cubicBezTo>
                  <a:cubicBezTo>
                    <a:pt x="11689" y="20925"/>
                    <a:pt x="11689" y="20925"/>
                    <a:pt x="11689" y="20925"/>
                  </a:cubicBezTo>
                  <a:cubicBezTo>
                    <a:pt x="11689" y="20925"/>
                    <a:pt x="11435" y="20925"/>
                    <a:pt x="11435" y="20790"/>
                  </a:cubicBezTo>
                  <a:cubicBezTo>
                    <a:pt x="11435" y="20520"/>
                    <a:pt x="11435" y="20520"/>
                    <a:pt x="11435" y="20520"/>
                  </a:cubicBezTo>
                  <a:cubicBezTo>
                    <a:pt x="11181" y="20655"/>
                    <a:pt x="11181" y="20655"/>
                    <a:pt x="11181" y="20655"/>
                  </a:cubicBezTo>
                  <a:cubicBezTo>
                    <a:pt x="11181" y="20520"/>
                    <a:pt x="11181" y="20520"/>
                    <a:pt x="11181" y="20520"/>
                  </a:cubicBezTo>
                  <a:cubicBezTo>
                    <a:pt x="11181" y="20385"/>
                    <a:pt x="11181" y="20385"/>
                    <a:pt x="11181" y="20385"/>
                  </a:cubicBezTo>
                  <a:cubicBezTo>
                    <a:pt x="11181" y="20250"/>
                    <a:pt x="11181" y="20115"/>
                    <a:pt x="11435" y="20115"/>
                  </a:cubicBezTo>
                  <a:cubicBezTo>
                    <a:pt x="11181" y="20115"/>
                    <a:pt x="10673" y="19980"/>
                    <a:pt x="10673" y="19845"/>
                  </a:cubicBezTo>
                  <a:cubicBezTo>
                    <a:pt x="10419" y="19845"/>
                    <a:pt x="10419" y="19575"/>
                    <a:pt x="10419" y="19575"/>
                  </a:cubicBezTo>
                  <a:cubicBezTo>
                    <a:pt x="10165" y="19575"/>
                    <a:pt x="9656" y="19035"/>
                    <a:pt x="9656" y="18765"/>
                  </a:cubicBezTo>
                  <a:cubicBezTo>
                    <a:pt x="9148" y="18765"/>
                    <a:pt x="8894" y="18765"/>
                    <a:pt x="8894" y="18765"/>
                  </a:cubicBezTo>
                  <a:cubicBezTo>
                    <a:pt x="8640" y="18765"/>
                    <a:pt x="8386" y="18765"/>
                    <a:pt x="8386" y="18765"/>
                  </a:cubicBezTo>
                  <a:cubicBezTo>
                    <a:pt x="8132" y="18630"/>
                    <a:pt x="8132" y="18630"/>
                    <a:pt x="8132" y="18630"/>
                  </a:cubicBezTo>
                  <a:cubicBezTo>
                    <a:pt x="7878" y="18495"/>
                    <a:pt x="7878" y="18495"/>
                    <a:pt x="7878" y="18495"/>
                  </a:cubicBezTo>
                  <a:cubicBezTo>
                    <a:pt x="6861" y="18225"/>
                    <a:pt x="6861" y="18225"/>
                    <a:pt x="6861" y="18225"/>
                  </a:cubicBezTo>
                  <a:cubicBezTo>
                    <a:pt x="3812" y="17280"/>
                    <a:pt x="3812" y="17280"/>
                    <a:pt x="3812" y="17280"/>
                  </a:cubicBezTo>
                  <a:cubicBezTo>
                    <a:pt x="3812" y="17280"/>
                    <a:pt x="3558" y="17010"/>
                    <a:pt x="3558" y="16875"/>
                  </a:cubicBezTo>
                  <a:cubicBezTo>
                    <a:pt x="3558" y="16875"/>
                    <a:pt x="3558" y="16875"/>
                    <a:pt x="3558" y="16740"/>
                  </a:cubicBezTo>
                  <a:cubicBezTo>
                    <a:pt x="3304" y="16740"/>
                    <a:pt x="3049" y="16740"/>
                    <a:pt x="3049" y="16605"/>
                  </a:cubicBezTo>
                  <a:cubicBezTo>
                    <a:pt x="2795" y="16605"/>
                    <a:pt x="2795" y="16470"/>
                    <a:pt x="2541" y="16335"/>
                  </a:cubicBezTo>
                  <a:cubicBezTo>
                    <a:pt x="2541" y="16335"/>
                    <a:pt x="2541" y="16200"/>
                    <a:pt x="2541" y="16200"/>
                  </a:cubicBezTo>
                  <a:cubicBezTo>
                    <a:pt x="3304" y="16200"/>
                    <a:pt x="3304" y="16200"/>
                    <a:pt x="3304" y="16200"/>
                  </a:cubicBezTo>
                  <a:cubicBezTo>
                    <a:pt x="3304" y="16200"/>
                    <a:pt x="3558" y="16335"/>
                    <a:pt x="3558" y="16335"/>
                  </a:cubicBezTo>
                  <a:cubicBezTo>
                    <a:pt x="3812" y="16335"/>
                    <a:pt x="3812" y="16605"/>
                    <a:pt x="3812" y="16605"/>
                  </a:cubicBezTo>
                  <a:cubicBezTo>
                    <a:pt x="3812" y="16605"/>
                    <a:pt x="4066" y="16875"/>
                    <a:pt x="4320" y="16875"/>
                  </a:cubicBezTo>
                  <a:cubicBezTo>
                    <a:pt x="4320" y="16875"/>
                    <a:pt x="4574" y="16875"/>
                    <a:pt x="4574" y="16875"/>
                  </a:cubicBezTo>
                  <a:cubicBezTo>
                    <a:pt x="4574" y="16875"/>
                    <a:pt x="4574" y="16875"/>
                    <a:pt x="4574" y="16875"/>
                  </a:cubicBezTo>
                  <a:cubicBezTo>
                    <a:pt x="4828" y="16605"/>
                    <a:pt x="4828" y="16605"/>
                    <a:pt x="4828" y="16605"/>
                  </a:cubicBezTo>
                  <a:cubicBezTo>
                    <a:pt x="4574" y="16470"/>
                    <a:pt x="4574" y="16470"/>
                    <a:pt x="4574" y="16470"/>
                  </a:cubicBezTo>
                  <a:cubicBezTo>
                    <a:pt x="4574" y="16065"/>
                    <a:pt x="4574" y="16065"/>
                    <a:pt x="4574" y="16065"/>
                  </a:cubicBezTo>
                  <a:cubicBezTo>
                    <a:pt x="4320" y="15930"/>
                    <a:pt x="4320" y="15930"/>
                    <a:pt x="4320" y="15930"/>
                  </a:cubicBezTo>
                  <a:cubicBezTo>
                    <a:pt x="4066" y="15660"/>
                    <a:pt x="4066" y="15660"/>
                    <a:pt x="4066" y="15660"/>
                  </a:cubicBezTo>
                  <a:cubicBezTo>
                    <a:pt x="3049" y="14985"/>
                    <a:pt x="3049" y="14985"/>
                    <a:pt x="3049" y="14985"/>
                  </a:cubicBezTo>
                  <a:cubicBezTo>
                    <a:pt x="2541" y="14580"/>
                    <a:pt x="2541" y="14580"/>
                    <a:pt x="2541" y="14580"/>
                  </a:cubicBezTo>
                  <a:cubicBezTo>
                    <a:pt x="3049" y="13905"/>
                    <a:pt x="3049" y="13905"/>
                    <a:pt x="3049" y="13905"/>
                  </a:cubicBezTo>
                  <a:cubicBezTo>
                    <a:pt x="2795" y="13635"/>
                    <a:pt x="2795" y="13635"/>
                    <a:pt x="2795" y="13635"/>
                  </a:cubicBezTo>
                  <a:cubicBezTo>
                    <a:pt x="2795" y="13635"/>
                    <a:pt x="3049" y="13500"/>
                    <a:pt x="3049" y="13500"/>
                  </a:cubicBezTo>
                  <a:cubicBezTo>
                    <a:pt x="3049" y="13500"/>
                    <a:pt x="3304" y="13365"/>
                    <a:pt x="3304" y="13365"/>
                  </a:cubicBezTo>
                  <a:cubicBezTo>
                    <a:pt x="3304" y="13365"/>
                    <a:pt x="3304" y="13230"/>
                    <a:pt x="3304" y="13230"/>
                  </a:cubicBezTo>
                  <a:cubicBezTo>
                    <a:pt x="3304" y="13095"/>
                    <a:pt x="3304" y="13095"/>
                    <a:pt x="3304" y="13095"/>
                  </a:cubicBezTo>
                  <a:cubicBezTo>
                    <a:pt x="3558" y="12825"/>
                    <a:pt x="3558" y="12825"/>
                    <a:pt x="3558" y="12825"/>
                  </a:cubicBezTo>
                  <a:cubicBezTo>
                    <a:pt x="3049" y="12825"/>
                    <a:pt x="3049" y="12825"/>
                    <a:pt x="3049" y="12825"/>
                  </a:cubicBezTo>
                  <a:cubicBezTo>
                    <a:pt x="3049" y="12690"/>
                    <a:pt x="3304" y="12555"/>
                    <a:pt x="3304" y="12555"/>
                  </a:cubicBezTo>
                  <a:cubicBezTo>
                    <a:pt x="3304" y="12555"/>
                    <a:pt x="3304" y="12555"/>
                    <a:pt x="3558" y="12555"/>
                  </a:cubicBezTo>
                  <a:cubicBezTo>
                    <a:pt x="4066" y="12285"/>
                    <a:pt x="4066" y="12285"/>
                    <a:pt x="4066" y="12285"/>
                  </a:cubicBezTo>
                  <a:cubicBezTo>
                    <a:pt x="4066" y="12150"/>
                    <a:pt x="4066" y="12150"/>
                    <a:pt x="4066" y="12150"/>
                  </a:cubicBezTo>
                  <a:cubicBezTo>
                    <a:pt x="3304" y="12015"/>
                    <a:pt x="3304" y="12015"/>
                    <a:pt x="3304" y="12015"/>
                  </a:cubicBezTo>
                  <a:cubicBezTo>
                    <a:pt x="3558" y="11610"/>
                    <a:pt x="3558" y="11610"/>
                    <a:pt x="3558" y="11610"/>
                  </a:cubicBezTo>
                  <a:cubicBezTo>
                    <a:pt x="3304" y="11475"/>
                    <a:pt x="3049" y="11205"/>
                    <a:pt x="3049" y="11205"/>
                  </a:cubicBezTo>
                  <a:cubicBezTo>
                    <a:pt x="3304" y="10935"/>
                    <a:pt x="3304" y="10935"/>
                    <a:pt x="3304" y="10935"/>
                  </a:cubicBezTo>
                  <a:cubicBezTo>
                    <a:pt x="3304" y="10935"/>
                    <a:pt x="3558" y="10530"/>
                    <a:pt x="3558" y="10395"/>
                  </a:cubicBezTo>
                  <a:cubicBezTo>
                    <a:pt x="3558" y="10260"/>
                    <a:pt x="3558" y="10125"/>
                    <a:pt x="3558" y="10125"/>
                  </a:cubicBezTo>
                  <a:cubicBezTo>
                    <a:pt x="3558" y="9990"/>
                    <a:pt x="3558" y="9990"/>
                    <a:pt x="3558" y="9990"/>
                  </a:cubicBezTo>
                  <a:cubicBezTo>
                    <a:pt x="3304" y="9855"/>
                    <a:pt x="3049" y="9720"/>
                    <a:pt x="3049" y="9720"/>
                  </a:cubicBezTo>
                  <a:cubicBezTo>
                    <a:pt x="3049" y="9720"/>
                    <a:pt x="2795" y="9720"/>
                    <a:pt x="2795" y="9585"/>
                  </a:cubicBezTo>
                  <a:cubicBezTo>
                    <a:pt x="2541" y="9585"/>
                    <a:pt x="2541" y="9585"/>
                    <a:pt x="2541" y="9585"/>
                  </a:cubicBezTo>
                  <a:cubicBezTo>
                    <a:pt x="2033" y="9315"/>
                    <a:pt x="2033" y="9315"/>
                    <a:pt x="2033" y="9315"/>
                  </a:cubicBezTo>
                  <a:cubicBezTo>
                    <a:pt x="2795" y="9045"/>
                    <a:pt x="2795" y="9045"/>
                    <a:pt x="2795" y="9045"/>
                  </a:cubicBezTo>
                  <a:cubicBezTo>
                    <a:pt x="2795" y="8910"/>
                    <a:pt x="2795" y="8910"/>
                    <a:pt x="2795" y="8910"/>
                  </a:cubicBezTo>
                  <a:cubicBezTo>
                    <a:pt x="3049" y="8775"/>
                    <a:pt x="3304" y="8775"/>
                    <a:pt x="3304" y="8775"/>
                  </a:cubicBezTo>
                  <a:cubicBezTo>
                    <a:pt x="3304" y="8775"/>
                    <a:pt x="3558" y="8640"/>
                    <a:pt x="3558" y="8640"/>
                  </a:cubicBezTo>
                  <a:cubicBezTo>
                    <a:pt x="3558" y="8505"/>
                    <a:pt x="3558" y="8370"/>
                    <a:pt x="3558" y="8235"/>
                  </a:cubicBezTo>
                  <a:cubicBezTo>
                    <a:pt x="2795" y="8100"/>
                    <a:pt x="2795" y="8100"/>
                    <a:pt x="2795" y="8100"/>
                  </a:cubicBezTo>
                  <a:cubicBezTo>
                    <a:pt x="2795" y="7965"/>
                    <a:pt x="2795" y="7965"/>
                    <a:pt x="2795" y="7965"/>
                  </a:cubicBezTo>
                  <a:cubicBezTo>
                    <a:pt x="2795" y="7965"/>
                    <a:pt x="3049" y="7965"/>
                    <a:pt x="3304" y="7830"/>
                  </a:cubicBezTo>
                  <a:cubicBezTo>
                    <a:pt x="3558" y="7830"/>
                    <a:pt x="3812" y="7695"/>
                    <a:pt x="3812" y="7695"/>
                  </a:cubicBezTo>
                  <a:cubicBezTo>
                    <a:pt x="4066" y="7695"/>
                    <a:pt x="4066" y="7560"/>
                    <a:pt x="4066" y="7425"/>
                  </a:cubicBezTo>
                  <a:cubicBezTo>
                    <a:pt x="3558" y="7290"/>
                    <a:pt x="3558" y="7290"/>
                    <a:pt x="3558" y="7290"/>
                  </a:cubicBezTo>
                  <a:cubicBezTo>
                    <a:pt x="3812" y="7020"/>
                    <a:pt x="3812" y="7020"/>
                    <a:pt x="3812" y="7020"/>
                  </a:cubicBezTo>
                  <a:cubicBezTo>
                    <a:pt x="3558" y="6615"/>
                    <a:pt x="3558" y="6615"/>
                    <a:pt x="3558" y="6615"/>
                  </a:cubicBezTo>
                  <a:cubicBezTo>
                    <a:pt x="3812" y="6345"/>
                    <a:pt x="3812" y="6345"/>
                    <a:pt x="3812" y="6345"/>
                  </a:cubicBezTo>
                  <a:cubicBezTo>
                    <a:pt x="3558" y="6210"/>
                    <a:pt x="3558" y="6210"/>
                    <a:pt x="3558" y="6210"/>
                  </a:cubicBezTo>
                  <a:cubicBezTo>
                    <a:pt x="2541" y="5940"/>
                    <a:pt x="2541" y="5940"/>
                    <a:pt x="2541" y="5940"/>
                  </a:cubicBezTo>
                  <a:cubicBezTo>
                    <a:pt x="2287" y="5940"/>
                    <a:pt x="2287" y="5940"/>
                    <a:pt x="2287" y="5940"/>
                  </a:cubicBezTo>
                  <a:cubicBezTo>
                    <a:pt x="2033" y="5940"/>
                    <a:pt x="1779" y="6075"/>
                    <a:pt x="1779" y="6075"/>
                  </a:cubicBezTo>
                  <a:cubicBezTo>
                    <a:pt x="1016" y="5940"/>
                    <a:pt x="1016" y="5805"/>
                    <a:pt x="1016" y="5805"/>
                  </a:cubicBezTo>
                  <a:cubicBezTo>
                    <a:pt x="1271" y="5805"/>
                    <a:pt x="1271" y="5670"/>
                    <a:pt x="1271" y="5670"/>
                  </a:cubicBezTo>
                  <a:cubicBezTo>
                    <a:pt x="1016" y="5535"/>
                    <a:pt x="1016" y="5535"/>
                    <a:pt x="1016" y="5535"/>
                  </a:cubicBezTo>
                  <a:cubicBezTo>
                    <a:pt x="1016" y="5265"/>
                    <a:pt x="1016" y="5265"/>
                    <a:pt x="1016" y="5265"/>
                  </a:cubicBezTo>
                  <a:cubicBezTo>
                    <a:pt x="1016" y="5265"/>
                    <a:pt x="1271" y="4995"/>
                    <a:pt x="1271" y="4995"/>
                  </a:cubicBezTo>
                  <a:cubicBezTo>
                    <a:pt x="1016" y="4860"/>
                    <a:pt x="1016" y="4725"/>
                    <a:pt x="1016" y="4725"/>
                  </a:cubicBezTo>
                  <a:cubicBezTo>
                    <a:pt x="1271" y="4455"/>
                    <a:pt x="1271" y="4455"/>
                    <a:pt x="1271" y="4455"/>
                  </a:cubicBezTo>
                  <a:cubicBezTo>
                    <a:pt x="1271" y="4320"/>
                    <a:pt x="1271" y="4320"/>
                    <a:pt x="1271" y="4320"/>
                  </a:cubicBezTo>
                  <a:cubicBezTo>
                    <a:pt x="1271" y="4185"/>
                    <a:pt x="1271" y="4050"/>
                    <a:pt x="1271" y="4050"/>
                  </a:cubicBezTo>
                  <a:cubicBezTo>
                    <a:pt x="254" y="3780"/>
                    <a:pt x="254" y="3780"/>
                    <a:pt x="254" y="3780"/>
                  </a:cubicBezTo>
                  <a:cubicBezTo>
                    <a:pt x="0" y="3645"/>
                    <a:pt x="0" y="3645"/>
                    <a:pt x="0" y="3645"/>
                  </a:cubicBezTo>
                  <a:cubicBezTo>
                    <a:pt x="0" y="3375"/>
                    <a:pt x="0" y="3375"/>
                    <a:pt x="0" y="3375"/>
                  </a:cubicBezTo>
                  <a:cubicBezTo>
                    <a:pt x="508" y="3105"/>
                    <a:pt x="508" y="3105"/>
                    <a:pt x="508" y="3105"/>
                  </a:cubicBezTo>
                  <a:cubicBezTo>
                    <a:pt x="762" y="2835"/>
                    <a:pt x="762" y="2835"/>
                    <a:pt x="762" y="2835"/>
                  </a:cubicBezTo>
                  <a:cubicBezTo>
                    <a:pt x="762" y="2700"/>
                    <a:pt x="762" y="2700"/>
                    <a:pt x="762" y="2565"/>
                  </a:cubicBezTo>
                  <a:cubicBezTo>
                    <a:pt x="762" y="2565"/>
                    <a:pt x="1016" y="2430"/>
                    <a:pt x="1016" y="2430"/>
                  </a:cubicBezTo>
                  <a:cubicBezTo>
                    <a:pt x="1016" y="2160"/>
                    <a:pt x="1016" y="2160"/>
                    <a:pt x="1016" y="2160"/>
                  </a:cubicBezTo>
                  <a:cubicBezTo>
                    <a:pt x="1016" y="2025"/>
                    <a:pt x="1016" y="2025"/>
                    <a:pt x="1016" y="2025"/>
                  </a:cubicBezTo>
                  <a:cubicBezTo>
                    <a:pt x="1271" y="1890"/>
                    <a:pt x="1271" y="1890"/>
                    <a:pt x="1271" y="1890"/>
                  </a:cubicBezTo>
                  <a:cubicBezTo>
                    <a:pt x="1271" y="1890"/>
                    <a:pt x="1525" y="1755"/>
                    <a:pt x="1779" y="1755"/>
                  </a:cubicBezTo>
                  <a:cubicBezTo>
                    <a:pt x="1779" y="1620"/>
                    <a:pt x="1779" y="1485"/>
                    <a:pt x="1779" y="1485"/>
                  </a:cubicBezTo>
                  <a:cubicBezTo>
                    <a:pt x="2795" y="675"/>
                    <a:pt x="2795" y="675"/>
                    <a:pt x="2795" y="675"/>
                  </a:cubicBezTo>
                  <a:cubicBezTo>
                    <a:pt x="2541" y="540"/>
                    <a:pt x="2541" y="540"/>
                    <a:pt x="2541" y="540"/>
                  </a:cubicBezTo>
                  <a:cubicBezTo>
                    <a:pt x="3304" y="0"/>
                    <a:pt x="3558" y="0"/>
                    <a:pt x="3558" y="0"/>
                  </a:cubicBezTo>
                  <a:cubicBezTo>
                    <a:pt x="3812" y="0"/>
                    <a:pt x="4066" y="0"/>
                    <a:pt x="4066" y="0"/>
                  </a:cubicBezTo>
                  <a:cubicBezTo>
                    <a:pt x="4320" y="135"/>
                    <a:pt x="4320" y="135"/>
                    <a:pt x="4320" y="135"/>
                  </a:cubicBezTo>
                  <a:cubicBezTo>
                    <a:pt x="4574" y="270"/>
                    <a:pt x="4574" y="270"/>
                    <a:pt x="4574" y="270"/>
                  </a:cubicBezTo>
                  <a:cubicBezTo>
                    <a:pt x="4574" y="405"/>
                    <a:pt x="4574" y="405"/>
                    <a:pt x="4574" y="405"/>
                  </a:cubicBezTo>
                  <a:cubicBezTo>
                    <a:pt x="4574" y="540"/>
                    <a:pt x="4320" y="540"/>
                    <a:pt x="4320" y="675"/>
                  </a:cubicBezTo>
                  <a:cubicBezTo>
                    <a:pt x="4574" y="675"/>
                    <a:pt x="4320" y="810"/>
                    <a:pt x="4320" y="810"/>
                  </a:cubicBezTo>
                  <a:cubicBezTo>
                    <a:pt x="4574" y="810"/>
                    <a:pt x="4574" y="945"/>
                    <a:pt x="4574" y="945"/>
                  </a:cubicBezTo>
                  <a:cubicBezTo>
                    <a:pt x="4828" y="1080"/>
                    <a:pt x="4828" y="1080"/>
                    <a:pt x="4828" y="1080"/>
                  </a:cubicBezTo>
                  <a:cubicBezTo>
                    <a:pt x="4828" y="1215"/>
                    <a:pt x="5082" y="1215"/>
                    <a:pt x="5082" y="1215"/>
                  </a:cubicBezTo>
                  <a:cubicBezTo>
                    <a:pt x="5591" y="1080"/>
                    <a:pt x="5591" y="1080"/>
                    <a:pt x="5591" y="1080"/>
                  </a:cubicBezTo>
                  <a:cubicBezTo>
                    <a:pt x="6099" y="945"/>
                    <a:pt x="6099" y="945"/>
                    <a:pt x="6099" y="945"/>
                  </a:cubicBezTo>
                  <a:cubicBezTo>
                    <a:pt x="6099" y="945"/>
                    <a:pt x="6607" y="810"/>
                    <a:pt x="6861" y="810"/>
                  </a:cubicBezTo>
                  <a:cubicBezTo>
                    <a:pt x="6861" y="810"/>
                    <a:pt x="6861" y="675"/>
                    <a:pt x="7115" y="540"/>
                  </a:cubicBezTo>
                  <a:cubicBezTo>
                    <a:pt x="7369" y="540"/>
                    <a:pt x="7369" y="540"/>
                    <a:pt x="7369" y="540"/>
                  </a:cubicBezTo>
                  <a:cubicBezTo>
                    <a:pt x="7878" y="540"/>
                    <a:pt x="7878" y="540"/>
                    <a:pt x="7878" y="540"/>
                  </a:cubicBezTo>
                  <a:cubicBezTo>
                    <a:pt x="8132" y="810"/>
                    <a:pt x="8132" y="810"/>
                    <a:pt x="8132" y="810"/>
                  </a:cubicBezTo>
                  <a:cubicBezTo>
                    <a:pt x="8640" y="945"/>
                    <a:pt x="8640" y="945"/>
                    <a:pt x="8640" y="945"/>
                  </a:cubicBezTo>
                  <a:cubicBezTo>
                    <a:pt x="9148" y="1215"/>
                    <a:pt x="9148" y="1215"/>
                    <a:pt x="9148" y="1215"/>
                  </a:cubicBezTo>
                  <a:cubicBezTo>
                    <a:pt x="9402" y="1620"/>
                    <a:pt x="9402" y="1620"/>
                    <a:pt x="9402" y="1620"/>
                  </a:cubicBezTo>
                  <a:cubicBezTo>
                    <a:pt x="9911" y="2025"/>
                    <a:pt x="9911" y="2025"/>
                    <a:pt x="9911" y="2025"/>
                  </a:cubicBezTo>
                  <a:cubicBezTo>
                    <a:pt x="10165" y="1890"/>
                    <a:pt x="10165" y="1890"/>
                    <a:pt x="10165" y="1890"/>
                  </a:cubicBezTo>
                  <a:cubicBezTo>
                    <a:pt x="10673" y="2160"/>
                    <a:pt x="10673" y="2160"/>
                    <a:pt x="10673" y="2160"/>
                  </a:cubicBezTo>
                  <a:cubicBezTo>
                    <a:pt x="11181" y="2295"/>
                    <a:pt x="11181" y="2295"/>
                    <a:pt x="11181" y="2295"/>
                  </a:cubicBezTo>
                  <a:cubicBezTo>
                    <a:pt x="11181" y="2295"/>
                    <a:pt x="11689" y="2295"/>
                    <a:pt x="12198" y="2430"/>
                  </a:cubicBezTo>
                  <a:cubicBezTo>
                    <a:pt x="12452" y="2430"/>
                    <a:pt x="12452" y="2565"/>
                    <a:pt x="12452" y="2565"/>
                  </a:cubicBezTo>
                  <a:cubicBezTo>
                    <a:pt x="12706" y="2835"/>
                    <a:pt x="13214" y="3105"/>
                    <a:pt x="13214" y="3105"/>
                  </a:cubicBezTo>
                  <a:cubicBezTo>
                    <a:pt x="13468" y="3510"/>
                    <a:pt x="13468" y="3510"/>
                    <a:pt x="13468" y="3510"/>
                  </a:cubicBezTo>
                  <a:cubicBezTo>
                    <a:pt x="13468" y="3510"/>
                    <a:pt x="13722" y="3780"/>
                    <a:pt x="13722" y="3915"/>
                  </a:cubicBezTo>
                  <a:cubicBezTo>
                    <a:pt x="13722" y="3915"/>
                    <a:pt x="13722" y="4050"/>
                    <a:pt x="13722" y="4050"/>
                  </a:cubicBezTo>
                  <a:cubicBezTo>
                    <a:pt x="14485" y="4455"/>
                    <a:pt x="14485" y="4455"/>
                    <a:pt x="14485" y="4455"/>
                  </a:cubicBezTo>
                  <a:cubicBezTo>
                    <a:pt x="14231" y="4860"/>
                    <a:pt x="14231" y="4860"/>
                    <a:pt x="14231" y="4860"/>
                  </a:cubicBezTo>
                  <a:cubicBezTo>
                    <a:pt x="13976" y="5130"/>
                    <a:pt x="13976" y="5130"/>
                    <a:pt x="13976" y="5130"/>
                  </a:cubicBezTo>
                  <a:cubicBezTo>
                    <a:pt x="13976" y="5130"/>
                    <a:pt x="13976" y="5400"/>
                    <a:pt x="13976" y="5400"/>
                  </a:cubicBezTo>
                  <a:cubicBezTo>
                    <a:pt x="13976" y="5400"/>
                    <a:pt x="13976" y="5670"/>
                    <a:pt x="13976" y="5670"/>
                  </a:cubicBezTo>
                  <a:cubicBezTo>
                    <a:pt x="13722" y="5805"/>
                    <a:pt x="13722" y="5805"/>
                    <a:pt x="13722" y="5805"/>
                  </a:cubicBezTo>
                  <a:cubicBezTo>
                    <a:pt x="13976" y="6480"/>
                    <a:pt x="13976" y="6480"/>
                    <a:pt x="13976" y="6480"/>
                  </a:cubicBezTo>
                  <a:cubicBezTo>
                    <a:pt x="13722" y="6885"/>
                    <a:pt x="13722" y="6885"/>
                    <a:pt x="13722" y="6885"/>
                  </a:cubicBezTo>
                  <a:cubicBezTo>
                    <a:pt x="13976" y="6885"/>
                    <a:pt x="14231" y="7020"/>
                    <a:pt x="14231" y="7155"/>
                  </a:cubicBezTo>
                  <a:cubicBezTo>
                    <a:pt x="14485" y="7155"/>
                    <a:pt x="14231" y="7290"/>
                    <a:pt x="14231" y="7290"/>
                  </a:cubicBezTo>
                  <a:cubicBezTo>
                    <a:pt x="13976" y="7425"/>
                    <a:pt x="13976" y="7425"/>
                    <a:pt x="13722" y="7560"/>
                  </a:cubicBezTo>
                  <a:cubicBezTo>
                    <a:pt x="13468" y="7560"/>
                    <a:pt x="13468" y="7560"/>
                    <a:pt x="13468" y="7560"/>
                  </a:cubicBezTo>
                  <a:cubicBezTo>
                    <a:pt x="13468" y="7695"/>
                    <a:pt x="13214" y="7695"/>
                    <a:pt x="13214" y="7695"/>
                  </a:cubicBezTo>
                  <a:cubicBezTo>
                    <a:pt x="13214" y="7695"/>
                    <a:pt x="13214" y="7830"/>
                    <a:pt x="13214" y="7965"/>
                  </a:cubicBezTo>
                  <a:cubicBezTo>
                    <a:pt x="13468" y="8100"/>
                    <a:pt x="13976" y="8235"/>
                    <a:pt x="13976" y="8235"/>
                  </a:cubicBezTo>
                  <a:cubicBezTo>
                    <a:pt x="13976" y="8235"/>
                    <a:pt x="14485" y="8505"/>
                    <a:pt x="14485" y="8640"/>
                  </a:cubicBezTo>
                  <a:cubicBezTo>
                    <a:pt x="14739" y="8640"/>
                    <a:pt x="14485" y="8775"/>
                    <a:pt x="14485" y="8910"/>
                  </a:cubicBezTo>
                  <a:cubicBezTo>
                    <a:pt x="14485" y="8910"/>
                    <a:pt x="14485" y="9045"/>
                    <a:pt x="13976" y="9180"/>
                  </a:cubicBezTo>
                  <a:cubicBezTo>
                    <a:pt x="14231" y="9315"/>
                    <a:pt x="14231" y="9315"/>
                    <a:pt x="14231" y="9315"/>
                  </a:cubicBezTo>
                  <a:cubicBezTo>
                    <a:pt x="14485" y="9720"/>
                    <a:pt x="14485" y="9720"/>
                    <a:pt x="14485" y="9720"/>
                  </a:cubicBezTo>
                  <a:cubicBezTo>
                    <a:pt x="14485" y="9720"/>
                    <a:pt x="14485" y="9855"/>
                    <a:pt x="14485" y="9855"/>
                  </a:cubicBezTo>
                  <a:cubicBezTo>
                    <a:pt x="14739" y="9990"/>
                    <a:pt x="14993" y="10260"/>
                    <a:pt x="15247" y="10260"/>
                  </a:cubicBezTo>
                  <a:cubicBezTo>
                    <a:pt x="15247" y="10260"/>
                    <a:pt x="15501" y="10530"/>
                    <a:pt x="15501" y="10665"/>
                  </a:cubicBezTo>
                  <a:cubicBezTo>
                    <a:pt x="15501" y="10665"/>
                    <a:pt x="15501" y="10800"/>
                    <a:pt x="15501" y="10800"/>
                  </a:cubicBezTo>
                  <a:cubicBezTo>
                    <a:pt x="15501" y="10800"/>
                    <a:pt x="15755" y="10800"/>
                    <a:pt x="15755" y="10800"/>
                  </a:cubicBezTo>
                  <a:cubicBezTo>
                    <a:pt x="16009" y="10935"/>
                    <a:pt x="16518" y="10935"/>
                    <a:pt x="16518" y="10935"/>
                  </a:cubicBezTo>
                  <a:cubicBezTo>
                    <a:pt x="16518" y="10935"/>
                    <a:pt x="16772" y="11070"/>
                    <a:pt x="16772" y="11205"/>
                  </a:cubicBezTo>
                  <a:cubicBezTo>
                    <a:pt x="17026" y="11340"/>
                    <a:pt x="17280" y="11610"/>
                    <a:pt x="17280" y="11745"/>
                  </a:cubicBezTo>
                  <a:cubicBezTo>
                    <a:pt x="17280" y="11745"/>
                    <a:pt x="17280" y="11880"/>
                    <a:pt x="17280" y="11880"/>
                  </a:cubicBezTo>
                  <a:cubicBezTo>
                    <a:pt x="17280" y="12015"/>
                    <a:pt x="17280" y="12015"/>
                    <a:pt x="17280" y="12015"/>
                  </a:cubicBezTo>
                  <a:cubicBezTo>
                    <a:pt x="17280" y="12150"/>
                    <a:pt x="17534" y="12015"/>
                    <a:pt x="17534" y="12015"/>
                  </a:cubicBezTo>
                  <a:cubicBezTo>
                    <a:pt x="17534" y="12015"/>
                    <a:pt x="17788" y="11880"/>
                    <a:pt x="17788" y="11880"/>
                  </a:cubicBezTo>
                  <a:cubicBezTo>
                    <a:pt x="18042" y="11880"/>
                    <a:pt x="18296" y="11880"/>
                    <a:pt x="18551" y="11880"/>
                  </a:cubicBezTo>
                  <a:cubicBezTo>
                    <a:pt x="18805" y="11880"/>
                    <a:pt x="18805" y="11880"/>
                    <a:pt x="18805" y="11880"/>
                  </a:cubicBezTo>
                  <a:cubicBezTo>
                    <a:pt x="19313" y="11880"/>
                    <a:pt x="19313" y="11880"/>
                    <a:pt x="19567" y="11880"/>
                  </a:cubicBezTo>
                  <a:cubicBezTo>
                    <a:pt x="20075" y="12015"/>
                    <a:pt x="20075" y="12015"/>
                    <a:pt x="20075" y="12015"/>
                  </a:cubicBezTo>
                  <a:cubicBezTo>
                    <a:pt x="20329" y="12285"/>
                    <a:pt x="20329" y="12285"/>
                    <a:pt x="20329" y="12285"/>
                  </a:cubicBezTo>
                  <a:cubicBezTo>
                    <a:pt x="20329" y="12285"/>
                    <a:pt x="20584" y="12285"/>
                    <a:pt x="20584" y="12285"/>
                  </a:cubicBezTo>
                  <a:cubicBezTo>
                    <a:pt x="20838" y="12555"/>
                    <a:pt x="20838" y="12555"/>
                    <a:pt x="20838" y="12555"/>
                  </a:cubicBezTo>
                  <a:cubicBezTo>
                    <a:pt x="21346" y="12960"/>
                    <a:pt x="21346" y="12960"/>
                    <a:pt x="21346" y="12960"/>
                  </a:cubicBezTo>
                  <a:cubicBezTo>
                    <a:pt x="21600" y="14040"/>
                    <a:pt x="21600" y="14040"/>
                    <a:pt x="21600" y="14040"/>
                  </a:cubicBezTo>
                  <a:cubicBezTo>
                    <a:pt x="21092" y="14040"/>
                    <a:pt x="20584" y="14310"/>
                    <a:pt x="20329" y="14445"/>
                  </a:cubicBezTo>
                  <a:cubicBezTo>
                    <a:pt x="19567" y="15525"/>
                    <a:pt x="19567" y="15525"/>
                    <a:pt x="19567" y="15525"/>
                  </a:cubicBezTo>
                  <a:cubicBezTo>
                    <a:pt x="19059" y="16740"/>
                    <a:pt x="19059" y="16740"/>
                    <a:pt x="19059" y="16740"/>
                  </a:cubicBezTo>
                  <a:cubicBezTo>
                    <a:pt x="17788" y="17820"/>
                    <a:pt x="17788" y="17820"/>
                    <a:pt x="17788" y="17820"/>
                  </a:cubicBezTo>
                  <a:cubicBezTo>
                    <a:pt x="16009" y="18360"/>
                    <a:pt x="16009" y="18360"/>
                    <a:pt x="16009" y="18360"/>
                  </a:cubicBezTo>
                  <a:cubicBezTo>
                    <a:pt x="15755" y="18360"/>
                    <a:pt x="15755" y="18360"/>
                    <a:pt x="15755" y="18360"/>
                  </a:cubicBezTo>
                  <a:cubicBezTo>
                    <a:pt x="15755" y="18360"/>
                    <a:pt x="15501" y="18495"/>
                    <a:pt x="15501" y="18495"/>
                  </a:cubicBezTo>
                  <a:cubicBezTo>
                    <a:pt x="15247" y="18900"/>
                    <a:pt x="15247" y="18900"/>
                    <a:pt x="15247" y="18900"/>
                  </a:cubicBezTo>
                  <a:cubicBezTo>
                    <a:pt x="14993" y="19035"/>
                    <a:pt x="14993" y="19035"/>
                    <a:pt x="14993" y="19035"/>
                  </a:cubicBezTo>
                  <a:cubicBezTo>
                    <a:pt x="14739" y="19035"/>
                    <a:pt x="14739" y="19035"/>
                    <a:pt x="14739" y="19035"/>
                  </a:cubicBezTo>
                  <a:cubicBezTo>
                    <a:pt x="14739" y="19170"/>
                    <a:pt x="14739" y="19170"/>
                    <a:pt x="14739" y="19170"/>
                  </a:cubicBezTo>
                  <a:cubicBezTo>
                    <a:pt x="14739" y="19305"/>
                    <a:pt x="14739" y="19305"/>
                    <a:pt x="14739" y="19440"/>
                  </a:cubicBezTo>
                  <a:cubicBezTo>
                    <a:pt x="14739" y="19440"/>
                    <a:pt x="14739" y="19440"/>
                    <a:pt x="14739" y="19575"/>
                  </a:cubicBezTo>
                  <a:cubicBezTo>
                    <a:pt x="14739" y="19575"/>
                    <a:pt x="14993" y="19575"/>
                    <a:pt x="14993" y="19710"/>
                  </a:cubicBezTo>
                  <a:cubicBezTo>
                    <a:pt x="14993" y="19710"/>
                    <a:pt x="15247" y="19845"/>
                    <a:pt x="15501" y="19845"/>
                  </a:cubicBezTo>
                  <a:cubicBezTo>
                    <a:pt x="15755" y="19980"/>
                    <a:pt x="16009" y="19980"/>
                    <a:pt x="16009" y="19980"/>
                  </a:cubicBezTo>
                  <a:cubicBezTo>
                    <a:pt x="16264" y="20250"/>
                    <a:pt x="16264" y="20250"/>
                    <a:pt x="16264" y="20250"/>
                  </a:cubicBezTo>
                  <a:cubicBezTo>
                    <a:pt x="16009" y="20385"/>
                    <a:pt x="15755" y="20385"/>
                    <a:pt x="15501" y="20385"/>
                  </a:cubicBezTo>
                  <a:cubicBezTo>
                    <a:pt x="15501" y="20385"/>
                    <a:pt x="15247" y="20385"/>
                    <a:pt x="15247" y="20385"/>
                  </a:cubicBezTo>
                  <a:cubicBezTo>
                    <a:pt x="14993" y="20385"/>
                    <a:pt x="14993" y="20385"/>
                    <a:pt x="14739" y="20385"/>
                  </a:cubicBezTo>
                  <a:cubicBezTo>
                    <a:pt x="14739" y="20385"/>
                    <a:pt x="14739" y="20520"/>
                    <a:pt x="14739" y="20655"/>
                  </a:cubicBezTo>
                  <a:cubicBezTo>
                    <a:pt x="14993" y="20790"/>
                    <a:pt x="14993" y="20790"/>
                    <a:pt x="14993" y="20790"/>
                  </a:cubicBezTo>
                  <a:cubicBezTo>
                    <a:pt x="14993" y="20790"/>
                    <a:pt x="14993" y="21060"/>
                    <a:pt x="14993" y="21060"/>
                  </a:cubicBezTo>
                  <a:cubicBezTo>
                    <a:pt x="14993" y="21060"/>
                    <a:pt x="14993" y="21195"/>
                    <a:pt x="14485" y="21330"/>
                  </a:cubicBezTo>
                  <a:cubicBezTo>
                    <a:pt x="14231" y="21600"/>
                    <a:pt x="14231" y="21600"/>
                    <a:pt x="14231" y="21600"/>
                  </a:cubicBezTo>
                  <a:cubicBezTo>
                    <a:pt x="13214" y="21600"/>
                    <a:pt x="13214" y="21600"/>
                    <a:pt x="13214" y="21600"/>
                  </a:cubicBezTo>
                  <a:cubicBezTo>
                    <a:pt x="13214" y="21600"/>
                    <a:pt x="13214" y="21600"/>
                    <a:pt x="13214" y="21600"/>
                  </a:cubicBezTo>
                  <a:close/>
                  <a:moveTo>
                    <a:pt x="12452" y="21330"/>
                  </a:moveTo>
                  <a:cubicBezTo>
                    <a:pt x="12452" y="21330"/>
                    <a:pt x="12452" y="21330"/>
                    <a:pt x="12452" y="21330"/>
                  </a:cubicBezTo>
                  <a:cubicBezTo>
                    <a:pt x="13214" y="21465"/>
                    <a:pt x="13214" y="21465"/>
                    <a:pt x="13214" y="21465"/>
                  </a:cubicBezTo>
                  <a:cubicBezTo>
                    <a:pt x="13976" y="21465"/>
                    <a:pt x="13976" y="21465"/>
                    <a:pt x="13976" y="21465"/>
                  </a:cubicBezTo>
                  <a:cubicBezTo>
                    <a:pt x="14485" y="21330"/>
                    <a:pt x="14485" y="21330"/>
                    <a:pt x="14485" y="21330"/>
                  </a:cubicBezTo>
                  <a:cubicBezTo>
                    <a:pt x="14739" y="21195"/>
                    <a:pt x="14993" y="21060"/>
                    <a:pt x="14993" y="21060"/>
                  </a:cubicBezTo>
                  <a:cubicBezTo>
                    <a:pt x="14993" y="21060"/>
                    <a:pt x="14739" y="20790"/>
                    <a:pt x="14739" y="20790"/>
                  </a:cubicBezTo>
                  <a:cubicBezTo>
                    <a:pt x="14739" y="20655"/>
                    <a:pt x="14739" y="20655"/>
                    <a:pt x="14739" y="20655"/>
                  </a:cubicBezTo>
                  <a:cubicBezTo>
                    <a:pt x="14739" y="20655"/>
                    <a:pt x="14485" y="20520"/>
                    <a:pt x="14485" y="20385"/>
                  </a:cubicBezTo>
                  <a:cubicBezTo>
                    <a:pt x="14485" y="20385"/>
                    <a:pt x="14739" y="20250"/>
                    <a:pt x="14739" y="20250"/>
                  </a:cubicBezTo>
                  <a:cubicBezTo>
                    <a:pt x="14993" y="20250"/>
                    <a:pt x="14993" y="20250"/>
                    <a:pt x="14993" y="20250"/>
                  </a:cubicBezTo>
                  <a:cubicBezTo>
                    <a:pt x="14993" y="20250"/>
                    <a:pt x="15247" y="20250"/>
                    <a:pt x="15247" y="20250"/>
                  </a:cubicBezTo>
                  <a:cubicBezTo>
                    <a:pt x="15501" y="20385"/>
                    <a:pt x="15501" y="20385"/>
                    <a:pt x="15501" y="20385"/>
                  </a:cubicBezTo>
                  <a:cubicBezTo>
                    <a:pt x="15501" y="20385"/>
                    <a:pt x="15501" y="20385"/>
                    <a:pt x="15501" y="20385"/>
                  </a:cubicBezTo>
                  <a:cubicBezTo>
                    <a:pt x="15755" y="20385"/>
                    <a:pt x="16009" y="20250"/>
                    <a:pt x="16009" y="20115"/>
                  </a:cubicBezTo>
                  <a:cubicBezTo>
                    <a:pt x="16009" y="20115"/>
                    <a:pt x="16009" y="20115"/>
                    <a:pt x="16009" y="20115"/>
                  </a:cubicBezTo>
                  <a:cubicBezTo>
                    <a:pt x="15755" y="20115"/>
                    <a:pt x="15755" y="19980"/>
                    <a:pt x="15501" y="19980"/>
                  </a:cubicBezTo>
                  <a:cubicBezTo>
                    <a:pt x="14993" y="19845"/>
                    <a:pt x="14739" y="19710"/>
                    <a:pt x="14739" y="19710"/>
                  </a:cubicBezTo>
                  <a:cubicBezTo>
                    <a:pt x="14739" y="19710"/>
                    <a:pt x="14739" y="19575"/>
                    <a:pt x="14739" y="19575"/>
                  </a:cubicBezTo>
                  <a:cubicBezTo>
                    <a:pt x="14485" y="19575"/>
                    <a:pt x="14485" y="19440"/>
                    <a:pt x="14485" y="19440"/>
                  </a:cubicBezTo>
                  <a:cubicBezTo>
                    <a:pt x="14485" y="19305"/>
                    <a:pt x="14485" y="19170"/>
                    <a:pt x="14485" y="19170"/>
                  </a:cubicBezTo>
                  <a:cubicBezTo>
                    <a:pt x="14485" y="19035"/>
                    <a:pt x="14485" y="19035"/>
                    <a:pt x="14485" y="19035"/>
                  </a:cubicBezTo>
                  <a:cubicBezTo>
                    <a:pt x="14485" y="19035"/>
                    <a:pt x="14739" y="18900"/>
                    <a:pt x="14993" y="18900"/>
                  </a:cubicBezTo>
                  <a:cubicBezTo>
                    <a:pt x="15247" y="18900"/>
                    <a:pt x="15247" y="18900"/>
                    <a:pt x="15247" y="18900"/>
                  </a:cubicBezTo>
                  <a:cubicBezTo>
                    <a:pt x="15501" y="18495"/>
                    <a:pt x="15501" y="18495"/>
                    <a:pt x="15501" y="18495"/>
                  </a:cubicBezTo>
                  <a:cubicBezTo>
                    <a:pt x="15501" y="18495"/>
                    <a:pt x="15501" y="18360"/>
                    <a:pt x="15755" y="18360"/>
                  </a:cubicBezTo>
                  <a:cubicBezTo>
                    <a:pt x="16009" y="18360"/>
                    <a:pt x="16009" y="18360"/>
                    <a:pt x="16009" y="18360"/>
                  </a:cubicBezTo>
                  <a:cubicBezTo>
                    <a:pt x="16009" y="18360"/>
                    <a:pt x="16009" y="18360"/>
                    <a:pt x="16009" y="18360"/>
                  </a:cubicBezTo>
                  <a:cubicBezTo>
                    <a:pt x="17788" y="17820"/>
                    <a:pt x="17788" y="17820"/>
                    <a:pt x="17788" y="17820"/>
                  </a:cubicBezTo>
                  <a:cubicBezTo>
                    <a:pt x="19059" y="16740"/>
                    <a:pt x="19059" y="16740"/>
                    <a:pt x="19059" y="16740"/>
                  </a:cubicBezTo>
                  <a:cubicBezTo>
                    <a:pt x="19313" y="15525"/>
                    <a:pt x="19313" y="15525"/>
                    <a:pt x="19313" y="15525"/>
                  </a:cubicBezTo>
                  <a:cubicBezTo>
                    <a:pt x="20075" y="14445"/>
                    <a:pt x="20075" y="14445"/>
                    <a:pt x="20075" y="14445"/>
                  </a:cubicBezTo>
                  <a:cubicBezTo>
                    <a:pt x="20329" y="14310"/>
                    <a:pt x="21092" y="14040"/>
                    <a:pt x="21346" y="14040"/>
                  </a:cubicBezTo>
                  <a:cubicBezTo>
                    <a:pt x="21346" y="13905"/>
                    <a:pt x="21346" y="13500"/>
                    <a:pt x="21092" y="12960"/>
                  </a:cubicBezTo>
                  <a:cubicBezTo>
                    <a:pt x="20584" y="12555"/>
                    <a:pt x="20584" y="12555"/>
                    <a:pt x="20584" y="12555"/>
                  </a:cubicBezTo>
                  <a:cubicBezTo>
                    <a:pt x="20584" y="12285"/>
                    <a:pt x="20584" y="12285"/>
                    <a:pt x="20584" y="12285"/>
                  </a:cubicBezTo>
                  <a:cubicBezTo>
                    <a:pt x="20584" y="12420"/>
                    <a:pt x="20329" y="12420"/>
                    <a:pt x="20329" y="12285"/>
                  </a:cubicBezTo>
                  <a:cubicBezTo>
                    <a:pt x="20329" y="12285"/>
                    <a:pt x="20075" y="12285"/>
                    <a:pt x="20075" y="12285"/>
                  </a:cubicBezTo>
                  <a:cubicBezTo>
                    <a:pt x="20075" y="12150"/>
                    <a:pt x="20075" y="12150"/>
                    <a:pt x="20075" y="12150"/>
                  </a:cubicBezTo>
                  <a:cubicBezTo>
                    <a:pt x="19313" y="12015"/>
                    <a:pt x="19313" y="12015"/>
                    <a:pt x="19313" y="12015"/>
                  </a:cubicBezTo>
                  <a:cubicBezTo>
                    <a:pt x="19313" y="12015"/>
                    <a:pt x="19313" y="12015"/>
                    <a:pt x="19059" y="12015"/>
                  </a:cubicBezTo>
                  <a:cubicBezTo>
                    <a:pt x="19059" y="12015"/>
                    <a:pt x="18805" y="12015"/>
                    <a:pt x="18805" y="12015"/>
                  </a:cubicBezTo>
                  <a:cubicBezTo>
                    <a:pt x="18296" y="11880"/>
                    <a:pt x="18042" y="11880"/>
                    <a:pt x="18042" y="12015"/>
                  </a:cubicBezTo>
                  <a:cubicBezTo>
                    <a:pt x="17788" y="12015"/>
                    <a:pt x="17788" y="12015"/>
                    <a:pt x="17534" y="12150"/>
                  </a:cubicBezTo>
                  <a:cubicBezTo>
                    <a:pt x="17534" y="12150"/>
                    <a:pt x="17534" y="12150"/>
                    <a:pt x="17534" y="12150"/>
                  </a:cubicBezTo>
                  <a:cubicBezTo>
                    <a:pt x="17280" y="12285"/>
                    <a:pt x="17280" y="12150"/>
                    <a:pt x="17280" y="12150"/>
                  </a:cubicBezTo>
                  <a:cubicBezTo>
                    <a:pt x="17280" y="12150"/>
                    <a:pt x="17280" y="12150"/>
                    <a:pt x="17026" y="12150"/>
                  </a:cubicBezTo>
                  <a:cubicBezTo>
                    <a:pt x="17026" y="11880"/>
                    <a:pt x="17026" y="11880"/>
                    <a:pt x="17026" y="11880"/>
                  </a:cubicBezTo>
                  <a:cubicBezTo>
                    <a:pt x="17026" y="11880"/>
                    <a:pt x="17026" y="11745"/>
                    <a:pt x="17026" y="11745"/>
                  </a:cubicBezTo>
                  <a:cubicBezTo>
                    <a:pt x="17026" y="11610"/>
                    <a:pt x="16772" y="11340"/>
                    <a:pt x="16772" y="11205"/>
                  </a:cubicBezTo>
                  <a:cubicBezTo>
                    <a:pt x="16518" y="11070"/>
                    <a:pt x="16518" y="11070"/>
                    <a:pt x="16518" y="10935"/>
                  </a:cubicBezTo>
                  <a:cubicBezTo>
                    <a:pt x="16518" y="10935"/>
                    <a:pt x="16009" y="10935"/>
                    <a:pt x="16009" y="10935"/>
                  </a:cubicBezTo>
                  <a:cubicBezTo>
                    <a:pt x="15755" y="10935"/>
                    <a:pt x="15501" y="10935"/>
                    <a:pt x="15501" y="10935"/>
                  </a:cubicBezTo>
                  <a:cubicBezTo>
                    <a:pt x="15247" y="10800"/>
                    <a:pt x="15247" y="10665"/>
                    <a:pt x="15501" y="10530"/>
                  </a:cubicBezTo>
                  <a:cubicBezTo>
                    <a:pt x="15501" y="10530"/>
                    <a:pt x="15247" y="10395"/>
                    <a:pt x="14993" y="10260"/>
                  </a:cubicBezTo>
                  <a:cubicBezTo>
                    <a:pt x="14993" y="10260"/>
                    <a:pt x="14485" y="9855"/>
                    <a:pt x="14485" y="9855"/>
                  </a:cubicBezTo>
                  <a:cubicBezTo>
                    <a:pt x="14485" y="9855"/>
                    <a:pt x="14231" y="9855"/>
                    <a:pt x="14231" y="9720"/>
                  </a:cubicBezTo>
                  <a:cubicBezTo>
                    <a:pt x="13976" y="9180"/>
                    <a:pt x="13976" y="9180"/>
                    <a:pt x="13976" y="9180"/>
                  </a:cubicBezTo>
                  <a:cubicBezTo>
                    <a:pt x="14231" y="9045"/>
                    <a:pt x="14231" y="8910"/>
                    <a:pt x="14231" y="8910"/>
                  </a:cubicBezTo>
                  <a:cubicBezTo>
                    <a:pt x="14485" y="8775"/>
                    <a:pt x="14485" y="8640"/>
                    <a:pt x="14485" y="8640"/>
                  </a:cubicBezTo>
                  <a:cubicBezTo>
                    <a:pt x="14485" y="8640"/>
                    <a:pt x="13976" y="8370"/>
                    <a:pt x="13722" y="8370"/>
                  </a:cubicBezTo>
                  <a:cubicBezTo>
                    <a:pt x="13722" y="8370"/>
                    <a:pt x="13214" y="8100"/>
                    <a:pt x="13214" y="7965"/>
                  </a:cubicBezTo>
                  <a:cubicBezTo>
                    <a:pt x="12960" y="7830"/>
                    <a:pt x="12960" y="7695"/>
                    <a:pt x="12960" y="7695"/>
                  </a:cubicBezTo>
                  <a:cubicBezTo>
                    <a:pt x="13214" y="7560"/>
                    <a:pt x="13214" y="7560"/>
                    <a:pt x="13468" y="7560"/>
                  </a:cubicBezTo>
                  <a:cubicBezTo>
                    <a:pt x="13722" y="7425"/>
                    <a:pt x="13722" y="7425"/>
                    <a:pt x="13722" y="7425"/>
                  </a:cubicBezTo>
                  <a:cubicBezTo>
                    <a:pt x="13722" y="7425"/>
                    <a:pt x="13976" y="7290"/>
                    <a:pt x="13976" y="7290"/>
                  </a:cubicBezTo>
                  <a:cubicBezTo>
                    <a:pt x="13976" y="7155"/>
                    <a:pt x="13976" y="7155"/>
                    <a:pt x="13976" y="7155"/>
                  </a:cubicBezTo>
                  <a:cubicBezTo>
                    <a:pt x="13976" y="7155"/>
                    <a:pt x="13722" y="6885"/>
                    <a:pt x="13722" y="6885"/>
                  </a:cubicBezTo>
                  <a:cubicBezTo>
                    <a:pt x="13976" y="6480"/>
                    <a:pt x="13976" y="6480"/>
                    <a:pt x="13976" y="6480"/>
                  </a:cubicBezTo>
                  <a:cubicBezTo>
                    <a:pt x="13722" y="6345"/>
                    <a:pt x="13722" y="6345"/>
                    <a:pt x="13722" y="6345"/>
                  </a:cubicBezTo>
                  <a:cubicBezTo>
                    <a:pt x="13722" y="5805"/>
                    <a:pt x="13722" y="5805"/>
                    <a:pt x="13722" y="5805"/>
                  </a:cubicBezTo>
                  <a:cubicBezTo>
                    <a:pt x="13722" y="5670"/>
                    <a:pt x="13722" y="5670"/>
                    <a:pt x="13722" y="5670"/>
                  </a:cubicBezTo>
                  <a:cubicBezTo>
                    <a:pt x="13722" y="5535"/>
                    <a:pt x="13722" y="5400"/>
                    <a:pt x="13722" y="5400"/>
                  </a:cubicBezTo>
                  <a:cubicBezTo>
                    <a:pt x="13722" y="5265"/>
                    <a:pt x="13976" y="5130"/>
                    <a:pt x="13976" y="4995"/>
                  </a:cubicBezTo>
                  <a:cubicBezTo>
                    <a:pt x="13976" y="4725"/>
                    <a:pt x="13976" y="4725"/>
                    <a:pt x="13976" y="4725"/>
                  </a:cubicBezTo>
                  <a:cubicBezTo>
                    <a:pt x="14231" y="4455"/>
                    <a:pt x="14231" y="4455"/>
                    <a:pt x="14231" y="4455"/>
                  </a:cubicBezTo>
                  <a:cubicBezTo>
                    <a:pt x="13722" y="4050"/>
                    <a:pt x="13722" y="4050"/>
                    <a:pt x="13722" y="4050"/>
                  </a:cubicBezTo>
                  <a:cubicBezTo>
                    <a:pt x="13722" y="4050"/>
                    <a:pt x="13722" y="4050"/>
                    <a:pt x="13468" y="3915"/>
                  </a:cubicBezTo>
                  <a:cubicBezTo>
                    <a:pt x="13468" y="3780"/>
                    <a:pt x="13214" y="3510"/>
                    <a:pt x="13214" y="3510"/>
                  </a:cubicBezTo>
                  <a:cubicBezTo>
                    <a:pt x="12960" y="3240"/>
                    <a:pt x="12960" y="3240"/>
                    <a:pt x="12960" y="3240"/>
                  </a:cubicBezTo>
                  <a:cubicBezTo>
                    <a:pt x="12960" y="3105"/>
                    <a:pt x="12452" y="2835"/>
                    <a:pt x="12452" y="2835"/>
                  </a:cubicBezTo>
                  <a:cubicBezTo>
                    <a:pt x="12452" y="2700"/>
                    <a:pt x="12198" y="2700"/>
                    <a:pt x="12198" y="2700"/>
                  </a:cubicBezTo>
                  <a:cubicBezTo>
                    <a:pt x="12198" y="2565"/>
                    <a:pt x="12198" y="2565"/>
                    <a:pt x="11944" y="2565"/>
                  </a:cubicBezTo>
                  <a:cubicBezTo>
                    <a:pt x="11689" y="2430"/>
                    <a:pt x="11181" y="2295"/>
                    <a:pt x="11181" y="2295"/>
                  </a:cubicBezTo>
                  <a:cubicBezTo>
                    <a:pt x="10673" y="2295"/>
                    <a:pt x="10673" y="2295"/>
                    <a:pt x="10673" y="2295"/>
                  </a:cubicBezTo>
                  <a:cubicBezTo>
                    <a:pt x="10165" y="2025"/>
                    <a:pt x="10165" y="2025"/>
                    <a:pt x="10165" y="2025"/>
                  </a:cubicBezTo>
                  <a:cubicBezTo>
                    <a:pt x="9911" y="2160"/>
                    <a:pt x="9911" y="2160"/>
                    <a:pt x="9911" y="2160"/>
                  </a:cubicBezTo>
                  <a:cubicBezTo>
                    <a:pt x="9148" y="1620"/>
                    <a:pt x="9148" y="1620"/>
                    <a:pt x="9148" y="1620"/>
                  </a:cubicBezTo>
                  <a:cubicBezTo>
                    <a:pt x="9148" y="1215"/>
                    <a:pt x="9148" y="1215"/>
                    <a:pt x="9148" y="1215"/>
                  </a:cubicBezTo>
                  <a:cubicBezTo>
                    <a:pt x="7369" y="540"/>
                    <a:pt x="7369" y="540"/>
                    <a:pt x="7369" y="540"/>
                  </a:cubicBezTo>
                  <a:cubicBezTo>
                    <a:pt x="7115" y="675"/>
                    <a:pt x="7115" y="675"/>
                    <a:pt x="7115" y="675"/>
                  </a:cubicBezTo>
                  <a:cubicBezTo>
                    <a:pt x="7115" y="675"/>
                    <a:pt x="6861" y="810"/>
                    <a:pt x="6861" y="810"/>
                  </a:cubicBezTo>
                  <a:cubicBezTo>
                    <a:pt x="6861" y="945"/>
                    <a:pt x="6099" y="945"/>
                    <a:pt x="6099" y="945"/>
                  </a:cubicBezTo>
                  <a:cubicBezTo>
                    <a:pt x="5845" y="1215"/>
                    <a:pt x="5845" y="1215"/>
                    <a:pt x="5845" y="1215"/>
                  </a:cubicBezTo>
                  <a:cubicBezTo>
                    <a:pt x="5082" y="1350"/>
                    <a:pt x="5082" y="1350"/>
                    <a:pt x="5082" y="1350"/>
                  </a:cubicBezTo>
                  <a:cubicBezTo>
                    <a:pt x="5082" y="1350"/>
                    <a:pt x="4828" y="1350"/>
                    <a:pt x="4828" y="1350"/>
                  </a:cubicBezTo>
                  <a:cubicBezTo>
                    <a:pt x="4828" y="1215"/>
                    <a:pt x="4574" y="1215"/>
                    <a:pt x="4574" y="1215"/>
                  </a:cubicBezTo>
                  <a:cubicBezTo>
                    <a:pt x="4574" y="1080"/>
                    <a:pt x="4574" y="1080"/>
                    <a:pt x="4574" y="1080"/>
                  </a:cubicBezTo>
                  <a:cubicBezTo>
                    <a:pt x="4320" y="945"/>
                    <a:pt x="4320" y="810"/>
                    <a:pt x="4320" y="810"/>
                  </a:cubicBezTo>
                  <a:cubicBezTo>
                    <a:pt x="4320" y="675"/>
                    <a:pt x="4320" y="675"/>
                    <a:pt x="4320" y="675"/>
                  </a:cubicBezTo>
                  <a:cubicBezTo>
                    <a:pt x="4320" y="540"/>
                    <a:pt x="4320" y="540"/>
                    <a:pt x="4320" y="405"/>
                  </a:cubicBezTo>
                  <a:cubicBezTo>
                    <a:pt x="4320" y="270"/>
                    <a:pt x="4320" y="270"/>
                    <a:pt x="4320" y="270"/>
                  </a:cubicBezTo>
                  <a:cubicBezTo>
                    <a:pt x="3812" y="135"/>
                    <a:pt x="3812" y="135"/>
                    <a:pt x="3812" y="135"/>
                  </a:cubicBezTo>
                  <a:cubicBezTo>
                    <a:pt x="3812" y="135"/>
                    <a:pt x="3558" y="0"/>
                    <a:pt x="3558" y="0"/>
                  </a:cubicBezTo>
                  <a:cubicBezTo>
                    <a:pt x="3558" y="135"/>
                    <a:pt x="3049" y="270"/>
                    <a:pt x="2795" y="540"/>
                  </a:cubicBezTo>
                  <a:cubicBezTo>
                    <a:pt x="2795" y="675"/>
                    <a:pt x="2795" y="675"/>
                    <a:pt x="2795" y="675"/>
                  </a:cubicBezTo>
                  <a:cubicBezTo>
                    <a:pt x="2287" y="1215"/>
                    <a:pt x="2287" y="1215"/>
                    <a:pt x="2287" y="1215"/>
                  </a:cubicBezTo>
                  <a:cubicBezTo>
                    <a:pt x="2033" y="1620"/>
                    <a:pt x="2033" y="1620"/>
                    <a:pt x="2033" y="1620"/>
                  </a:cubicBezTo>
                  <a:cubicBezTo>
                    <a:pt x="2033" y="1620"/>
                    <a:pt x="2033" y="1755"/>
                    <a:pt x="1779" y="1755"/>
                  </a:cubicBezTo>
                  <a:cubicBezTo>
                    <a:pt x="1779" y="1890"/>
                    <a:pt x="1525" y="2025"/>
                    <a:pt x="1525" y="2025"/>
                  </a:cubicBezTo>
                  <a:cubicBezTo>
                    <a:pt x="1271" y="2025"/>
                    <a:pt x="1271" y="2025"/>
                    <a:pt x="1271" y="2025"/>
                  </a:cubicBezTo>
                  <a:cubicBezTo>
                    <a:pt x="1016" y="2160"/>
                    <a:pt x="1016" y="2160"/>
                    <a:pt x="1016" y="2160"/>
                  </a:cubicBezTo>
                  <a:cubicBezTo>
                    <a:pt x="1271" y="2430"/>
                    <a:pt x="1271" y="2430"/>
                    <a:pt x="1271" y="2430"/>
                  </a:cubicBezTo>
                  <a:cubicBezTo>
                    <a:pt x="1016" y="2430"/>
                    <a:pt x="1016" y="2565"/>
                    <a:pt x="1016" y="2700"/>
                  </a:cubicBezTo>
                  <a:cubicBezTo>
                    <a:pt x="1016" y="2700"/>
                    <a:pt x="1016" y="2700"/>
                    <a:pt x="762" y="2835"/>
                  </a:cubicBezTo>
                  <a:cubicBezTo>
                    <a:pt x="762" y="3105"/>
                    <a:pt x="762" y="3105"/>
                    <a:pt x="762" y="3105"/>
                  </a:cubicBezTo>
                  <a:cubicBezTo>
                    <a:pt x="0" y="3510"/>
                    <a:pt x="0" y="3510"/>
                    <a:pt x="0" y="3510"/>
                  </a:cubicBezTo>
                  <a:cubicBezTo>
                    <a:pt x="0" y="3645"/>
                    <a:pt x="0" y="3645"/>
                    <a:pt x="0" y="3645"/>
                  </a:cubicBezTo>
                  <a:cubicBezTo>
                    <a:pt x="254" y="3780"/>
                    <a:pt x="254" y="3780"/>
                    <a:pt x="254" y="3780"/>
                  </a:cubicBezTo>
                  <a:cubicBezTo>
                    <a:pt x="1271" y="4050"/>
                    <a:pt x="1271" y="4050"/>
                    <a:pt x="1271" y="4050"/>
                  </a:cubicBezTo>
                  <a:cubicBezTo>
                    <a:pt x="1525" y="4050"/>
                    <a:pt x="1525" y="4185"/>
                    <a:pt x="1525" y="4320"/>
                  </a:cubicBezTo>
                  <a:cubicBezTo>
                    <a:pt x="1525" y="4320"/>
                    <a:pt x="1271" y="4455"/>
                    <a:pt x="1271" y="4455"/>
                  </a:cubicBezTo>
                  <a:cubicBezTo>
                    <a:pt x="1271" y="4725"/>
                    <a:pt x="1271" y="4725"/>
                    <a:pt x="1271" y="4725"/>
                  </a:cubicBezTo>
                  <a:cubicBezTo>
                    <a:pt x="1271" y="4725"/>
                    <a:pt x="1271" y="4860"/>
                    <a:pt x="1271" y="4860"/>
                  </a:cubicBezTo>
                  <a:cubicBezTo>
                    <a:pt x="1271" y="4860"/>
                    <a:pt x="1525" y="4995"/>
                    <a:pt x="1525" y="4995"/>
                  </a:cubicBezTo>
                  <a:cubicBezTo>
                    <a:pt x="1525" y="5130"/>
                    <a:pt x="1271" y="5265"/>
                    <a:pt x="1271" y="5265"/>
                  </a:cubicBezTo>
                  <a:cubicBezTo>
                    <a:pt x="1016" y="5400"/>
                    <a:pt x="1016" y="5400"/>
                    <a:pt x="1016" y="5400"/>
                  </a:cubicBezTo>
                  <a:cubicBezTo>
                    <a:pt x="1271" y="5535"/>
                    <a:pt x="1271" y="5535"/>
                    <a:pt x="1271" y="5535"/>
                  </a:cubicBezTo>
                  <a:cubicBezTo>
                    <a:pt x="1271" y="5535"/>
                    <a:pt x="1271" y="5805"/>
                    <a:pt x="1271" y="5805"/>
                  </a:cubicBezTo>
                  <a:cubicBezTo>
                    <a:pt x="1271" y="5805"/>
                    <a:pt x="1525" y="5940"/>
                    <a:pt x="1779" y="5940"/>
                  </a:cubicBezTo>
                  <a:cubicBezTo>
                    <a:pt x="1779" y="5940"/>
                    <a:pt x="1779" y="5940"/>
                    <a:pt x="2033" y="5940"/>
                  </a:cubicBezTo>
                  <a:cubicBezTo>
                    <a:pt x="2287" y="5940"/>
                    <a:pt x="2287" y="5940"/>
                    <a:pt x="2287" y="5940"/>
                  </a:cubicBezTo>
                  <a:cubicBezTo>
                    <a:pt x="2541" y="5940"/>
                    <a:pt x="2541" y="5940"/>
                    <a:pt x="2541" y="5940"/>
                  </a:cubicBezTo>
                  <a:cubicBezTo>
                    <a:pt x="3558" y="6075"/>
                    <a:pt x="3558" y="6075"/>
                    <a:pt x="3558" y="6075"/>
                  </a:cubicBezTo>
                  <a:cubicBezTo>
                    <a:pt x="3812" y="6210"/>
                    <a:pt x="3812" y="6210"/>
                    <a:pt x="3812" y="6210"/>
                  </a:cubicBezTo>
                  <a:cubicBezTo>
                    <a:pt x="3812" y="6615"/>
                    <a:pt x="3812" y="6615"/>
                    <a:pt x="3812" y="6615"/>
                  </a:cubicBezTo>
                  <a:cubicBezTo>
                    <a:pt x="4066" y="7020"/>
                    <a:pt x="4066" y="7020"/>
                    <a:pt x="4066" y="7020"/>
                  </a:cubicBezTo>
                  <a:cubicBezTo>
                    <a:pt x="3812" y="7290"/>
                    <a:pt x="3812" y="7290"/>
                    <a:pt x="3812" y="7290"/>
                  </a:cubicBezTo>
                  <a:cubicBezTo>
                    <a:pt x="4066" y="7290"/>
                    <a:pt x="4066" y="7290"/>
                    <a:pt x="4066" y="7290"/>
                  </a:cubicBezTo>
                  <a:cubicBezTo>
                    <a:pt x="4066" y="7290"/>
                    <a:pt x="4066" y="7425"/>
                    <a:pt x="4066" y="7425"/>
                  </a:cubicBezTo>
                  <a:cubicBezTo>
                    <a:pt x="4066" y="7560"/>
                    <a:pt x="4066" y="7830"/>
                    <a:pt x="4066" y="7830"/>
                  </a:cubicBezTo>
                  <a:cubicBezTo>
                    <a:pt x="3812" y="7830"/>
                    <a:pt x="3558" y="7965"/>
                    <a:pt x="3304" y="7965"/>
                  </a:cubicBezTo>
                  <a:cubicBezTo>
                    <a:pt x="3049" y="7965"/>
                    <a:pt x="2795" y="7965"/>
                    <a:pt x="2795" y="7965"/>
                  </a:cubicBezTo>
                  <a:cubicBezTo>
                    <a:pt x="2795" y="8100"/>
                    <a:pt x="2795" y="8100"/>
                    <a:pt x="2795" y="8100"/>
                  </a:cubicBezTo>
                  <a:cubicBezTo>
                    <a:pt x="3304" y="8235"/>
                    <a:pt x="3304" y="8235"/>
                    <a:pt x="3304" y="8235"/>
                  </a:cubicBezTo>
                  <a:cubicBezTo>
                    <a:pt x="3558" y="8235"/>
                    <a:pt x="3558" y="8235"/>
                    <a:pt x="3558" y="8235"/>
                  </a:cubicBezTo>
                  <a:cubicBezTo>
                    <a:pt x="3812" y="8370"/>
                    <a:pt x="3812" y="8640"/>
                    <a:pt x="3812" y="8640"/>
                  </a:cubicBezTo>
                  <a:cubicBezTo>
                    <a:pt x="3558" y="8640"/>
                    <a:pt x="3558" y="8775"/>
                    <a:pt x="3558" y="8775"/>
                  </a:cubicBezTo>
                  <a:cubicBezTo>
                    <a:pt x="3304" y="8775"/>
                    <a:pt x="3049" y="8910"/>
                    <a:pt x="3049" y="8910"/>
                  </a:cubicBezTo>
                  <a:cubicBezTo>
                    <a:pt x="2541" y="9180"/>
                    <a:pt x="2541" y="9180"/>
                    <a:pt x="2541" y="9180"/>
                  </a:cubicBezTo>
                  <a:cubicBezTo>
                    <a:pt x="2287" y="9315"/>
                    <a:pt x="2287" y="9315"/>
                    <a:pt x="2287" y="9315"/>
                  </a:cubicBezTo>
                  <a:cubicBezTo>
                    <a:pt x="2541" y="9585"/>
                    <a:pt x="2541" y="9585"/>
                    <a:pt x="2541" y="9585"/>
                  </a:cubicBezTo>
                  <a:cubicBezTo>
                    <a:pt x="2795" y="9585"/>
                    <a:pt x="2795" y="9585"/>
                    <a:pt x="2795" y="9585"/>
                  </a:cubicBezTo>
                  <a:cubicBezTo>
                    <a:pt x="3049" y="9585"/>
                    <a:pt x="3049" y="9585"/>
                    <a:pt x="3049" y="9720"/>
                  </a:cubicBezTo>
                  <a:cubicBezTo>
                    <a:pt x="3049" y="9720"/>
                    <a:pt x="3049" y="9720"/>
                    <a:pt x="3812" y="9855"/>
                  </a:cubicBezTo>
                  <a:cubicBezTo>
                    <a:pt x="3812" y="10125"/>
                    <a:pt x="3812" y="10125"/>
                    <a:pt x="3812" y="10125"/>
                  </a:cubicBezTo>
                  <a:cubicBezTo>
                    <a:pt x="3812" y="10125"/>
                    <a:pt x="3812" y="10260"/>
                    <a:pt x="3812" y="10395"/>
                  </a:cubicBezTo>
                  <a:cubicBezTo>
                    <a:pt x="3812" y="10530"/>
                    <a:pt x="3558" y="10935"/>
                    <a:pt x="3558" y="10935"/>
                  </a:cubicBezTo>
                  <a:cubicBezTo>
                    <a:pt x="3304" y="11205"/>
                    <a:pt x="3304" y="11205"/>
                    <a:pt x="3304" y="11205"/>
                  </a:cubicBezTo>
                  <a:cubicBezTo>
                    <a:pt x="3304" y="11205"/>
                    <a:pt x="3558" y="11340"/>
                    <a:pt x="3558" y="11610"/>
                  </a:cubicBezTo>
                  <a:cubicBezTo>
                    <a:pt x="3304" y="12015"/>
                    <a:pt x="3304" y="12015"/>
                    <a:pt x="3304" y="12015"/>
                  </a:cubicBezTo>
                  <a:cubicBezTo>
                    <a:pt x="4320" y="12150"/>
                    <a:pt x="4320" y="12150"/>
                    <a:pt x="4320" y="12150"/>
                  </a:cubicBezTo>
                  <a:cubicBezTo>
                    <a:pt x="4320" y="12420"/>
                    <a:pt x="4320" y="12420"/>
                    <a:pt x="4320" y="12420"/>
                  </a:cubicBezTo>
                  <a:cubicBezTo>
                    <a:pt x="3558" y="12555"/>
                    <a:pt x="3558" y="12555"/>
                    <a:pt x="3558" y="12555"/>
                  </a:cubicBezTo>
                  <a:cubicBezTo>
                    <a:pt x="3558" y="12555"/>
                    <a:pt x="3304" y="12555"/>
                    <a:pt x="3304" y="12690"/>
                  </a:cubicBezTo>
                  <a:cubicBezTo>
                    <a:pt x="3304" y="12690"/>
                    <a:pt x="3304" y="12825"/>
                    <a:pt x="3304" y="12825"/>
                  </a:cubicBezTo>
                  <a:cubicBezTo>
                    <a:pt x="3812" y="12825"/>
                    <a:pt x="3812" y="12825"/>
                    <a:pt x="3812" y="12825"/>
                  </a:cubicBezTo>
                  <a:cubicBezTo>
                    <a:pt x="3304" y="13095"/>
                    <a:pt x="3304" y="13095"/>
                    <a:pt x="3304" y="13095"/>
                  </a:cubicBezTo>
                  <a:cubicBezTo>
                    <a:pt x="3304" y="13095"/>
                    <a:pt x="3304" y="13365"/>
                    <a:pt x="3304" y="13365"/>
                  </a:cubicBezTo>
                  <a:cubicBezTo>
                    <a:pt x="3304" y="13365"/>
                    <a:pt x="3304" y="13500"/>
                    <a:pt x="3304" y="13635"/>
                  </a:cubicBezTo>
                  <a:cubicBezTo>
                    <a:pt x="3049" y="13635"/>
                    <a:pt x="3049" y="13635"/>
                    <a:pt x="3049" y="13635"/>
                  </a:cubicBezTo>
                  <a:cubicBezTo>
                    <a:pt x="3049" y="13905"/>
                    <a:pt x="3049" y="13905"/>
                    <a:pt x="3049" y="13905"/>
                  </a:cubicBezTo>
                  <a:cubicBezTo>
                    <a:pt x="2795" y="14580"/>
                    <a:pt x="2795" y="14580"/>
                    <a:pt x="2795" y="14580"/>
                  </a:cubicBezTo>
                  <a:cubicBezTo>
                    <a:pt x="3558" y="15390"/>
                    <a:pt x="3558" y="15390"/>
                    <a:pt x="3558" y="15390"/>
                  </a:cubicBezTo>
                  <a:cubicBezTo>
                    <a:pt x="4320" y="15795"/>
                    <a:pt x="4320" y="15795"/>
                    <a:pt x="4320" y="15795"/>
                  </a:cubicBezTo>
                  <a:cubicBezTo>
                    <a:pt x="4828" y="16065"/>
                    <a:pt x="4828" y="16065"/>
                    <a:pt x="4828" y="16065"/>
                  </a:cubicBezTo>
                  <a:cubicBezTo>
                    <a:pt x="4574" y="16470"/>
                    <a:pt x="4574" y="16470"/>
                    <a:pt x="4574" y="16470"/>
                  </a:cubicBezTo>
                  <a:cubicBezTo>
                    <a:pt x="4828" y="16605"/>
                    <a:pt x="4828" y="16605"/>
                    <a:pt x="4828" y="16605"/>
                  </a:cubicBezTo>
                  <a:cubicBezTo>
                    <a:pt x="4828" y="16875"/>
                    <a:pt x="4828" y="16875"/>
                    <a:pt x="4828" y="16875"/>
                  </a:cubicBezTo>
                  <a:cubicBezTo>
                    <a:pt x="4828" y="16875"/>
                    <a:pt x="4828" y="17010"/>
                    <a:pt x="4574" y="17010"/>
                  </a:cubicBezTo>
                  <a:cubicBezTo>
                    <a:pt x="4574" y="17010"/>
                    <a:pt x="4320" y="17010"/>
                    <a:pt x="4320" y="17010"/>
                  </a:cubicBezTo>
                  <a:cubicBezTo>
                    <a:pt x="4066" y="16875"/>
                    <a:pt x="3812" y="16605"/>
                    <a:pt x="3812" y="16605"/>
                  </a:cubicBezTo>
                  <a:cubicBezTo>
                    <a:pt x="3812" y="16605"/>
                    <a:pt x="3558" y="16470"/>
                    <a:pt x="3558" y="16335"/>
                  </a:cubicBezTo>
                  <a:cubicBezTo>
                    <a:pt x="3558" y="16335"/>
                    <a:pt x="3304" y="16200"/>
                    <a:pt x="3304" y="16200"/>
                  </a:cubicBezTo>
                  <a:cubicBezTo>
                    <a:pt x="2795" y="16200"/>
                    <a:pt x="2795" y="16200"/>
                    <a:pt x="2795" y="16200"/>
                  </a:cubicBezTo>
                  <a:cubicBezTo>
                    <a:pt x="2795" y="16335"/>
                    <a:pt x="2795" y="16335"/>
                    <a:pt x="2795" y="16335"/>
                  </a:cubicBezTo>
                  <a:cubicBezTo>
                    <a:pt x="2795" y="16335"/>
                    <a:pt x="3049" y="16470"/>
                    <a:pt x="3049" y="16605"/>
                  </a:cubicBezTo>
                  <a:cubicBezTo>
                    <a:pt x="3304" y="16605"/>
                    <a:pt x="3558" y="16740"/>
                    <a:pt x="3558" y="16740"/>
                  </a:cubicBezTo>
                  <a:cubicBezTo>
                    <a:pt x="3558" y="16740"/>
                    <a:pt x="3812" y="16875"/>
                    <a:pt x="3812" y="16875"/>
                  </a:cubicBezTo>
                  <a:cubicBezTo>
                    <a:pt x="3812" y="16875"/>
                    <a:pt x="4066" y="17280"/>
                    <a:pt x="4066" y="17280"/>
                  </a:cubicBezTo>
                  <a:cubicBezTo>
                    <a:pt x="6861" y="18225"/>
                    <a:pt x="6861" y="18225"/>
                    <a:pt x="6861" y="18225"/>
                  </a:cubicBezTo>
                  <a:cubicBezTo>
                    <a:pt x="7878" y="18360"/>
                    <a:pt x="7878" y="18360"/>
                    <a:pt x="7878" y="18360"/>
                  </a:cubicBezTo>
                  <a:cubicBezTo>
                    <a:pt x="8132" y="18630"/>
                    <a:pt x="8132" y="18630"/>
                    <a:pt x="8132" y="18630"/>
                  </a:cubicBezTo>
                  <a:cubicBezTo>
                    <a:pt x="8386" y="18630"/>
                    <a:pt x="8386" y="18630"/>
                    <a:pt x="8386" y="18630"/>
                  </a:cubicBezTo>
                  <a:cubicBezTo>
                    <a:pt x="8386" y="18630"/>
                    <a:pt x="8640" y="18630"/>
                    <a:pt x="8894" y="18630"/>
                  </a:cubicBezTo>
                  <a:cubicBezTo>
                    <a:pt x="8894" y="18630"/>
                    <a:pt x="8894" y="18630"/>
                    <a:pt x="8894" y="18630"/>
                  </a:cubicBezTo>
                  <a:cubicBezTo>
                    <a:pt x="8894" y="18630"/>
                    <a:pt x="9402" y="18765"/>
                    <a:pt x="9402" y="18765"/>
                  </a:cubicBezTo>
                  <a:cubicBezTo>
                    <a:pt x="9402" y="18765"/>
                    <a:pt x="9656" y="18765"/>
                    <a:pt x="9656" y="18765"/>
                  </a:cubicBezTo>
                  <a:cubicBezTo>
                    <a:pt x="9656" y="18900"/>
                    <a:pt x="10165" y="19305"/>
                    <a:pt x="10419" y="19575"/>
                  </a:cubicBezTo>
                  <a:cubicBezTo>
                    <a:pt x="10419" y="19575"/>
                    <a:pt x="10673" y="19710"/>
                    <a:pt x="10673" y="19845"/>
                  </a:cubicBezTo>
                  <a:cubicBezTo>
                    <a:pt x="10927" y="19845"/>
                    <a:pt x="11435" y="19980"/>
                    <a:pt x="11435" y="19980"/>
                  </a:cubicBezTo>
                  <a:cubicBezTo>
                    <a:pt x="11435" y="20115"/>
                    <a:pt x="11435" y="20250"/>
                    <a:pt x="11435" y="20385"/>
                  </a:cubicBezTo>
                  <a:cubicBezTo>
                    <a:pt x="11435" y="20385"/>
                    <a:pt x="11435" y="20385"/>
                    <a:pt x="11435" y="20520"/>
                  </a:cubicBezTo>
                  <a:cubicBezTo>
                    <a:pt x="11435" y="20655"/>
                    <a:pt x="11689" y="20655"/>
                    <a:pt x="11689" y="20655"/>
                  </a:cubicBezTo>
                  <a:cubicBezTo>
                    <a:pt x="11689" y="20790"/>
                    <a:pt x="11944" y="20925"/>
                    <a:pt x="11944" y="20925"/>
                  </a:cubicBezTo>
                  <a:cubicBezTo>
                    <a:pt x="11944" y="21330"/>
                    <a:pt x="11944" y="21330"/>
                    <a:pt x="11944" y="21330"/>
                  </a:cubicBezTo>
                  <a:cubicBezTo>
                    <a:pt x="12198" y="21330"/>
                    <a:pt x="12198" y="21330"/>
                    <a:pt x="12198" y="21330"/>
                  </a:cubicBezTo>
                  <a:lnTo>
                    <a:pt x="12452" y="2133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4" name="Shape 2227">
              <a:extLst>
                <a:ext uri="{FF2B5EF4-FFF2-40B4-BE49-F238E27FC236}">
                  <a16:creationId xmlns:a16="http://schemas.microsoft.com/office/drawing/2014/main" id="{81AFA1A5-4C7B-1A1D-5A1F-7B69FBAEDC43}"/>
                </a:ext>
              </a:extLst>
            </p:cNvPr>
            <p:cNvSpPr/>
            <p:nvPr/>
          </p:nvSpPr>
          <p:spPr>
            <a:xfrm>
              <a:off x="5120081" y="6543422"/>
              <a:ext cx="320130" cy="354637"/>
            </a:xfrm>
            <a:custGeom>
              <a:avLst/>
              <a:gdLst/>
              <a:ahLst/>
              <a:cxnLst>
                <a:cxn ang="0">
                  <a:pos x="wd2" y="hd2"/>
                </a:cxn>
                <a:cxn ang="5400000">
                  <a:pos x="wd2" y="hd2"/>
                </a:cxn>
                <a:cxn ang="10800000">
                  <a:pos x="wd2" y="hd2"/>
                </a:cxn>
                <a:cxn ang="16200000">
                  <a:pos x="wd2" y="hd2"/>
                </a:cxn>
              </a:cxnLst>
              <a:rect l="0" t="0" r="r" b="b"/>
              <a:pathLst>
                <a:path w="21600" h="21600" extrusionOk="0">
                  <a:moveTo>
                    <a:pt x="11631" y="21115"/>
                  </a:moveTo>
                  <a:cubicBezTo>
                    <a:pt x="11631" y="21115"/>
                    <a:pt x="13015" y="21600"/>
                    <a:pt x="12738" y="21600"/>
                  </a:cubicBezTo>
                  <a:cubicBezTo>
                    <a:pt x="12738" y="21600"/>
                    <a:pt x="12738" y="21600"/>
                    <a:pt x="12738" y="21357"/>
                  </a:cubicBezTo>
                  <a:cubicBezTo>
                    <a:pt x="12738" y="21357"/>
                    <a:pt x="12462" y="21600"/>
                    <a:pt x="12462" y="21600"/>
                  </a:cubicBezTo>
                  <a:cubicBezTo>
                    <a:pt x="12462" y="21600"/>
                    <a:pt x="11908" y="21115"/>
                    <a:pt x="12185" y="21115"/>
                  </a:cubicBezTo>
                  <a:cubicBezTo>
                    <a:pt x="12185" y="21115"/>
                    <a:pt x="12185" y="20872"/>
                    <a:pt x="12185" y="20872"/>
                  </a:cubicBezTo>
                  <a:cubicBezTo>
                    <a:pt x="12185" y="20629"/>
                    <a:pt x="11908" y="20387"/>
                    <a:pt x="11908" y="20387"/>
                  </a:cubicBezTo>
                  <a:cubicBezTo>
                    <a:pt x="12185" y="20144"/>
                    <a:pt x="12185" y="20144"/>
                    <a:pt x="12185" y="20144"/>
                  </a:cubicBezTo>
                  <a:cubicBezTo>
                    <a:pt x="12185" y="20144"/>
                    <a:pt x="12185" y="19658"/>
                    <a:pt x="12185" y="19658"/>
                  </a:cubicBezTo>
                  <a:cubicBezTo>
                    <a:pt x="12185" y="19658"/>
                    <a:pt x="12185" y="19416"/>
                    <a:pt x="12185" y="19416"/>
                  </a:cubicBezTo>
                  <a:cubicBezTo>
                    <a:pt x="12185" y="19416"/>
                    <a:pt x="11908" y="19173"/>
                    <a:pt x="11908" y="19173"/>
                  </a:cubicBezTo>
                  <a:cubicBezTo>
                    <a:pt x="12185" y="18688"/>
                    <a:pt x="12185" y="18688"/>
                    <a:pt x="12185" y="18688"/>
                  </a:cubicBezTo>
                  <a:cubicBezTo>
                    <a:pt x="12185" y="18688"/>
                    <a:pt x="12185" y="18445"/>
                    <a:pt x="12185" y="18445"/>
                  </a:cubicBezTo>
                  <a:cubicBezTo>
                    <a:pt x="12185" y="18202"/>
                    <a:pt x="12185" y="17960"/>
                    <a:pt x="12185" y="17960"/>
                  </a:cubicBezTo>
                  <a:cubicBezTo>
                    <a:pt x="11631" y="17717"/>
                    <a:pt x="11631" y="17717"/>
                    <a:pt x="11631" y="17717"/>
                  </a:cubicBezTo>
                  <a:cubicBezTo>
                    <a:pt x="11077" y="17474"/>
                    <a:pt x="11077" y="17474"/>
                    <a:pt x="11077" y="17474"/>
                  </a:cubicBezTo>
                  <a:cubicBezTo>
                    <a:pt x="10800" y="17231"/>
                    <a:pt x="10800" y="17231"/>
                    <a:pt x="10800" y="17231"/>
                  </a:cubicBezTo>
                  <a:cubicBezTo>
                    <a:pt x="10800" y="16746"/>
                    <a:pt x="10800" y="16746"/>
                    <a:pt x="10800" y="16746"/>
                  </a:cubicBezTo>
                  <a:cubicBezTo>
                    <a:pt x="11354" y="16261"/>
                    <a:pt x="11354" y="16261"/>
                    <a:pt x="11354" y="16261"/>
                  </a:cubicBezTo>
                  <a:cubicBezTo>
                    <a:pt x="11631" y="15775"/>
                    <a:pt x="11631" y="15775"/>
                    <a:pt x="11631" y="15775"/>
                  </a:cubicBezTo>
                  <a:cubicBezTo>
                    <a:pt x="11631" y="15775"/>
                    <a:pt x="11908" y="15533"/>
                    <a:pt x="11908" y="15533"/>
                  </a:cubicBezTo>
                  <a:cubicBezTo>
                    <a:pt x="11908" y="15290"/>
                    <a:pt x="11908" y="15047"/>
                    <a:pt x="11908" y="15047"/>
                  </a:cubicBezTo>
                  <a:cubicBezTo>
                    <a:pt x="11908" y="14562"/>
                    <a:pt x="11908" y="14562"/>
                    <a:pt x="11908" y="14562"/>
                  </a:cubicBezTo>
                  <a:cubicBezTo>
                    <a:pt x="12185" y="14319"/>
                    <a:pt x="12185" y="14319"/>
                    <a:pt x="12185" y="14319"/>
                  </a:cubicBezTo>
                  <a:cubicBezTo>
                    <a:pt x="12462" y="14076"/>
                    <a:pt x="12462" y="14076"/>
                    <a:pt x="12462" y="14076"/>
                  </a:cubicBezTo>
                  <a:cubicBezTo>
                    <a:pt x="12462" y="14076"/>
                    <a:pt x="12738" y="13834"/>
                    <a:pt x="12738" y="13834"/>
                  </a:cubicBezTo>
                  <a:cubicBezTo>
                    <a:pt x="12738" y="13591"/>
                    <a:pt x="13015" y="13348"/>
                    <a:pt x="13015" y="13348"/>
                  </a:cubicBezTo>
                  <a:cubicBezTo>
                    <a:pt x="13292" y="12863"/>
                    <a:pt x="13292" y="12863"/>
                    <a:pt x="13292" y="12863"/>
                  </a:cubicBezTo>
                  <a:cubicBezTo>
                    <a:pt x="13569" y="12378"/>
                    <a:pt x="13569" y="12378"/>
                    <a:pt x="13569" y="12378"/>
                  </a:cubicBezTo>
                  <a:cubicBezTo>
                    <a:pt x="13846" y="11892"/>
                    <a:pt x="13846" y="11892"/>
                    <a:pt x="13846" y="11892"/>
                  </a:cubicBezTo>
                  <a:cubicBezTo>
                    <a:pt x="13569" y="11649"/>
                    <a:pt x="13569" y="11649"/>
                    <a:pt x="13569" y="11649"/>
                  </a:cubicBezTo>
                  <a:cubicBezTo>
                    <a:pt x="13569" y="11649"/>
                    <a:pt x="14677" y="10679"/>
                    <a:pt x="14677" y="10679"/>
                  </a:cubicBezTo>
                  <a:cubicBezTo>
                    <a:pt x="14677" y="10679"/>
                    <a:pt x="15231" y="10679"/>
                    <a:pt x="15231" y="10679"/>
                  </a:cubicBezTo>
                  <a:cubicBezTo>
                    <a:pt x="15231" y="10921"/>
                    <a:pt x="15231" y="10921"/>
                    <a:pt x="15231" y="10921"/>
                  </a:cubicBezTo>
                  <a:cubicBezTo>
                    <a:pt x="15508" y="11164"/>
                    <a:pt x="15508" y="11164"/>
                    <a:pt x="15508" y="11164"/>
                  </a:cubicBezTo>
                  <a:cubicBezTo>
                    <a:pt x="15508" y="11407"/>
                    <a:pt x="15508" y="11407"/>
                    <a:pt x="15508" y="11407"/>
                  </a:cubicBezTo>
                  <a:cubicBezTo>
                    <a:pt x="15508" y="11407"/>
                    <a:pt x="15508" y="11649"/>
                    <a:pt x="15508" y="11892"/>
                  </a:cubicBezTo>
                  <a:cubicBezTo>
                    <a:pt x="15508" y="11892"/>
                    <a:pt x="15508" y="12135"/>
                    <a:pt x="15508" y="12135"/>
                  </a:cubicBezTo>
                  <a:cubicBezTo>
                    <a:pt x="15508" y="12135"/>
                    <a:pt x="15785" y="12378"/>
                    <a:pt x="15785" y="12378"/>
                  </a:cubicBezTo>
                  <a:cubicBezTo>
                    <a:pt x="15785" y="12620"/>
                    <a:pt x="16062" y="12863"/>
                    <a:pt x="16062" y="12863"/>
                  </a:cubicBezTo>
                  <a:cubicBezTo>
                    <a:pt x="16062" y="12863"/>
                    <a:pt x="16062" y="12863"/>
                    <a:pt x="16338" y="12863"/>
                  </a:cubicBezTo>
                  <a:cubicBezTo>
                    <a:pt x="16338" y="13106"/>
                    <a:pt x="16338" y="13106"/>
                    <a:pt x="16338" y="13106"/>
                  </a:cubicBezTo>
                  <a:cubicBezTo>
                    <a:pt x="16892" y="12863"/>
                    <a:pt x="16892" y="12863"/>
                    <a:pt x="16892" y="12863"/>
                  </a:cubicBezTo>
                  <a:cubicBezTo>
                    <a:pt x="17446" y="12378"/>
                    <a:pt x="17446" y="12378"/>
                    <a:pt x="17446" y="12378"/>
                  </a:cubicBezTo>
                  <a:cubicBezTo>
                    <a:pt x="17446" y="12378"/>
                    <a:pt x="18277" y="12135"/>
                    <a:pt x="18277" y="12135"/>
                  </a:cubicBezTo>
                  <a:cubicBezTo>
                    <a:pt x="18277" y="12135"/>
                    <a:pt x="18554" y="11649"/>
                    <a:pt x="18554" y="11649"/>
                  </a:cubicBezTo>
                  <a:cubicBezTo>
                    <a:pt x="18831" y="11649"/>
                    <a:pt x="18831" y="11649"/>
                    <a:pt x="18831" y="11649"/>
                  </a:cubicBezTo>
                  <a:cubicBezTo>
                    <a:pt x="18831" y="11649"/>
                    <a:pt x="18831" y="11649"/>
                    <a:pt x="18831" y="11649"/>
                  </a:cubicBezTo>
                  <a:cubicBezTo>
                    <a:pt x="18554" y="11164"/>
                    <a:pt x="19108" y="10679"/>
                    <a:pt x="18831" y="10193"/>
                  </a:cubicBezTo>
                  <a:cubicBezTo>
                    <a:pt x="18831" y="10193"/>
                    <a:pt x="18554" y="9951"/>
                    <a:pt x="18554" y="9951"/>
                  </a:cubicBezTo>
                  <a:cubicBezTo>
                    <a:pt x="18554" y="9951"/>
                    <a:pt x="18554" y="9951"/>
                    <a:pt x="18554" y="9951"/>
                  </a:cubicBezTo>
                  <a:cubicBezTo>
                    <a:pt x="18554" y="9951"/>
                    <a:pt x="18554" y="9951"/>
                    <a:pt x="18554" y="9951"/>
                  </a:cubicBezTo>
                  <a:cubicBezTo>
                    <a:pt x="18000" y="9465"/>
                    <a:pt x="17169" y="9222"/>
                    <a:pt x="17446" y="9222"/>
                  </a:cubicBezTo>
                  <a:cubicBezTo>
                    <a:pt x="17723" y="8737"/>
                    <a:pt x="18831" y="8980"/>
                    <a:pt x="19385" y="8737"/>
                  </a:cubicBezTo>
                  <a:cubicBezTo>
                    <a:pt x="19662" y="8737"/>
                    <a:pt x="19662" y="8252"/>
                    <a:pt x="19938" y="8009"/>
                  </a:cubicBezTo>
                  <a:cubicBezTo>
                    <a:pt x="20215" y="8009"/>
                    <a:pt x="20769" y="8252"/>
                    <a:pt x="20769" y="7766"/>
                  </a:cubicBezTo>
                  <a:cubicBezTo>
                    <a:pt x="20769" y="7281"/>
                    <a:pt x="21323" y="7281"/>
                    <a:pt x="21600" y="7524"/>
                  </a:cubicBezTo>
                  <a:cubicBezTo>
                    <a:pt x="21600" y="7524"/>
                    <a:pt x="21600" y="7524"/>
                    <a:pt x="21600" y="7524"/>
                  </a:cubicBezTo>
                  <a:cubicBezTo>
                    <a:pt x="21323" y="7038"/>
                    <a:pt x="20492" y="6553"/>
                    <a:pt x="20215" y="6310"/>
                  </a:cubicBezTo>
                  <a:cubicBezTo>
                    <a:pt x="20215" y="6310"/>
                    <a:pt x="20215" y="6067"/>
                    <a:pt x="19662" y="6067"/>
                  </a:cubicBezTo>
                  <a:cubicBezTo>
                    <a:pt x="19385" y="6067"/>
                    <a:pt x="18831" y="5582"/>
                    <a:pt x="18831" y="5582"/>
                  </a:cubicBezTo>
                  <a:cubicBezTo>
                    <a:pt x="18000" y="5582"/>
                    <a:pt x="18000" y="5582"/>
                    <a:pt x="18000" y="5582"/>
                  </a:cubicBezTo>
                  <a:cubicBezTo>
                    <a:pt x="18000" y="5582"/>
                    <a:pt x="17169" y="4854"/>
                    <a:pt x="17169" y="4854"/>
                  </a:cubicBezTo>
                  <a:cubicBezTo>
                    <a:pt x="16892" y="4854"/>
                    <a:pt x="16062" y="4611"/>
                    <a:pt x="16062" y="4611"/>
                  </a:cubicBezTo>
                  <a:cubicBezTo>
                    <a:pt x="16062" y="4126"/>
                    <a:pt x="16062" y="4126"/>
                    <a:pt x="16062" y="4126"/>
                  </a:cubicBezTo>
                  <a:cubicBezTo>
                    <a:pt x="16062" y="4126"/>
                    <a:pt x="15785" y="4126"/>
                    <a:pt x="15785" y="4126"/>
                  </a:cubicBezTo>
                  <a:cubicBezTo>
                    <a:pt x="15508" y="4126"/>
                    <a:pt x="15231" y="4369"/>
                    <a:pt x="15231" y="4369"/>
                  </a:cubicBezTo>
                  <a:cubicBezTo>
                    <a:pt x="14400" y="4611"/>
                    <a:pt x="14400" y="4611"/>
                    <a:pt x="14400" y="4611"/>
                  </a:cubicBezTo>
                  <a:cubicBezTo>
                    <a:pt x="14400" y="4611"/>
                    <a:pt x="13846" y="4611"/>
                    <a:pt x="13846" y="4611"/>
                  </a:cubicBezTo>
                  <a:cubicBezTo>
                    <a:pt x="13569" y="4369"/>
                    <a:pt x="13292" y="3883"/>
                    <a:pt x="13292" y="3883"/>
                  </a:cubicBezTo>
                  <a:cubicBezTo>
                    <a:pt x="13292" y="3883"/>
                    <a:pt x="13292" y="3883"/>
                    <a:pt x="13015" y="3883"/>
                  </a:cubicBezTo>
                  <a:cubicBezTo>
                    <a:pt x="12738" y="4126"/>
                    <a:pt x="13292" y="4369"/>
                    <a:pt x="12738" y="4126"/>
                  </a:cubicBezTo>
                  <a:cubicBezTo>
                    <a:pt x="11908" y="3883"/>
                    <a:pt x="11908" y="3883"/>
                    <a:pt x="11908" y="3883"/>
                  </a:cubicBezTo>
                  <a:cubicBezTo>
                    <a:pt x="11354" y="3398"/>
                    <a:pt x="11354" y="3398"/>
                    <a:pt x="11354" y="3398"/>
                  </a:cubicBezTo>
                  <a:cubicBezTo>
                    <a:pt x="11077" y="3398"/>
                    <a:pt x="11077" y="3398"/>
                    <a:pt x="11077" y="3398"/>
                  </a:cubicBezTo>
                  <a:cubicBezTo>
                    <a:pt x="10800" y="3398"/>
                    <a:pt x="10800" y="3398"/>
                    <a:pt x="10800" y="3398"/>
                  </a:cubicBezTo>
                  <a:cubicBezTo>
                    <a:pt x="10800" y="3398"/>
                    <a:pt x="10523" y="2912"/>
                    <a:pt x="10523" y="2912"/>
                  </a:cubicBezTo>
                  <a:cubicBezTo>
                    <a:pt x="10523" y="2912"/>
                    <a:pt x="10523" y="2427"/>
                    <a:pt x="10523" y="2427"/>
                  </a:cubicBezTo>
                  <a:cubicBezTo>
                    <a:pt x="10246" y="2427"/>
                    <a:pt x="9415" y="2184"/>
                    <a:pt x="9415" y="2184"/>
                  </a:cubicBezTo>
                  <a:cubicBezTo>
                    <a:pt x="9138" y="1699"/>
                    <a:pt x="9138" y="1699"/>
                    <a:pt x="9138" y="1699"/>
                  </a:cubicBezTo>
                  <a:cubicBezTo>
                    <a:pt x="9138" y="1699"/>
                    <a:pt x="9138" y="1699"/>
                    <a:pt x="9138" y="1699"/>
                  </a:cubicBezTo>
                  <a:cubicBezTo>
                    <a:pt x="8862" y="1699"/>
                    <a:pt x="8308" y="1456"/>
                    <a:pt x="8308" y="1456"/>
                  </a:cubicBezTo>
                  <a:cubicBezTo>
                    <a:pt x="8031" y="1213"/>
                    <a:pt x="8031" y="1213"/>
                    <a:pt x="8031" y="1213"/>
                  </a:cubicBezTo>
                  <a:cubicBezTo>
                    <a:pt x="7200" y="1213"/>
                    <a:pt x="7200" y="1213"/>
                    <a:pt x="7200" y="1213"/>
                  </a:cubicBezTo>
                  <a:cubicBezTo>
                    <a:pt x="6923" y="728"/>
                    <a:pt x="6923" y="728"/>
                    <a:pt x="6923" y="728"/>
                  </a:cubicBezTo>
                  <a:cubicBezTo>
                    <a:pt x="6923" y="728"/>
                    <a:pt x="6646" y="485"/>
                    <a:pt x="6646" y="485"/>
                  </a:cubicBezTo>
                  <a:cubicBezTo>
                    <a:pt x="6923" y="485"/>
                    <a:pt x="6923" y="0"/>
                    <a:pt x="6923" y="0"/>
                  </a:cubicBezTo>
                  <a:cubicBezTo>
                    <a:pt x="6369" y="0"/>
                    <a:pt x="6369" y="0"/>
                    <a:pt x="6369" y="0"/>
                  </a:cubicBezTo>
                  <a:cubicBezTo>
                    <a:pt x="6369" y="0"/>
                    <a:pt x="5815" y="243"/>
                    <a:pt x="5815" y="243"/>
                  </a:cubicBezTo>
                  <a:cubicBezTo>
                    <a:pt x="5815" y="243"/>
                    <a:pt x="5538" y="485"/>
                    <a:pt x="5538" y="485"/>
                  </a:cubicBezTo>
                  <a:cubicBezTo>
                    <a:pt x="5262" y="485"/>
                    <a:pt x="5262" y="485"/>
                    <a:pt x="5262" y="485"/>
                  </a:cubicBezTo>
                  <a:cubicBezTo>
                    <a:pt x="4985" y="243"/>
                    <a:pt x="4985" y="243"/>
                    <a:pt x="4985" y="243"/>
                  </a:cubicBezTo>
                  <a:cubicBezTo>
                    <a:pt x="4708" y="0"/>
                    <a:pt x="4708" y="0"/>
                    <a:pt x="4708" y="0"/>
                  </a:cubicBezTo>
                  <a:cubicBezTo>
                    <a:pt x="4154" y="485"/>
                    <a:pt x="4154" y="485"/>
                    <a:pt x="4154" y="485"/>
                  </a:cubicBezTo>
                  <a:cubicBezTo>
                    <a:pt x="3877" y="728"/>
                    <a:pt x="3877" y="728"/>
                    <a:pt x="3877" y="728"/>
                  </a:cubicBezTo>
                  <a:cubicBezTo>
                    <a:pt x="3877" y="728"/>
                    <a:pt x="3877" y="971"/>
                    <a:pt x="3877" y="971"/>
                  </a:cubicBezTo>
                  <a:cubicBezTo>
                    <a:pt x="3877" y="971"/>
                    <a:pt x="4431" y="971"/>
                    <a:pt x="4431" y="971"/>
                  </a:cubicBezTo>
                  <a:cubicBezTo>
                    <a:pt x="4431" y="1456"/>
                    <a:pt x="4431" y="1456"/>
                    <a:pt x="4431" y="1456"/>
                  </a:cubicBezTo>
                  <a:cubicBezTo>
                    <a:pt x="4431" y="1456"/>
                    <a:pt x="4431" y="1456"/>
                    <a:pt x="4708" y="1456"/>
                  </a:cubicBezTo>
                  <a:cubicBezTo>
                    <a:pt x="4708" y="1456"/>
                    <a:pt x="4985" y="1699"/>
                    <a:pt x="4985" y="1699"/>
                  </a:cubicBezTo>
                  <a:cubicBezTo>
                    <a:pt x="5262" y="1942"/>
                    <a:pt x="5262" y="1942"/>
                    <a:pt x="5262" y="1942"/>
                  </a:cubicBezTo>
                  <a:cubicBezTo>
                    <a:pt x="5262" y="2427"/>
                    <a:pt x="5262" y="2427"/>
                    <a:pt x="5262" y="2427"/>
                  </a:cubicBezTo>
                  <a:cubicBezTo>
                    <a:pt x="5815" y="2670"/>
                    <a:pt x="5815" y="2670"/>
                    <a:pt x="5815" y="2670"/>
                  </a:cubicBezTo>
                  <a:cubicBezTo>
                    <a:pt x="5815" y="3155"/>
                    <a:pt x="5815" y="3155"/>
                    <a:pt x="5815" y="3155"/>
                  </a:cubicBezTo>
                  <a:cubicBezTo>
                    <a:pt x="5538" y="3398"/>
                    <a:pt x="5538" y="3398"/>
                    <a:pt x="5538" y="3398"/>
                  </a:cubicBezTo>
                  <a:cubicBezTo>
                    <a:pt x="5262" y="3640"/>
                    <a:pt x="5262" y="3640"/>
                    <a:pt x="5262" y="3640"/>
                  </a:cubicBezTo>
                  <a:cubicBezTo>
                    <a:pt x="4708" y="3640"/>
                    <a:pt x="4708" y="3640"/>
                    <a:pt x="4708" y="3640"/>
                  </a:cubicBezTo>
                  <a:cubicBezTo>
                    <a:pt x="4708" y="3398"/>
                    <a:pt x="4708" y="3398"/>
                    <a:pt x="4708" y="3398"/>
                  </a:cubicBezTo>
                  <a:cubicBezTo>
                    <a:pt x="4431" y="2912"/>
                    <a:pt x="4431" y="2912"/>
                    <a:pt x="4431" y="2912"/>
                  </a:cubicBezTo>
                  <a:cubicBezTo>
                    <a:pt x="4154" y="2670"/>
                    <a:pt x="4154" y="2670"/>
                    <a:pt x="4154" y="2670"/>
                  </a:cubicBezTo>
                  <a:cubicBezTo>
                    <a:pt x="3323" y="2912"/>
                    <a:pt x="3323" y="2912"/>
                    <a:pt x="3323" y="2912"/>
                  </a:cubicBezTo>
                  <a:cubicBezTo>
                    <a:pt x="3323" y="3398"/>
                    <a:pt x="3323" y="3398"/>
                    <a:pt x="3323" y="3398"/>
                  </a:cubicBezTo>
                  <a:cubicBezTo>
                    <a:pt x="1938" y="4369"/>
                    <a:pt x="1938" y="4369"/>
                    <a:pt x="1938" y="4369"/>
                  </a:cubicBezTo>
                  <a:cubicBezTo>
                    <a:pt x="2215" y="4854"/>
                    <a:pt x="2215" y="4854"/>
                    <a:pt x="2215" y="4854"/>
                  </a:cubicBezTo>
                  <a:cubicBezTo>
                    <a:pt x="1662" y="5339"/>
                    <a:pt x="1662" y="5339"/>
                    <a:pt x="1662" y="5339"/>
                  </a:cubicBezTo>
                  <a:cubicBezTo>
                    <a:pt x="1662" y="6067"/>
                    <a:pt x="1662" y="6067"/>
                    <a:pt x="1662" y="6067"/>
                  </a:cubicBezTo>
                  <a:cubicBezTo>
                    <a:pt x="1938" y="6796"/>
                    <a:pt x="1938" y="6796"/>
                    <a:pt x="1938" y="6796"/>
                  </a:cubicBezTo>
                  <a:cubicBezTo>
                    <a:pt x="1938" y="7281"/>
                    <a:pt x="1938" y="7281"/>
                    <a:pt x="1938" y="7281"/>
                  </a:cubicBezTo>
                  <a:cubicBezTo>
                    <a:pt x="831" y="7524"/>
                    <a:pt x="831" y="7524"/>
                    <a:pt x="831" y="7524"/>
                  </a:cubicBezTo>
                  <a:cubicBezTo>
                    <a:pt x="0" y="7766"/>
                    <a:pt x="0" y="7766"/>
                    <a:pt x="0" y="7766"/>
                  </a:cubicBezTo>
                  <a:cubicBezTo>
                    <a:pt x="0" y="8494"/>
                    <a:pt x="0" y="8494"/>
                    <a:pt x="0" y="8494"/>
                  </a:cubicBezTo>
                  <a:cubicBezTo>
                    <a:pt x="0" y="8737"/>
                    <a:pt x="0" y="8737"/>
                    <a:pt x="0" y="8737"/>
                  </a:cubicBezTo>
                  <a:cubicBezTo>
                    <a:pt x="831" y="9708"/>
                    <a:pt x="831" y="9708"/>
                    <a:pt x="831" y="9708"/>
                  </a:cubicBezTo>
                  <a:cubicBezTo>
                    <a:pt x="554" y="9951"/>
                    <a:pt x="554" y="9951"/>
                    <a:pt x="554" y="9951"/>
                  </a:cubicBezTo>
                  <a:cubicBezTo>
                    <a:pt x="277" y="10193"/>
                    <a:pt x="277" y="10193"/>
                    <a:pt x="277" y="10193"/>
                  </a:cubicBezTo>
                  <a:cubicBezTo>
                    <a:pt x="1108" y="11164"/>
                    <a:pt x="1108" y="11164"/>
                    <a:pt x="1108" y="11164"/>
                  </a:cubicBezTo>
                  <a:cubicBezTo>
                    <a:pt x="1385" y="11407"/>
                    <a:pt x="1385" y="11407"/>
                    <a:pt x="1385" y="11407"/>
                  </a:cubicBezTo>
                  <a:cubicBezTo>
                    <a:pt x="1938" y="11407"/>
                    <a:pt x="1938" y="11407"/>
                    <a:pt x="1938" y="11407"/>
                  </a:cubicBezTo>
                  <a:cubicBezTo>
                    <a:pt x="1938" y="11892"/>
                    <a:pt x="1938" y="11892"/>
                    <a:pt x="1938" y="11892"/>
                  </a:cubicBezTo>
                  <a:cubicBezTo>
                    <a:pt x="1938" y="12135"/>
                    <a:pt x="1938" y="12135"/>
                    <a:pt x="1938" y="12135"/>
                  </a:cubicBezTo>
                  <a:cubicBezTo>
                    <a:pt x="1938" y="12620"/>
                    <a:pt x="1938" y="12620"/>
                    <a:pt x="1938" y="12620"/>
                  </a:cubicBezTo>
                  <a:cubicBezTo>
                    <a:pt x="1385" y="13106"/>
                    <a:pt x="1385" y="13106"/>
                    <a:pt x="1385" y="13106"/>
                  </a:cubicBezTo>
                  <a:cubicBezTo>
                    <a:pt x="1662" y="13591"/>
                    <a:pt x="1662" y="13591"/>
                    <a:pt x="1662" y="13591"/>
                  </a:cubicBezTo>
                  <a:cubicBezTo>
                    <a:pt x="1108" y="13348"/>
                    <a:pt x="1108" y="13348"/>
                    <a:pt x="1108" y="13348"/>
                  </a:cubicBezTo>
                  <a:cubicBezTo>
                    <a:pt x="831" y="13834"/>
                    <a:pt x="831" y="13834"/>
                    <a:pt x="831" y="13834"/>
                  </a:cubicBezTo>
                  <a:cubicBezTo>
                    <a:pt x="1108" y="14076"/>
                    <a:pt x="1108" y="14076"/>
                    <a:pt x="1108" y="14076"/>
                  </a:cubicBezTo>
                  <a:cubicBezTo>
                    <a:pt x="831" y="14319"/>
                    <a:pt x="831" y="14319"/>
                    <a:pt x="831" y="14319"/>
                  </a:cubicBezTo>
                  <a:cubicBezTo>
                    <a:pt x="1385" y="14804"/>
                    <a:pt x="1385" y="14804"/>
                    <a:pt x="1385" y="14804"/>
                  </a:cubicBezTo>
                  <a:cubicBezTo>
                    <a:pt x="2492" y="15047"/>
                    <a:pt x="2492" y="15047"/>
                    <a:pt x="2492" y="15047"/>
                  </a:cubicBezTo>
                  <a:cubicBezTo>
                    <a:pt x="3046" y="14804"/>
                    <a:pt x="3046" y="14804"/>
                    <a:pt x="3046" y="14804"/>
                  </a:cubicBezTo>
                  <a:cubicBezTo>
                    <a:pt x="3323" y="14562"/>
                    <a:pt x="3323" y="14562"/>
                    <a:pt x="3323" y="14562"/>
                  </a:cubicBezTo>
                  <a:cubicBezTo>
                    <a:pt x="3046" y="14319"/>
                    <a:pt x="3046" y="14319"/>
                    <a:pt x="3046" y="14319"/>
                  </a:cubicBezTo>
                  <a:cubicBezTo>
                    <a:pt x="3046" y="14319"/>
                    <a:pt x="3046" y="14076"/>
                    <a:pt x="3323" y="14076"/>
                  </a:cubicBezTo>
                  <a:cubicBezTo>
                    <a:pt x="3323" y="13834"/>
                    <a:pt x="3600" y="13834"/>
                    <a:pt x="3600" y="13834"/>
                  </a:cubicBezTo>
                  <a:cubicBezTo>
                    <a:pt x="3600" y="14076"/>
                    <a:pt x="3600" y="14076"/>
                    <a:pt x="3600" y="14076"/>
                  </a:cubicBezTo>
                  <a:cubicBezTo>
                    <a:pt x="4431" y="14076"/>
                    <a:pt x="4431" y="14076"/>
                    <a:pt x="4431" y="14076"/>
                  </a:cubicBezTo>
                  <a:cubicBezTo>
                    <a:pt x="4431" y="14562"/>
                    <a:pt x="4431" y="14562"/>
                    <a:pt x="4431" y="14562"/>
                  </a:cubicBezTo>
                  <a:cubicBezTo>
                    <a:pt x="4154" y="14804"/>
                    <a:pt x="4154" y="14804"/>
                    <a:pt x="4154" y="14804"/>
                  </a:cubicBezTo>
                  <a:cubicBezTo>
                    <a:pt x="3877" y="14562"/>
                    <a:pt x="3877" y="14562"/>
                    <a:pt x="3877" y="14562"/>
                  </a:cubicBezTo>
                  <a:cubicBezTo>
                    <a:pt x="3877" y="14562"/>
                    <a:pt x="3877" y="14804"/>
                    <a:pt x="3877" y="14804"/>
                  </a:cubicBezTo>
                  <a:cubicBezTo>
                    <a:pt x="3877" y="14804"/>
                    <a:pt x="3877" y="15533"/>
                    <a:pt x="3877" y="15533"/>
                  </a:cubicBezTo>
                  <a:cubicBezTo>
                    <a:pt x="3877" y="15533"/>
                    <a:pt x="3877" y="15775"/>
                    <a:pt x="3600" y="15533"/>
                  </a:cubicBezTo>
                  <a:cubicBezTo>
                    <a:pt x="3600" y="15533"/>
                    <a:pt x="3323" y="15290"/>
                    <a:pt x="3323" y="15290"/>
                  </a:cubicBezTo>
                  <a:cubicBezTo>
                    <a:pt x="2492" y="15047"/>
                    <a:pt x="2492" y="15047"/>
                    <a:pt x="2492" y="15047"/>
                  </a:cubicBezTo>
                  <a:cubicBezTo>
                    <a:pt x="2215" y="15290"/>
                    <a:pt x="2215" y="15290"/>
                    <a:pt x="2215" y="15290"/>
                  </a:cubicBezTo>
                  <a:cubicBezTo>
                    <a:pt x="2215" y="15290"/>
                    <a:pt x="2215" y="15533"/>
                    <a:pt x="2215" y="15775"/>
                  </a:cubicBezTo>
                  <a:cubicBezTo>
                    <a:pt x="2492" y="15775"/>
                    <a:pt x="2769" y="15775"/>
                    <a:pt x="2769" y="15775"/>
                  </a:cubicBezTo>
                  <a:cubicBezTo>
                    <a:pt x="2769" y="15775"/>
                    <a:pt x="3323" y="15775"/>
                    <a:pt x="3323" y="15775"/>
                  </a:cubicBezTo>
                  <a:cubicBezTo>
                    <a:pt x="3323" y="15775"/>
                    <a:pt x="3323" y="15775"/>
                    <a:pt x="3600" y="15775"/>
                  </a:cubicBezTo>
                  <a:cubicBezTo>
                    <a:pt x="3600" y="15775"/>
                    <a:pt x="4154" y="15775"/>
                    <a:pt x="4154" y="15775"/>
                  </a:cubicBezTo>
                  <a:cubicBezTo>
                    <a:pt x="4154" y="16261"/>
                    <a:pt x="4154" y="16261"/>
                    <a:pt x="4154" y="16261"/>
                  </a:cubicBezTo>
                  <a:cubicBezTo>
                    <a:pt x="4708" y="16746"/>
                    <a:pt x="4708" y="16746"/>
                    <a:pt x="4708" y="16746"/>
                  </a:cubicBezTo>
                  <a:cubicBezTo>
                    <a:pt x="5815" y="16746"/>
                    <a:pt x="5815" y="16746"/>
                    <a:pt x="5815" y="16746"/>
                  </a:cubicBezTo>
                  <a:cubicBezTo>
                    <a:pt x="6092" y="16746"/>
                    <a:pt x="6092" y="16746"/>
                    <a:pt x="6092" y="16746"/>
                  </a:cubicBezTo>
                  <a:cubicBezTo>
                    <a:pt x="6923" y="17231"/>
                    <a:pt x="6923" y="17231"/>
                    <a:pt x="6923" y="17231"/>
                  </a:cubicBezTo>
                  <a:cubicBezTo>
                    <a:pt x="6923" y="17231"/>
                    <a:pt x="7200" y="17717"/>
                    <a:pt x="7477" y="17717"/>
                  </a:cubicBezTo>
                  <a:cubicBezTo>
                    <a:pt x="7477" y="17717"/>
                    <a:pt x="7754" y="18202"/>
                    <a:pt x="7754" y="18202"/>
                  </a:cubicBezTo>
                  <a:cubicBezTo>
                    <a:pt x="8308" y="18202"/>
                    <a:pt x="8308" y="18202"/>
                    <a:pt x="8308" y="18202"/>
                  </a:cubicBezTo>
                  <a:cubicBezTo>
                    <a:pt x="8585" y="18202"/>
                    <a:pt x="8585" y="18202"/>
                    <a:pt x="8585" y="18202"/>
                  </a:cubicBezTo>
                  <a:cubicBezTo>
                    <a:pt x="8585" y="18202"/>
                    <a:pt x="8862" y="18445"/>
                    <a:pt x="8862" y="18445"/>
                  </a:cubicBezTo>
                  <a:cubicBezTo>
                    <a:pt x="8585" y="18688"/>
                    <a:pt x="8585" y="18688"/>
                    <a:pt x="8585" y="18688"/>
                  </a:cubicBezTo>
                  <a:cubicBezTo>
                    <a:pt x="8862" y="19173"/>
                    <a:pt x="8862" y="19173"/>
                    <a:pt x="8862" y="19173"/>
                  </a:cubicBezTo>
                  <a:cubicBezTo>
                    <a:pt x="9415" y="19173"/>
                    <a:pt x="9415" y="19173"/>
                    <a:pt x="9415" y="19173"/>
                  </a:cubicBezTo>
                  <a:cubicBezTo>
                    <a:pt x="9415" y="19173"/>
                    <a:pt x="9415" y="19173"/>
                    <a:pt x="9415" y="19416"/>
                  </a:cubicBezTo>
                  <a:cubicBezTo>
                    <a:pt x="9415" y="19416"/>
                    <a:pt x="9692" y="19901"/>
                    <a:pt x="9692" y="19901"/>
                  </a:cubicBezTo>
                  <a:cubicBezTo>
                    <a:pt x="9692" y="20144"/>
                    <a:pt x="9692" y="20144"/>
                    <a:pt x="9692" y="20144"/>
                  </a:cubicBezTo>
                  <a:cubicBezTo>
                    <a:pt x="9692" y="20144"/>
                    <a:pt x="9969" y="20144"/>
                    <a:pt x="9969" y="20387"/>
                  </a:cubicBezTo>
                  <a:cubicBezTo>
                    <a:pt x="9969" y="20387"/>
                    <a:pt x="9969" y="20387"/>
                    <a:pt x="9969" y="20629"/>
                  </a:cubicBezTo>
                  <a:cubicBezTo>
                    <a:pt x="10246" y="20629"/>
                    <a:pt x="10800" y="20629"/>
                    <a:pt x="10800" y="20629"/>
                  </a:cubicBezTo>
                  <a:cubicBezTo>
                    <a:pt x="11077" y="20872"/>
                    <a:pt x="11077" y="20872"/>
                    <a:pt x="11077" y="20872"/>
                  </a:cubicBezTo>
                  <a:cubicBezTo>
                    <a:pt x="11354" y="21115"/>
                    <a:pt x="11354" y="21115"/>
                    <a:pt x="11354" y="21115"/>
                  </a:cubicBezTo>
                  <a:lnTo>
                    <a:pt x="11631" y="21115"/>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5" name="Shape 2228">
              <a:extLst>
                <a:ext uri="{FF2B5EF4-FFF2-40B4-BE49-F238E27FC236}">
                  <a16:creationId xmlns:a16="http://schemas.microsoft.com/office/drawing/2014/main" id="{A9CF5FF4-84E7-DD12-9FA5-B26CC24E68F4}"/>
                </a:ext>
              </a:extLst>
            </p:cNvPr>
            <p:cNvSpPr/>
            <p:nvPr/>
          </p:nvSpPr>
          <p:spPr>
            <a:xfrm>
              <a:off x="5493897" y="6711103"/>
              <a:ext cx="437445" cy="371984"/>
            </a:xfrm>
            <a:custGeom>
              <a:avLst/>
              <a:gdLst/>
              <a:ahLst/>
              <a:cxnLst>
                <a:cxn ang="0">
                  <a:pos x="wd2" y="hd2"/>
                </a:cxn>
                <a:cxn ang="5400000">
                  <a:pos x="wd2" y="hd2"/>
                </a:cxn>
                <a:cxn ang="10800000">
                  <a:pos x="wd2" y="hd2"/>
                </a:cxn>
                <a:cxn ang="16200000">
                  <a:pos x="wd2" y="hd2"/>
                </a:cxn>
              </a:cxnLst>
              <a:rect l="0" t="0" r="r" b="b"/>
              <a:pathLst>
                <a:path w="21600" h="21600" extrusionOk="0">
                  <a:moveTo>
                    <a:pt x="4279" y="20903"/>
                  </a:moveTo>
                  <a:cubicBezTo>
                    <a:pt x="4279" y="20903"/>
                    <a:pt x="4075" y="20903"/>
                    <a:pt x="3872" y="20903"/>
                  </a:cubicBezTo>
                  <a:cubicBezTo>
                    <a:pt x="3668" y="20903"/>
                    <a:pt x="3464" y="21368"/>
                    <a:pt x="3260" y="21368"/>
                  </a:cubicBezTo>
                  <a:cubicBezTo>
                    <a:pt x="3260" y="21368"/>
                    <a:pt x="3260" y="21368"/>
                    <a:pt x="3260" y="21135"/>
                  </a:cubicBezTo>
                  <a:cubicBezTo>
                    <a:pt x="3260" y="20903"/>
                    <a:pt x="3260" y="20903"/>
                    <a:pt x="3057" y="20671"/>
                  </a:cubicBezTo>
                  <a:cubicBezTo>
                    <a:pt x="3057" y="20439"/>
                    <a:pt x="3057" y="19974"/>
                    <a:pt x="2853" y="19742"/>
                  </a:cubicBezTo>
                  <a:cubicBezTo>
                    <a:pt x="2649" y="19510"/>
                    <a:pt x="2649" y="19277"/>
                    <a:pt x="2649" y="19277"/>
                  </a:cubicBezTo>
                  <a:cubicBezTo>
                    <a:pt x="2649" y="19277"/>
                    <a:pt x="2242" y="19277"/>
                    <a:pt x="2038" y="19277"/>
                  </a:cubicBezTo>
                  <a:cubicBezTo>
                    <a:pt x="2038" y="19277"/>
                    <a:pt x="1834" y="19277"/>
                    <a:pt x="1834" y="19277"/>
                  </a:cubicBezTo>
                  <a:cubicBezTo>
                    <a:pt x="1834" y="19277"/>
                    <a:pt x="1630" y="18813"/>
                    <a:pt x="1834" y="18813"/>
                  </a:cubicBezTo>
                  <a:cubicBezTo>
                    <a:pt x="1834" y="18581"/>
                    <a:pt x="1630" y="18348"/>
                    <a:pt x="1426" y="18116"/>
                  </a:cubicBezTo>
                  <a:cubicBezTo>
                    <a:pt x="1426" y="18116"/>
                    <a:pt x="1019" y="17419"/>
                    <a:pt x="1019" y="17419"/>
                  </a:cubicBezTo>
                  <a:cubicBezTo>
                    <a:pt x="1019" y="17419"/>
                    <a:pt x="815" y="17419"/>
                    <a:pt x="815" y="17187"/>
                  </a:cubicBezTo>
                  <a:cubicBezTo>
                    <a:pt x="815" y="16955"/>
                    <a:pt x="815" y="16723"/>
                    <a:pt x="815" y="16723"/>
                  </a:cubicBezTo>
                  <a:cubicBezTo>
                    <a:pt x="611" y="16258"/>
                    <a:pt x="611" y="16258"/>
                    <a:pt x="611" y="16258"/>
                  </a:cubicBezTo>
                  <a:cubicBezTo>
                    <a:pt x="611" y="16258"/>
                    <a:pt x="1019" y="16026"/>
                    <a:pt x="1019" y="15794"/>
                  </a:cubicBezTo>
                  <a:cubicBezTo>
                    <a:pt x="1019" y="15794"/>
                    <a:pt x="1223" y="15561"/>
                    <a:pt x="1019" y="15329"/>
                  </a:cubicBezTo>
                  <a:cubicBezTo>
                    <a:pt x="1019" y="15097"/>
                    <a:pt x="611" y="14865"/>
                    <a:pt x="611" y="14865"/>
                  </a:cubicBezTo>
                  <a:cubicBezTo>
                    <a:pt x="408" y="14632"/>
                    <a:pt x="204" y="14400"/>
                    <a:pt x="0" y="14168"/>
                  </a:cubicBezTo>
                  <a:cubicBezTo>
                    <a:pt x="0" y="13935"/>
                    <a:pt x="0" y="13703"/>
                    <a:pt x="0" y="13703"/>
                  </a:cubicBezTo>
                  <a:cubicBezTo>
                    <a:pt x="0" y="13703"/>
                    <a:pt x="0" y="13471"/>
                    <a:pt x="204" y="13471"/>
                  </a:cubicBezTo>
                  <a:cubicBezTo>
                    <a:pt x="408" y="13239"/>
                    <a:pt x="611" y="13239"/>
                    <a:pt x="611" y="13006"/>
                  </a:cubicBezTo>
                  <a:cubicBezTo>
                    <a:pt x="611" y="13006"/>
                    <a:pt x="815" y="13006"/>
                    <a:pt x="815" y="12774"/>
                  </a:cubicBezTo>
                  <a:cubicBezTo>
                    <a:pt x="611" y="12542"/>
                    <a:pt x="408" y="12310"/>
                    <a:pt x="408" y="12310"/>
                  </a:cubicBezTo>
                  <a:cubicBezTo>
                    <a:pt x="611" y="11613"/>
                    <a:pt x="611" y="11613"/>
                    <a:pt x="611" y="11613"/>
                  </a:cubicBezTo>
                  <a:cubicBezTo>
                    <a:pt x="408" y="11381"/>
                    <a:pt x="408" y="11381"/>
                    <a:pt x="408" y="11381"/>
                  </a:cubicBezTo>
                  <a:cubicBezTo>
                    <a:pt x="408" y="10452"/>
                    <a:pt x="408" y="10452"/>
                    <a:pt x="408" y="10452"/>
                  </a:cubicBezTo>
                  <a:cubicBezTo>
                    <a:pt x="408" y="10219"/>
                    <a:pt x="408" y="10219"/>
                    <a:pt x="408" y="10219"/>
                  </a:cubicBezTo>
                  <a:cubicBezTo>
                    <a:pt x="408" y="10219"/>
                    <a:pt x="611" y="9755"/>
                    <a:pt x="611" y="9755"/>
                  </a:cubicBezTo>
                  <a:cubicBezTo>
                    <a:pt x="611" y="9523"/>
                    <a:pt x="611" y="9058"/>
                    <a:pt x="611" y="9058"/>
                  </a:cubicBezTo>
                  <a:cubicBezTo>
                    <a:pt x="611" y="9058"/>
                    <a:pt x="611" y="9058"/>
                    <a:pt x="611" y="9058"/>
                  </a:cubicBezTo>
                  <a:cubicBezTo>
                    <a:pt x="1019" y="9290"/>
                    <a:pt x="1630" y="9058"/>
                    <a:pt x="1834" y="9058"/>
                  </a:cubicBezTo>
                  <a:cubicBezTo>
                    <a:pt x="2242" y="9058"/>
                    <a:pt x="2242" y="8361"/>
                    <a:pt x="2038" y="7665"/>
                  </a:cubicBezTo>
                  <a:cubicBezTo>
                    <a:pt x="2038" y="7200"/>
                    <a:pt x="2242" y="6735"/>
                    <a:pt x="2242" y="6271"/>
                  </a:cubicBezTo>
                  <a:cubicBezTo>
                    <a:pt x="2445" y="5806"/>
                    <a:pt x="3057" y="5574"/>
                    <a:pt x="3668" y="5110"/>
                  </a:cubicBezTo>
                  <a:cubicBezTo>
                    <a:pt x="4075" y="4645"/>
                    <a:pt x="4075" y="4181"/>
                    <a:pt x="4687" y="4181"/>
                  </a:cubicBezTo>
                  <a:cubicBezTo>
                    <a:pt x="4687" y="4181"/>
                    <a:pt x="4891" y="4181"/>
                    <a:pt x="5094" y="4413"/>
                  </a:cubicBezTo>
                  <a:cubicBezTo>
                    <a:pt x="5094" y="4413"/>
                    <a:pt x="5094" y="4645"/>
                    <a:pt x="5298" y="4877"/>
                  </a:cubicBezTo>
                  <a:cubicBezTo>
                    <a:pt x="5298" y="4877"/>
                    <a:pt x="5298" y="4877"/>
                    <a:pt x="5502" y="4877"/>
                  </a:cubicBezTo>
                  <a:cubicBezTo>
                    <a:pt x="5909" y="5574"/>
                    <a:pt x="6317" y="6039"/>
                    <a:pt x="6317" y="4181"/>
                  </a:cubicBezTo>
                  <a:cubicBezTo>
                    <a:pt x="6521" y="2555"/>
                    <a:pt x="7540" y="3019"/>
                    <a:pt x="8355" y="2555"/>
                  </a:cubicBezTo>
                  <a:cubicBezTo>
                    <a:pt x="8355" y="2555"/>
                    <a:pt x="8355" y="2555"/>
                    <a:pt x="8558" y="2323"/>
                  </a:cubicBezTo>
                  <a:cubicBezTo>
                    <a:pt x="8762" y="2555"/>
                    <a:pt x="8966" y="2555"/>
                    <a:pt x="9170" y="2555"/>
                  </a:cubicBezTo>
                  <a:cubicBezTo>
                    <a:pt x="9374" y="2555"/>
                    <a:pt x="9374" y="2555"/>
                    <a:pt x="9374" y="2555"/>
                  </a:cubicBezTo>
                  <a:cubicBezTo>
                    <a:pt x="9374" y="2555"/>
                    <a:pt x="9985" y="1626"/>
                    <a:pt x="9985" y="1626"/>
                  </a:cubicBezTo>
                  <a:cubicBezTo>
                    <a:pt x="10189" y="1626"/>
                    <a:pt x="10596" y="1394"/>
                    <a:pt x="10596" y="1394"/>
                  </a:cubicBezTo>
                  <a:cubicBezTo>
                    <a:pt x="11004" y="697"/>
                    <a:pt x="11004" y="697"/>
                    <a:pt x="11004" y="697"/>
                  </a:cubicBezTo>
                  <a:cubicBezTo>
                    <a:pt x="11004" y="697"/>
                    <a:pt x="11411" y="929"/>
                    <a:pt x="11615" y="929"/>
                  </a:cubicBezTo>
                  <a:cubicBezTo>
                    <a:pt x="11819" y="929"/>
                    <a:pt x="12023" y="929"/>
                    <a:pt x="12430" y="929"/>
                  </a:cubicBezTo>
                  <a:cubicBezTo>
                    <a:pt x="12634" y="697"/>
                    <a:pt x="12634" y="697"/>
                    <a:pt x="12634" y="697"/>
                  </a:cubicBezTo>
                  <a:cubicBezTo>
                    <a:pt x="12634" y="697"/>
                    <a:pt x="13042" y="232"/>
                    <a:pt x="13449" y="232"/>
                  </a:cubicBezTo>
                  <a:cubicBezTo>
                    <a:pt x="13857" y="0"/>
                    <a:pt x="13857" y="232"/>
                    <a:pt x="13857" y="232"/>
                  </a:cubicBezTo>
                  <a:cubicBezTo>
                    <a:pt x="13857" y="232"/>
                    <a:pt x="14468" y="232"/>
                    <a:pt x="14875" y="232"/>
                  </a:cubicBezTo>
                  <a:cubicBezTo>
                    <a:pt x="14875" y="232"/>
                    <a:pt x="14875" y="0"/>
                    <a:pt x="14875" y="0"/>
                  </a:cubicBezTo>
                  <a:cubicBezTo>
                    <a:pt x="15487" y="465"/>
                    <a:pt x="15487" y="1161"/>
                    <a:pt x="16098" y="1858"/>
                  </a:cubicBezTo>
                  <a:cubicBezTo>
                    <a:pt x="16913" y="2787"/>
                    <a:pt x="17728" y="2555"/>
                    <a:pt x="19155" y="3484"/>
                  </a:cubicBezTo>
                  <a:cubicBezTo>
                    <a:pt x="19155" y="3716"/>
                    <a:pt x="19970" y="4413"/>
                    <a:pt x="20174" y="5110"/>
                  </a:cubicBezTo>
                  <a:cubicBezTo>
                    <a:pt x="20377" y="6039"/>
                    <a:pt x="21192" y="6039"/>
                    <a:pt x="21396" y="6968"/>
                  </a:cubicBezTo>
                  <a:cubicBezTo>
                    <a:pt x="21396" y="7665"/>
                    <a:pt x="20989" y="7897"/>
                    <a:pt x="20989" y="8594"/>
                  </a:cubicBezTo>
                  <a:cubicBezTo>
                    <a:pt x="20989" y="9290"/>
                    <a:pt x="21396" y="10916"/>
                    <a:pt x="21600" y="11148"/>
                  </a:cubicBezTo>
                  <a:cubicBezTo>
                    <a:pt x="21600" y="11148"/>
                    <a:pt x="21600" y="11381"/>
                    <a:pt x="21600" y="11381"/>
                  </a:cubicBezTo>
                  <a:cubicBezTo>
                    <a:pt x="19766" y="11845"/>
                    <a:pt x="19766" y="11845"/>
                    <a:pt x="19766" y="11845"/>
                  </a:cubicBezTo>
                  <a:cubicBezTo>
                    <a:pt x="19970" y="13935"/>
                    <a:pt x="19970" y="13935"/>
                    <a:pt x="19970" y="13935"/>
                  </a:cubicBezTo>
                  <a:cubicBezTo>
                    <a:pt x="18951" y="14865"/>
                    <a:pt x="18951" y="14865"/>
                    <a:pt x="18951" y="14865"/>
                  </a:cubicBezTo>
                  <a:cubicBezTo>
                    <a:pt x="18951" y="14865"/>
                    <a:pt x="16506" y="15329"/>
                    <a:pt x="16302" y="15329"/>
                  </a:cubicBezTo>
                  <a:cubicBezTo>
                    <a:pt x="16098" y="15329"/>
                    <a:pt x="15079" y="15561"/>
                    <a:pt x="14672" y="15794"/>
                  </a:cubicBezTo>
                  <a:cubicBezTo>
                    <a:pt x="14264" y="15794"/>
                    <a:pt x="13653" y="16258"/>
                    <a:pt x="13449" y="16258"/>
                  </a:cubicBezTo>
                  <a:cubicBezTo>
                    <a:pt x="13042" y="16490"/>
                    <a:pt x="12838" y="17652"/>
                    <a:pt x="12838" y="17652"/>
                  </a:cubicBezTo>
                  <a:cubicBezTo>
                    <a:pt x="12838" y="17652"/>
                    <a:pt x="12226" y="18581"/>
                    <a:pt x="12023" y="18813"/>
                  </a:cubicBezTo>
                  <a:cubicBezTo>
                    <a:pt x="11819" y="19045"/>
                    <a:pt x="10800" y="19742"/>
                    <a:pt x="10800" y="19742"/>
                  </a:cubicBezTo>
                  <a:cubicBezTo>
                    <a:pt x="10800" y="19742"/>
                    <a:pt x="9781" y="19742"/>
                    <a:pt x="9577" y="19742"/>
                  </a:cubicBezTo>
                  <a:cubicBezTo>
                    <a:pt x="9170" y="19742"/>
                    <a:pt x="8762" y="20206"/>
                    <a:pt x="8355" y="20206"/>
                  </a:cubicBezTo>
                  <a:cubicBezTo>
                    <a:pt x="7743" y="20439"/>
                    <a:pt x="7336" y="20671"/>
                    <a:pt x="7132" y="20671"/>
                  </a:cubicBezTo>
                  <a:cubicBezTo>
                    <a:pt x="6928" y="20671"/>
                    <a:pt x="5909" y="20903"/>
                    <a:pt x="5909" y="20903"/>
                  </a:cubicBezTo>
                  <a:cubicBezTo>
                    <a:pt x="5909" y="21600"/>
                    <a:pt x="5909" y="21600"/>
                    <a:pt x="5909" y="21600"/>
                  </a:cubicBezTo>
                  <a:cubicBezTo>
                    <a:pt x="5909" y="21600"/>
                    <a:pt x="5706" y="21600"/>
                    <a:pt x="5706" y="21600"/>
                  </a:cubicBezTo>
                  <a:cubicBezTo>
                    <a:pt x="5706" y="21600"/>
                    <a:pt x="5706" y="21600"/>
                    <a:pt x="5502" y="21600"/>
                  </a:cubicBezTo>
                  <a:cubicBezTo>
                    <a:pt x="5502" y="21368"/>
                    <a:pt x="5502" y="21368"/>
                    <a:pt x="5502" y="21368"/>
                  </a:cubicBezTo>
                  <a:cubicBezTo>
                    <a:pt x="5094" y="20903"/>
                    <a:pt x="5094" y="20903"/>
                    <a:pt x="5094" y="20903"/>
                  </a:cubicBezTo>
                  <a:cubicBezTo>
                    <a:pt x="5094" y="20903"/>
                    <a:pt x="4891" y="21135"/>
                    <a:pt x="4687" y="21135"/>
                  </a:cubicBezTo>
                  <a:cubicBezTo>
                    <a:pt x="4483" y="21135"/>
                    <a:pt x="4483" y="20903"/>
                    <a:pt x="4279" y="2090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6" name="Shape 2229">
              <a:extLst>
                <a:ext uri="{FF2B5EF4-FFF2-40B4-BE49-F238E27FC236}">
                  <a16:creationId xmlns:a16="http://schemas.microsoft.com/office/drawing/2014/main" id="{627CC153-9338-20E8-2657-D6B29E70FC68}"/>
                </a:ext>
              </a:extLst>
            </p:cNvPr>
            <p:cNvSpPr/>
            <p:nvPr/>
          </p:nvSpPr>
          <p:spPr>
            <a:xfrm>
              <a:off x="4718428" y="5219320"/>
              <a:ext cx="805295" cy="435587"/>
            </a:xfrm>
            <a:custGeom>
              <a:avLst/>
              <a:gdLst/>
              <a:ahLst/>
              <a:cxnLst>
                <a:cxn ang="0">
                  <a:pos x="wd2" y="hd2"/>
                </a:cxn>
                <a:cxn ang="5400000">
                  <a:pos x="wd2" y="hd2"/>
                </a:cxn>
                <a:cxn ang="10800000">
                  <a:pos x="wd2" y="hd2"/>
                </a:cxn>
                <a:cxn ang="16200000">
                  <a:pos x="wd2" y="hd2"/>
                </a:cxn>
              </a:cxnLst>
              <a:rect l="0" t="0" r="r" b="b"/>
              <a:pathLst>
                <a:path w="21600" h="21600" extrusionOk="0">
                  <a:moveTo>
                    <a:pt x="2880" y="10701"/>
                  </a:moveTo>
                  <a:cubicBezTo>
                    <a:pt x="3212" y="10305"/>
                    <a:pt x="3212" y="10305"/>
                    <a:pt x="3212" y="10305"/>
                  </a:cubicBezTo>
                  <a:cubicBezTo>
                    <a:pt x="3212" y="10305"/>
                    <a:pt x="3212" y="9710"/>
                    <a:pt x="3323" y="9908"/>
                  </a:cubicBezTo>
                  <a:cubicBezTo>
                    <a:pt x="3323" y="9908"/>
                    <a:pt x="3545" y="9710"/>
                    <a:pt x="3545" y="9710"/>
                  </a:cubicBezTo>
                  <a:cubicBezTo>
                    <a:pt x="3655" y="9314"/>
                    <a:pt x="3655" y="9314"/>
                    <a:pt x="3655" y="9314"/>
                  </a:cubicBezTo>
                  <a:cubicBezTo>
                    <a:pt x="3766" y="8719"/>
                    <a:pt x="3766" y="8719"/>
                    <a:pt x="3766" y="8719"/>
                  </a:cubicBezTo>
                  <a:cubicBezTo>
                    <a:pt x="4320" y="8323"/>
                    <a:pt x="4320" y="8323"/>
                    <a:pt x="4320" y="8323"/>
                  </a:cubicBezTo>
                  <a:cubicBezTo>
                    <a:pt x="4431" y="7332"/>
                    <a:pt x="4431" y="7332"/>
                    <a:pt x="4431" y="7332"/>
                  </a:cubicBezTo>
                  <a:cubicBezTo>
                    <a:pt x="4320" y="6738"/>
                    <a:pt x="4320" y="6738"/>
                    <a:pt x="4320" y="6738"/>
                  </a:cubicBezTo>
                  <a:cubicBezTo>
                    <a:pt x="4320" y="6738"/>
                    <a:pt x="4320" y="5945"/>
                    <a:pt x="4431" y="5945"/>
                  </a:cubicBezTo>
                  <a:cubicBezTo>
                    <a:pt x="4542" y="5945"/>
                    <a:pt x="4874" y="5549"/>
                    <a:pt x="4874" y="5549"/>
                  </a:cubicBezTo>
                  <a:cubicBezTo>
                    <a:pt x="5206" y="4954"/>
                    <a:pt x="5206" y="4954"/>
                    <a:pt x="5206" y="4954"/>
                  </a:cubicBezTo>
                  <a:cubicBezTo>
                    <a:pt x="5206" y="4558"/>
                    <a:pt x="5206" y="4558"/>
                    <a:pt x="5206" y="4558"/>
                  </a:cubicBezTo>
                  <a:cubicBezTo>
                    <a:pt x="5428" y="3765"/>
                    <a:pt x="5428" y="3765"/>
                    <a:pt x="5428" y="3765"/>
                  </a:cubicBezTo>
                  <a:cubicBezTo>
                    <a:pt x="5649" y="3369"/>
                    <a:pt x="5649" y="3369"/>
                    <a:pt x="5649" y="3369"/>
                  </a:cubicBezTo>
                  <a:cubicBezTo>
                    <a:pt x="5871" y="2972"/>
                    <a:pt x="5871" y="2972"/>
                    <a:pt x="5871" y="2972"/>
                  </a:cubicBezTo>
                  <a:cubicBezTo>
                    <a:pt x="6203" y="2774"/>
                    <a:pt x="6203" y="2774"/>
                    <a:pt x="6203" y="2774"/>
                  </a:cubicBezTo>
                  <a:cubicBezTo>
                    <a:pt x="6203" y="2774"/>
                    <a:pt x="6314" y="2774"/>
                    <a:pt x="6425" y="2774"/>
                  </a:cubicBezTo>
                  <a:cubicBezTo>
                    <a:pt x="6535" y="2774"/>
                    <a:pt x="6646" y="2576"/>
                    <a:pt x="6646" y="2576"/>
                  </a:cubicBezTo>
                  <a:cubicBezTo>
                    <a:pt x="6757" y="2576"/>
                    <a:pt x="7089" y="2576"/>
                    <a:pt x="7089" y="2576"/>
                  </a:cubicBezTo>
                  <a:cubicBezTo>
                    <a:pt x="7089" y="2576"/>
                    <a:pt x="7311" y="2180"/>
                    <a:pt x="7311" y="2378"/>
                  </a:cubicBezTo>
                  <a:cubicBezTo>
                    <a:pt x="7311" y="2774"/>
                    <a:pt x="7311" y="2972"/>
                    <a:pt x="7311" y="2972"/>
                  </a:cubicBezTo>
                  <a:cubicBezTo>
                    <a:pt x="7422" y="3171"/>
                    <a:pt x="7532" y="3567"/>
                    <a:pt x="7532" y="3567"/>
                  </a:cubicBezTo>
                  <a:cubicBezTo>
                    <a:pt x="7532" y="3567"/>
                    <a:pt x="7754" y="3567"/>
                    <a:pt x="7865" y="3369"/>
                  </a:cubicBezTo>
                  <a:cubicBezTo>
                    <a:pt x="7975" y="3171"/>
                    <a:pt x="8197" y="2972"/>
                    <a:pt x="8197" y="2972"/>
                  </a:cubicBezTo>
                  <a:cubicBezTo>
                    <a:pt x="8197" y="2972"/>
                    <a:pt x="8418" y="3369"/>
                    <a:pt x="8418" y="3171"/>
                  </a:cubicBezTo>
                  <a:cubicBezTo>
                    <a:pt x="8418" y="2972"/>
                    <a:pt x="8418" y="2180"/>
                    <a:pt x="8418" y="2180"/>
                  </a:cubicBezTo>
                  <a:cubicBezTo>
                    <a:pt x="8640" y="1585"/>
                    <a:pt x="8640" y="1585"/>
                    <a:pt x="8640" y="1585"/>
                  </a:cubicBezTo>
                  <a:cubicBezTo>
                    <a:pt x="8640" y="1585"/>
                    <a:pt x="8862" y="1585"/>
                    <a:pt x="8862" y="1387"/>
                  </a:cubicBezTo>
                  <a:cubicBezTo>
                    <a:pt x="8862" y="1189"/>
                    <a:pt x="9083" y="793"/>
                    <a:pt x="9083" y="793"/>
                  </a:cubicBezTo>
                  <a:cubicBezTo>
                    <a:pt x="9415" y="793"/>
                    <a:pt x="9415" y="793"/>
                    <a:pt x="9415" y="793"/>
                  </a:cubicBezTo>
                  <a:cubicBezTo>
                    <a:pt x="9637" y="1982"/>
                    <a:pt x="9637" y="1982"/>
                    <a:pt x="9637" y="1982"/>
                  </a:cubicBezTo>
                  <a:cubicBezTo>
                    <a:pt x="9969" y="2378"/>
                    <a:pt x="9969" y="2378"/>
                    <a:pt x="9969" y="2378"/>
                  </a:cubicBezTo>
                  <a:cubicBezTo>
                    <a:pt x="10080" y="2576"/>
                    <a:pt x="10080" y="2576"/>
                    <a:pt x="10080" y="2576"/>
                  </a:cubicBezTo>
                  <a:cubicBezTo>
                    <a:pt x="10302" y="2774"/>
                    <a:pt x="10302" y="2774"/>
                    <a:pt x="10302" y="2774"/>
                  </a:cubicBezTo>
                  <a:cubicBezTo>
                    <a:pt x="10634" y="2774"/>
                    <a:pt x="10634" y="2774"/>
                    <a:pt x="10634" y="2774"/>
                  </a:cubicBezTo>
                  <a:cubicBezTo>
                    <a:pt x="10634" y="2972"/>
                    <a:pt x="10634" y="2972"/>
                    <a:pt x="10634" y="2972"/>
                  </a:cubicBezTo>
                  <a:cubicBezTo>
                    <a:pt x="10855" y="3369"/>
                    <a:pt x="10855" y="3369"/>
                    <a:pt x="10855" y="3369"/>
                  </a:cubicBezTo>
                  <a:cubicBezTo>
                    <a:pt x="10966" y="3963"/>
                    <a:pt x="10966" y="3963"/>
                    <a:pt x="10966" y="3963"/>
                  </a:cubicBezTo>
                  <a:cubicBezTo>
                    <a:pt x="10745" y="4360"/>
                    <a:pt x="10745" y="4360"/>
                    <a:pt x="10745" y="4360"/>
                  </a:cubicBezTo>
                  <a:cubicBezTo>
                    <a:pt x="10745" y="4558"/>
                    <a:pt x="10745" y="4558"/>
                    <a:pt x="10745" y="4558"/>
                  </a:cubicBezTo>
                  <a:cubicBezTo>
                    <a:pt x="10855" y="4756"/>
                    <a:pt x="10855" y="4756"/>
                    <a:pt x="10855" y="4756"/>
                  </a:cubicBezTo>
                  <a:cubicBezTo>
                    <a:pt x="10855" y="4756"/>
                    <a:pt x="10966" y="4756"/>
                    <a:pt x="10966" y="4756"/>
                  </a:cubicBezTo>
                  <a:cubicBezTo>
                    <a:pt x="10966" y="4756"/>
                    <a:pt x="11188" y="4558"/>
                    <a:pt x="11298" y="4558"/>
                  </a:cubicBezTo>
                  <a:cubicBezTo>
                    <a:pt x="11298" y="4558"/>
                    <a:pt x="11298" y="4360"/>
                    <a:pt x="11298" y="4360"/>
                  </a:cubicBezTo>
                  <a:cubicBezTo>
                    <a:pt x="11298" y="4360"/>
                    <a:pt x="11520" y="4161"/>
                    <a:pt x="11520" y="4161"/>
                  </a:cubicBezTo>
                  <a:cubicBezTo>
                    <a:pt x="11520" y="4161"/>
                    <a:pt x="11631" y="4161"/>
                    <a:pt x="11631" y="4161"/>
                  </a:cubicBezTo>
                  <a:cubicBezTo>
                    <a:pt x="11631" y="4360"/>
                    <a:pt x="11742" y="4558"/>
                    <a:pt x="11742" y="4558"/>
                  </a:cubicBezTo>
                  <a:cubicBezTo>
                    <a:pt x="11742" y="4558"/>
                    <a:pt x="11852" y="4360"/>
                    <a:pt x="11852" y="4558"/>
                  </a:cubicBezTo>
                  <a:cubicBezTo>
                    <a:pt x="11852" y="4558"/>
                    <a:pt x="11963" y="4558"/>
                    <a:pt x="11963" y="4558"/>
                  </a:cubicBezTo>
                  <a:cubicBezTo>
                    <a:pt x="11963" y="4558"/>
                    <a:pt x="11963" y="4558"/>
                    <a:pt x="11963" y="4360"/>
                  </a:cubicBezTo>
                  <a:cubicBezTo>
                    <a:pt x="11963" y="3963"/>
                    <a:pt x="11963" y="3963"/>
                    <a:pt x="11963" y="3963"/>
                  </a:cubicBezTo>
                  <a:cubicBezTo>
                    <a:pt x="11963" y="3765"/>
                    <a:pt x="11963" y="3567"/>
                    <a:pt x="11963" y="3567"/>
                  </a:cubicBezTo>
                  <a:cubicBezTo>
                    <a:pt x="12074" y="3369"/>
                    <a:pt x="12074" y="3369"/>
                    <a:pt x="12074" y="3171"/>
                  </a:cubicBezTo>
                  <a:cubicBezTo>
                    <a:pt x="12074" y="3171"/>
                    <a:pt x="11963" y="2972"/>
                    <a:pt x="12074" y="2972"/>
                  </a:cubicBezTo>
                  <a:cubicBezTo>
                    <a:pt x="12185" y="2972"/>
                    <a:pt x="12295" y="2972"/>
                    <a:pt x="12295" y="2972"/>
                  </a:cubicBezTo>
                  <a:cubicBezTo>
                    <a:pt x="12295" y="2972"/>
                    <a:pt x="12295" y="2774"/>
                    <a:pt x="12295" y="2774"/>
                  </a:cubicBezTo>
                  <a:cubicBezTo>
                    <a:pt x="12295" y="2774"/>
                    <a:pt x="12406" y="2576"/>
                    <a:pt x="12517" y="2576"/>
                  </a:cubicBezTo>
                  <a:cubicBezTo>
                    <a:pt x="12517" y="2576"/>
                    <a:pt x="12517" y="2774"/>
                    <a:pt x="12628" y="2576"/>
                  </a:cubicBezTo>
                  <a:cubicBezTo>
                    <a:pt x="12738" y="2378"/>
                    <a:pt x="12628" y="2378"/>
                    <a:pt x="12628" y="2378"/>
                  </a:cubicBezTo>
                  <a:cubicBezTo>
                    <a:pt x="12628" y="2180"/>
                    <a:pt x="12628" y="2180"/>
                    <a:pt x="12628" y="2180"/>
                  </a:cubicBezTo>
                  <a:cubicBezTo>
                    <a:pt x="12738" y="1982"/>
                    <a:pt x="12628" y="2180"/>
                    <a:pt x="12849" y="2180"/>
                  </a:cubicBezTo>
                  <a:cubicBezTo>
                    <a:pt x="12960" y="1982"/>
                    <a:pt x="13071" y="1982"/>
                    <a:pt x="13071" y="1982"/>
                  </a:cubicBezTo>
                  <a:cubicBezTo>
                    <a:pt x="13071" y="1982"/>
                    <a:pt x="13071" y="1783"/>
                    <a:pt x="13071" y="1783"/>
                  </a:cubicBezTo>
                  <a:cubicBezTo>
                    <a:pt x="13292" y="1585"/>
                    <a:pt x="13292" y="1585"/>
                    <a:pt x="13292" y="1585"/>
                  </a:cubicBezTo>
                  <a:cubicBezTo>
                    <a:pt x="13292" y="1585"/>
                    <a:pt x="13292" y="1783"/>
                    <a:pt x="13292" y="1783"/>
                  </a:cubicBezTo>
                  <a:cubicBezTo>
                    <a:pt x="13292" y="1783"/>
                    <a:pt x="13403" y="1783"/>
                    <a:pt x="13514" y="1783"/>
                  </a:cubicBezTo>
                  <a:cubicBezTo>
                    <a:pt x="13514" y="1783"/>
                    <a:pt x="13625" y="1982"/>
                    <a:pt x="13625" y="1783"/>
                  </a:cubicBezTo>
                  <a:cubicBezTo>
                    <a:pt x="13625" y="1783"/>
                    <a:pt x="13735" y="1783"/>
                    <a:pt x="13735" y="1585"/>
                  </a:cubicBezTo>
                  <a:cubicBezTo>
                    <a:pt x="13735" y="1585"/>
                    <a:pt x="13735" y="1585"/>
                    <a:pt x="13735" y="1585"/>
                  </a:cubicBezTo>
                  <a:cubicBezTo>
                    <a:pt x="13735" y="1585"/>
                    <a:pt x="13735" y="1387"/>
                    <a:pt x="13846" y="1387"/>
                  </a:cubicBezTo>
                  <a:cubicBezTo>
                    <a:pt x="13957" y="1585"/>
                    <a:pt x="13846" y="1585"/>
                    <a:pt x="13957" y="1585"/>
                  </a:cubicBezTo>
                  <a:cubicBezTo>
                    <a:pt x="13957" y="1387"/>
                    <a:pt x="14178" y="1189"/>
                    <a:pt x="14178" y="1189"/>
                  </a:cubicBezTo>
                  <a:cubicBezTo>
                    <a:pt x="14178" y="1189"/>
                    <a:pt x="14178" y="1189"/>
                    <a:pt x="14289" y="1585"/>
                  </a:cubicBezTo>
                  <a:cubicBezTo>
                    <a:pt x="14289" y="1783"/>
                    <a:pt x="14400" y="1783"/>
                    <a:pt x="14511" y="1783"/>
                  </a:cubicBezTo>
                  <a:cubicBezTo>
                    <a:pt x="14511" y="1783"/>
                    <a:pt x="14511" y="1783"/>
                    <a:pt x="14511" y="1783"/>
                  </a:cubicBezTo>
                  <a:cubicBezTo>
                    <a:pt x="14511" y="1982"/>
                    <a:pt x="14622" y="2180"/>
                    <a:pt x="14622" y="2180"/>
                  </a:cubicBezTo>
                  <a:cubicBezTo>
                    <a:pt x="14732" y="2180"/>
                    <a:pt x="14732" y="2180"/>
                    <a:pt x="14732" y="2180"/>
                  </a:cubicBezTo>
                  <a:cubicBezTo>
                    <a:pt x="14843" y="1982"/>
                    <a:pt x="14843" y="1982"/>
                    <a:pt x="14843" y="1982"/>
                  </a:cubicBezTo>
                  <a:cubicBezTo>
                    <a:pt x="14843" y="1982"/>
                    <a:pt x="14843" y="2180"/>
                    <a:pt x="14954" y="2180"/>
                  </a:cubicBezTo>
                  <a:cubicBezTo>
                    <a:pt x="15065" y="2180"/>
                    <a:pt x="15175" y="2378"/>
                    <a:pt x="15175" y="2378"/>
                  </a:cubicBezTo>
                  <a:cubicBezTo>
                    <a:pt x="15175" y="2180"/>
                    <a:pt x="15286" y="1982"/>
                    <a:pt x="15286" y="1982"/>
                  </a:cubicBezTo>
                  <a:cubicBezTo>
                    <a:pt x="15286" y="1783"/>
                    <a:pt x="15286" y="1783"/>
                    <a:pt x="15397" y="1585"/>
                  </a:cubicBezTo>
                  <a:cubicBezTo>
                    <a:pt x="15397" y="1585"/>
                    <a:pt x="15729" y="1387"/>
                    <a:pt x="15729" y="1387"/>
                  </a:cubicBezTo>
                  <a:cubicBezTo>
                    <a:pt x="15729" y="1387"/>
                    <a:pt x="15618" y="991"/>
                    <a:pt x="15508" y="991"/>
                  </a:cubicBezTo>
                  <a:cubicBezTo>
                    <a:pt x="15508" y="991"/>
                    <a:pt x="15397" y="793"/>
                    <a:pt x="15618" y="594"/>
                  </a:cubicBezTo>
                  <a:cubicBezTo>
                    <a:pt x="15729" y="594"/>
                    <a:pt x="15840" y="594"/>
                    <a:pt x="15840" y="594"/>
                  </a:cubicBezTo>
                  <a:cubicBezTo>
                    <a:pt x="16062" y="793"/>
                    <a:pt x="16062" y="793"/>
                    <a:pt x="16062" y="793"/>
                  </a:cubicBezTo>
                  <a:cubicBezTo>
                    <a:pt x="16062" y="594"/>
                    <a:pt x="16062" y="594"/>
                    <a:pt x="16062" y="594"/>
                  </a:cubicBezTo>
                  <a:cubicBezTo>
                    <a:pt x="16172" y="396"/>
                    <a:pt x="16172" y="396"/>
                    <a:pt x="16172" y="396"/>
                  </a:cubicBezTo>
                  <a:cubicBezTo>
                    <a:pt x="16172" y="396"/>
                    <a:pt x="16283" y="198"/>
                    <a:pt x="16283" y="198"/>
                  </a:cubicBezTo>
                  <a:cubicBezTo>
                    <a:pt x="16283" y="198"/>
                    <a:pt x="16394" y="198"/>
                    <a:pt x="16394" y="198"/>
                  </a:cubicBezTo>
                  <a:cubicBezTo>
                    <a:pt x="16505" y="198"/>
                    <a:pt x="16615" y="198"/>
                    <a:pt x="16615" y="198"/>
                  </a:cubicBezTo>
                  <a:cubicBezTo>
                    <a:pt x="16615" y="198"/>
                    <a:pt x="16726" y="396"/>
                    <a:pt x="16726" y="396"/>
                  </a:cubicBezTo>
                  <a:cubicBezTo>
                    <a:pt x="16837" y="396"/>
                    <a:pt x="16948" y="396"/>
                    <a:pt x="16948" y="396"/>
                  </a:cubicBezTo>
                  <a:cubicBezTo>
                    <a:pt x="16948" y="396"/>
                    <a:pt x="17058" y="594"/>
                    <a:pt x="17058" y="396"/>
                  </a:cubicBezTo>
                  <a:cubicBezTo>
                    <a:pt x="17169" y="396"/>
                    <a:pt x="17169" y="198"/>
                    <a:pt x="17169" y="198"/>
                  </a:cubicBezTo>
                  <a:cubicBezTo>
                    <a:pt x="17169" y="198"/>
                    <a:pt x="17612" y="0"/>
                    <a:pt x="17612" y="0"/>
                  </a:cubicBezTo>
                  <a:cubicBezTo>
                    <a:pt x="17612" y="0"/>
                    <a:pt x="17723" y="0"/>
                    <a:pt x="17723" y="0"/>
                  </a:cubicBezTo>
                  <a:cubicBezTo>
                    <a:pt x="17834" y="198"/>
                    <a:pt x="17945" y="198"/>
                    <a:pt x="17945" y="198"/>
                  </a:cubicBezTo>
                  <a:cubicBezTo>
                    <a:pt x="18055" y="198"/>
                    <a:pt x="18166" y="396"/>
                    <a:pt x="18166" y="396"/>
                  </a:cubicBezTo>
                  <a:cubicBezTo>
                    <a:pt x="18277" y="594"/>
                    <a:pt x="18388" y="594"/>
                    <a:pt x="18388" y="594"/>
                  </a:cubicBezTo>
                  <a:cubicBezTo>
                    <a:pt x="18388" y="594"/>
                    <a:pt x="18388" y="198"/>
                    <a:pt x="18388" y="198"/>
                  </a:cubicBezTo>
                  <a:cubicBezTo>
                    <a:pt x="18498" y="198"/>
                    <a:pt x="18609" y="198"/>
                    <a:pt x="18609" y="198"/>
                  </a:cubicBezTo>
                  <a:cubicBezTo>
                    <a:pt x="18720" y="396"/>
                    <a:pt x="18720" y="396"/>
                    <a:pt x="18720" y="396"/>
                  </a:cubicBezTo>
                  <a:cubicBezTo>
                    <a:pt x="18720" y="396"/>
                    <a:pt x="18831" y="594"/>
                    <a:pt x="18942" y="594"/>
                  </a:cubicBezTo>
                  <a:cubicBezTo>
                    <a:pt x="18942" y="594"/>
                    <a:pt x="19052" y="396"/>
                    <a:pt x="19052" y="396"/>
                  </a:cubicBezTo>
                  <a:cubicBezTo>
                    <a:pt x="19052" y="594"/>
                    <a:pt x="19163" y="594"/>
                    <a:pt x="19163" y="793"/>
                  </a:cubicBezTo>
                  <a:cubicBezTo>
                    <a:pt x="19163" y="793"/>
                    <a:pt x="19274" y="991"/>
                    <a:pt x="19274" y="991"/>
                  </a:cubicBezTo>
                  <a:cubicBezTo>
                    <a:pt x="19274" y="1189"/>
                    <a:pt x="19385" y="1189"/>
                    <a:pt x="19385" y="1189"/>
                  </a:cubicBezTo>
                  <a:cubicBezTo>
                    <a:pt x="19385" y="1387"/>
                    <a:pt x="19385" y="1585"/>
                    <a:pt x="19385" y="1585"/>
                  </a:cubicBezTo>
                  <a:cubicBezTo>
                    <a:pt x="19385" y="1585"/>
                    <a:pt x="19385" y="1585"/>
                    <a:pt x="19385" y="1783"/>
                  </a:cubicBezTo>
                  <a:cubicBezTo>
                    <a:pt x="19495" y="1783"/>
                    <a:pt x="19828" y="1783"/>
                    <a:pt x="19828" y="1783"/>
                  </a:cubicBezTo>
                  <a:cubicBezTo>
                    <a:pt x="19828" y="1783"/>
                    <a:pt x="19938" y="1783"/>
                    <a:pt x="19938" y="1982"/>
                  </a:cubicBezTo>
                  <a:cubicBezTo>
                    <a:pt x="19938" y="1982"/>
                    <a:pt x="20160" y="1982"/>
                    <a:pt x="20160" y="1982"/>
                  </a:cubicBezTo>
                  <a:cubicBezTo>
                    <a:pt x="20160" y="1982"/>
                    <a:pt x="20271" y="1783"/>
                    <a:pt x="20271" y="1982"/>
                  </a:cubicBezTo>
                  <a:cubicBezTo>
                    <a:pt x="20271" y="1982"/>
                    <a:pt x="20271" y="2180"/>
                    <a:pt x="20271" y="2180"/>
                  </a:cubicBezTo>
                  <a:cubicBezTo>
                    <a:pt x="20492" y="2180"/>
                    <a:pt x="20492" y="2180"/>
                    <a:pt x="20492" y="2180"/>
                  </a:cubicBezTo>
                  <a:cubicBezTo>
                    <a:pt x="20603" y="2180"/>
                    <a:pt x="20603" y="2180"/>
                    <a:pt x="20603" y="2180"/>
                  </a:cubicBezTo>
                  <a:cubicBezTo>
                    <a:pt x="20603" y="2180"/>
                    <a:pt x="20714" y="1982"/>
                    <a:pt x="20714" y="2180"/>
                  </a:cubicBezTo>
                  <a:cubicBezTo>
                    <a:pt x="20714" y="2180"/>
                    <a:pt x="20825" y="2180"/>
                    <a:pt x="20825" y="2180"/>
                  </a:cubicBezTo>
                  <a:cubicBezTo>
                    <a:pt x="20825" y="2180"/>
                    <a:pt x="21046" y="2378"/>
                    <a:pt x="21046" y="2378"/>
                  </a:cubicBezTo>
                  <a:cubicBezTo>
                    <a:pt x="21046" y="2378"/>
                    <a:pt x="21157" y="2378"/>
                    <a:pt x="21268" y="2378"/>
                  </a:cubicBezTo>
                  <a:cubicBezTo>
                    <a:pt x="21268" y="2378"/>
                    <a:pt x="21600" y="2378"/>
                    <a:pt x="21600" y="2378"/>
                  </a:cubicBezTo>
                  <a:cubicBezTo>
                    <a:pt x="21600" y="2378"/>
                    <a:pt x="21600" y="2576"/>
                    <a:pt x="21600" y="2774"/>
                  </a:cubicBezTo>
                  <a:cubicBezTo>
                    <a:pt x="21600" y="2774"/>
                    <a:pt x="21600" y="3171"/>
                    <a:pt x="21600" y="3171"/>
                  </a:cubicBezTo>
                  <a:cubicBezTo>
                    <a:pt x="21600" y="3171"/>
                    <a:pt x="21489" y="3369"/>
                    <a:pt x="21489" y="3567"/>
                  </a:cubicBezTo>
                  <a:cubicBezTo>
                    <a:pt x="21378" y="3567"/>
                    <a:pt x="21378" y="3963"/>
                    <a:pt x="21378" y="3963"/>
                  </a:cubicBezTo>
                  <a:cubicBezTo>
                    <a:pt x="21378" y="3963"/>
                    <a:pt x="21378" y="4161"/>
                    <a:pt x="21378" y="4161"/>
                  </a:cubicBezTo>
                  <a:cubicBezTo>
                    <a:pt x="21378" y="4161"/>
                    <a:pt x="21378" y="4558"/>
                    <a:pt x="21378" y="4558"/>
                  </a:cubicBezTo>
                  <a:cubicBezTo>
                    <a:pt x="21268" y="4954"/>
                    <a:pt x="21268" y="4954"/>
                    <a:pt x="21268" y="4954"/>
                  </a:cubicBezTo>
                  <a:cubicBezTo>
                    <a:pt x="21268" y="4954"/>
                    <a:pt x="21157" y="5152"/>
                    <a:pt x="21268" y="5350"/>
                  </a:cubicBezTo>
                  <a:cubicBezTo>
                    <a:pt x="21268" y="5350"/>
                    <a:pt x="21268" y="5549"/>
                    <a:pt x="21268" y="5549"/>
                  </a:cubicBezTo>
                  <a:cubicBezTo>
                    <a:pt x="21378" y="5747"/>
                    <a:pt x="21378" y="5747"/>
                    <a:pt x="21378" y="5747"/>
                  </a:cubicBezTo>
                  <a:cubicBezTo>
                    <a:pt x="21157" y="6143"/>
                    <a:pt x="21157" y="6143"/>
                    <a:pt x="21157" y="6143"/>
                  </a:cubicBezTo>
                  <a:cubicBezTo>
                    <a:pt x="21157" y="6539"/>
                    <a:pt x="21157" y="6539"/>
                    <a:pt x="21157" y="6539"/>
                  </a:cubicBezTo>
                  <a:cubicBezTo>
                    <a:pt x="21157" y="6539"/>
                    <a:pt x="21268" y="6738"/>
                    <a:pt x="21157" y="6936"/>
                  </a:cubicBezTo>
                  <a:cubicBezTo>
                    <a:pt x="21157" y="6936"/>
                    <a:pt x="21046" y="7134"/>
                    <a:pt x="21046" y="7134"/>
                  </a:cubicBezTo>
                  <a:cubicBezTo>
                    <a:pt x="21046" y="7134"/>
                    <a:pt x="20825" y="7530"/>
                    <a:pt x="20825" y="7530"/>
                  </a:cubicBezTo>
                  <a:cubicBezTo>
                    <a:pt x="20825" y="7530"/>
                    <a:pt x="20825" y="7728"/>
                    <a:pt x="20825" y="7728"/>
                  </a:cubicBezTo>
                  <a:cubicBezTo>
                    <a:pt x="20825" y="7728"/>
                    <a:pt x="20714" y="8125"/>
                    <a:pt x="20714" y="8125"/>
                  </a:cubicBezTo>
                  <a:cubicBezTo>
                    <a:pt x="20714" y="8125"/>
                    <a:pt x="20714" y="8719"/>
                    <a:pt x="20714" y="8719"/>
                  </a:cubicBezTo>
                  <a:cubicBezTo>
                    <a:pt x="20714" y="8719"/>
                    <a:pt x="20825" y="8917"/>
                    <a:pt x="20825" y="8917"/>
                  </a:cubicBezTo>
                  <a:cubicBezTo>
                    <a:pt x="20825" y="8917"/>
                    <a:pt x="20825" y="9116"/>
                    <a:pt x="20825" y="9314"/>
                  </a:cubicBezTo>
                  <a:cubicBezTo>
                    <a:pt x="20714" y="9314"/>
                    <a:pt x="20825" y="9512"/>
                    <a:pt x="20825" y="9710"/>
                  </a:cubicBezTo>
                  <a:cubicBezTo>
                    <a:pt x="20825" y="9710"/>
                    <a:pt x="20825" y="9908"/>
                    <a:pt x="20825" y="9908"/>
                  </a:cubicBezTo>
                  <a:cubicBezTo>
                    <a:pt x="20714" y="10305"/>
                    <a:pt x="20714" y="10305"/>
                    <a:pt x="20714" y="10305"/>
                  </a:cubicBezTo>
                  <a:cubicBezTo>
                    <a:pt x="20603" y="10305"/>
                    <a:pt x="20603" y="10305"/>
                    <a:pt x="20603" y="10305"/>
                  </a:cubicBezTo>
                  <a:cubicBezTo>
                    <a:pt x="20714" y="10899"/>
                    <a:pt x="20714" y="10899"/>
                    <a:pt x="20714" y="10899"/>
                  </a:cubicBezTo>
                  <a:cubicBezTo>
                    <a:pt x="20492" y="11295"/>
                    <a:pt x="20492" y="11295"/>
                    <a:pt x="20492" y="11295"/>
                  </a:cubicBezTo>
                  <a:cubicBezTo>
                    <a:pt x="19606" y="11295"/>
                    <a:pt x="19606" y="11295"/>
                    <a:pt x="19606" y="11295"/>
                  </a:cubicBezTo>
                  <a:cubicBezTo>
                    <a:pt x="18720" y="9710"/>
                    <a:pt x="18720" y="9710"/>
                    <a:pt x="18720" y="9710"/>
                  </a:cubicBezTo>
                  <a:cubicBezTo>
                    <a:pt x="18055" y="9512"/>
                    <a:pt x="18055" y="9512"/>
                    <a:pt x="18055" y="9512"/>
                  </a:cubicBezTo>
                  <a:cubicBezTo>
                    <a:pt x="17502" y="10305"/>
                    <a:pt x="17502" y="10305"/>
                    <a:pt x="17502" y="10305"/>
                  </a:cubicBezTo>
                  <a:cubicBezTo>
                    <a:pt x="16726" y="10503"/>
                    <a:pt x="16726" y="10503"/>
                    <a:pt x="16726" y="10503"/>
                  </a:cubicBezTo>
                  <a:cubicBezTo>
                    <a:pt x="16172" y="9908"/>
                    <a:pt x="16172" y="9908"/>
                    <a:pt x="16172" y="9908"/>
                  </a:cubicBezTo>
                  <a:cubicBezTo>
                    <a:pt x="14622" y="10701"/>
                    <a:pt x="14622" y="10701"/>
                    <a:pt x="14622" y="10701"/>
                  </a:cubicBezTo>
                  <a:cubicBezTo>
                    <a:pt x="14511" y="11295"/>
                    <a:pt x="14511" y="11295"/>
                    <a:pt x="14511" y="11295"/>
                  </a:cubicBezTo>
                  <a:cubicBezTo>
                    <a:pt x="14289" y="12683"/>
                    <a:pt x="14289" y="12683"/>
                    <a:pt x="14289" y="12683"/>
                  </a:cubicBezTo>
                  <a:cubicBezTo>
                    <a:pt x="13957" y="13872"/>
                    <a:pt x="13957" y="13872"/>
                    <a:pt x="13957" y="13872"/>
                  </a:cubicBezTo>
                  <a:cubicBezTo>
                    <a:pt x="13514" y="14268"/>
                    <a:pt x="13514" y="14268"/>
                    <a:pt x="13514" y="14268"/>
                  </a:cubicBezTo>
                  <a:cubicBezTo>
                    <a:pt x="13182" y="14664"/>
                    <a:pt x="13182" y="14664"/>
                    <a:pt x="13182" y="14664"/>
                  </a:cubicBezTo>
                  <a:cubicBezTo>
                    <a:pt x="12849" y="15457"/>
                    <a:pt x="12849" y="15457"/>
                    <a:pt x="12849" y="15457"/>
                  </a:cubicBezTo>
                  <a:cubicBezTo>
                    <a:pt x="12185" y="15457"/>
                    <a:pt x="12185" y="15457"/>
                    <a:pt x="12185" y="15457"/>
                  </a:cubicBezTo>
                  <a:cubicBezTo>
                    <a:pt x="11742" y="15259"/>
                    <a:pt x="11742" y="15259"/>
                    <a:pt x="11742" y="15259"/>
                  </a:cubicBezTo>
                  <a:cubicBezTo>
                    <a:pt x="11077" y="15457"/>
                    <a:pt x="11077" y="15457"/>
                    <a:pt x="11077" y="15457"/>
                  </a:cubicBezTo>
                  <a:cubicBezTo>
                    <a:pt x="10855" y="16646"/>
                    <a:pt x="10855" y="16646"/>
                    <a:pt x="10855" y="16646"/>
                  </a:cubicBezTo>
                  <a:cubicBezTo>
                    <a:pt x="10412" y="16844"/>
                    <a:pt x="10412" y="16844"/>
                    <a:pt x="10412" y="16844"/>
                  </a:cubicBezTo>
                  <a:cubicBezTo>
                    <a:pt x="9637" y="17042"/>
                    <a:pt x="9637" y="17042"/>
                    <a:pt x="9637" y="17042"/>
                  </a:cubicBezTo>
                  <a:cubicBezTo>
                    <a:pt x="8640" y="17637"/>
                    <a:pt x="8640" y="17637"/>
                    <a:pt x="8640" y="17637"/>
                  </a:cubicBezTo>
                  <a:cubicBezTo>
                    <a:pt x="8086" y="18628"/>
                    <a:pt x="8086" y="18628"/>
                    <a:pt x="8086" y="18628"/>
                  </a:cubicBezTo>
                  <a:cubicBezTo>
                    <a:pt x="8086" y="19024"/>
                    <a:pt x="8086" y="19024"/>
                    <a:pt x="8086" y="19024"/>
                  </a:cubicBezTo>
                  <a:cubicBezTo>
                    <a:pt x="8086" y="19024"/>
                    <a:pt x="8529" y="19618"/>
                    <a:pt x="8751" y="19817"/>
                  </a:cubicBezTo>
                  <a:cubicBezTo>
                    <a:pt x="8972" y="20213"/>
                    <a:pt x="8308" y="20411"/>
                    <a:pt x="8197" y="20609"/>
                  </a:cubicBezTo>
                  <a:cubicBezTo>
                    <a:pt x="8086" y="20807"/>
                    <a:pt x="7089" y="21006"/>
                    <a:pt x="7089" y="21006"/>
                  </a:cubicBezTo>
                  <a:cubicBezTo>
                    <a:pt x="5206" y="21204"/>
                    <a:pt x="5206" y="21204"/>
                    <a:pt x="5206" y="21204"/>
                  </a:cubicBezTo>
                  <a:cubicBezTo>
                    <a:pt x="4209" y="21600"/>
                    <a:pt x="4209" y="21600"/>
                    <a:pt x="4209" y="21600"/>
                  </a:cubicBezTo>
                  <a:cubicBezTo>
                    <a:pt x="3766" y="21204"/>
                    <a:pt x="3766" y="21204"/>
                    <a:pt x="3766" y="21204"/>
                  </a:cubicBezTo>
                  <a:cubicBezTo>
                    <a:pt x="2991" y="20411"/>
                    <a:pt x="2991" y="20411"/>
                    <a:pt x="2991" y="20411"/>
                  </a:cubicBezTo>
                  <a:cubicBezTo>
                    <a:pt x="2437" y="19420"/>
                    <a:pt x="2437" y="19420"/>
                    <a:pt x="2437" y="19420"/>
                  </a:cubicBezTo>
                  <a:cubicBezTo>
                    <a:pt x="2437" y="19420"/>
                    <a:pt x="2437" y="19420"/>
                    <a:pt x="2437" y="19420"/>
                  </a:cubicBezTo>
                  <a:cubicBezTo>
                    <a:pt x="1551" y="19222"/>
                    <a:pt x="1551" y="19222"/>
                    <a:pt x="1551" y="19222"/>
                  </a:cubicBezTo>
                  <a:cubicBezTo>
                    <a:pt x="1551" y="19420"/>
                    <a:pt x="1551" y="19420"/>
                    <a:pt x="1551" y="19420"/>
                  </a:cubicBezTo>
                  <a:cubicBezTo>
                    <a:pt x="1551" y="20213"/>
                    <a:pt x="1551" y="20213"/>
                    <a:pt x="1551" y="20213"/>
                  </a:cubicBezTo>
                  <a:cubicBezTo>
                    <a:pt x="1218" y="21006"/>
                    <a:pt x="1218" y="21006"/>
                    <a:pt x="1218" y="21006"/>
                  </a:cubicBezTo>
                  <a:cubicBezTo>
                    <a:pt x="997" y="20411"/>
                    <a:pt x="886" y="19420"/>
                    <a:pt x="665" y="18429"/>
                  </a:cubicBezTo>
                  <a:cubicBezTo>
                    <a:pt x="665" y="18429"/>
                    <a:pt x="665" y="18231"/>
                    <a:pt x="554" y="18033"/>
                  </a:cubicBezTo>
                  <a:cubicBezTo>
                    <a:pt x="554" y="17835"/>
                    <a:pt x="443" y="17439"/>
                    <a:pt x="443" y="17439"/>
                  </a:cubicBezTo>
                  <a:cubicBezTo>
                    <a:pt x="443" y="17439"/>
                    <a:pt x="443" y="17439"/>
                    <a:pt x="443" y="17439"/>
                  </a:cubicBezTo>
                  <a:cubicBezTo>
                    <a:pt x="332" y="17240"/>
                    <a:pt x="222" y="17042"/>
                    <a:pt x="222" y="17042"/>
                  </a:cubicBezTo>
                  <a:cubicBezTo>
                    <a:pt x="222" y="17042"/>
                    <a:pt x="222" y="16844"/>
                    <a:pt x="222" y="16844"/>
                  </a:cubicBezTo>
                  <a:cubicBezTo>
                    <a:pt x="111" y="16844"/>
                    <a:pt x="0" y="16646"/>
                    <a:pt x="0" y="16646"/>
                  </a:cubicBezTo>
                  <a:cubicBezTo>
                    <a:pt x="0" y="16646"/>
                    <a:pt x="0" y="16051"/>
                    <a:pt x="0" y="16051"/>
                  </a:cubicBezTo>
                  <a:cubicBezTo>
                    <a:pt x="0" y="15655"/>
                    <a:pt x="0" y="15655"/>
                    <a:pt x="0" y="15655"/>
                  </a:cubicBezTo>
                  <a:cubicBezTo>
                    <a:pt x="222" y="15259"/>
                    <a:pt x="222" y="15259"/>
                    <a:pt x="222" y="15259"/>
                  </a:cubicBezTo>
                  <a:cubicBezTo>
                    <a:pt x="222" y="15259"/>
                    <a:pt x="222" y="14862"/>
                    <a:pt x="222" y="14862"/>
                  </a:cubicBezTo>
                  <a:cubicBezTo>
                    <a:pt x="222" y="14862"/>
                    <a:pt x="332" y="14466"/>
                    <a:pt x="332" y="14466"/>
                  </a:cubicBezTo>
                  <a:cubicBezTo>
                    <a:pt x="222" y="14268"/>
                    <a:pt x="222" y="14268"/>
                    <a:pt x="222" y="14268"/>
                  </a:cubicBezTo>
                  <a:cubicBezTo>
                    <a:pt x="222" y="13673"/>
                    <a:pt x="222" y="13673"/>
                    <a:pt x="222" y="13673"/>
                  </a:cubicBezTo>
                  <a:cubicBezTo>
                    <a:pt x="332" y="13475"/>
                    <a:pt x="332" y="13475"/>
                    <a:pt x="332" y="13475"/>
                  </a:cubicBezTo>
                  <a:cubicBezTo>
                    <a:pt x="332" y="13079"/>
                    <a:pt x="332" y="13079"/>
                    <a:pt x="332" y="13079"/>
                  </a:cubicBezTo>
                  <a:cubicBezTo>
                    <a:pt x="332" y="13079"/>
                    <a:pt x="332" y="12881"/>
                    <a:pt x="332" y="12881"/>
                  </a:cubicBezTo>
                  <a:cubicBezTo>
                    <a:pt x="443" y="12881"/>
                    <a:pt x="443" y="12286"/>
                    <a:pt x="443" y="12286"/>
                  </a:cubicBezTo>
                  <a:cubicBezTo>
                    <a:pt x="443" y="12286"/>
                    <a:pt x="554" y="11890"/>
                    <a:pt x="554" y="11890"/>
                  </a:cubicBezTo>
                  <a:cubicBezTo>
                    <a:pt x="665" y="11890"/>
                    <a:pt x="665" y="11692"/>
                    <a:pt x="665" y="11692"/>
                  </a:cubicBezTo>
                  <a:cubicBezTo>
                    <a:pt x="665" y="11494"/>
                    <a:pt x="665" y="11295"/>
                    <a:pt x="665" y="11295"/>
                  </a:cubicBezTo>
                  <a:cubicBezTo>
                    <a:pt x="886" y="11097"/>
                    <a:pt x="886" y="11097"/>
                    <a:pt x="886" y="11097"/>
                  </a:cubicBezTo>
                  <a:cubicBezTo>
                    <a:pt x="886" y="11097"/>
                    <a:pt x="997" y="10899"/>
                    <a:pt x="997" y="10899"/>
                  </a:cubicBezTo>
                  <a:cubicBezTo>
                    <a:pt x="997" y="10899"/>
                    <a:pt x="1108" y="10899"/>
                    <a:pt x="1218" y="10899"/>
                  </a:cubicBezTo>
                  <a:cubicBezTo>
                    <a:pt x="1218" y="10899"/>
                    <a:pt x="1329" y="10899"/>
                    <a:pt x="1440" y="10899"/>
                  </a:cubicBezTo>
                  <a:cubicBezTo>
                    <a:pt x="1440" y="10899"/>
                    <a:pt x="1440" y="11097"/>
                    <a:pt x="1551" y="11097"/>
                  </a:cubicBezTo>
                  <a:cubicBezTo>
                    <a:pt x="1662" y="11097"/>
                    <a:pt x="1772" y="11295"/>
                    <a:pt x="1772" y="11295"/>
                  </a:cubicBezTo>
                  <a:cubicBezTo>
                    <a:pt x="1883" y="11097"/>
                    <a:pt x="1883" y="11097"/>
                    <a:pt x="1883" y="11097"/>
                  </a:cubicBezTo>
                  <a:cubicBezTo>
                    <a:pt x="1994" y="11097"/>
                    <a:pt x="1994" y="10899"/>
                    <a:pt x="1994" y="10899"/>
                  </a:cubicBezTo>
                  <a:cubicBezTo>
                    <a:pt x="2105" y="10899"/>
                    <a:pt x="2326" y="11097"/>
                    <a:pt x="2326" y="11097"/>
                  </a:cubicBezTo>
                  <a:cubicBezTo>
                    <a:pt x="2326" y="11097"/>
                    <a:pt x="2437" y="11295"/>
                    <a:pt x="2437" y="11097"/>
                  </a:cubicBezTo>
                  <a:cubicBezTo>
                    <a:pt x="2548" y="11097"/>
                    <a:pt x="2658" y="10899"/>
                    <a:pt x="2658" y="10899"/>
                  </a:cubicBezTo>
                  <a:cubicBezTo>
                    <a:pt x="2880" y="10701"/>
                    <a:pt x="2880" y="10701"/>
                    <a:pt x="2880" y="10701"/>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7" name="Shape 2230">
              <a:extLst>
                <a:ext uri="{FF2B5EF4-FFF2-40B4-BE49-F238E27FC236}">
                  <a16:creationId xmlns:a16="http://schemas.microsoft.com/office/drawing/2014/main" id="{76FDAA40-D37F-A4BB-02AC-4200E1FD822F}"/>
                </a:ext>
              </a:extLst>
            </p:cNvPr>
            <p:cNvSpPr/>
            <p:nvPr/>
          </p:nvSpPr>
          <p:spPr>
            <a:xfrm>
              <a:off x="4233262" y="5870770"/>
              <a:ext cx="481189" cy="352711"/>
            </a:xfrm>
            <a:custGeom>
              <a:avLst/>
              <a:gdLst/>
              <a:ahLst/>
              <a:cxnLst>
                <a:cxn ang="0">
                  <a:pos x="wd2" y="hd2"/>
                </a:cxn>
                <a:cxn ang="5400000">
                  <a:pos x="wd2" y="hd2"/>
                </a:cxn>
                <a:cxn ang="10800000">
                  <a:pos x="wd2" y="hd2"/>
                </a:cxn>
                <a:cxn ang="16200000">
                  <a:pos x="wd2" y="hd2"/>
                </a:cxn>
              </a:cxnLst>
              <a:rect l="0" t="0" r="r" b="b"/>
              <a:pathLst>
                <a:path w="21600" h="21600" extrusionOk="0">
                  <a:moveTo>
                    <a:pt x="1662" y="11782"/>
                  </a:moveTo>
                  <a:cubicBezTo>
                    <a:pt x="1292" y="11536"/>
                    <a:pt x="1292" y="11536"/>
                    <a:pt x="1292" y="11536"/>
                  </a:cubicBezTo>
                  <a:cubicBezTo>
                    <a:pt x="923" y="11291"/>
                    <a:pt x="923" y="11291"/>
                    <a:pt x="923" y="11291"/>
                  </a:cubicBezTo>
                  <a:cubicBezTo>
                    <a:pt x="369" y="11291"/>
                    <a:pt x="369" y="11291"/>
                    <a:pt x="369" y="11291"/>
                  </a:cubicBezTo>
                  <a:cubicBezTo>
                    <a:pt x="0" y="10800"/>
                    <a:pt x="0" y="10800"/>
                    <a:pt x="0" y="10800"/>
                  </a:cubicBezTo>
                  <a:cubicBezTo>
                    <a:pt x="185" y="10309"/>
                    <a:pt x="185" y="10309"/>
                    <a:pt x="185" y="10309"/>
                  </a:cubicBezTo>
                  <a:cubicBezTo>
                    <a:pt x="185" y="9818"/>
                    <a:pt x="185" y="9818"/>
                    <a:pt x="185" y="9818"/>
                  </a:cubicBezTo>
                  <a:cubicBezTo>
                    <a:pt x="185" y="9818"/>
                    <a:pt x="554" y="9327"/>
                    <a:pt x="554" y="9327"/>
                  </a:cubicBezTo>
                  <a:cubicBezTo>
                    <a:pt x="738" y="9082"/>
                    <a:pt x="1108" y="8836"/>
                    <a:pt x="1108" y="8836"/>
                  </a:cubicBezTo>
                  <a:cubicBezTo>
                    <a:pt x="1292" y="8345"/>
                    <a:pt x="1292" y="8345"/>
                    <a:pt x="1292" y="8345"/>
                  </a:cubicBezTo>
                  <a:cubicBezTo>
                    <a:pt x="1292" y="8345"/>
                    <a:pt x="1477" y="8100"/>
                    <a:pt x="1662" y="8100"/>
                  </a:cubicBezTo>
                  <a:cubicBezTo>
                    <a:pt x="1846" y="8100"/>
                    <a:pt x="1846" y="8345"/>
                    <a:pt x="1846" y="8100"/>
                  </a:cubicBezTo>
                  <a:cubicBezTo>
                    <a:pt x="2031" y="8100"/>
                    <a:pt x="2031" y="7118"/>
                    <a:pt x="2031" y="7118"/>
                  </a:cubicBezTo>
                  <a:cubicBezTo>
                    <a:pt x="2031" y="6627"/>
                    <a:pt x="2031" y="6627"/>
                    <a:pt x="2031" y="6627"/>
                  </a:cubicBezTo>
                  <a:cubicBezTo>
                    <a:pt x="2400" y="6627"/>
                    <a:pt x="2400" y="6627"/>
                    <a:pt x="2400" y="6627"/>
                  </a:cubicBezTo>
                  <a:cubicBezTo>
                    <a:pt x="4062" y="7364"/>
                    <a:pt x="4062" y="7364"/>
                    <a:pt x="4062" y="7364"/>
                  </a:cubicBezTo>
                  <a:cubicBezTo>
                    <a:pt x="5908" y="7609"/>
                    <a:pt x="5908" y="7609"/>
                    <a:pt x="5908" y="7609"/>
                  </a:cubicBezTo>
                  <a:cubicBezTo>
                    <a:pt x="7569" y="7609"/>
                    <a:pt x="7569" y="7609"/>
                    <a:pt x="7569" y="7609"/>
                  </a:cubicBezTo>
                  <a:cubicBezTo>
                    <a:pt x="7938" y="7609"/>
                    <a:pt x="7938" y="7609"/>
                    <a:pt x="7938" y="7609"/>
                  </a:cubicBezTo>
                  <a:cubicBezTo>
                    <a:pt x="8492" y="7118"/>
                    <a:pt x="8492" y="7118"/>
                    <a:pt x="8492" y="7118"/>
                  </a:cubicBezTo>
                  <a:cubicBezTo>
                    <a:pt x="8862" y="6382"/>
                    <a:pt x="8862" y="6382"/>
                    <a:pt x="8862" y="6382"/>
                  </a:cubicBezTo>
                  <a:cubicBezTo>
                    <a:pt x="9600" y="6136"/>
                    <a:pt x="9600" y="6136"/>
                    <a:pt x="9600" y="6136"/>
                  </a:cubicBezTo>
                  <a:cubicBezTo>
                    <a:pt x="9785" y="5645"/>
                    <a:pt x="9785" y="5645"/>
                    <a:pt x="9785" y="5645"/>
                  </a:cubicBezTo>
                  <a:cubicBezTo>
                    <a:pt x="10154" y="4664"/>
                    <a:pt x="10154" y="4664"/>
                    <a:pt x="10154" y="4664"/>
                  </a:cubicBezTo>
                  <a:cubicBezTo>
                    <a:pt x="10708" y="4173"/>
                    <a:pt x="10708" y="4173"/>
                    <a:pt x="10708" y="4173"/>
                  </a:cubicBezTo>
                  <a:cubicBezTo>
                    <a:pt x="11815" y="4173"/>
                    <a:pt x="11815" y="4173"/>
                    <a:pt x="11815" y="4173"/>
                  </a:cubicBezTo>
                  <a:cubicBezTo>
                    <a:pt x="13108" y="3682"/>
                    <a:pt x="13108" y="3682"/>
                    <a:pt x="13108" y="3682"/>
                  </a:cubicBezTo>
                  <a:cubicBezTo>
                    <a:pt x="14031" y="4173"/>
                    <a:pt x="14031" y="4173"/>
                    <a:pt x="14031" y="4173"/>
                  </a:cubicBezTo>
                  <a:cubicBezTo>
                    <a:pt x="15138" y="3191"/>
                    <a:pt x="15138" y="3191"/>
                    <a:pt x="15138" y="3191"/>
                  </a:cubicBezTo>
                  <a:cubicBezTo>
                    <a:pt x="15692" y="2945"/>
                    <a:pt x="15692" y="2945"/>
                    <a:pt x="15692" y="2945"/>
                  </a:cubicBezTo>
                  <a:cubicBezTo>
                    <a:pt x="16615" y="2455"/>
                    <a:pt x="16615" y="2455"/>
                    <a:pt x="16615" y="2455"/>
                  </a:cubicBezTo>
                  <a:cubicBezTo>
                    <a:pt x="17723" y="3436"/>
                    <a:pt x="17723" y="3436"/>
                    <a:pt x="17723" y="3436"/>
                  </a:cubicBezTo>
                  <a:cubicBezTo>
                    <a:pt x="17538" y="1964"/>
                    <a:pt x="17538" y="1964"/>
                    <a:pt x="17538" y="1964"/>
                  </a:cubicBezTo>
                  <a:cubicBezTo>
                    <a:pt x="17723" y="982"/>
                    <a:pt x="17723" y="982"/>
                    <a:pt x="17723" y="982"/>
                  </a:cubicBezTo>
                  <a:cubicBezTo>
                    <a:pt x="18462" y="491"/>
                    <a:pt x="18462" y="491"/>
                    <a:pt x="18462" y="491"/>
                  </a:cubicBezTo>
                  <a:cubicBezTo>
                    <a:pt x="18646" y="491"/>
                    <a:pt x="18646" y="491"/>
                    <a:pt x="18646" y="491"/>
                  </a:cubicBezTo>
                  <a:cubicBezTo>
                    <a:pt x="18646" y="491"/>
                    <a:pt x="18646" y="491"/>
                    <a:pt x="18646" y="491"/>
                  </a:cubicBezTo>
                  <a:cubicBezTo>
                    <a:pt x="19385" y="0"/>
                    <a:pt x="19385" y="0"/>
                    <a:pt x="19385" y="0"/>
                  </a:cubicBezTo>
                  <a:cubicBezTo>
                    <a:pt x="19754" y="491"/>
                    <a:pt x="19754" y="491"/>
                    <a:pt x="19754" y="491"/>
                  </a:cubicBezTo>
                  <a:cubicBezTo>
                    <a:pt x="19938" y="982"/>
                    <a:pt x="19938" y="982"/>
                    <a:pt x="19938" y="982"/>
                  </a:cubicBezTo>
                  <a:cubicBezTo>
                    <a:pt x="19938" y="982"/>
                    <a:pt x="19938" y="982"/>
                    <a:pt x="19938" y="982"/>
                  </a:cubicBezTo>
                  <a:cubicBezTo>
                    <a:pt x="19938" y="982"/>
                    <a:pt x="19938" y="982"/>
                    <a:pt x="19938" y="1227"/>
                  </a:cubicBezTo>
                  <a:cubicBezTo>
                    <a:pt x="19938" y="1227"/>
                    <a:pt x="19938" y="1227"/>
                    <a:pt x="19938" y="1227"/>
                  </a:cubicBezTo>
                  <a:cubicBezTo>
                    <a:pt x="19938" y="1473"/>
                    <a:pt x="19938" y="1473"/>
                    <a:pt x="19938" y="1473"/>
                  </a:cubicBezTo>
                  <a:cubicBezTo>
                    <a:pt x="20123" y="1718"/>
                    <a:pt x="20123" y="1718"/>
                    <a:pt x="20123" y="1718"/>
                  </a:cubicBezTo>
                  <a:cubicBezTo>
                    <a:pt x="20308" y="1964"/>
                    <a:pt x="20308" y="1964"/>
                    <a:pt x="20308" y="1964"/>
                  </a:cubicBezTo>
                  <a:cubicBezTo>
                    <a:pt x="20308" y="1964"/>
                    <a:pt x="20308" y="1964"/>
                    <a:pt x="20308" y="1964"/>
                  </a:cubicBezTo>
                  <a:cubicBezTo>
                    <a:pt x="20492" y="2455"/>
                    <a:pt x="20492" y="2455"/>
                    <a:pt x="20492" y="2455"/>
                  </a:cubicBezTo>
                  <a:cubicBezTo>
                    <a:pt x="20492" y="2945"/>
                    <a:pt x="20492" y="2945"/>
                    <a:pt x="20492" y="2945"/>
                  </a:cubicBezTo>
                  <a:cubicBezTo>
                    <a:pt x="21600" y="4664"/>
                    <a:pt x="21600" y="4664"/>
                    <a:pt x="21600" y="4664"/>
                  </a:cubicBezTo>
                  <a:cubicBezTo>
                    <a:pt x="21600" y="4664"/>
                    <a:pt x="21231" y="4664"/>
                    <a:pt x="21231" y="4664"/>
                  </a:cubicBezTo>
                  <a:cubicBezTo>
                    <a:pt x="21046" y="4664"/>
                    <a:pt x="20677" y="4664"/>
                    <a:pt x="20677" y="4664"/>
                  </a:cubicBezTo>
                  <a:cubicBezTo>
                    <a:pt x="20677" y="4664"/>
                    <a:pt x="20492" y="4909"/>
                    <a:pt x="20308" y="4909"/>
                  </a:cubicBezTo>
                  <a:cubicBezTo>
                    <a:pt x="20308" y="4909"/>
                    <a:pt x="20123" y="5400"/>
                    <a:pt x="20123" y="5400"/>
                  </a:cubicBezTo>
                  <a:cubicBezTo>
                    <a:pt x="19938" y="5645"/>
                    <a:pt x="19938" y="5645"/>
                    <a:pt x="19938" y="5645"/>
                  </a:cubicBezTo>
                  <a:cubicBezTo>
                    <a:pt x="20123" y="5891"/>
                    <a:pt x="20123" y="5891"/>
                    <a:pt x="20123" y="5891"/>
                  </a:cubicBezTo>
                  <a:cubicBezTo>
                    <a:pt x="20492" y="6873"/>
                    <a:pt x="20677" y="6873"/>
                    <a:pt x="19754" y="6627"/>
                  </a:cubicBezTo>
                  <a:cubicBezTo>
                    <a:pt x="19385" y="6382"/>
                    <a:pt x="19385" y="6382"/>
                    <a:pt x="19385" y="6382"/>
                  </a:cubicBezTo>
                  <a:cubicBezTo>
                    <a:pt x="19200" y="6627"/>
                    <a:pt x="19200" y="6627"/>
                    <a:pt x="19200" y="6627"/>
                  </a:cubicBezTo>
                  <a:cubicBezTo>
                    <a:pt x="18831" y="6873"/>
                    <a:pt x="18831" y="6873"/>
                    <a:pt x="18831" y="6873"/>
                  </a:cubicBezTo>
                  <a:cubicBezTo>
                    <a:pt x="18831" y="6873"/>
                    <a:pt x="18831" y="6873"/>
                    <a:pt x="18831" y="6873"/>
                  </a:cubicBezTo>
                  <a:cubicBezTo>
                    <a:pt x="18831" y="6873"/>
                    <a:pt x="18831" y="7364"/>
                    <a:pt x="18831" y="7364"/>
                  </a:cubicBezTo>
                  <a:cubicBezTo>
                    <a:pt x="18646" y="7855"/>
                    <a:pt x="18646" y="7855"/>
                    <a:pt x="18646" y="7855"/>
                  </a:cubicBezTo>
                  <a:cubicBezTo>
                    <a:pt x="18277" y="8100"/>
                    <a:pt x="18277" y="8100"/>
                    <a:pt x="18277" y="8100"/>
                  </a:cubicBezTo>
                  <a:cubicBezTo>
                    <a:pt x="17908" y="8345"/>
                    <a:pt x="17908" y="8345"/>
                    <a:pt x="17908" y="8345"/>
                  </a:cubicBezTo>
                  <a:cubicBezTo>
                    <a:pt x="17723" y="8591"/>
                    <a:pt x="17723" y="8591"/>
                    <a:pt x="17723" y="8591"/>
                  </a:cubicBezTo>
                  <a:cubicBezTo>
                    <a:pt x="17354" y="8591"/>
                    <a:pt x="17354" y="8591"/>
                    <a:pt x="17354" y="8591"/>
                  </a:cubicBezTo>
                  <a:cubicBezTo>
                    <a:pt x="16985" y="8836"/>
                    <a:pt x="16985" y="8836"/>
                    <a:pt x="16985" y="8836"/>
                  </a:cubicBezTo>
                  <a:cubicBezTo>
                    <a:pt x="16800" y="9327"/>
                    <a:pt x="16800" y="9327"/>
                    <a:pt x="16800" y="9327"/>
                  </a:cubicBezTo>
                  <a:cubicBezTo>
                    <a:pt x="16800" y="9327"/>
                    <a:pt x="16431" y="9327"/>
                    <a:pt x="16431" y="9327"/>
                  </a:cubicBezTo>
                  <a:cubicBezTo>
                    <a:pt x="16431" y="9327"/>
                    <a:pt x="15877" y="9573"/>
                    <a:pt x="15877" y="9573"/>
                  </a:cubicBezTo>
                  <a:cubicBezTo>
                    <a:pt x="15877" y="10064"/>
                    <a:pt x="15877" y="10064"/>
                    <a:pt x="15877" y="10064"/>
                  </a:cubicBezTo>
                  <a:cubicBezTo>
                    <a:pt x="15877" y="10064"/>
                    <a:pt x="15692" y="10309"/>
                    <a:pt x="15692" y="10309"/>
                  </a:cubicBezTo>
                  <a:cubicBezTo>
                    <a:pt x="15692" y="10309"/>
                    <a:pt x="15692" y="11045"/>
                    <a:pt x="15692" y="11045"/>
                  </a:cubicBezTo>
                  <a:cubicBezTo>
                    <a:pt x="15692" y="11045"/>
                    <a:pt x="16062" y="11291"/>
                    <a:pt x="16062" y="11291"/>
                  </a:cubicBezTo>
                  <a:cubicBezTo>
                    <a:pt x="16246" y="11536"/>
                    <a:pt x="16246" y="11536"/>
                    <a:pt x="16246" y="11536"/>
                  </a:cubicBezTo>
                  <a:cubicBezTo>
                    <a:pt x="16431" y="11782"/>
                    <a:pt x="16431" y="11782"/>
                    <a:pt x="16431" y="11782"/>
                  </a:cubicBezTo>
                  <a:cubicBezTo>
                    <a:pt x="16431" y="11782"/>
                    <a:pt x="16615" y="12027"/>
                    <a:pt x="16615" y="12027"/>
                  </a:cubicBezTo>
                  <a:cubicBezTo>
                    <a:pt x="16431" y="12027"/>
                    <a:pt x="16431" y="12764"/>
                    <a:pt x="16431" y="12764"/>
                  </a:cubicBezTo>
                  <a:cubicBezTo>
                    <a:pt x="16615" y="13500"/>
                    <a:pt x="16615" y="13500"/>
                    <a:pt x="16615" y="13500"/>
                  </a:cubicBezTo>
                  <a:cubicBezTo>
                    <a:pt x="16431" y="13745"/>
                    <a:pt x="16431" y="13745"/>
                    <a:pt x="16431" y="13745"/>
                  </a:cubicBezTo>
                  <a:cubicBezTo>
                    <a:pt x="16615" y="14236"/>
                    <a:pt x="16615" y="14236"/>
                    <a:pt x="16615" y="14236"/>
                  </a:cubicBezTo>
                  <a:cubicBezTo>
                    <a:pt x="16615" y="14236"/>
                    <a:pt x="16800" y="14236"/>
                    <a:pt x="16615" y="14482"/>
                  </a:cubicBezTo>
                  <a:cubicBezTo>
                    <a:pt x="16431" y="14482"/>
                    <a:pt x="16246" y="14727"/>
                    <a:pt x="16246" y="14727"/>
                  </a:cubicBezTo>
                  <a:cubicBezTo>
                    <a:pt x="16246" y="14727"/>
                    <a:pt x="15877" y="14727"/>
                    <a:pt x="15877" y="14727"/>
                  </a:cubicBezTo>
                  <a:cubicBezTo>
                    <a:pt x="15877" y="14727"/>
                    <a:pt x="15508" y="14727"/>
                    <a:pt x="15508" y="14727"/>
                  </a:cubicBezTo>
                  <a:cubicBezTo>
                    <a:pt x="15323" y="15218"/>
                    <a:pt x="15323" y="15218"/>
                    <a:pt x="15323" y="15218"/>
                  </a:cubicBezTo>
                  <a:cubicBezTo>
                    <a:pt x="14954" y="14973"/>
                    <a:pt x="14954" y="14973"/>
                    <a:pt x="14954" y="14973"/>
                  </a:cubicBezTo>
                  <a:cubicBezTo>
                    <a:pt x="14954" y="15464"/>
                    <a:pt x="14954" y="15464"/>
                    <a:pt x="14954" y="15464"/>
                  </a:cubicBezTo>
                  <a:cubicBezTo>
                    <a:pt x="14400" y="15709"/>
                    <a:pt x="14400" y="15709"/>
                    <a:pt x="14400" y="15709"/>
                  </a:cubicBezTo>
                  <a:cubicBezTo>
                    <a:pt x="14031" y="15955"/>
                    <a:pt x="14031" y="15955"/>
                    <a:pt x="14031" y="15955"/>
                  </a:cubicBezTo>
                  <a:cubicBezTo>
                    <a:pt x="13846" y="16445"/>
                    <a:pt x="13846" y="16445"/>
                    <a:pt x="13846" y="16445"/>
                  </a:cubicBezTo>
                  <a:cubicBezTo>
                    <a:pt x="14031" y="16691"/>
                    <a:pt x="14031" y="16691"/>
                    <a:pt x="14031" y="16691"/>
                  </a:cubicBezTo>
                  <a:cubicBezTo>
                    <a:pt x="14031" y="16691"/>
                    <a:pt x="14215" y="16936"/>
                    <a:pt x="14215" y="16691"/>
                  </a:cubicBezTo>
                  <a:cubicBezTo>
                    <a:pt x="14215" y="16691"/>
                    <a:pt x="14215" y="16445"/>
                    <a:pt x="14215" y="16445"/>
                  </a:cubicBezTo>
                  <a:cubicBezTo>
                    <a:pt x="14400" y="16691"/>
                    <a:pt x="14585" y="16936"/>
                    <a:pt x="14585" y="16936"/>
                  </a:cubicBezTo>
                  <a:cubicBezTo>
                    <a:pt x="14769" y="17427"/>
                    <a:pt x="14769" y="17427"/>
                    <a:pt x="14769" y="17427"/>
                  </a:cubicBezTo>
                  <a:cubicBezTo>
                    <a:pt x="14769" y="17427"/>
                    <a:pt x="14400" y="17427"/>
                    <a:pt x="14400" y="17427"/>
                  </a:cubicBezTo>
                  <a:cubicBezTo>
                    <a:pt x="14400" y="17427"/>
                    <a:pt x="14215" y="17673"/>
                    <a:pt x="14215" y="17673"/>
                  </a:cubicBezTo>
                  <a:cubicBezTo>
                    <a:pt x="14031" y="17918"/>
                    <a:pt x="14031" y="17918"/>
                    <a:pt x="14031" y="17918"/>
                  </a:cubicBezTo>
                  <a:cubicBezTo>
                    <a:pt x="14031" y="18164"/>
                    <a:pt x="14031" y="18164"/>
                    <a:pt x="14031" y="18409"/>
                  </a:cubicBezTo>
                  <a:cubicBezTo>
                    <a:pt x="14031" y="18409"/>
                    <a:pt x="14031" y="18655"/>
                    <a:pt x="14031" y="18655"/>
                  </a:cubicBezTo>
                  <a:cubicBezTo>
                    <a:pt x="14215" y="18655"/>
                    <a:pt x="14400" y="19145"/>
                    <a:pt x="14400" y="19145"/>
                  </a:cubicBezTo>
                  <a:cubicBezTo>
                    <a:pt x="14400" y="19145"/>
                    <a:pt x="14585" y="19391"/>
                    <a:pt x="14585" y="19391"/>
                  </a:cubicBezTo>
                  <a:cubicBezTo>
                    <a:pt x="14585" y="19391"/>
                    <a:pt x="14585" y="19636"/>
                    <a:pt x="14585" y="19636"/>
                  </a:cubicBezTo>
                  <a:cubicBezTo>
                    <a:pt x="14585" y="19636"/>
                    <a:pt x="14400" y="19882"/>
                    <a:pt x="14215" y="19882"/>
                  </a:cubicBezTo>
                  <a:cubicBezTo>
                    <a:pt x="14215" y="19882"/>
                    <a:pt x="13846" y="19882"/>
                    <a:pt x="13846" y="19882"/>
                  </a:cubicBezTo>
                  <a:cubicBezTo>
                    <a:pt x="13846" y="19882"/>
                    <a:pt x="13662" y="20373"/>
                    <a:pt x="13662" y="20373"/>
                  </a:cubicBezTo>
                  <a:cubicBezTo>
                    <a:pt x="13662" y="20373"/>
                    <a:pt x="13477" y="20373"/>
                    <a:pt x="13292" y="20373"/>
                  </a:cubicBezTo>
                  <a:cubicBezTo>
                    <a:pt x="13292" y="20373"/>
                    <a:pt x="13662" y="20618"/>
                    <a:pt x="13292" y="20373"/>
                  </a:cubicBezTo>
                  <a:cubicBezTo>
                    <a:pt x="12738" y="20127"/>
                    <a:pt x="12738" y="19882"/>
                    <a:pt x="12738" y="19882"/>
                  </a:cubicBezTo>
                  <a:cubicBezTo>
                    <a:pt x="12738" y="19882"/>
                    <a:pt x="12554" y="19636"/>
                    <a:pt x="12554" y="19636"/>
                  </a:cubicBezTo>
                  <a:cubicBezTo>
                    <a:pt x="12369" y="19636"/>
                    <a:pt x="12185" y="19636"/>
                    <a:pt x="12185" y="19636"/>
                  </a:cubicBezTo>
                  <a:cubicBezTo>
                    <a:pt x="11815" y="19636"/>
                    <a:pt x="11815" y="19636"/>
                    <a:pt x="11815" y="19636"/>
                  </a:cubicBezTo>
                  <a:cubicBezTo>
                    <a:pt x="11631" y="19391"/>
                    <a:pt x="11631" y="19391"/>
                    <a:pt x="11631" y="19391"/>
                  </a:cubicBezTo>
                  <a:cubicBezTo>
                    <a:pt x="11446" y="19882"/>
                    <a:pt x="11446" y="19882"/>
                    <a:pt x="11446" y="19882"/>
                  </a:cubicBezTo>
                  <a:cubicBezTo>
                    <a:pt x="11446" y="19882"/>
                    <a:pt x="11446" y="20127"/>
                    <a:pt x="11262" y="20127"/>
                  </a:cubicBezTo>
                  <a:cubicBezTo>
                    <a:pt x="11077" y="20373"/>
                    <a:pt x="11262" y="20373"/>
                    <a:pt x="11077" y="20373"/>
                  </a:cubicBezTo>
                  <a:cubicBezTo>
                    <a:pt x="10708" y="20373"/>
                    <a:pt x="10523" y="19882"/>
                    <a:pt x="10523" y="19882"/>
                  </a:cubicBezTo>
                  <a:cubicBezTo>
                    <a:pt x="10523" y="19882"/>
                    <a:pt x="10154" y="19636"/>
                    <a:pt x="10154" y="19636"/>
                  </a:cubicBezTo>
                  <a:cubicBezTo>
                    <a:pt x="9969" y="19391"/>
                    <a:pt x="9969" y="19391"/>
                    <a:pt x="9969" y="19391"/>
                  </a:cubicBezTo>
                  <a:cubicBezTo>
                    <a:pt x="9785" y="19391"/>
                    <a:pt x="9785" y="19636"/>
                    <a:pt x="9785" y="19145"/>
                  </a:cubicBezTo>
                  <a:cubicBezTo>
                    <a:pt x="9785" y="18900"/>
                    <a:pt x="9785" y="18900"/>
                    <a:pt x="9785" y="18900"/>
                  </a:cubicBezTo>
                  <a:cubicBezTo>
                    <a:pt x="9600" y="18655"/>
                    <a:pt x="9600" y="18900"/>
                    <a:pt x="9415" y="18655"/>
                  </a:cubicBezTo>
                  <a:cubicBezTo>
                    <a:pt x="9415" y="18409"/>
                    <a:pt x="9231" y="18164"/>
                    <a:pt x="9231" y="18164"/>
                  </a:cubicBezTo>
                  <a:cubicBezTo>
                    <a:pt x="9046" y="17673"/>
                    <a:pt x="9046" y="17673"/>
                    <a:pt x="9046" y="17673"/>
                  </a:cubicBezTo>
                  <a:cubicBezTo>
                    <a:pt x="9046" y="17673"/>
                    <a:pt x="9046" y="17673"/>
                    <a:pt x="9046" y="17918"/>
                  </a:cubicBezTo>
                  <a:cubicBezTo>
                    <a:pt x="8862" y="18164"/>
                    <a:pt x="8677" y="18164"/>
                    <a:pt x="8677" y="18164"/>
                  </a:cubicBezTo>
                  <a:cubicBezTo>
                    <a:pt x="8677" y="18409"/>
                    <a:pt x="8492" y="18655"/>
                    <a:pt x="8492" y="18655"/>
                  </a:cubicBezTo>
                  <a:cubicBezTo>
                    <a:pt x="8492" y="18655"/>
                    <a:pt x="8308" y="18900"/>
                    <a:pt x="8308" y="19145"/>
                  </a:cubicBezTo>
                  <a:cubicBezTo>
                    <a:pt x="8492" y="19145"/>
                    <a:pt x="8492" y="19145"/>
                    <a:pt x="8492" y="19391"/>
                  </a:cubicBezTo>
                  <a:cubicBezTo>
                    <a:pt x="8492" y="19391"/>
                    <a:pt x="8308" y="19636"/>
                    <a:pt x="8308" y="19636"/>
                  </a:cubicBezTo>
                  <a:cubicBezTo>
                    <a:pt x="8123" y="19882"/>
                    <a:pt x="8123" y="19882"/>
                    <a:pt x="7938" y="19882"/>
                  </a:cubicBezTo>
                  <a:cubicBezTo>
                    <a:pt x="7938" y="20127"/>
                    <a:pt x="7569" y="20373"/>
                    <a:pt x="7569" y="20373"/>
                  </a:cubicBezTo>
                  <a:cubicBezTo>
                    <a:pt x="7200" y="20373"/>
                    <a:pt x="7200" y="20373"/>
                    <a:pt x="7200" y="20373"/>
                  </a:cubicBezTo>
                  <a:cubicBezTo>
                    <a:pt x="6646" y="20127"/>
                    <a:pt x="6646" y="20127"/>
                    <a:pt x="6646" y="20127"/>
                  </a:cubicBezTo>
                  <a:cubicBezTo>
                    <a:pt x="6277" y="20618"/>
                    <a:pt x="6277" y="20618"/>
                    <a:pt x="6277" y="20618"/>
                  </a:cubicBezTo>
                  <a:cubicBezTo>
                    <a:pt x="6277" y="20618"/>
                    <a:pt x="6092" y="20618"/>
                    <a:pt x="6092" y="20618"/>
                  </a:cubicBezTo>
                  <a:cubicBezTo>
                    <a:pt x="5908" y="20618"/>
                    <a:pt x="5723" y="20618"/>
                    <a:pt x="5723" y="20618"/>
                  </a:cubicBezTo>
                  <a:cubicBezTo>
                    <a:pt x="5723" y="20618"/>
                    <a:pt x="5538" y="20373"/>
                    <a:pt x="5354" y="20373"/>
                  </a:cubicBezTo>
                  <a:cubicBezTo>
                    <a:pt x="5354" y="20373"/>
                    <a:pt x="5169" y="20373"/>
                    <a:pt x="5169" y="20373"/>
                  </a:cubicBezTo>
                  <a:cubicBezTo>
                    <a:pt x="4985" y="20373"/>
                    <a:pt x="4800" y="20373"/>
                    <a:pt x="4800" y="20373"/>
                  </a:cubicBezTo>
                  <a:cubicBezTo>
                    <a:pt x="4800" y="20618"/>
                    <a:pt x="4800" y="20618"/>
                    <a:pt x="4800" y="20618"/>
                  </a:cubicBezTo>
                  <a:cubicBezTo>
                    <a:pt x="4800" y="20618"/>
                    <a:pt x="4985" y="20618"/>
                    <a:pt x="4985" y="20618"/>
                  </a:cubicBezTo>
                  <a:cubicBezTo>
                    <a:pt x="4985" y="20864"/>
                    <a:pt x="4985" y="21109"/>
                    <a:pt x="4985" y="21109"/>
                  </a:cubicBezTo>
                  <a:cubicBezTo>
                    <a:pt x="4985" y="21109"/>
                    <a:pt x="4800" y="21109"/>
                    <a:pt x="4800" y="21109"/>
                  </a:cubicBezTo>
                  <a:cubicBezTo>
                    <a:pt x="4800" y="21355"/>
                    <a:pt x="4431" y="21355"/>
                    <a:pt x="4431" y="21355"/>
                  </a:cubicBezTo>
                  <a:cubicBezTo>
                    <a:pt x="4431" y="21355"/>
                    <a:pt x="4431" y="21600"/>
                    <a:pt x="4431" y="21600"/>
                  </a:cubicBezTo>
                  <a:cubicBezTo>
                    <a:pt x="4431" y="21600"/>
                    <a:pt x="4431" y="21600"/>
                    <a:pt x="4246" y="21600"/>
                  </a:cubicBezTo>
                  <a:cubicBezTo>
                    <a:pt x="4062" y="21600"/>
                    <a:pt x="4062" y="21600"/>
                    <a:pt x="3877" y="21600"/>
                  </a:cubicBezTo>
                  <a:cubicBezTo>
                    <a:pt x="3877" y="21355"/>
                    <a:pt x="3692" y="21355"/>
                    <a:pt x="3508" y="21355"/>
                  </a:cubicBezTo>
                  <a:cubicBezTo>
                    <a:pt x="3508" y="21355"/>
                    <a:pt x="2954" y="21109"/>
                    <a:pt x="2954" y="21109"/>
                  </a:cubicBezTo>
                  <a:cubicBezTo>
                    <a:pt x="2954" y="21109"/>
                    <a:pt x="2769" y="21355"/>
                    <a:pt x="2769" y="21355"/>
                  </a:cubicBezTo>
                  <a:cubicBezTo>
                    <a:pt x="2585" y="21355"/>
                    <a:pt x="2400" y="21355"/>
                    <a:pt x="2215" y="21109"/>
                  </a:cubicBezTo>
                  <a:cubicBezTo>
                    <a:pt x="2215" y="21109"/>
                    <a:pt x="2031" y="21109"/>
                    <a:pt x="2031" y="21109"/>
                  </a:cubicBezTo>
                  <a:cubicBezTo>
                    <a:pt x="2031" y="20864"/>
                    <a:pt x="2031" y="20618"/>
                    <a:pt x="2031" y="20618"/>
                  </a:cubicBezTo>
                  <a:cubicBezTo>
                    <a:pt x="2031" y="20618"/>
                    <a:pt x="1846" y="20373"/>
                    <a:pt x="2031" y="20373"/>
                  </a:cubicBezTo>
                  <a:cubicBezTo>
                    <a:pt x="2031" y="20373"/>
                    <a:pt x="2215" y="20373"/>
                    <a:pt x="2400" y="20373"/>
                  </a:cubicBezTo>
                  <a:cubicBezTo>
                    <a:pt x="2585" y="20373"/>
                    <a:pt x="2769" y="20373"/>
                    <a:pt x="2769" y="20127"/>
                  </a:cubicBezTo>
                  <a:cubicBezTo>
                    <a:pt x="2769" y="20127"/>
                    <a:pt x="2769" y="20127"/>
                    <a:pt x="2954" y="20127"/>
                  </a:cubicBezTo>
                  <a:cubicBezTo>
                    <a:pt x="2954" y="20127"/>
                    <a:pt x="3138" y="20373"/>
                    <a:pt x="3138" y="20127"/>
                  </a:cubicBezTo>
                  <a:cubicBezTo>
                    <a:pt x="3138" y="19882"/>
                    <a:pt x="3138" y="19882"/>
                    <a:pt x="3138" y="19882"/>
                  </a:cubicBezTo>
                  <a:cubicBezTo>
                    <a:pt x="2954" y="19636"/>
                    <a:pt x="2954" y="19636"/>
                    <a:pt x="2954" y="19636"/>
                  </a:cubicBezTo>
                  <a:cubicBezTo>
                    <a:pt x="2954" y="19636"/>
                    <a:pt x="3138" y="19391"/>
                    <a:pt x="3138" y="19391"/>
                  </a:cubicBezTo>
                  <a:cubicBezTo>
                    <a:pt x="3323" y="19391"/>
                    <a:pt x="3508" y="19391"/>
                    <a:pt x="3508" y="19391"/>
                  </a:cubicBezTo>
                  <a:cubicBezTo>
                    <a:pt x="3692" y="19391"/>
                    <a:pt x="3877" y="19391"/>
                    <a:pt x="3877" y="19391"/>
                  </a:cubicBezTo>
                  <a:cubicBezTo>
                    <a:pt x="3877" y="19391"/>
                    <a:pt x="3877" y="19391"/>
                    <a:pt x="4062" y="19145"/>
                  </a:cubicBezTo>
                  <a:cubicBezTo>
                    <a:pt x="4062" y="19145"/>
                    <a:pt x="3323" y="19145"/>
                    <a:pt x="3138" y="18900"/>
                  </a:cubicBezTo>
                  <a:cubicBezTo>
                    <a:pt x="2769" y="18409"/>
                    <a:pt x="2400" y="18164"/>
                    <a:pt x="2400" y="17182"/>
                  </a:cubicBezTo>
                  <a:cubicBezTo>
                    <a:pt x="2215" y="17182"/>
                    <a:pt x="2215" y="16691"/>
                    <a:pt x="2031" y="16691"/>
                  </a:cubicBezTo>
                  <a:cubicBezTo>
                    <a:pt x="2031" y="16691"/>
                    <a:pt x="1662" y="16445"/>
                    <a:pt x="1662" y="16445"/>
                  </a:cubicBezTo>
                  <a:cubicBezTo>
                    <a:pt x="1662" y="16200"/>
                    <a:pt x="1662" y="16200"/>
                    <a:pt x="1846" y="15955"/>
                  </a:cubicBezTo>
                  <a:cubicBezTo>
                    <a:pt x="1846" y="15709"/>
                    <a:pt x="1846" y="15709"/>
                    <a:pt x="2031" y="15464"/>
                  </a:cubicBezTo>
                  <a:cubicBezTo>
                    <a:pt x="2031" y="15464"/>
                    <a:pt x="2031" y="14973"/>
                    <a:pt x="2031" y="14973"/>
                  </a:cubicBezTo>
                  <a:cubicBezTo>
                    <a:pt x="2031" y="14973"/>
                    <a:pt x="2215" y="14727"/>
                    <a:pt x="2031" y="14727"/>
                  </a:cubicBezTo>
                  <a:cubicBezTo>
                    <a:pt x="2031" y="14482"/>
                    <a:pt x="1846" y="14236"/>
                    <a:pt x="1846" y="14236"/>
                  </a:cubicBezTo>
                  <a:cubicBezTo>
                    <a:pt x="1846" y="14236"/>
                    <a:pt x="1846" y="14236"/>
                    <a:pt x="1662" y="14236"/>
                  </a:cubicBezTo>
                  <a:cubicBezTo>
                    <a:pt x="1662" y="14482"/>
                    <a:pt x="1662" y="14482"/>
                    <a:pt x="1662" y="14482"/>
                  </a:cubicBezTo>
                  <a:cubicBezTo>
                    <a:pt x="1292" y="14727"/>
                    <a:pt x="1292" y="14727"/>
                    <a:pt x="1292" y="14727"/>
                  </a:cubicBezTo>
                  <a:cubicBezTo>
                    <a:pt x="1292" y="14727"/>
                    <a:pt x="1108" y="14236"/>
                    <a:pt x="1108" y="14236"/>
                  </a:cubicBezTo>
                  <a:cubicBezTo>
                    <a:pt x="923" y="14236"/>
                    <a:pt x="923" y="14236"/>
                    <a:pt x="923" y="13991"/>
                  </a:cubicBezTo>
                  <a:cubicBezTo>
                    <a:pt x="923" y="13991"/>
                    <a:pt x="1108" y="13745"/>
                    <a:pt x="1108" y="13745"/>
                  </a:cubicBezTo>
                  <a:cubicBezTo>
                    <a:pt x="1108" y="13745"/>
                    <a:pt x="923" y="13500"/>
                    <a:pt x="923" y="13500"/>
                  </a:cubicBezTo>
                  <a:cubicBezTo>
                    <a:pt x="923" y="13500"/>
                    <a:pt x="1108" y="13009"/>
                    <a:pt x="1292" y="13009"/>
                  </a:cubicBezTo>
                  <a:cubicBezTo>
                    <a:pt x="1477" y="12764"/>
                    <a:pt x="1846" y="12273"/>
                    <a:pt x="1846" y="12273"/>
                  </a:cubicBezTo>
                  <a:cubicBezTo>
                    <a:pt x="2031" y="11782"/>
                    <a:pt x="2031" y="11782"/>
                    <a:pt x="2031" y="11782"/>
                  </a:cubicBezTo>
                  <a:cubicBezTo>
                    <a:pt x="1846" y="11536"/>
                    <a:pt x="1846" y="11536"/>
                    <a:pt x="1846" y="11536"/>
                  </a:cubicBezTo>
                  <a:cubicBezTo>
                    <a:pt x="1846" y="11536"/>
                    <a:pt x="1662" y="11782"/>
                    <a:pt x="1662" y="11782"/>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8" name="Shape 2231">
              <a:extLst>
                <a:ext uri="{FF2B5EF4-FFF2-40B4-BE49-F238E27FC236}">
                  <a16:creationId xmlns:a16="http://schemas.microsoft.com/office/drawing/2014/main" id="{20CFE40D-5514-4194-CE77-4D64BE8B46C9}"/>
                </a:ext>
              </a:extLst>
            </p:cNvPr>
            <p:cNvSpPr/>
            <p:nvPr/>
          </p:nvSpPr>
          <p:spPr>
            <a:xfrm>
              <a:off x="4265076" y="5945937"/>
              <a:ext cx="936529" cy="841308"/>
            </a:xfrm>
            <a:custGeom>
              <a:avLst/>
              <a:gdLst/>
              <a:ahLst/>
              <a:cxnLst>
                <a:cxn ang="0">
                  <a:pos x="wd2" y="hd2"/>
                </a:cxn>
                <a:cxn ang="5400000">
                  <a:pos x="wd2" y="hd2"/>
                </a:cxn>
                <a:cxn ang="10800000">
                  <a:pos x="wd2" y="hd2"/>
                </a:cxn>
                <a:cxn ang="16200000">
                  <a:pos x="wd2" y="hd2"/>
                </a:cxn>
              </a:cxnLst>
              <a:rect l="0" t="0" r="r" b="b"/>
              <a:pathLst>
                <a:path w="21600" h="21526" extrusionOk="0">
                  <a:moveTo>
                    <a:pt x="20458" y="8394"/>
                  </a:moveTo>
                  <a:cubicBezTo>
                    <a:pt x="20458" y="8190"/>
                    <a:pt x="20363" y="8087"/>
                    <a:pt x="20553" y="7985"/>
                  </a:cubicBezTo>
                  <a:cubicBezTo>
                    <a:pt x="20648" y="7985"/>
                    <a:pt x="20744" y="8190"/>
                    <a:pt x="20744" y="7985"/>
                  </a:cubicBezTo>
                  <a:cubicBezTo>
                    <a:pt x="20744" y="7780"/>
                    <a:pt x="20839" y="7882"/>
                    <a:pt x="20744" y="7678"/>
                  </a:cubicBezTo>
                  <a:cubicBezTo>
                    <a:pt x="20744" y="7678"/>
                    <a:pt x="20744" y="7678"/>
                    <a:pt x="20744" y="7678"/>
                  </a:cubicBezTo>
                  <a:cubicBezTo>
                    <a:pt x="20744" y="7678"/>
                    <a:pt x="20744" y="7678"/>
                    <a:pt x="20744" y="7678"/>
                  </a:cubicBezTo>
                  <a:cubicBezTo>
                    <a:pt x="20744" y="7678"/>
                    <a:pt x="20744" y="7882"/>
                    <a:pt x="20648" y="7882"/>
                  </a:cubicBezTo>
                  <a:cubicBezTo>
                    <a:pt x="20648" y="7882"/>
                    <a:pt x="20553" y="7985"/>
                    <a:pt x="20458" y="7985"/>
                  </a:cubicBezTo>
                  <a:cubicBezTo>
                    <a:pt x="20363" y="7882"/>
                    <a:pt x="20363" y="7882"/>
                    <a:pt x="20363" y="7882"/>
                  </a:cubicBezTo>
                  <a:cubicBezTo>
                    <a:pt x="20553" y="7678"/>
                    <a:pt x="20553" y="7678"/>
                    <a:pt x="20553" y="7678"/>
                  </a:cubicBezTo>
                  <a:cubicBezTo>
                    <a:pt x="20553" y="7268"/>
                    <a:pt x="20553" y="7268"/>
                    <a:pt x="20553" y="7268"/>
                  </a:cubicBezTo>
                  <a:cubicBezTo>
                    <a:pt x="20553" y="7268"/>
                    <a:pt x="20458" y="7064"/>
                    <a:pt x="20363" y="6859"/>
                  </a:cubicBezTo>
                  <a:cubicBezTo>
                    <a:pt x="20268" y="6756"/>
                    <a:pt x="20173" y="6654"/>
                    <a:pt x="20173" y="6654"/>
                  </a:cubicBezTo>
                  <a:cubicBezTo>
                    <a:pt x="20458" y="6449"/>
                    <a:pt x="20458" y="6449"/>
                    <a:pt x="20458" y="6449"/>
                  </a:cubicBezTo>
                  <a:cubicBezTo>
                    <a:pt x="20553" y="6347"/>
                    <a:pt x="20553" y="6347"/>
                    <a:pt x="20553" y="6347"/>
                  </a:cubicBezTo>
                  <a:cubicBezTo>
                    <a:pt x="20553" y="6245"/>
                    <a:pt x="20553" y="6245"/>
                    <a:pt x="20553" y="6245"/>
                  </a:cubicBezTo>
                  <a:cubicBezTo>
                    <a:pt x="20553" y="6245"/>
                    <a:pt x="20744" y="6449"/>
                    <a:pt x="20934" y="6449"/>
                  </a:cubicBezTo>
                  <a:cubicBezTo>
                    <a:pt x="21029" y="6449"/>
                    <a:pt x="20934" y="6449"/>
                    <a:pt x="21124" y="6347"/>
                  </a:cubicBezTo>
                  <a:cubicBezTo>
                    <a:pt x="21315" y="6347"/>
                    <a:pt x="21600" y="6040"/>
                    <a:pt x="21600" y="6040"/>
                  </a:cubicBezTo>
                  <a:cubicBezTo>
                    <a:pt x="21600" y="6040"/>
                    <a:pt x="21410" y="5835"/>
                    <a:pt x="21315" y="5835"/>
                  </a:cubicBezTo>
                  <a:cubicBezTo>
                    <a:pt x="21219" y="5937"/>
                    <a:pt x="21315" y="5937"/>
                    <a:pt x="21029" y="5937"/>
                  </a:cubicBezTo>
                  <a:cubicBezTo>
                    <a:pt x="20744" y="5835"/>
                    <a:pt x="20648" y="5733"/>
                    <a:pt x="20648" y="5733"/>
                  </a:cubicBezTo>
                  <a:cubicBezTo>
                    <a:pt x="20648" y="5733"/>
                    <a:pt x="20553" y="5733"/>
                    <a:pt x="20458" y="5733"/>
                  </a:cubicBezTo>
                  <a:cubicBezTo>
                    <a:pt x="20363" y="5733"/>
                    <a:pt x="20363" y="5733"/>
                    <a:pt x="20268" y="5630"/>
                  </a:cubicBezTo>
                  <a:cubicBezTo>
                    <a:pt x="20078" y="5426"/>
                    <a:pt x="19887" y="5221"/>
                    <a:pt x="19887" y="5221"/>
                  </a:cubicBezTo>
                  <a:cubicBezTo>
                    <a:pt x="19887" y="5221"/>
                    <a:pt x="19697" y="5323"/>
                    <a:pt x="19697" y="5221"/>
                  </a:cubicBezTo>
                  <a:cubicBezTo>
                    <a:pt x="19697" y="5221"/>
                    <a:pt x="19792" y="5016"/>
                    <a:pt x="19792" y="5016"/>
                  </a:cubicBezTo>
                  <a:cubicBezTo>
                    <a:pt x="19792" y="4914"/>
                    <a:pt x="19792" y="4914"/>
                    <a:pt x="19792" y="4914"/>
                  </a:cubicBezTo>
                  <a:cubicBezTo>
                    <a:pt x="19697" y="4811"/>
                    <a:pt x="19697" y="4811"/>
                    <a:pt x="19697" y="4811"/>
                  </a:cubicBezTo>
                  <a:cubicBezTo>
                    <a:pt x="19697" y="4811"/>
                    <a:pt x="19887" y="4811"/>
                    <a:pt x="19887" y="4811"/>
                  </a:cubicBezTo>
                  <a:cubicBezTo>
                    <a:pt x="19982" y="4709"/>
                    <a:pt x="19982" y="4709"/>
                    <a:pt x="19982" y="4709"/>
                  </a:cubicBezTo>
                  <a:cubicBezTo>
                    <a:pt x="20173" y="4504"/>
                    <a:pt x="19982" y="4300"/>
                    <a:pt x="19697" y="4402"/>
                  </a:cubicBezTo>
                  <a:cubicBezTo>
                    <a:pt x="19602" y="4402"/>
                    <a:pt x="19507" y="4504"/>
                    <a:pt x="19507" y="4504"/>
                  </a:cubicBezTo>
                  <a:cubicBezTo>
                    <a:pt x="19411" y="4504"/>
                    <a:pt x="19221" y="4402"/>
                    <a:pt x="19221" y="4300"/>
                  </a:cubicBezTo>
                  <a:cubicBezTo>
                    <a:pt x="19221" y="4197"/>
                    <a:pt x="19126" y="4197"/>
                    <a:pt x="19316" y="4095"/>
                  </a:cubicBezTo>
                  <a:cubicBezTo>
                    <a:pt x="19411" y="4095"/>
                    <a:pt x="19507" y="3890"/>
                    <a:pt x="19507" y="3890"/>
                  </a:cubicBezTo>
                  <a:cubicBezTo>
                    <a:pt x="19316" y="3583"/>
                    <a:pt x="19316" y="3583"/>
                    <a:pt x="19316" y="3583"/>
                  </a:cubicBezTo>
                  <a:cubicBezTo>
                    <a:pt x="19411" y="2969"/>
                    <a:pt x="19411" y="2969"/>
                    <a:pt x="19411" y="2969"/>
                  </a:cubicBezTo>
                  <a:cubicBezTo>
                    <a:pt x="19031" y="2866"/>
                    <a:pt x="19031" y="2866"/>
                    <a:pt x="19031" y="2866"/>
                  </a:cubicBezTo>
                  <a:cubicBezTo>
                    <a:pt x="19031" y="2662"/>
                    <a:pt x="19031" y="2662"/>
                    <a:pt x="19031" y="2662"/>
                  </a:cubicBezTo>
                  <a:cubicBezTo>
                    <a:pt x="18841" y="2559"/>
                    <a:pt x="18841" y="2559"/>
                    <a:pt x="18841" y="2559"/>
                  </a:cubicBezTo>
                  <a:cubicBezTo>
                    <a:pt x="18650" y="3071"/>
                    <a:pt x="18650" y="3071"/>
                    <a:pt x="18650" y="3071"/>
                  </a:cubicBezTo>
                  <a:cubicBezTo>
                    <a:pt x="18650" y="3071"/>
                    <a:pt x="18365" y="3173"/>
                    <a:pt x="18365" y="3276"/>
                  </a:cubicBezTo>
                  <a:cubicBezTo>
                    <a:pt x="18270" y="3378"/>
                    <a:pt x="17794" y="3378"/>
                    <a:pt x="17794" y="3378"/>
                  </a:cubicBezTo>
                  <a:cubicBezTo>
                    <a:pt x="17413" y="3378"/>
                    <a:pt x="17413" y="3378"/>
                    <a:pt x="17413" y="3378"/>
                  </a:cubicBezTo>
                  <a:cubicBezTo>
                    <a:pt x="16747" y="3583"/>
                    <a:pt x="16747" y="3583"/>
                    <a:pt x="16747" y="3583"/>
                  </a:cubicBezTo>
                  <a:cubicBezTo>
                    <a:pt x="16747" y="3583"/>
                    <a:pt x="16557" y="3685"/>
                    <a:pt x="16462" y="3685"/>
                  </a:cubicBezTo>
                  <a:cubicBezTo>
                    <a:pt x="16367" y="3685"/>
                    <a:pt x="15891" y="3583"/>
                    <a:pt x="15891" y="3583"/>
                  </a:cubicBezTo>
                  <a:cubicBezTo>
                    <a:pt x="15605" y="3685"/>
                    <a:pt x="15605" y="3685"/>
                    <a:pt x="15605" y="3685"/>
                  </a:cubicBezTo>
                  <a:cubicBezTo>
                    <a:pt x="14939" y="3481"/>
                    <a:pt x="14939" y="3481"/>
                    <a:pt x="14939" y="3481"/>
                  </a:cubicBezTo>
                  <a:cubicBezTo>
                    <a:pt x="14749" y="3276"/>
                    <a:pt x="14749" y="3276"/>
                    <a:pt x="14749" y="3276"/>
                  </a:cubicBezTo>
                  <a:cubicBezTo>
                    <a:pt x="14654" y="3173"/>
                    <a:pt x="14654" y="3173"/>
                    <a:pt x="14654" y="3173"/>
                  </a:cubicBezTo>
                  <a:cubicBezTo>
                    <a:pt x="14178" y="3071"/>
                    <a:pt x="14178" y="3071"/>
                    <a:pt x="14178" y="3071"/>
                  </a:cubicBezTo>
                  <a:cubicBezTo>
                    <a:pt x="14083" y="2866"/>
                    <a:pt x="14083" y="2866"/>
                    <a:pt x="14083" y="2866"/>
                  </a:cubicBezTo>
                  <a:cubicBezTo>
                    <a:pt x="13702" y="2866"/>
                    <a:pt x="13702" y="2866"/>
                    <a:pt x="13702" y="2866"/>
                  </a:cubicBezTo>
                  <a:cubicBezTo>
                    <a:pt x="13702" y="2866"/>
                    <a:pt x="13702" y="2866"/>
                    <a:pt x="13702" y="2866"/>
                  </a:cubicBezTo>
                  <a:cubicBezTo>
                    <a:pt x="13702" y="2866"/>
                    <a:pt x="13702" y="2866"/>
                    <a:pt x="13702" y="2866"/>
                  </a:cubicBezTo>
                  <a:cubicBezTo>
                    <a:pt x="13512" y="2764"/>
                    <a:pt x="13512" y="2764"/>
                    <a:pt x="13512" y="2764"/>
                  </a:cubicBezTo>
                  <a:cubicBezTo>
                    <a:pt x="13512" y="2662"/>
                    <a:pt x="13512" y="2662"/>
                    <a:pt x="13512" y="2662"/>
                  </a:cubicBezTo>
                  <a:cubicBezTo>
                    <a:pt x="13417" y="2662"/>
                    <a:pt x="13417" y="2662"/>
                    <a:pt x="13417" y="2559"/>
                  </a:cubicBezTo>
                  <a:cubicBezTo>
                    <a:pt x="13322" y="2457"/>
                    <a:pt x="13322" y="2457"/>
                    <a:pt x="13322" y="2457"/>
                  </a:cubicBezTo>
                  <a:cubicBezTo>
                    <a:pt x="12846" y="1843"/>
                    <a:pt x="12846" y="1843"/>
                    <a:pt x="12846" y="1843"/>
                  </a:cubicBezTo>
                  <a:cubicBezTo>
                    <a:pt x="12751" y="1843"/>
                    <a:pt x="12751" y="1843"/>
                    <a:pt x="12751" y="1843"/>
                  </a:cubicBezTo>
                  <a:cubicBezTo>
                    <a:pt x="12751" y="1843"/>
                    <a:pt x="12751" y="1843"/>
                    <a:pt x="12751" y="1843"/>
                  </a:cubicBezTo>
                  <a:cubicBezTo>
                    <a:pt x="11894" y="1536"/>
                    <a:pt x="11894" y="1536"/>
                    <a:pt x="11894" y="1536"/>
                  </a:cubicBezTo>
                  <a:cubicBezTo>
                    <a:pt x="11609" y="1126"/>
                    <a:pt x="11609" y="1126"/>
                    <a:pt x="11609" y="1126"/>
                  </a:cubicBezTo>
                  <a:cubicBezTo>
                    <a:pt x="11323" y="921"/>
                    <a:pt x="11323" y="921"/>
                    <a:pt x="11323" y="921"/>
                  </a:cubicBezTo>
                  <a:cubicBezTo>
                    <a:pt x="10943" y="614"/>
                    <a:pt x="10943" y="614"/>
                    <a:pt x="10943" y="614"/>
                  </a:cubicBezTo>
                  <a:cubicBezTo>
                    <a:pt x="10562" y="307"/>
                    <a:pt x="10562" y="307"/>
                    <a:pt x="10562" y="307"/>
                  </a:cubicBezTo>
                  <a:cubicBezTo>
                    <a:pt x="10372" y="102"/>
                    <a:pt x="10372" y="102"/>
                    <a:pt x="10372" y="102"/>
                  </a:cubicBezTo>
                  <a:cubicBezTo>
                    <a:pt x="10372" y="102"/>
                    <a:pt x="10372" y="102"/>
                    <a:pt x="10372" y="102"/>
                  </a:cubicBezTo>
                  <a:cubicBezTo>
                    <a:pt x="10372" y="102"/>
                    <a:pt x="10277" y="0"/>
                    <a:pt x="10277" y="0"/>
                  </a:cubicBezTo>
                  <a:cubicBezTo>
                    <a:pt x="10277" y="0"/>
                    <a:pt x="10181" y="0"/>
                    <a:pt x="10181" y="0"/>
                  </a:cubicBezTo>
                  <a:cubicBezTo>
                    <a:pt x="10086" y="0"/>
                    <a:pt x="9896" y="0"/>
                    <a:pt x="9896" y="0"/>
                  </a:cubicBezTo>
                  <a:cubicBezTo>
                    <a:pt x="9896" y="0"/>
                    <a:pt x="9801" y="102"/>
                    <a:pt x="9706" y="102"/>
                  </a:cubicBezTo>
                  <a:cubicBezTo>
                    <a:pt x="9706" y="102"/>
                    <a:pt x="9611" y="307"/>
                    <a:pt x="9611" y="307"/>
                  </a:cubicBezTo>
                  <a:cubicBezTo>
                    <a:pt x="9515" y="409"/>
                    <a:pt x="9515" y="409"/>
                    <a:pt x="9515" y="409"/>
                  </a:cubicBezTo>
                  <a:cubicBezTo>
                    <a:pt x="9611" y="512"/>
                    <a:pt x="9611" y="512"/>
                    <a:pt x="9611" y="512"/>
                  </a:cubicBezTo>
                  <a:cubicBezTo>
                    <a:pt x="9801" y="921"/>
                    <a:pt x="9896" y="921"/>
                    <a:pt x="9420" y="819"/>
                  </a:cubicBezTo>
                  <a:cubicBezTo>
                    <a:pt x="9230" y="717"/>
                    <a:pt x="9230" y="717"/>
                    <a:pt x="9230" y="717"/>
                  </a:cubicBezTo>
                  <a:cubicBezTo>
                    <a:pt x="9135" y="819"/>
                    <a:pt x="9135" y="819"/>
                    <a:pt x="9135" y="819"/>
                  </a:cubicBezTo>
                  <a:cubicBezTo>
                    <a:pt x="8944" y="921"/>
                    <a:pt x="8944" y="921"/>
                    <a:pt x="8944" y="921"/>
                  </a:cubicBezTo>
                  <a:cubicBezTo>
                    <a:pt x="8944" y="921"/>
                    <a:pt x="8944" y="921"/>
                    <a:pt x="8944" y="921"/>
                  </a:cubicBezTo>
                  <a:cubicBezTo>
                    <a:pt x="8944" y="921"/>
                    <a:pt x="8944" y="1126"/>
                    <a:pt x="8944" y="1126"/>
                  </a:cubicBezTo>
                  <a:cubicBezTo>
                    <a:pt x="8849" y="1331"/>
                    <a:pt x="8849" y="1331"/>
                    <a:pt x="8849" y="1331"/>
                  </a:cubicBezTo>
                  <a:cubicBezTo>
                    <a:pt x="8659" y="1433"/>
                    <a:pt x="8659" y="1433"/>
                    <a:pt x="8659" y="1433"/>
                  </a:cubicBezTo>
                  <a:cubicBezTo>
                    <a:pt x="8469" y="1536"/>
                    <a:pt x="8469" y="1536"/>
                    <a:pt x="8469" y="1536"/>
                  </a:cubicBezTo>
                  <a:cubicBezTo>
                    <a:pt x="8374" y="1638"/>
                    <a:pt x="8374" y="1638"/>
                    <a:pt x="8374" y="1638"/>
                  </a:cubicBezTo>
                  <a:cubicBezTo>
                    <a:pt x="8183" y="1638"/>
                    <a:pt x="8183" y="1638"/>
                    <a:pt x="8183" y="1638"/>
                  </a:cubicBezTo>
                  <a:cubicBezTo>
                    <a:pt x="7993" y="1740"/>
                    <a:pt x="7993" y="1740"/>
                    <a:pt x="7993" y="1740"/>
                  </a:cubicBezTo>
                  <a:cubicBezTo>
                    <a:pt x="7898" y="1945"/>
                    <a:pt x="7898" y="1945"/>
                    <a:pt x="7898" y="1945"/>
                  </a:cubicBezTo>
                  <a:cubicBezTo>
                    <a:pt x="7898" y="1945"/>
                    <a:pt x="7707" y="1945"/>
                    <a:pt x="7707" y="1945"/>
                  </a:cubicBezTo>
                  <a:cubicBezTo>
                    <a:pt x="7707" y="1945"/>
                    <a:pt x="7422" y="2047"/>
                    <a:pt x="7422" y="2047"/>
                  </a:cubicBezTo>
                  <a:cubicBezTo>
                    <a:pt x="7422" y="2252"/>
                    <a:pt x="7422" y="2252"/>
                    <a:pt x="7422" y="2252"/>
                  </a:cubicBezTo>
                  <a:cubicBezTo>
                    <a:pt x="7422" y="2252"/>
                    <a:pt x="7327" y="2355"/>
                    <a:pt x="7327" y="2355"/>
                  </a:cubicBezTo>
                  <a:cubicBezTo>
                    <a:pt x="7327" y="2355"/>
                    <a:pt x="7327" y="2662"/>
                    <a:pt x="7327" y="2662"/>
                  </a:cubicBezTo>
                  <a:cubicBezTo>
                    <a:pt x="7327" y="2662"/>
                    <a:pt x="7517" y="2764"/>
                    <a:pt x="7517" y="2764"/>
                  </a:cubicBezTo>
                  <a:cubicBezTo>
                    <a:pt x="7612" y="2866"/>
                    <a:pt x="7612" y="2866"/>
                    <a:pt x="7612" y="2866"/>
                  </a:cubicBezTo>
                  <a:cubicBezTo>
                    <a:pt x="7707" y="2969"/>
                    <a:pt x="7707" y="2969"/>
                    <a:pt x="7707" y="2969"/>
                  </a:cubicBezTo>
                  <a:cubicBezTo>
                    <a:pt x="7707" y="2969"/>
                    <a:pt x="7803" y="3071"/>
                    <a:pt x="7803" y="3071"/>
                  </a:cubicBezTo>
                  <a:cubicBezTo>
                    <a:pt x="7707" y="3071"/>
                    <a:pt x="7707" y="3378"/>
                    <a:pt x="7707" y="3378"/>
                  </a:cubicBezTo>
                  <a:cubicBezTo>
                    <a:pt x="7803" y="3685"/>
                    <a:pt x="7803" y="3685"/>
                    <a:pt x="7803" y="3685"/>
                  </a:cubicBezTo>
                  <a:cubicBezTo>
                    <a:pt x="7707" y="3788"/>
                    <a:pt x="7707" y="3788"/>
                    <a:pt x="7707" y="3788"/>
                  </a:cubicBezTo>
                  <a:cubicBezTo>
                    <a:pt x="7803" y="3992"/>
                    <a:pt x="7803" y="3992"/>
                    <a:pt x="7803" y="3992"/>
                  </a:cubicBezTo>
                  <a:cubicBezTo>
                    <a:pt x="7803" y="3992"/>
                    <a:pt x="7898" y="3992"/>
                    <a:pt x="7803" y="4095"/>
                  </a:cubicBezTo>
                  <a:cubicBezTo>
                    <a:pt x="7707" y="4095"/>
                    <a:pt x="7612" y="4197"/>
                    <a:pt x="7612" y="4197"/>
                  </a:cubicBezTo>
                  <a:cubicBezTo>
                    <a:pt x="7612" y="4197"/>
                    <a:pt x="7422" y="4197"/>
                    <a:pt x="7422" y="4197"/>
                  </a:cubicBezTo>
                  <a:cubicBezTo>
                    <a:pt x="7422" y="4197"/>
                    <a:pt x="7232" y="4197"/>
                    <a:pt x="7232" y="4197"/>
                  </a:cubicBezTo>
                  <a:cubicBezTo>
                    <a:pt x="7137" y="4402"/>
                    <a:pt x="7137" y="4402"/>
                    <a:pt x="7137" y="4402"/>
                  </a:cubicBezTo>
                  <a:cubicBezTo>
                    <a:pt x="6946" y="4300"/>
                    <a:pt x="6946" y="4300"/>
                    <a:pt x="6946" y="4300"/>
                  </a:cubicBezTo>
                  <a:cubicBezTo>
                    <a:pt x="6946" y="4504"/>
                    <a:pt x="6946" y="4504"/>
                    <a:pt x="6946" y="4504"/>
                  </a:cubicBezTo>
                  <a:cubicBezTo>
                    <a:pt x="6661" y="4607"/>
                    <a:pt x="6661" y="4607"/>
                    <a:pt x="6661" y="4607"/>
                  </a:cubicBezTo>
                  <a:cubicBezTo>
                    <a:pt x="6470" y="4709"/>
                    <a:pt x="6470" y="4709"/>
                    <a:pt x="6470" y="4709"/>
                  </a:cubicBezTo>
                  <a:cubicBezTo>
                    <a:pt x="6375" y="4914"/>
                    <a:pt x="6375" y="4914"/>
                    <a:pt x="6375" y="4914"/>
                  </a:cubicBezTo>
                  <a:cubicBezTo>
                    <a:pt x="6470" y="5016"/>
                    <a:pt x="6470" y="5016"/>
                    <a:pt x="6470" y="5016"/>
                  </a:cubicBezTo>
                  <a:cubicBezTo>
                    <a:pt x="6470" y="5016"/>
                    <a:pt x="6566" y="5118"/>
                    <a:pt x="6566" y="5016"/>
                  </a:cubicBezTo>
                  <a:cubicBezTo>
                    <a:pt x="6566" y="5016"/>
                    <a:pt x="6566" y="4914"/>
                    <a:pt x="6566" y="4914"/>
                  </a:cubicBezTo>
                  <a:cubicBezTo>
                    <a:pt x="6661" y="5016"/>
                    <a:pt x="6756" y="5118"/>
                    <a:pt x="6756" y="5118"/>
                  </a:cubicBezTo>
                  <a:cubicBezTo>
                    <a:pt x="6851" y="5323"/>
                    <a:pt x="6851" y="5323"/>
                    <a:pt x="6851" y="5323"/>
                  </a:cubicBezTo>
                  <a:cubicBezTo>
                    <a:pt x="6851" y="5323"/>
                    <a:pt x="6661" y="5323"/>
                    <a:pt x="6661" y="5323"/>
                  </a:cubicBezTo>
                  <a:cubicBezTo>
                    <a:pt x="6661" y="5323"/>
                    <a:pt x="6566" y="5426"/>
                    <a:pt x="6566" y="5426"/>
                  </a:cubicBezTo>
                  <a:cubicBezTo>
                    <a:pt x="6470" y="5528"/>
                    <a:pt x="6470" y="5528"/>
                    <a:pt x="6470" y="5528"/>
                  </a:cubicBezTo>
                  <a:cubicBezTo>
                    <a:pt x="6470" y="5630"/>
                    <a:pt x="6470" y="5630"/>
                    <a:pt x="6470" y="5733"/>
                  </a:cubicBezTo>
                  <a:cubicBezTo>
                    <a:pt x="6470" y="5733"/>
                    <a:pt x="6470" y="5835"/>
                    <a:pt x="6470" y="5835"/>
                  </a:cubicBezTo>
                  <a:cubicBezTo>
                    <a:pt x="6566" y="5835"/>
                    <a:pt x="6661" y="6040"/>
                    <a:pt x="6661" y="6040"/>
                  </a:cubicBezTo>
                  <a:cubicBezTo>
                    <a:pt x="6661" y="6040"/>
                    <a:pt x="6756" y="6142"/>
                    <a:pt x="6756" y="6142"/>
                  </a:cubicBezTo>
                  <a:cubicBezTo>
                    <a:pt x="6756" y="6142"/>
                    <a:pt x="6756" y="6245"/>
                    <a:pt x="6756" y="6245"/>
                  </a:cubicBezTo>
                  <a:cubicBezTo>
                    <a:pt x="6756" y="6245"/>
                    <a:pt x="6661" y="6347"/>
                    <a:pt x="6566" y="6347"/>
                  </a:cubicBezTo>
                  <a:cubicBezTo>
                    <a:pt x="6566" y="6347"/>
                    <a:pt x="6375" y="6347"/>
                    <a:pt x="6375" y="6347"/>
                  </a:cubicBezTo>
                  <a:cubicBezTo>
                    <a:pt x="6375" y="6347"/>
                    <a:pt x="6280" y="6552"/>
                    <a:pt x="6280" y="6552"/>
                  </a:cubicBezTo>
                  <a:cubicBezTo>
                    <a:pt x="6280" y="6552"/>
                    <a:pt x="6185" y="6552"/>
                    <a:pt x="6090" y="6552"/>
                  </a:cubicBezTo>
                  <a:cubicBezTo>
                    <a:pt x="6090" y="6552"/>
                    <a:pt x="6280" y="6654"/>
                    <a:pt x="6090" y="6552"/>
                  </a:cubicBezTo>
                  <a:cubicBezTo>
                    <a:pt x="5804" y="6449"/>
                    <a:pt x="5804" y="6347"/>
                    <a:pt x="5804" y="6347"/>
                  </a:cubicBezTo>
                  <a:cubicBezTo>
                    <a:pt x="5804" y="6347"/>
                    <a:pt x="5709" y="6245"/>
                    <a:pt x="5709" y="6245"/>
                  </a:cubicBezTo>
                  <a:cubicBezTo>
                    <a:pt x="5614" y="6245"/>
                    <a:pt x="5519" y="6245"/>
                    <a:pt x="5519" y="6245"/>
                  </a:cubicBezTo>
                  <a:cubicBezTo>
                    <a:pt x="5329" y="6245"/>
                    <a:pt x="5329" y="6245"/>
                    <a:pt x="5329" y="6245"/>
                  </a:cubicBezTo>
                  <a:cubicBezTo>
                    <a:pt x="5233" y="6142"/>
                    <a:pt x="5233" y="6142"/>
                    <a:pt x="5233" y="6142"/>
                  </a:cubicBezTo>
                  <a:cubicBezTo>
                    <a:pt x="5138" y="6347"/>
                    <a:pt x="5138" y="6347"/>
                    <a:pt x="5138" y="6347"/>
                  </a:cubicBezTo>
                  <a:cubicBezTo>
                    <a:pt x="5138" y="6347"/>
                    <a:pt x="5138" y="6449"/>
                    <a:pt x="5043" y="6449"/>
                  </a:cubicBezTo>
                  <a:cubicBezTo>
                    <a:pt x="4948" y="6552"/>
                    <a:pt x="5043" y="6552"/>
                    <a:pt x="4948" y="6552"/>
                  </a:cubicBezTo>
                  <a:cubicBezTo>
                    <a:pt x="4758" y="6552"/>
                    <a:pt x="4663" y="6347"/>
                    <a:pt x="4663" y="6347"/>
                  </a:cubicBezTo>
                  <a:cubicBezTo>
                    <a:pt x="4663" y="6347"/>
                    <a:pt x="4472" y="6245"/>
                    <a:pt x="4472" y="6245"/>
                  </a:cubicBezTo>
                  <a:cubicBezTo>
                    <a:pt x="4377" y="6142"/>
                    <a:pt x="4377" y="6142"/>
                    <a:pt x="4377" y="6142"/>
                  </a:cubicBezTo>
                  <a:cubicBezTo>
                    <a:pt x="4282" y="6142"/>
                    <a:pt x="4282" y="6245"/>
                    <a:pt x="4282" y="6040"/>
                  </a:cubicBezTo>
                  <a:cubicBezTo>
                    <a:pt x="4282" y="5937"/>
                    <a:pt x="4282" y="5937"/>
                    <a:pt x="4282" y="5937"/>
                  </a:cubicBezTo>
                  <a:cubicBezTo>
                    <a:pt x="4187" y="5835"/>
                    <a:pt x="4187" y="5937"/>
                    <a:pt x="4092" y="5835"/>
                  </a:cubicBezTo>
                  <a:cubicBezTo>
                    <a:pt x="4092" y="5733"/>
                    <a:pt x="3996" y="5630"/>
                    <a:pt x="3996" y="5630"/>
                  </a:cubicBezTo>
                  <a:cubicBezTo>
                    <a:pt x="3901" y="5426"/>
                    <a:pt x="3901" y="5426"/>
                    <a:pt x="3901" y="5426"/>
                  </a:cubicBezTo>
                  <a:cubicBezTo>
                    <a:pt x="3901" y="5426"/>
                    <a:pt x="3901" y="5426"/>
                    <a:pt x="3901" y="5528"/>
                  </a:cubicBezTo>
                  <a:cubicBezTo>
                    <a:pt x="3806" y="5630"/>
                    <a:pt x="3711" y="5630"/>
                    <a:pt x="3711" y="5630"/>
                  </a:cubicBezTo>
                  <a:cubicBezTo>
                    <a:pt x="3711" y="5733"/>
                    <a:pt x="3616" y="5835"/>
                    <a:pt x="3616" y="5835"/>
                  </a:cubicBezTo>
                  <a:cubicBezTo>
                    <a:pt x="3616" y="5835"/>
                    <a:pt x="3521" y="5937"/>
                    <a:pt x="3521" y="6040"/>
                  </a:cubicBezTo>
                  <a:cubicBezTo>
                    <a:pt x="3616" y="6040"/>
                    <a:pt x="3616" y="6040"/>
                    <a:pt x="3616" y="6142"/>
                  </a:cubicBezTo>
                  <a:cubicBezTo>
                    <a:pt x="3616" y="6142"/>
                    <a:pt x="3521" y="6245"/>
                    <a:pt x="3521" y="6245"/>
                  </a:cubicBezTo>
                  <a:cubicBezTo>
                    <a:pt x="3426" y="6347"/>
                    <a:pt x="3426" y="6347"/>
                    <a:pt x="3330" y="6347"/>
                  </a:cubicBezTo>
                  <a:cubicBezTo>
                    <a:pt x="3330" y="6449"/>
                    <a:pt x="3140" y="6552"/>
                    <a:pt x="3140" y="6552"/>
                  </a:cubicBezTo>
                  <a:cubicBezTo>
                    <a:pt x="2950" y="6552"/>
                    <a:pt x="2950" y="6552"/>
                    <a:pt x="2950" y="6552"/>
                  </a:cubicBezTo>
                  <a:cubicBezTo>
                    <a:pt x="2664" y="6449"/>
                    <a:pt x="2664" y="6449"/>
                    <a:pt x="2664" y="6449"/>
                  </a:cubicBezTo>
                  <a:cubicBezTo>
                    <a:pt x="2474" y="6654"/>
                    <a:pt x="2474" y="6654"/>
                    <a:pt x="2474" y="6654"/>
                  </a:cubicBezTo>
                  <a:cubicBezTo>
                    <a:pt x="2474" y="6654"/>
                    <a:pt x="2379" y="6654"/>
                    <a:pt x="2379" y="6654"/>
                  </a:cubicBezTo>
                  <a:cubicBezTo>
                    <a:pt x="2284" y="6654"/>
                    <a:pt x="2189" y="6654"/>
                    <a:pt x="2189" y="6654"/>
                  </a:cubicBezTo>
                  <a:cubicBezTo>
                    <a:pt x="2189" y="6654"/>
                    <a:pt x="2093" y="6552"/>
                    <a:pt x="1998" y="6552"/>
                  </a:cubicBezTo>
                  <a:cubicBezTo>
                    <a:pt x="1998" y="6552"/>
                    <a:pt x="1903" y="6552"/>
                    <a:pt x="1903" y="6552"/>
                  </a:cubicBezTo>
                  <a:cubicBezTo>
                    <a:pt x="1808" y="6552"/>
                    <a:pt x="1713" y="6552"/>
                    <a:pt x="1713" y="6552"/>
                  </a:cubicBezTo>
                  <a:cubicBezTo>
                    <a:pt x="1713" y="6654"/>
                    <a:pt x="1713" y="6654"/>
                    <a:pt x="1713" y="6654"/>
                  </a:cubicBezTo>
                  <a:cubicBezTo>
                    <a:pt x="1713" y="6654"/>
                    <a:pt x="1808" y="6654"/>
                    <a:pt x="1808" y="6654"/>
                  </a:cubicBezTo>
                  <a:cubicBezTo>
                    <a:pt x="1808" y="6756"/>
                    <a:pt x="1808" y="6859"/>
                    <a:pt x="1808" y="6859"/>
                  </a:cubicBezTo>
                  <a:cubicBezTo>
                    <a:pt x="1808" y="6859"/>
                    <a:pt x="1713" y="6859"/>
                    <a:pt x="1713" y="6859"/>
                  </a:cubicBezTo>
                  <a:cubicBezTo>
                    <a:pt x="1713" y="6961"/>
                    <a:pt x="1522" y="6961"/>
                    <a:pt x="1522" y="6961"/>
                  </a:cubicBezTo>
                  <a:cubicBezTo>
                    <a:pt x="1522" y="6961"/>
                    <a:pt x="1522" y="7064"/>
                    <a:pt x="1522" y="7064"/>
                  </a:cubicBezTo>
                  <a:cubicBezTo>
                    <a:pt x="1522" y="7064"/>
                    <a:pt x="1522" y="7064"/>
                    <a:pt x="1427" y="7064"/>
                  </a:cubicBezTo>
                  <a:cubicBezTo>
                    <a:pt x="1332" y="7064"/>
                    <a:pt x="1332" y="7064"/>
                    <a:pt x="1237" y="7064"/>
                  </a:cubicBezTo>
                  <a:cubicBezTo>
                    <a:pt x="1237" y="6961"/>
                    <a:pt x="1142" y="6961"/>
                    <a:pt x="1047" y="6961"/>
                  </a:cubicBezTo>
                  <a:cubicBezTo>
                    <a:pt x="1047" y="6961"/>
                    <a:pt x="761" y="6859"/>
                    <a:pt x="761" y="6859"/>
                  </a:cubicBezTo>
                  <a:cubicBezTo>
                    <a:pt x="761" y="6859"/>
                    <a:pt x="666" y="6961"/>
                    <a:pt x="666" y="6961"/>
                  </a:cubicBezTo>
                  <a:cubicBezTo>
                    <a:pt x="571" y="6961"/>
                    <a:pt x="476" y="6961"/>
                    <a:pt x="381" y="6859"/>
                  </a:cubicBezTo>
                  <a:cubicBezTo>
                    <a:pt x="381"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859"/>
                    <a:pt x="285" y="6859"/>
                    <a:pt x="285" y="6859"/>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756"/>
                    <a:pt x="285" y="6756"/>
                    <a:pt x="285" y="6756"/>
                  </a:cubicBezTo>
                  <a:cubicBezTo>
                    <a:pt x="285" y="6654"/>
                    <a:pt x="285" y="6654"/>
                    <a:pt x="285" y="6654"/>
                  </a:cubicBezTo>
                  <a:cubicBezTo>
                    <a:pt x="0" y="6859"/>
                    <a:pt x="0" y="6859"/>
                    <a:pt x="0" y="6859"/>
                  </a:cubicBezTo>
                  <a:cubicBezTo>
                    <a:pt x="190" y="7268"/>
                    <a:pt x="190" y="7268"/>
                    <a:pt x="190" y="7268"/>
                  </a:cubicBezTo>
                  <a:cubicBezTo>
                    <a:pt x="95" y="7371"/>
                    <a:pt x="95" y="7371"/>
                    <a:pt x="95" y="7371"/>
                  </a:cubicBezTo>
                  <a:cubicBezTo>
                    <a:pt x="95" y="7371"/>
                    <a:pt x="190" y="7473"/>
                    <a:pt x="190" y="7473"/>
                  </a:cubicBezTo>
                  <a:cubicBezTo>
                    <a:pt x="190" y="7575"/>
                    <a:pt x="285" y="7575"/>
                    <a:pt x="285" y="7678"/>
                  </a:cubicBezTo>
                  <a:cubicBezTo>
                    <a:pt x="285" y="7780"/>
                    <a:pt x="285" y="7882"/>
                    <a:pt x="285" y="7882"/>
                  </a:cubicBezTo>
                  <a:cubicBezTo>
                    <a:pt x="381" y="7882"/>
                    <a:pt x="381" y="7882"/>
                    <a:pt x="381" y="7882"/>
                  </a:cubicBezTo>
                  <a:cubicBezTo>
                    <a:pt x="476" y="8087"/>
                    <a:pt x="476" y="8087"/>
                    <a:pt x="476" y="8087"/>
                  </a:cubicBezTo>
                  <a:cubicBezTo>
                    <a:pt x="476" y="8190"/>
                    <a:pt x="476" y="8190"/>
                    <a:pt x="476" y="8190"/>
                  </a:cubicBezTo>
                  <a:cubicBezTo>
                    <a:pt x="476" y="8394"/>
                    <a:pt x="476" y="8394"/>
                    <a:pt x="476" y="8394"/>
                  </a:cubicBezTo>
                  <a:cubicBezTo>
                    <a:pt x="476" y="8394"/>
                    <a:pt x="571" y="8497"/>
                    <a:pt x="571" y="8599"/>
                  </a:cubicBezTo>
                  <a:cubicBezTo>
                    <a:pt x="571" y="8599"/>
                    <a:pt x="571" y="8701"/>
                    <a:pt x="571" y="8804"/>
                  </a:cubicBezTo>
                  <a:cubicBezTo>
                    <a:pt x="571" y="8804"/>
                    <a:pt x="761" y="9009"/>
                    <a:pt x="761" y="9009"/>
                  </a:cubicBezTo>
                  <a:cubicBezTo>
                    <a:pt x="761" y="9213"/>
                    <a:pt x="761" y="9213"/>
                    <a:pt x="761" y="9213"/>
                  </a:cubicBezTo>
                  <a:cubicBezTo>
                    <a:pt x="761" y="9213"/>
                    <a:pt x="856" y="9316"/>
                    <a:pt x="952" y="9418"/>
                  </a:cubicBezTo>
                  <a:cubicBezTo>
                    <a:pt x="952" y="9418"/>
                    <a:pt x="1047" y="9520"/>
                    <a:pt x="1047" y="9520"/>
                  </a:cubicBezTo>
                  <a:cubicBezTo>
                    <a:pt x="1142" y="9725"/>
                    <a:pt x="1142" y="9725"/>
                    <a:pt x="1142" y="9725"/>
                  </a:cubicBezTo>
                  <a:cubicBezTo>
                    <a:pt x="1237" y="9930"/>
                    <a:pt x="1237" y="9930"/>
                    <a:pt x="1237" y="9930"/>
                  </a:cubicBezTo>
                  <a:cubicBezTo>
                    <a:pt x="1332" y="10032"/>
                    <a:pt x="1332" y="10032"/>
                    <a:pt x="1332" y="10032"/>
                  </a:cubicBezTo>
                  <a:cubicBezTo>
                    <a:pt x="1427" y="10237"/>
                    <a:pt x="1427" y="10237"/>
                    <a:pt x="1427" y="10237"/>
                  </a:cubicBezTo>
                  <a:cubicBezTo>
                    <a:pt x="1522" y="10339"/>
                    <a:pt x="1522" y="10339"/>
                    <a:pt x="1522" y="10339"/>
                  </a:cubicBezTo>
                  <a:cubicBezTo>
                    <a:pt x="1618" y="10442"/>
                    <a:pt x="1618" y="10442"/>
                    <a:pt x="1618" y="10442"/>
                  </a:cubicBezTo>
                  <a:cubicBezTo>
                    <a:pt x="1618" y="10442"/>
                    <a:pt x="1618" y="10544"/>
                    <a:pt x="1713" y="10544"/>
                  </a:cubicBezTo>
                  <a:cubicBezTo>
                    <a:pt x="1808" y="10544"/>
                    <a:pt x="1903" y="10544"/>
                    <a:pt x="1903" y="10544"/>
                  </a:cubicBezTo>
                  <a:cubicBezTo>
                    <a:pt x="1998" y="10544"/>
                    <a:pt x="1998" y="10646"/>
                    <a:pt x="2093" y="10339"/>
                  </a:cubicBezTo>
                  <a:cubicBezTo>
                    <a:pt x="2093" y="10135"/>
                    <a:pt x="2093" y="10032"/>
                    <a:pt x="2093" y="10032"/>
                  </a:cubicBezTo>
                  <a:cubicBezTo>
                    <a:pt x="2093" y="10032"/>
                    <a:pt x="2189" y="10032"/>
                    <a:pt x="2189" y="9930"/>
                  </a:cubicBezTo>
                  <a:cubicBezTo>
                    <a:pt x="2284" y="9930"/>
                    <a:pt x="2379" y="9930"/>
                    <a:pt x="2379" y="9827"/>
                  </a:cubicBezTo>
                  <a:cubicBezTo>
                    <a:pt x="2379" y="9623"/>
                    <a:pt x="2189" y="9520"/>
                    <a:pt x="2189" y="9520"/>
                  </a:cubicBezTo>
                  <a:cubicBezTo>
                    <a:pt x="2189" y="9520"/>
                    <a:pt x="2379" y="9418"/>
                    <a:pt x="2474" y="9520"/>
                  </a:cubicBezTo>
                  <a:cubicBezTo>
                    <a:pt x="2474" y="9623"/>
                    <a:pt x="2474" y="9725"/>
                    <a:pt x="2569" y="9623"/>
                  </a:cubicBezTo>
                  <a:cubicBezTo>
                    <a:pt x="2664" y="9418"/>
                    <a:pt x="2664" y="9418"/>
                    <a:pt x="2664" y="9418"/>
                  </a:cubicBezTo>
                  <a:cubicBezTo>
                    <a:pt x="2569" y="9316"/>
                    <a:pt x="2569" y="9213"/>
                    <a:pt x="2569" y="9111"/>
                  </a:cubicBezTo>
                  <a:cubicBezTo>
                    <a:pt x="2569" y="9111"/>
                    <a:pt x="2664" y="9009"/>
                    <a:pt x="2664" y="8906"/>
                  </a:cubicBezTo>
                  <a:cubicBezTo>
                    <a:pt x="2759" y="8804"/>
                    <a:pt x="2759" y="8701"/>
                    <a:pt x="2759" y="8599"/>
                  </a:cubicBezTo>
                  <a:cubicBezTo>
                    <a:pt x="2759" y="8394"/>
                    <a:pt x="2759" y="8497"/>
                    <a:pt x="2855" y="8292"/>
                  </a:cubicBezTo>
                  <a:cubicBezTo>
                    <a:pt x="2855" y="8190"/>
                    <a:pt x="2855" y="8292"/>
                    <a:pt x="2855" y="7882"/>
                  </a:cubicBezTo>
                  <a:cubicBezTo>
                    <a:pt x="2950" y="7575"/>
                    <a:pt x="2950" y="7473"/>
                    <a:pt x="3045" y="7473"/>
                  </a:cubicBezTo>
                  <a:cubicBezTo>
                    <a:pt x="3045" y="7473"/>
                    <a:pt x="3806" y="7780"/>
                    <a:pt x="3806" y="7780"/>
                  </a:cubicBezTo>
                  <a:cubicBezTo>
                    <a:pt x="3806" y="7780"/>
                    <a:pt x="3901" y="7985"/>
                    <a:pt x="3901" y="7985"/>
                  </a:cubicBezTo>
                  <a:cubicBezTo>
                    <a:pt x="3901" y="8087"/>
                    <a:pt x="3901" y="8190"/>
                    <a:pt x="3901" y="8190"/>
                  </a:cubicBezTo>
                  <a:cubicBezTo>
                    <a:pt x="3901" y="8292"/>
                    <a:pt x="3806" y="8497"/>
                    <a:pt x="3806" y="8497"/>
                  </a:cubicBezTo>
                  <a:cubicBezTo>
                    <a:pt x="3806" y="8599"/>
                    <a:pt x="3806" y="8599"/>
                    <a:pt x="3806" y="8599"/>
                  </a:cubicBezTo>
                  <a:cubicBezTo>
                    <a:pt x="3806" y="8599"/>
                    <a:pt x="3616" y="8599"/>
                    <a:pt x="3616" y="8804"/>
                  </a:cubicBezTo>
                  <a:cubicBezTo>
                    <a:pt x="3521" y="8906"/>
                    <a:pt x="3521" y="8906"/>
                    <a:pt x="3616" y="9009"/>
                  </a:cubicBezTo>
                  <a:cubicBezTo>
                    <a:pt x="3711" y="9111"/>
                    <a:pt x="3806" y="9213"/>
                    <a:pt x="3806" y="9213"/>
                  </a:cubicBezTo>
                  <a:cubicBezTo>
                    <a:pt x="3901" y="9213"/>
                    <a:pt x="3996" y="9111"/>
                    <a:pt x="4092" y="9111"/>
                  </a:cubicBezTo>
                  <a:cubicBezTo>
                    <a:pt x="4092" y="9111"/>
                    <a:pt x="4187" y="9111"/>
                    <a:pt x="4187" y="9111"/>
                  </a:cubicBezTo>
                  <a:cubicBezTo>
                    <a:pt x="4187" y="9213"/>
                    <a:pt x="4187" y="9316"/>
                    <a:pt x="4282" y="9418"/>
                  </a:cubicBezTo>
                  <a:cubicBezTo>
                    <a:pt x="4377" y="9418"/>
                    <a:pt x="4472" y="9520"/>
                    <a:pt x="4472" y="9520"/>
                  </a:cubicBezTo>
                  <a:cubicBezTo>
                    <a:pt x="4567" y="9520"/>
                    <a:pt x="4663" y="9520"/>
                    <a:pt x="4663" y="9520"/>
                  </a:cubicBezTo>
                  <a:cubicBezTo>
                    <a:pt x="4663" y="9520"/>
                    <a:pt x="4758" y="9418"/>
                    <a:pt x="4853" y="9418"/>
                  </a:cubicBezTo>
                  <a:cubicBezTo>
                    <a:pt x="4853" y="9418"/>
                    <a:pt x="5138" y="9725"/>
                    <a:pt x="4948" y="9316"/>
                  </a:cubicBezTo>
                  <a:cubicBezTo>
                    <a:pt x="4663" y="9009"/>
                    <a:pt x="4663" y="9009"/>
                    <a:pt x="4663" y="8906"/>
                  </a:cubicBezTo>
                  <a:cubicBezTo>
                    <a:pt x="4567" y="8906"/>
                    <a:pt x="4472" y="8804"/>
                    <a:pt x="4472" y="8804"/>
                  </a:cubicBezTo>
                  <a:cubicBezTo>
                    <a:pt x="4377" y="8804"/>
                    <a:pt x="4377" y="8804"/>
                    <a:pt x="4377" y="8804"/>
                  </a:cubicBezTo>
                  <a:cubicBezTo>
                    <a:pt x="4377" y="8804"/>
                    <a:pt x="4377" y="8701"/>
                    <a:pt x="4377" y="8599"/>
                  </a:cubicBezTo>
                  <a:cubicBezTo>
                    <a:pt x="4472" y="8497"/>
                    <a:pt x="4472" y="8497"/>
                    <a:pt x="4567" y="8497"/>
                  </a:cubicBezTo>
                  <a:cubicBezTo>
                    <a:pt x="4663" y="8497"/>
                    <a:pt x="4663" y="8394"/>
                    <a:pt x="4853" y="8599"/>
                  </a:cubicBezTo>
                  <a:cubicBezTo>
                    <a:pt x="4948" y="8701"/>
                    <a:pt x="4948" y="8701"/>
                    <a:pt x="4948" y="8804"/>
                  </a:cubicBezTo>
                  <a:cubicBezTo>
                    <a:pt x="5043" y="9009"/>
                    <a:pt x="5138" y="9111"/>
                    <a:pt x="5233" y="9213"/>
                  </a:cubicBezTo>
                  <a:cubicBezTo>
                    <a:pt x="5233" y="9213"/>
                    <a:pt x="5329" y="9213"/>
                    <a:pt x="5329" y="9418"/>
                  </a:cubicBezTo>
                  <a:cubicBezTo>
                    <a:pt x="5329" y="9623"/>
                    <a:pt x="5329" y="9827"/>
                    <a:pt x="5329" y="9930"/>
                  </a:cubicBezTo>
                  <a:cubicBezTo>
                    <a:pt x="5329" y="9930"/>
                    <a:pt x="5329" y="10339"/>
                    <a:pt x="5329" y="10339"/>
                  </a:cubicBezTo>
                  <a:cubicBezTo>
                    <a:pt x="5329" y="10339"/>
                    <a:pt x="5329" y="10544"/>
                    <a:pt x="5329" y="10646"/>
                  </a:cubicBezTo>
                  <a:cubicBezTo>
                    <a:pt x="5329" y="10749"/>
                    <a:pt x="5804" y="11465"/>
                    <a:pt x="5804" y="11465"/>
                  </a:cubicBezTo>
                  <a:cubicBezTo>
                    <a:pt x="5804" y="11465"/>
                    <a:pt x="5995" y="11773"/>
                    <a:pt x="6090" y="11773"/>
                  </a:cubicBezTo>
                  <a:cubicBezTo>
                    <a:pt x="6090" y="11773"/>
                    <a:pt x="6185" y="12080"/>
                    <a:pt x="6280" y="12182"/>
                  </a:cubicBezTo>
                  <a:cubicBezTo>
                    <a:pt x="6470" y="12182"/>
                    <a:pt x="6851" y="12387"/>
                    <a:pt x="6851" y="12387"/>
                  </a:cubicBezTo>
                  <a:cubicBezTo>
                    <a:pt x="7517" y="12796"/>
                    <a:pt x="7517" y="12796"/>
                    <a:pt x="7517" y="12796"/>
                  </a:cubicBezTo>
                  <a:cubicBezTo>
                    <a:pt x="7517" y="12796"/>
                    <a:pt x="7707" y="13103"/>
                    <a:pt x="7803" y="13103"/>
                  </a:cubicBezTo>
                  <a:cubicBezTo>
                    <a:pt x="7803" y="13103"/>
                    <a:pt x="8278" y="13103"/>
                    <a:pt x="7898" y="13103"/>
                  </a:cubicBezTo>
                  <a:cubicBezTo>
                    <a:pt x="7612" y="13103"/>
                    <a:pt x="7232" y="12899"/>
                    <a:pt x="7232" y="12899"/>
                  </a:cubicBezTo>
                  <a:cubicBezTo>
                    <a:pt x="7232" y="12899"/>
                    <a:pt x="7137" y="12694"/>
                    <a:pt x="7137" y="12694"/>
                  </a:cubicBezTo>
                  <a:cubicBezTo>
                    <a:pt x="7041" y="12694"/>
                    <a:pt x="6661" y="12591"/>
                    <a:pt x="6566" y="12489"/>
                  </a:cubicBezTo>
                  <a:cubicBezTo>
                    <a:pt x="6566" y="12489"/>
                    <a:pt x="6470" y="12387"/>
                    <a:pt x="6375" y="12284"/>
                  </a:cubicBezTo>
                  <a:cubicBezTo>
                    <a:pt x="6280" y="12080"/>
                    <a:pt x="6090" y="11977"/>
                    <a:pt x="6090" y="11977"/>
                  </a:cubicBezTo>
                  <a:cubicBezTo>
                    <a:pt x="6090" y="11977"/>
                    <a:pt x="5995" y="11875"/>
                    <a:pt x="5900" y="11670"/>
                  </a:cubicBezTo>
                  <a:cubicBezTo>
                    <a:pt x="5804" y="11568"/>
                    <a:pt x="5804" y="11568"/>
                    <a:pt x="5804" y="11465"/>
                  </a:cubicBezTo>
                  <a:cubicBezTo>
                    <a:pt x="5709" y="11465"/>
                    <a:pt x="5804" y="11465"/>
                    <a:pt x="5614" y="11363"/>
                  </a:cubicBezTo>
                  <a:cubicBezTo>
                    <a:pt x="5424" y="11261"/>
                    <a:pt x="5329" y="11158"/>
                    <a:pt x="5329" y="11158"/>
                  </a:cubicBezTo>
                  <a:cubicBezTo>
                    <a:pt x="5233" y="11158"/>
                    <a:pt x="5043" y="11056"/>
                    <a:pt x="5043" y="11056"/>
                  </a:cubicBezTo>
                  <a:cubicBezTo>
                    <a:pt x="5043" y="11056"/>
                    <a:pt x="4853" y="10851"/>
                    <a:pt x="4853" y="10851"/>
                  </a:cubicBezTo>
                  <a:cubicBezTo>
                    <a:pt x="4853" y="10851"/>
                    <a:pt x="4758" y="11056"/>
                    <a:pt x="4948" y="11158"/>
                  </a:cubicBezTo>
                  <a:cubicBezTo>
                    <a:pt x="5043" y="11158"/>
                    <a:pt x="5233" y="11363"/>
                    <a:pt x="5233" y="11363"/>
                  </a:cubicBezTo>
                  <a:cubicBezTo>
                    <a:pt x="5233" y="11363"/>
                    <a:pt x="5424" y="11465"/>
                    <a:pt x="5424" y="11465"/>
                  </a:cubicBezTo>
                  <a:cubicBezTo>
                    <a:pt x="5424" y="11465"/>
                    <a:pt x="5424" y="11670"/>
                    <a:pt x="5424" y="11670"/>
                  </a:cubicBezTo>
                  <a:cubicBezTo>
                    <a:pt x="5424" y="11670"/>
                    <a:pt x="5138" y="11568"/>
                    <a:pt x="5424" y="11670"/>
                  </a:cubicBezTo>
                  <a:cubicBezTo>
                    <a:pt x="5614" y="11773"/>
                    <a:pt x="5804" y="11773"/>
                    <a:pt x="5804" y="11773"/>
                  </a:cubicBezTo>
                  <a:cubicBezTo>
                    <a:pt x="5804" y="11773"/>
                    <a:pt x="5614" y="11875"/>
                    <a:pt x="5519" y="11875"/>
                  </a:cubicBezTo>
                  <a:cubicBezTo>
                    <a:pt x="5519" y="11977"/>
                    <a:pt x="5709" y="12284"/>
                    <a:pt x="5709" y="12182"/>
                  </a:cubicBezTo>
                  <a:cubicBezTo>
                    <a:pt x="5804" y="12182"/>
                    <a:pt x="5900" y="12284"/>
                    <a:pt x="5995" y="12284"/>
                  </a:cubicBezTo>
                  <a:cubicBezTo>
                    <a:pt x="5995" y="12284"/>
                    <a:pt x="6185" y="12284"/>
                    <a:pt x="6185" y="12387"/>
                  </a:cubicBezTo>
                  <a:cubicBezTo>
                    <a:pt x="6280" y="12387"/>
                    <a:pt x="6280" y="12387"/>
                    <a:pt x="6280" y="12489"/>
                  </a:cubicBezTo>
                  <a:cubicBezTo>
                    <a:pt x="6185" y="12489"/>
                    <a:pt x="6280" y="12694"/>
                    <a:pt x="6280" y="12694"/>
                  </a:cubicBezTo>
                  <a:cubicBezTo>
                    <a:pt x="6470" y="12796"/>
                    <a:pt x="6470" y="12796"/>
                    <a:pt x="6470" y="12796"/>
                  </a:cubicBezTo>
                  <a:cubicBezTo>
                    <a:pt x="6470" y="12796"/>
                    <a:pt x="6185" y="12796"/>
                    <a:pt x="6185" y="12694"/>
                  </a:cubicBezTo>
                  <a:cubicBezTo>
                    <a:pt x="6090" y="12694"/>
                    <a:pt x="6090" y="12591"/>
                    <a:pt x="5995" y="12694"/>
                  </a:cubicBezTo>
                  <a:cubicBezTo>
                    <a:pt x="5900" y="12796"/>
                    <a:pt x="5900" y="12796"/>
                    <a:pt x="5900" y="12899"/>
                  </a:cubicBezTo>
                  <a:cubicBezTo>
                    <a:pt x="5995" y="13001"/>
                    <a:pt x="6090" y="13103"/>
                    <a:pt x="6185" y="13001"/>
                  </a:cubicBezTo>
                  <a:cubicBezTo>
                    <a:pt x="6185" y="13001"/>
                    <a:pt x="6185" y="13001"/>
                    <a:pt x="6280" y="12899"/>
                  </a:cubicBezTo>
                  <a:cubicBezTo>
                    <a:pt x="6280" y="12899"/>
                    <a:pt x="6280" y="12899"/>
                    <a:pt x="6375" y="12899"/>
                  </a:cubicBezTo>
                  <a:cubicBezTo>
                    <a:pt x="6375" y="12899"/>
                    <a:pt x="6470" y="12899"/>
                    <a:pt x="6470" y="12899"/>
                  </a:cubicBezTo>
                  <a:cubicBezTo>
                    <a:pt x="6566" y="12796"/>
                    <a:pt x="6566" y="12796"/>
                    <a:pt x="6566" y="12796"/>
                  </a:cubicBezTo>
                  <a:cubicBezTo>
                    <a:pt x="6566" y="12796"/>
                    <a:pt x="6566" y="12796"/>
                    <a:pt x="6566" y="12899"/>
                  </a:cubicBezTo>
                  <a:cubicBezTo>
                    <a:pt x="6566" y="12899"/>
                    <a:pt x="6661" y="12899"/>
                    <a:pt x="6566" y="13001"/>
                  </a:cubicBezTo>
                  <a:cubicBezTo>
                    <a:pt x="6566" y="13103"/>
                    <a:pt x="6470" y="13103"/>
                    <a:pt x="6470" y="13103"/>
                  </a:cubicBezTo>
                  <a:cubicBezTo>
                    <a:pt x="6470" y="13206"/>
                    <a:pt x="6375" y="13103"/>
                    <a:pt x="6470" y="13308"/>
                  </a:cubicBezTo>
                  <a:cubicBezTo>
                    <a:pt x="6470" y="13410"/>
                    <a:pt x="6470" y="13513"/>
                    <a:pt x="6470" y="13513"/>
                  </a:cubicBezTo>
                  <a:cubicBezTo>
                    <a:pt x="6470" y="13513"/>
                    <a:pt x="6566" y="13513"/>
                    <a:pt x="6566" y="13513"/>
                  </a:cubicBezTo>
                  <a:cubicBezTo>
                    <a:pt x="6661" y="13615"/>
                    <a:pt x="6661" y="13718"/>
                    <a:pt x="6661" y="13820"/>
                  </a:cubicBezTo>
                  <a:cubicBezTo>
                    <a:pt x="6756" y="13820"/>
                    <a:pt x="6946" y="14127"/>
                    <a:pt x="6946" y="14127"/>
                  </a:cubicBezTo>
                  <a:cubicBezTo>
                    <a:pt x="6946" y="14127"/>
                    <a:pt x="7232" y="14332"/>
                    <a:pt x="7232" y="14332"/>
                  </a:cubicBezTo>
                  <a:cubicBezTo>
                    <a:pt x="7232" y="14332"/>
                    <a:pt x="7327" y="14434"/>
                    <a:pt x="7327" y="14434"/>
                  </a:cubicBezTo>
                  <a:cubicBezTo>
                    <a:pt x="7327" y="14434"/>
                    <a:pt x="7327" y="14536"/>
                    <a:pt x="7232" y="14434"/>
                  </a:cubicBezTo>
                  <a:cubicBezTo>
                    <a:pt x="7137" y="14332"/>
                    <a:pt x="6946" y="14229"/>
                    <a:pt x="6946" y="14229"/>
                  </a:cubicBezTo>
                  <a:cubicBezTo>
                    <a:pt x="6946" y="14434"/>
                    <a:pt x="6946" y="14434"/>
                    <a:pt x="6946" y="14434"/>
                  </a:cubicBezTo>
                  <a:cubicBezTo>
                    <a:pt x="6946" y="14434"/>
                    <a:pt x="7041" y="14536"/>
                    <a:pt x="7137" y="14536"/>
                  </a:cubicBezTo>
                  <a:cubicBezTo>
                    <a:pt x="7137" y="14639"/>
                    <a:pt x="7137" y="14639"/>
                    <a:pt x="7232" y="14741"/>
                  </a:cubicBezTo>
                  <a:cubicBezTo>
                    <a:pt x="7327" y="14741"/>
                    <a:pt x="7422" y="14741"/>
                    <a:pt x="7517" y="14741"/>
                  </a:cubicBezTo>
                  <a:cubicBezTo>
                    <a:pt x="7517" y="14844"/>
                    <a:pt x="7517" y="14639"/>
                    <a:pt x="7517" y="14639"/>
                  </a:cubicBezTo>
                  <a:cubicBezTo>
                    <a:pt x="7517" y="14639"/>
                    <a:pt x="7612" y="14639"/>
                    <a:pt x="7612" y="14639"/>
                  </a:cubicBezTo>
                  <a:cubicBezTo>
                    <a:pt x="7612" y="14741"/>
                    <a:pt x="7707" y="14844"/>
                    <a:pt x="7612" y="14946"/>
                  </a:cubicBezTo>
                  <a:cubicBezTo>
                    <a:pt x="7612" y="14946"/>
                    <a:pt x="7612" y="15048"/>
                    <a:pt x="7517" y="14946"/>
                  </a:cubicBezTo>
                  <a:cubicBezTo>
                    <a:pt x="7422" y="14946"/>
                    <a:pt x="7327" y="14844"/>
                    <a:pt x="7232" y="14844"/>
                  </a:cubicBezTo>
                  <a:cubicBezTo>
                    <a:pt x="7232" y="14844"/>
                    <a:pt x="7137" y="14741"/>
                    <a:pt x="7041" y="14844"/>
                  </a:cubicBezTo>
                  <a:cubicBezTo>
                    <a:pt x="7041" y="14844"/>
                    <a:pt x="6851" y="14741"/>
                    <a:pt x="6851" y="14844"/>
                  </a:cubicBezTo>
                  <a:cubicBezTo>
                    <a:pt x="6851" y="14946"/>
                    <a:pt x="6851" y="15048"/>
                    <a:pt x="6851" y="15048"/>
                  </a:cubicBezTo>
                  <a:cubicBezTo>
                    <a:pt x="6851" y="15048"/>
                    <a:pt x="6756" y="14639"/>
                    <a:pt x="6661" y="14639"/>
                  </a:cubicBezTo>
                  <a:cubicBezTo>
                    <a:pt x="6566" y="14639"/>
                    <a:pt x="6375" y="14536"/>
                    <a:pt x="6375" y="14536"/>
                  </a:cubicBezTo>
                  <a:cubicBezTo>
                    <a:pt x="6280" y="14332"/>
                    <a:pt x="6280" y="14332"/>
                    <a:pt x="6280" y="14332"/>
                  </a:cubicBezTo>
                  <a:cubicBezTo>
                    <a:pt x="6280" y="14332"/>
                    <a:pt x="6375" y="14332"/>
                    <a:pt x="6375" y="14332"/>
                  </a:cubicBezTo>
                  <a:cubicBezTo>
                    <a:pt x="6470" y="14434"/>
                    <a:pt x="6375" y="14434"/>
                    <a:pt x="6470" y="14434"/>
                  </a:cubicBezTo>
                  <a:cubicBezTo>
                    <a:pt x="6566" y="14434"/>
                    <a:pt x="6375" y="14229"/>
                    <a:pt x="6566" y="14229"/>
                  </a:cubicBezTo>
                  <a:cubicBezTo>
                    <a:pt x="6756" y="14229"/>
                    <a:pt x="6756" y="14229"/>
                    <a:pt x="6756" y="14229"/>
                  </a:cubicBezTo>
                  <a:cubicBezTo>
                    <a:pt x="6756" y="14127"/>
                    <a:pt x="6946" y="14127"/>
                    <a:pt x="6756" y="14025"/>
                  </a:cubicBezTo>
                  <a:cubicBezTo>
                    <a:pt x="6566" y="13922"/>
                    <a:pt x="6566" y="13922"/>
                    <a:pt x="6566" y="13922"/>
                  </a:cubicBezTo>
                  <a:cubicBezTo>
                    <a:pt x="6470" y="13922"/>
                    <a:pt x="6470" y="13922"/>
                    <a:pt x="6470" y="13820"/>
                  </a:cubicBezTo>
                  <a:cubicBezTo>
                    <a:pt x="6375" y="13718"/>
                    <a:pt x="6375" y="13615"/>
                    <a:pt x="6280" y="13615"/>
                  </a:cubicBezTo>
                  <a:cubicBezTo>
                    <a:pt x="6280" y="13615"/>
                    <a:pt x="5995" y="13615"/>
                    <a:pt x="5995" y="13615"/>
                  </a:cubicBezTo>
                  <a:cubicBezTo>
                    <a:pt x="5995" y="13615"/>
                    <a:pt x="5900" y="13513"/>
                    <a:pt x="5804" y="13513"/>
                  </a:cubicBezTo>
                  <a:cubicBezTo>
                    <a:pt x="5709" y="13513"/>
                    <a:pt x="5519" y="13308"/>
                    <a:pt x="5519" y="13308"/>
                  </a:cubicBezTo>
                  <a:cubicBezTo>
                    <a:pt x="5424" y="13206"/>
                    <a:pt x="5138" y="13103"/>
                    <a:pt x="5138" y="13103"/>
                  </a:cubicBezTo>
                  <a:cubicBezTo>
                    <a:pt x="5138" y="13103"/>
                    <a:pt x="5043" y="13001"/>
                    <a:pt x="4948" y="13001"/>
                  </a:cubicBezTo>
                  <a:cubicBezTo>
                    <a:pt x="4853" y="13001"/>
                    <a:pt x="4853" y="13001"/>
                    <a:pt x="4758" y="13001"/>
                  </a:cubicBezTo>
                  <a:cubicBezTo>
                    <a:pt x="4663" y="12899"/>
                    <a:pt x="4567" y="12796"/>
                    <a:pt x="4567" y="12796"/>
                  </a:cubicBezTo>
                  <a:cubicBezTo>
                    <a:pt x="4472" y="12694"/>
                    <a:pt x="4377" y="12694"/>
                    <a:pt x="4377" y="12694"/>
                  </a:cubicBezTo>
                  <a:cubicBezTo>
                    <a:pt x="4472" y="12796"/>
                    <a:pt x="4377" y="12796"/>
                    <a:pt x="4567" y="12899"/>
                  </a:cubicBezTo>
                  <a:cubicBezTo>
                    <a:pt x="4663" y="13001"/>
                    <a:pt x="4758" y="13001"/>
                    <a:pt x="4758" y="13001"/>
                  </a:cubicBezTo>
                  <a:cubicBezTo>
                    <a:pt x="4758" y="13001"/>
                    <a:pt x="4853" y="13103"/>
                    <a:pt x="4853" y="13103"/>
                  </a:cubicBezTo>
                  <a:cubicBezTo>
                    <a:pt x="4853" y="13206"/>
                    <a:pt x="4948" y="13103"/>
                    <a:pt x="5043" y="13103"/>
                  </a:cubicBezTo>
                  <a:cubicBezTo>
                    <a:pt x="5043" y="13206"/>
                    <a:pt x="5138" y="13206"/>
                    <a:pt x="5138" y="13308"/>
                  </a:cubicBezTo>
                  <a:cubicBezTo>
                    <a:pt x="5138" y="13308"/>
                    <a:pt x="5424" y="13308"/>
                    <a:pt x="5424" y="13410"/>
                  </a:cubicBezTo>
                  <a:cubicBezTo>
                    <a:pt x="5424" y="13513"/>
                    <a:pt x="5519" y="13615"/>
                    <a:pt x="5424" y="13615"/>
                  </a:cubicBezTo>
                  <a:cubicBezTo>
                    <a:pt x="5424" y="13615"/>
                    <a:pt x="5329" y="13718"/>
                    <a:pt x="5329" y="13718"/>
                  </a:cubicBezTo>
                  <a:cubicBezTo>
                    <a:pt x="5424" y="13718"/>
                    <a:pt x="5519" y="13820"/>
                    <a:pt x="5614" y="13820"/>
                  </a:cubicBezTo>
                  <a:cubicBezTo>
                    <a:pt x="5709" y="13820"/>
                    <a:pt x="5614" y="13820"/>
                    <a:pt x="5804" y="13922"/>
                  </a:cubicBezTo>
                  <a:cubicBezTo>
                    <a:pt x="5995" y="13922"/>
                    <a:pt x="5995" y="14127"/>
                    <a:pt x="5995" y="14127"/>
                  </a:cubicBezTo>
                  <a:cubicBezTo>
                    <a:pt x="5995" y="14229"/>
                    <a:pt x="6185" y="14332"/>
                    <a:pt x="6185" y="14332"/>
                  </a:cubicBezTo>
                  <a:cubicBezTo>
                    <a:pt x="6185" y="14332"/>
                    <a:pt x="6090" y="14332"/>
                    <a:pt x="6185" y="14434"/>
                  </a:cubicBezTo>
                  <a:cubicBezTo>
                    <a:pt x="6185" y="14434"/>
                    <a:pt x="6090" y="14434"/>
                    <a:pt x="6185" y="14536"/>
                  </a:cubicBezTo>
                  <a:cubicBezTo>
                    <a:pt x="6280" y="14536"/>
                    <a:pt x="6375" y="14536"/>
                    <a:pt x="6375" y="14536"/>
                  </a:cubicBezTo>
                  <a:cubicBezTo>
                    <a:pt x="6375" y="14639"/>
                    <a:pt x="6375" y="14639"/>
                    <a:pt x="6375" y="14741"/>
                  </a:cubicBezTo>
                  <a:cubicBezTo>
                    <a:pt x="6375" y="14741"/>
                    <a:pt x="6185" y="14946"/>
                    <a:pt x="6470" y="14946"/>
                  </a:cubicBezTo>
                  <a:cubicBezTo>
                    <a:pt x="6661" y="14946"/>
                    <a:pt x="6661" y="14946"/>
                    <a:pt x="6661" y="14946"/>
                  </a:cubicBezTo>
                  <a:cubicBezTo>
                    <a:pt x="6756" y="15048"/>
                    <a:pt x="6756" y="15048"/>
                    <a:pt x="6756" y="15048"/>
                  </a:cubicBezTo>
                  <a:cubicBezTo>
                    <a:pt x="6756" y="15048"/>
                    <a:pt x="6661" y="15151"/>
                    <a:pt x="6756" y="15253"/>
                  </a:cubicBezTo>
                  <a:cubicBezTo>
                    <a:pt x="6756" y="15355"/>
                    <a:pt x="7137" y="15355"/>
                    <a:pt x="7137" y="15355"/>
                  </a:cubicBezTo>
                  <a:cubicBezTo>
                    <a:pt x="7137" y="15253"/>
                    <a:pt x="7137" y="15253"/>
                    <a:pt x="7137" y="15253"/>
                  </a:cubicBezTo>
                  <a:cubicBezTo>
                    <a:pt x="7137" y="15253"/>
                    <a:pt x="7327" y="15355"/>
                    <a:pt x="7232" y="15355"/>
                  </a:cubicBezTo>
                  <a:cubicBezTo>
                    <a:pt x="7232" y="15458"/>
                    <a:pt x="7137" y="15458"/>
                    <a:pt x="7137" y="15458"/>
                  </a:cubicBezTo>
                  <a:cubicBezTo>
                    <a:pt x="7137" y="15458"/>
                    <a:pt x="7137" y="15663"/>
                    <a:pt x="7232" y="15663"/>
                  </a:cubicBezTo>
                  <a:cubicBezTo>
                    <a:pt x="7327" y="15663"/>
                    <a:pt x="7422" y="15765"/>
                    <a:pt x="7422" y="15765"/>
                  </a:cubicBezTo>
                  <a:cubicBezTo>
                    <a:pt x="7422" y="15765"/>
                    <a:pt x="7517" y="15765"/>
                    <a:pt x="7517" y="15867"/>
                  </a:cubicBezTo>
                  <a:cubicBezTo>
                    <a:pt x="7612" y="15867"/>
                    <a:pt x="7612" y="15970"/>
                    <a:pt x="7612" y="15970"/>
                  </a:cubicBezTo>
                  <a:cubicBezTo>
                    <a:pt x="7707" y="15970"/>
                    <a:pt x="7803" y="15970"/>
                    <a:pt x="7803" y="16072"/>
                  </a:cubicBezTo>
                  <a:cubicBezTo>
                    <a:pt x="7898" y="16072"/>
                    <a:pt x="7993" y="16174"/>
                    <a:pt x="7993" y="16072"/>
                  </a:cubicBezTo>
                  <a:cubicBezTo>
                    <a:pt x="7993" y="15970"/>
                    <a:pt x="8088" y="15970"/>
                    <a:pt x="7993" y="15867"/>
                  </a:cubicBezTo>
                  <a:cubicBezTo>
                    <a:pt x="7898" y="15765"/>
                    <a:pt x="7803" y="15765"/>
                    <a:pt x="7707" y="15765"/>
                  </a:cubicBezTo>
                  <a:cubicBezTo>
                    <a:pt x="7707" y="15765"/>
                    <a:pt x="7612" y="15765"/>
                    <a:pt x="7612" y="15663"/>
                  </a:cubicBezTo>
                  <a:cubicBezTo>
                    <a:pt x="7517" y="15663"/>
                    <a:pt x="7517" y="15663"/>
                    <a:pt x="7517" y="15560"/>
                  </a:cubicBezTo>
                  <a:cubicBezTo>
                    <a:pt x="7517" y="15458"/>
                    <a:pt x="7422" y="15355"/>
                    <a:pt x="7422" y="15355"/>
                  </a:cubicBezTo>
                  <a:cubicBezTo>
                    <a:pt x="7422" y="15355"/>
                    <a:pt x="7422" y="15151"/>
                    <a:pt x="7422" y="15151"/>
                  </a:cubicBezTo>
                  <a:cubicBezTo>
                    <a:pt x="7327" y="15151"/>
                    <a:pt x="7327" y="15151"/>
                    <a:pt x="7232" y="15151"/>
                  </a:cubicBezTo>
                  <a:cubicBezTo>
                    <a:pt x="7232" y="15151"/>
                    <a:pt x="7137" y="15048"/>
                    <a:pt x="7137" y="15048"/>
                  </a:cubicBezTo>
                  <a:cubicBezTo>
                    <a:pt x="7041" y="15048"/>
                    <a:pt x="6946" y="15048"/>
                    <a:pt x="6946" y="15048"/>
                  </a:cubicBezTo>
                  <a:cubicBezTo>
                    <a:pt x="6946" y="14946"/>
                    <a:pt x="7041" y="14946"/>
                    <a:pt x="7041" y="14946"/>
                  </a:cubicBezTo>
                  <a:cubicBezTo>
                    <a:pt x="7041" y="14946"/>
                    <a:pt x="7137" y="14946"/>
                    <a:pt x="7232" y="14946"/>
                  </a:cubicBezTo>
                  <a:cubicBezTo>
                    <a:pt x="7327" y="15048"/>
                    <a:pt x="7327" y="14946"/>
                    <a:pt x="7422" y="15048"/>
                  </a:cubicBezTo>
                  <a:cubicBezTo>
                    <a:pt x="7517" y="15048"/>
                    <a:pt x="7422" y="15151"/>
                    <a:pt x="7517" y="15151"/>
                  </a:cubicBezTo>
                  <a:cubicBezTo>
                    <a:pt x="7707" y="15151"/>
                    <a:pt x="7707" y="15048"/>
                    <a:pt x="7707" y="15048"/>
                  </a:cubicBezTo>
                  <a:cubicBezTo>
                    <a:pt x="7898" y="14946"/>
                    <a:pt x="7898" y="14946"/>
                    <a:pt x="7898" y="14946"/>
                  </a:cubicBezTo>
                  <a:cubicBezTo>
                    <a:pt x="7898" y="14946"/>
                    <a:pt x="7898" y="14946"/>
                    <a:pt x="7993" y="15048"/>
                  </a:cubicBezTo>
                  <a:cubicBezTo>
                    <a:pt x="8088" y="15048"/>
                    <a:pt x="7898" y="15151"/>
                    <a:pt x="8088" y="15151"/>
                  </a:cubicBezTo>
                  <a:cubicBezTo>
                    <a:pt x="8278" y="15151"/>
                    <a:pt x="8374" y="15151"/>
                    <a:pt x="8374" y="15151"/>
                  </a:cubicBezTo>
                  <a:cubicBezTo>
                    <a:pt x="8374" y="15253"/>
                    <a:pt x="8374" y="15355"/>
                    <a:pt x="8374" y="15355"/>
                  </a:cubicBezTo>
                  <a:cubicBezTo>
                    <a:pt x="8374" y="15355"/>
                    <a:pt x="8374" y="15458"/>
                    <a:pt x="8374" y="15458"/>
                  </a:cubicBezTo>
                  <a:cubicBezTo>
                    <a:pt x="8469" y="15458"/>
                    <a:pt x="8659" y="15458"/>
                    <a:pt x="8659" y="15458"/>
                  </a:cubicBezTo>
                  <a:cubicBezTo>
                    <a:pt x="8659" y="15458"/>
                    <a:pt x="8754" y="15458"/>
                    <a:pt x="8754" y="15560"/>
                  </a:cubicBezTo>
                  <a:cubicBezTo>
                    <a:pt x="8849" y="15663"/>
                    <a:pt x="8564" y="15765"/>
                    <a:pt x="8564" y="15765"/>
                  </a:cubicBezTo>
                  <a:cubicBezTo>
                    <a:pt x="8564" y="15765"/>
                    <a:pt x="8469" y="15663"/>
                    <a:pt x="8469" y="15765"/>
                  </a:cubicBezTo>
                  <a:cubicBezTo>
                    <a:pt x="8469" y="15867"/>
                    <a:pt x="8374" y="15867"/>
                    <a:pt x="8469" y="15970"/>
                  </a:cubicBezTo>
                  <a:cubicBezTo>
                    <a:pt x="8564" y="15970"/>
                    <a:pt x="8469" y="15970"/>
                    <a:pt x="8469" y="15970"/>
                  </a:cubicBezTo>
                  <a:cubicBezTo>
                    <a:pt x="8374" y="15970"/>
                    <a:pt x="8278" y="15867"/>
                    <a:pt x="8374" y="16072"/>
                  </a:cubicBezTo>
                  <a:cubicBezTo>
                    <a:pt x="8374" y="16174"/>
                    <a:pt x="8469" y="16277"/>
                    <a:pt x="8469" y="16277"/>
                  </a:cubicBezTo>
                  <a:cubicBezTo>
                    <a:pt x="8564" y="16277"/>
                    <a:pt x="8754" y="16277"/>
                    <a:pt x="8754" y="16277"/>
                  </a:cubicBezTo>
                  <a:cubicBezTo>
                    <a:pt x="8849" y="16277"/>
                    <a:pt x="8944" y="16277"/>
                    <a:pt x="8849" y="16277"/>
                  </a:cubicBezTo>
                  <a:cubicBezTo>
                    <a:pt x="8754" y="16174"/>
                    <a:pt x="8659" y="16174"/>
                    <a:pt x="8659" y="16174"/>
                  </a:cubicBezTo>
                  <a:cubicBezTo>
                    <a:pt x="8659" y="16174"/>
                    <a:pt x="8659" y="16174"/>
                    <a:pt x="8659" y="16072"/>
                  </a:cubicBezTo>
                  <a:cubicBezTo>
                    <a:pt x="8659" y="16072"/>
                    <a:pt x="8754" y="16072"/>
                    <a:pt x="8754" y="16072"/>
                  </a:cubicBezTo>
                  <a:cubicBezTo>
                    <a:pt x="8754" y="15970"/>
                    <a:pt x="8849" y="15867"/>
                    <a:pt x="8849" y="15867"/>
                  </a:cubicBezTo>
                  <a:cubicBezTo>
                    <a:pt x="8849" y="15867"/>
                    <a:pt x="8944" y="15663"/>
                    <a:pt x="9040" y="15765"/>
                  </a:cubicBezTo>
                  <a:cubicBezTo>
                    <a:pt x="9040" y="15867"/>
                    <a:pt x="9040" y="15867"/>
                    <a:pt x="9135" y="15867"/>
                  </a:cubicBezTo>
                  <a:cubicBezTo>
                    <a:pt x="9135" y="15867"/>
                    <a:pt x="9420" y="15560"/>
                    <a:pt x="9420" y="15560"/>
                  </a:cubicBezTo>
                  <a:cubicBezTo>
                    <a:pt x="9420" y="15560"/>
                    <a:pt x="9515" y="15560"/>
                    <a:pt x="9420" y="15663"/>
                  </a:cubicBezTo>
                  <a:cubicBezTo>
                    <a:pt x="9420" y="15765"/>
                    <a:pt x="9325" y="15867"/>
                    <a:pt x="9420" y="15970"/>
                  </a:cubicBezTo>
                  <a:cubicBezTo>
                    <a:pt x="9420" y="16072"/>
                    <a:pt x="9420" y="16072"/>
                    <a:pt x="9420" y="16072"/>
                  </a:cubicBezTo>
                  <a:cubicBezTo>
                    <a:pt x="9515" y="16174"/>
                    <a:pt x="9420" y="16174"/>
                    <a:pt x="9515" y="16277"/>
                  </a:cubicBezTo>
                  <a:cubicBezTo>
                    <a:pt x="9515" y="16379"/>
                    <a:pt x="9515" y="16277"/>
                    <a:pt x="9515" y="16379"/>
                  </a:cubicBezTo>
                  <a:cubicBezTo>
                    <a:pt x="9611" y="16482"/>
                    <a:pt x="9706" y="16686"/>
                    <a:pt x="9706" y="16686"/>
                  </a:cubicBezTo>
                  <a:cubicBezTo>
                    <a:pt x="9706" y="16686"/>
                    <a:pt x="9611" y="16789"/>
                    <a:pt x="9706" y="16789"/>
                  </a:cubicBezTo>
                  <a:cubicBezTo>
                    <a:pt x="9801" y="16891"/>
                    <a:pt x="9991" y="16891"/>
                    <a:pt x="9991" y="16891"/>
                  </a:cubicBezTo>
                  <a:cubicBezTo>
                    <a:pt x="9991" y="16891"/>
                    <a:pt x="9991" y="16891"/>
                    <a:pt x="9991" y="16891"/>
                  </a:cubicBezTo>
                  <a:cubicBezTo>
                    <a:pt x="9991" y="16891"/>
                    <a:pt x="10086" y="16993"/>
                    <a:pt x="10181" y="16891"/>
                  </a:cubicBezTo>
                  <a:cubicBezTo>
                    <a:pt x="10181" y="16789"/>
                    <a:pt x="10277" y="16789"/>
                    <a:pt x="10277" y="16789"/>
                  </a:cubicBezTo>
                  <a:cubicBezTo>
                    <a:pt x="10372" y="16789"/>
                    <a:pt x="10277" y="16789"/>
                    <a:pt x="10467" y="16789"/>
                  </a:cubicBezTo>
                  <a:cubicBezTo>
                    <a:pt x="10657" y="16789"/>
                    <a:pt x="10657" y="16891"/>
                    <a:pt x="10752" y="16789"/>
                  </a:cubicBezTo>
                  <a:cubicBezTo>
                    <a:pt x="10848" y="16686"/>
                    <a:pt x="10752" y="16686"/>
                    <a:pt x="10943" y="16686"/>
                  </a:cubicBezTo>
                  <a:cubicBezTo>
                    <a:pt x="11133" y="16686"/>
                    <a:pt x="11323" y="16584"/>
                    <a:pt x="11323" y="16584"/>
                  </a:cubicBezTo>
                  <a:cubicBezTo>
                    <a:pt x="11323" y="16584"/>
                    <a:pt x="11609" y="16584"/>
                    <a:pt x="11609" y="16584"/>
                  </a:cubicBezTo>
                  <a:cubicBezTo>
                    <a:pt x="11799" y="16686"/>
                    <a:pt x="11799" y="16686"/>
                    <a:pt x="11799" y="16686"/>
                  </a:cubicBezTo>
                  <a:cubicBezTo>
                    <a:pt x="11799" y="16686"/>
                    <a:pt x="11894" y="16789"/>
                    <a:pt x="11989" y="16789"/>
                  </a:cubicBezTo>
                  <a:cubicBezTo>
                    <a:pt x="11989" y="16789"/>
                    <a:pt x="12085" y="16789"/>
                    <a:pt x="12180" y="16789"/>
                  </a:cubicBezTo>
                  <a:cubicBezTo>
                    <a:pt x="12180" y="16789"/>
                    <a:pt x="12560" y="16891"/>
                    <a:pt x="12560" y="16891"/>
                  </a:cubicBezTo>
                  <a:cubicBezTo>
                    <a:pt x="12941" y="16993"/>
                    <a:pt x="12941" y="16993"/>
                    <a:pt x="12941" y="16993"/>
                  </a:cubicBezTo>
                  <a:cubicBezTo>
                    <a:pt x="13131" y="17096"/>
                    <a:pt x="13131" y="17096"/>
                    <a:pt x="13131" y="17096"/>
                  </a:cubicBezTo>
                  <a:cubicBezTo>
                    <a:pt x="13512" y="17403"/>
                    <a:pt x="13512" y="17403"/>
                    <a:pt x="13512" y="17403"/>
                  </a:cubicBezTo>
                  <a:cubicBezTo>
                    <a:pt x="13893" y="17812"/>
                    <a:pt x="13893" y="17812"/>
                    <a:pt x="13893" y="17812"/>
                  </a:cubicBezTo>
                  <a:cubicBezTo>
                    <a:pt x="14368" y="18017"/>
                    <a:pt x="14368" y="18017"/>
                    <a:pt x="14368" y="18017"/>
                  </a:cubicBezTo>
                  <a:cubicBezTo>
                    <a:pt x="14654" y="18222"/>
                    <a:pt x="14654" y="18222"/>
                    <a:pt x="14654" y="18222"/>
                  </a:cubicBezTo>
                  <a:cubicBezTo>
                    <a:pt x="14844" y="18427"/>
                    <a:pt x="14844" y="18427"/>
                    <a:pt x="14844" y="18427"/>
                  </a:cubicBezTo>
                  <a:cubicBezTo>
                    <a:pt x="14844" y="18427"/>
                    <a:pt x="15130" y="18631"/>
                    <a:pt x="15130" y="18631"/>
                  </a:cubicBezTo>
                  <a:cubicBezTo>
                    <a:pt x="15225" y="18631"/>
                    <a:pt x="15510" y="18836"/>
                    <a:pt x="15510" y="18836"/>
                  </a:cubicBezTo>
                  <a:cubicBezTo>
                    <a:pt x="15796" y="19041"/>
                    <a:pt x="15796" y="19041"/>
                    <a:pt x="15796" y="19041"/>
                  </a:cubicBezTo>
                  <a:cubicBezTo>
                    <a:pt x="15796" y="19041"/>
                    <a:pt x="15891" y="19245"/>
                    <a:pt x="15891" y="19245"/>
                  </a:cubicBezTo>
                  <a:cubicBezTo>
                    <a:pt x="15891" y="19348"/>
                    <a:pt x="15796" y="19245"/>
                    <a:pt x="15700" y="19245"/>
                  </a:cubicBezTo>
                  <a:cubicBezTo>
                    <a:pt x="15605" y="19348"/>
                    <a:pt x="15225" y="19143"/>
                    <a:pt x="15225" y="19143"/>
                  </a:cubicBezTo>
                  <a:cubicBezTo>
                    <a:pt x="15034" y="18938"/>
                    <a:pt x="15034" y="18938"/>
                    <a:pt x="15034" y="18938"/>
                  </a:cubicBezTo>
                  <a:cubicBezTo>
                    <a:pt x="14749" y="18938"/>
                    <a:pt x="14749" y="18938"/>
                    <a:pt x="14749" y="18938"/>
                  </a:cubicBezTo>
                  <a:cubicBezTo>
                    <a:pt x="14559" y="18836"/>
                    <a:pt x="14559" y="18836"/>
                    <a:pt x="14559" y="18836"/>
                  </a:cubicBezTo>
                  <a:cubicBezTo>
                    <a:pt x="14178" y="18938"/>
                    <a:pt x="14178" y="18938"/>
                    <a:pt x="14178" y="18938"/>
                  </a:cubicBezTo>
                  <a:cubicBezTo>
                    <a:pt x="13893" y="18836"/>
                    <a:pt x="13893" y="18836"/>
                    <a:pt x="13893" y="18836"/>
                  </a:cubicBezTo>
                  <a:cubicBezTo>
                    <a:pt x="13893" y="18836"/>
                    <a:pt x="13797" y="18836"/>
                    <a:pt x="13893" y="18938"/>
                  </a:cubicBezTo>
                  <a:cubicBezTo>
                    <a:pt x="13893" y="18938"/>
                    <a:pt x="13893" y="19041"/>
                    <a:pt x="13893" y="19041"/>
                  </a:cubicBezTo>
                  <a:cubicBezTo>
                    <a:pt x="13607" y="19245"/>
                    <a:pt x="13607" y="19245"/>
                    <a:pt x="13607" y="19245"/>
                  </a:cubicBezTo>
                  <a:cubicBezTo>
                    <a:pt x="13226" y="19348"/>
                    <a:pt x="13226" y="19348"/>
                    <a:pt x="13226" y="19348"/>
                  </a:cubicBezTo>
                  <a:cubicBezTo>
                    <a:pt x="12846" y="19348"/>
                    <a:pt x="12846" y="19348"/>
                    <a:pt x="12846" y="19348"/>
                  </a:cubicBezTo>
                  <a:cubicBezTo>
                    <a:pt x="12560" y="19348"/>
                    <a:pt x="12560" y="19348"/>
                    <a:pt x="12560" y="19348"/>
                  </a:cubicBezTo>
                  <a:cubicBezTo>
                    <a:pt x="12560" y="19553"/>
                    <a:pt x="12560" y="19553"/>
                    <a:pt x="12560" y="19553"/>
                  </a:cubicBezTo>
                  <a:cubicBezTo>
                    <a:pt x="12560" y="19553"/>
                    <a:pt x="12180" y="19553"/>
                    <a:pt x="12560" y="19655"/>
                  </a:cubicBezTo>
                  <a:cubicBezTo>
                    <a:pt x="12941" y="19655"/>
                    <a:pt x="13131" y="19655"/>
                    <a:pt x="13131" y="19553"/>
                  </a:cubicBezTo>
                  <a:cubicBezTo>
                    <a:pt x="13226" y="19553"/>
                    <a:pt x="13226" y="19450"/>
                    <a:pt x="13322" y="19450"/>
                  </a:cubicBezTo>
                  <a:cubicBezTo>
                    <a:pt x="13417" y="19450"/>
                    <a:pt x="13607" y="19450"/>
                    <a:pt x="13702" y="19450"/>
                  </a:cubicBezTo>
                  <a:cubicBezTo>
                    <a:pt x="13702" y="19450"/>
                    <a:pt x="13797" y="19450"/>
                    <a:pt x="13988" y="19348"/>
                  </a:cubicBezTo>
                  <a:cubicBezTo>
                    <a:pt x="14083" y="19348"/>
                    <a:pt x="14083" y="19245"/>
                    <a:pt x="14273" y="19348"/>
                  </a:cubicBezTo>
                  <a:cubicBezTo>
                    <a:pt x="14463" y="19450"/>
                    <a:pt x="14368" y="19143"/>
                    <a:pt x="14368" y="19143"/>
                  </a:cubicBezTo>
                  <a:cubicBezTo>
                    <a:pt x="14368" y="19143"/>
                    <a:pt x="14368" y="19041"/>
                    <a:pt x="14463" y="19041"/>
                  </a:cubicBezTo>
                  <a:cubicBezTo>
                    <a:pt x="14654" y="19143"/>
                    <a:pt x="14654" y="19143"/>
                    <a:pt x="14654" y="19143"/>
                  </a:cubicBezTo>
                  <a:cubicBezTo>
                    <a:pt x="14749" y="19143"/>
                    <a:pt x="14939" y="19245"/>
                    <a:pt x="14939" y="19245"/>
                  </a:cubicBezTo>
                  <a:cubicBezTo>
                    <a:pt x="15034" y="19245"/>
                    <a:pt x="15415" y="19348"/>
                    <a:pt x="15415" y="19348"/>
                  </a:cubicBezTo>
                  <a:cubicBezTo>
                    <a:pt x="15415" y="19348"/>
                    <a:pt x="15510" y="19655"/>
                    <a:pt x="15510" y="19655"/>
                  </a:cubicBezTo>
                  <a:cubicBezTo>
                    <a:pt x="15605" y="19655"/>
                    <a:pt x="15891" y="19655"/>
                    <a:pt x="15986" y="19655"/>
                  </a:cubicBezTo>
                  <a:cubicBezTo>
                    <a:pt x="16081" y="19655"/>
                    <a:pt x="16271" y="19655"/>
                    <a:pt x="16367" y="19757"/>
                  </a:cubicBezTo>
                  <a:cubicBezTo>
                    <a:pt x="16462" y="19860"/>
                    <a:pt x="16557" y="19860"/>
                    <a:pt x="16557" y="19860"/>
                  </a:cubicBezTo>
                  <a:cubicBezTo>
                    <a:pt x="16557" y="19860"/>
                    <a:pt x="16652" y="19962"/>
                    <a:pt x="16747" y="20064"/>
                  </a:cubicBezTo>
                  <a:cubicBezTo>
                    <a:pt x="16747" y="20064"/>
                    <a:pt x="17033" y="20269"/>
                    <a:pt x="17033" y="20269"/>
                  </a:cubicBezTo>
                  <a:cubicBezTo>
                    <a:pt x="17033" y="20269"/>
                    <a:pt x="17508" y="20474"/>
                    <a:pt x="17508" y="20474"/>
                  </a:cubicBezTo>
                  <a:cubicBezTo>
                    <a:pt x="17604" y="20372"/>
                    <a:pt x="17604" y="20372"/>
                    <a:pt x="17604" y="20372"/>
                  </a:cubicBezTo>
                  <a:cubicBezTo>
                    <a:pt x="17604" y="20269"/>
                    <a:pt x="17604" y="20167"/>
                    <a:pt x="17604" y="20167"/>
                  </a:cubicBezTo>
                  <a:cubicBezTo>
                    <a:pt x="17508" y="20064"/>
                    <a:pt x="17128" y="19962"/>
                    <a:pt x="17128" y="19962"/>
                  </a:cubicBezTo>
                  <a:cubicBezTo>
                    <a:pt x="17128" y="19962"/>
                    <a:pt x="16937" y="19860"/>
                    <a:pt x="16937" y="19860"/>
                  </a:cubicBezTo>
                  <a:cubicBezTo>
                    <a:pt x="16842" y="19348"/>
                    <a:pt x="16937" y="19757"/>
                    <a:pt x="16652" y="19655"/>
                  </a:cubicBezTo>
                  <a:cubicBezTo>
                    <a:pt x="16652" y="19655"/>
                    <a:pt x="16652" y="19655"/>
                    <a:pt x="16652" y="19655"/>
                  </a:cubicBezTo>
                  <a:cubicBezTo>
                    <a:pt x="16652" y="19655"/>
                    <a:pt x="16652" y="19655"/>
                    <a:pt x="16652" y="19655"/>
                  </a:cubicBezTo>
                  <a:cubicBezTo>
                    <a:pt x="16462" y="19757"/>
                    <a:pt x="16462" y="19655"/>
                    <a:pt x="16462" y="19655"/>
                  </a:cubicBezTo>
                  <a:cubicBezTo>
                    <a:pt x="16462" y="19553"/>
                    <a:pt x="16462" y="19553"/>
                    <a:pt x="16462" y="19553"/>
                  </a:cubicBezTo>
                  <a:cubicBezTo>
                    <a:pt x="16367" y="19450"/>
                    <a:pt x="16367" y="19450"/>
                    <a:pt x="16367" y="19450"/>
                  </a:cubicBezTo>
                  <a:cubicBezTo>
                    <a:pt x="16367" y="19450"/>
                    <a:pt x="16271" y="19245"/>
                    <a:pt x="16367" y="19143"/>
                  </a:cubicBezTo>
                  <a:cubicBezTo>
                    <a:pt x="16462" y="19143"/>
                    <a:pt x="16271" y="19655"/>
                    <a:pt x="16652" y="19041"/>
                  </a:cubicBezTo>
                  <a:cubicBezTo>
                    <a:pt x="16652" y="19041"/>
                    <a:pt x="16652" y="18938"/>
                    <a:pt x="16652" y="18938"/>
                  </a:cubicBezTo>
                  <a:cubicBezTo>
                    <a:pt x="16557" y="18938"/>
                    <a:pt x="16557" y="18938"/>
                    <a:pt x="16557" y="18938"/>
                  </a:cubicBezTo>
                  <a:cubicBezTo>
                    <a:pt x="16271" y="18938"/>
                    <a:pt x="16271" y="18938"/>
                    <a:pt x="16271" y="18938"/>
                  </a:cubicBezTo>
                  <a:cubicBezTo>
                    <a:pt x="16271" y="18938"/>
                    <a:pt x="16271" y="19041"/>
                    <a:pt x="16176" y="19143"/>
                  </a:cubicBezTo>
                  <a:cubicBezTo>
                    <a:pt x="16081" y="19245"/>
                    <a:pt x="16081" y="19143"/>
                    <a:pt x="16081" y="19143"/>
                  </a:cubicBezTo>
                  <a:cubicBezTo>
                    <a:pt x="16081" y="19041"/>
                    <a:pt x="16081" y="19041"/>
                    <a:pt x="16081" y="19041"/>
                  </a:cubicBezTo>
                  <a:cubicBezTo>
                    <a:pt x="16176" y="18938"/>
                    <a:pt x="16176" y="18938"/>
                    <a:pt x="16176" y="18938"/>
                  </a:cubicBezTo>
                  <a:cubicBezTo>
                    <a:pt x="16176" y="18938"/>
                    <a:pt x="16176" y="18631"/>
                    <a:pt x="16176" y="18529"/>
                  </a:cubicBezTo>
                  <a:cubicBezTo>
                    <a:pt x="16176" y="18529"/>
                    <a:pt x="16176" y="18529"/>
                    <a:pt x="16176" y="18529"/>
                  </a:cubicBezTo>
                  <a:cubicBezTo>
                    <a:pt x="15891" y="18324"/>
                    <a:pt x="15891" y="18324"/>
                    <a:pt x="15891" y="18324"/>
                  </a:cubicBezTo>
                  <a:cubicBezTo>
                    <a:pt x="15700" y="18119"/>
                    <a:pt x="15700" y="18119"/>
                    <a:pt x="15700" y="18119"/>
                  </a:cubicBezTo>
                  <a:cubicBezTo>
                    <a:pt x="15415" y="17915"/>
                    <a:pt x="15415" y="17915"/>
                    <a:pt x="15415" y="17915"/>
                  </a:cubicBezTo>
                  <a:cubicBezTo>
                    <a:pt x="15034" y="17505"/>
                    <a:pt x="15034" y="17505"/>
                    <a:pt x="15034" y="17505"/>
                  </a:cubicBezTo>
                  <a:cubicBezTo>
                    <a:pt x="14844" y="17403"/>
                    <a:pt x="14844" y="17403"/>
                    <a:pt x="14844" y="17403"/>
                  </a:cubicBezTo>
                  <a:cubicBezTo>
                    <a:pt x="14654" y="17198"/>
                    <a:pt x="14654" y="17198"/>
                    <a:pt x="14654" y="17198"/>
                  </a:cubicBezTo>
                  <a:cubicBezTo>
                    <a:pt x="14654" y="16993"/>
                    <a:pt x="14654" y="16993"/>
                    <a:pt x="14654" y="16993"/>
                  </a:cubicBezTo>
                  <a:cubicBezTo>
                    <a:pt x="14559" y="16584"/>
                    <a:pt x="14559" y="16584"/>
                    <a:pt x="14559" y="16584"/>
                  </a:cubicBezTo>
                  <a:cubicBezTo>
                    <a:pt x="14559" y="16584"/>
                    <a:pt x="14559" y="16584"/>
                    <a:pt x="14559" y="16584"/>
                  </a:cubicBezTo>
                  <a:cubicBezTo>
                    <a:pt x="14559" y="16584"/>
                    <a:pt x="14178" y="16482"/>
                    <a:pt x="13988" y="16379"/>
                  </a:cubicBezTo>
                  <a:cubicBezTo>
                    <a:pt x="13797" y="16277"/>
                    <a:pt x="13797" y="16277"/>
                    <a:pt x="13797" y="16277"/>
                  </a:cubicBezTo>
                  <a:cubicBezTo>
                    <a:pt x="13607" y="15970"/>
                    <a:pt x="13607" y="15970"/>
                    <a:pt x="13607" y="15970"/>
                  </a:cubicBezTo>
                  <a:cubicBezTo>
                    <a:pt x="13512" y="15867"/>
                    <a:pt x="13512" y="15867"/>
                    <a:pt x="13512" y="15867"/>
                  </a:cubicBezTo>
                  <a:cubicBezTo>
                    <a:pt x="13226" y="15560"/>
                    <a:pt x="13226" y="15560"/>
                    <a:pt x="13226" y="15560"/>
                  </a:cubicBezTo>
                  <a:cubicBezTo>
                    <a:pt x="13131" y="15560"/>
                    <a:pt x="13131" y="15560"/>
                    <a:pt x="13131" y="15560"/>
                  </a:cubicBezTo>
                  <a:cubicBezTo>
                    <a:pt x="12656" y="15355"/>
                    <a:pt x="12656" y="15355"/>
                    <a:pt x="12656" y="15355"/>
                  </a:cubicBezTo>
                  <a:cubicBezTo>
                    <a:pt x="12560" y="15151"/>
                    <a:pt x="12560" y="15151"/>
                    <a:pt x="12560" y="15151"/>
                  </a:cubicBezTo>
                  <a:cubicBezTo>
                    <a:pt x="12370" y="15048"/>
                    <a:pt x="12370" y="15048"/>
                    <a:pt x="12370" y="15048"/>
                  </a:cubicBezTo>
                  <a:cubicBezTo>
                    <a:pt x="12275" y="14844"/>
                    <a:pt x="12275" y="14844"/>
                    <a:pt x="12275" y="14844"/>
                  </a:cubicBezTo>
                  <a:cubicBezTo>
                    <a:pt x="11989" y="14741"/>
                    <a:pt x="11989" y="14741"/>
                    <a:pt x="11989" y="14741"/>
                  </a:cubicBezTo>
                  <a:cubicBezTo>
                    <a:pt x="11894" y="14536"/>
                    <a:pt x="11894" y="14536"/>
                    <a:pt x="11894" y="14536"/>
                  </a:cubicBezTo>
                  <a:cubicBezTo>
                    <a:pt x="11799" y="14434"/>
                    <a:pt x="11799" y="14434"/>
                    <a:pt x="11799" y="14434"/>
                  </a:cubicBezTo>
                  <a:cubicBezTo>
                    <a:pt x="11514" y="14025"/>
                    <a:pt x="11514" y="14025"/>
                    <a:pt x="11514" y="14025"/>
                  </a:cubicBezTo>
                  <a:cubicBezTo>
                    <a:pt x="11228" y="13820"/>
                    <a:pt x="11228" y="13820"/>
                    <a:pt x="11228" y="13820"/>
                  </a:cubicBezTo>
                  <a:cubicBezTo>
                    <a:pt x="11133" y="13718"/>
                    <a:pt x="11133" y="13718"/>
                    <a:pt x="11133" y="13718"/>
                  </a:cubicBezTo>
                  <a:cubicBezTo>
                    <a:pt x="11038" y="13615"/>
                    <a:pt x="11038" y="13615"/>
                    <a:pt x="11038" y="13615"/>
                  </a:cubicBezTo>
                  <a:cubicBezTo>
                    <a:pt x="10848" y="13308"/>
                    <a:pt x="10848" y="13308"/>
                    <a:pt x="10848" y="13308"/>
                  </a:cubicBezTo>
                  <a:cubicBezTo>
                    <a:pt x="10562" y="13001"/>
                    <a:pt x="10562" y="13001"/>
                    <a:pt x="10562" y="13001"/>
                  </a:cubicBezTo>
                  <a:cubicBezTo>
                    <a:pt x="10372" y="12796"/>
                    <a:pt x="10372" y="12796"/>
                    <a:pt x="10372" y="12796"/>
                  </a:cubicBezTo>
                  <a:cubicBezTo>
                    <a:pt x="10181" y="12489"/>
                    <a:pt x="10181" y="12489"/>
                    <a:pt x="10181" y="12489"/>
                  </a:cubicBezTo>
                  <a:cubicBezTo>
                    <a:pt x="10372" y="12284"/>
                    <a:pt x="10372" y="12284"/>
                    <a:pt x="10372" y="12284"/>
                  </a:cubicBezTo>
                  <a:cubicBezTo>
                    <a:pt x="10277" y="12182"/>
                    <a:pt x="10181" y="12182"/>
                    <a:pt x="10181" y="12080"/>
                  </a:cubicBezTo>
                  <a:cubicBezTo>
                    <a:pt x="10086" y="12080"/>
                    <a:pt x="9896" y="11977"/>
                    <a:pt x="9991" y="11875"/>
                  </a:cubicBezTo>
                  <a:cubicBezTo>
                    <a:pt x="9991" y="11773"/>
                    <a:pt x="9896" y="11670"/>
                    <a:pt x="9896" y="11465"/>
                  </a:cubicBezTo>
                  <a:cubicBezTo>
                    <a:pt x="9896" y="11363"/>
                    <a:pt x="9896" y="11261"/>
                    <a:pt x="9801" y="11261"/>
                  </a:cubicBezTo>
                  <a:cubicBezTo>
                    <a:pt x="9706" y="11158"/>
                    <a:pt x="9706" y="11158"/>
                    <a:pt x="9706" y="11158"/>
                  </a:cubicBezTo>
                  <a:cubicBezTo>
                    <a:pt x="9611" y="11158"/>
                    <a:pt x="9515" y="11158"/>
                    <a:pt x="9515" y="11158"/>
                  </a:cubicBezTo>
                  <a:cubicBezTo>
                    <a:pt x="9420" y="11158"/>
                    <a:pt x="9420" y="11158"/>
                    <a:pt x="9420" y="11158"/>
                  </a:cubicBezTo>
                  <a:cubicBezTo>
                    <a:pt x="9420" y="11158"/>
                    <a:pt x="9515" y="10954"/>
                    <a:pt x="9515" y="10749"/>
                  </a:cubicBezTo>
                  <a:cubicBezTo>
                    <a:pt x="9135" y="10646"/>
                    <a:pt x="9135" y="10646"/>
                    <a:pt x="9135" y="10646"/>
                  </a:cubicBezTo>
                  <a:cubicBezTo>
                    <a:pt x="9135" y="10646"/>
                    <a:pt x="9135" y="10339"/>
                    <a:pt x="8944" y="10237"/>
                  </a:cubicBezTo>
                  <a:cubicBezTo>
                    <a:pt x="8754" y="10237"/>
                    <a:pt x="8754" y="10237"/>
                    <a:pt x="8754" y="10237"/>
                  </a:cubicBezTo>
                  <a:cubicBezTo>
                    <a:pt x="8659" y="10339"/>
                    <a:pt x="8659" y="10442"/>
                    <a:pt x="8659" y="10442"/>
                  </a:cubicBezTo>
                  <a:cubicBezTo>
                    <a:pt x="8278" y="10032"/>
                    <a:pt x="8278" y="10032"/>
                    <a:pt x="8278" y="10032"/>
                  </a:cubicBezTo>
                  <a:cubicBezTo>
                    <a:pt x="8278" y="10032"/>
                    <a:pt x="8278" y="9930"/>
                    <a:pt x="8374" y="9725"/>
                  </a:cubicBezTo>
                  <a:cubicBezTo>
                    <a:pt x="8564" y="9520"/>
                    <a:pt x="8374" y="9418"/>
                    <a:pt x="8374" y="9418"/>
                  </a:cubicBezTo>
                  <a:cubicBezTo>
                    <a:pt x="8278" y="9111"/>
                    <a:pt x="8278" y="9111"/>
                    <a:pt x="8278" y="9111"/>
                  </a:cubicBezTo>
                  <a:cubicBezTo>
                    <a:pt x="8374" y="8906"/>
                    <a:pt x="8374" y="8906"/>
                    <a:pt x="8374" y="8906"/>
                  </a:cubicBezTo>
                  <a:cubicBezTo>
                    <a:pt x="8278" y="8804"/>
                    <a:pt x="8278" y="8804"/>
                    <a:pt x="8278" y="8804"/>
                  </a:cubicBezTo>
                  <a:cubicBezTo>
                    <a:pt x="8183" y="8701"/>
                    <a:pt x="8183" y="8701"/>
                    <a:pt x="8183" y="8701"/>
                  </a:cubicBezTo>
                  <a:cubicBezTo>
                    <a:pt x="8183" y="8701"/>
                    <a:pt x="8183" y="8701"/>
                    <a:pt x="8183" y="8701"/>
                  </a:cubicBezTo>
                  <a:cubicBezTo>
                    <a:pt x="8183" y="8701"/>
                    <a:pt x="8183" y="8701"/>
                    <a:pt x="8183" y="8701"/>
                  </a:cubicBezTo>
                  <a:cubicBezTo>
                    <a:pt x="8374" y="8292"/>
                    <a:pt x="8374" y="8292"/>
                    <a:pt x="8374" y="8292"/>
                  </a:cubicBezTo>
                  <a:cubicBezTo>
                    <a:pt x="8374" y="8292"/>
                    <a:pt x="8278" y="7882"/>
                    <a:pt x="8374" y="7780"/>
                  </a:cubicBezTo>
                  <a:cubicBezTo>
                    <a:pt x="8374" y="7780"/>
                    <a:pt x="8374" y="7780"/>
                    <a:pt x="8374" y="7780"/>
                  </a:cubicBezTo>
                  <a:cubicBezTo>
                    <a:pt x="8374" y="7678"/>
                    <a:pt x="8374" y="7678"/>
                    <a:pt x="8469" y="7678"/>
                  </a:cubicBezTo>
                  <a:cubicBezTo>
                    <a:pt x="8469" y="7575"/>
                    <a:pt x="8944" y="7473"/>
                    <a:pt x="8944" y="7473"/>
                  </a:cubicBezTo>
                  <a:cubicBezTo>
                    <a:pt x="9135" y="7371"/>
                    <a:pt x="9135" y="7371"/>
                    <a:pt x="9135" y="7371"/>
                  </a:cubicBezTo>
                  <a:cubicBezTo>
                    <a:pt x="9515" y="7882"/>
                    <a:pt x="9515" y="7882"/>
                    <a:pt x="9515" y="7882"/>
                  </a:cubicBezTo>
                  <a:cubicBezTo>
                    <a:pt x="9896" y="8292"/>
                    <a:pt x="9896" y="8292"/>
                    <a:pt x="9896" y="8292"/>
                  </a:cubicBezTo>
                  <a:cubicBezTo>
                    <a:pt x="10181" y="8497"/>
                    <a:pt x="10181" y="8497"/>
                    <a:pt x="10181" y="8497"/>
                  </a:cubicBezTo>
                  <a:cubicBezTo>
                    <a:pt x="10181" y="8497"/>
                    <a:pt x="10277" y="8394"/>
                    <a:pt x="10372" y="8394"/>
                  </a:cubicBezTo>
                  <a:cubicBezTo>
                    <a:pt x="10372" y="8292"/>
                    <a:pt x="10372" y="8087"/>
                    <a:pt x="10372" y="8087"/>
                  </a:cubicBezTo>
                  <a:cubicBezTo>
                    <a:pt x="10562" y="7882"/>
                    <a:pt x="10562" y="7882"/>
                    <a:pt x="10562" y="7882"/>
                  </a:cubicBezTo>
                  <a:cubicBezTo>
                    <a:pt x="10657" y="7678"/>
                    <a:pt x="10657" y="7678"/>
                    <a:pt x="10657" y="7678"/>
                  </a:cubicBezTo>
                  <a:cubicBezTo>
                    <a:pt x="10657" y="7473"/>
                    <a:pt x="10657" y="7473"/>
                    <a:pt x="10657" y="7473"/>
                  </a:cubicBezTo>
                  <a:cubicBezTo>
                    <a:pt x="10848" y="7371"/>
                    <a:pt x="10848" y="7371"/>
                    <a:pt x="10848" y="7371"/>
                  </a:cubicBezTo>
                  <a:cubicBezTo>
                    <a:pt x="11133" y="7268"/>
                    <a:pt x="11133" y="7268"/>
                    <a:pt x="11133" y="7268"/>
                  </a:cubicBezTo>
                  <a:cubicBezTo>
                    <a:pt x="11514" y="7166"/>
                    <a:pt x="11514" y="7166"/>
                    <a:pt x="11514" y="7166"/>
                  </a:cubicBezTo>
                  <a:cubicBezTo>
                    <a:pt x="11514" y="7166"/>
                    <a:pt x="11799" y="7268"/>
                    <a:pt x="11894" y="7268"/>
                  </a:cubicBezTo>
                  <a:cubicBezTo>
                    <a:pt x="11894" y="7268"/>
                    <a:pt x="11989" y="7268"/>
                    <a:pt x="11989" y="7268"/>
                  </a:cubicBezTo>
                  <a:cubicBezTo>
                    <a:pt x="12180" y="6961"/>
                    <a:pt x="12180" y="6961"/>
                    <a:pt x="12180" y="6961"/>
                  </a:cubicBezTo>
                  <a:cubicBezTo>
                    <a:pt x="12180" y="6961"/>
                    <a:pt x="12180" y="6961"/>
                    <a:pt x="12180" y="6961"/>
                  </a:cubicBezTo>
                  <a:cubicBezTo>
                    <a:pt x="12275" y="6756"/>
                    <a:pt x="12275" y="6756"/>
                    <a:pt x="12275" y="6756"/>
                  </a:cubicBezTo>
                  <a:cubicBezTo>
                    <a:pt x="12751" y="6961"/>
                    <a:pt x="12751" y="6961"/>
                    <a:pt x="12751" y="6961"/>
                  </a:cubicBezTo>
                  <a:cubicBezTo>
                    <a:pt x="12941" y="7166"/>
                    <a:pt x="12941" y="7166"/>
                    <a:pt x="12941" y="7166"/>
                  </a:cubicBezTo>
                  <a:cubicBezTo>
                    <a:pt x="13417" y="7268"/>
                    <a:pt x="13417" y="7268"/>
                    <a:pt x="13417" y="7268"/>
                  </a:cubicBezTo>
                  <a:cubicBezTo>
                    <a:pt x="13417" y="7268"/>
                    <a:pt x="13417" y="7268"/>
                    <a:pt x="13417" y="7268"/>
                  </a:cubicBezTo>
                  <a:cubicBezTo>
                    <a:pt x="13607" y="7268"/>
                    <a:pt x="13607" y="7268"/>
                    <a:pt x="13607" y="7268"/>
                  </a:cubicBezTo>
                  <a:cubicBezTo>
                    <a:pt x="13607" y="7166"/>
                    <a:pt x="13607" y="7166"/>
                    <a:pt x="13607" y="7166"/>
                  </a:cubicBezTo>
                  <a:cubicBezTo>
                    <a:pt x="13988" y="7166"/>
                    <a:pt x="13988" y="7166"/>
                    <a:pt x="13988" y="7166"/>
                  </a:cubicBezTo>
                  <a:cubicBezTo>
                    <a:pt x="14463" y="7268"/>
                    <a:pt x="14463" y="7268"/>
                    <a:pt x="14463" y="7268"/>
                  </a:cubicBezTo>
                  <a:cubicBezTo>
                    <a:pt x="14749" y="7268"/>
                    <a:pt x="14749" y="7268"/>
                    <a:pt x="14749" y="7268"/>
                  </a:cubicBezTo>
                  <a:cubicBezTo>
                    <a:pt x="15225" y="7268"/>
                    <a:pt x="15225" y="7268"/>
                    <a:pt x="15225" y="7268"/>
                  </a:cubicBezTo>
                  <a:cubicBezTo>
                    <a:pt x="15510" y="7371"/>
                    <a:pt x="15510" y="7371"/>
                    <a:pt x="15510" y="7371"/>
                  </a:cubicBezTo>
                  <a:cubicBezTo>
                    <a:pt x="15700" y="7473"/>
                    <a:pt x="15700" y="7473"/>
                    <a:pt x="15700" y="7473"/>
                  </a:cubicBezTo>
                  <a:cubicBezTo>
                    <a:pt x="15700" y="7473"/>
                    <a:pt x="15700" y="7473"/>
                    <a:pt x="15796" y="7371"/>
                  </a:cubicBezTo>
                  <a:cubicBezTo>
                    <a:pt x="15796" y="7371"/>
                    <a:pt x="16081" y="7371"/>
                    <a:pt x="16081" y="7371"/>
                  </a:cubicBezTo>
                  <a:cubicBezTo>
                    <a:pt x="16176" y="7064"/>
                    <a:pt x="16176" y="7064"/>
                    <a:pt x="16176" y="7064"/>
                  </a:cubicBezTo>
                  <a:cubicBezTo>
                    <a:pt x="16271" y="7268"/>
                    <a:pt x="16271" y="7268"/>
                    <a:pt x="16271" y="7268"/>
                  </a:cubicBezTo>
                  <a:cubicBezTo>
                    <a:pt x="16367" y="7268"/>
                    <a:pt x="16557" y="7268"/>
                    <a:pt x="16557" y="7268"/>
                  </a:cubicBezTo>
                  <a:cubicBezTo>
                    <a:pt x="16652" y="6961"/>
                    <a:pt x="16652" y="6961"/>
                    <a:pt x="16652" y="6961"/>
                  </a:cubicBezTo>
                  <a:cubicBezTo>
                    <a:pt x="16747" y="7064"/>
                    <a:pt x="16747" y="7064"/>
                    <a:pt x="16747" y="7064"/>
                  </a:cubicBezTo>
                  <a:cubicBezTo>
                    <a:pt x="16842" y="7064"/>
                    <a:pt x="16842" y="7064"/>
                    <a:pt x="16937" y="7064"/>
                  </a:cubicBezTo>
                  <a:cubicBezTo>
                    <a:pt x="17033" y="7064"/>
                    <a:pt x="17128" y="6961"/>
                    <a:pt x="17128" y="6961"/>
                  </a:cubicBezTo>
                  <a:cubicBezTo>
                    <a:pt x="17128" y="6961"/>
                    <a:pt x="17223" y="7064"/>
                    <a:pt x="17223" y="7064"/>
                  </a:cubicBezTo>
                  <a:cubicBezTo>
                    <a:pt x="17223" y="7064"/>
                    <a:pt x="17318" y="6961"/>
                    <a:pt x="17413" y="6961"/>
                  </a:cubicBezTo>
                  <a:cubicBezTo>
                    <a:pt x="17604" y="6961"/>
                    <a:pt x="17699" y="6859"/>
                    <a:pt x="17699" y="6859"/>
                  </a:cubicBezTo>
                  <a:cubicBezTo>
                    <a:pt x="17699" y="6859"/>
                    <a:pt x="17794" y="7064"/>
                    <a:pt x="17984" y="7166"/>
                  </a:cubicBezTo>
                  <a:cubicBezTo>
                    <a:pt x="17984" y="7166"/>
                    <a:pt x="17984" y="7166"/>
                    <a:pt x="17984" y="7166"/>
                  </a:cubicBezTo>
                  <a:cubicBezTo>
                    <a:pt x="18174" y="7166"/>
                    <a:pt x="18174" y="7166"/>
                    <a:pt x="18174" y="7166"/>
                  </a:cubicBezTo>
                  <a:cubicBezTo>
                    <a:pt x="18174" y="7166"/>
                    <a:pt x="18174" y="7166"/>
                    <a:pt x="18174" y="7166"/>
                  </a:cubicBezTo>
                  <a:cubicBezTo>
                    <a:pt x="18174" y="7166"/>
                    <a:pt x="18270" y="7064"/>
                    <a:pt x="18365" y="7064"/>
                  </a:cubicBezTo>
                  <a:cubicBezTo>
                    <a:pt x="18555" y="7064"/>
                    <a:pt x="18650" y="7064"/>
                    <a:pt x="18745" y="7064"/>
                  </a:cubicBezTo>
                  <a:cubicBezTo>
                    <a:pt x="18936" y="7064"/>
                    <a:pt x="19031" y="7268"/>
                    <a:pt x="19031" y="7268"/>
                  </a:cubicBezTo>
                  <a:cubicBezTo>
                    <a:pt x="19316" y="7575"/>
                    <a:pt x="19316" y="7575"/>
                    <a:pt x="19316" y="7575"/>
                  </a:cubicBezTo>
                  <a:cubicBezTo>
                    <a:pt x="19316" y="7575"/>
                    <a:pt x="19411" y="7780"/>
                    <a:pt x="19411" y="7882"/>
                  </a:cubicBezTo>
                  <a:cubicBezTo>
                    <a:pt x="19507" y="7985"/>
                    <a:pt x="19507" y="8087"/>
                    <a:pt x="19507" y="8087"/>
                  </a:cubicBezTo>
                  <a:cubicBezTo>
                    <a:pt x="19507" y="8087"/>
                    <a:pt x="20268" y="8394"/>
                    <a:pt x="20363" y="8394"/>
                  </a:cubicBezTo>
                  <a:cubicBezTo>
                    <a:pt x="20363" y="8394"/>
                    <a:pt x="20458" y="8394"/>
                    <a:pt x="20458" y="8394"/>
                  </a:cubicBezTo>
                  <a:close/>
                  <a:moveTo>
                    <a:pt x="16652" y="19553"/>
                  </a:moveTo>
                  <a:cubicBezTo>
                    <a:pt x="16652" y="19553"/>
                    <a:pt x="16652" y="19553"/>
                    <a:pt x="16652" y="19553"/>
                  </a:cubicBezTo>
                  <a:cubicBezTo>
                    <a:pt x="16747" y="19553"/>
                    <a:pt x="16747" y="19450"/>
                    <a:pt x="16747" y="19450"/>
                  </a:cubicBezTo>
                  <a:cubicBezTo>
                    <a:pt x="17033" y="19450"/>
                    <a:pt x="17033" y="19450"/>
                    <a:pt x="17033" y="19450"/>
                  </a:cubicBezTo>
                  <a:cubicBezTo>
                    <a:pt x="17033" y="19450"/>
                    <a:pt x="17033" y="19450"/>
                    <a:pt x="17033" y="19450"/>
                  </a:cubicBezTo>
                  <a:cubicBezTo>
                    <a:pt x="17318" y="19553"/>
                    <a:pt x="17318" y="19553"/>
                    <a:pt x="17318" y="19553"/>
                  </a:cubicBezTo>
                  <a:cubicBezTo>
                    <a:pt x="17508" y="19757"/>
                    <a:pt x="17508" y="19757"/>
                    <a:pt x="17508" y="19757"/>
                  </a:cubicBezTo>
                  <a:cubicBezTo>
                    <a:pt x="17604" y="19962"/>
                    <a:pt x="17604" y="19962"/>
                    <a:pt x="17604" y="19962"/>
                  </a:cubicBezTo>
                  <a:cubicBezTo>
                    <a:pt x="17794" y="20167"/>
                    <a:pt x="17794" y="20167"/>
                    <a:pt x="17794" y="20167"/>
                  </a:cubicBezTo>
                  <a:cubicBezTo>
                    <a:pt x="18270" y="20474"/>
                    <a:pt x="18270" y="20474"/>
                    <a:pt x="18270" y="20474"/>
                  </a:cubicBezTo>
                  <a:cubicBezTo>
                    <a:pt x="18841" y="20781"/>
                    <a:pt x="18841" y="20781"/>
                    <a:pt x="18841" y="20781"/>
                  </a:cubicBezTo>
                  <a:cubicBezTo>
                    <a:pt x="18841" y="20781"/>
                    <a:pt x="19221" y="20986"/>
                    <a:pt x="19316" y="20986"/>
                  </a:cubicBezTo>
                  <a:cubicBezTo>
                    <a:pt x="19316" y="20986"/>
                    <a:pt x="19316" y="21088"/>
                    <a:pt x="19411" y="21088"/>
                  </a:cubicBezTo>
                  <a:cubicBezTo>
                    <a:pt x="19411" y="21191"/>
                    <a:pt x="19602" y="21498"/>
                    <a:pt x="19602" y="21498"/>
                  </a:cubicBezTo>
                  <a:cubicBezTo>
                    <a:pt x="19697" y="21600"/>
                    <a:pt x="19411" y="21395"/>
                    <a:pt x="19411" y="21395"/>
                  </a:cubicBezTo>
                  <a:cubicBezTo>
                    <a:pt x="19411" y="21395"/>
                    <a:pt x="19316" y="21191"/>
                    <a:pt x="19221" y="21088"/>
                  </a:cubicBezTo>
                  <a:cubicBezTo>
                    <a:pt x="19031" y="21088"/>
                    <a:pt x="18841" y="21088"/>
                    <a:pt x="18745" y="20986"/>
                  </a:cubicBezTo>
                  <a:cubicBezTo>
                    <a:pt x="18650" y="20883"/>
                    <a:pt x="18650" y="20781"/>
                    <a:pt x="18650" y="20781"/>
                  </a:cubicBezTo>
                  <a:cubicBezTo>
                    <a:pt x="18555" y="20781"/>
                    <a:pt x="18555" y="20576"/>
                    <a:pt x="18270" y="20576"/>
                  </a:cubicBezTo>
                  <a:cubicBezTo>
                    <a:pt x="17984" y="20474"/>
                    <a:pt x="17984" y="20576"/>
                    <a:pt x="17889" y="20372"/>
                  </a:cubicBezTo>
                  <a:cubicBezTo>
                    <a:pt x="17794" y="20064"/>
                    <a:pt x="17794" y="20269"/>
                    <a:pt x="17699" y="20064"/>
                  </a:cubicBezTo>
                  <a:cubicBezTo>
                    <a:pt x="17508" y="19962"/>
                    <a:pt x="17604" y="20064"/>
                    <a:pt x="17223" y="19962"/>
                  </a:cubicBezTo>
                  <a:cubicBezTo>
                    <a:pt x="16937" y="19757"/>
                    <a:pt x="17128" y="19860"/>
                    <a:pt x="17128" y="19757"/>
                  </a:cubicBezTo>
                  <a:cubicBezTo>
                    <a:pt x="17033" y="19553"/>
                    <a:pt x="17128" y="19655"/>
                    <a:pt x="16937" y="19655"/>
                  </a:cubicBezTo>
                  <a:cubicBezTo>
                    <a:pt x="16842" y="19553"/>
                    <a:pt x="16937" y="19553"/>
                    <a:pt x="16842" y="19553"/>
                  </a:cubicBezTo>
                  <a:cubicBezTo>
                    <a:pt x="16842" y="19553"/>
                    <a:pt x="16747" y="19655"/>
                    <a:pt x="16652" y="19655"/>
                  </a:cubicBezTo>
                  <a:cubicBezTo>
                    <a:pt x="16652" y="19553"/>
                    <a:pt x="16652" y="19553"/>
                    <a:pt x="16652" y="19553"/>
                  </a:cubicBezTo>
                  <a:close/>
                  <a:moveTo>
                    <a:pt x="16081" y="20269"/>
                  </a:moveTo>
                  <a:cubicBezTo>
                    <a:pt x="16081" y="20269"/>
                    <a:pt x="16081" y="20269"/>
                    <a:pt x="16081" y="20269"/>
                  </a:cubicBezTo>
                  <a:cubicBezTo>
                    <a:pt x="16081" y="20269"/>
                    <a:pt x="15891" y="20269"/>
                    <a:pt x="15796" y="20269"/>
                  </a:cubicBezTo>
                  <a:cubicBezTo>
                    <a:pt x="15796" y="20269"/>
                    <a:pt x="15700" y="20167"/>
                    <a:pt x="15605" y="20167"/>
                  </a:cubicBezTo>
                  <a:cubicBezTo>
                    <a:pt x="15510" y="20167"/>
                    <a:pt x="15320" y="20167"/>
                    <a:pt x="15320" y="20167"/>
                  </a:cubicBezTo>
                  <a:cubicBezTo>
                    <a:pt x="15225" y="20167"/>
                    <a:pt x="15130" y="20064"/>
                    <a:pt x="15130" y="20064"/>
                  </a:cubicBezTo>
                  <a:cubicBezTo>
                    <a:pt x="15130" y="20064"/>
                    <a:pt x="15130" y="19962"/>
                    <a:pt x="15130" y="19962"/>
                  </a:cubicBezTo>
                  <a:cubicBezTo>
                    <a:pt x="15130" y="19962"/>
                    <a:pt x="15320" y="19860"/>
                    <a:pt x="15320" y="19860"/>
                  </a:cubicBezTo>
                  <a:cubicBezTo>
                    <a:pt x="15320" y="19962"/>
                    <a:pt x="15891" y="20064"/>
                    <a:pt x="15891" y="20064"/>
                  </a:cubicBezTo>
                  <a:cubicBezTo>
                    <a:pt x="16271" y="20064"/>
                    <a:pt x="16271" y="20064"/>
                    <a:pt x="16271" y="20064"/>
                  </a:cubicBezTo>
                  <a:cubicBezTo>
                    <a:pt x="16271" y="20064"/>
                    <a:pt x="16367" y="20064"/>
                    <a:pt x="16367" y="20064"/>
                  </a:cubicBezTo>
                  <a:cubicBezTo>
                    <a:pt x="16367" y="20064"/>
                    <a:pt x="16462" y="20064"/>
                    <a:pt x="16557" y="20167"/>
                  </a:cubicBezTo>
                  <a:cubicBezTo>
                    <a:pt x="16652" y="20167"/>
                    <a:pt x="16652" y="20167"/>
                    <a:pt x="16652" y="20269"/>
                  </a:cubicBezTo>
                  <a:cubicBezTo>
                    <a:pt x="16652" y="20269"/>
                    <a:pt x="16747" y="20372"/>
                    <a:pt x="16652" y="20372"/>
                  </a:cubicBezTo>
                  <a:cubicBezTo>
                    <a:pt x="16652" y="20372"/>
                    <a:pt x="16557" y="20372"/>
                    <a:pt x="16557" y="20372"/>
                  </a:cubicBezTo>
                  <a:cubicBezTo>
                    <a:pt x="16557" y="20372"/>
                    <a:pt x="16367" y="20269"/>
                    <a:pt x="16367" y="20269"/>
                  </a:cubicBezTo>
                  <a:cubicBezTo>
                    <a:pt x="16176" y="20269"/>
                    <a:pt x="16176" y="20269"/>
                    <a:pt x="16176" y="20269"/>
                  </a:cubicBezTo>
                  <a:cubicBezTo>
                    <a:pt x="16081" y="20269"/>
                    <a:pt x="16081" y="20269"/>
                    <a:pt x="16081" y="20269"/>
                  </a:cubicBezTo>
                  <a:close/>
                  <a:moveTo>
                    <a:pt x="13131" y="20372"/>
                  </a:moveTo>
                  <a:cubicBezTo>
                    <a:pt x="13131" y="20372"/>
                    <a:pt x="13131" y="20372"/>
                    <a:pt x="13131" y="20372"/>
                  </a:cubicBezTo>
                  <a:cubicBezTo>
                    <a:pt x="13131" y="20372"/>
                    <a:pt x="13512" y="20269"/>
                    <a:pt x="13512" y="20269"/>
                  </a:cubicBezTo>
                  <a:cubicBezTo>
                    <a:pt x="13702" y="20372"/>
                    <a:pt x="13702" y="20372"/>
                    <a:pt x="13702" y="20372"/>
                  </a:cubicBezTo>
                  <a:cubicBezTo>
                    <a:pt x="13702" y="20372"/>
                    <a:pt x="13702" y="20474"/>
                    <a:pt x="13607" y="20474"/>
                  </a:cubicBezTo>
                  <a:cubicBezTo>
                    <a:pt x="13607" y="20474"/>
                    <a:pt x="13417" y="20679"/>
                    <a:pt x="13417" y="20679"/>
                  </a:cubicBezTo>
                  <a:cubicBezTo>
                    <a:pt x="13131" y="20474"/>
                    <a:pt x="13131" y="20474"/>
                    <a:pt x="13131" y="20474"/>
                  </a:cubicBezTo>
                  <a:cubicBezTo>
                    <a:pt x="13131" y="20372"/>
                    <a:pt x="13131" y="20372"/>
                    <a:pt x="13131" y="20372"/>
                  </a:cubicBezTo>
                  <a:close/>
                  <a:moveTo>
                    <a:pt x="10181" y="19860"/>
                  </a:moveTo>
                  <a:cubicBezTo>
                    <a:pt x="10181" y="19860"/>
                    <a:pt x="10181" y="19860"/>
                    <a:pt x="10181" y="19860"/>
                  </a:cubicBezTo>
                  <a:cubicBezTo>
                    <a:pt x="10277" y="19860"/>
                    <a:pt x="10372" y="19757"/>
                    <a:pt x="10372" y="19860"/>
                  </a:cubicBezTo>
                  <a:cubicBezTo>
                    <a:pt x="10372" y="19962"/>
                    <a:pt x="10277" y="20064"/>
                    <a:pt x="10277" y="20064"/>
                  </a:cubicBezTo>
                  <a:cubicBezTo>
                    <a:pt x="10277" y="20064"/>
                    <a:pt x="10181" y="20064"/>
                    <a:pt x="10181" y="20064"/>
                  </a:cubicBezTo>
                  <a:cubicBezTo>
                    <a:pt x="10181" y="19962"/>
                    <a:pt x="10181" y="19860"/>
                    <a:pt x="10181" y="19860"/>
                  </a:cubicBezTo>
                  <a:close/>
                  <a:moveTo>
                    <a:pt x="10752" y="19348"/>
                  </a:moveTo>
                  <a:cubicBezTo>
                    <a:pt x="10752" y="19348"/>
                    <a:pt x="10752" y="19348"/>
                    <a:pt x="10752" y="19348"/>
                  </a:cubicBezTo>
                  <a:cubicBezTo>
                    <a:pt x="10752" y="19348"/>
                    <a:pt x="10943" y="19245"/>
                    <a:pt x="10943" y="19245"/>
                  </a:cubicBezTo>
                  <a:cubicBezTo>
                    <a:pt x="11038" y="19348"/>
                    <a:pt x="11133" y="19348"/>
                    <a:pt x="11038" y="19450"/>
                  </a:cubicBezTo>
                  <a:cubicBezTo>
                    <a:pt x="11038" y="19450"/>
                    <a:pt x="11038" y="19450"/>
                    <a:pt x="10943" y="19553"/>
                  </a:cubicBezTo>
                  <a:cubicBezTo>
                    <a:pt x="10848" y="19655"/>
                    <a:pt x="10657" y="19757"/>
                    <a:pt x="10657" y="19757"/>
                  </a:cubicBezTo>
                  <a:cubicBezTo>
                    <a:pt x="10657" y="19757"/>
                    <a:pt x="10657" y="19757"/>
                    <a:pt x="10562" y="19757"/>
                  </a:cubicBezTo>
                  <a:cubicBezTo>
                    <a:pt x="10372" y="19655"/>
                    <a:pt x="10277" y="19553"/>
                    <a:pt x="10277" y="19553"/>
                  </a:cubicBezTo>
                  <a:cubicBezTo>
                    <a:pt x="10277" y="19553"/>
                    <a:pt x="10181" y="19450"/>
                    <a:pt x="10372" y="19450"/>
                  </a:cubicBezTo>
                  <a:cubicBezTo>
                    <a:pt x="10467" y="19348"/>
                    <a:pt x="10562" y="19348"/>
                    <a:pt x="10562" y="19348"/>
                  </a:cubicBezTo>
                  <a:cubicBezTo>
                    <a:pt x="10657" y="19348"/>
                    <a:pt x="10752" y="19348"/>
                    <a:pt x="10752" y="19348"/>
                  </a:cubicBezTo>
                  <a:close/>
                  <a:moveTo>
                    <a:pt x="11799" y="18222"/>
                  </a:moveTo>
                  <a:cubicBezTo>
                    <a:pt x="11799" y="18222"/>
                    <a:pt x="11799" y="18222"/>
                    <a:pt x="11799" y="18222"/>
                  </a:cubicBezTo>
                  <a:cubicBezTo>
                    <a:pt x="11799" y="18222"/>
                    <a:pt x="11989" y="18119"/>
                    <a:pt x="11989" y="18119"/>
                  </a:cubicBezTo>
                  <a:cubicBezTo>
                    <a:pt x="11989" y="18119"/>
                    <a:pt x="11989" y="18119"/>
                    <a:pt x="12085" y="18119"/>
                  </a:cubicBezTo>
                  <a:cubicBezTo>
                    <a:pt x="12085" y="18119"/>
                    <a:pt x="12085" y="18119"/>
                    <a:pt x="12180" y="18119"/>
                  </a:cubicBezTo>
                  <a:cubicBezTo>
                    <a:pt x="12180" y="18119"/>
                    <a:pt x="12275" y="18017"/>
                    <a:pt x="12370" y="18119"/>
                  </a:cubicBezTo>
                  <a:cubicBezTo>
                    <a:pt x="12465" y="18119"/>
                    <a:pt x="12465" y="18222"/>
                    <a:pt x="12560" y="18222"/>
                  </a:cubicBezTo>
                  <a:cubicBezTo>
                    <a:pt x="12560" y="18222"/>
                    <a:pt x="12656" y="18222"/>
                    <a:pt x="12656" y="18222"/>
                  </a:cubicBezTo>
                  <a:cubicBezTo>
                    <a:pt x="12751" y="18222"/>
                    <a:pt x="12751" y="18222"/>
                    <a:pt x="12941" y="18222"/>
                  </a:cubicBezTo>
                  <a:cubicBezTo>
                    <a:pt x="13131" y="18222"/>
                    <a:pt x="13417" y="18222"/>
                    <a:pt x="13417" y="18222"/>
                  </a:cubicBezTo>
                  <a:cubicBezTo>
                    <a:pt x="13417" y="18324"/>
                    <a:pt x="13512" y="18222"/>
                    <a:pt x="13607" y="18222"/>
                  </a:cubicBezTo>
                  <a:cubicBezTo>
                    <a:pt x="13797" y="18324"/>
                    <a:pt x="13797" y="18324"/>
                    <a:pt x="13797" y="18324"/>
                  </a:cubicBezTo>
                  <a:cubicBezTo>
                    <a:pt x="13893" y="18324"/>
                    <a:pt x="13797" y="18427"/>
                    <a:pt x="13988" y="18324"/>
                  </a:cubicBezTo>
                  <a:cubicBezTo>
                    <a:pt x="14083" y="18324"/>
                    <a:pt x="14083" y="18324"/>
                    <a:pt x="14083" y="18324"/>
                  </a:cubicBezTo>
                  <a:cubicBezTo>
                    <a:pt x="14083" y="18324"/>
                    <a:pt x="14083" y="18324"/>
                    <a:pt x="14178" y="18222"/>
                  </a:cubicBezTo>
                  <a:cubicBezTo>
                    <a:pt x="14273" y="18222"/>
                    <a:pt x="14368" y="18119"/>
                    <a:pt x="14368" y="18119"/>
                  </a:cubicBezTo>
                  <a:cubicBezTo>
                    <a:pt x="14463" y="18119"/>
                    <a:pt x="14463" y="18119"/>
                    <a:pt x="14463" y="18119"/>
                  </a:cubicBezTo>
                  <a:cubicBezTo>
                    <a:pt x="14463" y="18427"/>
                    <a:pt x="14463" y="18427"/>
                    <a:pt x="14463" y="18427"/>
                  </a:cubicBezTo>
                  <a:cubicBezTo>
                    <a:pt x="14463" y="18427"/>
                    <a:pt x="14463" y="18427"/>
                    <a:pt x="14463" y="18529"/>
                  </a:cubicBezTo>
                  <a:cubicBezTo>
                    <a:pt x="14463" y="18529"/>
                    <a:pt x="14368" y="18631"/>
                    <a:pt x="14273" y="18631"/>
                  </a:cubicBezTo>
                  <a:cubicBezTo>
                    <a:pt x="14273" y="18631"/>
                    <a:pt x="14178" y="18529"/>
                    <a:pt x="14178" y="18529"/>
                  </a:cubicBezTo>
                  <a:cubicBezTo>
                    <a:pt x="14178" y="18427"/>
                    <a:pt x="14083" y="18427"/>
                    <a:pt x="14083" y="18427"/>
                  </a:cubicBezTo>
                  <a:cubicBezTo>
                    <a:pt x="13988" y="18427"/>
                    <a:pt x="13893" y="18529"/>
                    <a:pt x="13797" y="18529"/>
                  </a:cubicBezTo>
                  <a:cubicBezTo>
                    <a:pt x="13797" y="18529"/>
                    <a:pt x="13702" y="18427"/>
                    <a:pt x="13702" y="18427"/>
                  </a:cubicBezTo>
                  <a:cubicBezTo>
                    <a:pt x="13702" y="18427"/>
                    <a:pt x="13512" y="18427"/>
                    <a:pt x="13417" y="18427"/>
                  </a:cubicBezTo>
                  <a:cubicBezTo>
                    <a:pt x="13417" y="18427"/>
                    <a:pt x="13322" y="18427"/>
                    <a:pt x="13226" y="18427"/>
                  </a:cubicBezTo>
                  <a:cubicBezTo>
                    <a:pt x="13131" y="18427"/>
                    <a:pt x="13036" y="18427"/>
                    <a:pt x="12941" y="18427"/>
                  </a:cubicBezTo>
                  <a:cubicBezTo>
                    <a:pt x="12846" y="18529"/>
                    <a:pt x="12656" y="18427"/>
                    <a:pt x="12656" y="18529"/>
                  </a:cubicBezTo>
                  <a:cubicBezTo>
                    <a:pt x="12656" y="18529"/>
                    <a:pt x="12656" y="18631"/>
                    <a:pt x="12656" y="18631"/>
                  </a:cubicBezTo>
                  <a:cubicBezTo>
                    <a:pt x="12656" y="18631"/>
                    <a:pt x="12751" y="18734"/>
                    <a:pt x="12656" y="18734"/>
                  </a:cubicBezTo>
                  <a:cubicBezTo>
                    <a:pt x="12465" y="18734"/>
                    <a:pt x="12465" y="18734"/>
                    <a:pt x="12465" y="18631"/>
                  </a:cubicBezTo>
                  <a:cubicBezTo>
                    <a:pt x="12370" y="18529"/>
                    <a:pt x="12560" y="18427"/>
                    <a:pt x="12275" y="18529"/>
                  </a:cubicBezTo>
                  <a:cubicBezTo>
                    <a:pt x="12085" y="18529"/>
                    <a:pt x="12085" y="18427"/>
                    <a:pt x="11989" y="18427"/>
                  </a:cubicBezTo>
                  <a:cubicBezTo>
                    <a:pt x="11989" y="18529"/>
                    <a:pt x="11799" y="18324"/>
                    <a:pt x="11704" y="18427"/>
                  </a:cubicBezTo>
                  <a:cubicBezTo>
                    <a:pt x="11704" y="18427"/>
                    <a:pt x="11609" y="18529"/>
                    <a:pt x="11609" y="18529"/>
                  </a:cubicBezTo>
                  <a:cubicBezTo>
                    <a:pt x="11609" y="18529"/>
                    <a:pt x="11323" y="18529"/>
                    <a:pt x="11323" y="18529"/>
                  </a:cubicBezTo>
                  <a:cubicBezTo>
                    <a:pt x="11323" y="18529"/>
                    <a:pt x="11419" y="18222"/>
                    <a:pt x="11419" y="18222"/>
                  </a:cubicBezTo>
                  <a:cubicBezTo>
                    <a:pt x="11419" y="18222"/>
                    <a:pt x="11419" y="18222"/>
                    <a:pt x="11514" y="18222"/>
                  </a:cubicBezTo>
                  <a:cubicBezTo>
                    <a:pt x="11609" y="18222"/>
                    <a:pt x="11704" y="18222"/>
                    <a:pt x="11704" y="18222"/>
                  </a:cubicBezTo>
                  <a:cubicBezTo>
                    <a:pt x="11799" y="18222"/>
                    <a:pt x="11799" y="18222"/>
                    <a:pt x="11799" y="18222"/>
                  </a:cubicBezTo>
                  <a:close/>
                  <a:moveTo>
                    <a:pt x="11419" y="17608"/>
                  </a:moveTo>
                  <a:cubicBezTo>
                    <a:pt x="11419" y="17608"/>
                    <a:pt x="11419" y="17608"/>
                    <a:pt x="11419" y="17608"/>
                  </a:cubicBezTo>
                  <a:cubicBezTo>
                    <a:pt x="11419" y="17608"/>
                    <a:pt x="11038" y="17403"/>
                    <a:pt x="11038" y="17403"/>
                  </a:cubicBezTo>
                  <a:cubicBezTo>
                    <a:pt x="10943" y="17403"/>
                    <a:pt x="10848" y="17403"/>
                    <a:pt x="10752" y="17403"/>
                  </a:cubicBezTo>
                  <a:cubicBezTo>
                    <a:pt x="10752" y="17403"/>
                    <a:pt x="10562" y="17300"/>
                    <a:pt x="10657" y="17198"/>
                  </a:cubicBezTo>
                  <a:cubicBezTo>
                    <a:pt x="10657" y="17198"/>
                    <a:pt x="10752" y="17096"/>
                    <a:pt x="10848" y="17198"/>
                  </a:cubicBezTo>
                  <a:cubicBezTo>
                    <a:pt x="10943" y="17300"/>
                    <a:pt x="11038" y="17300"/>
                    <a:pt x="11038" y="17403"/>
                  </a:cubicBezTo>
                  <a:cubicBezTo>
                    <a:pt x="11133" y="17403"/>
                    <a:pt x="11323" y="17505"/>
                    <a:pt x="11323" y="17505"/>
                  </a:cubicBezTo>
                  <a:cubicBezTo>
                    <a:pt x="11419" y="17505"/>
                    <a:pt x="11419" y="17608"/>
                    <a:pt x="11419" y="17505"/>
                  </a:cubicBezTo>
                  <a:cubicBezTo>
                    <a:pt x="11514" y="17505"/>
                    <a:pt x="11514" y="17300"/>
                    <a:pt x="11514" y="17300"/>
                  </a:cubicBezTo>
                  <a:cubicBezTo>
                    <a:pt x="11514" y="17198"/>
                    <a:pt x="11419" y="17198"/>
                    <a:pt x="11419" y="17198"/>
                  </a:cubicBezTo>
                  <a:cubicBezTo>
                    <a:pt x="11514" y="17198"/>
                    <a:pt x="11704" y="17096"/>
                    <a:pt x="11704" y="17096"/>
                  </a:cubicBezTo>
                  <a:cubicBezTo>
                    <a:pt x="11799" y="17198"/>
                    <a:pt x="11894" y="17198"/>
                    <a:pt x="11989" y="17198"/>
                  </a:cubicBezTo>
                  <a:cubicBezTo>
                    <a:pt x="11989" y="17198"/>
                    <a:pt x="11894" y="17198"/>
                    <a:pt x="12275" y="17198"/>
                  </a:cubicBezTo>
                  <a:cubicBezTo>
                    <a:pt x="12560" y="17198"/>
                    <a:pt x="12465" y="17198"/>
                    <a:pt x="12656" y="17198"/>
                  </a:cubicBezTo>
                  <a:cubicBezTo>
                    <a:pt x="12751" y="17198"/>
                    <a:pt x="12941" y="17198"/>
                    <a:pt x="12941" y="17198"/>
                  </a:cubicBezTo>
                  <a:cubicBezTo>
                    <a:pt x="12941" y="17300"/>
                    <a:pt x="13131" y="17403"/>
                    <a:pt x="13131" y="17403"/>
                  </a:cubicBezTo>
                  <a:cubicBezTo>
                    <a:pt x="13131" y="17505"/>
                    <a:pt x="13226" y="17505"/>
                    <a:pt x="13131" y="17608"/>
                  </a:cubicBezTo>
                  <a:cubicBezTo>
                    <a:pt x="12941" y="17710"/>
                    <a:pt x="12941" y="17710"/>
                    <a:pt x="12751" y="17710"/>
                  </a:cubicBezTo>
                  <a:cubicBezTo>
                    <a:pt x="12656" y="17710"/>
                    <a:pt x="12751" y="17710"/>
                    <a:pt x="12560" y="17812"/>
                  </a:cubicBezTo>
                  <a:cubicBezTo>
                    <a:pt x="12275" y="17812"/>
                    <a:pt x="12085" y="17812"/>
                    <a:pt x="12085" y="17812"/>
                  </a:cubicBezTo>
                  <a:cubicBezTo>
                    <a:pt x="12085" y="17812"/>
                    <a:pt x="12180" y="17812"/>
                    <a:pt x="11894" y="17812"/>
                  </a:cubicBezTo>
                  <a:cubicBezTo>
                    <a:pt x="11704" y="17710"/>
                    <a:pt x="11609" y="17812"/>
                    <a:pt x="11514" y="17710"/>
                  </a:cubicBezTo>
                  <a:cubicBezTo>
                    <a:pt x="11514" y="17710"/>
                    <a:pt x="11419" y="17608"/>
                    <a:pt x="11419" y="17608"/>
                  </a:cubicBezTo>
                  <a:close/>
                  <a:moveTo>
                    <a:pt x="4758" y="9623"/>
                  </a:moveTo>
                  <a:cubicBezTo>
                    <a:pt x="4758" y="9623"/>
                    <a:pt x="4758" y="9623"/>
                    <a:pt x="4758" y="9623"/>
                  </a:cubicBezTo>
                  <a:cubicBezTo>
                    <a:pt x="4758" y="9623"/>
                    <a:pt x="4758" y="9520"/>
                    <a:pt x="4758" y="9520"/>
                  </a:cubicBezTo>
                  <a:cubicBezTo>
                    <a:pt x="4758" y="9520"/>
                    <a:pt x="4758" y="9520"/>
                    <a:pt x="4758" y="9520"/>
                  </a:cubicBezTo>
                  <a:cubicBezTo>
                    <a:pt x="4758" y="9520"/>
                    <a:pt x="4853" y="9520"/>
                    <a:pt x="4853" y="9520"/>
                  </a:cubicBezTo>
                  <a:cubicBezTo>
                    <a:pt x="4853" y="9623"/>
                    <a:pt x="4853" y="9623"/>
                    <a:pt x="4948" y="9623"/>
                  </a:cubicBezTo>
                  <a:cubicBezTo>
                    <a:pt x="4948" y="9623"/>
                    <a:pt x="4948" y="9623"/>
                    <a:pt x="5043" y="9623"/>
                  </a:cubicBezTo>
                  <a:cubicBezTo>
                    <a:pt x="5043" y="9725"/>
                    <a:pt x="5043" y="9725"/>
                    <a:pt x="5043" y="9725"/>
                  </a:cubicBezTo>
                  <a:cubicBezTo>
                    <a:pt x="5043" y="9725"/>
                    <a:pt x="5043" y="9930"/>
                    <a:pt x="4948" y="9827"/>
                  </a:cubicBezTo>
                  <a:cubicBezTo>
                    <a:pt x="4853" y="9827"/>
                    <a:pt x="4758" y="9827"/>
                    <a:pt x="4758" y="9725"/>
                  </a:cubicBezTo>
                  <a:cubicBezTo>
                    <a:pt x="4758" y="9725"/>
                    <a:pt x="4758" y="9623"/>
                    <a:pt x="4758" y="9623"/>
                  </a:cubicBezTo>
                  <a:close/>
                  <a:moveTo>
                    <a:pt x="4853" y="10544"/>
                  </a:moveTo>
                  <a:cubicBezTo>
                    <a:pt x="4853" y="10544"/>
                    <a:pt x="4853" y="10544"/>
                    <a:pt x="4853" y="10544"/>
                  </a:cubicBezTo>
                  <a:cubicBezTo>
                    <a:pt x="4853" y="10544"/>
                    <a:pt x="4758" y="10544"/>
                    <a:pt x="4758" y="10544"/>
                  </a:cubicBezTo>
                  <a:cubicBezTo>
                    <a:pt x="4758" y="10544"/>
                    <a:pt x="4567" y="10442"/>
                    <a:pt x="4472" y="10442"/>
                  </a:cubicBezTo>
                  <a:cubicBezTo>
                    <a:pt x="4472" y="10339"/>
                    <a:pt x="4472" y="10339"/>
                    <a:pt x="4567" y="10339"/>
                  </a:cubicBezTo>
                  <a:cubicBezTo>
                    <a:pt x="4567" y="10237"/>
                    <a:pt x="4567" y="10135"/>
                    <a:pt x="4567" y="10135"/>
                  </a:cubicBezTo>
                  <a:cubicBezTo>
                    <a:pt x="4567" y="10135"/>
                    <a:pt x="4663" y="10032"/>
                    <a:pt x="4663" y="10032"/>
                  </a:cubicBezTo>
                  <a:cubicBezTo>
                    <a:pt x="4758" y="10032"/>
                    <a:pt x="4758" y="10032"/>
                    <a:pt x="4758" y="10032"/>
                  </a:cubicBezTo>
                  <a:cubicBezTo>
                    <a:pt x="4758" y="10032"/>
                    <a:pt x="4758" y="9930"/>
                    <a:pt x="4758" y="9930"/>
                  </a:cubicBezTo>
                  <a:cubicBezTo>
                    <a:pt x="4758" y="9827"/>
                    <a:pt x="4853" y="9827"/>
                    <a:pt x="4853" y="9827"/>
                  </a:cubicBezTo>
                  <a:cubicBezTo>
                    <a:pt x="4853" y="9827"/>
                    <a:pt x="5043" y="10032"/>
                    <a:pt x="5043" y="10135"/>
                  </a:cubicBezTo>
                  <a:cubicBezTo>
                    <a:pt x="5043" y="10135"/>
                    <a:pt x="4758" y="10135"/>
                    <a:pt x="4758" y="10135"/>
                  </a:cubicBezTo>
                  <a:cubicBezTo>
                    <a:pt x="4758" y="10135"/>
                    <a:pt x="4758" y="10135"/>
                    <a:pt x="4853" y="10339"/>
                  </a:cubicBezTo>
                  <a:cubicBezTo>
                    <a:pt x="4948" y="10442"/>
                    <a:pt x="4948" y="10339"/>
                    <a:pt x="4948" y="10339"/>
                  </a:cubicBezTo>
                  <a:cubicBezTo>
                    <a:pt x="4948" y="10442"/>
                    <a:pt x="4948" y="10442"/>
                    <a:pt x="5138" y="10442"/>
                  </a:cubicBezTo>
                  <a:cubicBezTo>
                    <a:pt x="5233" y="10544"/>
                    <a:pt x="5138" y="10544"/>
                    <a:pt x="5233" y="10646"/>
                  </a:cubicBezTo>
                  <a:cubicBezTo>
                    <a:pt x="5233" y="10646"/>
                    <a:pt x="5138" y="10749"/>
                    <a:pt x="5138" y="10749"/>
                  </a:cubicBezTo>
                  <a:cubicBezTo>
                    <a:pt x="5043" y="10851"/>
                    <a:pt x="5043" y="10749"/>
                    <a:pt x="5043" y="10749"/>
                  </a:cubicBezTo>
                  <a:cubicBezTo>
                    <a:pt x="5043" y="10749"/>
                    <a:pt x="4948" y="10544"/>
                    <a:pt x="4853" y="10544"/>
                  </a:cubicBezTo>
                  <a:close/>
                  <a:moveTo>
                    <a:pt x="5233" y="11977"/>
                  </a:moveTo>
                  <a:cubicBezTo>
                    <a:pt x="5233" y="11977"/>
                    <a:pt x="5233" y="11977"/>
                    <a:pt x="5233" y="11977"/>
                  </a:cubicBezTo>
                  <a:cubicBezTo>
                    <a:pt x="5233" y="11977"/>
                    <a:pt x="5329" y="11875"/>
                    <a:pt x="5329" y="11977"/>
                  </a:cubicBezTo>
                  <a:cubicBezTo>
                    <a:pt x="5424" y="11977"/>
                    <a:pt x="5424" y="12080"/>
                    <a:pt x="5424" y="12080"/>
                  </a:cubicBezTo>
                  <a:cubicBezTo>
                    <a:pt x="5519" y="12182"/>
                    <a:pt x="5614" y="12182"/>
                    <a:pt x="5709" y="12182"/>
                  </a:cubicBezTo>
                  <a:cubicBezTo>
                    <a:pt x="5709" y="12284"/>
                    <a:pt x="5709" y="12387"/>
                    <a:pt x="5709" y="12387"/>
                  </a:cubicBezTo>
                  <a:cubicBezTo>
                    <a:pt x="5709" y="12387"/>
                    <a:pt x="5614" y="12489"/>
                    <a:pt x="5614" y="12387"/>
                  </a:cubicBezTo>
                  <a:cubicBezTo>
                    <a:pt x="5519" y="12284"/>
                    <a:pt x="5519" y="12284"/>
                    <a:pt x="5519" y="12284"/>
                  </a:cubicBezTo>
                  <a:cubicBezTo>
                    <a:pt x="5519" y="12284"/>
                    <a:pt x="5424" y="12182"/>
                    <a:pt x="5424" y="12182"/>
                  </a:cubicBezTo>
                  <a:cubicBezTo>
                    <a:pt x="5424" y="12182"/>
                    <a:pt x="5233" y="11977"/>
                    <a:pt x="5233" y="11977"/>
                  </a:cubicBezTo>
                  <a:close/>
                  <a:moveTo>
                    <a:pt x="5043" y="12387"/>
                  </a:moveTo>
                  <a:cubicBezTo>
                    <a:pt x="5043" y="12387"/>
                    <a:pt x="5043" y="12387"/>
                    <a:pt x="5043" y="12387"/>
                  </a:cubicBezTo>
                  <a:cubicBezTo>
                    <a:pt x="5043" y="12387"/>
                    <a:pt x="5043" y="12284"/>
                    <a:pt x="5043" y="12284"/>
                  </a:cubicBezTo>
                  <a:cubicBezTo>
                    <a:pt x="5043" y="12284"/>
                    <a:pt x="5138" y="12284"/>
                    <a:pt x="5138" y="12387"/>
                  </a:cubicBezTo>
                  <a:cubicBezTo>
                    <a:pt x="5138" y="12387"/>
                    <a:pt x="5233" y="12489"/>
                    <a:pt x="5233" y="12489"/>
                  </a:cubicBezTo>
                  <a:cubicBezTo>
                    <a:pt x="5233" y="12591"/>
                    <a:pt x="5138" y="12591"/>
                    <a:pt x="5138" y="12591"/>
                  </a:cubicBezTo>
                  <a:cubicBezTo>
                    <a:pt x="5138" y="12694"/>
                    <a:pt x="5233" y="12694"/>
                    <a:pt x="5138" y="12694"/>
                  </a:cubicBezTo>
                  <a:cubicBezTo>
                    <a:pt x="5043" y="12694"/>
                    <a:pt x="5043" y="12694"/>
                    <a:pt x="5043" y="12694"/>
                  </a:cubicBezTo>
                  <a:cubicBezTo>
                    <a:pt x="5043" y="12694"/>
                    <a:pt x="5043" y="12591"/>
                    <a:pt x="5043" y="12591"/>
                  </a:cubicBezTo>
                  <a:cubicBezTo>
                    <a:pt x="5043" y="12489"/>
                    <a:pt x="5043" y="12387"/>
                    <a:pt x="5043" y="12387"/>
                  </a:cubicBezTo>
                  <a:close/>
                  <a:moveTo>
                    <a:pt x="4663" y="12387"/>
                  </a:moveTo>
                  <a:cubicBezTo>
                    <a:pt x="4663" y="12387"/>
                    <a:pt x="4663" y="12387"/>
                    <a:pt x="4663" y="12387"/>
                  </a:cubicBezTo>
                  <a:cubicBezTo>
                    <a:pt x="4663" y="12387"/>
                    <a:pt x="4758" y="12387"/>
                    <a:pt x="4758" y="12489"/>
                  </a:cubicBezTo>
                  <a:cubicBezTo>
                    <a:pt x="4758" y="12489"/>
                    <a:pt x="4853" y="12489"/>
                    <a:pt x="4853" y="12591"/>
                  </a:cubicBezTo>
                  <a:cubicBezTo>
                    <a:pt x="4853" y="12591"/>
                    <a:pt x="4853" y="12591"/>
                    <a:pt x="4853" y="12694"/>
                  </a:cubicBezTo>
                  <a:cubicBezTo>
                    <a:pt x="4853" y="12796"/>
                    <a:pt x="4948" y="12796"/>
                    <a:pt x="4853" y="12796"/>
                  </a:cubicBezTo>
                  <a:cubicBezTo>
                    <a:pt x="4758" y="12694"/>
                    <a:pt x="4758" y="12694"/>
                    <a:pt x="4758" y="12694"/>
                  </a:cubicBezTo>
                  <a:cubicBezTo>
                    <a:pt x="4663" y="12591"/>
                    <a:pt x="4663" y="12591"/>
                    <a:pt x="4663" y="12591"/>
                  </a:cubicBezTo>
                  <a:cubicBezTo>
                    <a:pt x="4663" y="12489"/>
                    <a:pt x="4663" y="12489"/>
                    <a:pt x="4663" y="12489"/>
                  </a:cubicBezTo>
                  <a:cubicBezTo>
                    <a:pt x="4663" y="12387"/>
                    <a:pt x="4663" y="12387"/>
                    <a:pt x="4663" y="12387"/>
                  </a:cubicBezTo>
                  <a:close/>
                  <a:moveTo>
                    <a:pt x="3235" y="11875"/>
                  </a:moveTo>
                  <a:cubicBezTo>
                    <a:pt x="3235" y="11875"/>
                    <a:pt x="3235" y="11875"/>
                    <a:pt x="3235" y="11875"/>
                  </a:cubicBezTo>
                  <a:cubicBezTo>
                    <a:pt x="3235" y="11875"/>
                    <a:pt x="3330" y="11875"/>
                    <a:pt x="3330" y="11875"/>
                  </a:cubicBezTo>
                  <a:cubicBezTo>
                    <a:pt x="3426" y="11977"/>
                    <a:pt x="3330" y="11977"/>
                    <a:pt x="3426" y="12080"/>
                  </a:cubicBezTo>
                  <a:cubicBezTo>
                    <a:pt x="3426" y="12080"/>
                    <a:pt x="3330" y="12182"/>
                    <a:pt x="3330" y="12182"/>
                  </a:cubicBezTo>
                  <a:cubicBezTo>
                    <a:pt x="3235" y="12080"/>
                    <a:pt x="3235" y="12080"/>
                    <a:pt x="3235" y="12080"/>
                  </a:cubicBezTo>
                  <a:cubicBezTo>
                    <a:pt x="3235" y="11875"/>
                    <a:pt x="3235" y="11875"/>
                    <a:pt x="3235" y="11875"/>
                  </a:cubicBezTo>
                  <a:close/>
                  <a:moveTo>
                    <a:pt x="3235" y="11465"/>
                  </a:moveTo>
                  <a:cubicBezTo>
                    <a:pt x="3235" y="11465"/>
                    <a:pt x="3235" y="11465"/>
                    <a:pt x="3235" y="11465"/>
                  </a:cubicBezTo>
                  <a:cubicBezTo>
                    <a:pt x="3235" y="11465"/>
                    <a:pt x="3045" y="11465"/>
                    <a:pt x="3045" y="11465"/>
                  </a:cubicBezTo>
                  <a:cubicBezTo>
                    <a:pt x="3045" y="11465"/>
                    <a:pt x="2950" y="11465"/>
                    <a:pt x="2950" y="11363"/>
                  </a:cubicBezTo>
                  <a:cubicBezTo>
                    <a:pt x="2950" y="11363"/>
                    <a:pt x="2950" y="11261"/>
                    <a:pt x="3045" y="11261"/>
                  </a:cubicBezTo>
                  <a:cubicBezTo>
                    <a:pt x="3045" y="11261"/>
                    <a:pt x="3045" y="11158"/>
                    <a:pt x="3045" y="11056"/>
                  </a:cubicBezTo>
                  <a:cubicBezTo>
                    <a:pt x="3045" y="11056"/>
                    <a:pt x="3140" y="11056"/>
                    <a:pt x="3140" y="11056"/>
                  </a:cubicBezTo>
                  <a:cubicBezTo>
                    <a:pt x="3140" y="11056"/>
                    <a:pt x="3235" y="11158"/>
                    <a:pt x="3235" y="11158"/>
                  </a:cubicBezTo>
                  <a:cubicBezTo>
                    <a:pt x="3235" y="11158"/>
                    <a:pt x="3235" y="11363"/>
                    <a:pt x="3235" y="11465"/>
                  </a:cubicBezTo>
                  <a:close/>
                  <a:moveTo>
                    <a:pt x="3235" y="9111"/>
                  </a:moveTo>
                  <a:cubicBezTo>
                    <a:pt x="3235" y="9111"/>
                    <a:pt x="3235" y="9111"/>
                    <a:pt x="3235" y="9111"/>
                  </a:cubicBezTo>
                  <a:cubicBezTo>
                    <a:pt x="3235" y="9111"/>
                    <a:pt x="3426" y="9111"/>
                    <a:pt x="3426" y="9111"/>
                  </a:cubicBezTo>
                  <a:cubicBezTo>
                    <a:pt x="3426" y="9111"/>
                    <a:pt x="3426" y="9213"/>
                    <a:pt x="3426" y="9316"/>
                  </a:cubicBezTo>
                  <a:cubicBezTo>
                    <a:pt x="3521" y="9316"/>
                    <a:pt x="3521" y="9418"/>
                    <a:pt x="3521" y="9418"/>
                  </a:cubicBezTo>
                  <a:cubicBezTo>
                    <a:pt x="3616" y="9418"/>
                    <a:pt x="3616" y="9418"/>
                    <a:pt x="3616" y="9418"/>
                  </a:cubicBezTo>
                  <a:cubicBezTo>
                    <a:pt x="3616" y="9418"/>
                    <a:pt x="3711" y="9316"/>
                    <a:pt x="3711" y="9418"/>
                  </a:cubicBezTo>
                  <a:cubicBezTo>
                    <a:pt x="3806" y="9418"/>
                    <a:pt x="3901" y="9316"/>
                    <a:pt x="3901" y="9316"/>
                  </a:cubicBezTo>
                  <a:cubicBezTo>
                    <a:pt x="3901" y="9316"/>
                    <a:pt x="3996" y="9418"/>
                    <a:pt x="3996" y="9418"/>
                  </a:cubicBezTo>
                  <a:cubicBezTo>
                    <a:pt x="3996" y="9520"/>
                    <a:pt x="3901" y="9623"/>
                    <a:pt x="3901" y="9623"/>
                  </a:cubicBezTo>
                  <a:cubicBezTo>
                    <a:pt x="3806" y="9623"/>
                    <a:pt x="3711" y="9520"/>
                    <a:pt x="3711" y="9520"/>
                  </a:cubicBezTo>
                  <a:cubicBezTo>
                    <a:pt x="3711" y="9520"/>
                    <a:pt x="3616" y="9418"/>
                    <a:pt x="3616" y="9520"/>
                  </a:cubicBezTo>
                  <a:cubicBezTo>
                    <a:pt x="3616" y="9520"/>
                    <a:pt x="3616" y="9623"/>
                    <a:pt x="3616" y="9725"/>
                  </a:cubicBezTo>
                  <a:cubicBezTo>
                    <a:pt x="3711" y="9725"/>
                    <a:pt x="3711" y="9725"/>
                    <a:pt x="3711" y="9827"/>
                  </a:cubicBezTo>
                  <a:cubicBezTo>
                    <a:pt x="3616" y="9827"/>
                    <a:pt x="3616" y="9930"/>
                    <a:pt x="3616" y="9930"/>
                  </a:cubicBezTo>
                  <a:cubicBezTo>
                    <a:pt x="3616" y="10032"/>
                    <a:pt x="3711" y="10135"/>
                    <a:pt x="3711" y="10135"/>
                  </a:cubicBezTo>
                  <a:cubicBezTo>
                    <a:pt x="3711" y="10135"/>
                    <a:pt x="3711" y="10135"/>
                    <a:pt x="3711" y="10237"/>
                  </a:cubicBezTo>
                  <a:cubicBezTo>
                    <a:pt x="3711" y="10237"/>
                    <a:pt x="3806" y="10339"/>
                    <a:pt x="3806" y="10339"/>
                  </a:cubicBezTo>
                  <a:cubicBezTo>
                    <a:pt x="3806" y="10442"/>
                    <a:pt x="3806" y="10544"/>
                    <a:pt x="3806" y="10544"/>
                  </a:cubicBezTo>
                  <a:cubicBezTo>
                    <a:pt x="3901" y="10646"/>
                    <a:pt x="3901" y="10646"/>
                    <a:pt x="3901" y="10646"/>
                  </a:cubicBezTo>
                  <a:cubicBezTo>
                    <a:pt x="3806" y="10851"/>
                    <a:pt x="3806" y="10851"/>
                    <a:pt x="3806" y="10851"/>
                  </a:cubicBezTo>
                  <a:cubicBezTo>
                    <a:pt x="3806" y="10851"/>
                    <a:pt x="3901" y="10954"/>
                    <a:pt x="3901" y="10954"/>
                  </a:cubicBezTo>
                  <a:cubicBezTo>
                    <a:pt x="3901" y="11056"/>
                    <a:pt x="4092" y="11158"/>
                    <a:pt x="4092" y="11261"/>
                  </a:cubicBezTo>
                  <a:cubicBezTo>
                    <a:pt x="4092" y="11261"/>
                    <a:pt x="4092" y="11465"/>
                    <a:pt x="3996" y="11465"/>
                  </a:cubicBezTo>
                  <a:cubicBezTo>
                    <a:pt x="3996" y="11465"/>
                    <a:pt x="3901" y="11568"/>
                    <a:pt x="3901" y="11465"/>
                  </a:cubicBezTo>
                  <a:cubicBezTo>
                    <a:pt x="3806" y="11363"/>
                    <a:pt x="3711" y="11158"/>
                    <a:pt x="3711" y="11158"/>
                  </a:cubicBezTo>
                  <a:cubicBezTo>
                    <a:pt x="3711" y="11158"/>
                    <a:pt x="3711" y="11158"/>
                    <a:pt x="3711" y="11158"/>
                  </a:cubicBezTo>
                  <a:cubicBezTo>
                    <a:pt x="3711" y="11261"/>
                    <a:pt x="3616" y="11363"/>
                    <a:pt x="3616" y="11363"/>
                  </a:cubicBezTo>
                  <a:cubicBezTo>
                    <a:pt x="3616" y="11465"/>
                    <a:pt x="3806" y="11568"/>
                    <a:pt x="3806" y="11568"/>
                  </a:cubicBezTo>
                  <a:cubicBezTo>
                    <a:pt x="3806" y="11568"/>
                    <a:pt x="3711" y="11363"/>
                    <a:pt x="3806" y="11568"/>
                  </a:cubicBezTo>
                  <a:cubicBezTo>
                    <a:pt x="3901" y="11773"/>
                    <a:pt x="3996" y="11875"/>
                    <a:pt x="3996" y="11875"/>
                  </a:cubicBezTo>
                  <a:cubicBezTo>
                    <a:pt x="3996" y="11875"/>
                    <a:pt x="4092" y="11977"/>
                    <a:pt x="4187" y="11977"/>
                  </a:cubicBezTo>
                  <a:cubicBezTo>
                    <a:pt x="4187" y="12080"/>
                    <a:pt x="4187" y="12080"/>
                    <a:pt x="4282" y="12182"/>
                  </a:cubicBezTo>
                  <a:cubicBezTo>
                    <a:pt x="4282" y="12182"/>
                    <a:pt x="4377" y="12284"/>
                    <a:pt x="4282" y="12284"/>
                  </a:cubicBezTo>
                  <a:cubicBezTo>
                    <a:pt x="4187" y="12387"/>
                    <a:pt x="4282" y="12387"/>
                    <a:pt x="4187" y="12387"/>
                  </a:cubicBezTo>
                  <a:cubicBezTo>
                    <a:pt x="4187" y="12284"/>
                    <a:pt x="4092" y="12284"/>
                    <a:pt x="4092" y="12182"/>
                  </a:cubicBezTo>
                  <a:cubicBezTo>
                    <a:pt x="4092" y="12080"/>
                    <a:pt x="3996" y="11977"/>
                    <a:pt x="3996" y="11875"/>
                  </a:cubicBezTo>
                  <a:cubicBezTo>
                    <a:pt x="3901" y="11875"/>
                    <a:pt x="3806" y="11773"/>
                    <a:pt x="3806" y="11773"/>
                  </a:cubicBezTo>
                  <a:cubicBezTo>
                    <a:pt x="3711" y="11773"/>
                    <a:pt x="3711" y="11670"/>
                    <a:pt x="3711" y="11670"/>
                  </a:cubicBezTo>
                  <a:cubicBezTo>
                    <a:pt x="3711" y="11670"/>
                    <a:pt x="3616" y="11670"/>
                    <a:pt x="3616" y="11670"/>
                  </a:cubicBezTo>
                  <a:cubicBezTo>
                    <a:pt x="3616" y="11670"/>
                    <a:pt x="3426" y="11670"/>
                    <a:pt x="3426" y="11670"/>
                  </a:cubicBezTo>
                  <a:cubicBezTo>
                    <a:pt x="3426" y="11568"/>
                    <a:pt x="3426" y="11568"/>
                    <a:pt x="3521" y="11465"/>
                  </a:cubicBezTo>
                  <a:cubicBezTo>
                    <a:pt x="3521" y="11465"/>
                    <a:pt x="3616" y="11465"/>
                    <a:pt x="3616" y="11465"/>
                  </a:cubicBezTo>
                  <a:cubicBezTo>
                    <a:pt x="3616" y="11465"/>
                    <a:pt x="3521" y="11363"/>
                    <a:pt x="3521" y="11363"/>
                  </a:cubicBezTo>
                  <a:cubicBezTo>
                    <a:pt x="3521" y="11363"/>
                    <a:pt x="3521" y="11261"/>
                    <a:pt x="3521" y="11261"/>
                  </a:cubicBezTo>
                  <a:cubicBezTo>
                    <a:pt x="3426" y="11261"/>
                    <a:pt x="3426" y="11363"/>
                    <a:pt x="3426" y="11261"/>
                  </a:cubicBezTo>
                  <a:cubicBezTo>
                    <a:pt x="3426" y="11158"/>
                    <a:pt x="3426" y="11158"/>
                    <a:pt x="3426" y="11056"/>
                  </a:cubicBezTo>
                  <a:cubicBezTo>
                    <a:pt x="3426" y="11056"/>
                    <a:pt x="3426" y="10851"/>
                    <a:pt x="3426" y="10851"/>
                  </a:cubicBezTo>
                  <a:cubicBezTo>
                    <a:pt x="3521" y="10954"/>
                    <a:pt x="3521" y="10954"/>
                    <a:pt x="3521" y="10954"/>
                  </a:cubicBezTo>
                  <a:cubicBezTo>
                    <a:pt x="3616" y="10749"/>
                    <a:pt x="3616" y="10749"/>
                    <a:pt x="3616" y="10749"/>
                  </a:cubicBezTo>
                  <a:cubicBezTo>
                    <a:pt x="3616" y="10749"/>
                    <a:pt x="3616" y="10749"/>
                    <a:pt x="3521" y="10749"/>
                  </a:cubicBezTo>
                  <a:cubicBezTo>
                    <a:pt x="3426" y="10749"/>
                    <a:pt x="3426" y="10544"/>
                    <a:pt x="3426" y="10544"/>
                  </a:cubicBezTo>
                  <a:cubicBezTo>
                    <a:pt x="3426" y="10544"/>
                    <a:pt x="3426" y="10442"/>
                    <a:pt x="3426" y="10442"/>
                  </a:cubicBezTo>
                  <a:cubicBezTo>
                    <a:pt x="3426" y="10442"/>
                    <a:pt x="3330" y="10442"/>
                    <a:pt x="3330" y="10339"/>
                  </a:cubicBezTo>
                  <a:cubicBezTo>
                    <a:pt x="3235" y="10237"/>
                    <a:pt x="3235" y="10135"/>
                    <a:pt x="3235" y="10135"/>
                  </a:cubicBezTo>
                  <a:cubicBezTo>
                    <a:pt x="3235" y="10135"/>
                    <a:pt x="3330" y="10135"/>
                    <a:pt x="3235" y="10032"/>
                  </a:cubicBezTo>
                  <a:cubicBezTo>
                    <a:pt x="3235" y="9930"/>
                    <a:pt x="3235" y="9930"/>
                    <a:pt x="3140" y="9930"/>
                  </a:cubicBezTo>
                  <a:cubicBezTo>
                    <a:pt x="3140" y="9827"/>
                    <a:pt x="3140" y="9725"/>
                    <a:pt x="3235" y="9725"/>
                  </a:cubicBezTo>
                  <a:cubicBezTo>
                    <a:pt x="3235" y="9725"/>
                    <a:pt x="3235" y="9725"/>
                    <a:pt x="3330" y="9725"/>
                  </a:cubicBezTo>
                  <a:cubicBezTo>
                    <a:pt x="3330" y="9827"/>
                    <a:pt x="3426" y="9827"/>
                    <a:pt x="3426" y="9827"/>
                  </a:cubicBezTo>
                  <a:cubicBezTo>
                    <a:pt x="3426" y="9725"/>
                    <a:pt x="3521" y="9623"/>
                    <a:pt x="3426" y="9623"/>
                  </a:cubicBezTo>
                  <a:cubicBezTo>
                    <a:pt x="3426" y="9520"/>
                    <a:pt x="3330" y="9418"/>
                    <a:pt x="3330" y="9418"/>
                  </a:cubicBezTo>
                  <a:cubicBezTo>
                    <a:pt x="3235" y="9316"/>
                    <a:pt x="3235" y="9316"/>
                    <a:pt x="3235" y="9316"/>
                  </a:cubicBezTo>
                  <a:cubicBezTo>
                    <a:pt x="3235" y="9316"/>
                    <a:pt x="3235" y="9316"/>
                    <a:pt x="3235" y="9213"/>
                  </a:cubicBezTo>
                  <a:cubicBezTo>
                    <a:pt x="3235" y="9213"/>
                    <a:pt x="3235" y="9111"/>
                    <a:pt x="3235" y="9111"/>
                  </a:cubicBezTo>
                  <a:close/>
                  <a:moveTo>
                    <a:pt x="3140" y="9111"/>
                  </a:moveTo>
                  <a:cubicBezTo>
                    <a:pt x="3140" y="9111"/>
                    <a:pt x="3140" y="9111"/>
                    <a:pt x="3140" y="9111"/>
                  </a:cubicBezTo>
                  <a:cubicBezTo>
                    <a:pt x="3140" y="9111"/>
                    <a:pt x="3045" y="9009"/>
                    <a:pt x="3045" y="8906"/>
                  </a:cubicBezTo>
                  <a:cubicBezTo>
                    <a:pt x="3045" y="8906"/>
                    <a:pt x="3045" y="8906"/>
                    <a:pt x="3045" y="8804"/>
                  </a:cubicBezTo>
                  <a:cubicBezTo>
                    <a:pt x="3045" y="8701"/>
                    <a:pt x="2950" y="8701"/>
                    <a:pt x="2950" y="8599"/>
                  </a:cubicBezTo>
                  <a:cubicBezTo>
                    <a:pt x="3045" y="8599"/>
                    <a:pt x="3045" y="8497"/>
                    <a:pt x="3045" y="8497"/>
                  </a:cubicBezTo>
                  <a:cubicBezTo>
                    <a:pt x="3140" y="8394"/>
                    <a:pt x="3235" y="8394"/>
                    <a:pt x="3235" y="8497"/>
                  </a:cubicBezTo>
                  <a:cubicBezTo>
                    <a:pt x="3235" y="8497"/>
                    <a:pt x="3235" y="8599"/>
                    <a:pt x="3235" y="8701"/>
                  </a:cubicBezTo>
                  <a:cubicBezTo>
                    <a:pt x="3235" y="8701"/>
                    <a:pt x="3235" y="8804"/>
                    <a:pt x="3235" y="8804"/>
                  </a:cubicBezTo>
                  <a:cubicBezTo>
                    <a:pt x="3235" y="8906"/>
                    <a:pt x="3330" y="8906"/>
                    <a:pt x="3330" y="8906"/>
                  </a:cubicBezTo>
                  <a:cubicBezTo>
                    <a:pt x="3330" y="9009"/>
                    <a:pt x="3330" y="9111"/>
                    <a:pt x="3330" y="9111"/>
                  </a:cubicBezTo>
                  <a:lnTo>
                    <a:pt x="3140" y="911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9" name="Shape 2232">
              <a:extLst>
                <a:ext uri="{FF2B5EF4-FFF2-40B4-BE49-F238E27FC236}">
                  <a16:creationId xmlns:a16="http://schemas.microsoft.com/office/drawing/2014/main" id="{DF95BC8D-DD2D-507C-4A9F-503EC41876AB}"/>
                </a:ext>
              </a:extLst>
            </p:cNvPr>
            <p:cNvSpPr/>
            <p:nvPr/>
          </p:nvSpPr>
          <p:spPr>
            <a:xfrm>
              <a:off x="7842174" y="7684919"/>
              <a:ext cx="388398" cy="211197"/>
            </a:xfrm>
            <a:custGeom>
              <a:avLst/>
              <a:gdLst/>
              <a:ahLst/>
              <a:cxnLst>
                <a:cxn ang="0">
                  <a:pos x="wd2" y="hd2"/>
                </a:cxn>
                <a:cxn ang="5400000">
                  <a:pos x="wd2" y="hd2"/>
                </a:cxn>
                <a:cxn ang="10800000">
                  <a:pos x="wd2" y="hd2"/>
                </a:cxn>
                <a:cxn ang="16200000">
                  <a:pos x="wd2" y="hd2"/>
                </a:cxn>
              </a:cxnLst>
              <a:rect l="0" t="0" r="r" b="b"/>
              <a:pathLst>
                <a:path w="21417" h="20762" extrusionOk="0">
                  <a:moveTo>
                    <a:pt x="455" y="15078"/>
                  </a:moveTo>
                  <a:cubicBezTo>
                    <a:pt x="455" y="15078"/>
                    <a:pt x="455" y="14686"/>
                    <a:pt x="455" y="13900"/>
                  </a:cubicBezTo>
                  <a:cubicBezTo>
                    <a:pt x="227" y="13115"/>
                    <a:pt x="0" y="11937"/>
                    <a:pt x="0" y="11937"/>
                  </a:cubicBezTo>
                  <a:cubicBezTo>
                    <a:pt x="0" y="11937"/>
                    <a:pt x="227" y="11544"/>
                    <a:pt x="455" y="11937"/>
                  </a:cubicBezTo>
                  <a:cubicBezTo>
                    <a:pt x="682" y="12329"/>
                    <a:pt x="909" y="13115"/>
                    <a:pt x="1592" y="12329"/>
                  </a:cubicBezTo>
                  <a:cubicBezTo>
                    <a:pt x="1819" y="12329"/>
                    <a:pt x="2046" y="12329"/>
                    <a:pt x="2046" y="11937"/>
                  </a:cubicBezTo>
                  <a:cubicBezTo>
                    <a:pt x="2501" y="11151"/>
                    <a:pt x="2501" y="10366"/>
                    <a:pt x="2728" y="10366"/>
                  </a:cubicBezTo>
                  <a:cubicBezTo>
                    <a:pt x="2956" y="9973"/>
                    <a:pt x="2956" y="10366"/>
                    <a:pt x="3411" y="10366"/>
                  </a:cubicBezTo>
                  <a:cubicBezTo>
                    <a:pt x="3411" y="10366"/>
                    <a:pt x="3638" y="9973"/>
                    <a:pt x="3638" y="9973"/>
                  </a:cubicBezTo>
                  <a:cubicBezTo>
                    <a:pt x="3865" y="9973"/>
                    <a:pt x="3865" y="10366"/>
                    <a:pt x="4093" y="10366"/>
                  </a:cubicBezTo>
                  <a:cubicBezTo>
                    <a:pt x="4320" y="10366"/>
                    <a:pt x="4320" y="9973"/>
                    <a:pt x="4547" y="10366"/>
                  </a:cubicBezTo>
                  <a:cubicBezTo>
                    <a:pt x="4775" y="10366"/>
                    <a:pt x="5002" y="10758"/>
                    <a:pt x="5229" y="10758"/>
                  </a:cubicBezTo>
                  <a:cubicBezTo>
                    <a:pt x="5457" y="10758"/>
                    <a:pt x="5912" y="10758"/>
                    <a:pt x="5912" y="9973"/>
                  </a:cubicBezTo>
                  <a:cubicBezTo>
                    <a:pt x="6139" y="9580"/>
                    <a:pt x="6366" y="8795"/>
                    <a:pt x="6366" y="7617"/>
                  </a:cubicBezTo>
                  <a:cubicBezTo>
                    <a:pt x="6366" y="6438"/>
                    <a:pt x="6139" y="5653"/>
                    <a:pt x="6366" y="6046"/>
                  </a:cubicBezTo>
                  <a:cubicBezTo>
                    <a:pt x="6366" y="6046"/>
                    <a:pt x="7048" y="6438"/>
                    <a:pt x="7503" y="6831"/>
                  </a:cubicBezTo>
                  <a:cubicBezTo>
                    <a:pt x="7958" y="6831"/>
                    <a:pt x="7731" y="6438"/>
                    <a:pt x="8185" y="6831"/>
                  </a:cubicBezTo>
                  <a:cubicBezTo>
                    <a:pt x="8640" y="6831"/>
                    <a:pt x="9549" y="7224"/>
                    <a:pt x="10004" y="7224"/>
                  </a:cubicBezTo>
                  <a:cubicBezTo>
                    <a:pt x="10914" y="7224"/>
                    <a:pt x="12051" y="7224"/>
                    <a:pt x="13187" y="6831"/>
                  </a:cubicBezTo>
                  <a:cubicBezTo>
                    <a:pt x="13187" y="6438"/>
                    <a:pt x="13642" y="6046"/>
                    <a:pt x="13869" y="6046"/>
                  </a:cubicBezTo>
                  <a:cubicBezTo>
                    <a:pt x="14097" y="5653"/>
                    <a:pt x="14552" y="6046"/>
                    <a:pt x="15006" y="5653"/>
                  </a:cubicBezTo>
                  <a:cubicBezTo>
                    <a:pt x="15234" y="5653"/>
                    <a:pt x="15688" y="5260"/>
                    <a:pt x="15916" y="4867"/>
                  </a:cubicBezTo>
                  <a:cubicBezTo>
                    <a:pt x="16371" y="4475"/>
                    <a:pt x="16825" y="4082"/>
                    <a:pt x="17280" y="3689"/>
                  </a:cubicBezTo>
                  <a:cubicBezTo>
                    <a:pt x="17507" y="3689"/>
                    <a:pt x="17507" y="3297"/>
                    <a:pt x="17735" y="2904"/>
                  </a:cubicBezTo>
                  <a:cubicBezTo>
                    <a:pt x="17962" y="2904"/>
                    <a:pt x="17962" y="2904"/>
                    <a:pt x="18189" y="2904"/>
                  </a:cubicBezTo>
                  <a:cubicBezTo>
                    <a:pt x="18417" y="2904"/>
                    <a:pt x="18644" y="2511"/>
                    <a:pt x="18872" y="2511"/>
                  </a:cubicBezTo>
                  <a:cubicBezTo>
                    <a:pt x="19326" y="2118"/>
                    <a:pt x="19554" y="1726"/>
                    <a:pt x="20236" y="940"/>
                  </a:cubicBezTo>
                  <a:cubicBezTo>
                    <a:pt x="20918" y="-238"/>
                    <a:pt x="21600" y="-238"/>
                    <a:pt x="21373" y="547"/>
                  </a:cubicBezTo>
                  <a:cubicBezTo>
                    <a:pt x="21373" y="940"/>
                    <a:pt x="20463" y="1726"/>
                    <a:pt x="20236" y="2118"/>
                  </a:cubicBezTo>
                  <a:cubicBezTo>
                    <a:pt x="19781" y="2904"/>
                    <a:pt x="19326" y="3689"/>
                    <a:pt x="18872" y="4082"/>
                  </a:cubicBezTo>
                  <a:cubicBezTo>
                    <a:pt x="18417" y="4082"/>
                    <a:pt x="17735" y="4867"/>
                    <a:pt x="17280" y="5653"/>
                  </a:cubicBezTo>
                  <a:cubicBezTo>
                    <a:pt x="16825" y="6046"/>
                    <a:pt x="16825" y="6831"/>
                    <a:pt x="16598" y="7224"/>
                  </a:cubicBezTo>
                  <a:cubicBezTo>
                    <a:pt x="15916" y="8009"/>
                    <a:pt x="15688" y="7224"/>
                    <a:pt x="15461" y="7617"/>
                  </a:cubicBezTo>
                  <a:cubicBezTo>
                    <a:pt x="15461" y="8402"/>
                    <a:pt x="15234" y="9580"/>
                    <a:pt x="15234" y="10366"/>
                  </a:cubicBezTo>
                  <a:cubicBezTo>
                    <a:pt x="15461" y="11544"/>
                    <a:pt x="16143" y="12329"/>
                    <a:pt x="16598" y="13115"/>
                  </a:cubicBezTo>
                  <a:cubicBezTo>
                    <a:pt x="16598" y="13115"/>
                    <a:pt x="17280" y="14293"/>
                    <a:pt x="16825" y="14686"/>
                  </a:cubicBezTo>
                  <a:cubicBezTo>
                    <a:pt x="16598" y="14686"/>
                    <a:pt x="16371" y="13900"/>
                    <a:pt x="15916" y="13900"/>
                  </a:cubicBezTo>
                  <a:cubicBezTo>
                    <a:pt x="15461" y="13900"/>
                    <a:pt x="14779" y="13900"/>
                    <a:pt x="14324" y="14293"/>
                  </a:cubicBezTo>
                  <a:cubicBezTo>
                    <a:pt x="14097" y="14293"/>
                    <a:pt x="13869" y="13900"/>
                    <a:pt x="13415" y="13900"/>
                  </a:cubicBezTo>
                  <a:cubicBezTo>
                    <a:pt x="12960" y="14293"/>
                    <a:pt x="12505" y="15864"/>
                    <a:pt x="12505" y="16649"/>
                  </a:cubicBezTo>
                  <a:cubicBezTo>
                    <a:pt x="12505" y="17042"/>
                    <a:pt x="12051" y="17042"/>
                    <a:pt x="11823" y="17827"/>
                  </a:cubicBezTo>
                  <a:cubicBezTo>
                    <a:pt x="11368" y="18220"/>
                    <a:pt x="11141" y="17827"/>
                    <a:pt x="10686" y="18220"/>
                  </a:cubicBezTo>
                  <a:cubicBezTo>
                    <a:pt x="10232" y="18613"/>
                    <a:pt x="10232" y="19006"/>
                    <a:pt x="9777" y="19006"/>
                  </a:cubicBezTo>
                  <a:cubicBezTo>
                    <a:pt x="9095" y="19006"/>
                    <a:pt x="8413" y="19398"/>
                    <a:pt x="8185" y="19398"/>
                  </a:cubicBezTo>
                  <a:cubicBezTo>
                    <a:pt x="6821" y="19398"/>
                    <a:pt x="7503" y="21362"/>
                    <a:pt x="6594" y="20577"/>
                  </a:cubicBezTo>
                  <a:cubicBezTo>
                    <a:pt x="6139" y="20577"/>
                    <a:pt x="5912" y="19791"/>
                    <a:pt x="5457" y="19398"/>
                  </a:cubicBezTo>
                  <a:cubicBezTo>
                    <a:pt x="5229" y="19398"/>
                    <a:pt x="4775" y="20184"/>
                    <a:pt x="4320" y="20577"/>
                  </a:cubicBezTo>
                  <a:cubicBezTo>
                    <a:pt x="3865" y="20969"/>
                    <a:pt x="3183" y="19791"/>
                    <a:pt x="2728" y="19398"/>
                  </a:cubicBezTo>
                  <a:cubicBezTo>
                    <a:pt x="2274" y="19006"/>
                    <a:pt x="2046" y="19791"/>
                    <a:pt x="1819" y="19398"/>
                  </a:cubicBezTo>
                  <a:cubicBezTo>
                    <a:pt x="1364" y="18613"/>
                    <a:pt x="1592" y="17827"/>
                    <a:pt x="1137" y="17435"/>
                  </a:cubicBezTo>
                  <a:cubicBezTo>
                    <a:pt x="909" y="16649"/>
                    <a:pt x="455" y="15864"/>
                    <a:pt x="455" y="15078"/>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0" name="Shape 2233">
              <a:extLst>
                <a:ext uri="{FF2B5EF4-FFF2-40B4-BE49-F238E27FC236}">
                  <a16:creationId xmlns:a16="http://schemas.microsoft.com/office/drawing/2014/main" id="{2314C11E-3ACE-4038-F1F7-6656F710917F}"/>
                </a:ext>
              </a:extLst>
            </p:cNvPr>
            <p:cNvSpPr/>
            <p:nvPr/>
          </p:nvSpPr>
          <p:spPr>
            <a:xfrm>
              <a:off x="5090256" y="5963283"/>
              <a:ext cx="767516" cy="792151"/>
            </a:xfrm>
            <a:custGeom>
              <a:avLst/>
              <a:gdLst/>
              <a:ahLst/>
              <a:cxnLst>
                <a:cxn ang="0">
                  <a:pos x="wd2" y="hd2"/>
                </a:cxn>
                <a:cxn ang="5400000">
                  <a:pos x="wd2" y="hd2"/>
                </a:cxn>
                <a:cxn ang="10800000">
                  <a:pos x="wd2" y="hd2"/>
                </a:cxn>
                <a:cxn ang="16200000">
                  <a:pos x="wd2" y="hd2"/>
                </a:cxn>
              </a:cxnLst>
              <a:rect l="0" t="0" r="r" b="b"/>
              <a:pathLst>
                <a:path w="21600" h="21600" extrusionOk="0">
                  <a:moveTo>
                    <a:pt x="1277" y="1527"/>
                  </a:moveTo>
                  <a:cubicBezTo>
                    <a:pt x="1277" y="1527"/>
                    <a:pt x="1277" y="1527"/>
                    <a:pt x="1277" y="1527"/>
                  </a:cubicBezTo>
                  <a:cubicBezTo>
                    <a:pt x="1277" y="1527"/>
                    <a:pt x="1277" y="1527"/>
                    <a:pt x="1277" y="1527"/>
                  </a:cubicBezTo>
                  <a:cubicBezTo>
                    <a:pt x="1394" y="1527"/>
                    <a:pt x="1394" y="1527"/>
                    <a:pt x="1510" y="1527"/>
                  </a:cubicBezTo>
                  <a:cubicBezTo>
                    <a:pt x="1742" y="1527"/>
                    <a:pt x="1858" y="1527"/>
                    <a:pt x="1858" y="1527"/>
                  </a:cubicBezTo>
                  <a:cubicBezTo>
                    <a:pt x="1974" y="1200"/>
                    <a:pt x="1974" y="1200"/>
                    <a:pt x="1974" y="1200"/>
                  </a:cubicBezTo>
                  <a:cubicBezTo>
                    <a:pt x="2206" y="1091"/>
                    <a:pt x="2206" y="1091"/>
                    <a:pt x="2206" y="1091"/>
                  </a:cubicBezTo>
                  <a:cubicBezTo>
                    <a:pt x="2206" y="1091"/>
                    <a:pt x="2555" y="655"/>
                    <a:pt x="2671" y="655"/>
                  </a:cubicBezTo>
                  <a:cubicBezTo>
                    <a:pt x="2903" y="655"/>
                    <a:pt x="2671" y="436"/>
                    <a:pt x="2671" y="436"/>
                  </a:cubicBezTo>
                  <a:cubicBezTo>
                    <a:pt x="2671" y="436"/>
                    <a:pt x="3252" y="218"/>
                    <a:pt x="3484" y="218"/>
                  </a:cubicBezTo>
                  <a:cubicBezTo>
                    <a:pt x="3484" y="218"/>
                    <a:pt x="3484" y="218"/>
                    <a:pt x="3600" y="218"/>
                  </a:cubicBezTo>
                  <a:cubicBezTo>
                    <a:pt x="3716" y="218"/>
                    <a:pt x="3716" y="327"/>
                    <a:pt x="3716" y="327"/>
                  </a:cubicBezTo>
                  <a:cubicBezTo>
                    <a:pt x="4181" y="109"/>
                    <a:pt x="4181" y="109"/>
                    <a:pt x="4181" y="109"/>
                  </a:cubicBezTo>
                  <a:cubicBezTo>
                    <a:pt x="4181" y="109"/>
                    <a:pt x="4877" y="0"/>
                    <a:pt x="4994" y="0"/>
                  </a:cubicBezTo>
                  <a:cubicBezTo>
                    <a:pt x="5110" y="0"/>
                    <a:pt x="5342" y="109"/>
                    <a:pt x="5342" y="109"/>
                  </a:cubicBezTo>
                  <a:cubicBezTo>
                    <a:pt x="5574" y="109"/>
                    <a:pt x="5574" y="109"/>
                    <a:pt x="5574" y="109"/>
                  </a:cubicBezTo>
                  <a:cubicBezTo>
                    <a:pt x="5574" y="109"/>
                    <a:pt x="5690" y="218"/>
                    <a:pt x="5806" y="218"/>
                  </a:cubicBezTo>
                  <a:cubicBezTo>
                    <a:pt x="6039" y="327"/>
                    <a:pt x="6155" y="655"/>
                    <a:pt x="6271" y="655"/>
                  </a:cubicBezTo>
                  <a:cubicBezTo>
                    <a:pt x="6503" y="764"/>
                    <a:pt x="6735" y="764"/>
                    <a:pt x="6852" y="764"/>
                  </a:cubicBezTo>
                  <a:cubicBezTo>
                    <a:pt x="6968" y="873"/>
                    <a:pt x="7200" y="982"/>
                    <a:pt x="7200" y="982"/>
                  </a:cubicBezTo>
                  <a:cubicBezTo>
                    <a:pt x="7200" y="982"/>
                    <a:pt x="7781" y="1527"/>
                    <a:pt x="7897" y="1527"/>
                  </a:cubicBezTo>
                  <a:cubicBezTo>
                    <a:pt x="8013" y="1527"/>
                    <a:pt x="8013" y="1527"/>
                    <a:pt x="8129" y="1745"/>
                  </a:cubicBezTo>
                  <a:cubicBezTo>
                    <a:pt x="8245" y="1855"/>
                    <a:pt x="8594" y="1745"/>
                    <a:pt x="8594" y="1745"/>
                  </a:cubicBezTo>
                  <a:cubicBezTo>
                    <a:pt x="8594" y="1745"/>
                    <a:pt x="8710" y="2073"/>
                    <a:pt x="8594" y="2182"/>
                  </a:cubicBezTo>
                  <a:cubicBezTo>
                    <a:pt x="8594" y="2291"/>
                    <a:pt x="8594" y="2618"/>
                    <a:pt x="8594" y="2618"/>
                  </a:cubicBezTo>
                  <a:cubicBezTo>
                    <a:pt x="8594" y="2618"/>
                    <a:pt x="8594" y="2727"/>
                    <a:pt x="8594" y="2836"/>
                  </a:cubicBezTo>
                  <a:cubicBezTo>
                    <a:pt x="8710" y="3055"/>
                    <a:pt x="8826" y="3055"/>
                    <a:pt x="8826" y="3273"/>
                  </a:cubicBezTo>
                  <a:cubicBezTo>
                    <a:pt x="8942" y="3382"/>
                    <a:pt x="8826" y="3382"/>
                    <a:pt x="8942" y="3491"/>
                  </a:cubicBezTo>
                  <a:cubicBezTo>
                    <a:pt x="9058" y="3600"/>
                    <a:pt x="9174" y="3818"/>
                    <a:pt x="9290" y="3818"/>
                  </a:cubicBezTo>
                  <a:cubicBezTo>
                    <a:pt x="9406" y="3818"/>
                    <a:pt x="9523" y="3818"/>
                    <a:pt x="9871" y="3927"/>
                  </a:cubicBezTo>
                  <a:cubicBezTo>
                    <a:pt x="10219" y="4145"/>
                    <a:pt x="10335" y="4145"/>
                    <a:pt x="10452" y="4255"/>
                  </a:cubicBezTo>
                  <a:cubicBezTo>
                    <a:pt x="10684" y="4364"/>
                    <a:pt x="10568" y="4255"/>
                    <a:pt x="10916" y="4364"/>
                  </a:cubicBezTo>
                  <a:cubicBezTo>
                    <a:pt x="11381" y="4473"/>
                    <a:pt x="11265" y="4364"/>
                    <a:pt x="11381" y="4473"/>
                  </a:cubicBezTo>
                  <a:cubicBezTo>
                    <a:pt x="11497" y="4473"/>
                    <a:pt x="11381" y="4364"/>
                    <a:pt x="11613" y="4473"/>
                  </a:cubicBezTo>
                  <a:cubicBezTo>
                    <a:pt x="11961" y="4473"/>
                    <a:pt x="12194" y="4582"/>
                    <a:pt x="12194" y="4582"/>
                  </a:cubicBezTo>
                  <a:cubicBezTo>
                    <a:pt x="12194" y="4800"/>
                    <a:pt x="12194" y="4800"/>
                    <a:pt x="12194" y="4800"/>
                  </a:cubicBezTo>
                  <a:cubicBezTo>
                    <a:pt x="11961" y="5236"/>
                    <a:pt x="11961" y="5236"/>
                    <a:pt x="11961" y="5236"/>
                  </a:cubicBezTo>
                  <a:cubicBezTo>
                    <a:pt x="11961" y="5564"/>
                    <a:pt x="11961" y="5564"/>
                    <a:pt x="11961" y="5564"/>
                  </a:cubicBezTo>
                  <a:cubicBezTo>
                    <a:pt x="11961" y="5564"/>
                    <a:pt x="11729" y="5564"/>
                    <a:pt x="11961" y="5673"/>
                  </a:cubicBezTo>
                  <a:cubicBezTo>
                    <a:pt x="12194" y="5782"/>
                    <a:pt x="12658" y="5891"/>
                    <a:pt x="12658" y="5891"/>
                  </a:cubicBezTo>
                  <a:cubicBezTo>
                    <a:pt x="13006" y="6109"/>
                    <a:pt x="13006" y="6109"/>
                    <a:pt x="13006" y="6109"/>
                  </a:cubicBezTo>
                  <a:cubicBezTo>
                    <a:pt x="13006" y="6109"/>
                    <a:pt x="12774" y="6436"/>
                    <a:pt x="12658" y="6545"/>
                  </a:cubicBezTo>
                  <a:cubicBezTo>
                    <a:pt x="12542" y="6545"/>
                    <a:pt x="12194" y="6545"/>
                    <a:pt x="12194" y="6545"/>
                  </a:cubicBezTo>
                  <a:cubicBezTo>
                    <a:pt x="12194" y="6545"/>
                    <a:pt x="12077" y="6873"/>
                    <a:pt x="12310" y="6873"/>
                  </a:cubicBezTo>
                  <a:cubicBezTo>
                    <a:pt x="12426" y="6982"/>
                    <a:pt x="12658" y="6982"/>
                    <a:pt x="12774" y="6982"/>
                  </a:cubicBezTo>
                  <a:cubicBezTo>
                    <a:pt x="12890" y="6982"/>
                    <a:pt x="13123" y="7091"/>
                    <a:pt x="13123" y="7091"/>
                  </a:cubicBezTo>
                  <a:cubicBezTo>
                    <a:pt x="13123" y="7091"/>
                    <a:pt x="13239" y="7091"/>
                    <a:pt x="13355" y="7200"/>
                  </a:cubicBezTo>
                  <a:cubicBezTo>
                    <a:pt x="13355" y="7418"/>
                    <a:pt x="13471" y="7527"/>
                    <a:pt x="13587" y="7527"/>
                  </a:cubicBezTo>
                  <a:cubicBezTo>
                    <a:pt x="13703" y="7527"/>
                    <a:pt x="13935" y="7527"/>
                    <a:pt x="14052" y="7527"/>
                  </a:cubicBezTo>
                  <a:cubicBezTo>
                    <a:pt x="14168" y="7527"/>
                    <a:pt x="14168" y="7418"/>
                    <a:pt x="14284" y="7418"/>
                  </a:cubicBezTo>
                  <a:cubicBezTo>
                    <a:pt x="14400" y="7527"/>
                    <a:pt x="15097" y="7418"/>
                    <a:pt x="15097" y="7418"/>
                  </a:cubicBezTo>
                  <a:cubicBezTo>
                    <a:pt x="15097" y="7418"/>
                    <a:pt x="15097" y="7418"/>
                    <a:pt x="15213" y="7636"/>
                  </a:cubicBezTo>
                  <a:cubicBezTo>
                    <a:pt x="15445" y="7964"/>
                    <a:pt x="15794" y="8073"/>
                    <a:pt x="15794" y="8073"/>
                  </a:cubicBezTo>
                  <a:cubicBezTo>
                    <a:pt x="15794" y="8073"/>
                    <a:pt x="15910" y="8182"/>
                    <a:pt x="15910" y="8073"/>
                  </a:cubicBezTo>
                  <a:cubicBezTo>
                    <a:pt x="15910" y="7964"/>
                    <a:pt x="16026" y="7855"/>
                    <a:pt x="16026" y="7855"/>
                  </a:cubicBezTo>
                  <a:cubicBezTo>
                    <a:pt x="16026" y="7855"/>
                    <a:pt x="16258" y="7527"/>
                    <a:pt x="16258" y="7418"/>
                  </a:cubicBezTo>
                  <a:cubicBezTo>
                    <a:pt x="16374" y="7309"/>
                    <a:pt x="16490" y="6982"/>
                    <a:pt x="16606" y="6982"/>
                  </a:cubicBezTo>
                  <a:cubicBezTo>
                    <a:pt x="16723" y="6873"/>
                    <a:pt x="17071" y="6655"/>
                    <a:pt x="17071" y="6655"/>
                  </a:cubicBezTo>
                  <a:cubicBezTo>
                    <a:pt x="17071" y="6655"/>
                    <a:pt x="17071" y="6545"/>
                    <a:pt x="17303" y="6655"/>
                  </a:cubicBezTo>
                  <a:cubicBezTo>
                    <a:pt x="17419" y="6873"/>
                    <a:pt x="17768" y="7091"/>
                    <a:pt x="17768" y="7091"/>
                  </a:cubicBezTo>
                  <a:cubicBezTo>
                    <a:pt x="18348" y="7091"/>
                    <a:pt x="18348" y="7091"/>
                    <a:pt x="18348" y="7091"/>
                  </a:cubicBezTo>
                  <a:cubicBezTo>
                    <a:pt x="18348" y="7091"/>
                    <a:pt x="18697" y="7200"/>
                    <a:pt x="18697" y="7309"/>
                  </a:cubicBezTo>
                  <a:cubicBezTo>
                    <a:pt x="18697" y="7418"/>
                    <a:pt x="18581" y="7418"/>
                    <a:pt x="18348" y="7527"/>
                  </a:cubicBezTo>
                  <a:cubicBezTo>
                    <a:pt x="18232" y="7527"/>
                    <a:pt x="17884" y="7200"/>
                    <a:pt x="17884" y="7309"/>
                  </a:cubicBezTo>
                  <a:cubicBezTo>
                    <a:pt x="17768" y="7418"/>
                    <a:pt x="17768" y="7636"/>
                    <a:pt x="17768" y="7636"/>
                  </a:cubicBezTo>
                  <a:cubicBezTo>
                    <a:pt x="17303" y="7855"/>
                    <a:pt x="17303" y="7855"/>
                    <a:pt x="17303" y="7855"/>
                  </a:cubicBezTo>
                  <a:cubicBezTo>
                    <a:pt x="17419" y="8073"/>
                    <a:pt x="17419" y="8073"/>
                    <a:pt x="17419" y="8073"/>
                  </a:cubicBezTo>
                  <a:cubicBezTo>
                    <a:pt x="17419" y="8073"/>
                    <a:pt x="18000" y="8291"/>
                    <a:pt x="18000" y="8400"/>
                  </a:cubicBezTo>
                  <a:cubicBezTo>
                    <a:pt x="18000" y="8509"/>
                    <a:pt x="18000" y="8727"/>
                    <a:pt x="18000" y="8727"/>
                  </a:cubicBezTo>
                  <a:cubicBezTo>
                    <a:pt x="18348" y="8836"/>
                    <a:pt x="18348" y="8836"/>
                    <a:pt x="18348" y="8836"/>
                  </a:cubicBezTo>
                  <a:cubicBezTo>
                    <a:pt x="18581" y="8727"/>
                    <a:pt x="18581" y="8727"/>
                    <a:pt x="18581" y="8727"/>
                  </a:cubicBezTo>
                  <a:cubicBezTo>
                    <a:pt x="18581" y="9164"/>
                    <a:pt x="18581" y="9164"/>
                    <a:pt x="18581" y="9164"/>
                  </a:cubicBezTo>
                  <a:cubicBezTo>
                    <a:pt x="18581" y="9600"/>
                    <a:pt x="18581" y="9600"/>
                    <a:pt x="18581" y="9600"/>
                  </a:cubicBezTo>
                  <a:cubicBezTo>
                    <a:pt x="18581" y="9927"/>
                    <a:pt x="18581" y="9927"/>
                    <a:pt x="18581" y="9927"/>
                  </a:cubicBezTo>
                  <a:cubicBezTo>
                    <a:pt x="18581" y="9927"/>
                    <a:pt x="18697" y="10255"/>
                    <a:pt x="18581" y="10255"/>
                  </a:cubicBezTo>
                  <a:cubicBezTo>
                    <a:pt x="18465" y="10255"/>
                    <a:pt x="18116" y="10473"/>
                    <a:pt x="18116" y="10473"/>
                  </a:cubicBezTo>
                  <a:cubicBezTo>
                    <a:pt x="17884" y="10800"/>
                    <a:pt x="17884" y="10800"/>
                    <a:pt x="17884" y="10800"/>
                  </a:cubicBezTo>
                  <a:cubicBezTo>
                    <a:pt x="17884" y="10800"/>
                    <a:pt x="17884" y="11236"/>
                    <a:pt x="17884" y="11345"/>
                  </a:cubicBezTo>
                  <a:cubicBezTo>
                    <a:pt x="18000" y="11564"/>
                    <a:pt x="17884" y="11891"/>
                    <a:pt x="17884" y="11891"/>
                  </a:cubicBezTo>
                  <a:cubicBezTo>
                    <a:pt x="17884" y="11891"/>
                    <a:pt x="17884" y="12109"/>
                    <a:pt x="18000" y="12218"/>
                  </a:cubicBezTo>
                  <a:cubicBezTo>
                    <a:pt x="18116" y="12327"/>
                    <a:pt x="18232" y="12545"/>
                    <a:pt x="18232" y="12545"/>
                  </a:cubicBezTo>
                  <a:cubicBezTo>
                    <a:pt x="18232" y="12545"/>
                    <a:pt x="18348" y="12655"/>
                    <a:pt x="18465" y="12873"/>
                  </a:cubicBezTo>
                  <a:cubicBezTo>
                    <a:pt x="18581" y="13091"/>
                    <a:pt x="19045" y="13636"/>
                    <a:pt x="19045" y="13636"/>
                  </a:cubicBezTo>
                  <a:cubicBezTo>
                    <a:pt x="19045" y="13636"/>
                    <a:pt x="19394" y="13745"/>
                    <a:pt x="19510" y="13745"/>
                  </a:cubicBezTo>
                  <a:cubicBezTo>
                    <a:pt x="19510" y="13745"/>
                    <a:pt x="19974" y="13964"/>
                    <a:pt x="19974" y="13964"/>
                  </a:cubicBezTo>
                  <a:cubicBezTo>
                    <a:pt x="19974" y="13964"/>
                    <a:pt x="20206" y="13964"/>
                    <a:pt x="20206" y="14073"/>
                  </a:cubicBezTo>
                  <a:cubicBezTo>
                    <a:pt x="20206" y="14073"/>
                    <a:pt x="20671" y="14727"/>
                    <a:pt x="20671" y="14727"/>
                  </a:cubicBezTo>
                  <a:cubicBezTo>
                    <a:pt x="21135" y="14836"/>
                    <a:pt x="21135" y="14836"/>
                    <a:pt x="21135" y="14836"/>
                  </a:cubicBezTo>
                  <a:cubicBezTo>
                    <a:pt x="21600" y="14836"/>
                    <a:pt x="21600" y="14836"/>
                    <a:pt x="21600" y="14836"/>
                  </a:cubicBezTo>
                  <a:cubicBezTo>
                    <a:pt x="21600" y="14836"/>
                    <a:pt x="21484" y="15382"/>
                    <a:pt x="21368" y="15491"/>
                  </a:cubicBezTo>
                  <a:cubicBezTo>
                    <a:pt x="21252" y="15600"/>
                    <a:pt x="20903" y="16036"/>
                    <a:pt x="20903" y="16036"/>
                  </a:cubicBezTo>
                  <a:cubicBezTo>
                    <a:pt x="20903" y="16036"/>
                    <a:pt x="20671" y="16255"/>
                    <a:pt x="20671" y="16473"/>
                  </a:cubicBezTo>
                  <a:cubicBezTo>
                    <a:pt x="20787" y="16582"/>
                    <a:pt x="20787" y="16909"/>
                    <a:pt x="20787" y="16909"/>
                  </a:cubicBezTo>
                  <a:cubicBezTo>
                    <a:pt x="20787" y="16909"/>
                    <a:pt x="20555" y="17127"/>
                    <a:pt x="20439" y="17127"/>
                  </a:cubicBezTo>
                  <a:cubicBezTo>
                    <a:pt x="20323" y="17127"/>
                    <a:pt x="20090" y="17127"/>
                    <a:pt x="19974" y="17236"/>
                  </a:cubicBezTo>
                  <a:cubicBezTo>
                    <a:pt x="19858" y="17236"/>
                    <a:pt x="19742" y="17345"/>
                    <a:pt x="19742" y="17345"/>
                  </a:cubicBezTo>
                  <a:cubicBezTo>
                    <a:pt x="19626" y="17455"/>
                    <a:pt x="19394" y="17673"/>
                    <a:pt x="19394" y="17673"/>
                  </a:cubicBezTo>
                  <a:cubicBezTo>
                    <a:pt x="19626" y="18000"/>
                    <a:pt x="19626" y="18000"/>
                    <a:pt x="19626" y="18000"/>
                  </a:cubicBezTo>
                  <a:cubicBezTo>
                    <a:pt x="19742" y="18545"/>
                    <a:pt x="19742" y="18545"/>
                    <a:pt x="19742" y="18545"/>
                  </a:cubicBezTo>
                  <a:cubicBezTo>
                    <a:pt x="19742" y="19091"/>
                    <a:pt x="19742" y="19091"/>
                    <a:pt x="19742" y="19091"/>
                  </a:cubicBezTo>
                  <a:cubicBezTo>
                    <a:pt x="19742" y="19091"/>
                    <a:pt x="20090" y="19200"/>
                    <a:pt x="20090" y="19309"/>
                  </a:cubicBezTo>
                  <a:cubicBezTo>
                    <a:pt x="20206" y="19309"/>
                    <a:pt x="20323" y="19636"/>
                    <a:pt x="20323" y="19636"/>
                  </a:cubicBezTo>
                  <a:cubicBezTo>
                    <a:pt x="20206" y="19855"/>
                    <a:pt x="20206" y="19855"/>
                    <a:pt x="20206" y="19855"/>
                  </a:cubicBezTo>
                  <a:cubicBezTo>
                    <a:pt x="20090" y="20182"/>
                    <a:pt x="20090" y="20182"/>
                    <a:pt x="20090" y="20182"/>
                  </a:cubicBezTo>
                  <a:cubicBezTo>
                    <a:pt x="20090" y="20182"/>
                    <a:pt x="19974" y="20400"/>
                    <a:pt x="19858" y="20509"/>
                  </a:cubicBezTo>
                  <a:cubicBezTo>
                    <a:pt x="19626" y="20509"/>
                    <a:pt x="19277" y="20509"/>
                    <a:pt x="19277" y="20509"/>
                  </a:cubicBezTo>
                  <a:cubicBezTo>
                    <a:pt x="19277" y="20509"/>
                    <a:pt x="19277" y="20400"/>
                    <a:pt x="19045" y="20509"/>
                  </a:cubicBezTo>
                  <a:cubicBezTo>
                    <a:pt x="18813" y="20509"/>
                    <a:pt x="18581" y="20727"/>
                    <a:pt x="18581" y="20727"/>
                  </a:cubicBezTo>
                  <a:cubicBezTo>
                    <a:pt x="18581" y="20727"/>
                    <a:pt x="18581" y="20727"/>
                    <a:pt x="18465" y="20836"/>
                  </a:cubicBezTo>
                  <a:cubicBezTo>
                    <a:pt x="18232" y="20836"/>
                    <a:pt x="18116" y="20836"/>
                    <a:pt x="18000" y="20836"/>
                  </a:cubicBezTo>
                  <a:cubicBezTo>
                    <a:pt x="17884" y="20836"/>
                    <a:pt x="17652" y="20727"/>
                    <a:pt x="17652" y="20727"/>
                  </a:cubicBezTo>
                  <a:cubicBezTo>
                    <a:pt x="17419" y="21055"/>
                    <a:pt x="17419" y="21055"/>
                    <a:pt x="17419" y="21055"/>
                  </a:cubicBezTo>
                  <a:cubicBezTo>
                    <a:pt x="17419" y="21055"/>
                    <a:pt x="17187" y="21164"/>
                    <a:pt x="17071" y="21164"/>
                  </a:cubicBezTo>
                  <a:cubicBezTo>
                    <a:pt x="17071" y="21164"/>
                    <a:pt x="16723" y="21600"/>
                    <a:pt x="16723" y="21600"/>
                  </a:cubicBezTo>
                  <a:cubicBezTo>
                    <a:pt x="16723" y="21600"/>
                    <a:pt x="16723" y="21600"/>
                    <a:pt x="16606" y="21600"/>
                  </a:cubicBezTo>
                  <a:cubicBezTo>
                    <a:pt x="16374" y="21600"/>
                    <a:pt x="16142" y="21491"/>
                    <a:pt x="16142" y="21491"/>
                  </a:cubicBezTo>
                  <a:cubicBezTo>
                    <a:pt x="15794" y="21164"/>
                    <a:pt x="15794" y="21164"/>
                    <a:pt x="15794" y="21164"/>
                  </a:cubicBezTo>
                  <a:cubicBezTo>
                    <a:pt x="15794" y="21164"/>
                    <a:pt x="15910" y="21164"/>
                    <a:pt x="16142" y="20945"/>
                  </a:cubicBezTo>
                  <a:cubicBezTo>
                    <a:pt x="16258" y="20836"/>
                    <a:pt x="16258" y="20836"/>
                    <a:pt x="16258" y="20727"/>
                  </a:cubicBezTo>
                  <a:cubicBezTo>
                    <a:pt x="16142" y="20509"/>
                    <a:pt x="16026" y="20291"/>
                    <a:pt x="16142" y="20291"/>
                  </a:cubicBezTo>
                  <a:cubicBezTo>
                    <a:pt x="16258" y="20182"/>
                    <a:pt x="16374" y="20291"/>
                    <a:pt x="16490" y="20073"/>
                  </a:cubicBezTo>
                  <a:cubicBezTo>
                    <a:pt x="16490" y="19964"/>
                    <a:pt x="16490" y="19855"/>
                    <a:pt x="16490" y="19636"/>
                  </a:cubicBezTo>
                  <a:cubicBezTo>
                    <a:pt x="16490" y="19527"/>
                    <a:pt x="16490" y="19309"/>
                    <a:pt x="16606" y="19309"/>
                  </a:cubicBezTo>
                  <a:cubicBezTo>
                    <a:pt x="16723" y="19200"/>
                    <a:pt x="16723" y="19091"/>
                    <a:pt x="16723" y="19091"/>
                  </a:cubicBezTo>
                  <a:cubicBezTo>
                    <a:pt x="16142" y="18982"/>
                    <a:pt x="16142" y="18982"/>
                    <a:pt x="16142" y="18982"/>
                  </a:cubicBezTo>
                  <a:cubicBezTo>
                    <a:pt x="15794" y="19091"/>
                    <a:pt x="15794" y="19091"/>
                    <a:pt x="15794" y="19091"/>
                  </a:cubicBezTo>
                  <a:cubicBezTo>
                    <a:pt x="15794" y="19091"/>
                    <a:pt x="15794" y="18873"/>
                    <a:pt x="15561" y="18873"/>
                  </a:cubicBezTo>
                  <a:cubicBezTo>
                    <a:pt x="15329" y="18764"/>
                    <a:pt x="14865" y="18764"/>
                    <a:pt x="14865" y="18764"/>
                  </a:cubicBezTo>
                  <a:cubicBezTo>
                    <a:pt x="14748" y="18327"/>
                    <a:pt x="14748" y="18327"/>
                    <a:pt x="14748" y="18327"/>
                  </a:cubicBezTo>
                  <a:cubicBezTo>
                    <a:pt x="13819" y="18109"/>
                    <a:pt x="13819" y="18109"/>
                    <a:pt x="13819" y="18109"/>
                  </a:cubicBezTo>
                  <a:cubicBezTo>
                    <a:pt x="13819" y="18109"/>
                    <a:pt x="13703" y="17673"/>
                    <a:pt x="13587" y="17564"/>
                  </a:cubicBezTo>
                  <a:cubicBezTo>
                    <a:pt x="13471" y="17455"/>
                    <a:pt x="13471" y="17455"/>
                    <a:pt x="13471" y="17455"/>
                  </a:cubicBezTo>
                  <a:cubicBezTo>
                    <a:pt x="12890" y="17018"/>
                    <a:pt x="12890" y="17018"/>
                    <a:pt x="12890" y="17018"/>
                  </a:cubicBezTo>
                  <a:cubicBezTo>
                    <a:pt x="12542" y="17018"/>
                    <a:pt x="12542" y="17018"/>
                    <a:pt x="12542" y="17018"/>
                  </a:cubicBezTo>
                  <a:cubicBezTo>
                    <a:pt x="12542" y="17018"/>
                    <a:pt x="12426" y="17018"/>
                    <a:pt x="12194" y="16909"/>
                  </a:cubicBezTo>
                  <a:cubicBezTo>
                    <a:pt x="11845" y="16800"/>
                    <a:pt x="11729" y="16473"/>
                    <a:pt x="11729" y="16473"/>
                  </a:cubicBezTo>
                  <a:cubicBezTo>
                    <a:pt x="11729" y="16473"/>
                    <a:pt x="11729" y="16255"/>
                    <a:pt x="11497" y="16364"/>
                  </a:cubicBezTo>
                  <a:cubicBezTo>
                    <a:pt x="11265" y="16582"/>
                    <a:pt x="11032" y="16582"/>
                    <a:pt x="10916" y="16691"/>
                  </a:cubicBezTo>
                  <a:cubicBezTo>
                    <a:pt x="10916" y="16691"/>
                    <a:pt x="10800" y="16691"/>
                    <a:pt x="10684" y="16800"/>
                  </a:cubicBezTo>
                  <a:cubicBezTo>
                    <a:pt x="10684" y="16909"/>
                    <a:pt x="10568" y="16909"/>
                    <a:pt x="10800" y="17127"/>
                  </a:cubicBezTo>
                  <a:cubicBezTo>
                    <a:pt x="10916" y="17236"/>
                    <a:pt x="11032" y="17345"/>
                    <a:pt x="11032" y="17345"/>
                  </a:cubicBezTo>
                  <a:cubicBezTo>
                    <a:pt x="10916" y="17891"/>
                    <a:pt x="10916" y="17891"/>
                    <a:pt x="10916" y="17891"/>
                  </a:cubicBezTo>
                  <a:cubicBezTo>
                    <a:pt x="10219" y="18545"/>
                    <a:pt x="10219" y="18545"/>
                    <a:pt x="10219" y="18545"/>
                  </a:cubicBezTo>
                  <a:cubicBezTo>
                    <a:pt x="10335" y="18873"/>
                    <a:pt x="10335" y="18873"/>
                    <a:pt x="10335" y="18873"/>
                  </a:cubicBezTo>
                  <a:cubicBezTo>
                    <a:pt x="10335" y="18873"/>
                    <a:pt x="10568" y="18873"/>
                    <a:pt x="10219" y="18982"/>
                  </a:cubicBezTo>
                  <a:cubicBezTo>
                    <a:pt x="9987" y="19091"/>
                    <a:pt x="9987" y="19200"/>
                    <a:pt x="9871" y="19200"/>
                  </a:cubicBezTo>
                  <a:cubicBezTo>
                    <a:pt x="9871" y="19091"/>
                    <a:pt x="9755" y="18982"/>
                    <a:pt x="9523" y="18873"/>
                  </a:cubicBezTo>
                  <a:cubicBezTo>
                    <a:pt x="9406" y="18764"/>
                    <a:pt x="9406" y="18764"/>
                    <a:pt x="9406" y="18764"/>
                  </a:cubicBezTo>
                  <a:cubicBezTo>
                    <a:pt x="9406" y="18764"/>
                    <a:pt x="9406" y="18764"/>
                    <a:pt x="9290" y="18655"/>
                  </a:cubicBezTo>
                  <a:cubicBezTo>
                    <a:pt x="9290" y="18655"/>
                    <a:pt x="9290" y="18655"/>
                    <a:pt x="9290" y="18655"/>
                  </a:cubicBezTo>
                  <a:cubicBezTo>
                    <a:pt x="9290" y="18655"/>
                    <a:pt x="9290" y="18545"/>
                    <a:pt x="9058" y="18545"/>
                  </a:cubicBezTo>
                  <a:cubicBezTo>
                    <a:pt x="8942" y="18545"/>
                    <a:pt x="8710" y="18327"/>
                    <a:pt x="8710" y="18327"/>
                  </a:cubicBezTo>
                  <a:cubicBezTo>
                    <a:pt x="8361" y="18327"/>
                    <a:pt x="8361" y="18327"/>
                    <a:pt x="8361" y="18327"/>
                  </a:cubicBezTo>
                  <a:cubicBezTo>
                    <a:pt x="8361" y="18327"/>
                    <a:pt x="8013" y="18000"/>
                    <a:pt x="8013" y="18000"/>
                  </a:cubicBezTo>
                  <a:cubicBezTo>
                    <a:pt x="7897" y="18000"/>
                    <a:pt x="7548" y="17891"/>
                    <a:pt x="7548" y="17891"/>
                  </a:cubicBezTo>
                  <a:cubicBezTo>
                    <a:pt x="7548" y="17673"/>
                    <a:pt x="7548" y="17673"/>
                    <a:pt x="7548" y="17673"/>
                  </a:cubicBezTo>
                  <a:cubicBezTo>
                    <a:pt x="7548" y="17673"/>
                    <a:pt x="7432" y="17673"/>
                    <a:pt x="7432" y="17673"/>
                  </a:cubicBezTo>
                  <a:cubicBezTo>
                    <a:pt x="7316" y="17673"/>
                    <a:pt x="7200" y="17782"/>
                    <a:pt x="7200" y="17782"/>
                  </a:cubicBezTo>
                  <a:cubicBezTo>
                    <a:pt x="6852" y="17891"/>
                    <a:pt x="6852" y="17891"/>
                    <a:pt x="6852" y="17891"/>
                  </a:cubicBezTo>
                  <a:cubicBezTo>
                    <a:pt x="6852" y="17891"/>
                    <a:pt x="6619" y="17891"/>
                    <a:pt x="6619" y="17891"/>
                  </a:cubicBezTo>
                  <a:cubicBezTo>
                    <a:pt x="6503" y="17782"/>
                    <a:pt x="6387" y="17564"/>
                    <a:pt x="6387" y="17564"/>
                  </a:cubicBezTo>
                  <a:cubicBezTo>
                    <a:pt x="6387" y="17564"/>
                    <a:pt x="6387" y="17564"/>
                    <a:pt x="6271" y="17564"/>
                  </a:cubicBezTo>
                  <a:cubicBezTo>
                    <a:pt x="6155" y="17673"/>
                    <a:pt x="6387" y="17782"/>
                    <a:pt x="6155" y="17673"/>
                  </a:cubicBezTo>
                  <a:cubicBezTo>
                    <a:pt x="5806" y="17564"/>
                    <a:pt x="5806" y="17564"/>
                    <a:pt x="5806" y="17564"/>
                  </a:cubicBezTo>
                  <a:cubicBezTo>
                    <a:pt x="5574" y="17345"/>
                    <a:pt x="5574" y="17345"/>
                    <a:pt x="5574" y="17345"/>
                  </a:cubicBezTo>
                  <a:cubicBezTo>
                    <a:pt x="5458" y="17345"/>
                    <a:pt x="5458" y="17345"/>
                    <a:pt x="5458" y="17345"/>
                  </a:cubicBezTo>
                  <a:cubicBezTo>
                    <a:pt x="5342" y="17345"/>
                    <a:pt x="5342" y="17345"/>
                    <a:pt x="5342" y="17345"/>
                  </a:cubicBezTo>
                  <a:cubicBezTo>
                    <a:pt x="5342" y="17345"/>
                    <a:pt x="5226" y="17127"/>
                    <a:pt x="5226" y="17127"/>
                  </a:cubicBezTo>
                  <a:cubicBezTo>
                    <a:pt x="5226" y="17127"/>
                    <a:pt x="5226" y="16909"/>
                    <a:pt x="5226" y="16909"/>
                  </a:cubicBezTo>
                  <a:cubicBezTo>
                    <a:pt x="5110" y="16909"/>
                    <a:pt x="4761" y="16800"/>
                    <a:pt x="4761" y="16800"/>
                  </a:cubicBezTo>
                  <a:cubicBezTo>
                    <a:pt x="4645" y="16582"/>
                    <a:pt x="4645" y="16582"/>
                    <a:pt x="4645" y="16582"/>
                  </a:cubicBezTo>
                  <a:cubicBezTo>
                    <a:pt x="4645" y="16582"/>
                    <a:pt x="4645" y="16582"/>
                    <a:pt x="4645" y="16582"/>
                  </a:cubicBezTo>
                  <a:cubicBezTo>
                    <a:pt x="4529" y="16582"/>
                    <a:pt x="4297" y="16473"/>
                    <a:pt x="4297" y="16473"/>
                  </a:cubicBezTo>
                  <a:cubicBezTo>
                    <a:pt x="4181" y="16364"/>
                    <a:pt x="4181" y="16364"/>
                    <a:pt x="4181" y="16364"/>
                  </a:cubicBezTo>
                  <a:cubicBezTo>
                    <a:pt x="3832" y="16364"/>
                    <a:pt x="3832" y="16364"/>
                    <a:pt x="3832" y="16364"/>
                  </a:cubicBezTo>
                  <a:cubicBezTo>
                    <a:pt x="3716" y="16145"/>
                    <a:pt x="3716" y="16145"/>
                    <a:pt x="3716" y="16145"/>
                  </a:cubicBezTo>
                  <a:cubicBezTo>
                    <a:pt x="3716" y="16145"/>
                    <a:pt x="3600" y="16036"/>
                    <a:pt x="3600" y="16036"/>
                  </a:cubicBezTo>
                  <a:cubicBezTo>
                    <a:pt x="3716" y="16036"/>
                    <a:pt x="3716" y="15818"/>
                    <a:pt x="3716" y="15818"/>
                  </a:cubicBezTo>
                  <a:cubicBezTo>
                    <a:pt x="3600" y="15818"/>
                    <a:pt x="3600" y="15818"/>
                    <a:pt x="3600" y="15818"/>
                  </a:cubicBezTo>
                  <a:cubicBezTo>
                    <a:pt x="3716" y="15709"/>
                    <a:pt x="3948" y="15709"/>
                    <a:pt x="3948" y="15709"/>
                  </a:cubicBezTo>
                  <a:cubicBezTo>
                    <a:pt x="4181" y="15382"/>
                    <a:pt x="4181" y="15382"/>
                    <a:pt x="4181" y="15382"/>
                  </a:cubicBezTo>
                  <a:cubicBezTo>
                    <a:pt x="4181" y="15382"/>
                    <a:pt x="4181" y="15382"/>
                    <a:pt x="4297" y="15382"/>
                  </a:cubicBezTo>
                  <a:cubicBezTo>
                    <a:pt x="4529" y="15491"/>
                    <a:pt x="4645" y="15491"/>
                    <a:pt x="4761" y="15491"/>
                  </a:cubicBezTo>
                  <a:cubicBezTo>
                    <a:pt x="4877" y="15491"/>
                    <a:pt x="4994" y="15709"/>
                    <a:pt x="4994" y="15273"/>
                  </a:cubicBezTo>
                  <a:cubicBezTo>
                    <a:pt x="4994" y="14945"/>
                    <a:pt x="4994" y="14836"/>
                    <a:pt x="4994" y="14836"/>
                  </a:cubicBezTo>
                  <a:cubicBezTo>
                    <a:pt x="4413" y="14400"/>
                    <a:pt x="4413" y="14400"/>
                    <a:pt x="4413" y="14400"/>
                  </a:cubicBezTo>
                  <a:cubicBezTo>
                    <a:pt x="4413" y="14400"/>
                    <a:pt x="4413" y="14291"/>
                    <a:pt x="4297" y="14073"/>
                  </a:cubicBezTo>
                  <a:cubicBezTo>
                    <a:pt x="4181" y="13964"/>
                    <a:pt x="4065" y="13855"/>
                    <a:pt x="4065" y="13855"/>
                  </a:cubicBezTo>
                  <a:cubicBezTo>
                    <a:pt x="3948" y="13855"/>
                    <a:pt x="3716" y="13636"/>
                    <a:pt x="3716" y="13636"/>
                  </a:cubicBezTo>
                  <a:cubicBezTo>
                    <a:pt x="3600" y="13527"/>
                    <a:pt x="3484" y="13418"/>
                    <a:pt x="3484" y="13418"/>
                  </a:cubicBezTo>
                  <a:cubicBezTo>
                    <a:pt x="3484" y="13418"/>
                    <a:pt x="3484" y="13200"/>
                    <a:pt x="3484" y="13091"/>
                  </a:cubicBezTo>
                  <a:cubicBezTo>
                    <a:pt x="3600" y="13091"/>
                    <a:pt x="3600" y="13091"/>
                    <a:pt x="3716" y="13091"/>
                  </a:cubicBezTo>
                  <a:cubicBezTo>
                    <a:pt x="3832" y="13200"/>
                    <a:pt x="3948" y="13200"/>
                    <a:pt x="4065" y="13200"/>
                  </a:cubicBezTo>
                  <a:cubicBezTo>
                    <a:pt x="4181" y="13200"/>
                    <a:pt x="4297" y="13200"/>
                    <a:pt x="4413" y="13200"/>
                  </a:cubicBezTo>
                  <a:cubicBezTo>
                    <a:pt x="4413" y="13200"/>
                    <a:pt x="4761" y="13091"/>
                    <a:pt x="4761" y="13091"/>
                  </a:cubicBezTo>
                  <a:cubicBezTo>
                    <a:pt x="4877" y="13091"/>
                    <a:pt x="4877" y="12873"/>
                    <a:pt x="4994" y="12873"/>
                  </a:cubicBezTo>
                  <a:cubicBezTo>
                    <a:pt x="4994" y="12873"/>
                    <a:pt x="5110" y="12764"/>
                    <a:pt x="4994" y="12655"/>
                  </a:cubicBezTo>
                  <a:cubicBezTo>
                    <a:pt x="4994" y="12655"/>
                    <a:pt x="4761" y="12545"/>
                    <a:pt x="4761" y="12545"/>
                  </a:cubicBezTo>
                  <a:cubicBezTo>
                    <a:pt x="4645" y="12545"/>
                    <a:pt x="4529" y="12436"/>
                    <a:pt x="4529" y="12327"/>
                  </a:cubicBezTo>
                  <a:cubicBezTo>
                    <a:pt x="4413" y="12327"/>
                    <a:pt x="4297" y="12218"/>
                    <a:pt x="4297" y="12109"/>
                  </a:cubicBezTo>
                  <a:cubicBezTo>
                    <a:pt x="4181" y="12109"/>
                    <a:pt x="4181" y="12218"/>
                    <a:pt x="4065" y="12218"/>
                  </a:cubicBezTo>
                  <a:cubicBezTo>
                    <a:pt x="3948" y="12109"/>
                    <a:pt x="3832" y="12000"/>
                    <a:pt x="3716" y="11891"/>
                  </a:cubicBezTo>
                  <a:cubicBezTo>
                    <a:pt x="3716" y="11782"/>
                    <a:pt x="3716" y="11782"/>
                    <a:pt x="3600" y="11673"/>
                  </a:cubicBezTo>
                  <a:cubicBezTo>
                    <a:pt x="3484" y="11673"/>
                    <a:pt x="3368" y="11564"/>
                    <a:pt x="3252" y="11564"/>
                  </a:cubicBezTo>
                  <a:cubicBezTo>
                    <a:pt x="3135" y="11564"/>
                    <a:pt x="3135" y="11673"/>
                    <a:pt x="2903" y="11564"/>
                  </a:cubicBezTo>
                  <a:cubicBezTo>
                    <a:pt x="2671" y="11564"/>
                    <a:pt x="2439" y="11455"/>
                    <a:pt x="2439" y="11345"/>
                  </a:cubicBezTo>
                  <a:cubicBezTo>
                    <a:pt x="2555" y="11236"/>
                    <a:pt x="2439" y="11236"/>
                    <a:pt x="2555" y="11127"/>
                  </a:cubicBezTo>
                  <a:cubicBezTo>
                    <a:pt x="2555" y="11018"/>
                    <a:pt x="2555" y="10800"/>
                    <a:pt x="2555" y="10691"/>
                  </a:cubicBezTo>
                  <a:cubicBezTo>
                    <a:pt x="2555" y="10582"/>
                    <a:pt x="2439" y="10691"/>
                    <a:pt x="2439" y="10364"/>
                  </a:cubicBezTo>
                  <a:cubicBezTo>
                    <a:pt x="2323" y="10036"/>
                    <a:pt x="2555" y="10145"/>
                    <a:pt x="2555" y="10145"/>
                  </a:cubicBezTo>
                  <a:cubicBezTo>
                    <a:pt x="2555" y="10145"/>
                    <a:pt x="2671" y="9927"/>
                    <a:pt x="2671" y="9818"/>
                  </a:cubicBezTo>
                  <a:cubicBezTo>
                    <a:pt x="2671" y="9818"/>
                    <a:pt x="2787" y="9491"/>
                    <a:pt x="2787" y="9491"/>
                  </a:cubicBezTo>
                  <a:cubicBezTo>
                    <a:pt x="3135" y="9055"/>
                    <a:pt x="3135" y="9055"/>
                    <a:pt x="3135" y="9055"/>
                  </a:cubicBezTo>
                  <a:cubicBezTo>
                    <a:pt x="3135" y="8727"/>
                    <a:pt x="3135" y="8727"/>
                    <a:pt x="3135" y="8727"/>
                  </a:cubicBezTo>
                  <a:cubicBezTo>
                    <a:pt x="3135" y="8291"/>
                    <a:pt x="3135" y="8291"/>
                    <a:pt x="3135" y="8291"/>
                  </a:cubicBezTo>
                  <a:cubicBezTo>
                    <a:pt x="3135" y="7964"/>
                    <a:pt x="3135" y="7964"/>
                    <a:pt x="3135" y="7964"/>
                  </a:cubicBezTo>
                  <a:cubicBezTo>
                    <a:pt x="2787" y="7855"/>
                    <a:pt x="2787" y="7855"/>
                    <a:pt x="2787" y="7855"/>
                  </a:cubicBezTo>
                  <a:cubicBezTo>
                    <a:pt x="2090" y="7745"/>
                    <a:pt x="2090" y="7745"/>
                    <a:pt x="2090" y="7745"/>
                  </a:cubicBezTo>
                  <a:cubicBezTo>
                    <a:pt x="2090" y="7745"/>
                    <a:pt x="2090" y="7964"/>
                    <a:pt x="1974" y="7964"/>
                  </a:cubicBezTo>
                  <a:cubicBezTo>
                    <a:pt x="1974" y="7964"/>
                    <a:pt x="1858" y="8073"/>
                    <a:pt x="1742" y="8073"/>
                  </a:cubicBezTo>
                  <a:cubicBezTo>
                    <a:pt x="1626" y="7964"/>
                    <a:pt x="1626" y="7964"/>
                    <a:pt x="1626" y="7964"/>
                  </a:cubicBezTo>
                  <a:cubicBezTo>
                    <a:pt x="1858" y="7745"/>
                    <a:pt x="1858" y="7745"/>
                    <a:pt x="1858" y="7745"/>
                  </a:cubicBezTo>
                  <a:cubicBezTo>
                    <a:pt x="1858" y="7309"/>
                    <a:pt x="1858" y="7309"/>
                    <a:pt x="1858" y="7309"/>
                  </a:cubicBezTo>
                  <a:cubicBezTo>
                    <a:pt x="1858" y="7309"/>
                    <a:pt x="1742" y="7091"/>
                    <a:pt x="1626" y="6873"/>
                  </a:cubicBezTo>
                  <a:cubicBezTo>
                    <a:pt x="1510" y="6764"/>
                    <a:pt x="1394" y="6655"/>
                    <a:pt x="1394" y="6655"/>
                  </a:cubicBezTo>
                  <a:cubicBezTo>
                    <a:pt x="1742" y="6436"/>
                    <a:pt x="1742" y="6436"/>
                    <a:pt x="1742" y="6436"/>
                  </a:cubicBezTo>
                  <a:cubicBezTo>
                    <a:pt x="1858" y="6327"/>
                    <a:pt x="1858" y="6327"/>
                    <a:pt x="1858" y="6327"/>
                  </a:cubicBezTo>
                  <a:cubicBezTo>
                    <a:pt x="1858" y="6218"/>
                    <a:pt x="1858" y="6218"/>
                    <a:pt x="1858" y="6218"/>
                  </a:cubicBezTo>
                  <a:cubicBezTo>
                    <a:pt x="1858" y="6218"/>
                    <a:pt x="2090" y="6436"/>
                    <a:pt x="2323" y="6436"/>
                  </a:cubicBezTo>
                  <a:cubicBezTo>
                    <a:pt x="2439" y="6436"/>
                    <a:pt x="2323" y="6436"/>
                    <a:pt x="2555" y="6327"/>
                  </a:cubicBezTo>
                  <a:cubicBezTo>
                    <a:pt x="2787" y="6327"/>
                    <a:pt x="3135" y="6000"/>
                    <a:pt x="3135" y="6000"/>
                  </a:cubicBezTo>
                  <a:cubicBezTo>
                    <a:pt x="3135" y="6000"/>
                    <a:pt x="2903" y="5782"/>
                    <a:pt x="2787" y="5782"/>
                  </a:cubicBezTo>
                  <a:cubicBezTo>
                    <a:pt x="2671" y="5891"/>
                    <a:pt x="2787" y="5891"/>
                    <a:pt x="2439" y="5891"/>
                  </a:cubicBezTo>
                  <a:cubicBezTo>
                    <a:pt x="2090" y="5782"/>
                    <a:pt x="1974" y="5673"/>
                    <a:pt x="1974" y="5673"/>
                  </a:cubicBezTo>
                  <a:cubicBezTo>
                    <a:pt x="1974" y="5673"/>
                    <a:pt x="1858" y="5673"/>
                    <a:pt x="1742" y="5673"/>
                  </a:cubicBezTo>
                  <a:cubicBezTo>
                    <a:pt x="1626" y="5673"/>
                    <a:pt x="1626" y="5673"/>
                    <a:pt x="1510" y="5564"/>
                  </a:cubicBezTo>
                  <a:cubicBezTo>
                    <a:pt x="1277" y="5345"/>
                    <a:pt x="1045" y="5127"/>
                    <a:pt x="1045" y="5127"/>
                  </a:cubicBezTo>
                  <a:cubicBezTo>
                    <a:pt x="1045" y="5127"/>
                    <a:pt x="813" y="5236"/>
                    <a:pt x="813" y="5127"/>
                  </a:cubicBezTo>
                  <a:cubicBezTo>
                    <a:pt x="813" y="5018"/>
                    <a:pt x="929" y="4909"/>
                    <a:pt x="929" y="4909"/>
                  </a:cubicBezTo>
                  <a:cubicBezTo>
                    <a:pt x="813" y="4691"/>
                    <a:pt x="813" y="4691"/>
                    <a:pt x="813" y="4691"/>
                  </a:cubicBezTo>
                  <a:cubicBezTo>
                    <a:pt x="813" y="4691"/>
                    <a:pt x="1045" y="4691"/>
                    <a:pt x="1161" y="4582"/>
                  </a:cubicBezTo>
                  <a:cubicBezTo>
                    <a:pt x="1277" y="4582"/>
                    <a:pt x="1277" y="4255"/>
                    <a:pt x="1161" y="4255"/>
                  </a:cubicBezTo>
                  <a:cubicBezTo>
                    <a:pt x="1045" y="4255"/>
                    <a:pt x="929" y="4145"/>
                    <a:pt x="813" y="4255"/>
                  </a:cubicBezTo>
                  <a:cubicBezTo>
                    <a:pt x="697" y="4255"/>
                    <a:pt x="581" y="4364"/>
                    <a:pt x="581" y="4364"/>
                  </a:cubicBezTo>
                  <a:cubicBezTo>
                    <a:pt x="465" y="4364"/>
                    <a:pt x="232" y="4255"/>
                    <a:pt x="232" y="4145"/>
                  </a:cubicBezTo>
                  <a:cubicBezTo>
                    <a:pt x="232" y="4036"/>
                    <a:pt x="116" y="4036"/>
                    <a:pt x="348" y="3927"/>
                  </a:cubicBezTo>
                  <a:cubicBezTo>
                    <a:pt x="465" y="3927"/>
                    <a:pt x="581" y="3709"/>
                    <a:pt x="581" y="3709"/>
                  </a:cubicBezTo>
                  <a:cubicBezTo>
                    <a:pt x="348" y="3382"/>
                    <a:pt x="348" y="3382"/>
                    <a:pt x="348" y="3382"/>
                  </a:cubicBezTo>
                  <a:cubicBezTo>
                    <a:pt x="465" y="2727"/>
                    <a:pt x="465" y="2727"/>
                    <a:pt x="465" y="2727"/>
                  </a:cubicBezTo>
                  <a:cubicBezTo>
                    <a:pt x="0" y="2618"/>
                    <a:pt x="0" y="2618"/>
                    <a:pt x="0" y="2618"/>
                  </a:cubicBezTo>
                  <a:cubicBezTo>
                    <a:pt x="0" y="2400"/>
                    <a:pt x="0" y="2400"/>
                    <a:pt x="0" y="2400"/>
                  </a:cubicBezTo>
                  <a:cubicBezTo>
                    <a:pt x="465" y="2182"/>
                    <a:pt x="465" y="2182"/>
                    <a:pt x="465" y="2182"/>
                  </a:cubicBezTo>
                  <a:cubicBezTo>
                    <a:pt x="929" y="1527"/>
                    <a:pt x="929" y="1527"/>
                    <a:pt x="929" y="1527"/>
                  </a:cubicBezTo>
                  <a:cubicBezTo>
                    <a:pt x="1045" y="1636"/>
                    <a:pt x="1045" y="1636"/>
                    <a:pt x="1045" y="1636"/>
                  </a:cubicBezTo>
                  <a:cubicBezTo>
                    <a:pt x="1045" y="1636"/>
                    <a:pt x="1161" y="1636"/>
                    <a:pt x="1277" y="1527"/>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1" name="Shape 2234">
              <a:extLst>
                <a:ext uri="{FF2B5EF4-FFF2-40B4-BE49-F238E27FC236}">
                  <a16:creationId xmlns:a16="http://schemas.microsoft.com/office/drawing/2014/main" id="{2174537A-08DB-549B-7EA7-F40EB1E9F29F}"/>
                </a:ext>
              </a:extLst>
            </p:cNvPr>
            <p:cNvSpPr/>
            <p:nvPr/>
          </p:nvSpPr>
          <p:spPr>
            <a:xfrm>
              <a:off x="3078013" y="5722363"/>
              <a:ext cx="711537" cy="435588"/>
            </a:xfrm>
            <a:custGeom>
              <a:avLst/>
              <a:gdLst/>
              <a:ahLst/>
              <a:cxnLst>
                <a:cxn ang="0">
                  <a:pos x="wd2" y="hd2"/>
                </a:cxn>
                <a:cxn ang="5400000">
                  <a:pos x="wd2" y="hd2"/>
                </a:cxn>
                <a:cxn ang="10800000">
                  <a:pos x="wd2" y="hd2"/>
                </a:cxn>
                <a:cxn ang="16200000">
                  <a:pos x="wd2" y="hd2"/>
                </a:cxn>
              </a:cxnLst>
              <a:rect l="0" t="0" r="r" b="b"/>
              <a:pathLst>
                <a:path w="21531" h="21600" extrusionOk="0">
                  <a:moveTo>
                    <a:pt x="3871" y="14862"/>
                  </a:moveTo>
                  <a:cubicBezTo>
                    <a:pt x="4120" y="15061"/>
                    <a:pt x="4120" y="15061"/>
                    <a:pt x="4120" y="15061"/>
                  </a:cubicBezTo>
                  <a:cubicBezTo>
                    <a:pt x="4120" y="15457"/>
                    <a:pt x="4120" y="15457"/>
                    <a:pt x="4120" y="15457"/>
                  </a:cubicBezTo>
                  <a:cubicBezTo>
                    <a:pt x="4120" y="15457"/>
                    <a:pt x="4120" y="15259"/>
                    <a:pt x="3995" y="15655"/>
                  </a:cubicBezTo>
                  <a:cubicBezTo>
                    <a:pt x="3871" y="15853"/>
                    <a:pt x="3871" y="15853"/>
                    <a:pt x="3871" y="15853"/>
                  </a:cubicBezTo>
                  <a:cubicBezTo>
                    <a:pt x="3995" y="15853"/>
                    <a:pt x="4120" y="16051"/>
                    <a:pt x="4120" y="16051"/>
                  </a:cubicBezTo>
                  <a:cubicBezTo>
                    <a:pt x="4120" y="16051"/>
                    <a:pt x="4245" y="16051"/>
                    <a:pt x="4120" y="16250"/>
                  </a:cubicBezTo>
                  <a:cubicBezTo>
                    <a:pt x="4120" y="16646"/>
                    <a:pt x="4120" y="16844"/>
                    <a:pt x="4120" y="16844"/>
                  </a:cubicBezTo>
                  <a:cubicBezTo>
                    <a:pt x="4120" y="16844"/>
                    <a:pt x="4120" y="17042"/>
                    <a:pt x="4120" y="17240"/>
                  </a:cubicBezTo>
                  <a:cubicBezTo>
                    <a:pt x="3995" y="17240"/>
                    <a:pt x="3871" y="17835"/>
                    <a:pt x="3871" y="17835"/>
                  </a:cubicBezTo>
                  <a:cubicBezTo>
                    <a:pt x="3871" y="17835"/>
                    <a:pt x="3871" y="17835"/>
                    <a:pt x="3871" y="18033"/>
                  </a:cubicBezTo>
                  <a:cubicBezTo>
                    <a:pt x="3995" y="18033"/>
                    <a:pt x="4370" y="18033"/>
                    <a:pt x="4370" y="18033"/>
                  </a:cubicBezTo>
                  <a:cubicBezTo>
                    <a:pt x="4370" y="18033"/>
                    <a:pt x="4370" y="18429"/>
                    <a:pt x="4370" y="18628"/>
                  </a:cubicBezTo>
                  <a:cubicBezTo>
                    <a:pt x="4245" y="18628"/>
                    <a:pt x="4120" y="19024"/>
                    <a:pt x="4245" y="19024"/>
                  </a:cubicBezTo>
                  <a:cubicBezTo>
                    <a:pt x="4370" y="19024"/>
                    <a:pt x="4495" y="19222"/>
                    <a:pt x="4495" y="19222"/>
                  </a:cubicBezTo>
                  <a:cubicBezTo>
                    <a:pt x="4495" y="19222"/>
                    <a:pt x="4620" y="19420"/>
                    <a:pt x="4620" y="19420"/>
                  </a:cubicBezTo>
                  <a:cubicBezTo>
                    <a:pt x="4745" y="19420"/>
                    <a:pt x="4869" y="19618"/>
                    <a:pt x="4869" y="19618"/>
                  </a:cubicBezTo>
                  <a:cubicBezTo>
                    <a:pt x="4869" y="19618"/>
                    <a:pt x="5119" y="20015"/>
                    <a:pt x="5119" y="20015"/>
                  </a:cubicBezTo>
                  <a:cubicBezTo>
                    <a:pt x="5119" y="20213"/>
                    <a:pt x="4994" y="20411"/>
                    <a:pt x="4994" y="20411"/>
                  </a:cubicBezTo>
                  <a:cubicBezTo>
                    <a:pt x="4994" y="20411"/>
                    <a:pt x="5244" y="20807"/>
                    <a:pt x="5244" y="20807"/>
                  </a:cubicBezTo>
                  <a:cubicBezTo>
                    <a:pt x="5244" y="20807"/>
                    <a:pt x="5244" y="21006"/>
                    <a:pt x="5369" y="21006"/>
                  </a:cubicBezTo>
                  <a:cubicBezTo>
                    <a:pt x="5494" y="21006"/>
                    <a:pt x="5618" y="20807"/>
                    <a:pt x="5618" y="20807"/>
                  </a:cubicBezTo>
                  <a:cubicBezTo>
                    <a:pt x="5618" y="20807"/>
                    <a:pt x="5868" y="20609"/>
                    <a:pt x="5868" y="20609"/>
                  </a:cubicBezTo>
                  <a:cubicBezTo>
                    <a:pt x="5868" y="20609"/>
                    <a:pt x="5993" y="20411"/>
                    <a:pt x="6118" y="20411"/>
                  </a:cubicBezTo>
                  <a:cubicBezTo>
                    <a:pt x="6243" y="20411"/>
                    <a:pt x="6368" y="20609"/>
                    <a:pt x="6492" y="20609"/>
                  </a:cubicBezTo>
                  <a:cubicBezTo>
                    <a:pt x="6617" y="20609"/>
                    <a:pt x="6992" y="20609"/>
                    <a:pt x="6992" y="20609"/>
                  </a:cubicBezTo>
                  <a:cubicBezTo>
                    <a:pt x="6992" y="20213"/>
                    <a:pt x="6992" y="20213"/>
                    <a:pt x="6992" y="20213"/>
                  </a:cubicBezTo>
                  <a:cubicBezTo>
                    <a:pt x="6992" y="20213"/>
                    <a:pt x="6992" y="20015"/>
                    <a:pt x="7117" y="20015"/>
                  </a:cubicBezTo>
                  <a:cubicBezTo>
                    <a:pt x="7242" y="20015"/>
                    <a:pt x="7366" y="20015"/>
                    <a:pt x="7366" y="20015"/>
                  </a:cubicBezTo>
                  <a:cubicBezTo>
                    <a:pt x="7366" y="20015"/>
                    <a:pt x="7242" y="19817"/>
                    <a:pt x="7366" y="19817"/>
                  </a:cubicBezTo>
                  <a:cubicBezTo>
                    <a:pt x="7366" y="19817"/>
                    <a:pt x="7616" y="19817"/>
                    <a:pt x="7741" y="20015"/>
                  </a:cubicBezTo>
                  <a:cubicBezTo>
                    <a:pt x="7741" y="20015"/>
                    <a:pt x="7991" y="19817"/>
                    <a:pt x="7991" y="20015"/>
                  </a:cubicBezTo>
                  <a:cubicBezTo>
                    <a:pt x="7991" y="20015"/>
                    <a:pt x="8116" y="20213"/>
                    <a:pt x="8116" y="20213"/>
                  </a:cubicBezTo>
                  <a:cubicBezTo>
                    <a:pt x="8116" y="20213"/>
                    <a:pt x="8240" y="20609"/>
                    <a:pt x="8240" y="20411"/>
                  </a:cubicBezTo>
                  <a:cubicBezTo>
                    <a:pt x="8365" y="20411"/>
                    <a:pt x="8365" y="20411"/>
                    <a:pt x="8490" y="20411"/>
                  </a:cubicBezTo>
                  <a:cubicBezTo>
                    <a:pt x="8490" y="20609"/>
                    <a:pt x="8740" y="20609"/>
                    <a:pt x="8865" y="20609"/>
                  </a:cubicBezTo>
                  <a:cubicBezTo>
                    <a:pt x="8865" y="20411"/>
                    <a:pt x="8865" y="20411"/>
                    <a:pt x="8865" y="20411"/>
                  </a:cubicBezTo>
                  <a:cubicBezTo>
                    <a:pt x="8865" y="20213"/>
                    <a:pt x="8740" y="20015"/>
                    <a:pt x="8990" y="20015"/>
                  </a:cubicBezTo>
                  <a:cubicBezTo>
                    <a:pt x="9114" y="20015"/>
                    <a:pt x="9114" y="19817"/>
                    <a:pt x="9239" y="19817"/>
                  </a:cubicBezTo>
                  <a:cubicBezTo>
                    <a:pt x="9364" y="19817"/>
                    <a:pt x="9489" y="19817"/>
                    <a:pt x="9489" y="19817"/>
                  </a:cubicBezTo>
                  <a:cubicBezTo>
                    <a:pt x="9489" y="19817"/>
                    <a:pt x="9489" y="19817"/>
                    <a:pt x="9614" y="19618"/>
                  </a:cubicBezTo>
                  <a:cubicBezTo>
                    <a:pt x="9739" y="19420"/>
                    <a:pt x="9739" y="19222"/>
                    <a:pt x="9739" y="19222"/>
                  </a:cubicBezTo>
                  <a:cubicBezTo>
                    <a:pt x="9739" y="19024"/>
                    <a:pt x="9739" y="18826"/>
                    <a:pt x="9739" y="18826"/>
                  </a:cubicBezTo>
                  <a:cubicBezTo>
                    <a:pt x="9864" y="18628"/>
                    <a:pt x="9864" y="18628"/>
                    <a:pt x="9864" y="18628"/>
                  </a:cubicBezTo>
                  <a:cubicBezTo>
                    <a:pt x="9988" y="18429"/>
                    <a:pt x="9988" y="18429"/>
                    <a:pt x="9988" y="18429"/>
                  </a:cubicBezTo>
                  <a:cubicBezTo>
                    <a:pt x="9988" y="18429"/>
                    <a:pt x="9988" y="18429"/>
                    <a:pt x="10113" y="18033"/>
                  </a:cubicBezTo>
                  <a:cubicBezTo>
                    <a:pt x="10113" y="17835"/>
                    <a:pt x="10113" y="17835"/>
                    <a:pt x="10113" y="17835"/>
                  </a:cubicBezTo>
                  <a:cubicBezTo>
                    <a:pt x="10238" y="17439"/>
                    <a:pt x="10238" y="17439"/>
                    <a:pt x="10238" y="17439"/>
                  </a:cubicBezTo>
                  <a:cubicBezTo>
                    <a:pt x="10113" y="16844"/>
                    <a:pt x="10113" y="16844"/>
                    <a:pt x="10113" y="16844"/>
                  </a:cubicBezTo>
                  <a:cubicBezTo>
                    <a:pt x="9988" y="16646"/>
                    <a:pt x="9988" y="16646"/>
                    <a:pt x="9988" y="16646"/>
                  </a:cubicBezTo>
                  <a:cubicBezTo>
                    <a:pt x="10113" y="16448"/>
                    <a:pt x="10113" y="16448"/>
                    <a:pt x="10113" y="16448"/>
                  </a:cubicBezTo>
                  <a:cubicBezTo>
                    <a:pt x="10113" y="16448"/>
                    <a:pt x="10238" y="16250"/>
                    <a:pt x="10363" y="16250"/>
                  </a:cubicBezTo>
                  <a:cubicBezTo>
                    <a:pt x="10488" y="16250"/>
                    <a:pt x="10488" y="16250"/>
                    <a:pt x="10488" y="16051"/>
                  </a:cubicBezTo>
                  <a:cubicBezTo>
                    <a:pt x="10613" y="16051"/>
                    <a:pt x="10862" y="15655"/>
                    <a:pt x="10862" y="15655"/>
                  </a:cubicBezTo>
                  <a:cubicBezTo>
                    <a:pt x="10862" y="15655"/>
                    <a:pt x="10862" y="15655"/>
                    <a:pt x="10987" y="15655"/>
                  </a:cubicBezTo>
                  <a:cubicBezTo>
                    <a:pt x="10987" y="15457"/>
                    <a:pt x="10987" y="15259"/>
                    <a:pt x="10987" y="15259"/>
                  </a:cubicBezTo>
                  <a:cubicBezTo>
                    <a:pt x="10987" y="15259"/>
                    <a:pt x="10987" y="15061"/>
                    <a:pt x="11112" y="15061"/>
                  </a:cubicBezTo>
                  <a:cubicBezTo>
                    <a:pt x="11237" y="14862"/>
                    <a:pt x="11736" y="14664"/>
                    <a:pt x="11736" y="14664"/>
                  </a:cubicBezTo>
                  <a:cubicBezTo>
                    <a:pt x="11736" y="14664"/>
                    <a:pt x="11612" y="15061"/>
                    <a:pt x="11612" y="15259"/>
                  </a:cubicBezTo>
                  <a:cubicBezTo>
                    <a:pt x="11612" y="15457"/>
                    <a:pt x="11736" y="15853"/>
                    <a:pt x="11736" y="15853"/>
                  </a:cubicBezTo>
                  <a:cubicBezTo>
                    <a:pt x="11736" y="15853"/>
                    <a:pt x="11612" y="16250"/>
                    <a:pt x="11612" y="16250"/>
                  </a:cubicBezTo>
                  <a:cubicBezTo>
                    <a:pt x="11612" y="16448"/>
                    <a:pt x="11612" y="16646"/>
                    <a:pt x="11612" y="16646"/>
                  </a:cubicBezTo>
                  <a:cubicBezTo>
                    <a:pt x="11736" y="16844"/>
                    <a:pt x="11736" y="16844"/>
                    <a:pt x="11736" y="16844"/>
                  </a:cubicBezTo>
                  <a:cubicBezTo>
                    <a:pt x="11736" y="16844"/>
                    <a:pt x="11736" y="17042"/>
                    <a:pt x="11736" y="17042"/>
                  </a:cubicBezTo>
                  <a:cubicBezTo>
                    <a:pt x="11861" y="17042"/>
                    <a:pt x="11986" y="17439"/>
                    <a:pt x="11986" y="17439"/>
                  </a:cubicBezTo>
                  <a:cubicBezTo>
                    <a:pt x="12111" y="17439"/>
                    <a:pt x="12111" y="17439"/>
                    <a:pt x="12111" y="17439"/>
                  </a:cubicBezTo>
                  <a:cubicBezTo>
                    <a:pt x="12111" y="17439"/>
                    <a:pt x="12236" y="17637"/>
                    <a:pt x="12236" y="17835"/>
                  </a:cubicBezTo>
                  <a:cubicBezTo>
                    <a:pt x="12236" y="17835"/>
                    <a:pt x="12361" y="18033"/>
                    <a:pt x="12486" y="18231"/>
                  </a:cubicBezTo>
                  <a:cubicBezTo>
                    <a:pt x="12486" y="18231"/>
                    <a:pt x="12610" y="18231"/>
                    <a:pt x="12610" y="18231"/>
                  </a:cubicBezTo>
                  <a:cubicBezTo>
                    <a:pt x="12735" y="18231"/>
                    <a:pt x="12860" y="18231"/>
                    <a:pt x="12860" y="18231"/>
                  </a:cubicBezTo>
                  <a:cubicBezTo>
                    <a:pt x="12860" y="18429"/>
                    <a:pt x="13110" y="18429"/>
                    <a:pt x="13235" y="18429"/>
                  </a:cubicBezTo>
                  <a:cubicBezTo>
                    <a:pt x="13235" y="18628"/>
                    <a:pt x="13484" y="18429"/>
                    <a:pt x="13484" y="18429"/>
                  </a:cubicBezTo>
                  <a:cubicBezTo>
                    <a:pt x="13609" y="18628"/>
                    <a:pt x="13609" y="18628"/>
                    <a:pt x="13609" y="18628"/>
                  </a:cubicBezTo>
                  <a:cubicBezTo>
                    <a:pt x="13734" y="18628"/>
                    <a:pt x="13734" y="18628"/>
                    <a:pt x="13734" y="18628"/>
                  </a:cubicBezTo>
                  <a:cubicBezTo>
                    <a:pt x="13734" y="18628"/>
                    <a:pt x="13859" y="18628"/>
                    <a:pt x="13859" y="18826"/>
                  </a:cubicBezTo>
                  <a:cubicBezTo>
                    <a:pt x="13734" y="19024"/>
                    <a:pt x="13734" y="19024"/>
                    <a:pt x="13734" y="19024"/>
                  </a:cubicBezTo>
                  <a:cubicBezTo>
                    <a:pt x="13734" y="19024"/>
                    <a:pt x="13734" y="19024"/>
                    <a:pt x="13734" y="19024"/>
                  </a:cubicBezTo>
                  <a:cubicBezTo>
                    <a:pt x="13609" y="19222"/>
                    <a:pt x="13484" y="19618"/>
                    <a:pt x="13484" y="19618"/>
                  </a:cubicBezTo>
                  <a:cubicBezTo>
                    <a:pt x="13859" y="20015"/>
                    <a:pt x="13859" y="20015"/>
                    <a:pt x="13859" y="20015"/>
                  </a:cubicBezTo>
                  <a:cubicBezTo>
                    <a:pt x="13859" y="20015"/>
                    <a:pt x="13984" y="20015"/>
                    <a:pt x="13984" y="20213"/>
                  </a:cubicBezTo>
                  <a:cubicBezTo>
                    <a:pt x="14109" y="20411"/>
                    <a:pt x="14109" y="20609"/>
                    <a:pt x="14109" y="20609"/>
                  </a:cubicBezTo>
                  <a:cubicBezTo>
                    <a:pt x="14109" y="20609"/>
                    <a:pt x="14109" y="20609"/>
                    <a:pt x="14109" y="20609"/>
                  </a:cubicBezTo>
                  <a:cubicBezTo>
                    <a:pt x="14109" y="20807"/>
                    <a:pt x="14109" y="21204"/>
                    <a:pt x="14109" y="21204"/>
                  </a:cubicBezTo>
                  <a:cubicBezTo>
                    <a:pt x="14109" y="21204"/>
                    <a:pt x="13859" y="21402"/>
                    <a:pt x="14109" y="21402"/>
                  </a:cubicBezTo>
                  <a:cubicBezTo>
                    <a:pt x="14358" y="21402"/>
                    <a:pt x="14358" y="21402"/>
                    <a:pt x="14358" y="21402"/>
                  </a:cubicBezTo>
                  <a:cubicBezTo>
                    <a:pt x="14483" y="21402"/>
                    <a:pt x="14608" y="21600"/>
                    <a:pt x="14608" y="21600"/>
                  </a:cubicBezTo>
                  <a:cubicBezTo>
                    <a:pt x="14733" y="21402"/>
                    <a:pt x="14733" y="21402"/>
                    <a:pt x="14733" y="21402"/>
                  </a:cubicBezTo>
                  <a:cubicBezTo>
                    <a:pt x="14733" y="21402"/>
                    <a:pt x="14608" y="21006"/>
                    <a:pt x="14858" y="20807"/>
                  </a:cubicBezTo>
                  <a:cubicBezTo>
                    <a:pt x="14983" y="20609"/>
                    <a:pt x="14983" y="20609"/>
                    <a:pt x="14983" y="20609"/>
                  </a:cubicBezTo>
                  <a:cubicBezTo>
                    <a:pt x="14983" y="20609"/>
                    <a:pt x="14608" y="20411"/>
                    <a:pt x="14608" y="20213"/>
                  </a:cubicBezTo>
                  <a:cubicBezTo>
                    <a:pt x="14608" y="20213"/>
                    <a:pt x="14483" y="20213"/>
                    <a:pt x="14608" y="20015"/>
                  </a:cubicBezTo>
                  <a:cubicBezTo>
                    <a:pt x="14608" y="19817"/>
                    <a:pt x="14483" y="19817"/>
                    <a:pt x="14608" y="19618"/>
                  </a:cubicBezTo>
                  <a:cubicBezTo>
                    <a:pt x="14608" y="19618"/>
                    <a:pt x="14733" y="19618"/>
                    <a:pt x="14733" y="19420"/>
                  </a:cubicBezTo>
                  <a:cubicBezTo>
                    <a:pt x="14733" y="19420"/>
                    <a:pt x="14608" y="19024"/>
                    <a:pt x="14608" y="19024"/>
                  </a:cubicBezTo>
                  <a:cubicBezTo>
                    <a:pt x="14858" y="18826"/>
                    <a:pt x="14858" y="18826"/>
                    <a:pt x="14858" y="18826"/>
                  </a:cubicBezTo>
                  <a:cubicBezTo>
                    <a:pt x="14858" y="18826"/>
                    <a:pt x="14858" y="18628"/>
                    <a:pt x="14858" y="18628"/>
                  </a:cubicBezTo>
                  <a:cubicBezTo>
                    <a:pt x="14858" y="18429"/>
                    <a:pt x="14858" y="18033"/>
                    <a:pt x="14858" y="18033"/>
                  </a:cubicBezTo>
                  <a:cubicBezTo>
                    <a:pt x="14983" y="18033"/>
                    <a:pt x="15108" y="17637"/>
                    <a:pt x="15108" y="17637"/>
                  </a:cubicBezTo>
                  <a:cubicBezTo>
                    <a:pt x="15108" y="17637"/>
                    <a:pt x="15357" y="17637"/>
                    <a:pt x="15357" y="17637"/>
                  </a:cubicBezTo>
                  <a:cubicBezTo>
                    <a:pt x="15357" y="17439"/>
                    <a:pt x="15482" y="17240"/>
                    <a:pt x="15482" y="17240"/>
                  </a:cubicBezTo>
                  <a:cubicBezTo>
                    <a:pt x="15482" y="17240"/>
                    <a:pt x="15482" y="17240"/>
                    <a:pt x="15607" y="17042"/>
                  </a:cubicBezTo>
                  <a:cubicBezTo>
                    <a:pt x="15607" y="16844"/>
                    <a:pt x="15607" y="16646"/>
                    <a:pt x="15607" y="16646"/>
                  </a:cubicBezTo>
                  <a:cubicBezTo>
                    <a:pt x="15607" y="16448"/>
                    <a:pt x="15732" y="16250"/>
                    <a:pt x="15732" y="16250"/>
                  </a:cubicBezTo>
                  <a:cubicBezTo>
                    <a:pt x="15732" y="16051"/>
                    <a:pt x="15732" y="16051"/>
                    <a:pt x="15732" y="16051"/>
                  </a:cubicBezTo>
                  <a:cubicBezTo>
                    <a:pt x="15732" y="16051"/>
                    <a:pt x="15732" y="15853"/>
                    <a:pt x="15732" y="15853"/>
                  </a:cubicBezTo>
                  <a:cubicBezTo>
                    <a:pt x="15732" y="15655"/>
                    <a:pt x="15732" y="15457"/>
                    <a:pt x="15732" y="15457"/>
                  </a:cubicBezTo>
                  <a:cubicBezTo>
                    <a:pt x="15732" y="15061"/>
                    <a:pt x="15732" y="15061"/>
                    <a:pt x="15732" y="15061"/>
                  </a:cubicBezTo>
                  <a:cubicBezTo>
                    <a:pt x="15607" y="14664"/>
                    <a:pt x="15607" y="14664"/>
                    <a:pt x="15607" y="14664"/>
                  </a:cubicBezTo>
                  <a:cubicBezTo>
                    <a:pt x="15607" y="14466"/>
                    <a:pt x="15607" y="14466"/>
                    <a:pt x="15607" y="14466"/>
                  </a:cubicBezTo>
                  <a:cubicBezTo>
                    <a:pt x="15857" y="14070"/>
                    <a:pt x="15857" y="14070"/>
                    <a:pt x="15857" y="14070"/>
                  </a:cubicBezTo>
                  <a:cubicBezTo>
                    <a:pt x="15857" y="14070"/>
                    <a:pt x="15982" y="13872"/>
                    <a:pt x="15982" y="14070"/>
                  </a:cubicBezTo>
                  <a:cubicBezTo>
                    <a:pt x="16106" y="14070"/>
                    <a:pt x="16231" y="14268"/>
                    <a:pt x="16231" y="14268"/>
                  </a:cubicBezTo>
                  <a:cubicBezTo>
                    <a:pt x="16356" y="14268"/>
                    <a:pt x="16356" y="14268"/>
                    <a:pt x="16356" y="14268"/>
                  </a:cubicBezTo>
                  <a:cubicBezTo>
                    <a:pt x="16606" y="14070"/>
                    <a:pt x="16606" y="14070"/>
                    <a:pt x="16606" y="14070"/>
                  </a:cubicBezTo>
                  <a:cubicBezTo>
                    <a:pt x="16606" y="14070"/>
                    <a:pt x="16731" y="14070"/>
                    <a:pt x="16731" y="14268"/>
                  </a:cubicBezTo>
                  <a:cubicBezTo>
                    <a:pt x="16606" y="14268"/>
                    <a:pt x="16481" y="14466"/>
                    <a:pt x="16606" y="14664"/>
                  </a:cubicBezTo>
                  <a:cubicBezTo>
                    <a:pt x="16606" y="14664"/>
                    <a:pt x="16731" y="14862"/>
                    <a:pt x="16731" y="15061"/>
                  </a:cubicBezTo>
                  <a:cubicBezTo>
                    <a:pt x="16731" y="15259"/>
                    <a:pt x="16731" y="15259"/>
                    <a:pt x="16731" y="15655"/>
                  </a:cubicBezTo>
                  <a:cubicBezTo>
                    <a:pt x="16731" y="15853"/>
                    <a:pt x="16980" y="15853"/>
                    <a:pt x="16980" y="16051"/>
                  </a:cubicBezTo>
                  <a:cubicBezTo>
                    <a:pt x="17105" y="16051"/>
                    <a:pt x="16855" y="16250"/>
                    <a:pt x="17230" y="16250"/>
                  </a:cubicBezTo>
                  <a:cubicBezTo>
                    <a:pt x="17480" y="16250"/>
                    <a:pt x="17729" y="16448"/>
                    <a:pt x="17729" y="16250"/>
                  </a:cubicBezTo>
                  <a:cubicBezTo>
                    <a:pt x="17854" y="16250"/>
                    <a:pt x="17854" y="16250"/>
                    <a:pt x="17854" y="16051"/>
                  </a:cubicBezTo>
                  <a:cubicBezTo>
                    <a:pt x="17729" y="15853"/>
                    <a:pt x="17854" y="15655"/>
                    <a:pt x="17854" y="15655"/>
                  </a:cubicBezTo>
                  <a:cubicBezTo>
                    <a:pt x="17854" y="15655"/>
                    <a:pt x="17979" y="15655"/>
                    <a:pt x="17979" y="15655"/>
                  </a:cubicBezTo>
                  <a:cubicBezTo>
                    <a:pt x="18104" y="15655"/>
                    <a:pt x="18104" y="15853"/>
                    <a:pt x="18229" y="15655"/>
                  </a:cubicBezTo>
                  <a:cubicBezTo>
                    <a:pt x="18229" y="15655"/>
                    <a:pt x="18354" y="15457"/>
                    <a:pt x="18354" y="15457"/>
                  </a:cubicBezTo>
                  <a:cubicBezTo>
                    <a:pt x="18603" y="15457"/>
                    <a:pt x="18603" y="15457"/>
                    <a:pt x="18603" y="15457"/>
                  </a:cubicBezTo>
                  <a:cubicBezTo>
                    <a:pt x="18603" y="15457"/>
                    <a:pt x="18479" y="15259"/>
                    <a:pt x="18728" y="15259"/>
                  </a:cubicBezTo>
                  <a:cubicBezTo>
                    <a:pt x="18853" y="15259"/>
                    <a:pt x="19103" y="15259"/>
                    <a:pt x="19103" y="15259"/>
                  </a:cubicBezTo>
                  <a:cubicBezTo>
                    <a:pt x="19103" y="15259"/>
                    <a:pt x="19103" y="15457"/>
                    <a:pt x="19103" y="15655"/>
                  </a:cubicBezTo>
                  <a:cubicBezTo>
                    <a:pt x="19228" y="15853"/>
                    <a:pt x="19228" y="15853"/>
                    <a:pt x="19228" y="15853"/>
                  </a:cubicBezTo>
                  <a:cubicBezTo>
                    <a:pt x="19228" y="15853"/>
                    <a:pt x="19103" y="15853"/>
                    <a:pt x="19228" y="16250"/>
                  </a:cubicBezTo>
                  <a:cubicBezTo>
                    <a:pt x="19353" y="16448"/>
                    <a:pt x="19477" y="16448"/>
                    <a:pt x="19477" y="16646"/>
                  </a:cubicBezTo>
                  <a:cubicBezTo>
                    <a:pt x="19602" y="16646"/>
                    <a:pt x="19477" y="17042"/>
                    <a:pt x="19477" y="17042"/>
                  </a:cubicBezTo>
                  <a:cubicBezTo>
                    <a:pt x="19477" y="17042"/>
                    <a:pt x="19727" y="17042"/>
                    <a:pt x="19727" y="17042"/>
                  </a:cubicBezTo>
                  <a:cubicBezTo>
                    <a:pt x="19727" y="16844"/>
                    <a:pt x="19727" y="16844"/>
                    <a:pt x="19852" y="16844"/>
                  </a:cubicBezTo>
                  <a:cubicBezTo>
                    <a:pt x="19852" y="16844"/>
                    <a:pt x="19852" y="16844"/>
                    <a:pt x="19852" y="16844"/>
                  </a:cubicBezTo>
                  <a:cubicBezTo>
                    <a:pt x="19852" y="16844"/>
                    <a:pt x="19977" y="16646"/>
                    <a:pt x="19977" y="16448"/>
                  </a:cubicBezTo>
                  <a:cubicBezTo>
                    <a:pt x="19977" y="16448"/>
                    <a:pt x="19977" y="15853"/>
                    <a:pt x="19852" y="15853"/>
                  </a:cubicBezTo>
                  <a:cubicBezTo>
                    <a:pt x="19852" y="15853"/>
                    <a:pt x="19727" y="15853"/>
                    <a:pt x="19727" y="15655"/>
                  </a:cubicBezTo>
                  <a:cubicBezTo>
                    <a:pt x="19602" y="15457"/>
                    <a:pt x="19602" y="15457"/>
                    <a:pt x="19727" y="15457"/>
                  </a:cubicBezTo>
                  <a:cubicBezTo>
                    <a:pt x="19727" y="15457"/>
                    <a:pt x="19852" y="15259"/>
                    <a:pt x="19852" y="15259"/>
                  </a:cubicBezTo>
                  <a:cubicBezTo>
                    <a:pt x="19852" y="15259"/>
                    <a:pt x="19977" y="15061"/>
                    <a:pt x="19852" y="15061"/>
                  </a:cubicBezTo>
                  <a:cubicBezTo>
                    <a:pt x="19852" y="14862"/>
                    <a:pt x="19727" y="14664"/>
                    <a:pt x="19727" y="14664"/>
                  </a:cubicBezTo>
                  <a:cubicBezTo>
                    <a:pt x="19727" y="14664"/>
                    <a:pt x="19602" y="14862"/>
                    <a:pt x="19477" y="14664"/>
                  </a:cubicBezTo>
                  <a:cubicBezTo>
                    <a:pt x="19477" y="14664"/>
                    <a:pt x="19477" y="14664"/>
                    <a:pt x="19477" y="14466"/>
                  </a:cubicBezTo>
                  <a:cubicBezTo>
                    <a:pt x="19477" y="14466"/>
                    <a:pt x="19477" y="14070"/>
                    <a:pt x="19477" y="14070"/>
                  </a:cubicBezTo>
                  <a:cubicBezTo>
                    <a:pt x="19353" y="14070"/>
                    <a:pt x="19353" y="14070"/>
                    <a:pt x="19353" y="14070"/>
                  </a:cubicBezTo>
                  <a:cubicBezTo>
                    <a:pt x="19477" y="13673"/>
                    <a:pt x="19477" y="13673"/>
                    <a:pt x="19477" y="13673"/>
                  </a:cubicBezTo>
                  <a:cubicBezTo>
                    <a:pt x="19477" y="13475"/>
                    <a:pt x="19477" y="13475"/>
                    <a:pt x="19477" y="13475"/>
                  </a:cubicBezTo>
                  <a:cubicBezTo>
                    <a:pt x="19477" y="13475"/>
                    <a:pt x="19477" y="13277"/>
                    <a:pt x="19602" y="13277"/>
                  </a:cubicBezTo>
                  <a:cubicBezTo>
                    <a:pt x="19602" y="13079"/>
                    <a:pt x="19602" y="13079"/>
                    <a:pt x="19602" y="12881"/>
                  </a:cubicBezTo>
                  <a:cubicBezTo>
                    <a:pt x="19727" y="12881"/>
                    <a:pt x="19727" y="12683"/>
                    <a:pt x="19727" y="12683"/>
                  </a:cubicBezTo>
                  <a:cubicBezTo>
                    <a:pt x="19852" y="12683"/>
                    <a:pt x="19977" y="12683"/>
                    <a:pt x="20102" y="12683"/>
                  </a:cubicBezTo>
                  <a:cubicBezTo>
                    <a:pt x="20102" y="12683"/>
                    <a:pt x="20102" y="12484"/>
                    <a:pt x="20227" y="12484"/>
                  </a:cubicBezTo>
                  <a:cubicBezTo>
                    <a:pt x="20227" y="12484"/>
                    <a:pt x="20351" y="12683"/>
                    <a:pt x="20351" y="12683"/>
                  </a:cubicBezTo>
                  <a:cubicBezTo>
                    <a:pt x="20351" y="12683"/>
                    <a:pt x="20351" y="12683"/>
                    <a:pt x="20351" y="12881"/>
                  </a:cubicBezTo>
                  <a:cubicBezTo>
                    <a:pt x="20351" y="12881"/>
                    <a:pt x="20726" y="13277"/>
                    <a:pt x="20726" y="13277"/>
                  </a:cubicBezTo>
                  <a:cubicBezTo>
                    <a:pt x="20726" y="13277"/>
                    <a:pt x="20726" y="13277"/>
                    <a:pt x="20851" y="13277"/>
                  </a:cubicBezTo>
                  <a:cubicBezTo>
                    <a:pt x="20851" y="13277"/>
                    <a:pt x="20726" y="13277"/>
                    <a:pt x="20851" y="13277"/>
                  </a:cubicBezTo>
                  <a:cubicBezTo>
                    <a:pt x="20851" y="13475"/>
                    <a:pt x="21225" y="13277"/>
                    <a:pt x="21225" y="13277"/>
                  </a:cubicBezTo>
                  <a:cubicBezTo>
                    <a:pt x="21350" y="13277"/>
                    <a:pt x="21350" y="13277"/>
                    <a:pt x="21350" y="13277"/>
                  </a:cubicBezTo>
                  <a:cubicBezTo>
                    <a:pt x="21350" y="13277"/>
                    <a:pt x="21350" y="13277"/>
                    <a:pt x="21350" y="13079"/>
                  </a:cubicBezTo>
                  <a:cubicBezTo>
                    <a:pt x="21475" y="13079"/>
                    <a:pt x="21475" y="12881"/>
                    <a:pt x="21475" y="12683"/>
                  </a:cubicBezTo>
                  <a:cubicBezTo>
                    <a:pt x="21475" y="12683"/>
                    <a:pt x="21600" y="12683"/>
                    <a:pt x="21475" y="12484"/>
                  </a:cubicBezTo>
                  <a:cubicBezTo>
                    <a:pt x="21225" y="12286"/>
                    <a:pt x="21101" y="12286"/>
                    <a:pt x="21101" y="12286"/>
                  </a:cubicBezTo>
                  <a:cubicBezTo>
                    <a:pt x="21101" y="12286"/>
                    <a:pt x="20851" y="11890"/>
                    <a:pt x="20976" y="11890"/>
                  </a:cubicBezTo>
                  <a:cubicBezTo>
                    <a:pt x="21101" y="11692"/>
                    <a:pt x="21225" y="11494"/>
                    <a:pt x="21225" y="11494"/>
                  </a:cubicBezTo>
                  <a:cubicBezTo>
                    <a:pt x="21101" y="11097"/>
                    <a:pt x="21101" y="11097"/>
                    <a:pt x="21101" y="11097"/>
                  </a:cubicBezTo>
                  <a:cubicBezTo>
                    <a:pt x="21225" y="10899"/>
                    <a:pt x="21225" y="10899"/>
                    <a:pt x="21225" y="10899"/>
                  </a:cubicBezTo>
                  <a:cubicBezTo>
                    <a:pt x="21101" y="10503"/>
                    <a:pt x="21101" y="10503"/>
                    <a:pt x="21101" y="10503"/>
                  </a:cubicBezTo>
                  <a:cubicBezTo>
                    <a:pt x="21101" y="10503"/>
                    <a:pt x="21225" y="10305"/>
                    <a:pt x="21225" y="10305"/>
                  </a:cubicBezTo>
                  <a:cubicBezTo>
                    <a:pt x="21225" y="10106"/>
                    <a:pt x="21350" y="9512"/>
                    <a:pt x="21350" y="9512"/>
                  </a:cubicBezTo>
                  <a:cubicBezTo>
                    <a:pt x="21350" y="9512"/>
                    <a:pt x="21350" y="9314"/>
                    <a:pt x="21350" y="9116"/>
                  </a:cubicBezTo>
                  <a:cubicBezTo>
                    <a:pt x="21350" y="9116"/>
                    <a:pt x="21225" y="8917"/>
                    <a:pt x="21225" y="8917"/>
                  </a:cubicBezTo>
                  <a:cubicBezTo>
                    <a:pt x="21101" y="8719"/>
                    <a:pt x="21101" y="8719"/>
                    <a:pt x="21101" y="8719"/>
                  </a:cubicBezTo>
                  <a:cubicBezTo>
                    <a:pt x="21101" y="8719"/>
                    <a:pt x="20976" y="8323"/>
                    <a:pt x="20976" y="8323"/>
                  </a:cubicBezTo>
                  <a:cubicBezTo>
                    <a:pt x="20851" y="8521"/>
                    <a:pt x="20726" y="8521"/>
                    <a:pt x="20726" y="8521"/>
                  </a:cubicBezTo>
                  <a:cubicBezTo>
                    <a:pt x="20726" y="8521"/>
                    <a:pt x="20726" y="8917"/>
                    <a:pt x="20726" y="8917"/>
                  </a:cubicBezTo>
                  <a:cubicBezTo>
                    <a:pt x="20601" y="9116"/>
                    <a:pt x="20476" y="9116"/>
                    <a:pt x="20476" y="9116"/>
                  </a:cubicBezTo>
                  <a:cubicBezTo>
                    <a:pt x="20476" y="9116"/>
                    <a:pt x="20476" y="9116"/>
                    <a:pt x="20476" y="9116"/>
                  </a:cubicBezTo>
                  <a:cubicBezTo>
                    <a:pt x="20351" y="9116"/>
                    <a:pt x="20351" y="9116"/>
                    <a:pt x="20351" y="9116"/>
                  </a:cubicBezTo>
                  <a:cubicBezTo>
                    <a:pt x="20227" y="9512"/>
                    <a:pt x="20227" y="9512"/>
                    <a:pt x="20227" y="9512"/>
                  </a:cubicBezTo>
                  <a:cubicBezTo>
                    <a:pt x="20102" y="9710"/>
                    <a:pt x="20102" y="9710"/>
                    <a:pt x="20102" y="9710"/>
                  </a:cubicBezTo>
                  <a:cubicBezTo>
                    <a:pt x="20102" y="9710"/>
                    <a:pt x="19852" y="9908"/>
                    <a:pt x="19727" y="9908"/>
                  </a:cubicBezTo>
                  <a:cubicBezTo>
                    <a:pt x="19727" y="9908"/>
                    <a:pt x="19477" y="9908"/>
                    <a:pt x="19477" y="9908"/>
                  </a:cubicBezTo>
                  <a:cubicBezTo>
                    <a:pt x="19353" y="9710"/>
                    <a:pt x="19353" y="9710"/>
                    <a:pt x="19353" y="9710"/>
                  </a:cubicBezTo>
                  <a:cubicBezTo>
                    <a:pt x="18978" y="9512"/>
                    <a:pt x="18978" y="9512"/>
                    <a:pt x="18978" y="9512"/>
                  </a:cubicBezTo>
                  <a:cubicBezTo>
                    <a:pt x="18978" y="9512"/>
                    <a:pt x="18978" y="9512"/>
                    <a:pt x="18978" y="9512"/>
                  </a:cubicBezTo>
                  <a:cubicBezTo>
                    <a:pt x="18728" y="9314"/>
                    <a:pt x="18728" y="9314"/>
                    <a:pt x="18728" y="9314"/>
                  </a:cubicBezTo>
                  <a:cubicBezTo>
                    <a:pt x="18603" y="9116"/>
                    <a:pt x="18603" y="9116"/>
                    <a:pt x="18603" y="9116"/>
                  </a:cubicBezTo>
                  <a:cubicBezTo>
                    <a:pt x="18603" y="8719"/>
                    <a:pt x="18603" y="8719"/>
                    <a:pt x="18603" y="8719"/>
                  </a:cubicBezTo>
                  <a:cubicBezTo>
                    <a:pt x="18354" y="8323"/>
                    <a:pt x="18354" y="8323"/>
                    <a:pt x="18354" y="8323"/>
                  </a:cubicBezTo>
                  <a:cubicBezTo>
                    <a:pt x="17854" y="8125"/>
                    <a:pt x="17854" y="8125"/>
                    <a:pt x="17854" y="8125"/>
                  </a:cubicBezTo>
                  <a:cubicBezTo>
                    <a:pt x="17480" y="7927"/>
                    <a:pt x="17480" y="7927"/>
                    <a:pt x="17480" y="7927"/>
                  </a:cubicBezTo>
                  <a:cubicBezTo>
                    <a:pt x="17230" y="7927"/>
                    <a:pt x="17230" y="7927"/>
                    <a:pt x="17230" y="7927"/>
                  </a:cubicBezTo>
                  <a:cubicBezTo>
                    <a:pt x="17230" y="7927"/>
                    <a:pt x="16731" y="7927"/>
                    <a:pt x="16731" y="7927"/>
                  </a:cubicBezTo>
                  <a:cubicBezTo>
                    <a:pt x="16731" y="7927"/>
                    <a:pt x="16606" y="7927"/>
                    <a:pt x="16606" y="7927"/>
                  </a:cubicBezTo>
                  <a:cubicBezTo>
                    <a:pt x="16606" y="7927"/>
                    <a:pt x="16606" y="7927"/>
                    <a:pt x="16606" y="7927"/>
                  </a:cubicBezTo>
                  <a:cubicBezTo>
                    <a:pt x="16606" y="7927"/>
                    <a:pt x="16606" y="7927"/>
                    <a:pt x="16606" y="7927"/>
                  </a:cubicBezTo>
                  <a:cubicBezTo>
                    <a:pt x="16606" y="7927"/>
                    <a:pt x="16606" y="7927"/>
                    <a:pt x="16606" y="7927"/>
                  </a:cubicBezTo>
                  <a:cubicBezTo>
                    <a:pt x="16606" y="7927"/>
                    <a:pt x="16606" y="7927"/>
                    <a:pt x="16606" y="7927"/>
                  </a:cubicBezTo>
                  <a:cubicBezTo>
                    <a:pt x="16606" y="7927"/>
                    <a:pt x="16606" y="7927"/>
                    <a:pt x="16606" y="7927"/>
                  </a:cubicBezTo>
                  <a:cubicBezTo>
                    <a:pt x="16481" y="7927"/>
                    <a:pt x="16481" y="7927"/>
                    <a:pt x="16481" y="7927"/>
                  </a:cubicBezTo>
                  <a:cubicBezTo>
                    <a:pt x="16606" y="7530"/>
                    <a:pt x="16606" y="7530"/>
                    <a:pt x="16606" y="7530"/>
                  </a:cubicBezTo>
                  <a:cubicBezTo>
                    <a:pt x="16731" y="7530"/>
                    <a:pt x="16731" y="7530"/>
                    <a:pt x="16731" y="7530"/>
                  </a:cubicBezTo>
                  <a:cubicBezTo>
                    <a:pt x="16731" y="7332"/>
                    <a:pt x="16731" y="7332"/>
                    <a:pt x="16731" y="7332"/>
                  </a:cubicBezTo>
                  <a:cubicBezTo>
                    <a:pt x="16731" y="7332"/>
                    <a:pt x="16606" y="7134"/>
                    <a:pt x="16606" y="7134"/>
                  </a:cubicBezTo>
                  <a:cubicBezTo>
                    <a:pt x="16606" y="7134"/>
                    <a:pt x="16606" y="6936"/>
                    <a:pt x="16606" y="6936"/>
                  </a:cubicBezTo>
                  <a:cubicBezTo>
                    <a:pt x="16606" y="6936"/>
                    <a:pt x="16606" y="6936"/>
                    <a:pt x="16606" y="6936"/>
                  </a:cubicBezTo>
                  <a:cubicBezTo>
                    <a:pt x="16606" y="6936"/>
                    <a:pt x="16606" y="6738"/>
                    <a:pt x="16606" y="6738"/>
                  </a:cubicBezTo>
                  <a:cubicBezTo>
                    <a:pt x="16606" y="6738"/>
                    <a:pt x="16606" y="6738"/>
                    <a:pt x="16606" y="6738"/>
                  </a:cubicBezTo>
                  <a:cubicBezTo>
                    <a:pt x="16606" y="6539"/>
                    <a:pt x="16606" y="6539"/>
                    <a:pt x="16606" y="6539"/>
                  </a:cubicBezTo>
                  <a:cubicBezTo>
                    <a:pt x="16731" y="5945"/>
                    <a:pt x="16731" y="5945"/>
                    <a:pt x="16731" y="5945"/>
                  </a:cubicBezTo>
                  <a:cubicBezTo>
                    <a:pt x="16980" y="5549"/>
                    <a:pt x="16980" y="5549"/>
                    <a:pt x="16980" y="5549"/>
                  </a:cubicBezTo>
                  <a:cubicBezTo>
                    <a:pt x="16980" y="5549"/>
                    <a:pt x="16980" y="5152"/>
                    <a:pt x="17105" y="5152"/>
                  </a:cubicBezTo>
                  <a:cubicBezTo>
                    <a:pt x="17105" y="4954"/>
                    <a:pt x="17105" y="4756"/>
                    <a:pt x="17105" y="4756"/>
                  </a:cubicBezTo>
                  <a:cubicBezTo>
                    <a:pt x="17355" y="4558"/>
                    <a:pt x="17355" y="4558"/>
                    <a:pt x="17355" y="4558"/>
                  </a:cubicBezTo>
                  <a:cubicBezTo>
                    <a:pt x="17355" y="4558"/>
                    <a:pt x="17480" y="4360"/>
                    <a:pt x="17480" y="4360"/>
                  </a:cubicBezTo>
                  <a:cubicBezTo>
                    <a:pt x="17480" y="4161"/>
                    <a:pt x="17355" y="3963"/>
                    <a:pt x="17355" y="3963"/>
                  </a:cubicBezTo>
                  <a:cubicBezTo>
                    <a:pt x="17355" y="3765"/>
                    <a:pt x="17480" y="3567"/>
                    <a:pt x="17480" y="3567"/>
                  </a:cubicBezTo>
                  <a:cubicBezTo>
                    <a:pt x="17355" y="3567"/>
                    <a:pt x="17355" y="3369"/>
                    <a:pt x="17230" y="3369"/>
                  </a:cubicBezTo>
                  <a:cubicBezTo>
                    <a:pt x="17230" y="3369"/>
                    <a:pt x="17105" y="3369"/>
                    <a:pt x="17105" y="3171"/>
                  </a:cubicBezTo>
                  <a:cubicBezTo>
                    <a:pt x="17105" y="3171"/>
                    <a:pt x="16980" y="2972"/>
                    <a:pt x="16980" y="2972"/>
                  </a:cubicBezTo>
                  <a:cubicBezTo>
                    <a:pt x="16980" y="2972"/>
                    <a:pt x="16980" y="2576"/>
                    <a:pt x="16855" y="2576"/>
                  </a:cubicBezTo>
                  <a:cubicBezTo>
                    <a:pt x="16855" y="2576"/>
                    <a:pt x="16731" y="2576"/>
                    <a:pt x="16606" y="2378"/>
                  </a:cubicBezTo>
                  <a:cubicBezTo>
                    <a:pt x="16481" y="2378"/>
                    <a:pt x="16356" y="2180"/>
                    <a:pt x="16356" y="2180"/>
                  </a:cubicBezTo>
                  <a:cubicBezTo>
                    <a:pt x="16231" y="2180"/>
                    <a:pt x="15982" y="1783"/>
                    <a:pt x="15982" y="1783"/>
                  </a:cubicBezTo>
                  <a:cubicBezTo>
                    <a:pt x="15982" y="1783"/>
                    <a:pt x="15982" y="1783"/>
                    <a:pt x="15857" y="1783"/>
                  </a:cubicBezTo>
                  <a:cubicBezTo>
                    <a:pt x="15857" y="1783"/>
                    <a:pt x="15732" y="1585"/>
                    <a:pt x="15732" y="1585"/>
                  </a:cubicBezTo>
                  <a:cubicBezTo>
                    <a:pt x="15607" y="1585"/>
                    <a:pt x="15607" y="1585"/>
                    <a:pt x="15607" y="1585"/>
                  </a:cubicBezTo>
                  <a:cubicBezTo>
                    <a:pt x="15607" y="1585"/>
                    <a:pt x="15607" y="1585"/>
                    <a:pt x="15607" y="1585"/>
                  </a:cubicBezTo>
                  <a:cubicBezTo>
                    <a:pt x="15482" y="1585"/>
                    <a:pt x="15482" y="1585"/>
                    <a:pt x="15357" y="1387"/>
                  </a:cubicBezTo>
                  <a:cubicBezTo>
                    <a:pt x="15108" y="1387"/>
                    <a:pt x="15232" y="1387"/>
                    <a:pt x="14983" y="1387"/>
                  </a:cubicBezTo>
                  <a:cubicBezTo>
                    <a:pt x="14858" y="1387"/>
                    <a:pt x="14733" y="1387"/>
                    <a:pt x="14733" y="1387"/>
                  </a:cubicBezTo>
                  <a:cubicBezTo>
                    <a:pt x="14733" y="1387"/>
                    <a:pt x="14608" y="1189"/>
                    <a:pt x="14358" y="1189"/>
                  </a:cubicBezTo>
                  <a:cubicBezTo>
                    <a:pt x="14234" y="1387"/>
                    <a:pt x="13984" y="1585"/>
                    <a:pt x="13859" y="1585"/>
                  </a:cubicBezTo>
                  <a:cubicBezTo>
                    <a:pt x="13859" y="1585"/>
                    <a:pt x="13734" y="1387"/>
                    <a:pt x="13734" y="1387"/>
                  </a:cubicBezTo>
                  <a:cubicBezTo>
                    <a:pt x="13734" y="1387"/>
                    <a:pt x="13734" y="1189"/>
                    <a:pt x="13734" y="1189"/>
                  </a:cubicBezTo>
                  <a:cubicBezTo>
                    <a:pt x="13734" y="1189"/>
                    <a:pt x="13609" y="991"/>
                    <a:pt x="13484" y="793"/>
                  </a:cubicBezTo>
                  <a:cubicBezTo>
                    <a:pt x="13484" y="793"/>
                    <a:pt x="13360" y="793"/>
                    <a:pt x="13360" y="793"/>
                  </a:cubicBezTo>
                  <a:cubicBezTo>
                    <a:pt x="13360" y="793"/>
                    <a:pt x="13360" y="793"/>
                    <a:pt x="13360" y="991"/>
                  </a:cubicBezTo>
                  <a:cubicBezTo>
                    <a:pt x="13360" y="1189"/>
                    <a:pt x="13609" y="1189"/>
                    <a:pt x="13360" y="1189"/>
                  </a:cubicBezTo>
                  <a:cubicBezTo>
                    <a:pt x="13235" y="991"/>
                    <a:pt x="13110" y="991"/>
                    <a:pt x="13110" y="991"/>
                  </a:cubicBezTo>
                  <a:cubicBezTo>
                    <a:pt x="12735" y="1189"/>
                    <a:pt x="12735" y="1189"/>
                    <a:pt x="12735" y="1189"/>
                  </a:cubicBezTo>
                  <a:cubicBezTo>
                    <a:pt x="12860" y="991"/>
                    <a:pt x="12860" y="991"/>
                    <a:pt x="12860" y="991"/>
                  </a:cubicBezTo>
                  <a:cubicBezTo>
                    <a:pt x="12860" y="991"/>
                    <a:pt x="12985" y="991"/>
                    <a:pt x="12985" y="991"/>
                  </a:cubicBezTo>
                  <a:cubicBezTo>
                    <a:pt x="12985" y="793"/>
                    <a:pt x="12985" y="793"/>
                    <a:pt x="12985" y="793"/>
                  </a:cubicBezTo>
                  <a:cubicBezTo>
                    <a:pt x="12985" y="793"/>
                    <a:pt x="12985" y="594"/>
                    <a:pt x="12985" y="594"/>
                  </a:cubicBezTo>
                  <a:cubicBezTo>
                    <a:pt x="13110" y="594"/>
                    <a:pt x="13235" y="396"/>
                    <a:pt x="13110" y="396"/>
                  </a:cubicBezTo>
                  <a:cubicBezTo>
                    <a:pt x="12985" y="396"/>
                    <a:pt x="12860" y="396"/>
                    <a:pt x="12860" y="396"/>
                  </a:cubicBezTo>
                  <a:cubicBezTo>
                    <a:pt x="12860" y="198"/>
                    <a:pt x="12860" y="198"/>
                    <a:pt x="12860" y="198"/>
                  </a:cubicBezTo>
                  <a:cubicBezTo>
                    <a:pt x="12860" y="198"/>
                    <a:pt x="12735" y="0"/>
                    <a:pt x="12735" y="0"/>
                  </a:cubicBezTo>
                  <a:cubicBezTo>
                    <a:pt x="12735" y="198"/>
                    <a:pt x="12735" y="396"/>
                    <a:pt x="12735" y="396"/>
                  </a:cubicBezTo>
                  <a:cubicBezTo>
                    <a:pt x="12610" y="396"/>
                    <a:pt x="12610" y="396"/>
                    <a:pt x="12610" y="198"/>
                  </a:cubicBezTo>
                  <a:cubicBezTo>
                    <a:pt x="12610" y="0"/>
                    <a:pt x="12610" y="0"/>
                    <a:pt x="12610" y="0"/>
                  </a:cubicBezTo>
                  <a:cubicBezTo>
                    <a:pt x="12486" y="0"/>
                    <a:pt x="12361" y="0"/>
                    <a:pt x="12361" y="0"/>
                  </a:cubicBezTo>
                  <a:cubicBezTo>
                    <a:pt x="12361" y="0"/>
                    <a:pt x="12486" y="198"/>
                    <a:pt x="12236" y="198"/>
                  </a:cubicBezTo>
                  <a:cubicBezTo>
                    <a:pt x="12111" y="198"/>
                    <a:pt x="11986" y="396"/>
                    <a:pt x="11861" y="396"/>
                  </a:cubicBezTo>
                  <a:cubicBezTo>
                    <a:pt x="11736" y="594"/>
                    <a:pt x="11736" y="793"/>
                    <a:pt x="11736" y="793"/>
                  </a:cubicBezTo>
                  <a:cubicBezTo>
                    <a:pt x="11736" y="991"/>
                    <a:pt x="11487" y="991"/>
                    <a:pt x="11487" y="1189"/>
                  </a:cubicBezTo>
                  <a:cubicBezTo>
                    <a:pt x="11612" y="1189"/>
                    <a:pt x="11487" y="1189"/>
                    <a:pt x="11736" y="1387"/>
                  </a:cubicBezTo>
                  <a:cubicBezTo>
                    <a:pt x="11861" y="1387"/>
                    <a:pt x="11861" y="1387"/>
                    <a:pt x="11986" y="1387"/>
                  </a:cubicBezTo>
                  <a:cubicBezTo>
                    <a:pt x="12111" y="1585"/>
                    <a:pt x="12236" y="1387"/>
                    <a:pt x="12236" y="1387"/>
                  </a:cubicBezTo>
                  <a:cubicBezTo>
                    <a:pt x="12236" y="1387"/>
                    <a:pt x="12236" y="1387"/>
                    <a:pt x="12361" y="1585"/>
                  </a:cubicBezTo>
                  <a:cubicBezTo>
                    <a:pt x="12361" y="1585"/>
                    <a:pt x="12486" y="1387"/>
                    <a:pt x="12486" y="1585"/>
                  </a:cubicBezTo>
                  <a:cubicBezTo>
                    <a:pt x="12486" y="1783"/>
                    <a:pt x="12610" y="1982"/>
                    <a:pt x="12486" y="1982"/>
                  </a:cubicBezTo>
                  <a:cubicBezTo>
                    <a:pt x="12361" y="1982"/>
                    <a:pt x="12236" y="2180"/>
                    <a:pt x="12236" y="1982"/>
                  </a:cubicBezTo>
                  <a:cubicBezTo>
                    <a:pt x="12236" y="1982"/>
                    <a:pt x="12236" y="1783"/>
                    <a:pt x="12111" y="1783"/>
                  </a:cubicBezTo>
                  <a:cubicBezTo>
                    <a:pt x="12111" y="1783"/>
                    <a:pt x="11986" y="1783"/>
                    <a:pt x="11986" y="1783"/>
                  </a:cubicBezTo>
                  <a:cubicBezTo>
                    <a:pt x="11861" y="2180"/>
                    <a:pt x="11861" y="2180"/>
                    <a:pt x="11861" y="2180"/>
                  </a:cubicBezTo>
                  <a:cubicBezTo>
                    <a:pt x="11861" y="2180"/>
                    <a:pt x="11861" y="2378"/>
                    <a:pt x="11736" y="2378"/>
                  </a:cubicBezTo>
                  <a:cubicBezTo>
                    <a:pt x="11612" y="2378"/>
                    <a:pt x="11736" y="2378"/>
                    <a:pt x="11487" y="2378"/>
                  </a:cubicBezTo>
                  <a:cubicBezTo>
                    <a:pt x="11237" y="2378"/>
                    <a:pt x="11237" y="2180"/>
                    <a:pt x="11112" y="2180"/>
                  </a:cubicBezTo>
                  <a:cubicBezTo>
                    <a:pt x="11112" y="2180"/>
                    <a:pt x="11112" y="2180"/>
                    <a:pt x="10987" y="2180"/>
                  </a:cubicBezTo>
                  <a:cubicBezTo>
                    <a:pt x="10987" y="2180"/>
                    <a:pt x="10738" y="1783"/>
                    <a:pt x="10613" y="2180"/>
                  </a:cubicBezTo>
                  <a:cubicBezTo>
                    <a:pt x="10488" y="2378"/>
                    <a:pt x="10363" y="2576"/>
                    <a:pt x="10363" y="2576"/>
                  </a:cubicBezTo>
                  <a:cubicBezTo>
                    <a:pt x="9988" y="2576"/>
                    <a:pt x="9988" y="2576"/>
                    <a:pt x="9988" y="2576"/>
                  </a:cubicBezTo>
                  <a:cubicBezTo>
                    <a:pt x="9988" y="2576"/>
                    <a:pt x="9864" y="2576"/>
                    <a:pt x="9739" y="2576"/>
                  </a:cubicBezTo>
                  <a:cubicBezTo>
                    <a:pt x="9614" y="2576"/>
                    <a:pt x="9489" y="2576"/>
                    <a:pt x="9489" y="2576"/>
                  </a:cubicBezTo>
                  <a:cubicBezTo>
                    <a:pt x="9364" y="2774"/>
                    <a:pt x="9239" y="2180"/>
                    <a:pt x="9239" y="2180"/>
                  </a:cubicBezTo>
                  <a:cubicBezTo>
                    <a:pt x="9239" y="2180"/>
                    <a:pt x="9364" y="1783"/>
                    <a:pt x="8990" y="2180"/>
                  </a:cubicBezTo>
                  <a:cubicBezTo>
                    <a:pt x="8615" y="2576"/>
                    <a:pt x="8490" y="2576"/>
                    <a:pt x="8490" y="2576"/>
                  </a:cubicBezTo>
                  <a:cubicBezTo>
                    <a:pt x="8365" y="2576"/>
                    <a:pt x="8240" y="2774"/>
                    <a:pt x="8240" y="2774"/>
                  </a:cubicBezTo>
                  <a:cubicBezTo>
                    <a:pt x="8116" y="2576"/>
                    <a:pt x="8116" y="2576"/>
                    <a:pt x="8116" y="2576"/>
                  </a:cubicBezTo>
                  <a:cubicBezTo>
                    <a:pt x="8116" y="2576"/>
                    <a:pt x="8116" y="2576"/>
                    <a:pt x="8116" y="2576"/>
                  </a:cubicBezTo>
                  <a:cubicBezTo>
                    <a:pt x="8116" y="2576"/>
                    <a:pt x="8116" y="2576"/>
                    <a:pt x="8116" y="2576"/>
                  </a:cubicBezTo>
                  <a:cubicBezTo>
                    <a:pt x="8240" y="2576"/>
                    <a:pt x="8240" y="2378"/>
                    <a:pt x="8240" y="2378"/>
                  </a:cubicBezTo>
                  <a:cubicBezTo>
                    <a:pt x="8116" y="2180"/>
                    <a:pt x="8116" y="2180"/>
                    <a:pt x="8116" y="2180"/>
                  </a:cubicBezTo>
                  <a:cubicBezTo>
                    <a:pt x="7741" y="2378"/>
                    <a:pt x="7741" y="2378"/>
                    <a:pt x="7741" y="2378"/>
                  </a:cubicBezTo>
                  <a:cubicBezTo>
                    <a:pt x="7741" y="2378"/>
                    <a:pt x="7866" y="2378"/>
                    <a:pt x="7741" y="2378"/>
                  </a:cubicBezTo>
                  <a:cubicBezTo>
                    <a:pt x="7741" y="2378"/>
                    <a:pt x="7491" y="2378"/>
                    <a:pt x="7491" y="2378"/>
                  </a:cubicBezTo>
                  <a:cubicBezTo>
                    <a:pt x="7491" y="2774"/>
                    <a:pt x="7491" y="2774"/>
                    <a:pt x="7491" y="2774"/>
                  </a:cubicBezTo>
                  <a:cubicBezTo>
                    <a:pt x="7491" y="2774"/>
                    <a:pt x="7366" y="2774"/>
                    <a:pt x="7366" y="2774"/>
                  </a:cubicBezTo>
                  <a:cubicBezTo>
                    <a:pt x="7366" y="2774"/>
                    <a:pt x="7366" y="2972"/>
                    <a:pt x="7366" y="2972"/>
                  </a:cubicBezTo>
                  <a:cubicBezTo>
                    <a:pt x="7366" y="2972"/>
                    <a:pt x="7366" y="3171"/>
                    <a:pt x="7366" y="3171"/>
                  </a:cubicBezTo>
                  <a:cubicBezTo>
                    <a:pt x="7366" y="3171"/>
                    <a:pt x="7242" y="3171"/>
                    <a:pt x="7242" y="3171"/>
                  </a:cubicBezTo>
                  <a:cubicBezTo>
                    <a:pt x="7242" y="3171"/>
                    <a:pt x="7117" y="3171"/>
                    <a:pt x="7117" y="3171"/>
                  </a:cubicBezTo>
                  <a:cubicBezTo>
                    <a:pt x="7117" y="3171"/>
                    <a:pt x="6992" y="3567"/>
                    <a:pt x="6992" y="3567"/>
                  </a:cubicBezTo>
                  <a:cubicBezTo>
                    <a:pt x="6992" y="3567"/>
                    <a:pt x="6992" y="3765"/>
                    <a:pt x="6992" y="3765"/>
                  </a:cubicBezTo>
                  <a:cubicBezTo>
                    <a:pt x="6992" y="3765"/>
                    <a:pt x="6992" y="3765"/>
                    <a:pt x="6992" y="3963"/>
                  </a:cubicBezTo>
                  <a:cubicBezTo>
                    <a:pt x="6867" y="3963"/>
                    <a:pt x="6742" y="3963"/>
                    <a:pt x="6742" y="3963"/>
                  </a:cubicBezTo>
                  <a:cubicBezTo>
                    <a:pt x="6742" y="3963"/>
                    <a:pt x="6617" y="3963"/>
                    <a:pt x="6492" y="3963"/>
                  </a:cubicBezTo>
                  <a:cubicBezTo>
                    <a:pt x="6492" y="3963"/>
                    <a:pt x="6368" y="3963"/>
                    <a:pt x="6368" y="3963"/>
                  </a:cubicBezTo>
                  <a:cubicBezTo>
                    <a:pt x="6243" y="3963"/>
                    <a:pt x="6243" y="4161"/>
                    <a:pt x="6243" y="4161"/>
                  </a:cubicBezTo>
                  <a:cubicBezTo>
                    <a:pt x="6243" y="4161"/>
                    <a:pt x="5993" y="3963"/>
                    <a:pt x="5993" y="3963"/>
                  </a:cubicBezTo>
                  <a:cubicBezTo>
                    <a:pt x="5868" y="3963"/>
                    <a:pt x="5868" y="3765"/>
                    <a:pt x="5868" y="3567"/>
                  </a:cubicBezTo>
                  <a:cubicBezTo>
                    <a:pt x="5868" y="3567"/>
                    <a:pt x="5743" y="3171"/>
                    <a:pt x="5743" y="3171"/>
                  </a:cubicBezTo>
                  <a:cubicBezTo>
                    <a:pt x="5618" y="3369"/>
                    <a:pt x="5618" y="3369"/>
                    <a:pt x="5618" y="3369"/>
                  </a:cubicBezTo>
                  <a:cubicBezTo>
                    <a:pt x="5244" y="3369"/>
                    <a:pt x="5244" y="3369"/>
                    <a:pt x="5244" y="3369"/>
                  </a:cubicBezTo>
                  <a:cubicBezTo>
                    <a:pt x="4994" y="3171"/>
                    <a:pt x="4994" y="3171"/>
                    <a:pt x="4994" y="3171"/>
                  </a:cubicBezTo>
                  <a:cubicBezTo>
                    <a:pt x="4994" y="3567"/>
                    <a:pt x="4994" y="3567"/>
                    <a:pt x="4994" y="3567"/>
                  </a:cubicBezTo>
                  <a:cubicBezTo>
                    <a:pt x="4994" y="3567"/>
                    <a:pt x="5119" y="3765"/>
                    <a:pt x="5119" y="3765"/>
                  </a:cubicBezTo>
                  <a:cubicBezTo>
                    <a:pt x="5119" y="3765"/>
                    <a:pt x="4994" y="3765"/>
                    <a:pt x="4994" y="3765"/>
                  </a:cubicBezTo>
                  <a:cubicBezTo>
                    <a:pt x="4869" y="3963"/>
                    <a:pt x="4869" y="3963"/>
                    <a:pt x="4869" y="3963"/>
                  </a:cubicBezTo>
                  <a:cubicBezTo>
                    <a:pt x="4745" y="3963"/>
                    <a:pt x="4745" y="3963"/>
                    <a:pt x="4745" y="3963"/>
                  </a:cubicBezTo>
                  <a:cubicBezTo>
                    <a:pt x="4745" y="3963"/>
                    <a:pt x="4620" y="4360"/>
                    <a:pt x="4620" y="4360"/>
                  </a:cubicBezTo>
                  <a:cubicBezTo>
                    <a:pt x="4620" y="4558"/>
                    <a:pt x="4495" y="4558"/>
                    <a:pt x="4495" y="4558"/>
                  </a:cubicBezTo>
                  <a:cubicBezTo>
                    <a:pt x="4495" y="4558"/>
                    <a:pt x="4370" y="4558"/>
                    <a:pt x="4495" y="4756"/>
                  </a:cubicBezTo>
                  <a:cubicBezTo>
                    <a:pt x="4620" y="4756"/>
                    <a:pt x="4745" y="4756"/>
                    <a:pt x="4745" y="4756"/>
                  </a:cubicBezTo>
                  <a:cubicBezTo>
                    <a:pt x="4869" y="4756"/>
                    <a:pt x="4994" y="4756"/>
                    <a:pt x="4994" y="4756"/>
                  </a:cubicBezTo>
                  <a:cubicBezTo>
                    <a:pt x="4994" y="4756"/>
                    <a:pt x="5244" y="4558"/>
                    <a:pt x="5244" y="4558"/>
                  </a:cubicBezTo>
                  <a:cubicBezTo>
                    <a:pt x="5244" y="4756"/>
                    <a:pt x="5244" y="4756"/>
                    <a:pt x="5244" y="4756"/>
                  </a:cubicBezTo>
                  <a:cubicBezTo>
                    <a:pt x="5244" y="5152"/>
                    <a:pt x="5244" y="5152"/>
                    <a:pt x="5244" y="5152"/>
                  </a:cubicBezTo>
                  <a:cubicBezTo>
                    <a:pt x="5119" y="5152"/>
                    <a:pt x="5119" y="5152"/>
                    <a:pt x="5119" y="5152"/>
                  </a:cubicBezTo>
                  <a:cubicBezTo>
                    <a:pt x="5119" y="5152"/>
                    <a:pt x="5119" y="5350"/>
                    <a:pt x="5119" y="5350"/>
                  </a:cubicBezTo>
                  <a:cubicBezTo>
                    <a:pt x="4994" y="5549"/>
                    <a:pt x="4869" y="5549"/>
                    <a:pt x="4869" y="5549"/>
                  </a:cubicBezTo>
                  <a:cubicBezTo>
                    <a:pt x="4745" y="5747"/>
                    <a:pt x="4745" y="5747"/>
                    <a:pt x="4745" y="5945"/>
                  </a:cubicBezTo>
                  <a:cubicBezTo>
                    <a:pt x="4745" y="6143"/>
                    <a:pt x="4620" y="6539"/>
                    <a:pt x="4620" y="6539"/>
                  </a:cubicBezTo>
                  <a:cubicBezTo>
                    <a:pt x="4370" y="6738"/>
                    <a:pt x="4370" y="6738"/>
                    <a:pt x="4370" y="6738"/>
                  </a:cubicBezTo>
                  <a:cubicBezTo>
                    <a:pt x="4120" y="7134"/>
                    <a:pt x="4120" y="7134"/>
                    <a:pt x="4120" y="7134"/>
                  </a:cubicBezTo>
                  <a:cubicBezTo>
                    <a:pt x="3995" y="7134"/>
                    <a:pt x="3995" y="7134"/>
                    <a:pt x="3995" y="7134"/>
                  </a:cubicBezTo>
                  <a:cubicBezTo>
                    <a:pt x="3871" y="7332"/>
                    <a:pt x="3871" y="7332"/>
                    <a:pt x="3871" y="7332"/>
                  </a:cubicBezTo>
                  <a:cubicBezTo>
                    <a:pt x="3871" y="7530"/>
                    <a:pt x="3871" y="7530"/>
                    <a:pt x="3871" y="7530"/>
                  </a:cubicBezTo>
                  <a:cubicBezTo>
                    <a:pt x="3621" y="7728"/>
                    <a:pt x="3621" y="7728"/>
                    <a:pt x="3621" y="7728"/>
                  </a:cubicBezTo>
                  <a:cubicBezTo>
                    <a:pt x="3621" y="8125"/>
                    <a:pt x="3621" y="8125"/>
                    <a:pt x="3621" y="8125"/>
                  </a:cubicBezTo>
                  <a:cubicBezTo>
                    <a:pt x="3496" y="8323"/>
                    <a:pt x="3496" y="8323"/>
                    <a:pt x="3496" y="8323"/>
                  </a:cubicBezTo>
                  <a:cubicBezTo>
                    <a:pt x="3371" y="8323"/>
                    <a:pt x="3371" y="8323"/>
                    <a:pt x="3371" y="8323"/>
                  </a:cubicBezTo>
                  <a:cubicBezTo>
                    <a:pt x="3246" y="8719"/>
                    <a:pt x="3246" y="8719"/>
                    <a:pt x="3246" y="8719"/>
                  </a:cubicBezTo>
                  <a:cubicBezTo>
                    <a:pt x="3246" y="8719"/>
                    <a:pt x="3121" y="8917"/>
                    <a:pt x="3121" y="8917"/>
                  </a:cubicBezTo>
                  <a:cubicBezTo>
                    <a:pt x="2997" y="8917"/>
                    <a:pt x="2872" y="9116"/>
                    <a:pt x="2872" y="9116"/>
                  </a:cubicBezTo>
                  <a:cubicBezTo>
                    <a:pt x="2622" y="9116"/>
                    <a:pt x="2622" y="9116"/>
                    <a:pt x="2622" y="9116"/>
                  </a:cubicBezTo>
                  <a:cubicBezTo>
                    <a:pt x="2622" y="9116"/>
                    <a:pt x="2497" y="9116"/>
                    <a:pt x="2372" y="9314"/>
                  </a:cubicBezTo>
                  <a:cubicBezTo>
                    <a:pt x="2372" y="9512"/>
                    <a:pt x="2372" y="9512"/>
                    <a:pt x="2372" y="9512"/>
                  </a:cubicBezTo>
                  <a:cubicBezTo>
                    <a:pt x="2372" y="9710"/>
                    <a:pt x="2497" y="9908"/>
                    <a:pt x="2497" y="9908"/>
                  </a:cubicBezTo>
                  <a:cubicBezTo>
                    <a:pt x="2497" y="10305"/>
                    <a:pt x="2497" y="10305"/>
                    <a:pt x="2497" y="10305"/>
                  </a:cubicBezTo>
                  <a:cubicBezTo>
                    <a:pt x="2497" y="10305"/>
                    <a:pt x="2372" y="10305"/>
                    <a:pt x="2372" y="10503"/>
                  </a:cubicBezTo>
                  <a:cubicBezTo>
                    <a:pt x="2372" y="10503"/>
                    <a:pt x="2372" y="10701"/>
                    <a:pt x="2372" y="10701"/>
                  </a:cubicBezTo>
                  <a:cubicBezTo>
                    <a:pt x="2372" y="10701"/>
                    <a:pt x="2372" y="10899"/>
                    <a:pt x="2372" y="10899"/>
                  </a:cubicBezTo>
                  <a:cubicBezTo>
                    <a:pt x="2372" y="10899"/>
                    <a:pt x="2372" y="11097"/>
                    <a:pt x="2372" y="11097"/>
                  </a:cubicBezTo>
                  <a:cubicBezTo>
                    <a:pt x="2372" y="11097"/>
                    <a:pt x="2372" y="11295"/>
                    <a:pt x="2247" y="11494"/>
                  </a:cubicBezTo>
                  <a:cubicBezTo>
                    <a:pt x="2247" y="11494"/>
                    <a:pt x="2123" y="11692"/>
                    <a:pt x="2123" y="11692"/>
                  </a:cubicBezTo>
                  <a:cubicBezTo>
                    <a:pt x="2123" y="11692"/>
                    <a:pt x="1873" y="11692"/>
                    <a:pt x="1873" y="11692"/>
                  </a:cubicBezTo>
                  <a:cubicBezTo>
                    <a:pt x="1873" y="11890"/>
                    <a:pt x="1623" y="11890"/>
                    <a:pt x="1623" y="11890"/>
                  </a:cubicBezTo>
                  <a:cubicBezTo>
                    <a:pt x="1373" y="12286"/>
                    <a:pt x="1373" y="12286"/>
                    <a:pt x="1373" y="12286"/>
                  </a:cubicBezTo>
                  <a:cubicBezTo>
                    <a:pt x="874" y="13079"/>
                    <a:pt x="874" y="13079"/>
                    <a:pt x="874" y="13079"/>
                  </a:cubicBezTo>
                  <a:cubicBezTo>
                    <a:pt x="874" y="13079"/>
                    <a:pt x="874" y="13277"/>
                    <a:pt x="874" y="13277"/>
                  </a:cubicBezTo>
                  <a:cubicBezTo>
                    <a:pt x="874" y="13277"/>
                    <a:pt x="874" y="13673"/>
                    <a:pt x="874" y="13673"/>
                  </a:cubicBezTo>
                  <a:cubicBezTo>
                    <a:pt x="874" y="13872"/>
                    <a:pt x="749" y="14070"/>
                    <a:pt x="749" y="14070"/>
                  </a:cubicBezTo>
                  <a:cubicBezTo>
                    <a:pt x="624" y="14268"/>
                    <a:pt x="624" y="14268"/>
                    <a:pt x="624" y="14268"/>
                  </a:cubicBezTo>
                  <a:cubicBezTo>
                    <a:pt x="624" y="14664"/>
                    <a:pt x="624" y="14664"/>
                    <a:pt x="624" y="14664"/>
                  </a:cubicBezTo>
                  <a:cubicBezTo>
                    <a:pt x="624" y="14862"/>
                    <a:pt x="624" y="14862"/>
                    <a:pt x="624" y="14862"/>
                  </a:cubicBezTo>
                  <a:cubicBezTo>
                    <a:pt x="749" y="15061"/>
                    <a:pt x="749" y="15061"/>
                    <a:pt x="749" y="15061"/>
                  </a:cubicBezTo>
                  <a:cubicBezTo>
                    <a:pt x="874" y="15259"/>
                    <a:pt x="874" y="15259"/>
                    <a:pt x="874" y="15259"/>
                  </a:cubicBezTo>
                  <a:cubicBezTo>
                    <a:pt x="874" y="15853"/>
                    <a:pt x="874" y="15853"/>
                    <a:pt x="874" y="15853"/>
                  </a:cubicBezTo>
                  <a:cubicBezTo>
                    <a:pt x="749" y="16250"/>
                    <a:pt x="749" y="16250"/>
                    <a:pt x="749" y="16250"/>
                  </a:cubicBezTo>
                  <a:cubicBezTo>
                    <a:pt x="749" y="16646"/>
                    <a:pt x="749" y="16646"/>
                    <a:pt x="749" y="16646"/>
                  </a:cubicBezTo>
                  <a:cubicBezTo>
                    <a:pt x="499" y="16646"/>
                    <a:pt x="499" y="16646"/>
                    <a:pt x="499" y="16646"/>
                  </a:cubicBezTo>
                  <a:cubicBezTo>
                    <a:pt x="499" y="16646"/>
                    <a:pt x="375" y="16844"/>
                    <a:pt x="250" y="16844"/>
                  </a:cubicBezTo>
                  <a:cubicBezTo>
                    <a:pt x="250" y="16844"/>
                    <a:pt x="125" y="17042"/>
                    <a:pt x="125" y="17042"/>
                  </a:cubicBezTo>
                  <a:cubicBezTo>
                    <a:pt x="0" y="17240"/>
                    <a:pt x="0" y="17240"/>
                    <a:pt x="0" y="17240"/>
                  </a:cubicBezTo>
                  <a:cubicBezTo>
                    <a:pt x="125" y="17439"/>
                    <a:pt x="125" y="17439"/>
                    <a:pt x="125" y="17439"/>
                  </a:cubicBezTo>
                  <a:cubicBezTo>
                    <a:pt x="125" y="17835"/>
                    <a:pt x="125" y="17835"/>
                    <a:pt x="125" y="17835"/>
                  </a:cubicBezTo>
                  <a:cubicBezTo>
                    <a:pt x="250" y="17835"/>
                    <a:pt x="250" y="17835"/>
                    <a:pt x="250" y="17835"/>
                  </a:cubicBezTo>
                  <a:cubicBezTo>
                    <a:pt x="499" y="17637"/>
                    <a:pt x="499" y="17637"/>
                    <a:pt x="499" y="17637"/>
                  </a:cubicBezTo>
                  <a:cubicBezTo>
                    <a:pt x="749" y="17835"/>
                    <a:pt x="749" y="17835"/>
                    <a:pt x="749" y="17835"/>
                  </a:cubicBezTo>
                  <a:cubicBezTo>
                    <a:pt x="1124" y="17637"/>
                    <a:pt x="1124" y="17637"/>
                    <a:pt x="1124" y="17637"/>
                  </a:cubicBezTo>
                  <a:cubicBezTo>
                    <a:pt x="1124" y="17637"/>
                    <a:pt x="1124" y="17439"/>
                    <a:pt x="1249" y="17240"/>
                  </a:cubicBezTo>
                  <a:cubicBezTo>
                    <a:pt x="1373" y="17042"/>
                    <a:pt x="1498" y="17042"/>
                    <a:pt x="1498" y="17042"/>
                  </a:cubicBezTo>
                  <a:cubicBezTo>
                    <a:pt x="1623" y="16646"/>
                    <a:pt x="1623" y="16646"/>
                    <a:pt x="1623" y="16646"/>
                  </a:cubicBezTo>
                  <a:cubicBezTo>
                    <a:pt x="1498" y="16646"/>
                    <a:pt x="1498" y="16646"/>
                    <a:pt x="1498" y="16646"/>
                  </a:cubicBezTo>
                  <a:cubicBezTo>
                    <a:pt x="1498" y="16250"/>
                    <a:pt x="1498" y="16250"/>
                    <a:pt x="1498" y="16250"/>
                  </a:cubicBezTo>
                  <a:cubicBezTo>
                    <a:pt x="1249" y="16051"/>
                    <a:pt x="1249" y="16051"/>
                    <a:pt x="1249" y="16051"/>
                  </a:cubicBezTo>
                  <a:cubicBezTo>
                    <a:pt x="1249" y="16051"/>
                    <a:pt x="1249" y="15853"/>
                    <a:pt x="1249" y="15853"/>
                  </a:cubicBezTo>
                  <a:cubicBezTo>
                    <a:pt x="1373" y="15655"/>
                    <a:pt x="1498" y="15259"/>
                    <a:pt x="1498" y="15259"/>
                  </a:cubicBezTo>
                  <a:cubicBezTo>
                    <a:pt x="1873" y="15061"/>
                    <a:pt x="1873" y="15061"/>
                    <a:pt x="1873" y="15061"/>
                  </a:cubicBezTo>
                  <a:cubicBezTo>
                    <a:pt x="2247" y="14862"/>
                    <a:pt x="2247" y="14862"/>
                    <a:pt x="2247" y="14862"/>
                  </a:cubicBezTo>
                  <a:cubicBezTo>
                    <a:pt x="2372" y="14664"/>
                    <a:pt x="2372" y="14664"/>
                    <a:pt x="2372" y="14664"/>
                  </a:cubicBezTo>
                  <a:cubicBezTo>
                    <a:pt x="2622" y="14466"/>
                    <a:pt x="2622" y="14466"/>
                    <a:pt x="2622" y="14466"/>
                  </a:cubicBezTo>
                  <a:cubicBezTo>
                    <a:pt x="2622" y="14466"/>
                    <a:pt x="2997" y="14466"/>
                    <a:pt x="2997" y="14466"/>
                  </a:cubicBezTo>
                  <a:cubicBezTo>
                    <a:pt x="2997" y="14466"/>
                    <a:pt x="3496" y="14466"/>
                    <a:pt x="3496" y="14466"/>
                  </a:cubicBezTo>
                  <a:lnTo>
                    <a:pt x="3871" y="14862"/>
                  </a:ln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2" name="Shape 2235">
              <a:extLst>
                <a:ext uri="{FF2B5EF4-FFF2-40B4-BE49-F238E27FC236}">
                  <a16:creationId xmlns:a16="http://schemas.microsoft.com/office/drawing/2014/main" id="{A1DCBF57-AB3A-535A-E348-489B648A5A70}"/>
                </a:ext>
              </a:extLst>
            </p:cNvPr>
            <p:cNvSpPr/>
            <p:nvPr/>
          </p:nvSpPr>
          <p:spPr>
            <a:xfrm>
              <a:off x="5016686" y="3315076"/>
              <a:ext cx="894773" cy="535810"/>
            </a:xfrm>
            <a:custGeom>
              <a:avLst/>
              <a:gdLst/>
              <a:ahLst/>
              <a:cxnLst>
                <a:cxn ang="0">
                  <a:pos x="wd2" y="hd2"/>
                </a:cxn>
                <a:cxn ang="5400000">
                  <a:pos x="wd2" y="hd2"/>
                </a:cxn>
                <a:cxn ang="10800000">
                  <a:pos x="wd2" y="hd2"/>
                </a:cxn>
                <a:cxn ang="16200000">
                  <a:pos x="wd2" y="hd2"/>
                </a:cxn>
              </a:cxnLst>
              <a:rect l="0" t="0" r="r" b="b"/>
              <a:pathLst>
                <a:path w="21600" h="21600" extrusionOk="0">
                  <a:moveTo>
                    <a:pt x="1891" y="7254"/>
                  </a:moveTo>
                  <a:cubicBezTo>
                    <a:pt x="2389" y="6448"/>
                    <a:pt x="2389" y="6448"/>
                    <a:pt x="2389" y="6448"/>
                  </a:cubicBezTo>
                  <a:cubicBezTo>
                    <a:pt x="2389" y="6448"/>
                    <a:pt x="2986" y="5642"/>
                    <a:pt x="3086" y="5642"/>
                  </a:cubicBezTo>
                  <a:cubicBezTo>
                    <a:pt x="3285" y="5481"/>
                    <a:pt x="3583" y="5158"/>
                    <a:pt x="3583" y="5319"/>
                  </a:cubicBezTo>
                  <a:cubicBezTo>
                    <a:pt x="3583" y="5481"/>
                    <a:pt x="3683" y="6609"/>
                    <a:pt x="3683" y="6609"/>
                  </a:cubicBezTo>
                  <a:cubicBezTo>
                    <a:pt x="4181" y="6931"/>
                    <a:pt x="4181" y="6931"/>
                    <a:pt x="4181" y="6931"/>
                  </a:cubicBezTo>
                  <a:cubicBezTo>
                    <a:pt x="4579" y="7415"/>
                    <a:pt x="4579" y="7415"/>
                    <a:pt x="4579" y="7415"/>
                  </a:cubicBezTo>
                  <a:cubicBezTo>
                    <a:pt x="5375" y="8060"/>
                    <a:pt x="5375" y="8060"/>
                    <a:pt x="5375" y="8060"/>
                  </a:cubicBezTo>
                  <a:cubicBezTo>
                    <a:pt x="5475" y="8543"/>
                    <a:pt x="5475" y="8543"/>
                    <a:pt x="5475" y="8543"/>
                  </a:cubicBezTo>
                  <a:cubicBezTo>
                    <a:pt x="5475" y="8543"/>
                    <a:pt x="5375" y="8866"/>
                    <a:pt x="5574" y="9349"/>
                  </a:cubicBezTo>
                  <a:cubicBezTo>
                    <a:pt x="5873" y="9833"/>
                    <a:pt x="5972" y="9833"/>
                    <a:pt x="6072" y="10316"/>
                  </a:cubicBezTo>
                  <a:cubicBezTo>
                    <a:pt x="6171" y="10639"/>
                    <a:pt x="6570" y="10961"/>
                    <a:pt x="6570" y="10961"/>
                  </a:cubicBezTo>
                  <a:cubicBezTo>
                    <a:pt x="7067" y="11122"/>
                    <a:pt x="7067" y="11122"/>
                    <a:pt x="7067" y="11122"/>
                  </a:cubicBezTo>
                  <a:cubicBezTo>
                    <a:pt x="7067" y="11122"/>
                    <a:pt x="7565" y="11445"/>
                    <a:pt x="7665" y="11284"/>
                  </a:cubicBezTo>
                  <a:cubicBezTo>
                    <a:pt x="7764" y="11122"/>
                    <a:pt x="8262" y="10478"/>
                    <a:pt x="8262" y="10316"/>
                  </a:cubicBezTo>
                  <a:cubicBezTo>
                    <a:pt x="8361" y="10155"/>
                    <a:pt x="8660" y="9510"/>
                    <a:pt x="8759" y="9349"/>
                  </a:cubicBezTo>
                  <a:cubicBezTo>
                    <a:pt x="8859" y="9188"/>
                    <a:pt x="9158" y="8060"/>
                    <a:pt x="9158" y="7899"/>
                  </a:cubicBezTo>
                  <a:cubicBezTo>
                    <a:pt x="9158" y="7576"/>
                    <a:pt x="8759" y="6287"/>
                    <a:pt x="8660" y="5964"/>
                  </a:cubicBezTo>
                  <a:cubicBezTo>
                    <a:pt x="8660" y="5642"/>
                    <a:pt x="8560" y="4675"/>
                    <a:pt x="8560" y="4675"/>
                  </a:cubicBezTo>
                  <a:cubicBezTo>
                    <a:pt x="8162" y="3385"/>
                    <a:pt x="8162" y="3385"/>
                    <a:pt x="8162" y="3385"/>
                  </a:cubicBezTo>
                  <a:cubicBezTo>
                    <a:pt x="8162" y="3385"/>
                    <a:pt x="8162" y="2579"/>
                    <a:pt x="8262" y="2579"/>
                  </a:cubicBezTo>
                  <a:cubicBezTo>
                    <a:pt x="8361" y="2418"/>
                    <a:pt x="8859" y="1773"/>
                    <a:pt x="8859" y="1773"/>
                  </a:cubicBezTo>
                  <a:cubicBezTo>
                    <a:pt x="9357" y="967"/>
                    <a:pt x="9357" y="967"/>
                    <a:pt x="9357" y="967"/>
                  </a:cubicBezTo>
                  <a:cubicBezTo>
                    <a:pt x="9854" y="484"/>
                    <a:pt x="9854" y="484"/>
                    <a:pt x="9854" y="484"/>
                  </a:cubicBezTo>
                  <a:cubicBezTo>
                    <a:pt x="10253" y="0"/>
                    <a:pt x="10253" y="0"/>
                    <a:pt x="10253" y="0"/>
                  </a:cubicBezTo>
                  <a:cubicBezTo>
                    <a:pt x="10750" y="322"/>
                    <a:pt x="10750" y="322"/>
                    <a:pt x="10750" y="322"/>
                  </a:cubicBezTo>
                  <a:cubicBezTo>
                    <a:pt x="11148" y="322"/>
                    <a:pt x="11148" y="322"/>
                    <a:pt x="11148" y="322"/>
                  </a:cubicBezTo>
                  <a:cubicBezTo>
                    <a:pt x="11547" y="645"/>
                    <a:pt x="11547" y="645"/>
                    <a:pt x="11547" y="645"/>
                  </a:cubicBezTo>
                  <a:cubicBezTo>
                    <a:pt x="12044" y="645"/>
                    <a:pt x="12044" y="645"/>
                    <a:pt x="12044" y="645"/>
                  </a:cubicBezTo>
                  <a:cubicBezTo>
                    <a:pt x="12442" y="806"/>
                    <a:pt x="12442" y="806"/>
                    <a:pt x="12442" y="806"/>
                  </a:cubicBezTo>
                  <a:cubicBezTo>
                    <a:pt x="12940" y="1128"/>
                    <a:pt x="12940" y="1128"/>
                    <a:pt x="12940" y="1128"/>
                  </a:cubicBezTo>
                  <a:cubicBezTo>
                    <a:pt x="13836" y="2096"/>
                    <a:pt x="13836" y="2096"/>
                    <a:pt x="13836" y="2096"/>
                  </a:cubicBezTo>
                  <a:cubicBezTo>
                    <a:pt x="14135" y="2740"/>
                    <a:pt x="14135" y="2740"/>
                    <a:pt x="14135" y="2740"/>
                  </a:cubicBezTo>
                  <a:cubicBezTo>
                    <a:pt x="14433" y="2901"/>
                    <a:pt x="14433" y="2901"/>
                    <a:pt x="14433" y="2901"/>
                  </a:cubicBezTo>
                  <a:cubicBezTo>
                    <a:pt x="14433" y="2901"/>
                    <a:pt x="14632" y="3224"/>
                    <a:pt x="14831" y="3063"/>
                  </a:cubicBezTo>
                  <a:cubicBezTo>
                    <a:pt x="14931" y="3063"/>
                    <a:pt x="15030" y="2901"/>
                    <a:pt x="15130" y="2740"/>
                  </a:cubicBezTo>
                  <a:cubicBezTo>
                    <a:pt x="15329" y="2579"/>
                    <a:pt x="15429" y="2257"/>
                    <a:pt x="15429" y="2257"/>
                  </a:cubicBezTo>
                  <a:cubicBezTo>
                    <a:pt x="15628" y="2257"/>
                    <a:pt x="15628" y="2257"/>
                    <a:pt x="15628" y="2257"/>
                  </a:cubicBezTo>
                  <a:cubicBezTo>
                    <a:pt x="15827" y="1773"/>
                    <a:pt x="15827" y="1773"/>
                    <a:pt x="15827" y="1773"/>
                  </a:cubicBezTo>
                  <a:cubicBezTo>
                    <a:pt x="16623" y="2096"/>
                    <a:pt x="16623" y="2096"/>
                    <a:pt x="16623" y="2096"/>
                  </a:cubicBezTo>
                  <a:cubicBezTo>
                    <a:pt x="17021" y="2096"/>
                    <a:pt x="17021" y="2096"/>
                    <a:pt x="17021" y="2096"/>
                  </a:cubicBezTo>
                  <a:cubicBezTo>
                    <a:pt x="17618" y="1773"/>
                    <a:pt x="17618" y="1773"/>
                    <a:pt x="17618" y="1773"/>
                  </a:cubicBezTo>
                  <a:cubicBezTo>
                    <a:pt x="17917" y="2257"/>
                    <a:pt x="17917" y="2257"/>
                    <a:pt x="17917" y="2257"/>
                  </a:cubicBezTo>
                  <a:cubicBezTo>
                    <a:pt x="17917" y="2740"/>
                    <a:pt x="17917" y="2740"/>
                    <a:pt x="17917" y="2740"/>
                  </a:cubicBezTo>
                  <a:cubicBezTo>
                    <a:pt x="18315" y="2901"/>
                    <a:pt x="18315" y="2901"/>
                    <a:pt x="18315" y="2901"/>
                  </a:cubicBezTo>
                  <a:cubicBezTo>
                    <a:pt x="18315" y="2901"/>
                    <a:pt x="18614" y="3224"/>
                    <a:pt x="18713" y="3224"/>
                  </a:cubicBezTo>
                  <a:cubicBezTo>
                    <a:pt x="18813" y="3224"/>
                    <a:pt x="19012" y="3385"/>
                    <a:pt x="19012" y="3385"/>
                  </a:cubicBezTo>
                  <a:cubicBezTo>
                    <a:pt x="19112" y="4997"/>
                    <a:pt x="19112" y="4997"/>
                    <a:pt x="19112" y="4997"/>
                  </a:cubicBezTo>
                  <a:cubicBezTo>
                    <a:pt x="18912" y="5481"/>
                    <a:pt x="18912" y="5481"/>
                    <a:pt x="18912" y="5481"/>
                  </a:cubicBezTo>
                  <a:cubicBezTo>
                    <a:pt x="19112" y="6770"/>
                    <a:pt x="19112" y="6770"/>
                    <a:pt x="19112" y="6770"/>
                  </a:cubicBezTo>
                  <a:cubicBezTo>
                    <a:pt x="19112" y="7415"/>
                    <a:pt x="19112" y="7415"/>
                    <a:pt x="19112" y="7415"/>
                  </a:cubicBezTo>
                  <a:cubicBezTo>
                    <a:pt x="19510" y="6931"/>
                    <a:pt x="19510" y="6931"/>
                    <a:pt x="19510" y="6931"/>
                  </a:cubicBezTo>
                  <a:cubicBezTo>
                    <a:pt x="19908" y="7415"/>
                    <a:pt x="19908" y="7415"/>
                    <a:pt x="19908" y="7415"/>
                  </a:cubicBezTo>
                  <a:cubicBezTo>
                    <a:pt x="19709" y="7899"/>
                    <a:pt x="19709" y="7899"/>
                    <a:pt x="19709" y="7899"/>
                  </a:cubicBezTo>
                  <a:cubicBezTo>
                    <a:pt x="20206" y="8543"/>
                    <a:pt x="20206" y="8543"/>
                    <a:pt x="20206" y="8543"/>
                  </a:cubicBezTo>
                  <a:cubicBezTo>
                    <a:pt x="20605" y="8866"/>
                    <a:pt x="20605" y="8866"/>
                    <a:pt x="20605" y="8866"/>
                  </a:cubicBezTo>
                  <a:cubicBezTo>
                    <a:pt x="20505" y="9349"/>
                    <a:pt x="20505" y="9349"/>
                    <a:pt x="20505" y="9349"/>
                  </a:cubicBezTo>
                  <a:cubicBezTo>
                    <a:pt x="20505" y="9349"/>
                    <a:pt x="20605" y="9510"/>
                    <a:pt x="20704" y="9510"/>
                  </a:cubicBezTo>
                  <a:cubicBezTo>
                    <a:pt x="20804" y="9672"/>
                    <a:pt x="21003" y="9833"/>
                    <a:pt x="21003" y="9833"/>
                  </a:cubicBezTo>
                  <a:cubicBezTo>
                    <a:pt x="21003" y="9833"/>
                    <a:pt x="21102" y="10316"/>
                    <a:pt x="21102" y="10639"/>
                  </a:cubicBezTo>
                  <a:cubicBezTo>
                    <a:pt x="21202" y="10800"/>
                    <a:pt x="21600" y="11284"/>
                    <a:pt x="21600" y="11284"/>
                  </a:cubicBezTo>
                  <a:cubicBezTo>
                    <a:pt x="21500" y="12090"/>
                    <a:pt x="21500" y="12090"/>
                    <a:pt x="21500" y="12090"/>
                  </a:cubicBezTo>
                  <a:cubicBezTo>
                    <a:pt x="21500" y="12090"/>
                    <a:pt x="21500" y="12412"/>
                    <a:pt x="21500" y="12573"/>
                  </a:cubicBezTo>
                  <a:cubicBezTo>
                    <a:pt x="21500" y="12734"/>
                    <a:pt x="21500" y="12896"/>
                    <a:pt x="21500" y="13057"/>
                  </a:cubicBezTo>
                  <a:cubicBezTo>
                    <a:pt x="21500" y="12896"/>
                    <a:pt x="21500" y="12896"/>
                    <a:pt x="21500" y="12896"/>
                  </a:cubicBezTo>
                  <a:cubicBezTo>
                    <a:pt x="21003" y="13379"/>
                    <a:pt x="21003" y="13379"/>
                    <a:pt x="21003" y="13379"/>
                  </a:cubicBezTo>
                  <a:cubicBezTo>
                    <a:pt x="20903" y="14507"/>
                    <a:pt x="20903" y="14507"/>
                    <a:pt x="20903" y="14507"/>
                  </a:cubicBezTo>
                  <a:cubicBezTo>
                    <a:pt x="20406" y="15313"/>
                    <a:pt x="20406" y="15313"/>
                    <a:pt x="20406" y="15313"/>
                  </a:cubicBezTo>
                  <a:cubicBezTo>
                    <a:pt x="20605" y="16119"/>
                    <a:pt x="20605" y="16119"/>
                    <a:pt x="20605" y="16119"/>
                  </a:cubicBezTo>
                  <a:cubicBezTo>
                    <a:pt x="20406" y="16603"/>
                    <a:pt x="20406" y="16603"/>
                    <a:pt x="20406" y="16603"/>
                  </a:cubicBezTo>
                  <a:cubicBezTo>
                    <a:pt x="19609" y="16603"/>
                    <a:pt x="19609" y="16603"/>
                    <a:pt x="19609" y="16603"/>
                  </a:cubicBezTo>
                  <a:cubicBezTo>
                    <a:pt x="19609" y="16603"/>
                    <a:pt x="19510" y="16603"/>
                    <a:pt x="19112" y="16603"/>
                  </a:cubicBezTo>
                  <a:cubicBezTo>
                    <a:pt x="18713" y="16603"/>
                    <a:pt x="18813" y="16603"/>
                    <a:pt x="18813" y="16603"/>
                  </a:cubicBezTo>
                  <a:cubicBezTo>
                    <a:pt x="18514" y="17087"/>
                    <a:pt x="18514" y="17087"/>
                    <a:pt x="18514" y="17087"/>
                  </a:cubicBezTo>
                  <a:cubicBezTo>
                    <a:pt x="18415" y="18054"/>
                    <a:pt x="18415" y="18054"/>
                    <a:pt x="18415" y="18054"/>
                  </a:cubicBezTo>
                  <a:cubicBezTo>
                    <a:pt x="18415" y="18054"/>
                    <a:pt x="18216" y="18054"/>
                    <a:pt x="17818" y="18215"/>
                  </a:cubicBezTo>
                  <a:cubicBezTo>
                    <a:pt x="17618" y="18376"/>
                    <a:pt x="17618" y="18537"/>
                    <a:pt x="17618" y="18537"/>
                  </a:cubicBezTo>
                  <a:cubicBezTo>
                    <a:pt x="17618" y="18537"/>
                    <a:pt x="17618" y="18537"/>
                    <a:pt x="17618" y="18537"/>
                  </a:cubicBezTo>
                  <a:cubicBezTo>
                    <a:pt x="17320" y="18537"/>
                    <a:pt x="17320" y="18537"/>
                    <a:pt x="17320" y="18537"/>
                  </a:cubicBezTo>
                  <a:cubicBezTo>
                    <a:pt x="16822" y="18376"/>
                    <a:pt x="16822" y="18376"/>
                    <a:pt x="16822" y="18376"/>
                  </a:cubicBezTo>
                  <a:cubicBezTo>
                    <a:pt x="16424" y="18376"/>
                    <a:pt x="16424" y="18376"/>
                    <a:pt x="16424" y="18376"/>
                  </a:cubicBezTo>
                  <a:cubicBezTo>
                    <a:pt x="16225" y="17731"/>
                    <a:pt x="16225" y="17731"/>
                    <a:pt x="16225" y="17731"/>
                  </a:cubicBezTo>
                  <a:cubicBezTo>
                    <a:pt x="15926" y="17570"/>
                    <a:pt x="15926" y="17570"/>
                    <a:pt x="15926" y="17570"/>
                  </a:cubicBezTo>
                  <a:cubicBezTo>
                    <a:pt x="15628" y="16925"/>
                    <a:pt x="15628" y="16925"/>
                    <a:pt x="15628" y="16925"/>
                  </a:cubicBezTo>
                  <a:cubicBezTo>
                    <a:pt x="15229" y="16764"/>
                    <a:pt x="15229" y="16764"/>
                    <a:pt x="15229" y="16764"/>
                  </a:cubicBezTo>
                  <a:cubicBezTo>
                    <a:pt x="15030" y="16281"/>
                    <a:pt x="15030" y="16281"/>
                    <a:pt x="15030" y="16281"/>
                  </a:cubicBezTo>
                  <a:cubicBezTo>
                    <a:pt x="14533" y="16281"/>
                    <a:pt x="14533" y="16281"/>
                    <a:pt x="14533" y="16281"/>
                  </a:cubicBezTo>
                  <a:cubicBezTo>
                    <a:pt x="14234" y="15958"/>
                    <a:pt x="14234" y="15958"/>
                    <a:pt x="14234" y="15958"/>
                  </a:cubicBezTo>
                  <a:cubicBezTo>
                    <a:pt x="14135" y="15636"/>
                    <a:pt x="14135" y="15636"/>
                    <a:pt x="14135" y="15636"/>
                  </a:cubicBezTo>
                  <a:cubicBezTo>
                    <a:pt x="13836" y="15636"/>
                    <a:pt x="13836" y="15636"/>
                    <a:pt x="13836" y="15636"/>
                  </a:cubicBezTo>
                  <a:cubicBezTo>
                    <a:pt x="13438" y="15797"/>
                    <a:pt x="13438" y="15797"/>
                    <a:pt x="13438" y="15797"/>
                  </a:cubicBezTo>
                  <a:cubicBezTo>
                    <a:pt x="12741" y="16119"/>
                    <a:pt x="12741" y="16119"/>
                    <a:pt x="12741" y="16119"/>
                  </a:cubicBezTo>
                  <a:cubicBezTo>
                    <a:pt x="12343" y="15636"/>
                    <a:pt x="12343" y="15636"/>
                    <a:pt x="12343" y="15636"/>
                  </a:cubicBezTo>
                  <a:cubicBezTo>
                    <a:pt x="12243" y="15475"/>
                    <a:pt x="12243" y="15475"/>
                    <a:pt x="12243" y="15475"/>
                  </a:cubicBezTo>
                  <a:cubicBezTo>
                    <a:pt x="11845" y="14991"/>
                    <a:pt x="11845" y="14991"/>
                    <a:pt x="11845" y="14991"/>
                  </a:cubicBezTo>
                  <a:cubicBezTo>
                    <a:pt x="11646" y="14024"/>
                    <a:pt x="11646" y="14024"/>
                    <a:pt x="11646" y="14024"/>
                  </a:cubicBezTo>
                  <a:cubicBezTo>
                    <a:pt x="11646" y="14024"/>
                    <a:pt x="11248" y="14507"/>
                    <a:pt x="11148" y="14507"/>
                  </a:cubicBezTo>
                  <a:cubicBezTo>
                    <a:pt x="11148" y="14507"/>
                    <a:pt x="10850" y="15313"/>
                    <a:pt x="10850" y="15313"/>
                  </a:cubicBezTo>
                  <a:cubicBezTo>
                    <a:pt x="10750" y="15958"/>
                    <a:pt x="10750" y="15958"/>
                    <a:pt x="10750" y="15958"/>
                  </a:cubicBezTo>
                  <a:cubicBezTo>
                    <a:pt x="10153" y="15636"/>
                    <a:pt x="10153" y="15636"/>
                    <a:pt x="10153" y="15636"/>
                  </a:cubicBezTo>
                  <a:cubicBezTo>
                    <a:pt x="10153" y="15636"/>
                    <a:pt x="9854" y="16281"/>
                    <a:pt x="9854" y="16442"/>
                  </a:cubicBezTo>
                  <a:cubicBezTo>
                    <a:pt x="9755" y="16442"/>
                    <a:pt x="9357" y="16119"/>
                    <a:pt x="9357" y="16119"/>
                  </a:cubicBezTo>
                  <a:cubicBezTo>
                    <a:pt x="8759" y="16119"/>
                    <a:pt x="8759" y="16119"/>
                    <a:pt x="8759" y="16119"/>
                  </a:cubicBezTo>
                  <a:cubicBezTo>
                    <a:pt x="8759" y="16119"/>
                    <a:pt x="8162" y="16119"/>
                    <a:pt x="8063" y="15958"/>
                  </a:cubicBezTo>
                  <a:cubicBezTo>
                    <a:pt x="7963" y="15958"/>
                    <a:pt x="7963" y="16119"/>
                    <a:pt x="7963" y="16119"/>
                  </a:cubicBezTo>
                  <a:cubicBezTo>
                    <a:pt x="7465" y="16281"/>
                    <a:pt x="7465" y="16281"/>
                    <a:pt x="7465" y="16281"/>
                  </a:cubicBezTo>
                  <a:cubicBezTo>
                    <a:pt x="6868" y="16442"/>
                    <a:pt x="6868" y="16442"/>
                    <a:pt x="6868" y="16442"/>
                  </a:cubicBezTo>
                  <a:cubicBezTo>
                    <a:pt x="6868" y="16442"/>
                    <a:pt x="6769" y="17087"/>
                    <a:pt x="6669" y="17248"/>
                  </a:cubicBezTo>
                  <a:cubicBezTo>
                    <a:pt x="6570" y="17248"/>
                    <a:pt x="6271" y="16764"/>
                    <a:pt x="6171" y="16603"/>
                  </a:cubicBezTo>
                  <a:cubicBezTo>
                    <a:pt x="6171" y="16442"/>
                    <a:pt x="5873" y="16281"/>
                    <a:pt x="5873" y="16281"/>
                  </a:cubicBezTo>
                  <a:cubicBezTo>
                    <a:pt x="5475" y="16764"/>
                    <a:pt x="5475" y="16764"/>
                    <a:pt x="5475" y="16764"/>
                  </a:cubicBezTo>
                  <a:cubicBezTo>
                    <a:pt x="5475" y="16764"/>
                    <a:pt x="4778" y="16925"/>
                    <a:pt x="4678" y="16925"/>
                  </a:cubicBezTo>
                  <a:cubicBezTo>
                    <a:pt x="4579" y="16925"/>
                    <a:pt x="4081" y="17248"/>
                    <a:pt x="4081" y="17248"/>
                  </a:cubicBezTo>
                  <a:cubicBezTo>
                    <a:pt x="3384" y="17087"/>
                    <a:pt x="3384" y="17087"/>
                    <a:pt x="3384" y="17087"/>
                  </a:cubicBezTo>
                  <a:cubicBezTo>
                    <a:pt x="3086" y="17570"/>
                    <a:pt x="3086" y="17570"/>
                    <a:pt x="3086" y="17570"/>
                  </a:cubicBezTo>
                  <a:cubicBezTo>
                    <a:pt x="2488" y="18215"/>
                    <a:pt x="2488" y="18215"/>
                    <a:pt x="2488" y="18215"/>
                  </a:cubicBezTo>
                  <a:cubicBezTo>
                    <a:pt x="2090" y="18215"/>
                    <a:pt x="2090" y="18215"/>
                    <a:pt x="2090" y="18215"/>
                  </a:cubicBezTo>
                  <a:cubicBezTo>
                    <a:pt x="1891" y="19021"/>
                    <a:pt x="1891" y="19021"/>
                    <a:pt x="1891" y="19021"/>
                  </a:cubicBezTo>
                  <a:cubicBezTo>
                    <a:pt x="1493" y="19343"/>
                    <a:pt x="1493" y="19343"/>
                    <a:pt x="1493" y="19343"/>
                  </a:cubicBezTo>
                  <a:cubicBezTo>
                    <a:pt x="1394" y="19666"/>
                    <a:pt x="1394" y="19666"/>
                    <a:pt x="1394" y="19666"/>
                  </a:cubicBezTo>
                  <a:cubicBezTo>
                    <a:pt x="1294" y="20633"/>
                    <a:pt x="1294" y="20633"/>
                    <a:pt x="1294" y="20633"/>
                  </a:cubicBezTo>
                  <a:cubicBezTo>
                    <a:pt x="1294" y="20633"/>
                    <a:pt x="995" y="20794"/>
                    <a:pt x="796" y="20794"/>
                  </a:cubicBezTo>
                  <a:cubicBezTo>
                    <a:pt x="697" y="20955"/>
                    <a:pt x="896" y="21116"/>
                    <a:pt x="896" y="21116"/>
                  </a:cubicBezTo>
                  <a:cubicBezTo>
                    <a:pt x="796" y="21600"/>
                    <a:pt x="796" y="21600"/>
                    <a:pt x="796" y="21600"/>
                  </a:cubicBezTo>
                  <a:cubicBezTo>
                    <a:pt x="796" y="21600"/>
                    <a:pt x="697" y="21439"/>
                    <a:pt x="697" y="21439"/>
                  </a:cubicBezTo>
                  <a:cubicBezTo>
                    <a:pt x="697" y="21439"/>
                    <a:pt x="597" y="20955"/>
                    <a:pt x="498" y="20633"/>
                  </a:cubicBezTo>
                  <a:cubicBezTo>
                    <a:pt x="299" y="20310"/>
                    <a:pt x="100" y="18860"/>
                    <a:pt x="100" y="18860"/>
                  </a:cubicBezTo>
                  <a:cubicBezTo>
                    <a:pt x="299" y="18215"/>
                    <a:pt x="299" y="18215"/>
                    <a:pt x="299" y="18215"/>
                  </a:cubicBezTo>
                  <a:cubicBezTo>
                    <a:pt x="299" y="18215"/>
                    <a:pt x="299" y="17570"/>
                    <a:pt x="299" y="17409"/>
                  </a:cubicBezTo>
                  <a:cubicBezTo>
                    <a:pt x="199" y="17087"/>
                    <a:pt x="100" y="15636"/>
                    <a:pt x="100" y="15636"/>
                  </a:cubicBezTo>
                  <a:cubicBezTo>
                    <a:pt x="100" y="15636"/>
                    <a:pt x="0" y="14991"/>
                    <a:pt x="0" y="14830"/>
                  </a:cubicBezTo>
                  <a:cubicBezTo>
                    <a:pt x="0" y="14669"/>
                    <a:pt x="697" y="13379"/>
                    <a:pt x="697" y="13379"/>
                  </a:cubicBezTo>
                  <a:cubicBezTo>
                    <a:pt x="697" y="13218"/>
                    <a:pt x="796" y="11928"/>
                    <a:pt x="796" y="11928"/>
                  </a:cubicBezTo>
                  <a:cubicBezTo>
                    <a:pt x="597" y="10961"/>
                    <a:pt x="597" y="10961"/>
                    <a:pt x="597" y="10961"/>
                  </a:cubicBezTo>
                  <a:cubicBezTo>
                    <a:pt x="796" y="9672"/>
                    <a:pt x="796" y="9672"/>
                    <a:pt x="796" y="9672"/>
                  </a:cubicBezTo>
                  <a:cubicBezTo>
                    <a:pt x="995" y="8221"/>
                    <a:pt x="995" y="8221"/>
                    <a:pt x="995" y="8221"/>
                  </a:cubicBezTo>
                  <a:cubicBezTo>
                    <a:pt x="995" y="8221"/>
                    <a:pt x="1095" y="7576"/>
                    <a:pt x="1194" y="7576"/>
                  </a:cubicBezTo>
                  <a:cubicBezTo>
                    <a:pt x="1294" y="7415"/>
                    <a:pt x="1891" y="7254"/>
                    <a:pt x="1891" y="7254"/>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3" name="Shape 2236">
              <a:extLst>
                <a:ext uri="{FF2B5EF4-FFF2-40B4-BE49-F238E27FC236}">
                  <a16:creationId xmlns:a16="http://schemas.microsoft.com/office/drawing/2014/main" id="{0ADFF188-ED83-A2E5-128D-B1825E53D7EB}"/>
                </a:ext>
              </a:extLst>
            </p:cNvPr>
            <p:cNvSpPr/>
            <p:nvPr/>
          </p:nvSpPr>
          <p:spPr>
            <a:xfrm>
              <a:off x="4620997" y="6209988"/>
              <a:ext cx="647916" cy="557011"/>
            </a:xfrm>
            <a:custGeom>
              <a:avLst/>
              <a:gdLst/>
              <a:ahLst/>
              <a:cxnLst>
                <a:cxn ang="0">
                  <a:pos x="wd2" y="hd2"/>
                </a:cxn>
                <a:cxn ang="5400000">
                  <a:pos x="wd2" y="hd2"/>
                </a:cxn>
                <a:cxn ang="10800000">
                  <a:pos x="wd2" y="hd2"/>
                </a:cxn>
                <a:cxn ang="16200000">
                  <a:pos x="wd2" y="hd2"/>
                </a:cxn>
              </a:cxnLst>
              <a:rect l="0" t="0" r="r" b="b"/>
              <a:pathLst>
                <a:path w="21524" h="21600" extrusionOk="0">
                  <a:moveTo>
                    <a:pt x="19823" y="12898"/>
                  </a:moveTo>
                  <a:cubicBezTo>
                    <a:pt x="19959" y="12898"/>
                    <a:pt x="19959" y="12898"/>
                    <a:pt x="19959" y="12898"/>
                  </a:cubicBezTo>
                  <a:cubicBezTo>
                    <a:pt x="19959" y="12898"/>
                    <a:pt x="19959" y="12898"/>
                    <a:pt x="19959" y="12898"/>
                  </a:cubicBezTo>
                  <a:cubicBezTo>
                    <a:pt x="19823" y="12898"/>
                    <a:pt x="19823" y="12898"/>
                    <a:pt x="19823" y="12898"/>
                  </a:cubicBezTo>
                  <a:close/>
                  <a:moveTo>
                    <a:pt x="18046" y="1399"/>
                  </a:moveTo>
                  <a:cubicBezTo>
                    <a:pt x="18046" y="1399"/>
                    <a:pt x="18046" y="1399"/>
                    <a:pt x="18046" y="1399"/>
                  </a:cubicBezTo>
                  <a:cubicBezTo>
                    <a:pt x="18866" y="1554"/>
                    <a:pt x="18866" y="1554"/>
                    <a:pt x="18866" y="1554"/>
                  </a:cubicBezTo>
                  <a:cubicBezTo>
                    <a:pt x="19276" y="1709"/>
                    <a:pt x="19276" y="1709"/>
                    <a:pt x="19276" y="1709"/>
                  </a:cubicBezTo>
                  <a:cubicBezTo>
                    <a:pt x="19276" y="2176"/>
                    <a:pt x="19276" y="2176"/>
                    <a:pt x="19276" y="2176"/>
                  </a:cubicBezTo>
                  <a:cubicBezTo>
                    <a:pt x="19276" y="2797"/>
                    <a:pt x="19276" y="2797"/>
                    <a:pt x="19276" y="2797"/>
                  </a:cubicBezTo>
                  <a:cubicBezTo>
                    <a:pt x="19276" y="3263"/>
                    <a:pt x="19276" y="3263"/>
                    <a:pt x="19276" y="3263"/>
                  </a:cubicBezTo>
                  <a:cubicBezTo>
                    <a:pt x="18866" y="3885"/>
                    <a:pt x="18866" y="3885"/>
                    <a:pt x="18866" y="3885"/>
                  </a:cubicBezTo>
                  <a:cubicBezTo>
                    <a:pt x="18866" y="3885"/>
                    <a:pt x="18729" y="4351"/>
                    <a:pt x="18729" y="4351"/>
                  </a:cubicBezTo>
                  <a:cubicBezTo>
                    <a:pt x="18729" y="4506"/>
                    <a:pt x="18592" y="4817"/>
                    <a:pt x="18592" y="4817"/>
                  </a:cubicBezTo>
                  <a:cubicBezTo>
                    <a:pt x="18592" y="4817"/>
                    <a:pt x="18319" y="4662"/>
                    <a:pt x="18456" y="5128"/>
                  </a:cubicBezTo>
                  <a:cubicBezTo>
                    <a:pt x="18456" y="5594"/>
                    <a:pt x="18592" y="5439"/>
                    <a:pt x="18592" y="5594"/>
                  </a:cubicBezTo>
                  <a:cubicBezTo>
                    <a:pt x="18592" y="5750"/>
                    <a:pt x="18592" y="6060"/>
                    <a:pt x="18592" y="6216"/>
                  </a:cubicBezTo>
                  <a:cubicBezTo>
                    <a:pt x="18456" y="6371"/>
                    <a:pt x="18592" y="6371"/>
                    <a:pt x="18456" y="6527"/>
                  </a:cubicBezTo>
                  <a:cubicBezTo>
                    <a:pt x="18456" y="6682"/>
                    <a:pt x="18729" y="6837"/>
                    <a:pt x="19003" y="6837"/>
                  </a:cubicBezTo>
                  <a:cubicBezTo>
                    <a:pt x="19276" y="6993"/>
                    <a:pt x="19276" y="6837"/>
                    <a:pt x="19413" y="6837"/>
                  </a:cubicBezTo>
                  <a:cubicBezTo>
                    <a:pt x="19549" y="6837"/>
                    <a:pt x="19686" y="6993"/>
                    <a:pt x="19823" y="6993"/>
                  </a:cubicBezTo>
                  <a:cubicBezTo>
                    <a:pt x="19959" y="7148"/>
                    <a:pt x="19959" y="7148"/>
                    <a:pt x="19959" y="7304"/>
                  </a:cubicBezTo>
                  <a:cubicBezTo>
                    <a:pt x="20096" y="7459"/>
                    <a:pt x="20233" y="7614"/>
                    <a:pt x="20370" y="7770"/>
                  </a:cubicBezTo>
                  <a:cubicBezTo>
                    <a:pt x="20506" y="7770"/>
                    <a:pt x="20506" y="7614"/>
                    <a:pt x="20643" y="7614"/>
                  </a:cubicBezTo>
                  <a:cubicBezTo>
                    <a:pt x="20643" y="7770"/>
                    <a:pt x="20780" y="7925"/>
                    <a:pt x="20916" y="7925"/>
                  </a:cubicBezTo>
                  <a:cubicBezTo>
                    <a:pt x="20916" y="8081"/>
                    <a:pt x="21053" y="8236"/>
                    <a:pt x="21190" y="8236"/>
                  </a:cubicBezTo>
                  <a:cubicBezTo>
                    <a:pt x="21190" y="8236"/>
                    <a:pt x="21463" y="8391"/>
                    <a:pt x="21463" y="8391"/>
                  </a:cubicBezTo>
                  <a:cubicBezTo>
                    <a:pt x="21600" y="8547"/>
                    <a:pt x="21463" y="8702"/>
                    <a:pt x="21463" y="8702"/>
                  </a:cubicBezTo>
                  <a:cubicBezTo>
                    <a:pt x="21327" y="8702"/>
                    <a:pt x="21327" y="9013"/>
                    <a:pt x="21190" y="9013"/>
                  </a:cubicBezTo>
                  <a:cubicBezTo>
                    <a:pt x="21190" y="9013"/>
                    <a:pt x="20780" y="9168"/>
                    <a:pt x="20780" y="9168"/>
                  </a:cubicBezTo>
                  <a:cubicBezTo>
                    <a:pt x="20643" y="9168"/>
                    <a:pt x="20506" y="9168"/>
                    <a:pt x="20370" y="9168"/>
                  </a:cubicBezTo>
                  <a:cubicBezTo>
                    <a:pt x="20233" y="9168"/>
                    <a:pt x="20096" y="9168"/>
                    <a:pt x="19959" y="9013"/>
                  </a:cubicBezTo>
                  <a:cubicBezTo>
                    <a:pt x="19823" y="9013"/>
                    <a:pt x="19823" y="9013"/>
                    <a:pt x="19686" y="9013"/>
                  </a:cubicBezTo>
                  <a:cubicBezTo>
                    <a:pt x="19686" y="9168"/>
                    <a:pt x="19686" y="9479"/>
                    <a:pt x="19686" y="9479"/>
                  </a:cubicBezTo>
                  <a:cubicBezTo>
                    <a:pt x="19686" y="9479"/>
                    <a:pt x="19823" y="9635"/>
                    <a:pt x="19959" y="9790"/>
                  </a:cubicBezTo>
                  <a:cubicBezTo>
                    <a:pt x="19959" y="9790"/>
                    <a:pt x="20233" y="10101"/>
                    <a:pt x="20370" y="10101"/>
                  </a:cubicBezTo>
                  <a:cubicBezTo>
                    <a:pt x="20370" y="10101"/>
                    <a:pt x="20506" y="10256"/>
                    <a:pt x="20643" y="10412"/>
                  </a:cubicBezTo>
                  <a:cubicBezTo>
                    <a:pt x="20780" y="10722"/>
                    <a:pt x="20780" y="10878"/>
                    <a:pt x="20780" y="10878"/>
                  </a:cubicBezTo>
                  <a:cubicBezTo>
                    <a:pt x="21463" y="11499"/>
                    <a:pt x="21463" y="11499"/>
                    <a:pt x="21463" y="11499"/>
                  </a:cubicBezTo>
                  <a:cubicBezTo>
                    <a:pt x="21463" y="11499"/>
                    <a:pt x="21463" y="11655"/>
                    <a:pt x="21463" y="12121"/>
                  </a:cubicBezTo>
                  <a:cubicBezTo>
                    <a:pt x="21463" y="12742"/>
                    <a:pt x="21327" y="12432"/>
                    <a:pt x="21190" y="12432"/>
                  </a:cubicBezTo>
                  <a:cubicBezTo>
                    <a:pt x="21053" y="12432"/>
                    <a:pt x="20916" y="12432"/>
                    <a:pt x="20643" y="12276"/>
                  </a:cubicBezTo>
                  <a:cubicBezTo>
                    <a:pt x="20506" y="12276"/>
                    <a:pt x="20506" y="12276"/>
                    <a:pt x="20506" y="12276"/>
                  </a:cubicBezTo>
                  <a:cubicBezTo>
                    <a:pt x="20233" y="12742"/>
                    <a:pt x="20233" y="12742"/>
                    <a:pt x="20233" y="12742"/>
                  </a:cubicBezTo>
                  <a:cubicBezTo>
                    <a:pt x="20233" y="12742"/>
                    <a:pt x="19959" y="12742"/>
                    <a:pt x="19823" y="12898"/>
                  </a:cubicBezTo>
                  <a:cubicBezTo>
                    <a:pt x="19686" y="12898"/>
                    <a:pt x="19686" y="12898"/>
                    <a:pt x="19686" y="12898"/>
                  </a:cubicBezTo>
                  <a:cubicBezTo>
                    <a:pt x="19686" y="12898"/>
                    <a:pt x="19413" y="13053"/>
                    <a:pt x="19413" y="13053"/>
                  </a:cubicBezTo>
                  <a:cubicBezTo>
                    <a:pt x="19413" y="13053"/>
                    <a:pt x="19276" y="13209"/>
                    <a:pt x="19276" y="13209"/>
                  </a:cubicBezTo>
                  <a:cubicBezTo>
                    <a:pt x="19139" y="13209"/>
                    <a:pt x="19139" y="13209"/>
                    <a:pt x="19139" y="13209"/>
                  </a:cubicBezTo>
                  <a:cubicBezTo>
                    <a:pt x="19003" y="13053"/>
                    <a:pt x="19003" y="13053"/>
                    <a:pt x="19003" y="13053"/>
                  </a:cubicBezTo>
                  <a:cubicBezTo>
                    <a:pt x="18866" y="12898"/>
                    <a:pt x="18866" y="12898"/>
                    <a:pt x="18866" y="12898"/>
                  </a:cubicBezTo>
                  <a:cubicBezTo>
                    <a:pt x="18592" y="13209"/>
                    <a:pt x="18592" y="13209"/>
                    <a:pt x="18592" y="13209"/>
                  </a:cubicBezTo>
                  <a:cubicBezTo>
                    <a:pt x="18456" y="13364"/>
                    <a:pt x="18456" y="13364"/>
                    <a:pt x="18456" y="13364"/>
                  </a:cubicBezTo>
                  <a:cubicBezTo>
                    <a:pt x="18456" y="13364"/>
                    <a:pt x="18456" y="13519"/>
                    <a:pt x="18456" y="13519"/>
                  </a:cubicBezTo>
                  <a:cubicBezTo>
                    <a:pt x="18456" y="13519"/>
                    <a:pt x="18729" y="13519"/>
                    <a:pt x="18729" y="13519"/>
                  </a:cubicBezTo>
                  <a:cubicBezTo>
                    <a:pt x="18729" y="13830"/>
                    <a:pt x="18729" y="13830"/>
                    <a:pt x="18729" y="13830"/>
                  </a:cubicBezTo>
                  <a:cubicBezTo>
                    <a:pt x="18729" y="13830"/>
                    <a:pt x="18729" y="13830"/>
                    <a:pt x="18866" y="13830"/>
                  </a:cubicBezTo>
                  <a:cubicBezTo>
                    <a:pt x="18866" y="13830"/>
                    <a:pt x="19003" y="13986"/>
                    <a:pt x="19003" y="13986"/>
                  </a:cubicBezTo>
                  <a:cubicBezTo>
                    <a:pt x="19139" y="14141"/>
                    <a:pt x="19139" y="14141"/>
                    <a:pt x="19139" y="14141"/>
                  </a:cubicBezTo>
                  <a:cubicBezTo>
                    <a:pt x="19139" y="14452"/>
                    <a:pt x="19139" y="14452"/>
                    <a:pt x="19139" y="14452"/>
                  </a:cubicBezTo>
                  <a:cubicBezTo>
                    <a:pt x="19413" y="14607"/>
                    <a:pt x="19413" y="14607"/>
                    <a:pt x="19413" y="14607"/>
                  </a:cubicBezTo>
                  <a:cubicBezTo>
                    <a:pt x="19413" y="14918"/>
                    <a:pt x="19413" y="14918"/>
                    <a:pt x="19413" y="14918"/>
                  </a:cubicBezTo>
                  <a:cubicBezTo>
                    <a:pt x="19276" y="15073"/>
                    <a:pt x="19276" y="15073"/>
                    <a:pt x="19276" y="15073"/>
                  </a:cubicBezTo>
                  <a:cubicBezTo>
                    <a:pt x="19139" y="15229"/>
                    <a:pt x="19139" y="15229"/>
                    <a:pt x="19139" y="15229"/>
                  </a:cubicBezTo>
                  <a:cubicBezTo>
                    <a:pt x="18866" y="15229"/>
                    <a:pt x="18866" y="15229"/>
                    <a:pt x="18866" y="15229"/>
                  </a:cubicBezTo>
                  <a:cubicBezTo>
                    <a:pt x="18866" y="15073"/>
                    <a:pt x="18866" y="15073"/>
                    <a:pt x="18866" y="15073"/>
                  </a:cubicBezTo>
                  <a:cubicBezTo>
                    <a:pt x="18729" y="14763"/>
                    <a:pt x="18729" y="14763"/>
                    <a:pt x="18729" y="14763"/>
                  </a:cubicBezTo>
                  <a:cubicBezTo>
                    <a:pt x="18592" y="14607"/>
                    <a:pt x="18592" y="14607"/>
                    <a:pt x="18592" y="14607"/>
                  </a:cubicBezTo>
                  <a:cubicBezTo>
                    <a:pt x="18182" y="14763"/>
                    <a:pt x="18182" y="14763"/>
                    <a:pt x="18182" y="14763"/>
                  </a:cubicBezTo>
                  <a:cubicBezTo>
                    <a:pt x="18182" y="15073"/>
                    <a:pt x="18182" y="15073"/>
                    <a:pt x="18182" y="15073"/>
                  </a:cubicBezTo>
                  <a:cubicBezTo>
                    <a:pt x="17499" y="15695"/>
                    <a:pt x="17499" y="15695"/>
                    <a:pt x="17499" y="15695"/>
                  </a:cubicBezTo>
                  <a:cubicBezTo>
                    <a:pt x="17635" y="16006"/>
                    <a:pt x="17635" y="16006"/>
                    <a:pt x="17635" y="16006"/>
                  </a:cubicBezTo>
                  <a:cubicBezTo>
                    <a:pt x="17362" y="16317"/>
                    <a:pt x="17362" y="16317"/>
                    <a:pt x="17362" y="16317"/>
                  </a:cubicBezTo>
                  <a:cubicBezTo>
                    <a:pt x="17362" y="16783"/>
                    <a:pt x="17362" y="16783"/>
                    <a:pt x="17362" y="16783"/>
                  </a:cubicBezTo>
                  <a:cubicBezTo>
                    <a:pt x="17499" y="17249"/>
                    <a:pt x="17499" y="17249"/>
                    <a:pt x="17499" y="17249"/>
                  </a:cubicBezTo>
                  <a:cubicBezTo>
                    <a:pt x="17499" y="17560"/>
                    <a:pt x="17499" y="17560"/>
                    <a:pt x="17499" y="17560"/>
                  </a:cubicBezTo>
                  <a:cubicBezTo>
                    <a:pt x="16952" y="17715"/>
                    <a:pt x="16952" y="17715"/>
                    <a:pt x="16952" y="17715"/>
                  </a:cubicBezTo>
                  <a:cubicBezTo>
                    <a:pt x="16542" y="17871"/>
                    <a:pt x="16542" y="17871"/>
                    <a:pt x="16542" y="17871"/>
                  </a:cubicBezTo>
                  <a:cubicBezTo>
                    <a:pt x="16542" y="18337"/>
                    <a:pt x="16542" y="18337"/>
                    <a:pt x="16542" y="18337"/>
                  </a:cubicBezTo>
                  <a:cubicBezTo>
                    <a:pt x="16542" y="18492"/>
                    <a:pt x="16542" y="18492"/>
                    <a:pt x="16542" y="18492"/>
                  </a:cubicBezTo>
                  <a:cubicBezTo>
                    <a:pt x="16952" y="19114"/>
                    <a:pt x="16952" y="19114"/>
                    <a:pt x="16952" y="19114"/>
                  </a:cubicBezTo>
                  <a:cubicBezTo>
                    <a:pt x="16815" y="19269"/>
                    <a:pt x="16815" y="19269"/>
                    <a:pt x="16815" y="19269"/>
                  </a:cubicBezTo>
                  <a:cubicBezTo>
                    <a:pt x="16678" y="19424"/>
                    <a:pt x="16678" y="19424"/>
                    <a:pt x="16678" y="19424"/>
                  </a:cubicBezTo>
                  <a:cubicBezTo>
                    <a:pt x="17089" y="20046"/>
                    <a:pt x="17089" y="20046"/>
                    <a:pt x="17089" y="20046"/>
                  </a:cubicBezTo>
                  <a:cubicBezTo>
                    <a:pt x="17225" y="20201"/>
                    <a:pt x="17225" y="20201"/>
                    <a:pt x="17225" y="20201"/>
                  </a:cubicBezTo>
                  <a:cubicBezTo>
                    <a:pt x="17499" y="20201"/>
                    <a:pt x="17499" y="20201"/>
                    <a:pt x="17499" y="20201"/>
                  </a:cubicBezTo>
                  <a:cubicBezTo>
                    <a:pt x="17499" y="20512"/>
                    <a:pt x="17499" y="20512"/>
                    <a:pt x="17499" y="20512"/>
                  </a:cubicBezTo>
                  <a:cubicBezTo>
                    <a:pt x="17499" y="20668"/>
                    <a:pt x="17499" y="20668"/>
                    <a:pt x="17499" y="20668"/>
                  </a:cubicBezTo>
                  <a:cubicBezTo>
                    <a:pt x="17499" y="20978"/>
                    <a:pt x="17499" y="20978"/>
                    <a:pt x="17499" y="20978"/>
                  </a:cubicBezTo>
                  <a:cubicBezTo>
                    <a:pt x="17225" y="21289"/>
                    <a:pt x="17225" y="21289"/>
                    <a:pt x="17225" y="21289"/>
                  </a:cubicBezTo>
                  <a:cubicBezTo>
                    <a:pt x="17362" y="21600"/>
                    <a:pt x="17362" y="21600"/>
                    <a:pt x="17362" y="21600"/>
                  </a:cubicBezTo>
                  <a:cubicBezTo>
                    <a:pt x="17089" y="21445"/>
                    <a:pt x="17089" y="21445"/>
                    <a:pt x="17089" y="21445"/>
                  </a:cubicBezTo>
                  <a:cubicBezTo>
                    <a:pt x="16952" y="21600"/>
                    <a:pt x="16952" y="21600"/>
                    <a:pt x="16952" y="21600"/>
                  </a:cubicBezTo>
                  <a:cubicBezTo>
                    <a:pt x="16952" y="21600"/>
                    <a:pt x="16952" y="21600"/>
                    <a:pt x="16952" y="21600"/>
                  </a:cubicBezTo>
                  <a:cubicBezTo>
                    <a:pt x="16542" y="21445"/>
                    <a:pt x="16542" y="21445"/>
                    <a:pt x="16542" y="21445"/>
                  </a:cubicBezTo>
                  <a:cubicBezTo>
                    <a:pt x="16542" y="21445"/>
                    <a:pt x="16268" y="21600"/>
                    <a:pt x="16132" y="21600"/>
                  </a:cubicBezTo>
                  <a:cubicBezTo>
                    <a:pt x="16132" y="21600"/>
                    <a:pt x="15995" y="21600"/>
                    <a:pt x="15995" y="21600"/>
                  </a:cubicBezTo>
                  <a:cubicBezTo>
                    <a:pt x="15995" y="21600"/>
                    <a:pt x="15722" y="21445"/>
                    <a:pt x="15585" y="21445"/>
                  </a:cubicBezTo>
                  <a:cubicBezTo>
                    <a:pt x="15585" y="21445"/>
                    <a:pt x="15585" y="21445"/>
                    <a:pt x="15585" y="21445"/>
                  </a:cubicBezTo>
                  <a:cubicBezTo>
                    <a:pt x="15585" y="21445"/>
                    <a:pt x="15585" y="21445"/>
                    <a:pt x="15585" y="21445"/>
                  </a:cubicBezTo>
                  <a:cubicBezTo>
                    <a:pt x="15585" y="21445"/>
                    <a:pt x="15585" y="21445"/>
                    <a:pt x="15585" y="21445"/>
                  </a:cubicBezTo>
                  <a:cubicBezTo>
                    <a:pt x="15585" y="21445"/>
                    <a:pt x="15585" y="21445"/>
                    <a:pt x="15585" y="21445"/>
                  </a:cubicBezTo>
                  <a:cubicBezTo>
                    <a:pt x="15585" y="21445"/>
                    <a:pt x="15585" y="21445"/>
                    <a:pt x="15585" y="21445"/>
                  </a:cubicBezTo>
                  <a:cubicBezTo>
                    <a:pt x="15585" y="21289"/>
                    <a:pt x="15585" y="21289"/>
                    <a:pt x="15585" y="21289"/>
                  </a:cubicBezTo>
                  <a:cubicBezTo>
                    <a:pt x="15585" y="21289"/>
                    <a:pt x="15585" y="21289"/>
                    <a:pt x="15585" y="21289"/>
                  </a:cubicBezTo>
                  <a:cubicBezTo>
                    <a:pt x="15585" y="21289"/>
                    <a:pt x="15585" y="21289"/>
                    <a:pt x="15585" y="21289"/>
                  </a:cubicBezTo>
                  <a:cubicBezTo>
                    <a:pt x="15585" y="21289"/>
                    <a:pt x="15585" y="21289"/>
                    <a:pt x="15585"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448" y="21289"/>
                    <a:pt x="15448" y="21289"/>
                    <a:pt x="15448"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5311" y="21289"/>
                    <a:pt x="15311" y="21289"/>
                    <a:pt x="15311" y="21289"/>
                  </a:cubicBezTo>
                  <a:cubicBezTo>
                    <a:pt x="14491" y="20823"/>
                    <a:pt x="14491" y="20823"/>
                    <a:pt x="14491" y="20823"/>
                  </a:cubicBezTo>
                  <a:cubicBezTo>
                    <a:pt x="13808" y="20357"/>
                    <a:pt x="13808" y="20357"/>
                    <a:pt x="13808" y="20357"/>
                  </a:cubicBezTo>
                  <a:cubicBezTo>
                    <a:pt x="13534" y="20046"/>
                    <a:pt x="13534" y="20046"/>
                    <a:pt x="13534" y="20046"/>
                  </a:cubicBezTo>
                  <a:cubicBezTo>
                    <a:pt x="13397" y="19424"/>
                    <a:pt x="13397" y="19424"/>
                    <a:pt x="13397" y="19424"/>
                  </a:cubicBezTo>
                  <a:cubicBezTo>
                    <a:pt x="12714" y="19269"/>
                    <a:pt x="12714" y="19269"/>
                    <a:pt x="12714" y="19269"/>
                  </a:cubicBezTo>
                  <a:cubicBezTo>
                    <a:pt x="12714" y="18803"/>
                    <a:pt x="11894" y="19580"/>
                    <a:pt x="12167" y="18647"/>
                  </a:cubicBezTo>
                  <a:cubicBezTo>
                    <a:pt x="12167" y="18647"/>
                    <a:pt x="12167" y="18492"/>
                    <a:pt x="12167" y="18492"/>
                  </a:cubicBezTo>
                  <a:cubicBezTo>
                    <a:pt x="12167" y="18492"/>
                    <a:pt x="12167" y="18492"/>
                    <a:pt x="12167" y="18492"/>
                  </a:cubicBezTo>
                  <a:cubicBezTo>
                    <a:pt x="12167" y="18337"/>
                    <a:pt x="11894" y="18026"/>
                    <a:pt x="11894" y="18026"/>
                  </a:cubicBezTo>
                  <a:cubicBezTo>
                    <a:pt x="11073" y="17560"/>
                    <a:pt x="10937" y="17094"/>
                    <a:pt x="10527" y="16938"/>
                  </a:cubicBezTo>
                  <a:cubicBezTo>
                    <a:pt x="10390" y="16938"/>
                    <a:pt x="10390" y="16938"/>
                    <a:pt x="10390" y="16938"/>
                  </a:cubicBezTo>
                  <a:cubicBezTo>
                    <a:pt x="9843" y="16317"/>
                    <a:pt x="9843" y="16317"/>
                    <a:pt x="9843" y="16317"/>
                  </a:cubicBezTo>
                  <a:cubicBezTo>
                    <a:pt x="9570" y="16161"/>
                    <a:pt x="9570" y="16161"/>
                    <a:pt x="9570" y="16161"/>
                  </a:cubicBezTo>
                  <a:cubicBezTo>
                    <a:pt x="9296" y="15850"/>
                    <a:pt x="9296" y="15850"/>
                    <a:pt x="9296" y="15850"/>
                  </a:cubicBezTo>
                  <a:cubicBezTo>
                    <a:pt x="9296" y="15540"/>
                    <a:pt x="9296" y="15540"/>
                    <a:pt x="9296" y="15540"/>
                  </a:cubicBezTo>
                  <a:cubicBezTo>
                    <a:pt x="9159" y="14918"/>
                    <a:pt x="9159" y="14918"/>
                    <a:pt x="9159" y="14918"/>
                  </a:cubicBezTo>
                  <a:cubicBezTo>
                    <a:pt x="9159" y="14918"/>
                    <a:pt x="9159" y="14918"/>
                    <a:pt x="9159" y="14918"/>
                  </a:cubicBezTo>
                  <a:cubicBezTo>
                    <a:pt x="9159" y="14918"/>
                    <a:pt x="8613" y="14763"/>
                    <a:pt x="8339" y="14607"/>
                  </a:cubicBezTo>
                  <a:cubicBezTo>
                    <a:pt x="8066" y="14452"/>
                    <a:pt x="8066" y="14452"/>
                    <a:pt x="8066" y="14452"/>
                  </a:cubicBezTo>
                  <a:cubicBezTo>
                    <a:pt x="7792" y="13986"/>
                    <a:pt x="7792" y="13986"/>
                    <a:pt x="7792" y="13986"/>
                  </a:cubicBezTo>
                  <a:cubicBezTo>
                    <a:pt x="7656" y="13830"/>
                    <a:pt x="7656" y="13830"/>
                    <a:pt x="7656" y="13830"/>
                  </a:cubicBezTo>
                  <a:cubicBezTo>
                    <a:pt x="7246" y="13364"/>
                    <a:pt x="7246" y="13364"/>
                    <a:pt x="7246" y="13364"/>
                  </a:cubicBezTo>
                  <a:cubicBezTo>
                    <a:pt x="7109" y="13364"/>
                    <a:pt x="7109" y="13364"/>
                    <a:pt x="7109" y="13364"/>
                  </a:cubicBezTo>
                  <a:cubicBezTo>
                    <a:pt x="6425" y="13053"/>
                    <a:pt x="6425" y="13053"/>
                    <a:pt x="6425" y="13053"/>
                  </a:cubicBezTo>
                  <a:cubicBezTo>
                    <a:pt x="6289" y="12742"/>
                    <a:pt x="6289" y="12742"/>
                    <a:pt x="6289" y="12742"/>
                  </a:cubicBezTo>
                  <a:cubicBezTo>
                    <a:pt x="6015" y="12587"/>
                    <a:pt x="6015" y="12587"/>
                    <a:pt x="6015" y="12587"/>
                  </a:cubicBezTo>
                  <a:cubicBezTo>
                    <a:pt x="5878" y="12276"/>
                    <a:pt x="5878" y="12276"/>
                    <a:pt x="5878" y="12276"/>
                  </a:cubicBezTo>
                  <a:cubicBezTo>
                    <a:pt x="5468" y="12121"/>
                    <a:pt x="5468" y="12121"/>
                    <a:pt x="5468" y="12121"/>
                  </a:cubicBezTo>
                  <a:cubicBezTo>
                    <a:pt x="5332" y="11810"/>
                    <a:pt x="5332" y="11810"/>
                    <a:pt x="5332" y="11810"/>
                  </a:cubicBezTo>
                  <a:cubicBezTo>
                    <a:pt x="5195" y="11655"/>
                    <a:pt x="5195" y="11655"/>
                    <a:pt x="5195" y="11655"/>
                  </a:cubicBezTo>
                  <a:cubicBezTo>
                    <a:pt x="4785" y="11033"/>
                    <a:pt x="4785" y="11033"/>
                    <a:pt x="4785" y="11033"/>
                  </a:cubicBezTo>
                  <a:cubicBezTo>
                    <a:pt x="4375" y="10722"/>
                    <a:pt x="4375" y="10722"/>
                    <a:pt x="4375" y="10722"/>
                  </a:cubicBezTo>
                  <a:cubicBezTo>
                    <a:pt x="4238" y="10567"/>
                    <a:pt x="4238" y="10567"/>
                    <a:pt x="4238" y="10567"/>
                  </a:cubicBezTo>
                  <a:cubicBezTo>
                    <a:pt x="4101" y="10412"/>
                    <a:pt x="4101" y="10412"/>
                    <a:pt x="4101" y="10412"/>
                  </a:cubicBezTo>
                  <a:cubicBezTo>
                    <a:pt x="3828" y="9945"/>
                    <a:pt x="3828" y="9945"/>
                    <a:pt x="3828" y="9945"/>
                  </a:cubicBezTo>
                  <a:cubicBezTo>
                    <a:pt x="3418" y="9479"/>
                    <a:pt x="3418" y="9479"/>
                    <a:pt x="3418" y="9479"/>
                  </a:cubicBezTo>
                  <a:cubicBezTo>
                    <a:pt x="3144" y="9168"/>
                    <a:pt x="3144" y="9168"/>
                    <a:pt x="3144" y="9168"/>
                  </a:cubicBezTo>
                  <a:cubicBezTo>
                    <a:pt x="2871" y="8702"/>
                    <a:pt x="2871" y="8702"/>
                    <a:pt x="2871" y="8702"/>
                  </a:cubicBezTo>
                  <a:cubicBezTo>
                    <a:pt x="3144" y="8391"/>
                    <a:pt x="3144" y="8391"/>
                    <a:pt x="3144" y="8391"/>
                  </a:cubicBezTo>
                  <a:cubicBezTo>
                    <a:pt x="3008" y="8236"/>
                    <a:pt x="2871" y="8236"/>
                    <a:pt x="2871" y="8081"/>
                  </a:cubicBezTo>
                  <a:cubicBezTo>
                    <a:pt x="2734" y="8081"/>
                    <a:pt x="2461" y="7925"/>
                    <a:pt x="2597" y="7770"/>
                  </a:cubicBezTo>
                  <a:cubicBezTo>
                    <a:pt x="2597" y="7614"/>
                    <a:pt x="2461" y="7459"/>
                    <a:pt x="2461" y="7148"/>
                  </a:cubicBezTo>
                  <a:cubicBezTo>
                    <a:pt x="2461" y="6993"/>
                    <a:pt x="2461" y="6837"/>
                    <a:pt x="2324" y="6837"/>
                  </a:cubicBezTo>
                  <a:cubicBezTo>
                    <a:pt x="2187" y="6682"/>
                    <a:pt x="2187" y="6682"/>
                    <a:pt x="2187" y="6682"/>
                  </a:cubicBezTo>
                  <a:cubicBezTo>
                    <a:pt x="2051" y="6682"/>
                    <a:pt x="1914" y="6682"/>
                    <a:pt x="1914" y="6682"/>
                  </a:cubicBezTo>
                  <a:cubicBezTo>
                    <a:pt x="1777" y="6682"/>
                    <a:pt x="1777" y="6682"/>
                    <a:pt x="1777" y="6682"/>
                  </a:cubicBezTo>
                  <a:cubicBezTo>
                    <a:pt x="1777" y="6682"/>
                    <a:pt x="1914" y="6371"/>
                    <a:pt x="1914" y="6060"/>
                  </a:cubicBezTo>
                  <a:cubicBezTo>
                    <a:pt x="1367" y="5905"/>
                    <a:pt x="1367" y="5905"/>
                    <a:pt x="1367" y="5905"/>
                  </a:cubicBezTo>
                  <a:cubicBezTo>
                    <a:pt x="1367" y="5905"/>
                    <a:pt x="1367" y="5439"/>
                    <a:pt x="1094" y="5283"/>
                  </a:cubicBezTo>
                  <a:cubicBezTo>
                    <a:pt x="820" y="5283"/>
                    <a:pt x="820" y="5283"/>
                    <a:pt x="820" y="5283"/>
                  </a:cubicBezTo>
                  <a:cubicBezTo>
                    <a:pt x="684" y="5439"/>
                    <a:pt x="684" y="5594"/>
                    <a:pt x="684" y="5594"/>
                  </a:cubicBezTo>
                  <a:cubicBezTo>
                    <a:pt x="137" y="4973"/>
                    <a:pt x="137" y="4973"/>
                    <a:pt x="137" y="4973"/>
                  </a:cubicBezTo>
                  <a:cubicBezTo>
                    <a:pt x="137" y="4973"/>
                    <a:pt x="137" y="4817"/>
                    <a:pt x="273" y="4506"/>
                  </a:cubicBezTo>
                  <a:cubicBezTo>
                    <a:pt x="547" y="4196"/>
                    <a:pt x="273" y="4040"/>
                    <a:pt x="273" y="4040"/>
                  </a:cubicBezTo>
                  <a:cubicBezTo>
                    <a:pt x="137" y="3574"/>
                    <a:pt x="137" y="3574"/>
                    <a:pt x="137" y="3574"/>
                  </a:cubicBezTo>
                  <a:cubicBezTo>
                    <a:pt x="273" y="3263"/>
                    <a:pt x="273" y="3263"/>
                    <a:pt x="273" y="3263"/>
                  </a:cubicBezTo>
                  <a:cubicBezTo>
                    <a:pt x="137" y="3108"/>
                    <a:pt x="137" y="3108"/>
                    <a:pt x="137" y="3108"/>
                  </a:cubicBezTo>
                  <a:cubicBezTo>
                    <a:pt x="0" y="2953"/>
                    <a:pt x="0" y="2953"/>
                    <a:pt x="0" y="2953"/>
                  </a:cubicBezTo>
                  <a:cubicBezTo>
                    <a:pt x="0" y="2953"/>
                    <a:pt x="0" y="2953"/>
                    <a:pt x="0" y="2953"/>
                  </a:cubicBezTo>
                  <a:cubicBezTo>
                    <a:pt x="0" y="2953"/>
                    <a:pt x="0" y="2953"/>
                    <a:pt x="0" y="2953"/>
                  </a:cubicBezTo>
                  <a:cubicBezTo>
                    <a:pt x="273" y="2331"/>
                    <a:pt x="273" y="2331"/>
                    <a:pt x="273" y="2331"/>
                  </a:cubicBezTo>
                  <a:cubicBezTo>
                    <a:pt x="273" y="2331"/>
                    <a:pt x="137" y="2020"/>
                    <a:pt x="137" y="1709"/>
                  </a:cubicBezTo>
                  <a:cubicBezTo>
                    <a:pt x="137" y="1709"/>
                    <a:pt x="273" y="1554"/>
                    <a:pt x="273" y="1554"/>
                  </a:cubicBezTo>
                  <a:cubicBezTo>
                    <a:pt x="273" y="1554"/>
                    <a:pt x="273" y="1554"/>
                    <a:pt x="273" y="1554"/>
                  </a:cubicBezTo>
                  <a:cubicBezTo>
                    <a:pt x="273" y="1399"/>
                    <a:pt x="273" y="1399"/>
                    <a:pt x="273" y="1399"/>
                  </a:cubicBezTo>
                  <a:cubicBezTo>
                    <a:pt x="273" y="1399"/>
                    <a:pt x="273" y="1399"/>
                    <a:pt x="273" y="1399"/>
                  </a:cubicBezTo>
                  <a:cubicBezTo>
                    <a:pt x="410" y="1399"/>
                    <a:pt x="410" y="1399"/>
                    <a:pt x="410" y="1399"/>
                  </a:cubicBezTo>
                  <a:cubicBezTo>
                    <a:pt x="410" y="1399"/>
                    <a:pt x="410" y="1399"/>
                    <a:pt x="410" y="1399"/>
                  </a:cubicBezTo>
                  <a:cubicBezTo>
                    <a:pt x="410" y="1243"/>
                    <a:pt x="1094" y="1088"/>
                    <a:pt x="1094" y="1088"/>
                  </a:cubicBezTo>
                  <a:cubicBezTo>
                    <a:pt x="1367" y="932"/>
                    <a:pt x="1367" y="932"/>
                    <a:pt x="1367" y="932"/>
                  </a:cubicBezTo>
                  <a:cubicBezTo>
                    <a:pt x="1914" y="1709"/>
                    <a:pt x="1914" y="1709"/>
                    <a:pt x="1914" y="1709"/>
                  </a:cubicBezTo>
                  <a:cubicBezTo>
                    <a:pt x="2461" y="2331"/>
                    <a:pt x="2461" y="2331"/>
                    <a:pt x="2461" y="2331"/>
                  </a:cubicBezTo>
                  <a:cubicBezTo>
                    <a:pt x="2871" y="2642"/>
                    <a:pt x="2871" y="2642"/>
                    <a:pt x="2871" y="2642"/>
                  </a:cubicBezTo>
                  <a:cubicBezTo>
                    <a:pt x="2871" y="2642"/>
                    <a:pt x="3008" y="2486"/>
                    <a:pt x="3144" y="2486"/>
                  </a:cubicBezTo>
                  <a:cubicBezTo>
                    <a:pt x="3144" y="2331"/>
                    <a:pt x="3144" y="2020"/>
                    <a:pt x="3144" y="2020"/>
                  </a:cubicBezTo>
                  <a:cubicBezTo>
                    <a:pt x="3418" y="1709"/>
                    <a:pt x="3418" y="1709"/>
                    <a:pt x="3418" y="1709"/>
                  </a:cubicBezTo>
                  <a:cubicBezTo>
                    <a:pt x="3554" y="1399"/>
                    <a:pt x="3554" y="1399"/>
                    <a:pt x="3554" y="1399"/>
                  </a:cubicBezTo>
                  <a:cubicBezTo>
                    <a:pt x="3554" y="1088"/>
                    <a:pt x="3554" y="1088"/>
                    <a:pt x="3554" y="1088"/>
                  </a:cubicBezTo>
                  <a:cubicBezTo>
                    <a:pt x="3828" y="932"/>
                    <a:pt x="3828" y="932"/>
                    <a:pt x="3828" y="932"/>
                  </a:cubicBezTo>
                  <a:cubicBezTo>
                    <a:pt x="4238" y="777"/>
                    <a:pt x="4238" y="777"/>
                    <a:pt x="4238" y="777"/>
                  </a:cubicBezTo>
                  <a:cubicBezTo>
                    <a:pt x="4785" y="622"/>
                    <a:pt x="4785" y="622"/>
                    <a:pt x="4785" y="622"/>
                  </a:cubicBezTo>
                  <a:cubicBezTo>
                    <a:pt x="4785" y="622"/>
                    <a:pt x="5195" y="777"/>
                    <a:pt x="5332" y="777"/>
                  </a:cubicBezTo>
                  <a:cubicBezTo>
                    <a:pt x="5332" y="777"/>
                    <a:pt x="5468" y="777"/>
                    <a:pt x="5468" y="777"/>
                  </a:cubicBezTo>
                  <a:cubicBezTo>
                    <a:pt x="5742" y="311"/>
                    <a:pt x="5742" y="311"/>
                    <a:pt x="5742" y="311"/>
                  </a:cubicBezTo>
                  <a:cubicBezTo>
                    <a:pt x="5742" y="311"/>
                    <a:pt x="5742" y="311"/>
                    <a:pt x="5742" y="311"/>
                  </a:cubicBezTo>
                  <a:cubicBezTo>
                    <a:pt x="5878" y="0"/>
                    <a:pt x="5878" y="0"/>
                    <a:pt x="5878" y="0"/>
                  </a:cubicBezTo>
                  <a:cubicBezTo>
                    <a:pt x="6562" y="311"/>
                    <a:pt x="6562" y="311"/>
                    <a:pt x="6562" y="311"/>
                  </a:cubicBezTo>
                  <a:cubicBezTo>
                    <a:pt x="6835" y="622"/>
                    <a:pt x="6835" y="622"/>
                    <a:pt x="6835" y="622"/>
                  </a:cubicBezTo>
                  <a:cubicBezTo>
                    <a:pt x="7519" y="777"/>
                    <a:pt x="7519" y="777"/>
                    <a:pt x="7519" y="777"/>
                  </a:cubicBezTo>
                  <a:cubicBezTo>
                    <a:pt x="7519" y="777"/>
                    <a:pt x="7519" y="777"/>
                    <a:pt x="7519" y="777"/>
                  </a:cubicBezTo>
                  <a:cubicBezTo>
                    <a:pt x="7792" y="777"/>
                    <a:pt x="7792" y="777"/>
                    <a:pt x="7792" y="777"/>
                  </a:cubicBezTo>
                  <a:cubicBezTo>
                    <a:pt x="7792" y="622"/>
                    <a:pt x="7792" y="622"/>
                    <a:pt x="7792" y="622"/>
                  </a:cubicBezTo>
                  <a:cubicBezTo>
                    <a:pt x="8339" y="622"/>
                    <a:pt x="8339" y="622"/>
                    <a:pt x="8339" y="622"/>
                  </a:cubicBezTo>
                  <a:cubicBezTo>
                    <a:pt x="9023" y="777"/>
                    <a:pt x="9023" y="777"/>
                    <a:pt x="9023" y="777"/>
                  </a:cubicBezTo>
                  <a:cubicBezTo>
                    <a:pt x="9433" y="777"/>
                    <a:pt x="9433" y="777"/>
                    <a:pt x="9433" y="777"/>
                  </a:cubicBezTo>
                  <a:cubicBezTo>
                    <a:pt x="10116" y="777"/>
                    <a:pt x="10116" y="777"/>
                    <a:pt x="10116" y="777"/>
                  </a:cubicBezTo>
                  <a:cubicBezTo>
                    <a:pt x="10527" y="932"/>
                    <a:pt x="10527" y="932"/>
                    <a:pt x="10527" y="932"/>
                  </a:cubicBezTo>
                  <a:cubicBezTo>
                    <a:pt x="10800" y="1088"/>
                    <a:pt x="10800" y="1088"/>
                    <a:pt x="10800" y="1088"/>
                  </a:cubicBezTo>
                  <a:cubicBezTo>
                    <a:pt x="10800" y="1088"/>
                    <a:pt x="10800" y="1088"/>
                    <a:pt x="10937" y="932"/>
                  </a:cubicBezTo>
                  <a:cubicBezTo>
                    <a:pt x="10937" y="932"/>
                    <a:pt x="11347" y="932"/>
                    <a:pt x="11347" y="932"/>
                  </a:cubicBezTo>
                  <a:cubicBezTo>
                    <a:pt x="11484" y="466"/>
                    <a:pt x="11484" y="466"/>
                    <a:pt x="11484" y="466"/>
                  </a:cubicBezTo>
                  <a:cubicBezTo>
                    <a:pt x="11620" y="777"/>
                    <a:pt x="11620" y="777"/>
                    <a:pt x="11620" y="777"/>
                  </a:cubicBezTo>
                  <a:cubicBezTo>
                    <a:pt x="11757" y="777"/>
                    <a:pt x="12030" y="777"/>
                    <a:pt x="12030" y="777"/>
                  </a:cubicBezTo>
                  <a:cubicBezTo>
                    <a:pt x="12167" y="311"/>
                    <a:pt x="12167" y="311"/>
                    <a:pt x="12167" y="311"/>
                  </a:cubicBezTo>
                  <a:cubicBezTo>
                    <a:pt x="12304" y="466"/>
                    <a:pt x="12304" y="466"/>
                    <a:pt x="12304" y="466"/>
                  </a:cubicBezTo>
                  <a:cubicBezTo>
                    <a:pt x="12441" y="466"/>
                    <a:pt x="12441" y="466"/>
                    <a:pt x="12577" y="466"/>
                  </a:cubicBezTo>
                  <a:cubicBezTo>
                    <a:pt x="12714" y="466"/>
                    <a:pt x="12851" y="311"/>
                    <a:pt x="12851" y="311"/>
                  </a:cubicBezTo>
                  <a:cubicBezTo>
                    <a:pt x="12851" y="311"/>
                    <a:pt x="12987" y="466"/>
                    <a:pt x="12987" y="466"/>
                  </a:cubicBezTo>
                  <a:cubicBezTo>
                    <a:pt x="12987" y="466"/>
                    <a:pt x="13124" y="311"/>
                    <a:pt x="13261" y="311"/>
                  </a:cubicBezTo>
                  <a:cubicBezTo>
                    <a:pt x="13261" y="311"/>
                    <a:pt x="13261" y="311"/>
                    <a:pt x="13261" y="311"/>
                  </a:cubicBezTo>
                  <a:cubicBezTo>
                    <a:pt x="13261" y="311"/>
                    <a:pt x="13261" y="311"/>
                    <a:pt x="13261"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397" y="311"/>
                    <a:pt x="13397" y="311"/>
                    <a:pt x="13397"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311"/>
                    <a:pt x="13534" y="311"/>
                    <a:pt x="13534" y="311"/>
                  </a:cubicBezTo>
                  <a:cubicBezTo>
                    <a:pt x="13534" y="155"/>
                    <a:pt x="13534" y="155"/>
                    <a:pt x="13534" y="155"/>
                  </a:cubicBezTo>
                  <a:cubicBezTo>
                    <a:pt x="13534" y="155"/>
                    <a:pt x="13534" y="155"/>
                    <a:pt x="13534" y="155"/>
                  </a:cubicBezTo>
                  <a:cubicBezTo>
                    <a:pt x="13534" y="155"/>
                    <a:pt x="13534" y="155"/>
                    <a:pt x="13534" y="155"/>
                  </a:cubicBezTo>
                  <a:cubicBezTo>
                    <a:pt x="13534" y="155"/>
                    <a:pt x="13534" y="155"/>
                    <a:pt x="13534" y="155"/>
                  </a:cubicBezTo>
                  <a:cubicBezTo>
                    <a:pt x="13534" y="155"/>
                    <a:pt x="13534" y="155"/>
                    <a:pt x="13534"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671" y="155"/>
                    <a:pt x="13671" y="155"/>
                  </a:cubicBezTo>
                  <a:cubicBezTo>
                    <a:pt x="13671" y="155"/>
                    <a:pt x="13808" y="466"/>
                    <a:pt x="14081" y="622"/>
                  </a:cubicBezTo>
                  <a:cubicBezTo>
                    <a:pt x="14081" y="622"/>
                    <a:pt x="14081" y="622"/>
                    <a:pt x="14081" y="622"/>
                  </a:cubicBezTo>
                  <a:cubicBezTo>
                    <a:pt x="14354" y="622"/>
                    <a:pt x="14354" y="622"/>
                    <a:pt x="14354" y="622"/>
                  </a:cubicBezTo>
                  <a:cubicBezTo>
                    <a:pt x="14354" y="622"/>
                    <a:pt x="14354" y="622"/>
                    <a:pt x="14354" y="622"/>
                  </a:cubicBezTo>
                  <a:cubicBezTo>
                    <a:pt x="14354" y="622"/>
                    <a:pt x="14491" y="466"/>
                    <a:pt x="14628" y="466"/>
                  </a:cubicBezTo>
                  <a:cubicBezTo>
                    <a:pt x="14901" y="466"/>
                    <a:pt x="15038" y="466"/>
                    <a:pt x="15175" y="466"/>
                  </a:cubicBezTo>
                  <a:cubicBezTo>
                    <a:pt x="15448" y="466"/>
                    <a:pt x="15585" y="777"/>
                    <a:pt x="15585" y="777"/>
                  </a:cubicBezTo>
                  <a:cubicBezTo>
                    <a:pt x="15995" y="1243"/>
                    <a:pt x="15995" y="1243"/>
                    <a:pt x="15995" y="1243"/>
                  </a:cubicBezTo>
                  <a:cubicBezTo>
                    <a:pt x="15995" y="1243"/>
                    <a:pt x="16132" y="1554"/>
                    <a:pt x="16132" y="1709"/>
                  </a:cubicBezTo>
                  <a:cubicBezTo>
                    <a:pt x="16268" y="1865"/>
                    <a:pt x="16268" y="2020"/>
                    <a:pt x="16268" y="2020"/>
                  </a:cubicBezTo>
                  <a:cubicBezTo>
                    <a:pt x="16268" y="2020"/>
                    <a:pt x="16268" y="2020"/>
                    <a:pt x="16268" y="2020"/>
                  </a:cubicBezTo>
                  <a:cubicBezTo>
                    <a:pt x="16405" y="2020"/>
                    <a:pt x="17362" y="2486"/>
                    <a:pt x="17499" y="2486"/>
                  </a:cubicBezTo>
                  <a:cubicBezTo>
                    <a:pt x="17499" y="2486"/>
                    <a:pt x="17635" y="2486"/>
                    <a:pt x="17635" y="2486"/>
                  </a:cubicBezTo>
                  <a:cubicBezTo>
                    <a:pt x="17635" y="2176"/>
                    <a:pt x="17499" y="2020"/>
                    <a:pt x="17772" y="1865"/>
                  </a:cubicBezTo>
                  <a:cubicBezTo>
                    <a:pt x="17909" y="1865"/>
                    <a:pt x="18046" y="2176"/>
                    <a:pt x="18046" y="1865"/>
                  </a:cubicBezTo>
                  <a:cubicBezTo>
                    <a:pt x="18046" y="1554"/>
                    <a:pt x="18182" y="1709"/>
                    <a:pt x="18046" y="1399"/>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4" name="Shape 2237">
              <a:extLst>
                <a:ext uri="{FF2B5EF4-FFF2-40B4-BE49-F238E27FC236}">
                  <a16:creationId xmlns:a16="http://schemas.microsoft.com/office/drawing/2014/main" id="{225E869B-DB4E-495A-7123-30299243A9D5}"/>
                </a:ext>
              </a:extLst>
            </p:cNvPr>
            <p:cNvSpPr/>
            <p:nvPr/>
          </p:nvSpPr>
          <p:spPr>
            <a:xfrm>
              <a:off x="3431945" y="3582982"/>
              <a:ext cx="582597" cy="668799"/>
            </a:xfrm>
            <a:custGeom>
              <a:avLst/>
              <a:gdLst/>
              <a:ahLst/>
              <a:cxnLst>
                <a:cxn ang="0">
                  <a:pos x="wd2" y="hd2"/>
                </a:cxn>
                <a:cxn ang="5400000">
                  <a:pos x="wd2" y="hd2"/>
                </a:cxn>
                <a:cxn ang="10800000">
                  <a:pos x="wd2" y="hd2"/>
                </a:cxn>
                <a:cxn ang="16200000">
                  <a:pos x="wd2" y="hd2"/>
                </a:cxn>
              </a:cxnLst>
              <a:rect l="0" t="0" r="r" b="b"/>
              <a:pathLst>
                <a:path w="21600" h="21600" extrusionOk="0">
                  <a:moveTo>
                    <a:pt x="5821" y="4268"/>
                  </a:moveTo>
                  <a:cubicBezTo>
                    <a:pt x="6740" y="3880"/>
                    <a:pt x="6740" y="3880"/>
                    <a:pt x="6740" y="3880"/>
                  </a:cubicBezTo>
                  <a:cubicBezTo>
                    <a:pt x="7200" y="3104"/>
                    <a:pt x="7200" y="3104"/>
                    <a:pt x="7200" y="3104"/>
                  </a:cubicBezTo>
                  <a:cubicBezTo>
                    <a:pt x="7813" y="2199"/>
                    <a:pt x="7813" y="2199"/>
                    <a:pt x="7813" y="2199"/>
                  </a:cubicBezTo>
                  <a:cubicBezTo>
                    <a:pt x="8119" y="1811"/>
                    <a:pt x="8119" y="1811"/>
                    <a:pt x="8119" y="1811"/>
                  </a:cubicBezTo>
                  <a:cubicBezTo>
                    <a:pt x="8426" y="1164"/>
                    <a:pt x="8426" y="1164"/>
                    <a:pt x="8426" y="1164"/>
                  </a:cubicBezTo>
                  <a:cubicBezTo>
                    <a:pt x="9345" y="905"/>
                    <a:pt x="9345" y="905"/>
                    <a:pt x="9345" y="905"/>
                  </a:cubicBezTo>
                  <a:cubicBezTo>
                    <a:pt x="9345" y="905"/>
                    <a:pt x="9957" y="776"/>
                    <a:pt x="10111" y="776"/>
                  </a:cubicBezTo>
                  <a:cubicBezTo>
                    <a:pt x="10264" y="647"/>
                    <a:pt x="11183" y="0"/>
                    <a:pt x="11183" y="0"/>
                  </a:cubicBezTo>
                  <a:cubicBezTo>
                    <a:pt x="11336" y="0"/>
                    <a:pt x="11336" y="0"/>
                    <a:pt x="11336" y="0"/>
                  </a:cubicBezTo>
                  <a:cubicBezTo>
                    <a:pt x="10877" y="647"/>
                    <a:pt x="10877" y="647"/>
                    <a:pt x="10877" y="647"/>
                  </a:cubicBezTo>
                  <a:cubicBezTo>
                    <a:pt x="10877" y="1035"/>
                    <a:pt x="10877" y="1035"/>
                    <a:pt x="10877" y="1035"/>
                  </a:cubicBezTo>
                  <a:cubicBezTo>
                    <a:pt x="10877" y="1293"/>
                    <a:pt x="10877" y="1293"/>
                    <a:pt x="10877" y="1293"/>
                  </a:cubicBezTo>
                  <a:cubicBezTo>
                    <a:pt x="11030" y="1811"/>
                    <a:pt x="11030" y="1811"/>
                    <a:pt x="11030" y="1811"/>
                  </a:cubicBezTo>
                  <a:cubicBezTo>
                    <a:pt x="11183" y="1940"/>
                    <a:pt x="11183" y="1940"/>
                    <a:pt x="11183" y="1940"/>
                  </a:cubicBezTo>
                  <a:cubicBezTo>
                    <a:pt x="11183" y="2457"/>
                    <a:pt x="11183" y="2457"/>
                    <a:pt x="11183" y="2457"/>
                  </a:cubicBezTo>
                  <a:cubicBezTo>
                    <a:pt x="11183" y="2975"/>
                    <a:pt x="11183" y="2975"/>
                    <a:pt x="11183" y="2975"/>
                  </a:cubicBezTo>
                  <a:cubicBezTo>
                    <a:pt x="11183" y="2975"/>
                    <a:pt x="11643" y="3234"/>
                    <a:pt x="11489" y="3363"/>
                  </a:cubicBezTo>
                  <a:cubicBezTo>
                    <a:pt x="11183" y="3492"/>
                    <a:pt x="10877" y="3880"/>
                    <a:pt x="10877" y="3880"/>
                  </a:cubicBezTo>
                  <a:cubicBezTo>
                    <a:pt x="10723" y="4656"/>
                    <a:pt x="10723" y="4656"/>
                    <a:pt x="10723" y="4656"/>
                  </a:cubicBezTo>
                  <a:cubicBezTo>
                    <a:pt x="10111" y="5303"/>
                    <a:pt x="10111" y="5303"/>
                    <a:pt x="10111" y="5303"/>
                  </a:cubicBezTo>
                  <a:cubicBezTo>
                    <a:pt x="10264" y="6079"/>
                    <a:pt x="10264" y="6079"/>
                    <a:pt x="10264" y="6079"/>
                  </a:cubicBezTo>
                  <a:cubicBezTo>
                    <a:pt x="10417" y="6726"/>
                    <a:pt x="10417" y="6726"/>
                    <a:pt x="10417" y="6726"/>
                  </a:cubicBezTo>
                  <a:cubicBezTo>
                    <a:pt x="10264" y="7243"/>
                    <a:pt x="10264" y="7243"/>
                    <a:pt x="10264" y="7243"/>
                  </a:cubicBezTo>
                  <a:cubicBezTo>
                    <a:pt x="10723" y="7631"/>
                    <a:pt x="10723" y="7631"/>
                    <a:pt x="10723" y="7631"/>
                  </a:cubicBezTo>
                  <a:cubicBezTo>
                    <a:pt x="10570" y="7890"/>
                    <a:pt x="10570" y="7890"/>
                    <a:pt x="10570" y="7890"/>
                  </a:cubicBezTo>
                  <a:cubicBezTo>
                    <a:pt x="10723" y="8278"/>
                    <a:pt x="10723" y="8278"/>
                    <a:pt x="10723" y="8278"/>
                  </a:cubicBezTo>
                  <a:cubicBezTo>
                    <a:pt x="11183" y="8537"/>
                    <a:pt x="11183" y="8537"/>
                    <a:pt x="11183" y="8537"/>
                  </a:cubicBezTo>
                  <a:cubicBezTo>
                    <a:pt x="11183" y="8537"/>
                    <a:pt x="11489" y="8537"/>
                    <a:pt x="11643" y="8537"/>
                  </a:cubicBezTo>
                  <a:cubicBezTo>
                    <a:pt x="11796" y="8537"/>
                    <a:pt x="12255" y="8407"/>
                    <a:pt x="12409" y="8407"/>
                  </a:cubicBezTo>
                  <a:cubicBezTo>
                    <a:pt x="12562" y="8407"/>
                    <a:pt x="12868" y="8537"/>
                    <a:pt x="12868" y="8537"/>
                  </a:cubicBezTo>
                  <a:cubicBezTo>
                    <a:pt x="13328" y="9054"/>
                    <a:pt x="13328" y="9054"/>
                    <a:pt x="13328" y="9054"/>
                  </a:cubicBezTo>
                  <a:cubicBezTo>
                    <a:pt x="13328" y="9442"/>
                    <a:pt x="13328" y="9442"/>
                    <a:pt x="13328" y="9442"/>
                  </a:cubicBezTo>
                  <a:cubicBezTo>
                    <a:pt x="13328" y="9442"/>
                    <a:pt x="13174" y="9701"/>
                    <a:pt x="13174" y="9830"/>
                  </a:cubicBezTo>
                  <a:cubicBezTo>
                    <a:pt x="13021" y="9959"/>
                    <a:pt x="12868" y="10218"/>
                    <a:pt x="12868" y="10218"/>
                  </a:cubicBezTo>
                  <a:cubicBezTo>
                    <a:pt x="12562" y="10477"/>
                    <a:pt x="12562" y="10477"/>
                    <a:pt x="12562" y="10477"/>
                  </a:cubicBezTo>
                  <a:cubicBezTo>
                    <a:pt x="12409" y="10865"/>
                    <a:pt x="12409" y="10865"/>
                    <a:pt x="12409" y="10865"/>
                  </a:cubicBezTo>
                  <a:cubicBezTo>
                    <a:pt x="12255" y="11123"/>
                    <a:pt x="12255" y="11123"/>
                    <a:pt x="12255" y="11123"/>
                  </a:cubicBezTo>
                  <a:cubicBezTo>
                    <a:pt x="12255" y="11123"/>
                    <a:pt x="12255" y="11123"/>
                    <a:pt x="12255" y="11123"/>
                  </a:cubicBezTo>
                  <a:cubicBezTo>
                    <a:pt x="11949" y="10865"/>
                    <a:pt x="11949" y="10865"/>
                    <a:pt x="11949" y="10865"/>
                  </a:cubicBezTo>
                  <a:cubicBezTo>
                    <a:pt x="11949" y="10865"/>
                    <a:pt x="11949" y="10477"/>
                    <a:pt x="11796" y="10606"/>
                  </a:cubicBezTo>
                  <a:cubicBezTo>
                    <a:pt x="11643" y="10606"/>
                    <a:pt x="11489" y="10865"/>
                    <a:pt x="11489" y="10865"/>
                  </a:cubicBezTo>
                  <a:cubicBezTo>
                    <a:pt x="11643" y="11123"/>
                    <a:pt x="11643" y="11123"/>
                    <a:pt x="11643" y="11123"/>
                  </a:cubicBezTo>
                  <a:cubicBezTo>
                    <a:pt x="11643" y="11123"/>
                    <a:pt x="11796" y="11511"/>
                    <a:pt x="11643" y="11511"/>
                  </a:cubicBezTo>
                  <a:cubicBezTo>
                    <a:pt x="11489" y="11511"/>
                    <a:pt x="11336" y="11511"/>
                    <a:pt x="11336" y="11511"/>
                  </a:cubicBezTo>
                  <a:cubicBezTo>
                    <a:pt x="11183" y="10994"/>
                    <a:pt x="11183" y="10994"/>
                    <a:pt x="11183" y="10994"/>
                  </a:cubicBezTo>
                  <a:cubicBezTo>
                    <a:pt x="10723" y="10865"/>
                    <a:pt x="10723" y="10865"/>
                    <a:pt x="10723" y="10865"/>
                  </a:cubicBezTo>
                  <a:cubicBezTo>
                    <a:pt x="11030" y="10347"/>
                    <a:pt x="11030" y="10347"/>
                    <a:pt x="11030" y="10347"/>
                  </a:cubicBezTo>
                  <a:cubicBezTo>
                    <a:pt x="10723" y="10218"/>
                    <a:pt x="10723" y="10218"/>
                    <a:pt x="10723" y="10218"/>
                  </a:cubicBezTo>
                  <a:cubicBezTo>
                    <a:pt x="10723" y="10218"/>
                    <a:pt x="10570" y="10218"/>
                    <a:pt x="10417" y="10347"/>
                  </a:cubicBezTo>
                  <a:cubicBezTo>
                    <a:pt x="10417" y="10477"/>
                    <a:pt x="10264" y="10994"/>
                    <a:pt x="10264" y="10994"/>
                  </a:cubicBezTo>
                  <a:cubicBezTo>
                    <a:pt x="10111" y="11511"/>
                    <a:pt x="10111" y="11511"/>
                    <a:pt x="10111" y="11511"/>
                  </a:cubicBezTo>
                  <a:cubicBezTo>
                    <a:pt x="10111" y="11511"/>
                    <a:pt x="10264" y="11641"/>
                    <a:pt x="10264" y="11770"/>
                  </a:cubicBezTo>
                  <a:cubicBezTo>
                    <a:pt x="10264" y="11899"/>
                    <a:pt x="10111" y="12029"/>
                    <a:pt x="10111" y="12029"/>
                  </a:cubicBezTo>
                  <a:cubicBezTo>
                    <a:pt x="10111" y="12029"/>
                    <a:pt x="10111" y="12158"/>
                    <a:pt x="10111" y="12287"/>
                  </a:cubicBezTo>
                  <a:cubicBezTo>
                    <a:pt x="10111" y="12287"/>
                    <a:pt x="10264" y="12546"/>
                    <a:pt x="10264" y="12675"/>
                  </a:cubicBezTo>
                  <a:cubicBezTo>
                    <a:pt x="10264" y="12675"/>
                    <a:pt x="10264" y="12805"/>
                    <a:pt x="10111" y="12805"/>
                  </a:cubicBezTo>
                  <a:cubicBezTo>
                    <a:pt x="10111" y="12934"/>
                    <a:pt x="10111" y="12934"/>
                    <a:pt x="10111" y="13063"/>
                  </a:cubicBezTo>
                  <a:cubicBezTo>
                    <a:pt x="9957" y="13063"/>
                    <a:pt x="9804" y="13193"/>
                    <a:pt x="9804" y="13193"/>
                  </a:cubicBezTo>
                  <a:cubicBezTo>
                    <a:pt x="9804" y="13193"/>
                    <a:pt x="9498" y="13322"/>
                    <a:pt x="9498" y="13322"/>
                  </a:cubicBezTo>
                  <a:cubicBezTo>
                    <a:pt x="9498" y="13322"/>
                    <a:pt x="9345" y="13193"/>
                    <a:pt x="9191" y="13193"/>
                  </a:cubicBezTo>
                  <a:cubicBezTo>
                    <a:pt x="9038" y="13193"/>
                    <a:pt x="9038" y="13063"/>
                    <a:pt x="8885" y="13193"/>
                  </a:cubicBezTo>
                  <a:cubicBezTo>
                    <a:pt x="8732" y="13322"/>
                    <a:pt x="8732" y="13322"/>
                    <a:pt x="8732" y="13322"/>
                  </a:cubicBezTo>
                  <a:cubicBezTo>
                    <a:pt x="8885" y="13451"/>
                    <a:pt x="8885" y="13451"/>
                    <a:pt x="8885" y="13451"/>
                  </a:cubicBezTo>
                  <a:cubicBezTo>
                    <a:pt x="9191" y="13451"/>
                    <a:pt x="9191" y="13451"/>
                    <a:pt x="9191" y="13451"/>
                  </a:cubicBezTo>
                  <a:cubicBezTo>
                    <a:pt x="9191" y="13710"/>
                    <a:pt x="9191" y="13710"/>
                    <a:pt x="9191" y="13710"/>
                  </a:cubicBezTo>
                  <a:cubicBezTo>
                    <a:pt x="9191" y="13710"/>
                    <a:pt x="9345" y="13710"/>
                    <a:pt x="9345" y="13840"/>
                  </a:cubicBezTo>
                  <a:cubicBezTo>
                    <a:pt x="9191" y="13969"/>
                    <a:pt x="9038" y="14098"/>
                    <a:pt x="9038" y="14098"/>
                  </a:cubicBezTo>
                  <a:cubicBezTo>
                    <a:pt x="8732" y="14357"/>
                    <a:pt x="8732" y="14357"/>
                    <a:pt x="8732" y="14357"/>
                  </a:cubicBezTo>
                  <a:cubicBezTo>
                    <a:pt x="8426" y="14486"/>
                    <a:pt x="8426" y="14486"/>
                    <a:pt x="8426" y="14486"/>
                  </a:cubicBezTo>
                  <a:cubicBezTo>
                    <a:pt x="8426" y="14486"/>
                    <a:pt x="8119" y="14357"/>
                    <a:pt x="8119" y="14486"/>
                  </a:cubicBezTo>
                  <a:cubicBezTo>
                    <a:pt x="7966" y="14486"/>
                    <a:pt x="7813" y="14486"/>
                    <a:pt x="7813" y="14486"/>
                  </a:cubicBezTo>
                  <a:cubicBezTo>
                    <a:pt x="7813" y="14616"/>
                    <a:pt x="8119" y="14874"/>
                    <a:pt x="8119" y="14874"/>
                  </a:cubicBezTo>
                  <a:cubicBezTo>
                    <a:pt x="7506" y="14357"/>
                    <a:pt x="7506" y="14357"/>
                    <a:pt x="7506" y="14357"/>
                  </a:cubicBezTo>
                  <a:cubicBezTo>
                    <a:pt x="7200" y="14357"/>
                    <a:pt x="7200" y="14357"/>
                    <a:pt x="7200" y="14357"/>
                  </a:cubicBezTo>
                  <a:cubicBezTo>
                    <a:pt x="7660" y="14616"/>
                    <a:pt x="7660" y="14616"/>
                    <a:pt x="7660" y="14616"/>
                  </a:cubicBezTo>
                  <a:cubicBezTo>
                    <a:pt x="7813" y="14874"/>
                    <a:pt x="7813" y="14874"/>
                    <a:pt x="7813" y="14874"/>
                  </a:cubicBezTo>
                  <a:cubicBezTo>
                    <a:pt x="8119" y="15004"/>
                    <a:pt x="8119" y="15004"/>
                    <a:pt x="8119" y="15004"/>
                  </a:cubicBezTo>
                  <a:cubicBezTo>
                    <a:pt x="7966" y="15133"/>
                    <a:pt x="7966" y="15133"/>
                    <a:pt x="7966" y="15133"/>
                  </a:cubicBezTo>
                  <a:cubicBezTo>
                    <a:pt x="7813" y="15262"/>
                    <a:pt x="7813" y="15262"/>
                    <a:pt x="7813" y="15262"/>
                  </a:cubicBezTo>
                  <a:cubicBezTo>
                    <a:pt x="7506" y="15521"/>
                    <a:pt x="7506" y="15521"/>
                    <a:pt x="7506" y="15521"/>
                  </a:cubicBezTo>
                  <a:cubicBezTo>
                    <a:pt x="7506" y="15521"/>
                    <a:pt x="7353" y="15650"/>
                    <a:pt x="7200" y="15650"/>
                  </a:cubicBezTo>
                  <a:cubicBezTo>
                    <a:pt x="7200" y="15650"/>
                    <a:pt x="6740" y="15650"/>
                    <a:pt x="6740" y="15650"/>
                  </a:cubicBezTo>
                  <a:cubicBezTo>
                    <a:pt x="6894" y="15780"/>
                    <a:pt x="6894" y="15780"/>
                    <a:pt x="6894" y="15780"/>
                  </a:cubicBezTo>
                  <a:cubicBezTo>
                    <a:pt x="7200" y="15909"/>
                    <a:pt x="7200" y="15909"/>
                    <a:pt x="7200" y="15909"/>
                  </a:cubicBezTo>
                  <a:cubicBezTo>
                    <a:pt x="7200" y="15909"/>
                    <a:pt x="7353" y="15780"/>
                    <a:pt x="7353" y="15909"/>
                  </a:cubicBezTo>
                  <a:cubicBezTo>
                    <a:pt x="7200" y="15909"/>
                    <a:pt x="7200" y="15909"/>
                    <a:pt x="7200" y="16038"/>
                  </a:cubicBezTo>
                  <a:cubicBezTo>
                    <a:pt x="7200" y="16297"/>
                    <a:pt x="7200" y="16685"/>
                    <a:pt x="7200" y="16685"/>
                  </a:cubicBezTo>
                  <a:cubicBezTo>
                    <a:pt x="7506" y="17073"/>
                    <a:pt x="7506" y="17073"/>
                    <a:pt x="7506" y="17073"/>
                  </a:cubicBezTo>
                  <a:cubicBezTo>
                    <a:pt x="7660" y="17202"/>
                    <a:pt x="7660" y="17202"/>
                    <a:pt x="7660" y="17202"/>
                  </a:cubicBezTo>
                  <a:cubicBezTo>
                    <a:pt x="7660" y="17202"/>
                    <a:pt x="7660" y="17202"/>
                    <a:pt x="7660" y="17332"/>
                  </a:cubicBezTo>
                  <a:cubicBezTo>
                    <a:pt x="7660" y="17332"/>
                    <a:pt x="7660" y="17461"/>
                    <a:pt x="7660" y="17461"/>
                  </a:cubicBezTo>
                  <a:cubicBezTo>
                    <a:pt x="7660" y="17720"/>
                    <a:pt x="7660" y="17720"/>
                    <a:pt x="7660" y="17720"/>
                  </a:cubicBezTo>
                  <a:cubicBezTo>
                    <a:pt x="7660" y="17720"/>
                    <a:pt x="7506" y="17849"/>
                    <a:pt x="7353" y="17849"/>
                  </a:cubicBezTo>
                  <a:cubicBezTo>
                    <a:pt x="7353" y="17849"/>
                    <a:pt x="6740" y="17978"/>
                    <a:pt x="6740" y="17978"/>
                  </a:cubicBezTo>
                  <a:cubicBezTo>
                    <a:pt x="6587" y="18237"/>
                    <a:pt x="6587" y="18237"/>
                    <a:pt x="6587" y="18237"/>
                  </a:cubicBezTo>
                  <a:cubicBezTo>
                    <a:pt x="6894" y="18366"/>
                    <a:pt x="6894" y="18366"/>
                    <a:pt x="6894" y="18366"/>
                  </a:cubicBezTo>
                  <a:cubicBezTo>
                    <a:pt x="6894" y="18366"/>
                    <a:pt x="6894" y="18625"/>
                    <a:pt x="6894" y="18625"/>
                  </a:cubicBezTo>
                  <a:cubicBezTo>
                    <a:pt x="6894" y="18754"/>
                    <a:pt x="6740" y="18884"/>
                    <a:pt x="6740" y="18884"/>
                  </a:cubicBezTo>
                  <a:cubicBezTo>
                    <a:pt x="7047" y="18884"/>
                    <a:pt x="7047" y="18884"/>
                    <a:pt x="7047" y="18884"/>
                  </a:cubicBezTo>
                  <a:cubicBezTo>
                    <a:pt x="7506" y="19013"/>
                    <a:pt x="7506" y="19013"/>
                    <a:pt x="7506" y="19013"/>
                  </a:cubicBezTo>
                  <a:cubicBezTo>
                    <a:pt x="8119" y="19660"/>
                    <a:pt x="8119" y="19660"/>
                    <a:pt x="8119" y="19660"/>
                  </a:cubicBezTo>
                  <a:cubicBezTo>
                    <a:pt x="7966" y="20177"/>
                    <a:pt x="7966" y="20177"/>
                    <a:pt x="7966" y="20177"/>
                  </a:cubicBezTo>
                  <a:cubicBezTo>
                    <a:pt x="7660" y="20436"/>
                    <a:pt x="7660" y="20436"/>
                    <a:pt x="7660" y="20436"/>
                  </a:cubicBezTo>
                  <a:cubicBezTo>
                    <a:pt x="7353" y="19919"/>
                    <a:pt x="7353" y="19919"/>
                    <a:pt x="7353" y="19919"/>
                  </a:cubicBezTo>
                  <a:cubicBezTo>
                    <a:pt x="7353" y="19919"/>
                    <a:pt x="7200" y="19919"/>
                    <a:pt x="7200" y="20048"/>
                  </a:cubicBezTo>
                  <a:cubicBezTo>
                    <a:pt x="7047" y="20048"/>
                    <a:pt x="6587" y="20307"/>
                    <a:pt x="6587" y="20307"/>
                  </a:cubicBezTo>
                  <a:cubicBezTo>
                    <a:pt x="6587" y="20307"/>
                    <a:pt x="6281" y="20436"/>
                    <a:pt x="6128" y="20436"/>
                  </a:cubicBezTo>
                  <a:cubicBezTo>
                    <a:pt x="6128" y="20436"/>
                    <a:pt x="5974" y="20436"/>
                    <a:pt x="5974" y="20436"/>
                  </a:cubicBezTo>
                  <a:cubicBezTo>
                    <a:pt x="5515" y="20307"/>
                    <a:pt x="5515" y="20307"/>
                    <a:pt x="5515" y="20307"/>
                  </a:cubicBezTo>
                  <a:cubicBezTo>
                    <a:pt x="4902" y="20048"/>
                    <a:pt x="4902" y="20048"/>
                    <a:pt x="4902" y="20048"/>
                  </a:cubicBezTo>
                  <a:cubicBezTo>
                    <a:pt x="4902" y="20048"/>
                    <a:pt x="4596" y="19919"/>
                    <a:pt x="4443" y="19919"/>
                  </a:cubicBezTo>
                  <a:cubicBezTo>
                    <a:pt x="4289" y="19919"/>
                    <a:pt x="3523" y="19660"/>
                    <a:pt x="3523" y="19660"/>
                  </a:cubicBezTo>
                  <a:cubicBezTo>
                    <a:pt x="3217" y="19789"/>
                    <a:pt x="3217" y="19789"/>
                    <a:pt x="3217" y="19789"/>
                  </a:cubicBezTo>
                  <a:cubicBezTo>
                    <a:pt x="2757" y="19789"/>
                    <a:pt x="2757" y="19789"/>
                    <a:pt x="2757" y="19789"/>
                  </a:cubicBezTo>
                  <a:cubicBezTo>
                    <a:pt x="2451" y="19660"/>
                    <a:pt x="2451" y="19660"/>
                    <a:pt x="2451" y="19660"/>
                  </a:cubicBezTo>
                  <a:cubicBezTo>
                    <a:pt x="2145" y="19272"/>
                    <a:pt x="2145" y="19272"/>
                    <a:pt x="2145" y="19272"/>
                  </a:cubicBezTo>
                  <a:cubicBezTo>
                    <a:pt x="2145" y="19272"/>
                    <a:pt x="1991" y="19013"/>
                    <a:pt x="1991" y="19013"/>
                  </a:cubicBezTo>
                  <a:cubicBezTo>
                    <a:pt x="1991" y="19013"/>
                    <a:pt x="2451" y="18754"/>
                    <a:pt x="2451" y="18754"/>
                  </a:cubicBezTo>
                  <a:cubicBezTo>
                    <a:pt x="2604" y="18754"/>
                    <a:pt x="2604" y="18625"/>
                    <a:pt x="2604" y="18625"/>
                  </a:cubicBezTo>
                  <a:cubicBezTo>
                    <a:pt x="2604" y="18108"/>
                    <a:pt x="2604" y="18108"/>
                    <a:pt x="2604" y="18108"/>
                  </a:cubicBezTo>
                  <a:cubicBezTo>
                    <a:pt x="2604" y="18108"/>
                    <a:pt x="2604" y="17849"/>
                    <a:pt x="2604" y="17849"/>
                  </a:cubicBezTo>
                  <a:cubicBezTo>
                    <a:pt x="2604" y="17720"/>
                    <a:pt x="2757" y="17590"/>
                    <a:pt x="2757" y="17590"/>
                  </a:cubicBezTo>
                  <a:cubicBezTo>
                    <a:pt x="2757" y="17590"/>
                    <a:pt x="2757" y="17202"/>
                    <a:pt x="2604" y="17073"/>
                  </a:cubicBezTo>
                  <a:cubicBezTo>
                    <a:pt x="2604" y="16814"/>
                    <a:pt x="2604" y="16556"/>
                    <a:pt x="2604" y="16556"/>
                  </a:cubicBezTo>
                  <a:cubicBezTo>
                    <a:pt x="2298" y="16168"/>
                    <a:pt x="2298" y="16168"/>
                    <a:pt x="2298" y="16168"/>
                  </a:cubicBezTo>
                  <a:cubicBezTo>
                    <a:pt x="2298" y="16168"/>
                    <a:pt x="2145" y="16168"/>
                    <a:pt x="1838" y="16038"/>
                  </a:cubicBezTo>
                  <a:cubicBezTo>
                    <a:pt x="1532" y="15909"/>
                    <a:pt x="1072" y="15780"/>
                    <a:pt x="1072" y="15780"/>
                  </a:cubicBezTo>
                  <a:cubicBezTo>
                    <a:pt x="1072" y="15392"/>
                    <a:pt x="1072" y="15392"/>
                    <a:pt x="1072" y="15392"/>
                  </a:cubicBezTo>
                  <a:cubicBezTo>
                    <a:pt x="919" y="15262"/>
                    <a:pt x="919" y="15262"/>
                    <a:pt x="919" y="15262"/>
                  </a:cubicBezTo>
                  <a:cubicBezTo>
                    <a:pt x="919" y="15262"/>
                    <a:pt x="613" y="15262"/>
                    <a:pt x="613" y="15392"/>
                  </a:cubicBezTo>
                  <a:cubicBezTo>
                    <a:pt x="613" y="15392"/>
                    <a:pt x="613" y="15521"/>
                    <a:pt x="613" y="15521"/>
                  </a:cubicBezTo>
                  <a:cubicBezTo>
                    <a:pt x="306" y="15392"/>
                    <a:pt x="306" y="15392"/>
                    <a:pt x="306" y="15392"/>
                  </a:cubicBezTo>
                  <a:cubicBezTo>
                    <a:pt x="306" y="15392"/>
                    <a:pt x="0" y="15004"/>
                    <a:pt x="0" y="14874"/>
                  </a:cubicBezTo>
                  <a:cubicBezTo>
                    <a:pt x="153" y="14874"/>
                    <a:pt x="306" y="14745"/>
                    <a:pt x="306" y="14616"/>
                  </a:cubicBezTo>
                  <a:cubicBezTo>
                    <a:pt x="460" y="14486"/>
                    <a:pt x="613" y="14228"/>
                    <a:pt x="613" y="14098"/>
                  </a:cubicBezTo>
                  <a:cubicBezTo>
                    <a:pt x="613" y="14098"/>
                    <a:pt x="613" y="13581"/>
                    <a:pt x="613" y="13581"/>
                  </a:cubicBezTo>
                  <a:cubicBezTo>
                    <a:pt x="613" y="13581"/>
                    <a:pt x="460" y="13451"/>
                    <a:pt x="613" y="13451"/>
                  </a:cubicBezTo>
                  <a:cubicBezTo>
                    <a:pt x="766" y="13451"/>
                    <a:pt x="613" y="13451"/>
                    <a:pt x="766" y="13451"/>
                  </a:cubicBezTo>
                  <a:cubicBezTo>
                    <a:pt x="919" y="13322"/>
                    <a:pt x="1379" y="13063"/>
                    <a:pt x="1379" y="13063"/>
                  </a:cubicBezTo>
                  <a:cubicBezTo>
                    <a:pt x="1379" y="12805"/>
                    <a:pt x="1379" y="12805"/>
                    <a:pt x="1379" y="12805"/>
                  </a:cubicBezTo>
                  <a:cubicBezTo>
                    <a:pt x="1379" y="12805"/>
                    <a:pt x="1226" y="12546"/>
                    <a:pt x="1226" y="12417"/>
                  </a:cubicBezTo>
                  <a:cubicBezTo>
                    <a:pt x="1226" y="12417"/>
                    <a:pt x="1226" y="12417"/>
                    <a:pt x="1226" y="12287"/>
                  </a:cubicBezTo>
                  <a:cubicBezTo>
                    <a:pt x="1226" y="12029"/>
                    <a:pt x="613" y="11511"/>
                    <a:pt x="613" y="11511"/>
                  </a:cubicBezTo>
                  <a:cubicBezTo>
                    <a:pt x="306" y="11511"/>
                    <a:pt x="306" y="11511"/>
                    <a:pt x="306" y="11511"/>
                  </a:cubicBezTo>
                  <a:cubicBezTo>
                    <a:pt x="306" y="11511"/>
                    <a:pt x="306" y="11382"/>
                    <a:pt x="306" y="11253"/>
                  </a:cubicBezTo>
                  <a:cubicBezTo>
                    <a:pt x="306" y="11253"/>
                    <a:pt x="306" y="10865"/>
                    <a:pt x="306" y="10865"/>
                  </a:cubicBezTo>
                  <a:cubicBezTo>
                    <a:pt x="460" y="10347"/>
                    <a:pt x="460" y="10347"/>
                    <a:pt x="460" y="10347"/>
                  </a:cubicBezTo>
                  <a:cubicBezTo>
                    <a:pt x="306" y="9442"/>
                    <a:pt x="306" y="9442"/>
                    <a:pt x="306" y="9442"/>
                  </a:cubicBezTo>
                  <a:cubicBezTo>
                    <a:pt x="306" y="8795"/>
                    <a:pt x="306" y="8795"/>
                    <a:pt x="306" y="8795"/>
                  </a:cubicBezTo>
                  <a:cubicBezTo>
                    <a:pt x="306" y="8795"/>
                    <a:pt x="306" y="8278"/>
                    <a:pt x="306" y="8149"/>
                  </a:cubicBezTo>
                  <a:cubicBezTo>
                    <a:pt x="306" y="8149"/>
                    <a:pt x="613" y="7631"/>
                    <a:pt x="613" y="7631"/>
                  </a:cubicBezTo>
                  <a:cubicBezTo>
                    <a:pt x="766" y="7372"/>
                    <a:pt x="766" y="7372"/>
                    <a:pt x="766" y="7372"/>
                  </a:cubicBezTo>
                  <a:cubicBezTo>
                    <a:pt x="919" y="7760"/>
                    <a:pt x="919" y="7760"/>
                    <a:pt x="919" y="7760"/>
                  </a:cubicBezTo>
                  <a:cubicBezTo>
                    <a:pt x="919" y="7760"/>
                    <a:pt x="766" y="7890"/>
                    <a:pt x="919" y="8019"/>
                  </a:cubicBezTo>
                  <a:cubicBezTo>
                    <a:pt x="1072" y="8019"/>
                    <a:pt x="1226" y="8019"/>
                    <a:pt x="1379" y="8019"/>
                  </a:cubicBezTo>
                  <a:cubicBezTo>
                    <a:pt x="1379" y="8019"/>
                    <a:pt x="1532" y="8149"/>
                    <a:pt x="1532" y="8149"/>
                  </a:cubicBezTo>
                  <a:cubicBezTo>
                    <a:pt x="1991" y="8407"/>
                    <a:pt x="1991" y="8407"/>
                    <a:pt x="1991" y="8407"/>
                  </a:cubicBezTo>
                  <a:cubicBezTo>
                    <a:pt x="2298" y="8666"/>
                    <a:pt x="2298" y="8666"/>
                    <a:pt x="2298" y="8666"/>
                  </a:cubicBezTo>
                  <a:cubicBezTo>
                    <a:pt x="2604" y="8795"/>
                    <a:pt x="2604" y="8795"/>
                    <a:pt x="2604" y="8795"/>
                  </a:cubicBezTo>
                  <a:cubicBezTo>
                    <a:pt x="2911" y="8795"/>
                    <a:pt x="2911" y="8795"/>
                    <a:pt x="2911" y="8795"/>
                  </a:cubicBezTo>
                  <a:cubicBezTo>
                    <a:pt x="3064" y="8666"/>
                    <a:pt x="3064" y="8666"/>
                    <a:pt x="3064" y="8666"/>
                  </a:cubicBezTo>
                  <a:cubicBezTo>
                    <a:pt x="3064" y="8666"/>
                    <a:pt x="3064" y="8537"/>
                    <a:pt x="3064" y="8537"/>
                  </a:cubicBezTo>
                  <a:cubicBezTo>
                    <a:pt x="3064" y="8537"/>
                    <a:pt x="2911" y="8278"/>
                    <a:pt x="2911" y="8278"/>
                  </a:cubicBezTo>
                  <a:cubicBezTo>
                    <a:pt x="2911" y="8149"/>
                    <a:pt x="2757" y="8019"/>
                    <a:pt x="2757" y="8019"/>
                  </a:cubicBezTo>
                  <a:cubicBezTo>
                    <a:pt x="3217" y="7760"/>
                    <a:pt x="3217" y="7760"/>
                    <a:pt x="3217" y="7760"/>
                  </a:cubicBezTo>
                  <a:cubicBezTo>
                    <a:pt x="3370" y="7502"/>
                    <a:pt x="3370" y="7502"/>
                    <a:pt x="3370" y="7502"/>
                  </a:cubicBezTo>
                  <a:cubicBezTo>
                    <a:pt x="3370" y="7502"/>
                    <a:pt x="3370" y="7372"/>
                    <a:pt x="3217" y="7372"/>
                  </a:cubicBezTo>
                  <a:cubicBezTo>
                    <a:pt x="3064" y="7372"/>
                    <a:pt x="2757" y="7372"/>
                    <a:pt x="2757" y="7372"/>
                  </a:cubicBezTo>
                  <a:cubicBezTo>
                    <a:pt x="2757" y="7372"/>
                    <a:pt x="2604" y="7243"/>
                    <a:pt x="2604" y="7243"/>
                  </a:cubicBezTo>
                  <a:cubicBezTo>
                    <a:pt x="2604" y="7243"/>
                    <a:pt x="2451" y="6984"/>
                    <a:pt x="2451" y="6984"/>
                  </a:cubicBezTo>
                  <a:cubicBezTo>
                    <a:pt x="2451" y="6984"/>
                    <a:pt x="2451" y="6726"/>
                    <a:pt x="2604" y="6726"/>
                  </a:cubicBezTo>
                  <a:cubicBezTo>
                    <a:pt x="2604" y="6596"/>
                    <a:pt x="2757" y="6208"/>
                    <a:pt x="2757" y="6208"/>
                  </a:cubicBezTo>
                  <a:cubicBezTo>
                    <a:pt x="2757" y="6208"/>
                    <a:pt x="2604" y="5950"/>
                    <a:pt x="2911" y="5950"/>
                  </a:cubicBezTo>
                  <a:cubicBezTo>
                    <a:pt x="3217" y="5950"/>
                    <a:pt x="3370" y="5950"/>
                    <a:pt x="3370" y="5950"/>
                  </a:cubicBezTo>
                  <a:cubicBezTo>
                    <a:pt x="3370" y="5950"/>
                    <a:pt x="3523" y="5691"/>
                    <a:pt x="3677" y="5691"/>
                  </a:cubicBezTo>
                  <a:cubicBezTo>
                    <a:pt x="3677" y="5691"/>
                    <a:pt x="3830" y="5562"/>
                    <a:pt x="3830" y="5691"/>
                  </a:cubicBezTo>
                  <a:cubicBezTo>
                    <a:pt x="3983" y="5691"/>
                    <a:pt x="3830" y="6079"/>
                    <a:pt x="3830" y="6079"/>
                  </a:cubicBezTo>
                  <a:cubicBezTo>
                    <a:pt x="3523" y="6338"/>
                    <a:pt x="3523" y="6338"/>
                    <a:pt x="3523" y="6338"/>
                  </a:cubicBezTo>
                  <a:cubicBezTo>
                    <a:pt x="3523" y="6338"/>
                    <a:pt x="3677" y="6467"/>
                    <a:pt x="3677" y="6596"/>
                  </a:cubicBezTo>
                  <a:cubicBezTo>
                    <a:pt x="3677" y="6726"/>
                    <a:pt x="3677" y="6855"/>
                    <a:pt x="3677" y="6855"/>
                  </a:cubicBezTo>
                  <a:cubicBezTo>
                    <a:pt x="3370" y="7243"/>
                    <a:pt x="3370" y="7243"/>
                    <a:pt x="3370" y="7243"/>
                  </a:cubicBezTo>
                  <a:cubicBezTo>
                    <a:pt x="3370" y="7243"/>
                    <a:pt x="3523" y="7243"/>
                    <a:pt x="3523" y="7243"/>
                  </a:cubicBezTo>
                  <a:cubicBezTo>
                    <a:pt x="3523" y="7372"/>
                    <a:pt x="3523" y="7502"/>
                    <a:pt x="3523" y="7502"/>
                  </a:cubicBezTo>
                  <a:cubicBezTo>
                    <a:pt x="3983" y="7372"/>
                    <a:pt x="3983" y="7372"/>
                    <a:pt x="3983" y="7372"/>
                  </a:cubicBezTo>
                  <a:cubicBezTo>
                    <a:pt x="3983" y="7372"/>
                    <a:pt x="3830" y="7243"/>
                    <a:pt x="3830" y="7243"/>
                  </a:cubicBezTo>
                  <a:cubicBezTo>
                    <a:pt x="3830" y="7243"/>
                    <a:pt x="3677" y="7114"/>
                    <a:pt x="3830" y="6984"/>
                  </a:cubicBezTo>
                  <a:cubicBezTo>
                    <a:pt x="3983" y="6855"/>
                    <a:pt x="3983" y="6726"/>
                    <a:pt x="4136" y="6726"/>
                  </a:cubicBezTo>
                  <a:cubicBezTo>
                    <a:pt x="4136" y="6596"/>
                    <a:pt x="4136" y="6596"/>
                    <a:pt x="4443" y="6596"/>
                  </a:cubicBezTo>
                  <a:cubicBezTo>
                    <a:pt x="4596" y="6596"/>
                    <a:pt x="4902" y="6855"/>
                    <a:pt x="4902" y="6855"/>
                  </a:cubicBezTo>
                  <a:cubicBezTo>
                    <a:pt x="4902" y="6855"/>
                    <a:pt x="5055" y="6984"/>
                    <a:pt x="4902" y="6984"/>
                  </a:cubicBezTo>
                  <a:cubicBezTo>
                    <a:pt x="4902" y="7114"/>
                    <a:pt x="4749" y="7243"/>
                    <a:pt x="4749" y="7243"/>
                  </a:cubicBezTo>
                  <a:cubicBezTo>
                    <a:pt x="5055" y="7631"/>
                    <a:pt x="5055" y="7631"/>
                    <a:pt x="5055" y="7631"/>
                  </a:cubicBezTo>
                  <a:cubicBezTo>
                    <a:pt x="5055" y="7631"/>
                    <a:pt x="4902" y="7631"/>
                    <a:pt x="4749" y="7760"/>
                  </a:cubicBezTo>
                  <a:cubicBezTo>
                    <a:pt x="4749" y="7760"/>
                    <a:pt x="4749" y="7890"/>
                    <a:pt x="4749" y="7890"/>
                  </a:cubicBezTo>
                  <a:cubicBezTo>
                    <a:pt x="4749" y="8019"/>
                    <a:pt x="4289" y="8149"/>
                    <a:pt x="4749" y="8149"/>
                  </a:cubicBezTo>
                  <a:cubicBezTo>
                    <a:pt x="5055" y="8149"/>
                    <a:pt x="5055" y="8149"/>
                    <a:pt x="5055" y="8019"/>
                  </a:cubicBezTo>
                  <a:cubicBezTo>
                    <a:pt x="5055" y="8019"/>
                    <a:pt x="5055" y="7760"/>
                    <a:pt x="5055" y="7760"/>
                  </a:cubicBezTo>
                  <a:cubicBezTo>
                    <a:pt x="5055" y="7760"/>
                    <a:pt x="5209" y="7760"/>
                    <a:pt x="5209" y="7760"/>
                  </a:cubicBezTo>
                  <a:cubicBezTo>
                    <a:pt x="5362" y="7760"/>
                    <a:pt x="5515" y="7760"/>
                    <a:pt x="5515" y="7760"/>
                  </a:cubicBezTo>
                  <a:cubicBezTo>
                    <a:pt x="5668" y="7890"/>
                    <a:pt x="5668" y="7890"/>
                    <a:pt x="5668" y="7890"/>
                  </a:cubicBezTo>
                  <a:cubicBezTo>
                    <a:pt x="5668" y="7890"/>
                    <a:pt x="5668" y="8019"/>
                    <a:pt x="5668" y="8149"/>
                  </a:cubicBezTo>
                  <a:cubicBezTo>
                    <a:pt x="5668" y="8149"/>
                    <a:pt x="5668" y="8278"/>
                    <a:pt x="5668" y="8278"/>
                  </a:cubicBezTo>
                  <a:cubicBezTo>
                    <a:pt x="5668" y="8278"/>
                    <a:pt x="5974" y="8537"/>
                    <a:pt x="5974" y="8407"/>
                  </a:cubicBezTo>
                  <a:cubicBezTo>
                    <a:pt x="5974" y="8278"/>
                    <a:pt x="6128" y="8407"/>
                    <a:pt x="5974" y="8149"/>
                  </a:cubicBezTo>
                  <a:cubicBezTo>
                    <a:pt x="5821" y="8019"/>
                    <a:pt x="5821" y="7760"/>
                    <a:pt x="5821" y="7760"/>
                  </a:cubicBezTo>
                  <a:cubicBezTo>
                    <a:pt x="5821" y="7760"/>
                    <a:pt x="5821" y="7760"/>
                    <a:pt x="5821" y="7631"/>
                  </a:cubicBezTo>
                  <a:cubicBezTo>
                    <a:pt x="5821" y="7631"/>
                    <a:pt x="5821" y="7502"/>
                    <a:pt x="5821" y="7502"/>
                  </a:cubicBezTo>
                  <a:cubicBezTo>
                    <a:pt x="5668" y="7372"/>
                    <a:pt x="5515" y="7372"/>
                    <a:pt x="5515" y="7243"/>
                  </a:cubicBezTo>
                  <a:cubicBezTo>
                    <a:pt x="5515" y="7243"/>
                    <a:pt x="5055" y="6855"/>
                    <a:pt x="5055" y="6855"/>
                  </a:cubicBezTo>
                  <a:cubicBezTo>
                    <a:pt x="5055" y="6855"/>
                    <a:pt x="5055" y="6726"/>
                    <a:pt x="5055" y="6596"/>
                  </a:cubicBezTo>
                  <a:cubicBezTo>
                    <a:pt x="5055" y="6338"/>
                    <a:pt x="5055" y="6208"/>
                    <a:pt x="5055" y="6079"/>
                  </a:cubicBezTo>
                  <a:cubicBezTo>
                    <a:pt x="5055" y="6079"/>
                    <a:pt x="5209" y="5820"/>
                    <a:pt x="5209" y="5820"/>
                  </a:cubicBezTo>
                  <a:cubicBezTo>
                    <a:pt x="5209" y="5820"/>
                    <a:pt x="5209" y="5562"/>
                    <a:pt x="5362" y="5432"/>
                  </a:cubicBezTo>
                  <a:cubicBezTo>
                    <a:pt x="5515" y="5432"/>
                    <a:pt x="5362" y="5303"/>
                    <a:pt x="5515" y="5303"/>
                  </a:cubicBezTo>
                  <a:cubicBezTo>
                    <a:pt x="5821" y="5174"/>
                    <a:pt x="5668" y="5174"/>
                    <a:pt x="5974" y="5174"/>
                  </a:cubicBezTo>
                  <a:cubicBezTo>
                    <a:pt x="6128" y="5174"/>
                    <a:pt x="6434" y="5303"/>
                    <a:pt x="6587" y="5303"/>
                  </a:cubicBezTo>
                  <a:cubicBezTo>
                    <a:pt x="6587" y="5303"/>
                    <a:pt x="7047" y="5432"/>
                    <a:pt x="7047" y="5432"/>
                  </a:cubicBezTo>
                  <a:cubicBezTo>
                    <a:pt x="7047" y="5432"/>
                    <a:pt x="7047" y="5303"/>
                    <a:pt x="7047" y="5303"/>
                  </a:cubicBezTo>
                  <a:cubicBezTo>
                    <a:pt x="7200" y="5303"/>
                    <a:pt x="7200" y="5044"/>
                    <a:pt x="7200" y="5174"/>
                  </a:cubicBezTo>
                  <a:cubicBezTo>
                    <a:pt x="7353" y="5174"/>
                    <a:pt x="7353" y="5303"/>
                    <a:pt x="7506" y="5174"/>
                  </a:cubicBezTo>
                  <a:cubicBezTo>
                    <a:pt x="7660" y="5044"/>
                    <a:pt x="7660" y="4915"/>
                    <a:pt x="7660" y="4915"/>
                  </a:cubicBezTo>
                  <a:cubicBezTo>
                    <a:pt x="7660" y="4915"/>
                    <a:pt x="7813" y="4915"/>
                    <a:pt x="7966" y="4786"/>
                  </a:cubicBezTo>
                  <a:cubicBezTo>
                    <a:pt x="7966" y="4786"/>
                    <a:pt x="7813" y="4656"/>
                    <a:pt x="7660" y="4656"/>
                  </a:cubicBezTo>
                  <a:cubicBezTo>
                    <a:pt x="7660" y="4656"/>
                    <a:pt x="7353" y="4656"/>
                    <a:pt x="7200" y="4786"/>
                  </a:cubicBezTo>
                  <a:cubicBezTo>
                    <a:pt x="7047" y="4786"/>
                    <a:pt x="7200" y="4786"/>
                    <a:pt x="6894" y="4786"/>
                  </a:cubicBezTo>
                  <a:cubicBezTo>
                    <a:pt x="6740" y="4915"/>
                    <a:pt x="6740" y="4915"/>
                    <a:pt x="6434" y="4915"/>
                  </a:cubicBezTo>
                  <a:cubicBezTo>
                    <a:pt x="6128" y="4915"/>
                    <a:pt x="6128" y="4915"/>
                    <a:pt x="5974" y="5044"/>
                  </a:cubicBezTo>
                  <a:cubicBezTo>
                    <a:pt x="5821" y="5174"/>
                    <a:pt x="5668" y="5174"/>
                    <a:pt x="5668" y="5174"/>
                  </a:cubicBezTo>
                  <a:cubicBezTo>
                    <a:pt x="5515" y="5174"/>
                    <a:pt x="5515" y="5174"/>
                    <a:pt x="5515" y="5174"/>
                  </a:cubicBezTo>
                  <a:cubicBezTo>
                    <a:pt x="5515" y="5174"/>
                    <a:pt x="5362" y="5174"/>
                    <a:pt x="5209" y="5174"/>
                  </a:cubicBezTo>
                  <a:cubicBezTo>
                    <a:pt x="5209" y="5174"/>
                    <a:pt x="5055" y="5044"/>
                    <a:pt x="5055" y="5044"/>
                  </a:cubicBezTo>
                  <a:cubicBezTo>
                    <a:pt x="5055" y="5044"/>
                    <a:pt x="5055" y="5044"/>
                    <a:pt x="4902" y="5044"/>
                  </a:cubicBezTo>
                  <a:cubicBezTo>
                    <a:pt x="4749" y="5044"/>
                    <a:pt x="4596" y="5174"/>
                    <a:pt x="4596" y="5174"/>
                  </a:cubicBezTo>
                  <a:cubicBezTo>
                    <a:pt x="4289" y="5174"/>
                    <a:pt x="4289" y="5174"/>
                    <a:pt x="4289" y="5174"/>
                  </a:cubicBezTo>
                  <a:cubicBezTo>
                    <a:pt x="4289" y="5174"/>
                    <a:pt x="4136" y="5174"/>
                    <a:pt x="3983" y="5174"/>
                  </a:cubicBezTo>
                  <a:cubicBezTo>
                    <a:pt x="3983" y="5303"/>
                    <a:pt x="3677" y="5303"/>
                    <a:pt x="3677" y="5303"/>
                  </a:cubicBezTo>
                  <a:cubicBezTo>
                    <a:pt x="3677" y="5303"/>
                    <a:pt x="3677" y="5303"/>
                    <a:pt x="3523" y="5303"/>
                  </a:cubicBezTo>
                  <a:cubicBezTo>
                    <a:pt x="3523" y="5432"/>
                    <a:pt x="3677" y="5432"/>
                    <a:pt x="3523" y="5562"/>
                  </a:cubicBezTo>
                  <a:cubicBezTo>
                    <a:pt x="3370" y="5562"/>
                    <a:pt x="3064" y="5562"/>
                    <a:pt x="3064" y="5562"/>
                  </a:cubicBezTo>
                  <a:cubicBezTo>
                    <a:pt x="2911" y="5691"/>
                    <a:pt x="2911" y="5691"/>
                    <a:pt x="2911" y="5691"/>
                  </a:cubicBezTo>
                  <a:cubicBezTo>
                    <a:pt x="2757" y="5950"/>
                    <a:pt x="2757" y="5950"/>
                    <a:pt x="2757" y="5950"/>
                  </a:cubicBezTo>
                  <a:cubicBezTo>
                    <a:pt x="2604" y="5950"/>
                    <a:pt x="2604" y="5950"/>
                    <a:pt x="2604" y="5950"/>
                  </a:cubicBezTo>
                  <a:cubicBezTo>
                    <a:pt x="2451" y="6338"/>
                    <a:pt x="2451" y="6338"/>
                    <a:pt x="2451" y="6338"/>
                  </a:cubicBezTo>
                  <a:cubicBezTo>
                    <a:pt x="2451" y="6467"/>
                    <a:pt x="2451" y="6467"/>
                    <a:pt x="2451" y="6467"/>
                  </a:cubicBezTo>
                  <a:cubicBezTo>
                    <a:pt x="2145" y="6726"/>
                    <a:pt x="2145" y="6726"/>
                    <a:pt x="2145" y="6726"/>
                  </a:cubicBezTo>
                  <a:cubicBezTo>
                    <a:pt x="1991" y="6855"/>
                    <a:pt x="1991" y="6855"/>
                    <a:pt x="1991" y="6855"/>
                  </a:cubicBezTo>
                  <a:cubicBezTo>
                    <a:pt x="1991" y="6855"/>
                    <a:pt x="1991" y="6855"/>
                    <a:pt x="2145" y="6984"/>
                  </a:cubicBezTo>
                  <a:cubicBezTo>
                    <a:pt x="2145" y="6984"/>
                    <a:pt x="2145" y="7114"/>
                    <a:pt x="2145" y="7114"/>
                  </a:cubicBezTo>
                  <a:cubicBezTo>
                    <a:pt x="1991" y="7243"/>
                    <a:pt x="1991" y="7243"/>
                    <a:pt x="1991" y="7243"/>
                  </a:cubicBezTo>
                  <a:cubicBezTo>
                    <a:pt x="2145" y="7502"/>
                    <a:pt x="2145" y="7502"/>
                    <a:pt x="2145" y="7502"/>
                  </a:cubicBezTo>
                  <a:cubicBezTo>
                    <a:pt x="2451" y="7372"/>
                    <a:pt x="2451" y="7372"/>
                    <a:pt x="2451" y="7372"/>
                  </a:cubicBezTo>
                  <a:cubicBezTo>
                    <a:pt x="2604" y="7631"/>
                    <a:pt x="2604" y="7631"/>
                    <a:pt x="2604" y="7631"/>
                  </a:cubicBezTo>
                  <a:cubicBezTo>
                    <a:pt x="2451" y="7890"/>
                    <a:pt x="2451" y="7890"/>
                    <a:pt x="2451" y="7890"/>
                  </a:cubicBezTo>
                  <a:cubicBezTo>
                    <a:pt x="2451" y="7890"/>
                    <a:pt x="2298" y="8019"/>
                    <a:pt x="2145" y="8019"/>
                  </a:cubicBezTo>
                  <a:cubicBezTo>
                    <a:pt x="2145" y="8019"/>
                    <a:pt x="1991" y="7890"/>
                    <a:pt x="1991" y="7890"/>
                  </a:cubicBezTo>
                  <a:cubicBezTo>
                    <a:pt x="1838" y="7631"/>
                    <a:pt x="1838" y="7631"/>
                    <a:pt x="1838" y="7631"/>
                  </a:cubicBezTo>
                  <a:cubicBezTo>
                    <a:pt x="1838" y="7502"/>
                    <a:pt x="1838" y="7502"/>
                    <a:pt x="1838" y="7502"/>
                  </a:cubicBezTo>
                  <a:cubicBezTo>
                    <a:pt x="1838" y="7372"/>
                    <a:pt x="1838" y="7372"/>
                    <a:pt x="1838" y="7372"/>
                  </a:cubicBezTo>
                  <a:cubicBezTo>
                    <a:pt x="1379" y="7502"/>
                    <a:pt x="1379" y="7502"/>
                    <a:pt x="1379" y="7502"/>
                  </a:cubicBezTo>
                  <a:cubicBezTo>
                    <a:pt x="1379" y="7372"/>
                    <a:pt x="1379" y="7372"/>
                    <a:pt x="1379" y="7372"/>
                  </a:cubicBezTo>
                  <a:cubicBezTo>
                    <a:pt x="1379" y="7372"/>
                    <a:pt x="1226" y="7243"/>
                    <a:pt x="1226" y="7243"/>
                  </a:cubicBezTo>
                  <a:cubicBezTo>
                    <a:pt x="1226" y="7114"/>
                    <a:pt x="1072" y="6984"/>
                    <a:pt x="1072" y="6984"/>
                  </a:cubicBezTo>
                  <a:cubicBezTo>
                    <a:pt x="766" y="6596"/>
                    <a:pt x="766" y="6596"/>
                    <a:pt x="766" y="6596"/>
                  </a:cubicBezTo>
                  <a:cubicBezTo>
                    <a:pt x="766" y="6596"/>
                    <a:pt x="766" y="6596"/>
                    <a:pt x="919" y="6596"/>
                  </a:cubicBezTo>
                  <a:cubicBezTo>
                    <a:pt x="919" y="6467"/>
                    <a:pt x="919" y="6467"/>
                    <a:pt x="1072" y="6338"/>
                  </a:cubicBezTo>
                  <a:cubicBezTo>
                    <a:pt x="1072" y="6208"/>
                    <a:pt x="1379" y="5950"/>
                    <a:pt x="1379" y="5950"/>
                  </a:cubicBezTo>
                  <a:cubicBezTo>
                    <a:pt x="1532" y="5562"/>
                    <a:pt x="1532" y="5562"/>
                    <a:pt x="1532" y="5562"/>
                  </a:cubicBezTo>
                  <a:cubicBezTo>
                    <a:pt x="1838" y="5303"/>
                    <a:pt x="1838" y="5303"/>
                    <a:pt x="1838" y="5303"/>
                  </a:cubicBezTo>
                  <a:cubicBezTo>
                    <a:pt x="1991" y="5044"/>
                    <a:pt x="1991" y="5044"/>
                    <a:pt x="1991" y="5044"/>
                  </a:cubicBezTo>
                  <a:cubicBezTo>
                    <a:pt x="2298" y="4656"/>
                    <a:pt x="2298" y="4656"/>
                    <a:pt x="2298" y="4656"/>
                  </a:cubicBezTo>
                  <a:cubicBezTo>
                    <a:pt x="2604" y="4398"/>
                    <a:pt x="2604" y="4398"/>
                    <a:pt x="2604" y="4398"/>
                  </a:cubicBezTo>
                  <a:cubicBezTo>
                    <a:pt x="3064" y="4398"/>
                    <a:pt x="3064" y="4398"/>
                    <a:pt x="3064" y="4398"/>
                  </a:cubicBezTo>
                  <a:cubicBezTo>
                    <a:pt x="3064" y="4398"/>
                    <a:pt x="3370" y="4527"/>
                    <a:pt x="3370" y="4527"/>
                  </a:cubicBezTo>
                  <a:cubicBezTo>
                    <a:pt x="3523" y="4398"/>
                    <a:pt x="3677" y="4268"/>
                    <a:pt x="3677" y="4268"/>
                  </a:cubicBezTo>
                  <a:cubicBezTo>
                    <a:pt x="4289" y="4139"/>
                    <a:pt x="4289" y="4139"/>
                    <a:pt x="4289" y="4139"/>
                  </a:cubicBezTo>
                  <a:cubicBezTo>
                    <a:pt x="4443" y="4139"/>
                    <a:pt x="4443" y="4139"/>
                    <a:pt x="4443" y="4139"/>
                  </a:cubicBezTo>
                  <a:cubicBezTo>
                    <a:pt x="4902" y="4268"/>
                    <a:pt x="4902" y="4268"/>
                    <a:pt x="4902" y="4268"/>
                  </a:cubicBezTo>
                  <a:cubicBezTo>
                    <a:pt x="5209" y="4268"/>
                    <a:pt x="5209" y="4268"/>
                    <a:pt x="5209" y="4268"/>
                  </a:cubicBezTo>
                  <a:cubicBezTo>
                    <a:pt x="5821" y="4268"/>
                    <a:pt x="5821" y="4268"/>
                    <a:pt x="5821" y="4268"/>
                  </a:cubicBezTo>
                  <a:close/>
                  <a:moveTo>
                    <a:pt x="2451" y="17978"/>
                  </a:moveTo>
                  <a:cubicBezTo>
                    <a:pt x="2451" y="17978"/>
                    <a:pt x="2451" y="17978"/>
                    <a:pt x="2451" y="17978"/>
                  </a:cubicBezTo>
                  <a:cubicBezTo>
                    <a:pt x="2451" y="17978"/>
                    <a:pt x="2145" y="17849"/>
                    <a:pt x="2145" y="17849"/>
                  </a:cubicBezTo>
                  <a:cubicBezTo>
                    <a:pt x="2145" y="17978"/>
                    <a:pt x="1991" y="18108"/>
                    <a:pt x="1991" y="18108"/>
                  </a:cubicBezTo>
                  <a:cubicBezTo>
                    <a:pt x="1838" y="18496"/>
                    <a:pt x="1838" y="18496"/>
                    <a:pt x="1838" y="18496"/>
                  </a:cubicBezTo>
                  <a:cubicBezTo>
                    <a:pt x="1685" y="18625"/>
                    <a:pt x="1685" y="18625"/>
                    <a:pt x="1685" y="18625"/>
                  </a:cubicBezTo>
                  <a:cubicBezTo>
                    <a:pt x="1685" y="18884"/>
                    <a:pt x="1685" y="18884"/>
                    <a:pt x="1685" y="18884"/>
                  </a:cubicBezTo>
                  <a:cubicBezTo>
                    <a:pt x="1226" y="19013"/>
                    <a:pt x="1226" y="19013"/>
                    <a:pt x="1226" y="19013"/>
                  </a:cubicBezTo>
                  <a:cubicBezTo>
                    <a:pt x="1226" y="19013"/>
                    <a:pt x="1226" y="19143"/>
                    <a:pt x="1379" y="19143"/>
                  </a:cubicBezTo>
                  <a:cubicBezTo>
                    <a:pt x="1532" y="19143"/>
                    <a:pt x="1685" y="19143"/>
                    <a:pt x="1685" y="19143"/>
                  </a:cubicBezTo>
                  <a:cubicBezTo>
                    <a:pt x="1685" y="19013"/>
                    <a:pt x="1838" y="18884"/>
                    <a:pt x="1838" y="18884"/>
                  </a:cubicBezTo>
                  <a:cubicBezTo>
                    <a:pt x="1838" y="18884"/>
                    <a:pt x="1991" y="18754"/>
                    <a:pt x="1991" y="18754"/>
                  </a:cubicBezTo>
                  <a:cubicBezTo>
                    <a:pt x="2145" y="18754"/>
                    <a:pt x="2451" y="18754"/>
                    <a:pt x="2451" y="18625"/>
                  </a:cubicBezTo>
                  <a:cubicBezTo>
                    <a:pt x="2451" y="18496"/>
                    <a:pt x="2451" y="18366"/>
                    <a:pt x="2451" y="18366"/>
                  </a:cubicBezTo>
                  <a:cubicBezTo>
                    <a:pt x="2451" y="18237"/>
                    <a:pt x="2451" y="18237"/>
                    <a:pt x="2451" y="18237"/>
                  </a:cubicBezTo>
                  <a:cubicBezTo>
                    <a:pt x="2451" y="17978"/>
                    <a:pt x="2451" y="17978"/>
                    <a:pt x="2451" y="17978"/>
                  </a:cubicBezTo>
                  <a:close/>
                  <a:moveTo>
                    <a:pt x="10417" y="14486"/>
                  </a:moveTo>
                  <a:cubicBezTo>
                    <a:pt x="10417" y="14486"/>
                    <a:pt x="10417" y="14486"/>
                    <a:pt x="10417" y="14486"/>
                  </a:cubicBezTo>
                  <a:cubicBezTo>
                    <a:pt x="10417" y="14486"/>
                    <a:pt x="10417" y="14486"/>
                    <a:pt x="10417" y="14486"/>
                  </a:cubicBezTo>
                  <a:cubicBezTo>
                    <a:pt x="10417" y="14486"/>
                    <a:pt x="10570" y="14357"/>
                    <a:pt x="10570" y="14357"/>
                  </a:cubicBezTo>
                  <a:cubicBezTo>
                    <a:pt x="10570" y="14228"/>
                    <a:pt x="10417" y="14098"/>
                    <a:pt x="10417" y="14098"/>
                  </a:cubicBezTo>
                  <a:cubicBezTo>
                    <a:pt x="10417" y="13969"/>
                    <a:pt x="10570" y="13969"/>
                    <a:pt x="10570" y="13969"/>
                  </a:cubicBezTo>
                  <a:cubicBezTo>
                    <a:pt x="10570" y="13969"/>
                    <a:pt x="10570" y="13840"/>
                    <a:pt x="10570" y="13840"/>
                  </a:cubicBezTo>
                  <a:cubicBezTo>
                    <a:pt x="10570" y="13840"/>
                    <a:pt x="10417" y="13840"/>
                    <a:pt x="10417" y="13840"/>
                  </a:cubicBezTo>
                  <a:cubicBezTo>
                    <a:pt x="10264" y="13840"/>
                    <a:pt x="10264" y="13969"/>
                    <a:pt x="10264" y="13969"/>
                  </a:cubicBezTo>
                  <a:cubicBezTo>
                    <a:pt x="10264" y="13969"/>
                    <a:pt x="10264" y="14098"/>
                    <a:pt x="10264" y="14098"/>
                  </a:cubicBezTo>
                  <a:cubicBezTo>
                    <a:pt x="10264" y="14098"/>
                    <a:pt x="10264" y="14228"/>
                    <a:pt x="10264" y="14228"/>
                  </a:cubicBezTo>
                  <a:cubicBezTo>
                    <a:pt x="10264" y="14228"/>
                    <a:pt x="10417" y="14486"/>
                    <a:pt x="10417" y="14486"/>
                  </a:cubicBezTo>
                  <a:close/>
                  <a:moveTo>
                    <a:pt x="14553" y="17978"/>
                  </a:moveTo>
                  <a:cubicBezTo>
                    <a:pt x="14553" y="17978"/>
                    <a:pt x="14553" y="17978"/>
                    <a:pt x="14553" y="17978"/>
                  </a:cubicBezTo>
                  <a:cubicBezTo>
                    <a:pt x="14706" y="17849"/>
                    <a:pt x="14706" y="17849"/>
                    <a:pt x="14706" y="17849"/>
                  </a:cubicBezTo>
                  <a:cubicBezTo>
                    <a:pt x="14860" y="17978"/>
                    <a:pt x="14860" y="17978"/>
                    <a:pt x="14860" y="17978"/>
                  </a:cubicBezTo>
                  <a:cubicBezTo>
                    <a:pt x="14860" y="17978"/>
                    <a:pt x="14706" y="18108"/>
                    <a:pt x="14706" y="18108"/>
                  </a:cubicBezTo>
                  <a:cubicBezTo>
                    <a:pt x="14706" y="18108"/>
                    <a:pt x="14553" y="17978"/>
                    <a:pt x="14553" y="17978"/>
                  </a:cubicBezTo>
                  <a:cubicBezTo>
                    <a:pt x="14553" y="17978"/>
                    <a:pt x="14553" y="17978"/>
                    <a:pt x="14553" y="17978"/>
                  </a:cubicBezTo>
                  <a:close/>
                  <a:moveTo>
                    <a:pt x="16238" y="19660"/>
                  </a:moveTo>
                  <a:cubicBezTo>
                    <a:pt x="16238" y="19660"/>
                    <a:pt x="16238" y="19660"/>
                    <a:pt x="16238" y="19660"/>
                  </a:cubicBezTo>
                  <a:cubicBezTo>
                    <a:pt x="16391" y="19660"/>
                    <a:pt x="16391" y="19660"/>
                    <a:pt x="16391" y="19660"/>
                  </a:cubicBezTo>
                  <a:cubicBezTo>
                    <a:pt x="16391" y="19789"/>
                    <a:pt x="16391" y="19789"/>
                    <a:pt x="16391" y="19789"/>
                  </a:cubicBezTo>
                  <a:cubicBezTo>
                    <a:pt x="16238" y="19919"/>
                    <a:pt x="16238" y="19919"/>
                    <a:pt x="16238" y="19919"/>
                  </a:cubicBezTo>
                  <a:cubicBezTo>
                    <a:pt x="16238" y="19789"/>
                    <a:pt x="16238" y="19789"/>
                    <a:pt x="16238" y="19789"/>
                  </a:cubicBezTo>
                  <a:cubicBezTo>
                    <a:pt x="16238" y="19660"/>
                    <a:pt x="16238" y="19660"/>
                    <a:pt x="16238" y="19660"/>
                  </a:cubicBezTo>
                  <a:close/>
                  <a:moveTo>
                    <a:pt x="15779" y="19401"/>
                  </a:moveTo>
                  <a:cubicBezTo>
                    <a:pt x="15779" y="19401"/>
                    <a:pt x="15779" y="19401"/>
                    <a:pt x="15779" y="19401"/>
                  </a:cubicBezTo>
                  <a:cubicBezTo>
                    <a:pt x="15626" y="19272"/>
                    <a:pt x="15626" y="19272"/>
                    <a:pt x="15626" y="19272"/>
                  </a:cubicBezTo>
                  <a:cubicBezTo>
                    <a:pt x="15932" y="19272"/>
                    <a:pt x="15932" y="19272"/>
                    <a:pt x="15932" y="19272"/>
                  </a:cubicBezTo>
                  <a:cubicBezTo>
                    <a:pt x="15932" y="19272"/>
                    <a:pt x="15932" y="19272"/>
                    <a:pt x="16085" y="19272"/>
                  </a:cubicBezTo>
                  <a:cubicBezTo>
                    <a:pt x="16085" y="19272"/>
                    <a:pt x="16238" y="19401"/>
                    <a:pt x="16238" y="19401"/>
                  </a:cubicBezTo>
                  <a:cubicBezTo>
                    <a:pt x="16238" y="19401"/>
                    <a:pt x="16238" y="19401"/>
                    <a:pt x="16238" y="19401"/>
                  </a:cubicBezTo>
                  <a:cubicBezTo>
                    <a:pt x="16085" y="19401"/>
                    <a:pt x="16085" y="19531"/>
                    <a:pt x="16085" y="19531"/>
                  </a:cubicBezTo>
                  <a:cubicBezTo>
                    <a:pt x="15932" y="19531"/>
                    <a:pt x="15779" y="19401"/>
                    <a:pt x="15779" y="19401"/>
                  </a:cubicBezTo>
                  <a:close/>
                  <a:moveTo>
                    <a:pt x="16545" y="19401"/>
                  </a:moveTo>
                  <a:cubicBezTo>
                    <a:pt x="16545" y="19401"/>
                    <a:pt x="16545" y="19401"/>
                    <a:pt x="16545" y="19401"/>
                  </a:cubicBezTo>
                  <a:cubicBezTo>
                    <a:pt x="16391" y="19143"/>
                    <a:pt x="16391" y="19143"/>
                    <a:pt x="16391" y="19143"/>
                  </a:cubicBezTo>
                  <a:cubicBezTo>
                    <a:pt x="16545" y="19013"/>
                    <a:pt x="16545" y="19013"/>
                    <a:pt x="16545" y="19013"/>
                  </a:cubicBezTo>
                  <a:cubicBezTo>
                    <a:pt x="16545" y="19013"/>
                    <a:pt x="16698" y="19143"/>
                    <a:pt x="16698" y="19143"/>
                  </a:cubicBezTo>
                  <a:cubicBezTo>
                    <a:pt x="16698" y="19143"/>
                    <a:pt x="16545" y="19272"/>
                    <a:pt x="16545" y="19272"/>
                  </a:cubicBezTo>
                  <a:cubicBezTo>
                    <a:pt x="16545" y="19401"/>
                    <a:pt x="16545" y="19401"/>
                    <a:pt x="16545" y="19401"/>
                  </a:cubicBezTo>
                  <a:close/>
                  <a:moveTo>
                    <a:pt x="19762" y="18625"/>
                  </a:moveTo>
                  <a:cubicBezTo>
                    <a:pt x="19762" y="18625"/>
                    <a:pt x="19762" y="18625"/>
                    <a:pt x="19762" y="18625"/>
                  </a:cubicBezTo>
                  <a:cubicBezTo>
                    <a:pt x="19609" y="18496"/>
                    <a:pt x="19609" y="18496"/>
                    <a:pt x="19609" y="18496"/>
                  </a:cubicBezTo>
                  <a:cubicBezTo>
                    <a:pt x="19609" y="18496"/>
                    <a:pt x="19762" y="18366"/>
                    <a:pt x="19762" y="18366"/>
                  </a:cubicBezTo>
                  <a:cubicBezTo>
                    <a:pt x="19915" y="18366"/>
                    <a:pt x="20068" y="18366"/>
                    <a:pt x="20068" y="18366"/>
                  </a:cubicBezTo>
                  <a:cubicBezTo>
                    <a:pt x="19762" y="18625"/>
                    <a:pt x="19762" y="18625"/>
                    <a:pt x="19762" y="18625"/>
                  </a:cubicBezTo>
                  <a:close/>
                  <a:moveTo>
                    <a:pt x="19455" y="18754"/>
                  </a:moveTo>
                  <a:cubicBezTo>
                    <a:pt x="19455" y="18754"/>
                    <a:pt x="19455" y="18754"/>
                    <a:pt x="19455" y="18754"/>
                  </a:cubicBezTo>
                  <a:cubicBezTo>
                    <a:pt x="19455" y="18366"/>
                    <a:pt x="19455" y="18366"/>
                    <a:pt x="19455" y="18366"/>
                  </a:cubicBezTo>
                  <a:cubicBezTo>
                    <a:pt x="19609" y="18237"/>
                    <a:pt x="19609" y="18237"/>
                    <a:pt x="19609" y="18237"/>
                  </a:cubicBezTo>
                  <a:cubicBezTo>
                    <a:pt x="19455" y="18108"/>
                    <a:pt x="19455" y="18108"/>
                    <a:pt x="19455" y="18108"/>
                  </a:cubicBezTo>
                  <a:cubicBezTo>
                    <a:pt x="19302" y="18108"/>
                    <a:pt x="19302" y="18108"/>
                    <a:pt x="19302" y="18108"/>
                  </a:cubicBezTo>
                  <a:cubicBezTo>
                    <a:pt x="19302" y="18108"/>
                    <a:pt x="19149" y="17849"/>
                    <a:pt x="19149" y="17849"/>
                  </a:cubicBezTo>
                  <a:cubicBezTo>
                    <a:pt x="19149" y="17849"/>
                    <a:pt x="18996" y="17849"/>
                    <a:pt x="18996" y="17849"/>
                  </a:cubicBezTo>
                  <a:cubicBezTo>
                    <a:pt x="18996" y="17849"/>
                    <a:pt x="18843" y="17849"/>
                    <a:pt x="18843" y="17849"/>
                  </a:cubicBezTo>
                  <a:cubicBezTo>
                    <a:pt x="18843" y="17849"/>
                    <a:pt x="18996" y="17720"/>
                    <a:pt x="18996" y="17720"/>
                  </a:cubicBezTo>
                  <a:cubicBezTo>
                    <a:pt x="18996" y="17720"/>
                    <a:pt x="18996" y="17720"/>
                    <a:pt x="19149" y="17720"/>
                  </a:cubicBezTo>
                  <a:cubicBezTo>
                    <a:pt x="19302" y="17590"/>
                    <a:pt x="19302" y="17590"/>
                    <a:pt x="19302" y="17590"/>
                  </a:cubicBezTo>
                  <a:cubicBezTo>
                    <a:pt x="19302" y="17590"/>
                    <a:pt x="19609" y="17202"/>
                    <a:pt x="19915" y="17202"/>
                  </a:cubicBezTo>
                  <a:cubicBezTo>
                    <a:pt x="20068" y="17202"/>
                    <a:pt x="20374" y="17202"/>
                    <a:pt x="20374" y="17202"/>
                  </a:cubicBezTo>
                  <a:cubicBezTo>
                    <a:pt x="20681" y="16944"/>
                    <a:pt x="20681" y="16944"/>
                    <a:pt x="20681" y="16944"/>
                  </a:cubicBezTo>
                  <a:cubicBezTo>
                    <a:pt x="20681" y="16944"/>
                    <a:pt x="20681" y="16814"/>
                    <a:pt x="20681" y="16814"/>
                  </a:cubicBezTo>
                  <a:cubicBezTo>
                    <a:pt x="20834" y="16814"/>
                    <a:pt x="20681" y="16556"/>
                    <a:pt x="20681" y="16556"/>
                  </a:cubicBezTo>
                  <a:cubicBezTo>
                    <a:pt x="20681" y="16297"/>
                    <a:pt x="20681" y="16297"/>
                    <a:pt x="20681" y="16297"/>
                  </a:cubicBezTo>
                  <a:cubicBezTo>
                    <a:pt x="20681" y="16297"/>
                    <a:pt x="20221" y="16038"/>
                    <a:pt x="20221" y="16038"/>
                  </a:cubicBezTo>
                  <a:cubicBezTo>
                    <a:pt x="20221" y="16038"/>
                    <a:pt x="19609" y="15780"/>
                    <a:pt x="19609" y="15780"/>
                  </a:cubicBezTo>
                  <a:cubicBezTo>
                    <a:pt x="19609" y="15780"/>
                    <a:pt x="19609" y="15521"/>
                    <a:pt x="19455" y="15521"/>
                  </a:cubicBezTo>
                  <a:cubicBezTo>
                    <a:pt x="19455" y="15521"/>
                    <a:pt x="19609" y="15262"/>
                    <a:pt x="19609" y="15262"/>
                  </a:cubicBezTo>
                  <a:cubicBezTo>
                    <a:pt x="19609" y="15262"/>
                    <a:pt x="19915" y="14874"/>
                    <a:pt x="20221" y="14745"/>
                  </a:cubicBezTo>
                  <a:cubicBezTo>
                    <a:pt x="20374" y="14616"/>
                    <a:pt x="20528" y="14616"/>
                    <a:pt x="20528" y="14616"/>
                  </a:cubicBezTo>
                  <a:cubicBezTo>
                    <a:pt x="20681" y="14616"/>
                    <a:pt x="20834" y="14745"/>
                    <a:pt x="20987" y="14874"/>
                  </a:cubicBezTo>
                  <a:cubicBezTo>
                    <a:pt x="20987" y="14874"/>
                    <a:pt x="21140" y="14874"/>
                    <a:pt x="21294" y="14874"/>
                  </a:cubicBezTo>
                  <a:cubicBezTo>
                    <a:pt x="21447" y="14874"/>
                    <a:pt x="21600" y="14874"/>
                    <a:pt x="21600" y="14874"/>
                  </a:cubicBezTo>
                  <a:cubicBezTo>
                    <a:pt x="21600" y="14874"/>
                    <a:pt x="21600" y="14616"/>
                    <a:pt x="21600" y="14486"/>
                  </a:cubicBezTo>
                  <a:cubicBezTo>
                    <a:pt x="21600" y="14357"/>
                    <a:pt x="21600" y="14486"/>
                    <a:pt x="21447" y="14357"/>
                  </a:cubicBezTo>
                  <a:cubicBezTo>
                    <a:pt x="21447" y="14357"/>
                    <a:pt x="21294" y="14228"/>
                    <a:pt x="21294" y="14228"/>
                  </a:cubicBezTo>
                  <a:cubicBezTo>
                    <a:pt x="21294" y="14228"/>
                    <a:pt x="21294" y="14098"/>
                    <a:pt x="21294" y="14098"/>
                  </a:cubicBezTo>
                  <a:cubicBezTo>
                    <a:pt x="21294" y="14098"/>
                    <a:pt x="21294" y="13969"/>
                    <a:pt x="21294" y="13840"/>
                  </a:cubicBezTo>
                  <a:cubicBezTo>
                    <a:pt x="21294" y="13840"/>
                    <a:pt x="21294" y="13451"/>
                    <a:pt x="21294" y="13451"/>
                  </a:cubicBezTo>
                  <a:cubicBezTo>
                    <a:pt x="21294" y="13322"/>
                    <a:pt x="21140" y="13063"/>
                    <a:pt x="21140" y="13063"/>
                  </a:cubicBezTo>
                  <a:cubicBezTo>
                    <a:pt x="21140" y="12934"/>
                    <a:pt x="20987" y="12805"/>
                    <a:pt x="20987" y="12805"/>
                  </a:cubicBezTo>
                  <a:cubicBezTo>
                    <a:pt x="20834" y="12546"/>
                    <a:pt x="20834" y="12546"/>
                    <a:pt x="20834" y="12546"/>
                  </a:cubicBezTo>
                  <a:cubicBezTo>
                    <a:pt x="20834" y="12546"/>
                    <a:pt x="20834" y="12546"/>
                    <a:pt x="20834" y="12417"/>
                  </a:cubicBezTo>
                  <a:cubicBezTo>
                    <a:pt x="20834" y="12158"/>
                    <a:pt x="20987" y="11899"/>
                    <a:pt x="20987" y="11899"/>
                  </a:cubicBezTo>
                  <a:cubicBezTo>
                    <a:pt x="21140" y="11770"/>
                    <a:pt x="21140" y="11511"/>
                    <a:pt x="21140" y="11511"/>
                  </a:cubicBezTo>
                  <a:cubicBezTo>
                    <a:pt x="20987" y="11382"/>
                    <a:pt x="20987" y="11382"/>
                    <a:pt x="20987" y="11382"/>
                  </a:cubicBezTo>
                  <a:cubicBezTo>
                    <a:pt x="20987" y="11382"/>
                    <a:pt x="20374" y="11253"/>
                    <a:pt x="20374" y="11253"/>
                  </a:cubicBezTo>
                  <a:cubicBezTo>
                    <a:pt x="20374" y="11253"/>
                    <a:pt x="20221" y="11123"/>
                    <a:pt x="20221" y="11123"/>
                  </a:cubicBezTo>
                  <a:cubicBezTo>
                    <a:pt x="20221" y="10994"/>
                    <a:pt x="20068" y="10994"/>
                    <a:pt x="20068" y="10994"/>
                  </a:cubicBezTo>
                  <a:cubicBezTo>
                    <a:pt x="20068" y="10994"/>
                    <a:pt x="19455" y="11123"/>
                    <a:pt x="19455" y="11123"/>
                  </a:cubicBezTo>
                  <a:cubicBezTo>
                    <a:pt x="19455" y="11123"/>
                    <a:pt x="19149" y="11253"/>
                    <a:pt x="18996" y="11382"/>
                  </a:cubicBezTo>
                  <a:cubicBezTo>
                    <a:pt x="18689" y="11382"/>
                    <a:pt x="18689" y="11382"/>
                    <a:pt x="18536" y="11511"/>
                  </a:cubicBezTo>
                  <a:cubicBezTo>
                    <a:pt x="18230" y="11641"/>
                    <a:pt x="18230" y="11770"/>
                    <a:pt x="18077" y="11899"/>
                  </a:cubicBezTo>
                  <a:cubicBezTo>
                    <a:pt x="17923" y="11899"/>
                    <a:pt x="17770" y="12158"/>
                    <a:pt x="17770" y="12158"/>
                  </a:cubicBezTo>
                  <a:cubicBezTo>
                    <a:pt x="17617" y="12287"/>
                    <a:pt x="17617" y="12287"/>
                    <a:pt x="17770" y="12417"/>
                  </a:cubicBezTo>
                  <a:cubicBezTo>
                    <a:pt x="17770" y="12546"/>
                    <a:pt x="17923" y="12417"/>
                    <a:pt x="17923" y="12417"/>
                  </a:cubicBezTo>
                  <a:cubicBezTo>
                    <a:pt x="17923" y="12417"/>
                    <a:pt x="18077" y="12417"/>
                    <a:pt x="18230" y="12417"/>
                  </a:cubicBezTo>
                  <a:cubicBezTo>
                    <a:pt x="18383" y="12417"/>
                    <a:pt x="18383" y="12546"/>
                    <a:pt x="18230" y="12546"/>
                  </a:cubicBezTo>
                  <a:cubicBezTo>
                    <a:pt x="18230" y="12546"/>
                    <a:pt x="18230" y="12675"/>
                    <a:pt x="18230" y="12675"/>
                  </a:cubicBezTo>
                  <a:cubicBezTo>
                    <a:pt x="18230" y="12675"/>
                    <a:pt x="18230" y="12675"/>
                    <a:pt x="18077" y="12805"/>
                  </a:cubicBezTo>
                  <a:cubicBezTo>
                    <a:pt x="18077" y="12805"/>
                    <a:pt x="18077" y="12934"/>
                    <a:pt x="18077" y="13063"/>
                  </a:cubicBezTo>
                  <a:cubicBezTo>
                    <a:pt x="18077" y="13193"/>
                    <a:pt x="17923" y="13193"/>
                    <a:pt x="17923" y="13193"/>
                  </a:cubicBezTo>
                  <a:cubicBezTo>
                    <a:pt x="17770" y="13322"/>
                    <a:pt x="17770" y="13322"/>
                    <a:pt x="17617" y="13451"/>
                  </a:cubicBezTo>
                  <a:cubicBezTo>
                    <a:pt x="17464" y="13451"/>
                    <a:pt x="17464" y="13581"/>
                    <a:pt x="17464" y="13581"/>
                  </a:cubicBezTo>
                  <a:cubicBezTo>
                    <a:pt x="17464" y="13710"/>
                    <a:pt x="17464" y="13710"/>
                    <a:pt x="17617" y="13840"/>
                  </a:cubicBezTo>
                  <a:cubicBezTo>
                    <a:pt x="17617" y="13969"/>
                    <a:pt x="17617" y="13969"/>
                    <a:pt x="17617" y="13969"/>
                  </a:cubicBezTo>
                  <a:cubicBezTo>
                    <a:pt x="17617" y="14098"/>
                    <a:pt x="17464" y="14228"/>
                    <a:pt x="17464" y="14098"/>
                  </a:cubicBezTo>
                  <a:cubicBezTo>
                    <a:pt x="17464" y="14098"/>
                    <a:pt x="17464" y="13969"/>
                    <a:pt x="17464" y="13969"/>
                  </a:cubicBezTo>
                  <a:cubicBezTo>
                    <a:pt x="17004" y="13969"/>
                    <a:pt x="17004" y="13969"/>
                    <a:pt x="17004" y="13969"/>
                  </a:cubicBezTo>
                  <a:cubicBezTo>
                    <a:pt x="17004" y="13969"/>
                    <a:pt x="17004" y="13969"/>
                    <a:pt x="16851" y="13969"/>
                  </a:cubicBezTo>
                  <a:cubicBezTo>
                    <a:pt x="16851" y="13969"/>
                    <a:pt x="17157" y="13710"/>
                    <a:pt x="17157" y="13710"/>
                  </a:cubicBezTo>
                  <a:cubicBezTo>
                    <a:pt x="17311" y="13581"/>
                    <a:pt x="17311" y="13581"/>
                    <a:pt x="17311" y="13581"/>
                  </a:cubicBezTo>
                  <a:cubicBezTo>
                    <a:pt x="17311" y="13451"/>
                    <a:pt x="17311" y="13451"/>
                    <a:pt x="17311" y="13451"/>
                  </a:cubicBezTo>
                  <a:cubicBezTo>
                    <a:pt x="16851" y="13451"/>
                    <a:pt x="16851" y="13451"/>
                    <a:pt x="16851" y="13451"/>
                  </a:cubicBezTo>
                  <a:cubicBezTo>
                    <a:pt x="16698" y="13451"/>
                    <a:pt x="16698" y="13451"/>
                    <a:pt x="16698" y="13451"/>
                  </a:cubicBezTo>
                  <a:cubicBezTo>
                    <a:pt x="16851" y="13322"/>
                    <a:pt x="16851" y="13322"/>
                    <a:pt x="16851" y="13322"/>
                  </a:cubicBezTo>
                  <a:cubicBezTo>
                    <a:pt x="16851" y="13063"/>
                    <a:pt x="16851" y="13063"/>
                    <a:pt x="16851" y="13063"/>
                  </a:cubicBezTo>
                  <a:cubicBezTo>
                    <a:pt x="17004" y="12805"/>
                    <a:pt x="17004" y="12805"/>
                    <a:pt x="17004" y="12805"/>
                  </a:cubicBezTo>
                  <a:cubicBezTo>
                    <a:pt x="17004" y="12805"/>
                    <a:pt x="17004" y="12546"/>
                    <a:pt x="17157" y="12546"/>
                  </a:cubicBezTo>
                  <a:cubicBezTo>
                    <a:pt x="17157" y="12546"/>
                    <a:pt x="17311" y="12417"/>
                    <a:pt x="17311" y="12287"/>
                  </a:cubicBezTo>
                  <a:cubicBezTo>
                    <a:pt x="17464" y="12287"/>
                    <a:pt x="17311" y="12158"/>
                    <a:pt x="17311" y="12158"/>
                  </a:cubicBezTo>
                  <a:cubicBezTo>
                    <a:pt x="17004" y="12158"/>
                    <a:pt x="17004" y="12158"/>
                    <a:pt x="17004" y="12158"/>
                  </a:cubicBezTo>
                  <a:cubicBezTo>
                    <a:pt x="16698" y="12287"/>
                    <a:pt x="16698" y="12287"/>
                    <a:pt x="16698" y="12287"/>
                  </a:cubicBezTo>
                  <a:cubicBezTo>
                    <a:pt x="16698" y="12287"/>
                    <a:pt x="16238" y="12417"/>
                    <a:pt x="16085" y="12417"/>
                  </a:cubicBezTo>
                  <a:cubicBezTo>
                    <a:pt x="15932" y="12417"/>
                    <a:pt x="16085" y="12417"/>
                    <a:pt x="15932" y="12417"/>
                  </a:cubicBezTo>
                  <a:cubicBezTo>
                    <a:pt x="15932" y="12287"/>
                    <a:pt x="15779" y="12287"/>
                    <a:pt x="15779" y="12287"/>
                  </a:cubicBezTo>
                  <a:cubicBezTo>
                    <a:pt x="15779" y="12287"/>
                    <a:pt x="15472" y="12287"/>
                    <a:pt x="15472" y="12287"/>
                  </a:cubicBezTo>
                  <a:cubicBezTo>
                    <a:pt x="15319" y="12287"/>
                    <a:pt x="15319" y="12417"/>
                    <a:pt x="15319" y="12417"/>
                  </a:cubicBezTo>
                  <a:cubicBezTo>
                    <a:pt x="15319" y="12417"/>
                    <a:pt x="15779" y="12546"/>
                    <a:pt x="15932" y="12675"/>
                  </a:cubicBezTo>
                  <a:cubicBezTo>
                    <a:pt x="15932" y="12675"/>
                    <a:pt x="16085" y="12675"/>
                    <a:pt x="16085" y="12675"/>
                  </a:cubicBezTo>
                  <a:cubicBezTo>
                    <a:pt x="16085" y="12805"/>
                    <a:pt x="16085" y="12805"/>
                    <a:pt x="16085" y="12805"/>
                  </a:cubicBezTo>
                  <a:cubicBezTo>
                    <a:pt x="16085" y="12805"/>
                    <a:pt x="15932" y="13063"/>
                    <a:pt x="15779" y="13063"/>
                  </a:cubicBezTo>
                  <a:cubicBezTo>
                    <a:pt x="15779" y="13193"/>
                    <a:pt x="15626" y="13193"/>
                    <a:pt x="15626" y="13193"/>
                  </a:cubicBezTo>
                  <a:cubicBezTo>
                    <a:pt x="15319" y="13322"/>
                    <a:pt x="15319" y="13322"/>
                    <a:pt x="15319" y="13322"/>
                  </a:cubicBezTo>
                  <a:cubicBezTo>
                    <a:pt x="15319" y="13322"/>
                    <a:pt x="15472" y="13581"/>
                    <a:pt x="15472" y="13581"/>
                  </a:cubicBezTo>
                  <a:cubicBezTo>
                    <a:pt x="15472" y="13581"/>
                    <a:pt x="15472" y="13840"/>
                    <a:pt x="15472" y="13840"/>
                  </a:cubicBezTo>
                  <a:cubicBezTo>
                    <a:pt x="15166" y="13710"/>
                    <a:pt x="15166" y="13710"/>
                    <a:pt x="15166" y="13710"/>
                  </a:cubicBezTo>
                  <a:cubicBezTo>
                    <a:pt x="14706" y="13969"/>
                    <a:pt x="14706" y="13969"/>
                    <a:pt x="14706" y="13969"/>
                  </a:cubicBezTo>
                  <a:cubicBezTo>
                    <a:pt x="14706" y="13969"/>
                    <a:pt x="14553" y="13969"/>
                    <a:pt x="14553" y="13969"/>
                  </a:cubicBezTo>
                  <a:cubicBezTo>
                    <a:pt x="14400" y="13969"/>
                    <a:pt x="14400" y="13840"/>
                    <a:pt x="14400" y="13840"/>
                  </a:cubicBezTo>
                  <a:cubicBezTo>
                    <a:pt x="14247" y="14098"/>
                    <a:pt x="14247" y="14098"/>
                    <a:pt x="14247" y="14098"/>
                  </a:cubicBezTo>
                  <a:cubicBezTo>
                    <a:pt x="14247" y="14098"/>
                    <a:pt x="13634" y="13969"/>
                    <a:pt x="13481" y="13969"/>
                  </a:cubicBezTo>
                  <a:cubicBezTo>
                    <a:pt x="13481" y="13969"/>
                    <a:pt x="13481" y="14228"/>
                    <a:pt x="13481" y="14228"/>
                  </a:cubicBezTo>
                  <a:cubicBezTo>
                    <a:pt x="13787" y="14357"/>
                    <a:pt x="13787" y="14357"/>
                    <a:pt x="13787" y="14357"/>
                  </a:cubicBezTo>
                  <a:cubicBezTo>
                    <a:pt x="13481" y="14486"/>
                    <a:pt x="13481" y="14486"/>
                    <a:pt x="13481" y="14486"/>
                  </a:cubicBezTo>
                  <a:cubicBezTo>
                    <a:pt x="14094" y="14745"/>
                    <a:pt x="14094" y="14745"/>
                    <a:pt x="14094" y="14745"/>
                  </a:cubicBezTo>
                  <a:cubicBezTo>
                    <a:pt x="14247" y="14874"/>
                    <a:pt x="14247" y="14874"/>
                    <a:pt x="14247" y="14874"/>
                  </a:cubicBezTo>
                  <a:cubicBezTo>
                    <a:pt x="14400" y="15262"/>
                    <a:pt x="14400" y="15262"/>
                    <a:pt x="14400" y="15262"/>
                  </a:cubicBezTo>
                  <a:cubicBezTo>
                    <a:pt x="14247" y="15392"/>
                    <a:pt x="14247" y="15392"/>
                    <a:pt x="14247" y="15392"/>
                  </a:cubicBezTo>
                  <a:cubicBezTo>
                    <a:pt x="14553" y="15650"/>
                    <a:pt x="14553" y="15650"/>
                    <a:pt x="14553" y="15650"/>
                  </a:cubicBezTo>
                  <a:cubicBezTo>
                    <a:pt x="14553" y="15650"/>
                    <a:pt x="14553" y="15780"/>
                    <a:pt x="14706" y="15909"/>
                  </a:cubicBezTo>
                  <a:cubicBezTo>
                    <a:pt x="14706" y="15909"/>
                    <a:pt x="14706" y="16168"/>
                    <a:pt x="14706" y="16168"/>
                  </a:cubicBezTo>
                  <a:cubicBezTo>
                    <a:pt x="14706" y="16426"/>
                    <a:pt x="14706" y="16426"/>
                    <a:pt x="14706" y="16426"/>
                  </a:cubicBezTo>
                  <a:cubicBezTo>
                    <a:pt x="14706" y="16556"/>
                    <a:pt x="14706" y="16556"/>
                    <a:pt x="14706" y="16556"/>
                  </a:cubicBezTo>
                  <a:cubicBezTo>
                    <a:pt x="14706" y="16556"/>
                    <a:pt x="14400" y="16685"/>
                    <a:pt x="14400" y="16814"/>
                  </a:cubicBezTo>
                  <a:cubicBezTo>
                    <a:pt x="14400" y="16814"/>
                    <a:pt x="14553" y="16814"/>
                    <a:pt x="14553" y="16814"/>
                  </a:cubicBezTo>
                  <a:cubicBezTo>
                    <a:pt x="14860" y="17073"/>
                    <a:pt x="14860" y="17073"/>
                    <a:pt x="14860" y="17073"/>
                  </a:cubicBezTo>
                  <a:cubicBezTo>
                    <a:pt x="15013" y="17332"/>
                    <a:pt x="15013" y="17332"/>
                    <a:pt x="15013" y="17332"/>
                  </a:cubicBezTo>
                  <a:cubicBezTo>
                    <a:pt x="15013" y="17332"/>
                    <a:pt x="14860" y="17461"/>
                    <a:pt x="14860" y="17590"/>
                  </a:cubicBezTo>
                  <a:cubicBezTo>
                    <a:pt x="14860" y="17590"/>
                    <a:pt x="15166" y="17720"/>
                    <a:pt x="15166" y="17720"/>
                  </a:cubicBezTo>
                  <a:cubicBezTo>
                    <a:pt x="15779" y="17720"/>
                    <a:pt x="15779" y="17720"/>
                    <a:pt x="15779" y="17720"/>
                  </a:cubicBezTo>
                  <a:cubicBezTo>
                    <a:pt x="16085" y="17720"/>
                    <a:pt x="16085" y="17720"/>
                    <a:pt x="16085" y="17720"/>
                  </a:cubicBezTo>
                  <a:cubicBezTo>
                    <a:pt x="16085" y="17720"/>
                    <a:pt x="16545" y="17720"/>
                    <a:pt x="16698" y="17720"/>
                  </a:cubicBezTo>
                  <a:cubicBezTo>
                    <a:pt x="16698" y="17720"/>
                    <a:pt x="17157" y="17590"/>
                    <a:pt x="17157" y="17590"/>
                  </a:cubicBezTo>
                  <a:cubicBezTo>
                    <a:pt x="17157" y="17590"/>
                    <a:pt x="17464" y="17849"/>
                    <a:pt x="17617" y="17849"/>
                  </a:cubicBezTo>
                  <a:cubicBezTo>
                    <a:pt x="17770" y="17978"/>
                    <a:pt x="17617" y="18108"/>
                    <a:pt x="17617" y="18108"/>
                  </a:cubicBezTo>
                  <a:cubicBezTo>
                    <a:pt x="17617" y="18237"/>
                    <a:pt x="17464" y="18237"/>
                    <a:pt x="17464" y="18237"/>
                  </a:cubicBezTo>
                  <a:cubicBezTo>
                    <a:pt x="17464" y="18237"/>
                    <a:pt x="17617" y="18625"/>
                    <a:pt x="17617" y="18625"/>
                  </a:cubicBezTo>
                  <a:cubicBezTo>
                    <a:pt x="17770" y="18754"/>
                    <a:pt x="17770" y="18625"/>
                    <a:pt x="17770" y="18625"/>
                  </a:cubicBezTo>
                  <a:cubicBezTo>
                    <a:pt x="17770" y="18625"/>
                    <a:pt x="17923" y="18754"/>
                    <a:pt x="18077" y="18884"/>
                  </a:cubicBezTo>
                  <a:cubicBezTo>
                    <a:pt x="18077" y="19013"/>
                    <a:pt x="18230" y="19013"/>
                    <a:pt x="18230" y="19013"/>
                  </a:cubicBezTo>
                  <a:cubicBezTo>
                    <a:pt x="18383" y="19013"/>
                    <a:pt x="18383" y="19013"/>
                    <a:pt x="18383" y="19013"/>
                  </a:cubicBezTo>
                  <a:cubicBezTo>
                    <a:pt x="18383" y="19013"/>
                    <a:pt x="18536" y="19013"/>
                    <a:pt x="18536" y="19143"/>
                  </a:cubicBezTo>
                  <a:cubicBezTo>
                    <a:pt x="18689" y="19143"/>
                    <a:pt x="18843" y="19143"/>
                    <a:pt x="18996" y="19143"/>
                  </a:cubicBezTo>
                  <a:cubicBezTo>
                    <a:pt x="18996" y="19143"/>
                    <a:pt x="19149" y="19143"/>
                    <a:pt x="19149" y="19013"/>
                  </a:cubicBezTo>
                  <a:cubicBezTo>
                    <a:pt x="19149" y="19013"/>
                    <a:pt x="19302" y="19013"/>
                    <a:pt x="19455" y="19013"/>
                  </a:cubicBezTo>
                  <a:cubicBezTo>
                    <a:pt x="19455" y="18884"/>
                    <a:pt x="19455" y="18754"/>
                    <a:pt x="19455" y="18754"/>
                  </a:cubicBezTo>
                  <a:cubicBezTo>
                    <a:pt x="19455" y="18754"/>
                    <a:pt x="19455" y="18754"/>
                    <a:pt x="19455" y="18754"/>
                  </a:cubicBezTo>
                  <a:close/>
                  <a:moveTo>
                    <a:pt x="19455" y="19401"/>
                  </a:moveTo>
                  <a:cubicBezTo>
                    <a:pt x="19455" y="19401"/>
                    <a:pt x="19455" y="19401"/>
                    <a:pt x="19455" y="19401"/>
                  </a:cubicBezTo>
                  <a:cubicBezTo>
                    <a:pt x="19302" y="19531"/>
                    <a:pt x="19302" y="19531"/>
                    <a:pt x="19302" y="19531"/>
                  </a:cubicBezTo>
                  <a:cubicBezTo>
                    <a:pt x="19455" y="19531"/>
                    <a:pt x="19455" y="19531"/>
                    <a:pt x="19455" y="19531"/>
                  </a:cubicBezTo>
                  <a:cubicBezTo>
                    <a:pt x="19455" y="19531"/>
                    <a:pt x="19762" y="19660"/>
                    <a:pt x="19762" y="19660"/>
                  </a:cubicBezTo>
                  <a:cubicBezTo>
                    <a:pt x="19915" y="19660"/>
                    <a:pt x="19915" y="19660"/>
                    <a:pt x="19915" y="19660"/>
                  </a:cubicBezTo>
                  <a:cubicBezTo>
                    <a:pt x="20068" y="19531"/>
                    <a:pt x="20068" y="19531"/>
                    <a:pt x="20068" y="19531"/>
                  </a:cubicBezTo>
                  <a:cubicBezTo>
                    <a:pt x="20221" y="19272"/>
                    <a:pt x="20221" y="19272"/>
                    <a:pt x="20221" y="19272"/>
                  </a:cubicBezTo>
                  <a:cubicBezTo>
                    <a:pt x="20681" y="19143"/>
                    <a:pt x="20681" y="19143"/>
                    <a:pt x="20681" y="19143"/>
                  </a:cubicBezTo>
                  <a:cubicBezTo>
                    <a:pt x="20681" y="19143"/>
                    <a:pt x="21140" y="19143"/>
                    <a:pt x="21140" y="19143"/>
                  </a:cubicBezTo>
                  <a:cubicBezTo>
                    <a:pt x="21140" y="19143"/>
                    <a:pt x="21294" y="19013"/>
                    <a:pt x="21294" y="19013"/>
                  </a:cubicBezTo>
                  <a:cubicBezTo>
                    <a:pt x="21294" y="18884"/>
                    <a:pt x="21294" y="18884"/>
                    <a:pt x="21294" y="18884"/>
                  </a:cubicBezTo>
                  <a:cubicBezTo>
                    <a:pt x="20987" y="18625"/>
                    <a:pt x="20987" y="18625"/>
                    <a:pt x="20987" y="18625"/>
                  </a:cubicBezTo>
                  <a:cubicBezTo>
                    <a:pt x="20681" y="18625"/>
                    <a:pt x="20681" y="18625"/>
                    <a:pt x="20681" y="18625"/>
                  </a:cubicBezTo>
                  <a:cubicBezTo>
                    <a:pt x="20681" y="18625"/>
                    <a:pt x="20374" y="18625"/>
                    <a:pt x="20221" y="18625"/>
                  </a:cubicBezTo>
                  <a:cubicBezTo>
                    <a:pt x="20221" y="18625"/>
                    <a:pt x="20068" y="18625"/>
                    <a:pt x="20068" y="18625"/>
                  </a:cubicBezTo>
                  <a:cubicBezTo>
                    <a:pt x="20068" y="18625"/>
                    <a:pt x="20068" y="18754"/>
                    <a:pt x="20068" y="18884"/>
                  </a:cubicBezTo>
                  <a:cubicBezTo>
                    <a:pt x="19915" y="19013"/>
                    <a:pt x="19915" y="19013"/>
                    <a:pt x="19762" y="19013"/>
                  </a:cubicBezTo>
                  <a:cubicBezTo>
                    <a:pt x="19762" y="19013"/>
                    <a:pt x="19609" y="19013"/>
                    <a:pt x="19609" y="19013"/>
                  </a:cubicBezTo>
                  <a:cubicBezTo>
                    <a:pt x="19455" y="19401"/>
                    <a:pt x="19455" y="19401"/>
                    <a:pt x="19455" y="19401"/>
                  </a:cubicBezTo>
                  <a:close/>
                  <a:moveTo>
                    <a:pt x="17770" y="20953"/>
                  </a:moveTo>
                  <a:cubicBezTo>
                    <a:pt x="17770" y="20953"/>
                    <a:pt x="17770" y="20953"/>
                    <a:pt x="17770" y="20953"/>
                  </a:cubicBezTo>
                  <a:cubicBezTo>
                    <a:pt x="17923" y="20953"/>
                    <a:pt x="17923" y="20953"/>
                    <a:pt x="17923" y="20953"/>
                  </a:cubicBezTo>
                  <a:cubicBezTo>
                    <a:pt x="18077" y="20824"/>
                    <a:pt x="18077" y="20824"/>
                    <a:pt x="18077" y="20824"/>
                  </a:cubicBezTo>
                  <a:cubicBezTo>
                    <a:pt x="17923" y="20565"/>
                    <a:pt x="17923" y="20565"/>
                    <a:pt x="17923" y="20565"/>
                  </a:cubicBezTo>
                  <a:cubicBezTo>
                    <a:pt x="17770" y="20436"/>
                    <a:pt x="17770" y="20436"/>
                    <a:pt x="17770" y="20436"/>
                  </a:cubicBezTo>
                  <a:cubicBezTo>
                    <a:pt x="17617" y="20048"/>
                    <a:pt x="17617" y="20048"/>
                    <a:pt x="17617" y="20048"/>
                  </a:cubicBezTo>
                  <a:cubicBezTo>
                    <a:pt x="17311" y="19789"/>
                    <a:pt x="17311" y="19789"/>
                    <a:pt x="17311" y="19789"/>
                  </a:cubicBezTo>
                  <a:cubicBezTo>
                    <a:pt x="17157" y="19660"/>
                    <a:pt x="17157" y="19660"/>
                    <a:pt x="17157" y="19660"/>
                  </a:cubicBezTo>
                  <a:cubicBezTo>
                    <a:pt x="17004" y="19919"/>
                    <a:pt x="17004" y="19919"/>
                    <a:pt x="17004" y="19919"/>
                  </a:cubicBezTo>
                  <a:cubicBezTo>
                    <a:pt x="16851" y="20048"/>
                    <a:pt x="16851" y="20048"/>
                    <a:pt x="16851" y="20048"/>
                  </a:cubicBezTo>
                  <a:cubicBezTo>
                    <a:pt x="16698" y="20177"/>
                    <a:pt x="16698" y="20177"/>
                    <a:pt x="16698" y="20177"/>
                  </a:cubicBezTo>
                  <a:cubicBezTo>
                    <a:pt x="16698" y="20177"/>
                    <a:pt x="16238" y="20048"/>
                    <a:pt x="16085" y="19919"/>
                  </a:cubicBezTo>
                  <a:cubicBezTo>
                    <a:pt x="15779" y="19789"/>
                    <a:pt x="15779" y="19789"/>
                    <a:pt x="15779" y="19789"/>
                  </a:cubicBezTo>
                  <a:cubicBezTo>
                    <a:pt x="15779" y="19789"/>
                    <a:pt x="15626" y="19789"/>
                    <a:pt x="15472" y="19660"/>
                  </a:cubicBezTo>
                  <a:cubicBezTo>
                    <a:pt x="15472" y="19660"/>
                    <a:pt x="15319" y="19531"/>
                    <a:pt x="15319" y="19531"/>
                  </a:cubicBezTo>
                  <a:cubicBezTo>
                    <a:pt x="15319" y="19531"/>
                    <a:pt x="15319" y="19401"/>
                    <a:pt x="15166" y="19401"/>
                  </a:cubicBezTo>
                  <a:cubicBezTo>
                    <a:pt x="15166" y="19272"/>
                    <a:pt x="15013" y="19401"/>
                    <a:pt x="14860" y="19401"/>
                  </a:cubicBezTo>
                  <a:cubicBezTo>
                    <a:pt x="14553" y="19401"/>
                    <a:pt x="14553" y="19401"/>
                    <a:pt x="14400" y="19401"/>
                  </a:cubicBezTo>
                  <a:cubicBezTo>
                    <a:pt x="14400" y="19531"/>
                    <a:pt x="14247" y="19531"/>
                    <a:pt x="14247" y="19531"/>
                  </a:cubicBezTo>
                  <a:cubicBezTo>
                    <a:pt x="14094" y="19660"/>
                    <a:pt x="14247" y="19919"/>
                    <a:pt x="14247" y="19919"/>
                  </a:cubicBezTo>
                  <a:cubicBezTo>
                    <a:pt x="14247" y="20048"/>
                    <a:pt x="14247" y="20048"/>
                    <a:pt x="14247" y="20048"/>
                  </a:cubicBezTo>
                  <a:cubicBezTo>
                    <a:pt x="14400" y="20307"/>
                    <a:pt x="14400" y="20307"/>
                    <a:pt x="14400" y="20307"/>
                  </a:cubicBezTo>
                  <a:cubicBezTo>
                    <a:pt x="14094" y="20307"/>
                    <a:pt x="14094" y="20307"/>
                    <a:pt x="14094" y="20307"/>
                  </a:cubicBezTo>
                  <a:cubicBezTo>
                    <a:pt x="13940" y="20307"/>
                    <a:pt x="13940" y="20307"/>
                    <a:pt x="13940" y="20307"/>
                  </a:cubicBezTo>
                  <a:cubicBezTo>
                    <a:pt x="14094" y="20565"/>
                    <a:pt x="14094" y="20565"/>
                    <a:pt x="14094" y="20565"/>
                  </a:cubicBezTo>
                  <a:cubicBezTo>
                    <a:pt x="14094" y="20565"/>
                    <a:pt x="14094" y="20695"/>
                    <a:pt x="14247" y="20824"/>
                  </a:cubicBezTo>
                  <a:cubicBezTo>
                    <a:pt x="14247" y="20824"/>
                    <a:pt x="14400" y="20953"/>
                    <a:pt x="14400" y="20953"/>
                  </a:cubicBezTo>
                  <a:cubicBezTo>
                    <a:pt x="14400" y="20953"/>
                    <a:pt x="15166" y="21083"/>
                    <a:pt x="15166" y="21083"/>
                  </a:cubicBezTo>
                  <a:cubicBezTo>
                    <a:pt x="15319" y="21083"/>
                    <a:pt x="15319" y="21083"/>
                    <a:pt x="15319" y="21083"/>
                  </a:cubicBezTo>
                  <a:cubicBezTo>
                    <a:pt x="15319" y="21083"/>
                    <a:pt x="15626" y="21212"/>
                    <a:pt x="15932" y="21341"/>
                  </a:cubicBezTo>
                  <a:cubicBezTo>
                    <a:pt x="16085" y="21471"/>
                    <a:pt x="16238" y="21600"/>
                    <a:pt x="16238" y="21600"/>
                  </a:cubicBezTo>
                  <a:cubicBezTo>
                    <a:pt x="16238" y="21600"/>
                    <a:pt x="16545" y="21600"/>
                    <a:pt x="16545" y="21600"/>
                  </a:cubicBezTo>
                  <a:cubicBezTo>
                    <a:pt x="16698" y="21471"/>
                    <a:pt x="16698" y="21471"/>
                    <a:pt x="16698" y="21471"/>
                  </a:cubicBezTo>
                  <a:cubicBezTo>
                    <a:pt x="17157" y="21341"/>
                    <a:pt x="17157" y="21341"/>
                    <a:pt x="17157" y="21341"/>
                  </a:cubicBezTo>
                  <a:cubicBezTo>
                    <a:pt x="17464" y="21341"/>
                    <a:pt x="17464" y="21341"/>
                    <a:pt x="17464" y="21341"/>
                  </a:cubicBezTo>
                  <a:cubicBezTo>
                    <a:pt x="17923" y="21471"/>
                    <a:pt x="17923" y="21471"/>
                    <a:pt x="17923" y="21471"/>
                  </a:cubicBezTo>
                  <a:cubicBezTo>
                    <a:pt x="18077" y="21471"/>
                    <a:pt x="18077" y="21471"/>
                    <a:pt x="18077" y="21471"/>
                  </a:cubicBezTo>
                  <a:cubicBezTo>
                    <a:pt x="18077" y="21212"/>
                    <a:pt x="18077" y="21212"/>
                    <a:pt x="18077" y="21212"/>
                  </a:cubicBezTo>
                  <a:cubicBezTo>
                    <a:pt x="18077" y="21083"/>
                    <a:pt x="18077" y="21083"/>
                    <a:pt x="18077" y="21083"/>
                  </a:cubicBezTo>
                  <a:cubicBezTo>
                    <a:pt x="17770" y="20953"/>
                    <a:pt x="17770" y="20953"/>
                    <a:pt x="17770" y="20953"/>
                  </a:cubicBezTo>
                  <a:close/>
                  <a:moveTo>
                    <a:pt x="11796" y="15650"/>
                  </a:moveTo>
                  <a:cubicBezTo>
                    <a:pt x="11796" y="15650"/>
                    <a:pt x="11796" y="15650"/>
                    <a:pt x="11796" y="15650"/>
                  </a:cubicBezTo>
                  <a:cubicBezTo>
                    <a:pt x="11489" y="15521"/>
                    <a:pt x="11489" y="15521"/>
                    <a:pt x="11489" y="15521"/>
                  </a:cubicBezTo>
                  <a:cubicBezTo>
                    <a:pt x="11183" y="15133"/>
                    <a:pt x="11183" y="15133"/>
                    <a:pt x="11183" y="15133"/>
                  </a:cubicBezTo>
                  <a:cubicBezTo>
                    <a:pt x="10723" y="15004"/>
                    <a:pt x="10723" y="15004"/>
                    <a:pt x="10723" y="15004"/>
                  </a:cubicBezTo>
                  <a:cubicBezTo>
                    <a:pt x="10723" y="15004"/>
                    <a:pt x="10570" y="14616"/>
                    <a:pt x="10570" y="14616"/>
                  </a:cubicBezTo>
                  <a:cubicBezTo>
                    <a:pt x="10417" y="14486"/>
                    <a:pt x="10417" y="14616"/>
                    <a:pt x="10417" y="14616"/>
                  </a:cubicBezTo>
                  <a:cubicBezTo>
                    <a:pt x="10417" y="14616"/>
                    <a:pt x="10417" y="14874"/>
                    <a:pt x="10264" y="15004"/>
                  </a:cubicBezTo>
                  <a:cubicBezTo>
                    <a:pt x="10111" y="15004"/>
                    <a:pt x="9957" y="15004"/>
                    <a:pt x="9957" y="15004"/>
                  </a:cubicBezTo>
                  <a:cubicBezTo>
                    <a:pt x="9651" y="15262"/>
                    <a:pt x="9651" y="15262"/>
                    <a:pt x="9651" y="15262"/>
                  </a:cubicBezTo>
                  <a:cubicBezTo>
                    <a:pt x="9651" y="15262"/>
                    <a:pt x="9191" y="15392"/>
                    <a:pt x="9038" y="15392"/>
                  </a:cubicBezTo>
                  <a:cubicBezTo>
                    <a:pt x="9038" y="15392"/>
                    <a:pt x="8885" y="15521"/>
                    <a:pt x="8885" y="15521"/>
                  </a:cubicBezTo>
                  <a:cubicBezTo>
                    <a:pt x="7966" y="15392"/>
                    <a:pt x="7966" y="15392"/>
                    <a:pt x="7966" y="15392"/>
                  </a:cubicBezTo>
                  <a:cubicBezTo>
                    <a:pt x="7660" y="15650"/>
                    <a:pt x="7660" y="15650"/>
                    <a:pt x="7660" y="15650"/>
                  </a:cubicBezTo>
                  <a:cubicBezTo>
                    <a:pt x="7660" y="15780"/>
                    <a:pt x="7660" y="15780"/>
                    <a:pt x="7660" y="15780"/>
                  </a:cubicBezTo>
                  <a:cubicBezTo>
                    <a:pt x="7813" y="16038"/>
                    <a:pt x="7813" y="16038"/>
                    <a:pt x="7813" y="16038"/>
                  </a:cubicBezTo>
                  <a:cubicBezTo>
                    <a:pt x="7966" y="16168"/>
                    <a:pt x="7966" y="16168"/>
                    <a:pt x="7966" y="16168"/>
                  </a:cubicBezTo>
                  <a:cubicBezTo>
                    <a:pt x="8119" y="16168"/>
                    <a:pt x="8119" y="16168"/>
                    <a:pt x="8119" y="16168"/>
                  </a:cubicBezTo>
                  <a:cubicBezTo>
                    <a:pt x="8119" y="16426"/>
                    <a:pt x="8119" y="16426"/>
                    <a:pt x="8119" y="16426"/>
                  </a:cubicBezTo>
                  <a:cubicBezTo>
                    <a:pt x="8272" y="16685"/>
                    <a:pt x="8272" y="16685"/>
                    <a:pt x="8272" y="16685"/>
                  </a:cubicBezTo>
                  <a:cubicBezTo>
                    <a:pt x="8272" y="16685"/>
                    <a:pt x="8426" y="16814"/>
                    <a:pt x="8579" y="17073"/>
                  </a:cubicBezTo>
                  <a:cubicBezTo>
                    <a:pt x="8732" y="17332"/>
                    <a:pt x="8579" y="17461"/>
                    <a:pt x="8579" y="17461"/>
                  </a:cubicBezTo>
                  <a:cubicBezTo>
                    <a:pt x="9038" y="17849"/>
                    <a:pt x="9038" y="17849"/>
                    <a:pt x="9038" y="17849"/>
                  </a:cubicBezTo>
                  <a:cubicBezTo>
                    <a:pt x="9345" y="17978"/>
                    <a:pt x="9345" y="17978"/>
                    <a:pt x="9345" y="17978"/>
                  </a:cubicBezTo>
                  <a:cubicBezTo>
                    <a:pt x="9345" y="17978"/>
                    <a:pt x="9498" y="18108"/>
                    <a:pt x="9651" y="18108"/>
                  </a:cubicBezTo>
                  <a:cubicBezTo>
                    <a:pt x="9651" y="18108"/>
                    <a:pt x="9651" y="18237"/>
                    <a:pt x="9651" y="18237"/>
                  </a:cubicBezTo>
                  <a:cubicBezTo>
                    <a:pt x="9651" y="18496"/>
                    <a:pt x="9651" y="18496"/>
                    <a:pt x="9651" y="18496"/>
                  </a:cubicBezTo>
                  <a:cubicBezTo>
                    <a:pt x="9804" y="18754"/>
                    <a:pt x="9804" y="18754"/>
                    <a:pt x="9804" y="18754"/>
                  </a:cubicBezTo>
                  <a:cubicBezTo>
                    <a:pt x="9957" y="18625"/>
                    <a:pt x="9957" y="18625"/>
                    <a:pt x="9957" y="18625"/>
                  </a:cubicBezTo>
                  <a:cubicBezTo>
                    <a:pt x="10111" y="18496"/>
                    <a:pt x="10111" y="18496"/>
                    <a:pt x="10111" y="18496"/>
                  </a:cubicBezTo>
                  <a:cubicBezTo>
                    <a:pt x="10877" y="18754"/>
                    <a:pt x="10877" y="18754"/>
                    <a:pt x="10877" y="18754"/>
                  </a:cubicBezTo>
                  <a:cubicBezTo>
                    <a:pt x="10877" y="18754"/>
                    <a:pt x="11489" y="19013"/>
                    <a:pt x="11643" y="19013"/>
                  </a:cubicBezTo>
                  <a:cubicBezTo>
                    <a:pt x="11643" y="19013"/>
                    <a:pt x="11949" y="18754"/>
                    <a:pt x="11949" y="18754"/>
                  </a:cubicBezTo>
                  <a:cubicBezTo>
                    <a:pt x="12102" y="18625"/>
                    <a:pt x="12562" y="18625"/>
                    <a:pt x="12562" y="18625"/>
                  </a:cubicBezTo>
                  <a:cubicBezTo>
                    <a:pt x="12715" y="18625"/>
                    <a:pt x="12715" y="18496"/>
                    <a:pt x="12715" y="18496"/>
                  </a:cubicBezTo>
                  <a:cubicBezTo>
                    <a:pt x="12715" y="18366"/>
                    <a:pt x="12868" y="18237"/>
                    <a:pt x="12868" y="18108"/>
                  </a:cubicBezTo>
                  <a:cubicBezTo>
                    <a:pt x="12868" y="17978"/>
                    <a:pt x="13021" y="17849"/>
                    <a:pt x="13021" y="17849"/>
                  </a:cubicBezTo>
                  <a:cubicBezTo>
                    <a:pt x="13021" y="17590"/>
                    <a:pt x="13021" y="17590"/>
                    <a:pt x="13021" y="17590"/>
                  </a:cubicBezTo>
                  <a:cubicBezTo>
                    <a:pt x="12868" y="17202"/>
                    <a:pt x="12868" y="17202"/>
                    <a:pt x="12868" y="17202"/>
                  </a:cubicBezTo>
                  <a:cubicBezTo>
                    <a:pt x="13021" y="16685"/>
                    <a:pt x="13021" y="16685"/>
                    <a:pt x="13021" y="16685"/>
                  </a:cubicBezTo>
                  <a:cubicBezTo>
                    <a:pt x="12715" y="16426"/>
                    <a:pt x="12715" y="16426"/>
                    <a:pt x="12715" y="16426"/>
                  </a:cubicBezTo>
                  <a:cubicBezTo>
                    <a:pt x="12562" y="16297"/>
                    <a:pt x="12562" y="16297"/>
                    <a:pt x="12562" y="16297"/>
                  </a:cubicBezTo>
                  <a:cubicBezTo>
                    <a:pt x="12562" y="16168"/>
                    <a:pt x="12562" y="16168"/>
                    <a:pt x="12562" y="16168"/>
                  </a:cubicBezTo>
                  <a:cubicBezTo>
                    <a:pt x="12562" y="16038"/>
                    <a:pt x="12562" y="16038"/>
                    <a:pt x="12562" y="16038"/>
                  </a:cubicBezTo>
                  <a:cubicBezTo>
                    <a:pt x="12868" y="15909"/>
                    <a:pt x="12868" y="15909"/>
                    <a:pt x="12868" y="15909"/>
                  </a:cubicBezTo>
                  <a:cubicBezTo>
                    <a:pt x="12868" y="15521"/>
                    <a:pt x="12868" y="15521"/>
                    <a:pt x="12868" y="15521"/>
                  </a:cubicBezTo>
                  <a:cubicBezTo>
                    <a:pt x="13328" y="15262"/>
                    <a:pt x="13328" y="15262"/>
                    <a:pt x="13328" y="15262"/>
                  </a:cubicBezTo>
                  <a:cubicBezTo>
                    <a:pt x="13481" y="14874"/>
                    <a:pt x="13481" y="14874"/>
                    <a:pt x="13481" y="14874"/>
                  </a:cubicBezTo>
                  <a:cubicBezTo>
                    <a:pt x="13481" y="14874"/>
                    <a:pt x="12868" y="14745"/>
                    <a:pt x="12715" y="14745"/>
                  </a:cubicBezTo>
                  <a:cubicBezTo>
                    <a:pt x="12409" y="14745"/>
                    <a:pt x="12562" y="14745"/>
                    <a:pt x="12562" y="14616"/>
                  </a:cubicBezTo>
                  <a:cubicBezTo>
                    <a:pt x="12562" y="14616"/>
                    <a:pt x="12409" y="14486"/>
                    <a:pt x="12409" y="14486"/>
                  </a:cubicBezTo>
                  <a:cubicBezTo>
                    <a:pt x="12409" y="14486"/>
                    <a:pt x="12102" y="14616"/>
                    <a:pt x="12102" y="14616"/>
                  </a:cubicBezTo>
                  <a:cubicBezTo>
                    <a:pt x="11949" y="14616"/>
                    <a:pt x="11949" y="14357"/>
                    <a:pt x="11949" y="14357"/>
                  </a:cubicBezTo>
                  <a:cubicBezTo>
                    <a:pt x="11949" y="14357"/>
                    <a:pt x="11643" y="14486"/>
                    <a:pt x="11643" y="14486"/>
                  </a:cubicBezTo>
                  <a:cubicBezTo>
                    <a:pt x="11489" y="14486"/>
                    <a:pt x="11183" y="14486"/>
                    <a:pt x="11183" y="14486"/>
                  </a:cubicBezTo>
                  <a:cubicBezTo>
                    <a:pt x="11183" y="14486"/>
                    <a:pt x="11183" y="14616"/>
                    <a:pt x="11183" y="14616"/>
                  </a:cubicBezTo>
                  <a:cubicBezTo>
                    <a:pt x="11030" y="14745"/>
                    <a:pt x="11183" y="14874"/>
                    <a:pt x="11336" y="14874"/>
                  </a:cubicBezTo>
                  <a:cubicBezTo>
                    <a:pt x="11336" y="15004"/>
                    <a:pt x="11489" y="15262"/>
                    <a:pt x="11489" y="15262"/>
                  </a:cubicBezTo>
                  <a:cubicBezTo>
                    <a:pt x="11643" y="15521"/>
                    <a:pt x="11643" y="15521"/>
                    <a:pt x="11643" y="15521"/>
                  </a:cubicBezTo>
                  <a:cubicBezTo>
                    <a:pt x="11796" y="15650"/>
                    <a:pt x="11796" y="15650"/>
                    <a:pt x="11796" y="15650"/>
                  </a:cubicBezTo>
                  <a:close/>
                  <a:moveTo>
                    <a:pt x="11489" y="13840"/>
                  </a:moveTo>
                  <a:cubicBezTo>
                    <a:pt x="11489" y="13840"/>
                    <a:pt x="11489" y="13840"/>
                    <a:pt x="11489" y="13840"/>
                  </a:cubicBezTo>
                  <a:cubicBezTo>
                    <a:pt x="11796" y="13840"/>
                    <a:pt x="11796" y="13840"/>
                    <a:pt x="11796" y="13840"/>
                  </a:cubicBezTo>
                  <a:cubicBezTo>
                    <a:pt x="11949" y="13581"/>
                    <a:pt x="11949" y="13581"/>
                    <a:pt x="11949" y="13581"/>
                  </a:cubicBezTo>
                  <a:cubicBezTo>
                    <a:pt x="11949" y="13581"/>
                    <a:pt x="12102" y="13451"/>
                    <a:pt x="12102" y="13322"/>
                  </a:cubicBezTo>
                  <a:cubicBezTo>
                    <a:pt x="12102" y="13322"/>
                    <a:pt x="12102" y="13193"/>
                    <a:pt x="12102" y="13193"/>
                  </a:cubicBezTo>
                  <a:cubicBezTo>
                    <a:pt x="12102" y="12934"/>
                    <a:pt x="12102" y="12934"/>
                    <a:pt x="12102" y="12934"/>
                  </a:cubicBezTo>
                  <a:cubicBezTo>
                    <a:pt x="11949" y="12805"/>
                    <a:pt x="11949" y="12805"/>
                    <a:pt x="11949" y="12805"/>
                  </a:cubicBezTo>
                  <a:cubicBezTo>
                    <a:pt x="11796" y="12546"/>
                    <a:pt x="11796" y="12546"/>
                    <a:pt x="11796" y="12546"/>
                  </a:cubicBezTo>
                  <a:cubicBezTo>
                    <a:pt x="11643" y="12158"/>
                    <a:pt x="11643" y="12158"/>
                    <a:pt x="11643" y="12158"/>
                  </a:cubicBezTo>
                  <a:cubicBezTo>
                    <a:pt x="11336" y="12158"/>
                    <a:pt x="11336" y="12158"/>
                    <a:pt x="11336" y="12158"/>
                  </a:cubicBezTo>
                  <a:cubicBezTo>
                    <a:pt x="11336" y="12158"/>
                    <a:pt x="11336" y="12417"/>
                    <a:pt x="11336" y="12417"/>
                  </a:cubicBezTo>
                  <a:cubicBezTo>
                    <a:pt x="11336" y="12546"/>
                    <a:pt x="11489" y="12675"/>
                    <a:pt x="11489" y="12675"/>
                  </a:cubicBezTo>
                  <a:cubicBezTo>
                    <a:pt x="11643" y="12805"/>
                    <a:pt x="11643" y="12805"/>
                    <a:pt x="11643" y="12805"/>
                  </a:cubicBezTo>
                  <a:cubicBezTo>
                    <a:pt x="11643" y="12934"/>
                    <a:pt x="11643" y="12934"/>
                    <a:pt x="11643" y="12934"/>
                  </a:cubicBezTo>
                  <a:cubicBezTo>
                    <a:pt x="11489" y="13063"/>
                    <a:pt x="11489" y="13063"/>
                    <a:pt x="11489" y="13063"/>
                  </a:cubicBezTo>
                  <a:cubicBezTo>
                    <a:pt x="11336" y="13322"/>
                    <a:pt x="11336" y="13322"/>
                    <a:pt x="11336" y="13322"/>
                  </a:cubicBezTo>
                  <a:cubicBezTo>
                    <a:pt x="11489" y="13581"/>
                    <a:pt x="11489" y="13581"/>
                    <a:pt x="11489" y="13581"/>
                  </a:cubicBezTo>
                  <a:cubicBezTo>
                    <a:pt x="11489" y="13840"/>
                    <a:pt x="11489" y="13840"/>
                    <a:pt x="11489" y="13840"/>
                  </a:cubicBezTo>
                  <a:close/>
                  <a:moveTo>
                    <a:pt x="12255" y="20307"/>
                  </a:moveTo>
                  <a:cubicBezTo>
                    <a:pt x="12255" y="20307"/>
                    <a:pt x="12255" y="20307"/>
                    <a:pt x="12255" y="20307"/>
                  </a:cubicBezTo>
                  <a:cubicBezTo>
                    <a:pt x="12409" y="20695"/>
                    <a:pt x="12409" y="20695"/>
                    <a:pt x="12409" y="20695"/>
                  </a:cubicBezTo>
                  <a:cubicBezTo>
                    <a:pt x="12562" y="20953"/>
                    <a:pt x="12562" y="20953"/>
                    <a:pt x="12562" y="20953"/>
                  </a:cubicBezTo>
                  <a:cubicBezTo>
                    <a:pt x="12562" y="20953"/>
                    <a:pt x="12868" y="21083"/>
                    <a:pt x="12868" y="20953"/>
                  </a:cubicBezTo>
                  <a:cubicBezTo>
                    <a:pt x="12868" y="20824"/>
                    <a:pt x="12715" y="20695"/>
                    <a:pt x="12868" y="20565"/>
                  </a:cubicBezTo>
                  <a:cubicBezTo>
                    <a:pt x="12868" y="20436"/>
                    <a:pt x="13021" y="20177"/>
                    <a:pt x="13021" y="20048"/>
                  </a:cubicBezTo>
                  <a:cubicBezTo>
                    <a:pt x="13021" y="19919"/>
                    <a:pt x="13174" y="19789"/>
                    <a:pt x="13174" y="19660"/>
                  </a:cubicBezTo>
                  <a:cubicBezTo>
                    <a:pt x="13328" y="19531"/>
                    <a:pt x="13481" y="19272"/>
                    <a:pt x="13481" y="19143"/>
                  </a:cubicBezTo>
                  <a:cubicBezTo>
                    <a:pt x="13481" y="19143"/>
                    <a:pt x="13634" y="18884"/>
                    <a:pt x="13634" y="18754"/>
                  </a:cubicBezTo>
                  <a:cubicBezTo>
                    <a:pt x="13634" y="18754"/>
                    <a:pt x="13634" y="18366"/>
                    <a:pt x="13634" y="18366"/>
                  </a:cubicBezTo>
                  <a:cubicBezTo>
                    <a:pt x="13634" y="18366"/>
                    <a:pt x="13481" y="17978"/>
                    <a:pt x="13481" y="17978"/>
                  </a:cubicBezTo>
                  <a:cubicBezTo>
                    <a:pt x="13328" y="18237"/>
                    <a:pt x="13328" y="18237"/>
                    <a:pt x="13328" y="18237"/>
                  </a:cubicBezTo>
                  <a:cubicBezTo>
                    <a:pt x="13328" y="18496"/>
                    <a:pt x="13328" y="18496"/>
                    <a:pt x="13328" y="18496"/>
                  </a:cubicBezTo>
                  <a:cubicBezTo>
                    <a:pt x="13021" y="19013"/>
                    <a:pt x="13021" y="19013"/>
                    <a:pt x="13021" y="19013"/>
                  </a:cubicBezTo>
                  <a:cubicBezTo>
                    <a:pt x="12868" y="19272"/>
                    <a:pt x="12868" y="19272"/>
                    <a:pt x="12868" y="19272"/>
                  </a:cubicBezTo>
                  <a:cubicBezTo>
                    <a:pt x="12562" y="19531"/>
                    <a:pt x="12562" y="19531"/>
                    <a:pt x="12562" y="19531"/>
                  </a:cubicBezTo>
                  <a:cubicBezTo>
                    <a:pt x="12562" y="19660"/>
                    <a:pt x="12562" y="19660"/>
                    <a:pt x="12562" y="19660"/>
                  </a:cubicBezTo>
                  <a:cubicBezTo>
                    <a:pt x="12562" y="19919"/>
                    <a:pt x="12562" y="19919"/>
                    <a:pt x="12562" y="19919"/>
                  </a:cubicBezTo>
                  <a:cubicBezTo>
                    <a:pt x="12409" y="20048"/>
                    <a:pt x="12409" y="20048"/>
                    <a:pt x="12409" y="20048"/>
                  </a:cubicBezTo>
                  <a:cubicBezTo>
                    <a:pt x="12409" y="20177"/>
                    <a:pt x="12409" y="20177"/>
                    <a:pt x="12409" y="20177"/>
                  </a:cubicBezTo>
                  <a:cubicBezTo>
                    <a:pt x="12255" y="20307"/>
                    <a:pt x="12255" y="20307"/>
                    <a:pt x="12255" y="20307"/>
                  </a:cubicBezTo>
                  <a:close/>
                  <a:moveTo>
                    <a:pt x="11489" y="19143"/>
                  </a:moveTo>
                  <a:cubicBezTo>
                    <a:pt x="11489" y="19143"/>
                    <a:pt x="11489" y="19143"/>
                    <a:pt x="11489" y="19143"/>
                  </a:cubicBezTo>
                  <a:cubicBezTo>
                    <a:pt x="11643" y="19272"/>
                    <a:pt x="11643" y="19272"/>
                    <a:pt x="11643" y="19272"/>
                  </a:cubicBezTo>
                  <a:cubicBezTo>
                    <a:pt x="11643" y="19272"/>
                    <a:pt x="11796" y="19660"/>
                    <a:pt x="11949" y="19660"/>
                  </a:cubicBezTo>
                  <a:cubicBezTo>
                    <a:pt x="11949" y="19660"/>
                    <a:pt x="12409" y="19272"/>
                    <a:pt x="12409" y="19272"/>
                  </a:cubicBezTo>
                  <a:cubicBezTo>
                    <a:pt x="12409" y="19013"/>
                    <a:pt x="12409" y="19013"/>
                    <a:pt x="12409" y="19013"/>
                  </a:cubicBezTo>
                  <a:cubicBezTo>
                    <a:pt x="12562" y="18754"/>
                    <a:pt x="12562" y="18754"/>
                    <a:pt x="12562" y="18754"/>
                  </a:cubicBezTo>
                  <a:cubicBezTo>
                    <a:pt x="12102" y="18884"/>
                    <a:pt x="12102" y="18884"/>
                    <a:pt x="12102" y="18884"/>
                  </a:cubicBezTo>
                  <a:cubicBezTo>
                    <a:pt x="11796" y="19143"/>
                    <a:pt x="11796" y="19143"/>
                    <a:pt x="11796" y="19143"/>
                  </a:cubicBezTo>
                  <a:cubicBezTo>
                    <a:pt x="11489" y="19143"/>
                    <a:pt x="11489" y="19143"/>
                    <a:pt x="11489" y="19143"/>
                  </a:cubicBezTo>
                  <a:close/>
                  <a:moveTo>
                    <a:pt x="10111" y="19401"/>
                  </a:moveTo>
                  <a:cubicBezTo>
                    <a:pt x="10111" y="19401"/>
                    <a:pt x="10111" y="19401"/>
                    <a:pt x="10111" y="19401"/>
                  </a:cubicBezTo>
                  <a:cubicBezTo>
                    <a:pt x="10111" y="19401"/>
                    <a:pt x="10264" y="19789"/>
                    <a:pt x="10264" y="19789"/>
                  </a:cubicBezTo>
                  <a:cubicBezTo>
                    <a:pt x="10417" y="19789"/>
                    <a:pt x="10570" y="19919"/>
                    <a:pt x="10570" y="19919"/>
                  </a:cubicBezTo>
                  <a:cubicBezTo>
                    <a:pt x="10877" y="20177"/>
                    <a:pt x="10877" y="20177"/>
                    <a:pt x="10877" y="20177"/>
                  </a:cubicBezTo>
                  <a:cubicBezTo>
                    <a:pt x="10877" y="20177"/>
                    <a:pt x="10877" y="20307"/>
                    <a:pt x="11030" y="20307"/>
                  </a:cubicBezTo>
                  <a:cubicBezTo>
                    <a:pt x="11030" y="20307"/>
                    <a:pt x="11336" y="20177"/>
                    <a:pt x="11336" y="20177"/>
                  </a:cubicBezTo>
                  <a:cubicBezTo>
                    <a:pt x="11489" y="19919"/>
                    <a:pt x="11489" y="19919"/>
                    <a:pt x="11489" y="19919"/>
                  </a:cubicBezTo>
                  <a:cubicBezTo>
                    <a:pt x="11489" y="19919"/>
                    <a:pt x="11183" y="19919"/>
                    <a:pt x="11183" y="19919"/>
                  </a:cubicBezTo>
                  <a:cubicBezTo>
                    <a:pt x="11030" y="19919"/>
                    <a:pt x="10877" y="19660"/>
                    <a:pt x="10877" y="19660"/>
                  </a:cubicBezTo>
                  <a:cubicBezTo>
                    <a:pt x="10877" y="19660"/>
                    <a:pt x="10723" y="19660"/>
                    <a:pt x="10723" y="19660"/>
                  </a:cubicBezTo>
                  <a:cubicBezTo>
                    <a:pt x="10570" y="19660"/>
                    <a:pt x="10264" y="19401"/>
                    <a:pt x="10264" y="19401"/>
                  </a:cubicBezTo>
                  <a:cubicBezTo>
                    <a:pt x="10111" y="19401"/>
                    <a:pt x="10111" y="19401"/>
                    <a:pt x="10111" y="19401"/>
                  </a:cubicBezTo>
                  <a:close/>
                  <a:moveTo>
                    <a:pt x="7660" y="19013"/>
                  </a:moveTo>
                  <a:cubicBezTo>
                    <a:pt x="7660" y="19013"/>
                    <a:pt x="7660" y="19013"/>
                    <a:pt x="7660" y="19013"/>
                  </a:cubicBezTo>
                  <a:cubicBezTo>
                    <a:pt x="7966" y="19143"/>
                    <a:pt x="7966" y="19143"/>
                    <a:pt x="7966" y="19143"/>
                  </a:cubicBezTo>
                  <a:cubicBezTo>
                    <a:pt x="8119" y="19272"/>
                    <a:pt x="8119" y="19272"/>
                    <a:pt x="8119" y="19272"/>
                  </a:cubicBezTo>
                  <a:cubicBezTo>
                    <a:pt x="8426" y="19401"/>
                    <a:pt x="8426" y="19401"/>
                    <a:pt x="8426" y="19401"/>
                  </a:cubicBezTo>
                  <a:cubicBezTo>
                    <a:pt x="8119" y="19660"/>
                    <a:pt x="8119" y="19660"/>
                    <a:pt x="8119" y="19660"/>
                  </a:cubicBezTo>
                  <a:cubicBezTo>
                    <a:pt x="8119" y="19660"/>
                    <a:pt x="8272" y="19919"/>
                    <a:pt x="8426" y="19789"/>
                  </a:cubicBezTo>
                  <a:cubicBezTo>
                    <a:pt x="8579" y="19789"/>
                    <a:pt x="8579" y="19789"/>
                    <a:pt x="8579" y="19789"/>
                  </a:cubicBezTo>
                  <a:cubicBezTo>
                    <a:pt x="8579" y="19789"/>
                    <a:pt x="8885" y="19919"/>
                    <a:pt x="8885" y="19919"/>
                  </a:cubicBezTo>
                  <a:cubicBezTo>
                    <a:pt x="9038" y="20048"/>
                    <a:pt x="9191" y="20048"/>
                    <a:pt x="9345" y="20048"/>
                  </a:cubicBezTo>
                  <a:cubicBezTo>
                    <a:pt x="9498" y="20048"/>
                    <a:pt x="9498" y="19919"/>
                    <a:pt x="9498" y="19919"/>
                  </a:cubicBezTo>
                  <a:cubicBezTo>
                    <a:pt x="9498" y="19789"/>
                    <a:pt x="9498" y="19660"/>
                    <a:pt x="9498" y="19660"/>
                  </a:cubicBezTo>
                  <a:cubicBezTo>
                    <a:pt x="9345" y="19401"/>
                    <a:pt x="9345" y="19401"/>
                    <a:pt x="9345" y="19401"/>
                  </a:cubicBezTo>
                  <a:cubicBezTo>
                    <a:pt x="9191" y="19143"/>
                    <a:pt x="9191" y="19143"/>
                    <a:pt x="9191" y="19143"/>
                  </a:cubicBezTo>
                  <a:cubicBezTo>
                    <a:pt x="8579" y="19013"/>
                    <a:pt x="8579" y="19013"/>
                    <a:pt x="8579" y="19013"/>
                  </a:cubicBezTo>
                  <a:cubicBezTo>
                    <a:pt x="8272" y="18754"/>
                    <a:pt x="8272" y="18754"/>
                    <a:pt x="8272" y="18754"/>
                  </a:cubicBezTo>
                  <a:cubicBezTo>
                    <a:pt x="7813" y="18625"/>
                    <a:pt x="7813" y="18625"/>
                    <a:pt x="7813" y="18625"/>
                  </a:cubicBezTo>
                  <a:cubicBezTo>
                    <a:pt x="7660" y="18625"/>
                    <a:pt x="7660" y="18625"/>
                    <a:pt x="7660" y="18625"/>
                  </a:cubicBezTo>
                  <a:cubicBezTo>
                    <a:pt x="7660" y="19013"/>
                    <a:pt x="7660" y="19013"/>
                    <a:pt x="7660" y="19013"/>
                  </a:cubicBezTo>
                  <a:close/>
                  <a:moveTo>
                    <a:pt x="12715" y="3234"/>
                  </a:moveTo>
                  <a:cubicBezTo>
                    <a:pt x="12715" y="3234"/>
                    <a:pt x="12715" y="3234"/>
                    <a:pt x="12715" y="3234"/>
                  </a:cubicBezTo>
                  <a:cubicBezTo>
                    <a:pt x="12715" y="3363"/>
                    <a:pt x="12715" y="3363"/>
                    <a:pt x="12715" y="3363"/>
                  </a:cubicBezTo>
                  <a:cubicBezTo>
                    <a:pt x="12715" y="3363"/>
                    <a:pt x="12868" y="3363"/>
                    <a:pt x="12868" y="3363"/>
                  </a:cubicBezTo>
                  <a:cubicBezTo>
                    <a:pt x="12868" y="3363"/>
                    <a:pt x="13021" y="3363"/>
                    <a:pt x="13021" y="3363"/>
                  </a:cubicBezTo>
                  <a:cubicBezTo>
                    <a:pt x="13021" y="3363"/>
                    <a:pt x="13328" y="3492"/>
                    <a:pt x="13328" y="3492"/>
                  </a:cubicBezTo>
                  <a:cubicBezTo>
                    <a:pt x="13328" y="3622"/>
                    <a:pt x="13481" y="3492"/>
                    <a:pt x="13481" y="3492"/>
                  </a:cubicBezTo>
                  <a:cubicBezTo>
                    <a:pt x="13634" y="3492"/>
                    <a:pt x="13634" y="3363"/>
                    <a:pt x="13634" y="3234"/>
                  </a:cubicBezTo>
                  <a:cubicBezTo>
                    <a:pt x="13634" y="3234"/>
                    <a:pt x="13787" y="3104"/>
                    <a:pt x="13787" y="3104"/>
                  </a:cubicBezTo>
                  <a:cubicBezTo>
                    <a:pt x="13787" y="3104"/>
                    <a:pt x="14247" y="2846"/>
                    <a:pt x="14247" y="2846"/>
                  </a:cubicBezTo>
                  <a:cubicBezTo>
                    <a:pt x="14247" y="2716"/>
                    <a:pt x="13940" y="2716"/>
                    <a:pt x="13940" y="2716"/>
                  </a:cubicBezTo>
                  <a:cubicBezTo>
                    <a:pt x="13940" y="2716"/>
                    <a:pt x="13481" y="2846"/>
                    <a:pt x="13481" y="2846"/>
                  </a:cubicBezTo>
                  <a:cubicBezTo>
                    <a:pt x="13481" y="2846"/>
                    <a:pt x="13021" y="2975"/>
                    <a:pt x="13021" y="2975"/>
                  </a:cubicBezTo>
                  <a:lnTo>
                    <a:pt x="12715" y="3234"/>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5" name="Shape 2238">
              <a:extLst>
                <a:ext uri="{FF2B5EF4-FFF2-40B4-BE49-F238E27FC236}">
                  <a16:creationId xmlns:a16="http://schemas.microsoft.com/office/drawing/2014/main" id="{3777C53D-46B8-F2C6-E6EE-49F93295B383}"/>
                </a:ext>
              </a:extLst>
            </p:cNvPr>
            <p:cNvSpPr/>
            <p:nvPr/>
          </p:nvSpPr>
          <p:spPr>
            <a:xfrm>
              <a:off x="2781744" y="4442588"/>
              <a:ext cx="558434" cy="636034"/>
            </a:xfrm>
            <a:custGeom>
              <a:avLst/>
              <a:gdLst/>
              <a:ahLst/>
              <a:cxnLst>
                <a:cxn ang="0">
                  <a:pos x="wd2" y="hd2"/>
                </a:cxn>
                <a:cxn ang="5400000">
                  <a:pos x="wd2" y="hd2"/>
                </a:cxn>
                <a:cxn ang="10800000">
                  <a:pos x="wd2" y="hd2"/>
                </a:cxn>
                <a:cxn ang="16200000">
                  <a:pos x="wd2" y="hd2"/>
                </a:cxn>
              </a:cxnLst>
              <a:rect l="0" t="0" r="r" b="b"/>
              <a:pathLst>
                <a:path w="21512" h="21600" extrusionOk="0">
                  <a:moveTo>
                    <a:pt x="11435" y="4755"/>
                  </a:moveTo>
                  <a:cubicBezTo>
                    <a:pt x="11276" y="4483"/>
                    <a:pt x="11276" y="4483"/>
                    <a:pt x="11276" y="4483"/>
                  </a:cubicBezTo>
                  <a:cubicBezTo>
                    <a:pt x="10959" y="4483"/>
                    <a:pt x="10959" y="4483"/>
                    <a:pt x="10959" y="4483"/>
                  </a:cubicBezTo>
                  <a:cubicBezTo>
                    <a:pt x="10482" y="4755"/>
                    <a:pt x="10482" y="4755"/>
                    <a:pt x="10482" y="4755"/>
                  </a:cubicBezTo>
                  <a:cubicBezTo>
                    <a:pt x="10482" y="4483"/>
                    <a:pt x="10482" y="4483"/>
                    <a:pt x="10482" y="4483"/>
                  </a:cubicBezTo>
                  <a:cubicBezTo>
                    <a:pt x="11118" y="4211"/>
                    <a:pt x="11118" y="4211"/>
                    <a:pt x="11118" y="4211"/>
                  </a:cubicBezTo>
                  <a:cubicBezTo>
                    <a:pt x="11435" y="4075"/>
                    <a:pt x="11435" y="4075"/>
                    <a:pt x="11435" y="4075"/>
                  </a:cubicBezTo>
                  <a:cubicBezTo>
                    <a:pt x="11594" y="3804"/>
                    <a:pt x="11594" y="3804"/>
                    <a:pt x="11594" y="3804"/>
                  </a:cubicBezTo>
                  <a:cubicBezTo>
                    <a:pt x="11912" y="3396"/>
                    <a:pt x="11912" y="3396"/>
                    <a:pt x="11912" y="3396"/>
                  </a:cubicBezTo>
                  <a:cubicBezTo>
                    <a:pt x="11912" y="3396"/>
                    <a:pt x="12229" y="3125"/>
                    <a:pt x="12388" y="2989"/>
                  </a:cubicBezTo>
                  <a:cubicBezTo>
                    <a:pt x="12547" y="2989"/>
                    <a:pt x="13182" y="2717"/>
                    <a:pt x="13182" y="2717"/>
                  </a:cubicBezTo>
                  <a:cubicBezTo>
                    <a:pt x="13182" y="2717"/>
                    <a:pt x="13818" y="2445"/>
                    <a:pt x="13976" y="2445"/>
                  </a:cubicBezTo>
                  <a:cubicBezTo>
                    <a:pt x="14135" y="2445"/>
                    <a:pt x="15247" y="2309"/>
                    <a:pt x="15247" y="2309"/>
                  </a:cubicBezTo>
                  <a:cubicBezTo>
                    <a:pt x="16359" y="2581"/>
                    <a:pt x="16359" y="2581"/>
                    <a:pt x="16359" y="2581"/>
                  </a:cubicBezTo>
                  <a:cubicBezTo>
                    <a:pt x="16359" y="2581"/>
                    <a:pt x="16676" y="2309"/>
                    <a:pt x="16994" y="2309"/>
                  </a:cubicBezTo>
                  <a:cubicBezTo>
                    <a:pt x="16994" y="2309"/>
                    <a:pt x="17312" y="2445"/>
                    <a:pt x="17471" y="2445"/>
                  </a:cubicBezTo>
                  <a:cubicBezTo>
                    <a:pt x="17629" y="2445"/>
                    <a:pt x="17947" y="2309"/>
                    <a:pt x="17947" y="2309"/>
                  </a:cubicBezTo>
                  <a:cubicBezTo>
                    <a:pt x="18582" y="2309"/>
                    <a:pt x="18582" y="2309"/>
                    <a:pt x="18582" y="2309"/>
                  </a:cubicBezTo>
                  <a:cubicBezTo>
                    <a:pt x="19059" y="2853"/>
                    <a:pt x="19059" y="2853"/>
                    <a:pt x="19059" y="2853"/>
                  </a:cubicBezTo>
                  <a:cubicBezTo>
                    <a:pt x="19218" y="3396"/>
                    <a:pt x="19218" y="3396"/>
                    <a:pt x="19218" y="3396"/>
                  </a:cubicBezTo>
                  <a:cubicBezTo>
                    <a:pt x="20012" y="3532"/>
                    <a:pt x="20012" y="3532"/>
                    <a:pt x="20012" y="3532"/>
                  </a:cubicBezTo>
                  <a:cubicBezTo>
                    <a:pt x="20012" y="3532"/>
                    <a:pt x="19853" y="3804"/>
                    <a:pt x="19853" y="3940"/>
                  </a:cubicBezTo>
                  <a:cubicBezTo>
                    <a:pt x="20012" y="3940"/>
                    <a:pt x="20488" y="4075"/>
                    <a:pt x="20488" y="4075"/>
                  </a:cubicBezTo>
                  <a:cubicBezTo>
                    <a:pt x="20488" y="4211"/>
                    <a:pt x="20488" y="4211"/>
                    <a:pt x="20488" y="4211"/>
                  </a:cubicBezTo>
                  <a:cubicBezTo>
                    <a:pt x="20488" y="4211"/>
                    <a:pt x="20488" y="4755"/>
                    <a:pt x="20488" y="4891"/>
                  </a:cubicBezTo>
                  <a:cubicBezTo>
                    <a:pt x="20488" y="5026"/>
                    <a:pt x="20488" y="5842"/>
                    <a:pt x="20488" y="5842"/>
                  </a:cubicBezTo>
                  <a:cubicBezTo>
                    <a:pt x="20488" y="5842"/>
                    <a:pt x="20012" y="6657"/>
                    <a:pt x="19853" y="6657"/>
                  </a:cubicBezTo>
                  <a:cubicBezTo>
                    <a:pt x="19694" y="6792"/>
                    <a:pt x="19853" y="7336"/>
                    <a:pt x="19853" y="7336"/>
                  </a:cubicBezTo>
                  <a:cubicBezTo>
                    <a:pt x="19694" y="8015"/>
                    <a:pt x="19694" y="8015"/>
                    <a:pt x="19694" y="8015"/>
                  </a:cubicBezTo>
                  <a:cubicBezTo>
                    <a:pt x="19694" y="8015"/>
                    <a:pt x="19694" y="8558"/>
                    <a:pt x="19535" y="8423"/>
                  </a:cubicBezTo>
                  <a:cubicBezTo>
                    <a:pt x="19376" y="8423"/>
                    <a:pt x="18582" y="8151"/>
                    <a:pt x="18582" y="8151"/>
                  </a:cubicBezTo>
                  <a:cubicBezTo>
                    <a:pt x="17947" y="8287"/>
                    <a:pt x="17947" y="8287"/>
                    <a:pt x="17947" y="8287"/>
                  </a:cubicBezTo>
                  <a:cubicBezTo>
                    <a:pt x="17947" y="8694"/>
                    <a:pt x="17947" y="8694"/>
                    <a:pt x="17947" y="8694"/>
                  </a:cubicBezTo>
                  <a:cubicBezTo>
                    <a:pt x="18265" y="8830"/>
                    <a:pt x="18265" y="8830"/>
                    <a:pt x="18265" y="8830"/>
                  </a:cubicBezTo>
                  <a:cubicBezTo>
                    <a:pt x="17788" y="8830"/>
                    <a:pt x="17788" y="8830"/>
                    <a:pt x="17788" y="8830"/>
                  </a:cubicBezTo>
                  <a:cubicBezTo>
                    <a:pt x="17788" y="9102"/>
                    <a:pt x="17788" y="9102"/>
                    <a:pt x="17788" y="9102"/>
                  </a:cubicBezTo>
                  <a:cubicBezTo>
                    <a:pt x="17788" y="9102"/>
                    <a:pt x="17947" y="9374"/>
                    <a:pt x="18106" y="9509"/>
                  </a:cubicBezTo>
                  <a:cubicBezTo>
                    <a:pt x="18106" y="9645"/>
                    <a:pt x="18582" y="9645"/>
                    <a:pt x="18582" y="9645"/>
                  </a:cubicBezTo>
                  <a:cubicBezTo>
                    <a:pt x="18900" y="9917"/>
                    <a:pt x="18900" y="9917"/>
                    <a:pt x="18900" y="9917"/>
                  </a:cubicBezTo>
                  <a:cubicBezTo>
                    <a:pt x="19376" y="9781"/>
                    <a:pt x="19376" y="9781"/>
                    <a:pt x="19376" y="9781"/>
                  </a:cubicBezTo>
                  <a:cubicBezTo>
                    <a:pt x="19694" y="10325"/>
                    <a:pt x="19694" y="10325"/>
                    <a:pt x="19694" y="10325"/>
                  </a:cubicBezTo>
                  <a:cubicBezTo>
                    <a:pt x="19535" y="10596"/>
                    <a:pt x="19535" y="10596"/>
                    <a:pt x="19535" y="10596"/>
                  </a:cubicBezTo>
                  <a:cubicBezTo>
                    <a:pt x="19535" y="10596"/>
                    <a:pt x="19535" y="10868"/>
                    <a:pt x="19535" y="11004"/>
                  </a:cubicBezTo>
                  <a:cubicBezTo>
                    <a:pt x="19535" y="11140"/>
                    <a:pt x="19694" y="11275"/>
                    <a:pt x="19535" y="11275"/>
                  </a:cubicBezTo>
                  <a:cubicBezTo>
                    <a:pt x="19535" y="11275"/>
                    <a:pt x="19218" y="11411"/>
                    <a:pt x="19218" y="11411"/>
                  </a:cubicBezTo>
                  <a:cubicBezTo>
                    <a:pt x="19059" y="11683"/>
                    <a:pt x="19059" y="11683"/>
                    <a:pt x="19059" y="11683"/>
                  </a:cubicBezTo>
                  <a:cubicBezTo>
                    <a:pt x="19059" y="11683"/>
                    <a:pt x="18741" y="11819"/>
                    <a:pt x="18582" y="11819"/>
                  </a:cubicBezTo>
                  <a:cubicBezTo>
                    <a:pt x="18424" y="11955"/>
                    <a:pt x="18424" y="11955"/>
                    <a:pt x="18424" y="12091"/>
                  </a:cubicBezTo>
                  <a:cubicBezTo>
                    <a:pt x="18424" y="12091"/>
                    <a:pt x="17788" y="11955"/>
                    <a:pt x="17788" y="11955"/>
                  </a:cubicBezTo>
                  <a:cubicBezTo>
                    <a:pt x="17788" y="12362"/>
                    <a:pt x="17788" y="12362"/>
                    <a:pt x="17788" y="12362"/>
                  </a:cubicBezTo>
                  <a:cubicBezTo>
                    <a:pt x="17471" y="12362"/>
                    <a:pt x="17471" y="12362"/>
                    <a:pt x="17471" y="12362"/>
                  </a:cubicBezTo>
                  <a:cubicBezTo>
                    <a:pt x="17788" y="12770"/>
                    <a:pt x="17788" y="12770"/>
                    <a:pt x="17788" y="12770"/>
                  </a:cubicBezTo>
                  <a:cubicBezTo>
                    <a:pt x="18265" y="13042"/>
                    <a:pt x="18265" y="13042"/>
                    <a:pt x="18265" y="13042"/>
                  </a:cubicBezTo>
                  <a:cubicBezTo>
                    <a:pt x="18106" y="13177"/>
                    <a:pt x="18106" y="13177"/>
                    <a:pt x="18106" y="13177"/>
                  </a:cubicBezTo>
                  <a:cubicBezTo>
                    <a:pt x="17788" y="13313"/>
                    <a:pt x="17788" y="13313"/>
                    <a:pt x="17788" y="13313"/>
                  </a:cubicBezTo>
                  <a:cubicBezTo>
                    <a:pt x="17629" y="13585"/>
                    <a:pt x="17629" y="13585"/>
                    <a:pt x="17629" y="13585"/>
                  </a:cubicBezTo>
                  <a:cubicBezTo>
                    <a:pt x="17153" y="13585"/>
                    <a:pt x="17153" y="13585"/>
                    <a:pt x="17153" y="13585"/>
                  </a:cubicBezTo>
                  <a:cubicBezTo>
                    <a:pt x="16676" y="13721"/>
                    <a:pt x="16676" y="13721"/>
                    <a:pt x="16676" y="13721"/>
                  </a:cubicBezTo>
                  <a:cubicBezTo>
                    <a:pt x="16518" y="13721"/>
                    <a:pt x="16518" y="13721"/>
                    <a:pt x="16518" y="13721"/>
                  </a:cubicBezTo>
                  <a:cubicBezTo>
                    <a:pt x="16041" y="13721"/>
                    <a:pt x="16041" y="13721"/>
                    <a:pt x="16041" y="13721"/>
                  </a:cubicBezTo>
                  <a:cubicBezTo>
                    <a:pt x="15882" y="13992"/>
                    <a:pt x="15882" y="13992"/>
                    <a:pt x="15882" y="13992"/>
                  </a:cubicBezTo>
                  <a:cubicBezTo>
                    <a:pt x="15724" y="13721"/>
                    <a:pt x="15724" y="13721"/>
                    <a:pt x="15724" y="13721"/>
                  </a:cubicBezTo>
                  <a:cubicBezTo>
                    <a:pt x="15247" y="13585"/>
                    <a:pt x="15247" y="13585"/>
                    <a:pt x="15247" y="13585"/>
                  </a:cubicBezTo>
                  <a:cubicBezTo>
                    <a:pt x="14929" y="13313"/>
                    <a:pt x="14929" y="13313"/>
                    <a:pt x="14929" y="13313"/>
                  </a:cubicBezTo>
                  <a:cubicBezTo>
                    <a:pt x="14453" y="13449"/>
                    <a:pt x="14453" y="13449"/>
                    <a:pt x="14453" y="13449"/>
                  </a:cubicBezTo>
                  <a:cubicBezTo>
                    <a:pt x="14929" y="13721"/>
                    <a:pt x="14929" y="13721"/>
                    <a:pt x="14929" y="13721"/>
                  </a:cubicBezTo>
                  <a:cubicBezTo>
                    <a:pt x="14612" y="13721"/>
                    <a:pt x="14612" y="13721"/>
                    <a:pt x="14612" y="13721"/>
                  </a:cubicBezTo>
                  <a:cubicBezTo>
                    <a:pt x="13818" y="13585"/>
                    <a:pt x="13818" y="13585"/>
                    <a:pt x="13818" y="13585"/>
                  </a:cubicBezTo>
                  <a:cubicBezTo>
                    <a:pt x="13818" y="13992"/>
                    <a:pt x="13818" y="13992"/>
                    <a:pt x="13818" y="13992"/>
                  </a:cubicBezTo>
                  <a:cubicBezTo>
                    <a:pt x="13818" y="14264"/>
                    <a:pt x="13818" y="14264"/>
                    <a:pt x="13818" y="14264"/>
                  </a:cubicBezTo>
                  <a:cubicBezTo>
                    <a:pt x="13818" y="14264"/>
                    <a:pt x="13659" y="14400"/>
                    <a:pt x="13818" y="14400"/>
                  </a:cubicBezTo>
                  <a:cubicBezTo>
                    <a:pt x="13976" y="14400"/>
                    <a:pt x="14294" y="14672"/>
                    <a:pt x="14294" y="14672"/>
                  </a:cubicBezTo>
                  <a:cubicBezTo>
                    <a:pt x="14294" y="14943"/>
                    <a:pt x="14294" y="14943"/>
                    <a:pt x="14294" y="14943"/>
                  </a:cubicBezTo>
                  <a:cubicBezTo>
                    <a:pt x="14453" y="15215"/>
                    <a:pt x="14453" y="15215"/>
                    <a:pt x="14453" y="15215"/>
                  </a:cubicBezTo>
                  <a:cubicBezTo>
                    <a:pt x="14453" y="15351"/>
                    <a:pt x="14453" y="15351"/>
                    <a:pt x="14453" y="15351"/>
                  </a:cubicBezTo>
                  <a:cubicBezTo>
                    <a:pt x="14771" y="15758"/>
                    <a:pt x="14771" y="15758"/>
                    <a:pt x="14771" y="15758"/>
                  </a:cubicBezTo>
                  <a:cubicBezTo>
                    <a:pt x="14771" y="16166"/>
                    <a:pt x="14771" y="16166"/>
                    <a:pt x="14771" y="16166"/>
                  </a:cubicBezTo>
                  <a:cubicBezTo>
                    <a:pt x="15088" y="16574"/>
                    <a:pt x="15088" y="16574"/>
                    <a:pt x="15088" y="16574"/>
                  </a:cubicBezTo>
                  <a:cubicBezTo>
                    <a:pt x="14929" y="16981"/>
                    <a:pt x="14929" y="16981"/>
                    <a:pt x="14929" y="16981"/>
                  </a:cubicBezTo>
                  <a:cubicBezTo>
                    <a:pt x="14929" y="16981"/>
                    <a:pt x="15088" y="17253"/>
                    <a:pt x="14929" y="17389"/>
                  </a:cubicBezTo>
                  <a:cubicBezTo>
                    <a:pt x="14929" y="17389"/>
                    <a:pt x="14612" y="17660"/>
                    <a:pt x="14612" y="17660"/>
                  </a:cubicBezTo>
                  <a:cubicBezTo>
                    <a:pt x="14453" y="17932"/>
                    <a:pt x="14453" y="17932"/>
                    <a:pt x="14453" y="17932"/>
                  </a:cubicBezTo>
                  <a:cubicBezTo>
                    <a:pt x="14135" y="18068"/>
                    <a:pt x="14135" y="18068"/>
                    <a:pt x="14135" y="18068"/>
                  </a:cubicBezTo>
                  <a:cubicBezTo>
                    <a:pt x="14135" y="18340"/>
                    <a:pt x="14135" y="18340"/>
                    <a:pt x="14135" y="18340"/>
                  </a:cubicBezTo>
                  <a:cubicBezTo>
                    <a:pt x="14135" y="18340"/>
                    <a:pt x="14135" y="18747"/>
                    <a:pt x="14294" y="18747"/>
                  </a:cubicBezTo>
                  <a:cubicBezTo>
                    <a:pt x="14294" y="18747"/>
                    <a:pt x="14612" y="18475"/>
                    <a:pt x="14612" y="18475"/>
                  </a:cubicBezTo>
                  <a:cubicBezTo>
                    <a:pt x="14612" y="18475"/>
                    <a:pt x="14929" y="18747"/>
                    <a:pt x="14771" y="18883"/>
                  </a:cubicBezTo>
                  <a:cubicBezTo>
                    <a:pt x="14771" y="18883"/>
                    <a:pt x="14135" y="18883"/>
                    <a:pt x="14135" y="18883"/>
                  </a:cubicBezTo>
                  <a:cubicBezTo>
                    <a:pt x="13818" y="18883"/>
                    <a:pt x="13818" y="18883"/>
                    <a:pt x="13818" y="18883"/>
                  </a:cubicBezTo>
                  <a:cubicBezTo>
                    <a:pt x="13818" y="18883"/>
                    <a:pt x="13659" y="19155"/>
                    <a:pt x="13500" y="19155"/>
                  </a:cubicBezTo>
                  <a:cubicBezTo>
                    <a:pt x="13500" y="19291"/>
                    <a:pt x="13500" y="19426"/>
                    <a:pt x="13500" y="19426"/>
                  </a:cubicBezTo>
                  <a:cubicBezTo>
                    <a:pt x="13182" y="19155"/>
                    <a:pt x="13182" y="19155"/>
                    <a:pt x="13182" y="19155"/>
                  </a:cubicBezTo>
                  <a:cubicBezTo>
                    <a:pt x="13024" y="19291"/>
                    <a:pt x="13024" y="19291"/>
                    <a:pt x="13024" y="19291"/>
                  </a:cubicBezTo>
                  <a:cubicBezTo>
                    <a:pt x="13182" y="19562"/>
                    <a:pt x="13182" y="19562"/>
                    <a:pt x="13182" y="19562"/>
                  </a:cubicBezTo>
                  <a:cubicBezTo>
                    <a:pt x="13182" y="19834"/>
                    <a:pt x="13182" y="19834"/>
                    <a:pt x="13182" y="19834"/>
                  </a:cubicBezTo>
                  <a:cubicBezTo>
                    <a:pt x="13182" y="19834"/>
                    <a:pt x="13500" y="19834"/>
                    <a:pt x="13500" y="19834"/>
                  </a:cubicBezTo>
                  <a:cubicBezTo>
                    <a:pt x="13500" y="19834"/>
                    <a:pt x="13818" y="19970"/>
                    <a:pt x="13818" y="19970"/>
                  </a:cubicBezTo>
                  <a:cubicBezTo>
                    <a:pt x="13818" y="19970"/>
                    <a:pt x="13659" y="20106"/>
                    <a:pt x="13818" y="20106"/>
                  </a:cubicBezTo>
                  <a:cubicBezTo>
                    <a:pt x="13818" y="20242"/>
                    <a:pt x="13818" y="20242"/>
                    <a:pt x="13976" y="20242"/>
                  </a:cubicBezTo>
                  <a:cubicBezTo>
                    <a:pt x="14135" y="20377"/>
                    <a:pt x="14135" y="20377"/>
                    <a:pt x="14135" y="20377"/>
                  </a:cubicBezTo>
                  <a:cubicBezTo>
                    <a:pt x="14135" y="20377"/>
                    <a:pt x="14135" y="20649"/>
                    <a:pt x="14135" y="20785"/>
                  </a:cubicBezTo>
                  <a:cubicBezTo>
                    <a:pt x="13976" y="20785"/>
                    <a:pt x="13976" y="20921"/>
                    <a:pt x="13976" y="20921"/>
                  </a:cubicBezTo>
                  <a:cubicBezTo>
                    <a:pt x="13818" y="20921"/>
                    <a:pt x="13818" y="20921"/>
                    <a:pt x="13818" y="20921"/>
                  </a:cubicBezTo>
                  <a:cubicBezTo>
                    <a:pt x="13659" y="21057"/>
                    <a:pt x="13659" y="21192"/>
                    <a:pt x="13659" y="21192"/>
                  </a:cubicBezTo>
                  <a:cubicBezTo>
                    <a:pt x="13659" y="21192"/>
                    <a:pt x="13500" y="21192"/>
                    <a:pt x="13500" y="21192"/>
                  </a:cubicBezTo>
                  <a:cubicBezTo>
                    <a:pt x="13500" y="21328"/>
                    <a:pt x="13659" y="21464"/>
                    <a:pt x="13659" y="21600"/>
                  </a:cubicBezTo>
                  <a:cubicBezTo>
                    <a:pt x="13659" y="21600"/>
                    <a:pt x="13659" y="21600"/>
                    <a:pt x="13500" y="21600"/>
                  </a:cubicBezTo>
                  <a:cubicBezTo>
                    <a:pt x="13500" y="21600"/>
                    <a:pt x="13500" y="21600"/>
                    <a:pt x="13500" y="21600"/>
                  </a:cubicBezTo>
                  <a:cubicBezTo>
                    <a:pt x="13500" y="21600"/>
                    <a:pt x="13182" y="21328"/>
                    <a:pt x="13182" y="21328"/>
                  </a:cubicBezTo>
                  <a:cubicBezTo>
                    <a:pt x="13024" y="21328"/>
                    <a:pt x="12865" y="21464"/>
                    <a:pt x="12547" y="21464"/>
                  </a:cubicBezTo>
                  <a:cubicBezTo>
                    <a:pt x="12388" y="21328"/>
                    <a:pt x="12388" y="21328"/>
                    <a:pt x="12388" y="21328"/>
                  </a:cubicBezTo>
                  <a:cubicBezTo>
                    <a:pt x="11753" y="21464"/>
                    <a:pt x="11753" y="21464"/>
                    <a:pt x="11753" y="21464"/>
                  </a:cubicBezTo>
                  <a:cubicBezTo>
                    <a:pt x="11753" y="21192"/>
                    <a:pt x="11753" y="21192"/>
                    <a:pt x="11753" y="21192"/>
                  </a:cubicBezTo>
                  <a:cubicBezTo>
                    <a:pt x="11594" y="20921"/>
                    <a:pt x="11594" y="20921"/>
                    <a:pt x="11594" y="20921"/>
                  </a:cubicBezTo>
                  <a:cubicBezTo>
                    <a:pt x="11594" y="20921"/>
                    <a:pt x="11594" y="20649"/>
                    <a:pt x="11594" y="20513"/>
                  </a:cubicBezTo>
                  <a:cubicBezTo>
                    <a:pt x="11594" y="20513"/>
                    <a:pt x="11753" y="20377"/>
                    <a:pt x="11753" y="20377"/>
                  </a:cubicBezTo>
                  <a:cubicBezTo>
                    <a:pt x="11912" y="20377"/>
                    <a:pt x="12071" y="20106"/>
                    <a:pt x="12071" y="20106"/>
                  </a:cubicBezTo>
                  <a:cubicBezTo>
                    <a:pt x="12071" y="20106"/>
                    <a:pt x="12229" y="19834"/>
                    <a:pt x="12388" y="19698"/>
                  </a:cubicBezTo>
                  <a:cubicBezTo>
                    <a:pt x="12388" y="19698"/>
                    <a:pt x="12547" y="19291"/>
                    <a:pt x="12547" y="19291"/>
                  </a:cubicBezTo>
                  <a:cubicBezTo>
                    <a:pt x="12547" y="19155"/>
                    <a:pt x="12706" y="19019"/>
                    <a:pt x="12706" y="19019"/>
                  </a:cubicBezTo>
                  <a:cubicBezTo>
                    <a:pt x="12706" y="19019"/>
                    <a:pt x="13024" y="18747"/>
                    <a:pt x="13024" y="18611"/>
                  </a:cubicBezTo>
                  <a:cubicBezTo>
                    <a:pt x="13024" y="18475"/>
                    <a:pt x="12865" y="18475"/>
                    <a:pt x="12706" y="18475"/>
                  </a:cubicBezTo>
                  <a:cubicBezTo>
                    <a:pt x="12706" y="18475"/>
                    <a:pt x="12229" y="18340"/>
                    <a:pt x="12071" y="18204"/>
                  </a:cubicBezTo>
                  <a:cubicBezTo>
                    <a:pt x="11912" y="18204"/>
                    <a:pt x="11594" y="18068"/>
                    <a:pt x="11276" y="18068"/>
                  </a:cubicBezTo>
                  <a:cubicBezTo>
                    <a:pt x="10959" y="17932"/>
                    <a:pt x="11118" y="17932"/>
                    <a:pt x="11276" y="17660"/>
                  </a:cubicBezTo>
                  <a:cubicBezTo>
                    <a:pt x="11276" y="17525"/>
                    <a:pt x="10959" y="17525"/>
                    <a:pt x="10959" y="17389"/>
                  </a:cubicBezTo>
                  <a:cubicBezTo>
                    <a:pt x="10959" y="17389"/>
                    <a:pt x="10800" y="17525"/>
                    <a:pt x="10641" y="17660"/>
                  </a:cubicBezTo>
                  <a:cubicBezTo>
                    <a:pt x="10482" y="17660"/>
                    <a:pt x="10324" y="17525"/>
                    <a:pt x="10165" y="17525"/>
                  </a:cubicBezTo>
                  <a:cubicBezTo>
                    <a:pt x="10165" y="17525"/>
                    <a:pt x="9688" y="17525"/>
                    <a:pt x="9688" y="17525"/>
                  </a:cubicBezTo>
                  <a:cubicBezTo>
                    <a:pt x="9688" y="17525"/>
                    <a:pt x="9688" y="17389"/>
                    <a:pt x="9688" y="17253"/>
                  </a:cubicBezTo>
                  <a:cubicBezTo>
                    <a:pt x="9688" y="17117"/>
                    <a:pt x="9529" y="17117"/>
                    <a:pt x="9529" y="17117"/>
                  </a:cubicBezTo>
                  <a:cubicBezTo>
                    <a:pt x="9529" y="17117"/>
                    <a:pt x="9212" y="17117"/>
                    <a:pt x="9212" y="16981"/>
                  </a:cubicBezTo>
                  <a:cubicBezTo>
                    <a:pt x="9053" y="16981"/>
                    <a:pt x="9212" y="16981"/>
                    <a:pt x="9212" y="16845"/>
                  </a:cubicBezTo>
                  <a:cubicBezTo>
                    <a:pt x="9212" y="16709"/>
                    <a:pt x="9212" y="16845"/>
                    <a:pt x="9053" y="16845"/>
                  </a:cubicBezTo>
                  <a:cubicBezTo>
                    <a:pt x="8894" y="16845"/>
                    <a:pt x="8894" y="16438"/>
                    <a:pt x="8894" y="16438"/>
                  </a:cubicBezTo>
                  <a:cubicBezTo>
                    <a:pt x="8894" y="16438"/>
                    <a:pt x="8735" y="16166"/>
                    <a:pt x="8735" y="16030"/>
                  </a:cubicBezTo>
                  <a:cubicBezTo>
                    <a:pt x="8576" y="15758"/>
                    <a:pt x="8576" y="16030"/>
                    <a:pt x="8576" y="16030"/>
                  </a:cubicBezTo>
                  <a:cubicBezTo>
                    <a:pt x="8259" y="16438"/>
                    <a:pt x="8259" y="16438"/>
                    <a:pt x="8259" y="16438"/>
                  </a:cubicBezTo>
                  <a:cubicBezTo>
                    <a:pt x="8259" y="16438"/>
                    <a:pt x="8100" y="16438"/>
                    <a:pt x="7624" y="16302"/>
                  </a:cubicBezTo>
                  <a:cubicBezTo>
                    <a:pt x="7306" y="16166"/>
                    <a:pt x="7465" y="16166"/>
                    <a:pt x="7465" y="16166"/>
                  </a:cubicBezTo>
                  <a:cubicBezTo>
                    <a:pt x="7782" y="15894"/>
                    <a:pt x="7782" y="15894"/>
                    <a:pt x="7782" y="15894"/>
                  </a:cubicBezTo>
                  <a:cubicBezTo>
                    <a:pt x="7782" y="15894"/>
                    <a:pt x="7465" y="15758"/>
                    <a:pt x="7306" y="15758"/>
                  </a:cubicBezTo>
                  <a:cubicBezTo>
                    <a:pt x="7147" y="15623"/>
                    <a:pt x="7147" y="15623"/>
                    <a:pt x="6988" y="15894"/>
                  </a:cubicBezTo>
                  <a:cubicBezTo>
                    <a:pt x="6829" y="16030"/>
                    <a:pt x="6829" y="16030"/>
                    <a:pt x="6671" y="16166"/>
                  </a:cubicBezTo>
                  <a:cubicBezTo>
                    <a:pt x="6512" y="16302"/>
                    <a:pt x="6512" y="16302"/>
                    <a:pt x="6194" y="16302"/>
                  </a:cubicBezTo>
                  <a:cubicBezTo>
                    <a:pt x="6035" y="16302"/>
                    <a:pt x="6035" y="16166"/>
                    <a:pt x="5876" y="16166"/>
                  </a:cubicBezTo>
                  <a:cubicBezTo>
                    <a:pt x="5876" y="16030"/>
                    <a:pt x="5876" y="16030"/>
                    <a:pt x="5718" y="15894"/>
                  </a:cubicBezTo>
                  <a:cubicBezTo>
                    <a:pt x="5718" y="15758"/>
                    <a:pt x="5559" y="15758"/>
                    <a:pt x="5559" y="15758"/>
                  </a:cubicBezTo>
                  <a:cubicBezTo>
                    <a:pt x="5559" y="15758"/>
                    <a:pt x="5241" y="15894"/>
                    <a:pt x="5241" y="16030"/>
                  </a:cubicBezTo>
                  <a:cubicBezTo>
                    <a:pt x="5082" y="16030"/>
                    <a:pt x="5241" y="16166"/>
                    <a:pt x="5241" y="16302"/>
                  </a:cubicBezTo>
                  <a:cubicBezTo>
                    <a:pt x="5400" y="16438"/>
                    <a:pt x="5241" y="16574"/>
                    <a:pt x="5241" y="16574"/>
                  </a:cubicBezTo>
                  <a:cubicBezTo>
                    <a:pt x="5241" y="16574"/>
                    <a:pt x="4924" y="16574"/>
                    <a:pt x="4765" y="16574"/>
                  </a:cubicBezTo>
                  <a:cubicBezTo>
                    <a:pt x="4606" y="16574"/>
                    <a:pt x="4447" y="16574"/>
                    <a:pt x="4288" y="16438"/>
                  </a:cubicBezTo>
                  <a:cubicBezTo>
                    <a:pt x="3971" y="16302"/>
                    <a:pt x="4129" y="16574"/>
                    <a:pt x="4129" y="16709"/>
                  </a:cubicBezTo>
                  <a:cubicBezTo>
                    <a:pt x="4129" y="16709"/>
                    <a:pt x="3812" y="16981"/>
                    <a:pt x="3812" y="16981"/>
                  </a:cubicBezTo>
                  <a:cubicBezTo>
                    <a:pt x="3812" y="16981"/>
                    <a:pt x="3812" y="16981"/>
                    <a:pt x="3812" y="16981"/>
                  </a:cubicBezTo>
                  <a:cubicBezTo>
                    <a:pt x="3494" y="16981"/>
                    <a:pt x="3176" y="16845"/>
                    <a:pt x="3176" y="16845"/>
                  </a:cubicBezTo>
                  <a:cubicBezTo>
                    <a:pt x="3018" y="16981"/>
                    <a:pt x="3018" y="16981"/>
                    <a:pt x="3018" y="16981"/>
                  </a:cubicBezTo>
                  <a:cubicBezTo>
                    <a:pt x="2541" y="16845"/>
                    <a:pt x="2541" y="16845"/>
                    <a:pt x="2541" y="16845"/>
                  </a:cubicBezTo>
                  <a:cubicBezTo>
                    <a:pt x="2382" y="16845"/>
                    <a:pt x="2382" y="16845"/>
                    <a:pt x="2382" y="16845"/>
                  </a:cubicBezTo>
                  <a:cubicBezTo>
                    <a:pt x="2224" y="16438"/>
                    <a:pt x="2224" y="16438"/>
                    <a:pt x="2224" y="16438"/>
                  </a:cubicBezTo>
                  <a:cubicBezTo>
                    <a:pt x="2065" y="16438"/>
                    <a:pt x="2065" y="16438"/>
                    <a:pt x="2065" y="16438"/>
                  </a:cubicBezTo>
                  <a:cubicBezTo>
                    <a:pt x="1429" y="16166"/>
                    <a:pt x="1429" y="16166"/>
                    <a:pt x="1429" y="16166"/>
                  </a:cubicBezTo>
                  <a:cubicBezTo>
                    <a:pt x="1271" y="16030"/>
                    <a:pt x="1271" y="16030"/>
                    <a:pt x="1271" y="16030"/>
                  </a:cubicBezTo>
                  <a:cubicBezTo>
                    <a:pt x="953" y="16166"/>
                    <a:pt x="953" y="16166"/>
                    <a:pt x="953" y="16166"/>
                  </a:cubicBezTo>
                  <a:cubicBezTo>
                    <a:pt x="794" y="16302"/>
                    <a:pt x="794" y="16302"/>
                    <a:pt x="794" y="16302"/>
                  </a:cubicBezTo>
                  <a:cubicBezTo>
                    <a:pt x="794" y="16302"/>
                    <a:pt x="476" y="16438"/>
                    <a:pt x="318" y="16438"/>
                  </a:cubicBezTo>
                  <a:cubicBezTo>
                    <a:pt x="318" y="16302"/>
                    <a:pt x="0" y="15758"/>
                    <a:pt x="0" y="15758"/>
                  </a:cubicBezTo>
                  <a:cubicBezTo>
                    <a:pt x="159" y="15351"/>
                    <a:pt x="159" y="15351"/>
                    <a:pt x="159" y="15351"/>
                  </a:cubicBezTo>
                  <a:cubicBezTo>
                    <a:pt x="159" y="15351"/>
                    <a:pt x="635" y="15215"/>
                    <a:pt x="635" y="15215"/>
                  </a:cubicBezTo>
                  <a:cubicBezTo>
                    <a:pt x="635" y="15215"/>
                    <a:pt x="953" y="15215"/>
                    <a:pt x="953" y="15215"/>
                  </a:cubicBezTo>
                  <a:cubicBezTo>
                    <a:pt x="953" y="15215"/>
                    <a:pt x="1112" y="15215"/>
                    <a:pt x="1112" y="15351"/>
                  </a:cubicBezTo>
                  <a:cubicBezTo>
                    <a:pt x="1271" y="15351"/>
                    <a:pt x="1588" y="15623"/>
                    <a:pt x="1747" y="15623"/>
                  </a:cubicBezTo>
                  <a:cubicBezTo>
                    <a:pt x="1747" y="15623"/>
                    <a:pt x="2065" y="15758"/>
                    <a:pt x="2065" y="15758"/>
                  </a:cubicBezTo>
                  <a:cubicBezTo>
                    <a:pt x="2224" y="15758"/>
                    <a:pt x="2541" y="15894"/>
                    <a:pt x="2541" y="15894"/>
                  </a:cubicBezTo>
                  <a:cubicBezTo>
                    <a:pt x="2541" y="15894"/>
                    <a:pt x="2859" y="15894"/>
                    <a:pt x="2859" y="15894"/>
                  </a:cubicBezTo>
                  <a:cubicBezTo>
                    <a:pt x="2859" y="15894"/>
                    <a:pt x="3176" y="15758"/>
                    <a:pt x="3176" y="15758"/>
                  </a:cubicBezTo>
                  <a:cubicBezTo>
                    <a:pt x="3176" y="15758"/>
                    <a:pt x="3176" y="15758"/>
                    <a:pt x="3176" y="15758"/>
                  </a:cubicBezTo>
                  <a:cubicBezTo>
                    <a:pt x="3335" y="15623"/>
                    <a:pt x="3335" y="15487"/>
                    <a:pt x="3335" y="15487"/>
                  </a:cubicBezTo>
                  <a:cubicBezTo>
                    <a:pt x="3335" y="15487"/>
                    <a:pt x="3494" y="15487"/>
                    <a:pt x="3494" y="15487"/>
                  </a:cubicBezTo>
                  <a:cubicBezTo>
                    <a:pt x="3494" y="15623"/>
                    <a:pt x="3653" y="15758"/>
                    <a:pt x="3653" y="15758"/>
                  </a:cubicBezTo>
                  <a:cubicBezTo>
                    <a:pt x="3653" y="15758"/>
                    <a:pt x="3812" y="15894"/>
                    <a:pt x="3812" y="15894"/>
                  </a:cubicBezTo>
                  <a:cubicBezTo>
                    <a:pt x="3971" y="16030"/>
                    <a:pt x="4129" y="16030"/>
                    <a:pt x="4129" y="16030"/>
                  </a:cubicBezTo>
                  <a:cubicBezTo>
                    <a:pt x="4129" y="16030"/>
                    <a:pt x="4288" y="15894"/>
                    <a:pt x="4288" y="15894"/>
                  </a:cubicBezTo>
                  <a:cubicBezTo>
                    <a:pt x="4288" y="15894"/>
                    <a:pt x="4447" y="16030"/>
                    <a:pt x="4447" y="15894"/>
                  </a:cubicBezTo>
                  <a:cubicBezTo>
                    <a:pt x="4447" y="15894"/>
                    <a:pt x="4606" y="15894"/>
                    <a:pt x="4606" y="15894"/>
                  </a:cubicBezTo>
                  <a:cubicBezTo>
                    <a:pt x="4606" y="15894"/>
                    <a:pt x="4765" y="15758"/>
                    <a:pt x="4606" y="15758"/>
                  </a:cubicBezTo>
                  <a:cubicBezTo>
                    <a:pt x="4606" y="15758"/>
                    <a:pt x="4606" y="15623"/>
                    <a:pt x="4606" y="15758"/>
                  </a:cubicBezTo>
                  <a:cubicBezTo>
                    <a:pt x="4447" y="15758"/>
                    <a:pt x="4447" y="15758"/>
                    <a:pt x="4288" y="15758"/>
                  </a:cubicBezTo>
                  <a:cubicBezTo>
                    <a:pt x="4129" y="15758"/>
                    <a:pt x="3812" y="15623"/>
                    <a:pt x="3812" y="15623"/>
                  </a:cubicBezTo>
                  <a:cubicBezTo>
                    <a:pt x="3812" y="15487"/>
                    <a:pt x="3653" y="15487"/>
                    <a:pt x="3653" y="15351"/>
                  </a:cubicBezTo>
                  <a:cubicBezTo>
                    <a:pt x="3494" y="15351"/>
                    <a:pt x="3494" y="15215"/>
                    <a:pt x="3335" y="15215"/>
                  </a:cubicBezTo>
                  <a:cubicBezTo>
                    <a:pt x="3176" y="15215"/>
                    <a:pt x="3176" y="15215"/>
                    <a:pt x="3176" y="15215"/>
                  </a:cubicBezTo>
                  <a:cubicBezTo>
                    <a:pt x="3176" y="15215"/>
                    <a:pt x="3018" y="15351"/>
                    <a:pt x="3018" y="15487"/>
                  </a:cubicBezTo>
                  <a:cubicBezTo>
                    <a:pt x="3018" y="15487"/>
                    <a:pt x="3176" y="15623"/>
                    <a:pt x="2859" y="15487"/>
                  </a:cubicBezTo>
                  <a:cubicBezTo>
                    <a:pt x="2541" y="15487"/>
                    <a:pt x="2224" y="15487"/>
                    <a:pt x="2224" y="15487"/>
                  </a:cubicBezTo>
                  <a:cubicBezTo>
                    <a:pt x="1747" y="15079"/>
                    <a:pt x="1747" y="15079"/>
                    <a:pt x="1747" y="15079"/>
                  </a:cubicBezTo>
                  <a:cubicBezTo>
                    <a:pt x="1747" y="15079"/>
                    <a:pt x="1588" y="15079"/>
                    <a:pt x="1429" y="15079"/>
                  </a:cubicBezTo>
                  <a:cubicBezTo>
                    <a:pt x="1429" y="15079"/>
                    <a:pt x="1112" y="14943"/>
                    <a:pt x="1112" y="14808"/>
                  </a:cubicBezTo>
                  <a:cubicBezTo>
                    <a:pt x="1112" y="14808"/>
                    <a:pt x="953" y="14672"/>
                    <a:pt x="953" y="14536"/>
                  </a:cubicBezTo>
                  <a:cubicBezTo>
                    <a:pt x="953" y="14536"/>
                    <a:pt x="794" y="14536"/>
                    <a:pt x="794" y="14400"/>
                  </a:cubicBezTo>
                  <a:cubicBezTo>
                    <a:pt x="794" y="14400"/>
                    <a:pt x="635" y="14264"/>
                    <a:pt x="635" y="14264"/>
                  </a:cubicBezTo>
                  <a:cubicBezTo>
                    <a:pt x="635" y="14264"/>
                    <a:pt x="635" y="14128"/>
                    <a:pt x="794" y="13992"/>
                  </a:cubicBezTo>
                  <a:cubicBezTo>
                    <a:pt x="1112" y="13992"/>
                    <a:pt x="1112" y="13992"/>
                    <a:pt x="1271" y="13992"/>
                  </a:cubicBezTo>
                  <a:cubicBezTo>
                    <a:pt x="1429" y="13992"/>
                    <a:pt x="1271" y="13992"/>
                    <a:pt x="1588" y="13992"/>
                  </a:cubicBezTo>
                  <a:cubicBezTo>
                    <a:pt x="1906" y="13992"/>
                    <a:pt x="1747" y="13992"/>
                    <a:pt x="1906" y="13992"/>
                  </a:cubicBezTo>
                  <a:cubicBezTo>
                    <a:pt x="2065" y="13992"/>
                    <a:pt x="2382" y="13992"/>
                    <a:pt x="2382" y="13992"/>
                  </a:cubicBezTo>
                  <a:cubicBezTo>
                    <a:pt x="2382" y="13992"/>
                    <a:pt x="2065" y="13857"/>
                    <a:pt x="2541" y="13992"/>
                  </a:cubicBezTo>
                  <a:cubicBezTo>
                    <a:pt x="2541" y="13992"/>
                    <a:pt x="3176" y="14128"/>
                    <a:pt x="3018" y="14400"/>
                  </a:cubicBezTo>
                  <a:cubicBezTo>
                    <a:pt x="3018" y="14400"/>
                    <a:pt x="2859" y="14536"/>
                    <a:pt x="2859" y="14536"/>
                  </a:cubicBezTo>
                  <a:cubicBezTo>
                    <a:pt x="2859" y="14536"/>
                    <a:pt x="3176" y="14672"/>
                    <a:pt x="3176" y="14672"/>
                  </a:cubicBezTo>
                  <a:cubicBezTo>
                    <a:pt x="3176" y="14672"/>
                    <a:pt x="3335" y="14536"/>
                    <a:pt x="3335" y="14536"/>
                  </a:cubicBezTo>
                  <a:cubicBezTo>
                    <a:pt x="3494" y="14672"/>
                    <a:pt x="3494" y="14672"/>
                    <a:pt x="3494" y="14672"/>
                  </a:cubicBezTo>
                  <a:cubicBezTo>
                    <a:pt x="3812" y="14943"/>
                    <a:pt x="3812" y="14943"/>
                    <a:pt x="3812" y="14943"/>
                  </a:cubicBezTo>
                  <a:cubicBezTo>
                    <a:pt x="3812" y="14943"/>
                    <a:pt x="4129" y="14943"/>
                    <a:pt x="4129" y="14943"/>
                  </a:cubicBezTo>
                  <a:cubicBezTo>
                    <a:pt x="3971" y="15079"/>
                    <a:pt x="3812" y="14808"/>
                    <a:pt x="3971" y="15079"/>
                  </a:cubicBezTo>
                  <a:cubicBezTo>
                    <a:pt x="4129" y="15351"/>
                    <a:pt x="4288" y="15487"/>
                    <a:pt x="4288" y="15487"/>
                  </a:cubicBezTo>
                  <a:cubicBezTo>
                    <a:pt x="4447" y="15487"/>
                    <a:pt x="4447" y="15487"/>
                    <a:pt x="4447" y="15487"/>
                  </a:cubicBezTo>
                  <a:cubicBezTo>
                    <a:pt x="4447" y="15487"/>
                    <a:pt x="4447" y="15351"/>
                    <a:pt x="4606" y="15351"/>
                  </a:cubicBezTo>
                  <a:cubicBezTo>
                    <a:pt x="4606" y="15487"/>
                    <a:pt x="4924" y="15487"/>
                    <a:pt x="5082" y="15487"/>
                  </a:cubicBezTo>
                  <a:cubicBezTo>
                    <a:pt x="5082" y="15487"/>
                    <a:pt x="5082" y="15351"/>
                    <a:pt x="4924" y="15079"/>
                  </a:cubicBezTo>
                  <a:cubicBezTo>
                    <a:pt x="4765" y="14943"/>
                    <a:pt x="4606" y="14808"/>
                    <a:pt x="4606" y="14808"/>
                  </a:cubicBezTo>
                  <a:cubicBezTo>
                    <a:pt x="4447" y="14808"/>
                    <a:pt x="4606" y="14943"/>
                    <a:pt x="4288" y="14808"/>
                  </a:cubicBezTo>
                  <a:cubicBezTo>
                    <a:pt x="3971" y="14672"/>
                    <a:pt x="3971" y="14808"/>
                    <a:pt x="3812" y="14672"/>
                  </a:cubicBezTo>
                  <a:cubicBezTo>
                    <a:pt x="3653" y="14400"/>
                    <a:pt x="3494" y="14400"/>
                    <a:pt x="3494" y="14264"/>
                  </a:cubicBezTo>
                  <a:cubicBezTo>
                    <a:pt x="3494" y="14264"/>
                    <a:pt x="3653" y="14264"/>
                    <a:pt x="3812" y="14128"/>
                  </a:cubicBezTo>
                  <a:cubicBezTo>
                    <a:pt x="3971" y="14128"/>
                    <a:pt x="3653" y="13992"/>
                    <a:pt x="3971" y="14128"/>
                  </a:cubicBezTo>
                  <a:cubicBezTo>
                    <a:pt x="4447" y="14264"/>
                    <a:pt x="4447" y="14264"/>
                    <a:pt x="4606" y="14264"/>
                  </a:cubicBezTo>
                  <a:cubicBezTo>
                    <a:pt x="4606" y="14264"/>
                    <a:pt x="4924" y="14264"/>
                    <a:pt x="4606" y="14128"/>
                  </a:cubicBezTo>
                  <a:cubicBezTo>
                    <a:pt x="4288" y="14128"/>
                    <a:pt x="4129" y="13992"/>
                    <a:pt x="4129" y="13992"/>
                  </a:cubicBezTo>
                  <a:cubicBezTo>
                    <a:pt x="3812" y="13992"/>
                    <a:pt x="3812" y="13992"/>
                    <a:pt x="3812" y="13992"/>
                  </a:cubicBezTo>
                  <a:cubicBezTo>
                    <a:pt x="3812" y="13992"/>
                    <a:pt x="3812" y="13992"/>
                    <a:pt x="3653" y="13992"/>
                  </a:cubicBezTo>
                  <a:cubicBezTo>
                    <a:pt x="3494" y="13992"/>
                    <a:pt x="3494" y="14128"/>
                    <a:pt x="3494" y="13992"/>
                  </a:cubicBezTo>
                  <a:cubicBezTo>
                    <a:pt x="3335" y="13992"/>
                    <a:pt x="3176" y="13992"/>
                    <a:pt x="3176" y="13857"/>
                  </a:cubicBezTo>
                  <a:cubicBezTo>
                    <a:pt x="3018" y="13857"/>
                    <a:pt x="2859" y="13721"/>
                    <a:pt x="2859" y="13721"/>
                  </a:cubicBezTo>
                  <a:cubicBezTo>
                    <a:pt x="2859" y="13585"/>
                    <a:pt x="2700" y="13449"/>
                    <a:pt x="2700" y="13449"/>
                  </a:cubicBezTo>
                  <a:cubicBezTo>
                    <a:pt x="2700" y="13449"/>
                    <a:pt x="2700" y="13449"/>
                    <a:pt x="2700" y="13449"/>
                  </a:cubicBezTo>
                  <a:cubicBezTo>
                    <a:pt x="2541" y="13449"/>
                    <a:pt x="2382" y="13449"/>
                    <a:pt x="2224" y="13449"/>
                  </a:cubicBezTo>
                  <a:cubicBezTo>
                    <a:pt x="2224" y="13449"/>
                    <a:pt x="2065" y="13449"/>
                    <a:pt x="2065" y="13449"/>
                  </a:cubicBezTo>
                  <a:cubicBezTo>
                    <a:pt x="2065" y="13313"/>
                    <a:pt x="2065" y="13313"/>
                    <a:pt x="2065" y="13177"/>
                  </a:cubicBezTo>
                  <a:cubicBezTo>
                    <a:pt x="2065" y="13177"/>
                    <a:pt x="2065" y="13042"/>
                    <a:pt x="2224" y="13042"/>
                  </a:cubicBezTo>
                  <a:cubicBezTo>
                    <a:pt x="2382" y="13042"/>
                    <a:pt x="2541" y="13042"/>
                    <a:pt x="2700" y="13042"/>
                  </a:cubicBezTo>
                  <a:cubicBezTo>
                    <a:pt x="2859" y="13042"/>
                    <a:pt x="3018" y="13042"/>
                    <a:pt x="3176" y="13042"/>
                  </a:cubicBezTo>
                  <a:cubicBezTo>
                    <a:pt x="3176" y="13042"/>
                    <a:pt x="3335" y="13177"/>
                    <a:pt x="3335" y="13177"/>
                  </a:cubicBezTo>
                  <a:cubicBezTo>
                    <a:pt x="3494" y="13313"/>
                    <a:pt x="3653" y="13313"/>
                    <a:pt x="3653" y="13313"/>
                  </a:cubicBezTo>
                  <a:cubicBezTo>
                    <a:pt x="3653" y="13449"/>
                    <a:pt x="3653" y="13449"/>
                    <a:pt x="3812" y="13449"/>
                  </a:cubicBezTo>
                  <a:cubicBezTo>
                    <a:pt x="3812" y="13585"/>
                    <a:pt x="3971" y="13585"/>
                    <a:pt x="3971" y="13585"/>
                  </a:cubicBezTo>
                  <a:cubicBezTo>
                    <a:pt x="4129" y="13857"/>
                    <a:pt x="4129" y="13857"/>
                    <a:pt x="4129" y="13857"/>
                  </a:cubicBezTo>
                  <a:cubicBezTo>
                    <a:pt x="4129" y="13857"/>
                    <a:pt x="4129" y="13857"/>
                    <a:pt x="4129" y="13857"/>
                  </a:cubicBezTo>
                  <a:cubicBezTo>
                    <a:pt x="4447" y="13992"/>
                    <a:pt x="4447" y="13992"/>
                    <a:pt x="4447" y="13992"/>
                  </a:cubicBezTo>
                  <a:cubicBezTo>
                    <a:pt x="4447" y="13992"/>
                    <a:pt x="4924" y="14128"/>
                    <a:pt x="4924" y="14128"/>
                  </a:cubicBezTo>
                  <a:cubicBezTo>
                    <a:pt x="4924" y="14128"/>
                    <a:pt x="4924" y="14128"/>
                    <a:pt x="5082" y="14128"/>
                  </a:cubicBezTo>
                  <a:cubicBezTo>
                    <a:pt x="5241" y="14128"/>
                    <a:pt x="5241" y="13992"/>
                    <a:pt x="5241" y="13992"/>
                  </a:cubicBezTo>
                  <a:cubicBezTo>
                    <a:pt x="5241" y="13992"/>
                    <a:pt x="5400" y="13992"/>
                    <a:pt x="5400" y="13992"/>
                  </a:cubicBezTo>
                  <a:cubicBezTo>
                    <a:pt x="5400" y="13992"/>
                    <a:pt x="5876" y="13721"/>
                    <a:pt x="5876" y="13721"/>
                  </a:cubicBezTo>
                  <a:cubicBezTo>
                    <a:pt x="5876" y="13857"/>
                    <a:pt x="6035" y="13857"/>
                    <a:pt x="6194" y="13857"/>
                  </a:cubicBezTo>
                  <a:cubicBezTo>
                    <a:pt x="6194" y="13857"/>
                    <a:pt x="6671" y="14128"/>
                    <a:pt x="6671" y="14128"/>
                  </a:cubicBezTo>
                  <a:cubicBezTo>
                    <a:pt x="6671" y="13992"/>
                    <a:pt x="6671" y="13857"/>
                    <a:pt x="6671" y="13857"/>
                  </a:cubicBezTo>
                  <a:cubicBezTo>
                    <a:pt x="6671" y="13857"/>
                    <a:pt x="6829" y="13721"/>
                    <a:pt x="6829" y="13721"/>
                  </a:cubicBezTo>
                  <a:cubicBezTo>
                    <a:pt x="7465" y="13721"/>
                    <a:pt x="7465" y="13721"/>
                    <a:pt x="7465" y="13721"/>
                  </a:cubicBezTo>
                  <a:cubicBezTo>
                    <a:pt x="7465" y="13721"/>
                    <a:pt x="7624" y="13585"/>
                    <a:pt x="7624" y="13585"/>
                  </a:cubicBezTo>
                  <a:cubicBezTo>
                    <a:pt x="7465" y="13585"/>
                    <a:pt x="7306" y="13585"/>
                    <a:pt x="7306" y="13585"/>
                  </a:cubicBezTo>
                  <a:cubicBezTo>
                    <a:pt x="6988" y="13721"/>
                    <a:pt x="6988" y="13721"/>
                    <a:pt x="6988" y="13721"/>
                  </a:cubicBezTo>
                  <a:cubicBezTo>
                    <a:pt x="6671" y="13721"/>
                    <a:pt x="6671" y="13721"/>
                    <a:pt x="6671" y="13721"/>
                  </a:cubicBezTo>
                  <a:cubicBezTo>
                    <a:pt x="6671" y="13721"/>
                    <a:pt x="6512" y="13857"/>
                    <a:pt x="6512" y="13857"/>
                  </a:cubicBezTo>
                  <a:cubicBezTo>
                    <a:pt x="6353" y="13857"/>
                    <a:pt x="6194" y="13721"/>
                    <a:pt x="6194" y="13721"/>
                  </a:cubicBezTo>
                  <a:cubicBezTo>
                    <a:pt x="6035" y="13585"/>
                    <a:pt x="5718" y="13449"/>
                    <a:pt x="5718" y="13449"/>
                  </a:cubicBezTo>
                  <a:cubicBezTo>
                    <a:pt x="5559" y="13449"/>
                    <a:pt x="5718" y="13449"/>
                    <a:pt x="5400" y="13313"/>
                  </a:cubicBezTo>
                  <a:cubicBezTo>
                    <a:pt x="5082" y="13177"/>
                    <a:pt x="4924" y="13042"/>
                    <a:pt x="4924" y="13042"/>
                  </a:cubicBezTo>
                  <a:cubicBezTo>
                    <a:pt x="4765" y="12906"/>
                    <a:pt x="4765" y="12906"/>
                    <a:pt x="4765" y="12906"/>
                  </a:cubicBezTo>
                  <a:cubicBezTo>
                    <a:pt x="4765" y="12906"/>
                    <a:pt x="4765" y="12770"/>
                    <a:pt x="4606" y="12770"/>
                  </a:cubicBezTo>
                  <a:cubicBezTo>
                    <a:pt x="4447" y="12634"/>
                    <a:pt x="3971" y="12498"/>
                    <a:pt x="3971" y="12498"/>
                  </a:cubicBezTo>
                  <a:cubicBezTo>
                    <a:pt x="3971" y="12498"/>
                    <a:pt x="3971" y="12362"/>
                    <a:pt x="3971" y="12362"/>
                  </a:cubicBezTo>
                  <a:cubicBezTo>
                    <a:pt x="3971" y="12362"/>
                    <a:pt x="3971" y="11955"/>
                    <a:pt x="3971" y="11955"/>
                  </a:cubicBezTo>
                  <a:cubicBezTo>
                    <a:pt x="3971" y="11819"/>
                    <a:pt x="3812" y="11547"/>
                    <a:pt x="3812" y="11547"/>
                  </a:cubicBezTo>
                  <a:cubicBezTo>
                    <a:pt x="3812" y="11547"/>
                    <a:pt x="4129" y="11411"/>
                    <a:pt x="4129" y="11411"/>
                  </a:cubicBezTo>
                  <a:cubicBezTo>
                    <a:pt x="4288" y="11411"/>
                    <a:pt x="4447" y="11547"/>
                    <a:pt x="4447" y="11547"/>
                  </a:cubicBezTo>
                  <a:cubicBezTo>
                    <a:pt x="4606" y="11411"/>
                    <a:pt x="4606" y="11411"/>
                    <a:pt x="4606" y="11411"/>
                  </a:cubicBezTo>
                  <a:cubicBezTo>
                    <a:pt x="5876" y="9917"/>
                    <a:pt x="5876" y="9917"/>
                    <a:pt x="5876" y="9917"/>
                  </a:cubicBezTo>
                  <a:cubicBezTo>
                    <a:pt x="6988" y="8558"/>
                    <a:pt x="6988" y="8558"/>
                    <a:pt x="6988" y="8558"/>
                  </a:cubicBezTo>
                  <a:cubicBezTo>
                    <a:pt x="7465" y="6521"/>
                    <a:pt x="7465" y="6521"/>
                    <a:pt x="7465" y="6521"/>
                  </a:cubicBezTo>
                  <a:cubicBezTo>
                    <a:pt x="7782" y="5570"/>
                    <a:pt x="7782" y="5570"/>
                    <a:pt x="7782" y="5570"/>
                  </a:cubicBezTo>
                  <a:cubicBezTo>
                    <a:pt x="8100" y="4755"/>
                    <a:pt x="8100" y="4755"/>
                    <a:pt x="8100" y="4755"/>
                  </a:cubicBezTo>
                  <a:cubicBezTo>
                    <a:pt x="8100" y="4755"/>
                    <a:pt x="8100" y="4619"/>
                    <a:pt x="8259" y="4755"/>
                  </a:cubicBezTo>
                  <a:cubicBezTo>
                    <a:pt x="8259" y="4755"/>
                    <a:pt x="8418" y="5026"/>
                    <a:pt x="8418" y="5026"/>
                  </a:cubicBezTo>
                  <a:cubicBezTo>
                    <a:pt x="8576" y="5162"/>
                    <a:pt x="8576" y="5162"/>
                    <a:pt x="8576" y="5162"/>
                  </a:cubicBezTo>
                  <a:cubicBezTo>
                    <a:pt x="8735" y="5162"/>
                    <a:pt x="8735" y="5162"/>
                    <a:pt x="8735" y="5162"/>
                  </a:cubicBezTo>
                  <a:cubicBezTo>
                    <a:pt x="8735" y="5162"/>
                    <a:pt x="9053" y="5026"/>
                    <a:pt x="9212" y="5026"/>
                  </a:cubicBezTo>
                  <a:cubicBezTo>
                    <a:pt x="9212" y="5026"/>
                    <a:pt x="9847" y="5298"/>
                    <a:pt x="9847" y="5298"/>
                  </a:cubicBezTo>
                  <a:cubicBezTo>
                    <a:pt x="9847" y="5298"/>
                    <a:pt x="9847" y="5570"/>
                    <a:pt x="9847" y="5706"/>
                  </a:cubicBezTo>
                  <a:cubicBezTo>
                    <a:pt x="9847" y="5706"/>
                    <a:pt x="10165" y="5977"/>
                    <a:pt x="10006" y="6113"/>
                  </a:cubicBezTo>
                  <a:cubicBezTo>
                    <a:pt x="10006" y="6113"/>
                    <a:pt x="9847" y="6385"/>
                    <a:pt x="9847" y="6385"/>
                  </a:cubicBezTo>
                  <a:cubicBezTo>
                    <a:pt x="9847" y="6385"/>
                    <a:pt x="10006" y="6521"/>
                    <a:pt x="10006" y="6521"/>
                  </a:cubicBezTo>
                  <a:cubicBezTo>
                    <a:pt x="10165" y="6521"/>
                    <a:pt x="10165" y="6521"/>
                    <a:pt x="10324" y="6521"/>
                  </a:cubicBezTo>
                  <a:cubicBezTo>
                    <a:pt x="10482" y="6521"/>
                    <a:pt x="10641" y="6657"/>
                    <a:pt x="10641" y="6657"/>
                  </a:cubicBezTo>
                  <a:cubicBezTo>
                    <a:pt x="10641" y="6657"/>
                    <a:pt x="10641" y="6792"/>
                    <a:pt x="10641" y="6792"/>
                  </a:cubicBezTo>
                  <a:cubicBezTo>
                    <a:pt x="10641" y="6792"/>
                    <a:pt x="10641" y="7064"/>
                    <a:pt x="10641" y="7064"/>
                  </a:cubicBezTo>
                  <a:cubicBezTo>
                    <a:pt x="10641" y="7200"/>
                    <a:pt x="10324" y="7200"/>
                    <a:pt x="10324" y="7200"/>
                  </a:cubicBezTo>
                  <a:cubicBezTo>
                    <a:pt x="10324" y="7200"/>
                    <a:pt x="10324" y="7336"/>
                    <a:pt x="10324" y="7336"/>
                  </a:cubicBezTo>
                  <a:cubicBezTo>
                    <a:pt x="10165" y="7472"/>
                    <a:pt x="10006" y="7608"/>
                    <a:pt x="9847" y="7608"/>
                  </a:cubicBezTo>
                  <a:cubicBezTo>
                    <a:pt x="9847" y="7608"/>
                    <a:pt x="9529" y="7336"/>
                    <a:pt x="9529" y="7336"/>
                  </a:cubicBezTo>
                  <a:cubicBezTo>
                    <a:pt x="9529" y="7336"/>
                    <a:pt x="9371" y="7472"/>
                    <a:pt x="9371" y="7472"/>
                  </a:cubicBezTo>
                  <a:cubicBezTo>
                    <a:pt x="9529" y="7743"/>
                    <a:pt x="9529" y="7743"/>
                    <a:pt x="9529" y="7743"/>
                  </a:cubicBezTo>
                  <a:cubicBezTo>
                    <a:pt x="9688" y="8151"/>
                    <a:pt x="9688" y="8151"/>
                    <a:pt x="9688" y="8151"/>
                  </a:cubicBezTo>
                  <a:cubicBezTo>
                    <a:pt x="9529" y="8287"/>
                    <a:pt x="9529" y="8287"/>
                    <a:pt x="9529" y="8287"/>
                  </a:cubicBezTo>
                  <a:cubicBezTo>
                    <a:pt x="9688" y="8694"/>
                    <a:pt x="9688" y="8694"/>
                    <a:pt x="9688" y="8694"/>
                  </a:cubicBezTo>
                  <a:cubicBezTo>
                    <a:pt x="9688" y="8966"/>
                    <a:pt x="9688" y="8966"/>
                    <a:pt x="9688" y="8966"/>
                  </a:cubicBezTo>
                  <a:cubicBezTo>
                    <a:pt x="9371" y="9102"/>
                    <a:pt x="9371" y="9102"/>
                    <a:pt x="9371" y="9102"/>
                  </a:cubicBezTo>
                  <a:cubicBezTo>
                    <a:pt x="9371" y="9102"/>
                    <a:pt x="9212" y="9238"/>
                    <a:pt x="9053" y="9238"/>
                  </a:cubicBezTo>
                  <a:cubicBezTo>
                    <a:pt x="9053" y="9238"/>
                    <a:pt x="8894" y="9102"/>
                    <a:pt x="8894" y="9238"/>
                  </a:cubicBezTo>
                  <a:cubicBezTo>
                    <a:pt x="9053" y="9374"/>
                    <a:pt x="9053" y="9509"/>
                    <a:pt x="9212" y="9509"/>
                  </a:cubicBezTo>
                  <a:cubicBezTo>
                    <a:pt x="9371" y="9509"/>
                    <a:pt x="9688" y="9509"/>
                    <a:pt x="9688" y="9509"/>
                  </a:cubicBezTo>
                  <a:cubicBezTo>
                    <a:pt x="10006" y="9917"/>
                    <a:pt x="10006" y="9917"/>
                    <a:pt x="10006" y="9917"/>
                  </a:cubicBezTo>
                  <a:cubicBezTo>
                    <a:pt x="10006" y="9917"/>
                    <a:pt x="10165" y="9917"/>
                    <a:pt x="10324" y="9917"/>
                  </a:cubicBezTo>
                  <a:cubicBezTo>
                    <a:pt x="10324" y="9917"/>
                    <a:pt x="10641" y="10053"/>
                    <a:pt x="10641" y="10053"/>
                  </a:cubicBezTo>
                  <a:cubicBezTo>
                    <a:pt x="10641" y="10053"/>
                    <a:pt x="10641" y="10053"/>
                    <a:pt x="10800" y="10189"/>
                  </a:cubicBezTo>
                  <a:cubicBezTo>
                    <a:pt x="10959" y="10189"/>
                    <a:pt x="11276" y="10325"/>
                    <a:pt x="11276" y="10325"/>
                  </a:cubicBezTo>
                  <a:cubicBezTo>
                    <a:pt x="11276" y="10325"/>
                    <a:pt x="11276" y="10189"/>
                    <a:pt x="11118" y="10189"/>
                  </a:cubicBezTo>
                  <a:cubicBezTo>
                    <a:pt x="11118" y="10189"/>
                    <a:pt x="10959" y="9781"/>
                    <a:pt x="10641" y="9781"/>
                  </a:cubicBezTo>
                  <a:cubicBezTo>
                    <a:pt x="10482" y="9645"/>
                    <a:pt x="10324" y="9645"/>
                    <a:pt x="10165" y="9645"/>
                  </a:cubicBezTo>
                  <a:cubicBezTo>
                    <a:pt x="10006" y="9645"/>
                    <a:pt x="9688" y="9509"/>
                    <a:pt x="9688" y="9509"/>
                  </a:cubicBezTo>
                  <a:cubicBezTo>
                    <a:pt x="9688" y="9374"/>
                    <a:pt x="9529" y="9238"/>
                    <a:pt x="9688" y="9238"/>
                  </a:cubicBezTo>
                  <a:cubicBezTo>
                    <a:pt x="9688" y="9102"/>
                    <a:pt x="9688" y="8966"/>
                    <a:pt x="10006" y="8966"/>
                  </a:cubicBezTo>
                  <a:cubicBezTo>
                    <a:pt x="10165" y="8966"/>
                    <a:pt x="10324" y="9102"/>
                    <a:pt x="10482" y="8966"/>
                  </a:cubicBezTo>
                  <a:cubicBezTo>
                    <a:pt x="10641" y="8966"/>
                    <a:pt x="10959" y="8558"/>
                    <a:pt x="10959" y="8558"/>
                  </a:cubicBezTo>
                  <a:cubicBezTo>
                    <a:pt x="11276" y="8287"/>
                    <a:pt x="11276" y="8287"/>
                    <a:pt x="11276" y="8287"/>
                  </a:cubicBezTo>
                  <a:cubicBezTo>
                    <a:pt x="11753" y="8151"/>
                    <a:pt x="11753" y="8151"/>
                    <a:pt x="11753" y="8151"/>
                  </a:cubicBezTo>
                  <a:cubicBezTo>
                    <a:pt x="11753" y="8151"/>
                    <a:pt x="12388" y="7879"/>
                    <a:pt x="12388" y="7879"/>
                  </a:cubicBezTo>
                  <a:cubicBezTo>
                    <a:pt x="12388" y="7879"/>
                    <a:pt x="12547" y="7879"/>
                    <a:pt x="12706" y="8015"/>
                  </a:cubicBezTo>
                  <a:cubicBezTo>
                    <a:pt x="12865" y="8151"/>
                    <a:pt x="12865" y="8151"/>
                    <a:pt x="12865" y="8151"/>
                  </a:cubicBezTo>
                  <a:cubicBezTo>
                    <a:pt x="13024" y="8151"/>
                    <a:pt x="13341" y="8287"/>
                    <a:pt x="13341" y="8287"/>
                  </a:cubicBezTo>
                  <a:cubicBezTo>
                    <a:pt x="13341" y="8287"/>
                    <a:pt x="13341" y="8287"/>
                    <a:pt x="13500" y="8423"/>
                  </a:cubicBezTo>
                  <a:cubicBezTo>
                    <a:pt x="13500" y="8423"/>
                    <a:pt x="13659" y="8558"/>
                    <a:pt x="13500" y="8830"/>
                  </a:cubicBezTo>
                  <a:cubicBezTo>
                    <a:pt x="13500" y="8966"/>
                    <a:pt x="13500" y="9102"/>
                    <a:pt x="13500" y="9102"/>
                  </a:cubicBezTo>
                  <a:cubicBezTo>
                    <a:pt x="13500" y="9102"/>
                    <a:pt x="13659" y="8966"/>
                    <a:pt x="13659" y="8830"/>
                  </a:cubicBezTo>
                  <a:cubicBezTo>
                    <a:pt x="13659" y="8558"/>
                    <a:pt x="13659" y="8423"/>
                    <a:pt x="13659" y="8287"/>
                  </a:cubicBezTo>
                  <a:cubicBezTo>
                    <a:pt x="13659" y="8151"/>
                    <a:pt x="13500" y="8015"/>
                    <a:pt x="13500" y="8015"/>
                  </a:cubicBezTo>
                  <a:cubicBezTo>
                    <a:pt x="13500" y="8015"/>
                    <a:pt x="13182" y="8151"/>
                    <a:pt x="12865" y="8015"/>
                  </a:cubicBezTo>
                  <a:cubicBezTo>
                    <a:pt x="12706" y="7879"/>
                    <a:pt x="12706" y="7743"/>
                    <a:pt x="12547" y="7743"/>
                  </a:cubicBezTo>
                  <a:cubicBezTo>
                    <a:pt x="12547" y="7743"/>
                    <a:pt x="12388" y="7608"/>
                    <a:pt x="12229" y="7608"/>
                  </a:cubicBezTo>
                  <a:cubicBezTo>
                    <a:pt x="12229" y="7608"/>
                    <a:pt x="12229" y="7472"/>
                    <a:pt x="12229" y="7336"/>
                  </a:cubicBezTo>
                  <a:cubicBezTo>
                    <a:pt x="12229" y="7200"/>
                    <a:pt x="12229" y="7064"/>
                    <a:pt x="12229" y="6928"/>
                  </a:cubicBezTo>
                  <a:cubicBezTo>
                    <a:pt x="12229" y="6928"/>
                    <a:pt x="12071" y="6792"/>
                    <a:pt x="12229" y="6657"/>
                  </a:cubicBezTo>
                  <a:cubicBezTo>
                    <a:pt x="12388" y="6521"/>
                    <a:pt x="12388" y="6521"/>
                    <a:pt x="12547" y="6521"/>
                  </a:cubicBezTo>
                  <a:cubicBezTo>
                    <a:pt x="12547" y="6385"/>
                    <a:pt x="12865" y="6249"/>
                    <a:pt x="12706" y="6249"/>
                  </a:cubicBezTo>
                  <a:cubicBezTo>
                    <a:pt x="12706" y="6113"/>
                    <a:pt x="12547" y="6113"/>
                    <a:pt x="12388" y="6113"/>
                  </a:cubicBezTo>
                  <a:cubicBezTo>
                    <a:pt x="12229" y="6113"/>
                    <a:pt x="12388" y="6249"/>
                    <a:pt x="12229" y="6249"/>
                  </a:cubicBezTo>
                  <a:cubicBezTo>
                    <a:pt x="11912" y="6249"/>
                    <a:pt x="11912" y="6113"/>
                    <a:pt x="11753" y="5977"/>
                  </a:cubicBezTo>
                  <a:cubicBezTo>
                    <a:pt x="11753" y="5842"/>
                    <a:pt x="11753" y="5842"/>
                    <a:pt x="11594" y="5977"/>
                  </a:cubicBezTo>
                  <a:cubicBezTo>
                    <a:pt x="11435" y="5977"/>
                    <a:pt x="11276" y="5842"/>
                    <a:pt x="11276" y="5842"/>
                  </a:cubicBezTo>
                  <a:cubicBezTo>
                    <a:pt x="11276" y="5842"/>
                    <a:pt x="11118" y="5706"/>
                    <a:pt x="11276" y="5570"/>
                  </a:cubicBezTo>
                  <a:cubicBezTo>
                    <a:pt x="11276" y="5570"/>
                    <a:pt x="11435" y="5298"/>
                    <a:pt x="11435" y="5298"/>
                  </a:cubicBezTo>
                  <a:cubicBezTo>
                    <a:pt x="11435" y="5298"/>
                    <a:pt x="11435" y="4891"/>
                    <a:pt x="11435" y="4891"/>
                  </a:cubicBezTo>
                  <a:cubicBezTo>
                    <a:pt x="11435" y="4755"/>
                    <a:pt x="11435" y="4755"/>
                    <a:pt x="11435" y="4755"/>
                  </a:cubicBezTo>
                  <a:close/>
                  <a:moveTo>
                    <a:pt x="20171" y="136"/>
                  </a:moveTo>
                  <a:cubicBezTo>
                    <a:pt x="20171" y="136"/>
                    <a:pt x="20171" y="136"/>
                    <a:pt x="20171" y="136"/>
                  </a:cubicBezTo>
                  <a:cubicBezTo>
                    <a:pt x="20171" y="136"/>
                    <a:pt x="20171" y="0"/>
                    <a:pt x="20329" y="0"/>
                  </a:cubicBezTo>
                  <a:cubicBezTo>
                    <a:pt x="20488" y="0"/>
                    <a:pt x="20488" y="0"/>
                    <a:pt x="20647" y="0"/>
                  </a:cubicBezTo>
                  <a:cubicBezTo>
                    <a:pt x="20647" y="0"/>
                    <a:pt x="20965" y="0"/>
                    <a:pt x="20965" y="0"/>
                  </a:cubicBezTo>
                  <a:cubicBezTo>
                    <a:pt x="20965" y="0"/>
                    <a:pt x="21124" y="0"/>
                    <a:pt x="21282" y="0"/>
                  </a:cubicBezTo>
                  <a:cubicBezTo>
                    <a:pt x="21282" y="0"/>
                    <a:pt x="21441" y="0"/>
                    <a:pt x="21441" y="0"/>
                  </a:cubicBezTo>
                  <a:cubicBezTo>
                    <a:pt x="21600" y="0"/>
                    <a:pt x="21441" y="136"/>
                    <a:pt x="21441" y="136"/>
                  </a:cubicBezTo>
                  <a:cubicBezTo>
                    <a:pt x="21124" y="136"/>
                    <a:pt x="21124" y="136"/>
                    <a:pt x="21124" y="136"/>
                  </a:cubicBezTo>
                  <a:cubicBezTo>
                    <a:pt x="21124" y="136"/>
                    <a:pt x="20965" y="136"/>
                    <a:pt x="20806" y="136"/>
                  </a:cubicBezTo>
                  <a:cubicBezTo>
                    <a:pt x="20806" y="272"/>
                    <a:pt x="20647" y="272"/>
                    <a:pt x="20647" y="272"/>
                  </a:cubicBezTo>
                  <a:cubicBezTo>
                    <a:pt x="20647" y="272"/>
                    <a:pt x="20488" y="272"/>
                    <a:pt x="20488" y="272"/>
                  </a:cubicBezTo>
                  <a:cubicBezTo>
                    <a:pt x="20329" y="272"/>
                    <a:pt x="20329" y="136"/>
                    <a:pt x="20329" y="272"/>
                  </a:cubicBezTo>
                  <a:cubicBezTo>
                    <a:pt x="20171" y="272"/>
                    <a:pt x="20171" y="136"/>
                    <a:pt x="20171" y="136"/>
                  </a:cubicBezTo>
                  <a:close/>
                  <a:moveTo>
                    <a:pt x="18741" y="815"/>
                  </a:moveTo>
                  <a:cubicBezTo>
                    <a:pt x="18741" y="815"/>
                    <a:pt x="18741" y="815"/>
                    <a:pt x="18741" y="815"/>
                  </a:cubicBezTo>
                  <a:cubicBezTo>
                    <a:pt x="18741" y="815"/>
                    <a:pt x="18741" y="679"/>
                    <a:pt x="18900" y="679"/>
                  </a:cubicBezTo>
                  <a:cubicBezTo>
                    <a:pt x="18900" y="679"/>
                    <a:pt x="18900" y="543"/>
                    <a:pt x="19059" y="679"/>
                  </a:cubicBezTo>
                  <a:cubicBezTo>
                    <a:pt x="19059" y="679"/>
                    <a:pt x="19059" y="951"/>
                    <a:pt x="19059" y="951"/>
                  </a:cubicBezTo>
                  <a:cubicBezTo>
                    <a:pt x="18900" y="951"/>
                    <a:pt x="18900" y="951"/>
                    <a:pt x="18741" y="951"/>
                  </a:cubicBezTo>
                  <a:cubicBezTo>
                    <a:pt x="18741" y="951"/>
                    <a:pt x="18741" y="815"/>
                    <a:pt x="18741" y="815"/>
                  </a:cubicBezTo>
                  <a:close/>
                  <a:moveTo>
                    <a:pt x="17788" y="1223"/>
                  </a:moveTo>
                  <a:cubicBezTo>
                    <a:pt x="17788" y="1223"/>
                    <a:pt x="17788" y="1223"/>
                    <a:pt x="17788" y="1223"/>
                  </a:cubicBezTo>
                  <a:cubicBezTo>
                    <a:pt x="17788" y="1223"/>
                    <a:pt x="17629" y="1087"/>
                    <a:pt x="17629" y="1087"/>
                  </a:cubicBezTo>
                  <a:cubicBezTo>
                    <a:pt x="17629" y="1087"/>
                    <a:pt x="17629" y="951"/>
                    <a:pt x="17788" y="951"/>
                  </a:cubicBezTo>
                  <a:cubicBezTo>
                    <a:pt x="17788" y="951"/>
                    <a:pt x="17947" y="951"/>
                    <a:pt x="17947" y="951"/>
                  </a:cubicBezTo>
                  <a:cubicBezTo>
                    <a:pt x="18106" y="951"/>
                    <a:pt x="18106" y="951"/>
                    <a:pt x="18106" y="951"/>
                  </a:cubicBezTo>
                  <a:cubicBezTo>
                    <a:pt x="18106" y="951"/>
                    <a:pt x="18265" y="815"/>
                    <a:pt x="18265" y="815"/>
                  </a:cubicBezTo>
                  <a:cubicBezTo>
                    <a:pt x="18265" y="815"/>
                    <a:pt x="18424" y="1087"/>
                    <a:pt x="18424" y="1087"/>
                  </a:cubicBezTo>
                  <a:cubicBezTo>
                    <a:pt x="18424" y="1087"/>
                    <a:pt x="18424" y="1087"/>
                    <a:pt x="18265" y="1087"/>
                  </a:cubicBezTo>
                  <a:cubicBezTo>
                    <a:pt x="18265" y="1087"/>
                    <a:pt x="18106" y="1223"/>
                    <a:pt x="18106" y="1223"/>
                  </a:cubicBezTo>
                  <a:cubicBezTo>
                    <a:pt x="17947" y="1358"/>
                    <a:pt x="17947" y="1358"/>
                    <a:pt x="17947" y="1358"/>
                  </a:cubicBezTo>
                  <a:cubicBezTo>
                    <a:pt x="17788" y="1223"/>
                    <a:pt x="17788" y="1223"/>
                    <a:pt x="17788" y="1223"/>
                  </a:cubicBezTo>
                  <a:close/>
                  <a:moveTo>
                    <a:pt x="17153" y="1630"/>
                  </a:moveTo>
                  <a:cubicBezTo>
                    <a:pt x="17153" y="1630"/>
                    <a:pt x="17153" y="1630"/>
                    <a:pt x="17153" y="1630"/>
                  </a:cubicBezTo>
                  <a:cubicBezTo>
                    <a:pt x="17153" y="1494"/>
                    <a:pt x="16994" y="1494"/>
                    <a:pt x="16994" y="1494"/>
                  </a:cubicBezTo>
                  <a:cubicBezTo>
                    <a:pt x="16994" y="1494"/>
                    <a:pt x="16835" y="1358"/>
                    <a:pt x="16835" y="1358"/>
                  </a:cubicBezTo>
                  <a:cubicBezTo>
                    <a:pt x="16835" y="1358"/>
                    <a:pt x="16835" y="1223"/>
                    <a:pt x="16994" y="1223"/>
                  </a:cubicBezTo>
                  <a:cubicBezTo>
                    <a:pt x="16994" y="1223"/>
                    <a:pt x="16994" y="1223"/>
                    <a:pt x="16994" y="1358"/>
                  </a:cubicBezTo>
                  <a:cubicBezTo>
                    <a:pt x="17153" y="1358"/>
                    <a:pt x="17153" y="1494"/>
                    <a:pt x="17153" y="1494"/>
                  </a:cubicBezTo>
                  <a:cubicBezTo>
                    <a:pt x="17153" y="1630"/>
                    <a:pt x="17153" y="1630"/>
                    <a:pt x="17153" y="1630"/>
                  </a:cubicBezTo>
                  <a:close/>
                  <a:moveTo>
                    <a:pt x="15247" y="1630"/>
                  </a:moveTo>
                  <a:cubicBezTo>
                    <a:pt x="15247" y="1630"/>
                    <a:pt x="15247" y="1630"/>
                    <a:pt x="15247" y="1630"/>
                  </a:cubicBezTo>
                  <a:cubicBezTo>
                    <a:pt x="15247" y="1630"/>
                    <a:pt x="15247" y="1630"/>
                    <a:pt x="15406" y="1630"/>
                  </a:cubicBezTo>
                  <a:cubicBezTo>
                    <a:pt x="15565" y="1494"/>
                    <a:pt x="15565" y="1358"/>
                    <a:pt x="15724" y="1494"/>
                  </a:cubicBezTo>
                  <a:cubicBezTo>
                    <a:pt x="15882" y="1494"/>
                    <a:pt x="16200" y="1630"/>
                    <a:pt x="16200" y="1630"/>
                  </a:cubicBezTo>
                  <a:cubicBezTo>
                    <a:pt x="16200" y="1630"/>
                    <a:pt x="16200" y="1494"/>
                    <a:pt x="16200" y="1494"/>
                  </a:cubicBezTo>
                  <a:cubicBezTo>
                    <a:pt x="16359" y="1494"/>
                    <a:pt x="16359" y="1630"/>
                    <a:pt x="16359" y="1630"/>
                  </a:cubicBezTo>
                  <a:cubicBezTo>
                    <a:pt x="16359" y="1630"/>
                    <a:pt x="16200" y="1630"/>
                    <a:pt x="16200" y="1630"/>
                  </a:cubicBezTo>
                  <a:cubicBezTo>
                    <a:pt x="16041" y="1766"/>
                    <a:pt x="16041" y="1766"/>
                    <a:pt x="15882" y="1766"/>
                  </a:cubicBezTo>
                  <a:cubicBezTo>
                    <a:pt x="15724" y="1766"/>
                    <a:pt x="15724" y="1630"/>
                    <a:pt x="15565" y="1766"/>
                  </a:cubicBezTo>
                  <a:cubicBezTo>
                    <a:pt x="15565" y="1766"/>
                    <a:pt x="15565" y="1902"/>
                    <a:pt x="15406" y="1902"/>
                  </a:cubicBezTo>
                  <a:cubicBezTo>
                    <a:pt x="15406" y="1902"/>
                    <a:pt x="15247" y="1902"/>
                    <a:pt x="15247" y="1902"/>
                  </a:cubicBezTo>
                  <a:cubicBezTo>
                    <a:pt x="15247" y="1766"/>
                    <a:pt x="15247" y="1630"/>
                    <a:pt x="15247" y="1630"/>
                  </a:cubicBezTo>
                  <a:close/>
                  <a:moveTo>
                    <a:pt x="14771" y="1766"/>
                  </a:moveTo>
                  <a:cubicBezTo>
                    <a:pt x="14771" y="1766"/>
                    <a:pt x="14771" y="1766"/>
                    <a:pt x="14771" y="1766"/>
                  </a:cubicBezTo>
                  <a:cubicBezTo>
                    <a:pt x="14771" y="1766"/>
                    <a:pt x="14771" y="1630"/>
                    <a:pt x="14929" y="1766"/>
                  </a:cubicBezTo>
                  <a:cubicBezTo>
                    <a:pt x="14929" y="1766"/>
                    <a:pt x="14929" y="1630"/>
                    <a:pt x="14929" y="1766"/>
                  </a:cubicBezTo>
                  <a:cubicBezTo>
                    <a:pt x="15088" y="1902"/>
                    <a:pt x="15088" y="2038"/>
                    <a:pt x="14929" y="2038"/>
                  </a:cubicBezTo>
                  <a:cubicBezTo>
                    <a:pt x="14771" y="1902"/>
                    <a:pt x="14771" y="1766"/>
                    <a:pt x="14771" y="1766"/>
                  </a:cubicBezTo>
                  <a:close/>
                  <a:moveTo>
                    <a:pt x="12865" y="1766"/>
                  </a:moveTo>
                  <a:cubicBezTo>
                    <a:pt x="12865" y="1766"/>
                    <a:pt x="12865" y="1766"/>
                    <a:pt x="12865" y="1766"/>
                  </a:cubicBezTo>
                  <a:cubicBezTo>
                    <a:pt x="12865" y="1766"/>
                    <a:pt x="12865" y="1630"/>
                    <a:pt x="13024" y="1630"/>
                  </a:cubicBezTo>
                  <a:cubicBezTo>
                    <a:pt x="13024" y="1630"/>
                    <a:pt x="13024" y="1630"/>
                    <a:pt x="13182" y="1630"/>
                  </a:cubicBezTo>
                  <a:cubicBezTo>
                    <a:pt x="13182" y="1766"/>
                    <a:pt x="13341" y="1766"/>
                    <a:pt x="13341" y="1766"/>
                  </a:cubicBezTo>
                  <a:cubicBezTo>
                    <a:pt x="13500" y="1766"/>
                    <a:pt x="13500" y="1766"/>
                    <a:pt x="13500" y="1766"/>
                  </a:cubicBezTo>
                  <a:cubicBezTo>
                    <a:pt x="13659" y="1766"/>
                    <a:pt x="13659" y="1630"/>
                    <a:pt x="13818" y="1766"/>
                  </a:cubicBezTo>
                  <a:cubicBezTo>
                    <a:pt x="13976" y="1766"/>
                    <a:pt x="13976" y="1766"/>
                    <a:pt x="14135" y="1766"/>
                  </a:cubicBezTo>
                  <a:cubicBezTo>
                    <a:pt x="14135" y="1766"/>
                    <a:pt x="14453" y="1766"/>
                    <a:pt x="14453" y="1766"/>
                  </a:cubicBezTo>
                  <a:cubicBezTo>
                    <a:pt x="14453" y="1766"/>
                    <a:pt x="14453" y="1902"/>
                    <a:pt x="14453" y="1902"/>
                  </a:cubicBezTo>
                  <a:cubicBezTo>
                    <a:pt x="14294" y="1902"/>
                    <a:pt x="14294" y="1902"/>
                    <a:pt x="14135" y="1902"/>
                  </a:cubicBezTo>
                  <a:cubicBezTo>
                    <a:pt x="14135" y="1902"/>
                    <a:pt x="14294" y="1902"/>
                    <a:pt x="13976" y="1902"/>
                  </a:cubicBezTo>
                  <a:cubicBezTo>
                    <a:pt x="13818" y="1902"/>
                    <a:pt x="13818" y="1902"/>
                    <a:pt x="13659" y="1902"/>
                  </a:cubicBezTo>
                  <a:cubicBezTo>
                    <a:pt x="13659" y="1902"/>
                    <a:pt x="13659" y="1902"/>
                    <a:pt x="13500" y="1902"/>
                  </a:cubicBezTo>
                  <a:cubicBezTo>
                    <a:pt x="13500" y="1902"/>
                    <a:pt x="13500" y="1902"/>
                    <a:pt x="13500" y="1902"/>
                  </a:cubicBezTo>
                  <a:cubicBezTo>
                    <a:pt x="13341" y="1902"/>
                    <a:pt x="13818" y="1766"/>
                    <a:pt x="13341" y="1902"/>
                  </a:cubicBezTo>
                  <a:cubicBezTo>
                    <a:pt x="12865" y="2038"/>
                    <a:pt x="12865" y="2038"/>
                    <a:pt x="12865" y="2038"/>
                  </a:cubicBezTo>
                  <a:cubicBezTo>
                    <a:pt x="12865" y="2038"/>
                    <a:pt x="12865" y="1902"/>
                    <a:pt x="12865" y="1902"/>
                  </a:cubicBezTo>
                  <a:cubicBezTo>
                    <a:pt x="12865" y="1902"/>
                    <a:pt x="12865" y="1766"/>
                    <a:pt x="12865" y="1766"/>
                  </a:cubicBezTo>
                  <a:close/>
                  <a:moveTo>
                    <a:pt x="10800" y="2174"/>
                  </a:moveTo>
                  <a:cubicBezTo>
                    <a:pt x="10800" y="2174"/>
                    <a:pt x="10800" y="2174"/>
                    <a:pt x="10800" y="2174"/>
                  </a:cubicBezTo>
                  <a:cubicBezTo>
                    <a:pt x="10959" y="2174"/>
                    <a:pt x="10959" y="2174"/>
                    <a:pt x="10959" y="2174"/>
                  </a:cubicBezTo>
                  <a:cubicBezTo>
                    <a:pt x="10959" y="2174"/>
                    <a:pt x="11276" y="2174"/>
                    <a:pt x="11276" y="2038"/>
                  </a:cubicBezTo>
                  <a:cubicBezTo>
                    <a:pt x="11435" y="2038"/>
                    <a:pt x="11435" y="2038"/>
                    <a:pt x="11435" y="2038"/>
                  </a:cubicBezTo>
                  <a:cubicBezTo>
                    <a:pt x="11435" y="2038"/>
                    <a:pt x="11753" y="1902"/>
                    <a:pt x="11753" y="1902"/>
                  </a:cubicBezTo>
                  <a:cubicBezTo>
                    <a:pt x="11912" y="1902"/>
                    <a:pt x="12071" y="1766"/>
                    <a:pt x="12071" y="1766"/>
                  </a:cubicBezTo>
                  <a:cubicBezTo>
                    <a:pt x="12071" y="1766"/>
                    <a:pt x="12388" y="1902"/>
                    <a:pt x="12388" y="1902"/>
                  </a:cubicBezTo>
                  <a:cubicBezTo>
                    <a:pt x="12547" y="1902"/>
                    <a:pt x="12547" y="1766"/>
                    <a:pt x="12547" y="1766"/>
                  </a:cubicBezTo>
                  <a:cubicBezTo>
                    <a:pt x="12229" y="1630"/>
                    <a:pt x="12229" y="1630"/>
                    <a:pt x="12229" y="1630"/>
                  </a:cubicBezTo>
                  <a:cubicBezTo>
                    <a:pt x="11594" y="1766"/>
                    <a:pt x="11594" y="1766"/>
                    <a:pt x="11594" y="1766"/>
                  </a:cubicBezTo>
                  <a:cubicBezTo>
                    <a:pt x="11594" y="1766"/>
                    <a:pt x="11118" y="1902"/>
                    <a:pt x="10959" y="1902"/>
                  </a:cubicBezTo>
                  <a:cubicBezTo>
                    <a:pt x="10800" y="1766"/>
                    <a:pt x="10641" y="1902"/>
                    <a:pt x="10641" y="1902"/>
                  </a:cubicBezTo>
                  <a:cubicBezTo>
                    <a:pt x="10482" y="2038"/>
                    <a:pt x="10482" y="2038"/>
                    <a:pt x="10482" y="2038"/>
                  </a:cubicBezTo>
                  <a:cubicBezTo>
                    <a:pt x="10482" y="2038"/>
                    <a:pt x="10641" y="2174"/>
                    <a:pt x="10641" y="2174"/>
                  </a:cubicBezTo>
                  <a:cubicBezTo>
                    <a:pt x="10641" y="2309"/>
                    <a:pt x="10800" y="2174"/>
                    <a:pt x="10800" y="2174"/>
                  </a:cubicBezTo>
                  <a:close/>
                  <a:moveTo>
                    <a:pt x="8894" y="2989"/>
                  </a:moveTo>
                  <a:cubicBezTo>
                    <a:pt x="8894" y="2989"/>
                    <a:pt x="8894" y="2989"/>
                    <a:pt x="8894" y="2989"/>
                  </a:cubicBezTo>
                  <a:cubicBezTo>
                    <a:pt x="8894" y="2989"/>
                    <a:pt x="8894" y="2989"/>
                    <a:pt x="8894" y="2989"/>
                  </a:cubicBezTo>
                  <a:cubicBezTo>
                    <a:pt x="9053" y="3125"/>
                    <a:pt x="9053" y="3125"/>
                    <a:pt x="9053" y="3125"/>
                  </a:cubicBezTo>
                  <a:cubicBezTo>
                    <a:pt x="9053" y="3125"/>
                    <a:pt x="9212" y="2989"/>
                    <a:pt x="9212" y="2989"/>
                  </a:cubicBezTo>
                  <a:cubicBezTo>
                    <a:pt x="9212" y="2853"/>
                    <a:pt x="9371" y="2853"/>
                    <a:pt x="9371" y="2853"/>
                  </a:cubicBezTo>
                  <a:cubicBezTo>
                    <a:pt x="9371" y="2853"/>
                    <a:pt x="9529" y="2717"/>
                    <a:pt x="9688" y="2717"/>
                  </a:cubicBezTo>
                  <a:cubicBezTo>
                    <a:pt x="9688" y="2717"/>
                    <a:pt x="10006" y="2581"/>
                    <a:pt x="10006" y="2581"/>
                  </a:cubicBezTo>
                  <a:cubicBezTo>
                    <a:pt x="10006" y="2445"/>
                    <a:pt x="10006" y="2445"/>
                    <a:pt x="10006" y="2445"/>
                  </a:cubicBezTo>
                  <a:cubicBezTo>
                    <a:pt x="10006" y="2445"/>
                    <a:pt x="9529" y="2445"/>
                    <a:pt x="9529" y="2445"/>
                  </a:cubicBezTo>
                  <a:cubicBezTo>
                    <a:pt x="9529" y="2445"/>
                    <a:pt x="9212" y="2717"/>
                    <a:pt x="9212" y="2717"/>
                  </a:cubicBezTo>
                  <a:cubicBezTo>
                    <a:pt x="9212" y="2717"/>
                    <a:pt x="8894" y="2989"/>
                    <a:pt x="8894" y="2989"/>
                  </a:cubicBezTo>
                  <a:close/>
                  <a:moveTo>
                    <a:pt x="8735" y="4347"/>
                  </a:moveTo>
                  <a:cubicBezTo>
                    <a:pt x="8735" y="4347"/>
                    <a:pt x="8735" y="4347"/>
                    <a:pt x="8735" y="4347"/>
                  </a:cubicBezTo>
                  <a:cubicBezTo>
                    <a:pt x="8735" y="4347"/>
                    <a:pt x="9053" y="4075"/>
                    <a:pt x="9053" y="3940"/>
                  </a:cubicBezTo>
                  <a:cubicBezTo>
                    <a:pt x="9053" y="3940"/>
                    <a:pt x="9053" y="3668"/>
                    <a:pt x="9053" y="3668"/>
                  </a:cubicBezTo>
                  <a:cubicBezTo>
                    <a:pt x="9053" y="3396"/>
                    <a:pt x="9053" y="3396"/>
                    <a:pt x="9053" y="3396"/>
                  </a:cubicBezTo>
                  <a:cubicBezTo>
                    <a:pt x="8735" y="3125"/>
                    <a:pt x="8735" y="3125"/>
                    <a:pt x="8735" y="3125"/>
                  </a:cubicBezTo>
                  <a:cubicBezTo>
                    <a:pt x="8735" y="3125"/>
                    <a:pt x="8576" y="3396"/>
                    <a:pt x="8576" y="3396"/>
                  </a:cubicBezTo>
                  <a:cubicBezTo>
                    <a:pt x="8576" y="3532"/>
                    <a:pt x="8418" y="3532"/>
                    <a:pt x="8259" y="3668"/>
                  </a:cubicBezTo>
                  <a:cubicBezTo>
                    <a:pt x="8100" y="3804"/>
                    <a:pt x="8100" y="3940"/>
                    <a:pt x="8100" y="4075"/>
                  </a:cubicBezTo>
                  <a:cubicBezTo>
                    <a:pt x="8100" y="4075"/>
                    <a:pt x="7941" y="4211"/>
                    <a:pt x="7941" y="4347"/>
                  </a:cubicBezTo>
                  <a:cubicBezTo>
                    <a:pt x="7941" y="4483"/>
                    <a:pt x="8100" y="4483"/>
                    <a:pt x="8259" y="4483"/>
                  </a:cubicBezTo>
                  <a:cubicBezTo>
                    <a:pt x="8418" y="4483"/>
                    <a:pt x="8259" y="4483"/>
                    <a:pt x="8259" y="4483"/>
                  </a:cubicBezTo>
                  <a:cubicBezTo>
                    <a:pt x="8735" y="4347"/>
                    <a:pt x="8735" y="4347"/>
                    <a:pt x="8735" y="4347"/>
                  </a:cubicBezTo>
                  <a:close/>
                  <a:moveTo>
                    <a:pt x="3335" y="12770"/>
                  </a:moveTo>
                  <a:cubicBezTo>
                    <a:pt x="3335" y="12770"/>
                    <a:pt x="3335" y="12770"/>
                    <a:pt x="3335" y="12770"/>
                  </a:cubicBezTo>
                  <a:cubicBezTo>
                    <a:pt x="3335" y="12770"/>
                    <a:pt x="3335" y="12770"/>
                    <a:pt x="3494" y="12770"/>
                  </a:cubicBezTo>
                  <a:cubicBezTo>
                    <a:pt x="3494" y="12770"/>
                    <a:pt x="3494" y="12634"/>
                    <a:pt x="3494" y="12634"/>
                  </a:cubicBezTo>
                  <a:cubicBezTo>
                    <a:pt x="3653" y="12634"/>
                    <a:pt x="3653" y="12770"/>
                    <a:pt x="3653" y="12770"/>
                  </a:cubicBezTo>
                  <a:cubicBezTo>
                    <a:pt x="3812" y="12770"/>
                    <a:pt x="3812" y="12906"/>
                    <a:pt x="3812" y="12906"/>
                  </a:cubicBezTo>
                  <a:cubicBezTo>
                    <a:pt x="3971" y="13177"/>
                    <a:pt x="3971" y="13177"/>
                    <a:pt x="3971" y="13177"/>
                  </a:cubicBezTo>
                  <a:cubicBezTo>
                    <a:pt x="3971" y="13177"/>
                    <a:pt x="3971" y="13313"/>
                    <a:pt x="3971" y="13313"/>
                  </a:cubicBezTo>
                  <a:cubicBezTo>
                    <a:pt x="3971" y="13449"/>
                    <a:pt x="3971" y="13449"/>
                    <a:pt x="3971" y="13449"/>
                  </a:cubicBezTo>
                  <a:cubicBezTo>
                    <a:pt x="3971" y="13449"/>
                    <a:pt x="4129" y="13449"/>
                    <a:pt x="4288" y="13449"/>
                  </a:cubicBezTo>
                  <a:cubicBezTo>
                    <a:pt x="4288" y="13449"/>
                    <a:pt x="4288" y="13585"/>
                    <a:pt x="4447" y="13585"/>
                  </a:cubicBezTo>
                  <a:cubicBezTo>
                    <a:pt x="4606" y="13721"/>
                    <a:pt x="4606" y="13721"/>
                    <a:pt x="4606" y="13721"/>
                  </a:cubicBezTo>
                  <a:cubicBezTo>
                    <a:pt x="4765" y="13857"/>
                    <a:pt x="4765" y="13857"/>
                    <a:pt x="4924" y="13992"/>
                  </a:cubicBezTo>
                  <a:cubicBezTo>
                    <a:pt x="5082" y="13992"/>
                    <a:pt x="5082" y="13992"/>
                    <a:pt x="5241" y="13992"/>
                  </a:cubicBezTo>
                  <a:cubicBezTo>
                    <a:pt x="5241" y="13857"/>
                    <a:pt x="5241" y="13857"/>
                    <a:pt x="5400" y="13857"/>
                  </a:cubicBezTo>
                  <a:cubicBezTo>
                    <a:pt x="5400" y="13857"/>
                    <a:pt x="5400" y="13857"/>
                    <a:pt x="5559" y="13857"/>
                  </a:cubicBezTo>
                  <a:cubicBezTo>
                    <a:pt x="5559" y="13721"/>
                    <a:pt x="5400" y="13721"/>
                    <a:pt x="5400" y="13721"/>
                  </a:cubicBezTo>
                  <a:cubicBezTo>
                    <a:pt x="5400" y="13721"/>
                    <a:pt x="5241" y="13585"/>
                    <a:pt x="5082" y="13449"/>
                  </a:cubicBezTo>
                  <a:cubicBezTo>
                    <a:pt x="5082" y="13449"/>
                    <a:pt x="5082" y="13449"/>
                    <a:pt x="5082" y="13313"/>
                  </a:cubicBezTo>
                  <a:cubicBezTo>
                    <a:pt x="5082" y="13313"/>
                    <a:pt x="5082" y="13313"/>
                    <a:pt x="4924" y="13177"/>
                  </a:cubicBezTo>
                  <a:cubicBezTo>
                    <a:pt x="4765" y="13177"/>
                    <a:pt x="4765" y="13177"/>
                    <a:pt x="4765" y="13177"/>
                  </a:cubicBezTo>
                  <a:cubicBezTo>
                    <a:pt x="4606" y="13042"/>
                    <a:pt x="4606" y="12906"/>
                    <a:pt x="4606" y="12906"/>
                  </a:cubicBezTo>
                  <a:cubicBezTo>
                    <a:pt x="4606" y="12906"/>
                    <a:pt x="4288" y="12906"/>
                    <a:pt x="4288" y="12770"/>
                  </a:cubicBezTo>
                  <a:cubicBezTo>
                    <a:pt x="4288" y="12770"/>
                    <a:pt x="4129" y="12770"/>
                    <a:pt x="4129" y="12770"/>
                  </a:cubicBezTo>
                  <a:cubicBezTo>
                    <a:pt x="4129" y="12770"/>
                    <a:pt x="3812" y="12634"/>
                    <a:pt x="3812" y="12498"/>
                  </a:cubicBezTo>
                  <a:cubicBezTo>
                    <a:pt x="3812" y="12498"/>
                    <a:pt x="3812" y="12362"/>
                    <a:pt x="3812" y="12362"/>
                  </a:cubicBezTo>
                  <a:cubicBezTo>
                    <a:pt x="3812" y="12362"/>
                    <a:pt x="3653" y="12362"/>
                    <a:pt x="3494" y="12362"/>
                  </a:cubicBezTo>
                  <a:cubicBezTo>
                    <a:pt x="3335" y="12498"/>
                    <a:pt x="3176" y="12498"/>
                    <a:pt x="3176" y="12498"/>
                  </a:cubicBezTo>
                  <a:cubicBezTo>
                    <a:pt x="3018" y="12498"/>
                    <a:pt x="3018" y="12634"/>
                    <a:pt x="3018" y="12634"/>
                  </a:cubicBezTo>
                  <a:cubicBezTo>
                    <a:pt x="3018" y="12634"/>
                    <a:pt x="3018" y="12770"/>
                    <a:pt x="3176" y="12770"/>
                  </a:cubicBezTo>
                  <a:cubicBezTo>
                    <a:pt x="3176" y="12906"/>
                    <a:pt x="3335" y="12770"/>
                    <a:pt x="3335" y="12770"/>
                  </a:cubicBezTo>
                  <a:close/>
                  <a:moveTo>
                    <a:pt x="11276" y="10189"/>
                  </a:moveTo>
                  <a:cubicBezTo>
                    <a:pt x="11276" y="10189"/>
                    <a:pt x="11276" y="10189"/>
                    <a:pt x="11276" y="10189"/>
                  </a:cubicBezTo>
                  <a:cubicBezTo>
                    <a:pt x="11276" y="10325"/>
                    <a:pt x="11276" y="10325"/>
                    <a:pt x="11276" y="10325"/>
                  </a:cubicBezTo>
                  <a:cubicBezTo>
                    <a:pt x="11276" y="10325"/>
                    <a:pt x="11276" y="10325"/>
                    <a:pt x="11435" y="10325"/>
                  </a:cubicBezTo>
                  <a:cubicBezTo>
                    <a:pt x="11435" y="10189"/>
                    <a:pt x="11435" y="10325"/>
                    <a:pt x="11594" y="10325"/>
                  </a:cubicBezTo>
                  <a:cubicBezTo>
                    <a:pt x="11594" y="10325"/>
                    <a:pt x="11594" y="10325"/>
                    <a:pt x="11594" y="10325"/>
                  </a:cubicBezTo>
                  <a:cubicBezTo>
                    <a:pt x="11753" y="10325"/>
                    <a:pt x="11912" y="10053"/>
                    <a:pt x="11912" y="10053"/>
                  </a:cubicBezTo>
                  <a:cubicBezTo>
                    <a:pt x="11912" y="10053"/>
                    <a:pt x="11912" y="10053"/>
                    <a:pt x="12071" y="10053"/>
                  </a:cubicBezTo>
                  <a:cubicBezTo>
                    <a:pt x="12071" y="10053"/>
                    <a:pt x="12229" y="10053"/>
                    <a:pt x="12229" y="9917"/>
                  </a:cubicBezTo>
                  <a:cubicBezTo>
                    <a:pt x="12229" y="9917"/>
                    <a:pt x="12229" y="9917"/>
                    <a:pt x="12388" y="9917"/>
                  </a:cubicBezTo>
                  <a:cubicBezTo>
                    <a:pt x="12388" y="9781"/>
                    <a:pt x="12388" y="9781"/>
                    <a:pt x="12388" y="9781"/>
                  </a:cubicBezTo>
                  <a:cubicBezTo>
                    <a:pt x="12547" y="9645"/>
                    <a:pt x="12706" y="9645"/>
                    <a:pt x="12706" y="9645"/>
                  </a:cubicBezTo>
                  <a:cubicBezTo>
                    <a:pt x="12865" y="9509"/>
                    <a:pt x="12865" y="9509"/>
                    <a:pt x="12865" y="9374"/>
                  </a:cubicBezTo>
                  <a:cubicBezTo>
                    <a:pt x="12865" y="9374"/>
                    <a:pt x="12706" y="9374"/>
                    <a:pt x="12706" y="9509"/>
                  </a:cubicBezTo>
                  <a:cubicBezTo>
                    <a:pt x="12547" y="9509"/>
                    <a:pt x="12388" y="9509"/>
                    <a:pt x="12388" y="9509"/>
                  </a:cubicBezTo>
                  <a:cubicBezTo>
                    <a:pt x="12388" y="9645"/>
                    <a:pt x="12229" y="9645"/>
                    <a:pt x="12229" y="9645"/>
                  </a:cubicBezTo>
                  <a:cubicBezTo>
                    <a:pt x="12071" y="9645"/>
                    <a:pt x="11912" y="9781"/>
                    <a:pt x="11753" y="9781"/>
                  </a:cubicBezTo>
                  <a:cubicBezTo>
                    <a:pt x="11753" y="9781"/>
                    <a:pt x="11753" y="9917"/>
                    <a:pt x="11594" y="10053"/>
                  </a:cubicBezTo>
                  <a:cubicBezTo>
                    <a:pt x="11594" y="10053"/>
                    <a:pt x="11594" y="10053"/>
                    <a:pt x="11594" y="10189"/>
                  </a:cubicBezTo>
                  <a:cubicBezTo>
                    <a:pt x="11435" y="10189"/>
                    <a:pt x="11276" y="10189"/>
                    <a:pt x="11276" y="10189"/>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6" name="Shape 2239">
              <a:extLst>
                <a:ext uri="{FF2B5EF4-FFF2-40B4-BE49-F238E27FC236}">
                  <a16:creationId xmlns:a16="http://schemas.microsoft.com/office/drawing/2014/main" id="{6A0A5408-6EB0-A81C-B25B-9AAE1CE5581B}"/>
                </a:ext>
              </a:extLst>
            </p:cNvPr>
            <p:cNvSpPr/>
            <p:nvPr/>
          </p:nvSpPr>
          <p:spPr>
            <a:xfrm>
              <a:off x="9178366" y="5970994"/>
              <a:ext cx="695935" cy="476061"/>
            </a:xfrm>
            <a:custGeom>
              <a:avLst/>
              <a:gdLst/>
              <a:ahLst/>
              <a:cxnLst>
                <a:cxn ang="0">
                  <a:pos x="wd2" y="hd2"/>
                </a:cxn>
                <a:cxn ang="5400000">
                  <a:pos x="wd2" y="hd2"/>
                </a:cxn>
                <a:cxn ang="10800000">
                  <a:pos x="wd2" y="hd2"/>
                </a:cxn>
                <a:cxn ang="16200000">
                  <a:pos x="wd2" y="hd2"/>
                </a:cxn>
              </a:cxnLst>
              <a:rect l="0" t="0" r="r" b="b"/>
              <a:pathLst>
                <a:path w="21600" h="21600" extrusionOk="0">
                  <a:moveTo>
                    <a:pt x="256" y="5990"/>
                  </a:moveTo>
                  <a:cubicBezTo>
                    <a:pt x="0" y="5627"/>
                    <a:pt x="0" y="5627"/>
                    <a:pt x="0" y="5627"/>
                  </a:cubicBezTo>
                  <a:cubicBezTo>
                    <a:pt x="511" y="5082"/>
                    <a:pt x="511" y="5082"/>
                    <a:pt x="511" y="5082"/>
                  </a:cubicBezTo>
                  <a:cubicBezTo>
                    <a:pt x="511" y="5082"/>
                    <a:pt x="767" y="5082"/>
                    <a:pt x="895" y="4901"/>
                  </a:cubicBezTo>
                  <a:cubicBezTo>
                    <a:pt x="1150" y="4901"/>
                    <a:pt x="1917" y="4538"/>
                    <a:pt x="1917" y="4538"/>
                  </a:cubicBezTo>
                  <a:cubicBezTo>
                    <a:pt x="2173" y="4175"/>
                    <a:pt x="2173" y="4175"/>
                    <a:pt x="2173" y="4175"/>
                  </a:cubicBezTo>
                  <a:cubicBezTo>
                    <a:pt x="2173" y="4175"/>
                    <a:pt x="2428" y="3812"/>
                    <a:pt x="2428" y="3812"/>
                  </a:cubicBezTo>
                  <a:cubicBezTo>
                    <a:pt x="2556" y="3812"/>
                    <a:pt x="2812" y="3812"/>
                    <a:pt x="2940" y="3630"/>
                  </a:cubicBezTo>
                  <a:cubicBezTo>
                    <a:pt x="2940" y="3630"/>
                    <a:pt x="3067" y="3449"/>
                    <a:pt x="3067" y="3449"/>
                  </a:cubicBezTo>
                  <a:cubicBezTo>
                    <a:pt x="3067" y="3449"/>
                    <a:pt x="3067" y="3267"/>
                    <a:pt x="3195" y="3267"/>
                  </a:cubicBezTo>
                  <a:cubicBezTo>
                    <a:pt x="3195" y="3267"/>
                    <a:pt x="3323" y="3267"/>
                    <a:pt x="3451" y="3086"/>
                  </a:cubicBezTo>
                  <a:cubicBezTo>
                    <a:pt x="3579" y="3086"/>
                    <a:pt x="3579" y="3086"/>
                    <a:pt x="3707" y="2904"/>
                  </a:cubicBezTo>
                  <a:cubicBezTo>
                    <a:pt x="3707" y="2904"/>
                    <a:pt x="3834" y="2360"/>
                    <a:pt x="3834" y="2360"/>
                  </a:cubicBezTo>
                  <a:cubicBezTo>
                    <a:pt x="3834" y="2360"/>
                    <a:pt x="3834" y="2360"/>
                    <a:pt x="3834" y="2360"/>
                  </a:cubicBezTo>
                  <a:cubicBezTo>
                    <a:pt x="3962" y="2360"/>
                    <a:pt x="4090" y="2541"/>
                    <a:pt x="4090" y="2541"/>
                  </a:cubicBezTo>
                  <a:cubicBezTo>
                    <a:pt x="4090" y="2541"/>
                    <a:pt x="4346" y="2541"/>
                    <a:pt x="4473" y="2541"/>
                  </a:cubicBezTo>
                  <a:cubicBezTo>
                    <a:pt x="4473" y="2541"/>
                    <a:pt x="4729" y="2360"/>
                    <a:pt x="4729" y="2360"/>
                  </a:cubicBezTo>
                  <a:cubicBezTo>
                    <a:pt x="4729" y="2360"/>
                    <a:pt x="4729" y="2178"/>
                    <a:pt x="4857" y="2178"/>
                  </a:cubicBezTo>
                  <a:cubicBezTo>
                    <a:pt x="4985" y="2178"/>
                    <a:pt x="5112" y="2178"/>
                    <a:pt x="5240" y="2178"/>
                  </a:cubicBezTo>
                  <a:cubicBezTo>
                    <a:pt x="5240" y="2178"/>
                    <a:pt x="5496" y="2178"/>
                    <a:pt x="5496" y="2178"/>
                  </a:cubicBezTo>
                  <a:cubicBezTo>
                    <a:pt x="5624" y="1997"/>
                    <a:pt x="5624" y="1997"/>
                    <a:pt x="5624" y="1997"/>
                  </a:cubicBezTo>
                  <a:cubicBezTo>
                    <a:pt x="5751" y="1997"/>
                    <a:pt x="5624" y="1815"/>
                    <a:pt x="5751" y="1997"/>
                  </a:cubicBezTo>
                  <a:cubicBezTo>
                    <a:pt x="5879" y="1997"/>
                    <a:pt x="5751" y="2178"/>
                    <a:pt x="5879" y="1997"/>
                  </a:cubicBezTo>
                  <a:cubicBezTo>
                    <a:pt x="6007" y="1815"/>
                    <a:pt x="6135" y="1452"/>
                    <a:pt x="6135" y="1452"/>
                  </a:cubicBezTo>
                  <a:cubicBezTo>
                    <a:pt x="6135" y="1452"/>
                    <a:pt x="6007" y="1452"/>
                    <a:pt x="6263" y="1452"/>
                  </a:cubicBezTo>
                  <a:cubicBezTo>
                    <a:pt x="6518" y="1452"/>
                    <a:pt x="6518" y="1452"/>
                    <a:pt x="6774" y="1452"/>
                  </a:cubicBezTo>
                  <a:cubicBezTo>
                    <a:pt x="6902" y="1452"/>
                    <a:pt x="7157" y="1271"/>
                    <a:pt x="7157" y="1271"/>
                  </a:cubicBezTo>
                  <a:cubicBezTo>
                    <a:pt x="7285" y="1271"/>
                    <a:pt x="7413" y="1089"/>
                    <a:pt x="7413" y="1089"/>
                  </a:cubicBezTo>
                  <a:cubicBezTo>
                    <a:pt x="7413" y="908"/>
                    <a:pt x="6902" y="545"/>
                    <a:pt x="6902" y="545"/>
                  </a:cubicBezTo>
                  <a:cubicBezTo>
                    <a:pt x="6902" y="545"/>
                    <a:pt x="6646" y="363"/>
                    <a:pt x="7030" y="363"/>
                  </a:cubicBezTo>
                  <a:cubicBezTo>
                    <a:pt x="7413" y="545"/>
                    <a:pt x="7541" y="545"/>
                    <a:pt x="7541" y="545"/>
                  </a:cubicBezTo>
                  <a:cubicBezTo>
                    <a:pt x="7669" y="545"/>
                    <a:pt x="7669" y="363"/>
                    <a:pt x="7796" y="363"/>
                  </a:cubicBezTo>
                  <a:cubicBezTo>
                    <a:pt x="7924" y="182"/>
                    <a:pt x="8052" y="0"/>
                    <a:pt x="8052" y="0"/>
                  </a:cubicBezTo>
                  <a:cubicBezTo>
                    <a:pt x="8180" y="0"/>
                    <a:pt x="8436" y="363"/>
                    <a:pt x="8436" y="363"/>
                  </a:cubicBezTo>
                  <a:cubicBezTo>
                    <a:pt x="8436" y="726"/>
                    <a:pt x="8436" y="726"/>
                    <a:pt x="8436" y="726"/>
                  </a:cubicBezTo>
                  <a:cubicBezTo>
                    <a:pt x="8819" y="726"/>
                    <a:pt x="8819" y="726"/>
                    <a:pt x="8819" y="726"/>
                  </a:cubicBezTo>
                  <a:cubicBezTo>
                    <a:pt x="8819" y="726"/>
                    <a:pt x="8947" y="545"/>
                    <a:pt x="9075" y="726"/>
                  </a:cubicBezTo>
                  <a:cubicBezTo>
                    <a:pt x="9202" y="726"/>
                    <a:pt x="9458" y="1089"/>
                    <a:pt x="9458" y="1089"/>
                  </a:cubicBezTo>
                  <a:cubicBezTo>
                    <a:pt x="9330" y="1452"/>
                    <a:pt x="9330" y="1452"/>
                    <a:pt x="9330" y="1452"/>
                  </a:cubicBezTo>
                  <a:cubicBezTo>
                    <a:pt x="8819" y="1634"/>
                    <a:pt x="8819" y="1634"/>
                    <a:pt x="8819" y="1634"/>
                  </a:cubicBezTo>
                  <a:cubicBezTo>
                    <a:pt x="8819" y="1634"/>
                    <a:pt x="8819" y="1997"/>
                    <a:pt x="8947" y="1997"/>
                  </a:cubicBezTo>
                  <a:cubicBezTo>
                    <a:pt x="8947" y="1997"/>
                    <a:pt x="9075" y="2178"/>
                    <a:pt x="9202" y="1997"/>
                  </a:cubicBezTo>
                  <a:cubicBezTo>
                    <a:pt x="9330" y="1997"/>
                    <a:pt x="9330" y="1815"/>
                    <a:pt x="9330" y="1815"/>
                  </a:cubicBezTo>
                  <a:cubicBezTo>
                    <a:pt x="9330" y="1815"/>
                    <a:pt x="9714" y="1815"/>
                    <a:pt x="9714" y="1997"/>
                  </a:cubicBezTo>
                  <a:cubicBezTo>
                    <a:pt x="9714" y="1997"/>
                    <a:pt x="9969" y="2178"/>
                    <a:pt x="9969" y="2178"/>
                  </a:cubicBezTo>
                  <a:cubicBezTo>
                    <a:pt x="10097" y="1997"/>
                    <a:pt x="10225" y="1997"/>
                    <a:pt x="10353" y="1997"/>
                  </a:cubicBezTo>
                  <a:cubicBezTo>
                    <a:pt x="10353" y="1997"/>
                    <a:pt x="10480" y="2178"/>
                    <a:pt x="10608" y="2178"/>
                  </a:cubicBezTo>
                  <a:cubicBezTo>
                    <a:pt x="10736" y="2178"/>
                    <a:pt x="10864" y="1815"/>
                    <a:pt x="10864" y="1815"/>
                  </a:cubicBezTo>
                  <a:cubicBezTo>
                    <a:pt x="10864" y="1815"/>
                    <a:pt x="10992" y="1815"/>
                    <a:pt x="10992" y="1997"/>
                  </a:cubicBezTo>
                  <a:cubicBezTo>
                    <a:pt x="11120" y="1997"/>
                    <a:pt x="10992" y="1997"/>
                    <a:pt x="11120" y="2178"/>
                  </a:cubicBezTo>
                  <a:cubicBezTo>
                    <a:pt x="11120" y="2360"/>
                    <a:pt x="11120" y="2360"/>
                    <a:pt x="11247" y="2360"/>
                  </a:cubicBezTo>
                  <a:cubicBezTo>
                    <a:pt x="11375" y="2541"/>
                    <a:pt x="11631" y="2541"/>
                    <a:pt x="11631" y="2723"/>
                  </a:cubicBezTo>
                  <a:cubicBezTo>
                    <a:pt x="11631" y="2723"/>
                    <a:pt x="11759" y="3086"/>
                    <a:pt x="11886" y="3086"/>
                  </a:cubicBezTo>
                  <a:cubicBezTo>
                    <a:pt x="12014" y="2904"/>
                    <a:pt x="12014" y="2904"/>
                    <a:pt x="12142" y="2904"/>
                  </a:cubicBezTo>
                  <a:cubicBezTo>
                    <a:pt x="12270" y="3086"/>
                    <a:pt x="12525" y="2904"/>
                    <a:pt x="12525" y="3086"/>
                  </a:cubicBezTo>
                  <a:cubicBezTo>
                    <a:pt x="12398" y="3267"/>
                    <a:pt x="12398" y="3449"/>
                    <a:pt x="12398" y="3630"/>
                  </a:cubicBezTo>
                  <a:cubicBezTo>
                    <a:pt x="12398" y="3630"/>
                    <a:pt x="12270" y="3812"/>
                    <a:pt x="12142" y="3812"/>
                  </a:cubicBezTo>
                  <a:cubicBezTo>
                    <a:pt x="12014" y="3812"/>
                    <a:pt x="11886" y="3993"/>
                    <a:pt x="11886" y="3993"/>
                  </a:cubicBezTo>
                  <a:cubicBezTo>
                    <a:pt x="11886" y="4175"/>
                    <a:pt x="11759" y="4356"/>
                    <a:pt x="11759" y="4538"/>
                  </a:cubicBezTo>
                  <a:cubicBezTo>
                    <a:pt x="11631" y="4719"/>
                    <a:pt x="11631" y="4901"/>
                    <a:pt x="11631" y="4901"/>
                  </a:cubicBezTo>
                  <a:cubicBezTo>
                    <a:pt x="11503" y="5082"/>
                    <a:pt x="11503" y="5082"/>
                    <a:pt x="11503" y="5082"/>
                  </a:cubicBezTo>
                  <a:cubicBezTo>
                    <a:pt x="11503" y="5264"/>
                    <a:pt x="11886" y="5990"/>
                    <a:pt x="11886" y="5990"/>
                  </a:cubicBezTo>
                  <a:cubicBezTo>
                    <a:pt x="12142" y="6171"/>
                    <a:pt x="12142" y="6171"/>
                    <a:pt x="12142" y="6171"/>
                  </a:cubicBezTo>
                  <a:cubicBezTo>
                    <a:pt x="12270" y="6534"/>
                    <a:pt x="12270" y="6534"/>
                    <a:pt x="12270" y="6534"/>
                  </a:cubicBezTo>
                  <a:cubicBezTo>
                    <a:pt x="13037" y="7261"/>
                    <a:pt x="13037" y="7261"/>
                    <a:pt x="13037" y="7261"/>
                  </a:cubicBezTo>
                  <a:cubicBezTo>
                    <a:pt x="13037" y="7261"/>
                    <a:pt x="13292" y="7442"/>
                    <a:pt x="13548" y="7442"/>
                  </a:cubicBezTo>
                  <a:cubicBezTo>
                    <a:pt x="13804" y="7624"/>
                    <a:pt x="14059" y="7624"/>
                    <a:pt x="14059" y="7624"/>
                  </a:cubicBezTo>
                  <a:cubicBezTo>
                    <a:pt x="14443" y="8168"/>
                    <a:pt x="14443" y="8168"/>
                    <a:pt x="14443" y="8168"/>
                  </a:cubicBezTo>
                  <a:cubicBezTo>
                    <a:pt x="14443" y="8168"/>
                    <a:pt x="14698" y="8168"/>
                    <a:pt x="14826" y="8168"/>
                  </a:cubicBezTo>
                  <a:cubicBezTo>
                    <a:pt x="14826" y="8350"/>
                    <a:pt x="15209" y="8350"/>
                    <a:pt x="15209" y="8350"/>
                  </a:cubicBezTo>
                  <a:cubicBezTo>
                    <a:pt x="15465" y="8350"/>
                    <a:pt x="15465" y="8350"/>
                    <a:pt x="15465" y="8350"/>
                  </a:cubicBezTo>
                  <a:cubicBezTo>
                    <a:pt x="15465" y="8350"/>
                    <a:pt x="15593" y="8168"/>
                    <a:pt x="15721" y="8531"/>
                  </a:cubicBezTo>
                  <a:cubicBezTo>
                    <a:pt x="15721" y="8713"/>
                    <a:pt x="15849" y="9076"/>
                    <a:pt x="15849" y="9076"/>
                  </a:cubicBezTo>
                  <a:cubicBezTo>
                    <a:pt x="15849" y="9076"/>
                    <a:pt x="15849" y="9257"/>
                    <a:pt x="15849" y="9439"/>
                  </a:cubicBezTo>
                  <a:cubicBezTo>
                    <a:pt x="15721" y="9439"/>
                    <a:pt x="15721" y="9439"/>
                    <a:pt x="15721" y="9620"/>
                  </a:cubicBezTo>
                  <a:cubicBezTo>
                    <a:pt x="15721" y="9620"/>
                    <a:pt x="15721" y="10346"/>
                    <a:pt x="15721" y="10346"/>
                  </a:cubicBezTo>
                  <a:cubicBezTo>
                    <a:pt x="15721" y="10346"/>
                    <a:pt x="15721" y="10528"/>
                    <a:pt x="15593" y="10528"/>
                  </a:cubicBezTo>
                  <a:cubicBezTo>
                    <a:pt x="15337" y="10709"/>
                    <a:pt x="15337" y="10709"/>
                    <a:pt x="15209" y="10709"/>
                  </a:cubicBezTo>
                  <a:cubicBezTo>
                    <a:pt x="14954" y="10709"/>
                    <a:pt x="14570" y="10891"/>
                    <a:pt x="14443" y="11072"/>
                  </a:cubicBezTo>
                  <a:cubicBezTo>
                    <a:pt x="14443" y="11072"/>
                    <a:pt x="14187" y="11072"/>
                    <a:pt x="14187" y="11072"/>
                  </a:cubicBezTo>
                  <a:cubicBezTo>
                    <a:pt x="14187" y="11254"/>
                    <a:pt x="14059" y="11617"/>
                    <a:pt x="14059" y="11617"/>
                  </a:cubicBezTo>
                  <a:cubicBezTo>
                    <a:pt x="14059" y="11617"/>
                    <a:pt x="14059" y="11980"/>
                    <a:pt x="14315" y="11980"/>
                  </a:cubicBezTo>
                  <a:cubicBezTo>
                    <a:pt x="14698" y="11980"/>
                    <a:pt x="14698" y="11980"/>
                    <a:pt x="14826" y="11980"/>
                  </a:cubicBezTo>
                  <a:cubicBezTo>
                    <a:pt x="14954" y="11980"/>
                    <a:pt x="14954" y="11798"/>
                    <a:pt x="15209" y="11980"/>
                  </a:cubicBezTo>
                  <a:cubicBezTo>
                    <a:pt x="15337" y="11980"/>
                    <a:pt x="15465" y="12343"/>
                    <a:pt x="15465" y="12343"/>
                  </a:cubicBezTo>
                  <a:cubicBezTo>
                    <a:pt x="15721" y="12706"/>
                    <a:pt x="15721" y="12706"/>
                    <a:pt x="15721" y="12706"/>
                  </a:cubicBezTo>
                  <a:cubicBezTo>
                    <a:pt x="15976" y="12887"/>
                    <a:pt x="15976" y="12887"/>
                    <a:pt x="15976" y="12887"/>
                  </a:cubicBezTo>
                  <a:cubicBezTo>
                    <a:pt x="16743" y="12887"/>
                    <a:pt x="16743" y="12887"/>
                    <a:pt x="16743" y="12887"/>
                  </a:cubicBezTo>
                  <a:cubicBezTo>
                    <a:pt x="17254" y="13613"/>
                    <a:pt x="17254" y="13613"/>
                    <a:pt x="17254" y="13613"/>
                  </a:cubicBezTo>
                  <a:cubicBezTo>
                    <a:pt x="17893" y="13795"/>
                    <a:pt x="17893" y="13795"/>
                    <a:pt x="17893" y="13795"/>
                  </a:cubicBezTo>
                  <a:cubicBezTo>
                    <a:pt x="17893" y="13795"/>
                    <a:pt x="17893" y="14339"/>
                    <a:pt x="18021" y="14339"/>
                  </a:cubicBezTo>
                  <a:cubicBezTo>
                    <a:pt x="18277" y="14339"/>
                    <a:pt x="18405" y="14158"/>
                    <a:pt x="18405" y="14158"/>
                  </a:cubicBezTo>
                  <a:cubicBezTo>
                    <a:pt x="18405" y="14158"/>
                    <a:pt x="18660" y="13795"/>
                    <a:pt x="18788" y="13795"/>
                  </a:cubicBezTo>
                  <a:cubicBezTo>
                    <a:pt x="19044" y="13613"/>
                    <a:pt x="18916" y="13432"/>
                    <a:pt x="19172" y="13613"/>
                  </a:cubicBezTo>
                  <a:cubicBezTo>
                    <a:pt x="19427" y="13976"/>
                    <a:pt x="19938" y="13613"/>
                    <a:pt x="19938" y="13613"/>
                  </a:cubicBezTo>
                  <a:cubicBezTo>
                    <a:pt x="20194" y="13613"/>
                    <a:pt x="20194" y="13613"/>
                    <a:pt x="20194" y="13613"/>
                  </a:cubicBezTo>
                  <a:cubicBezTo>
                    <a:pt x="20194" y="14158"/>
                    <a:pt x="20194" y="14158"/>
                    <a:pt x="20194" y="14158"/>
                  </a:cubicBezTo>
                  <a:cubicBezTo>
                    <a:pt x="20194" y="14703"/>
                    <a:pt x="20194" y="14703"/>
                    <a:pt x="20194" y="14703"/>
                  </a:cubicBezTo>
                  <a:cubicBezTo>
                    <a:pt x="19811" y="15066"/>
                    <a:pt x="19811" y="15066"/>
                    <a:pt x="19811" y="15066"/>
                  </a:cubicBezTo>
                  <a:cubicBezTo>
                    <a:pt x="19683" y="15247"/>
                    <a:pt x="19683" y="15247"/>
                    <a:pt x="19683" y="15247"/>
                  </a:cubicBezTo>
                  <a:cubicBezTo>
                    <a:pt x="19683" y="15247"/>
                    <a:pt x="19683" y="15429"/>
                    <a:pt x="19683" y="15610"/>
                  </a:cubicBezTo>
                  <a:cubicBezTo>
                    <a:pt x="19811" y="15610"/>
                    <a:pt x="19938" y="15792"/>
                    <a:pt x="19938" y="15792"/>
                  </a:cubicBezTo>
                  <a:cubicBezTo>
                    <a:pt x="20450" y="15973"/>
                    <a:pt x="20450" y="15973"/>
                    <a:pt x="20450" y="15973"/>
                  </a:cubicBezTo>
                  <a:cubicBezTo>
                    <a:pt x="20833" y="16336"/>
                    <a:pt x="20833" y="16336"/>
                    <a:pt x="20833" y="16336"/>
                  </a:cubicBezTo>
                  <a:cubicBezTo>
                    <a:pt x="20833" y="16336"/>
                    <a:pt x="20833" y="16881"/>
                    <a:pt x="20961" y="16881"/>
                  </a:cubicBezTo>
                  <a:cubicBezTo>
                    <a:pt x="21089" y="16881"/>
                    <a:pt x="21344" y="17062"/>
                    <a:pt x="21344" y="17062"/>
                  </a:cubicBezTo>
                  <a:cubicBezTo>
                    <a:pt x="21344" y="17062"/>
                    <a:pt x="20833" y="17607"/>
                    <a:pt x="20705" y="17607"/>
                  </a:cubicBezTo>
                  <a:cubicBezTo>
                    <a:pt x="20578" y="17607"/>
                    <a:pt x="20194" y="17425"/>
                    <a:pt x="20194" y="17425"/>
                  </a:cubicBezTo>
                  <a:cubicBezTo>
                    <a:pt x="20322" y="18151"/>
                    <a:pt x="20322" y="18151"/>
                    <a:pt x="20322" y="18151"/>
                  </a:cubicBezTo>
                  <a:cubicBezTo>
                    <a:pt x="20833" y="18151"/>
                    <a:pt x="20833" y="18151"/>
                    <a:pt x="20833" y="18151"/>
                  </a:cubicBezTo>
                  <a:cubicBezTo>
                    <a:pt x="20833" y="18151"/>
                    <a:pt x="20833" y="18151"/>
                    <a:pt x="20961" y="18333"/>
                  </a:cubicBezTo>
                  <a:cubicBezTo>
                    <a:pt x="20961" y="18514"/>
                    <a:pt x="21089" y="18696"/>
                    <a:pt x="21089" y="18696"/>
                  </a:cubicBezTo>
                  <a:cubicBezTo>
                    <a:pt x="21089" y="18696"/>
                    <a:pt x="21600" y="18514"/>
                    <a:pt x="21600" y="19240"/>
                  </a:cubicBezTo>
                  <a:cubicBezTo>
                    <a:pt x="21472" y="19422"/>
                    <a:pt x="21344" y="19966"/>
                    <a:pt x="21344" y="20148"/>
                  </a:cubicBezTo>
                  <a:cubicBezTo>
                    <a:pt x="21472" y="20148"/>
                    <a:pt x="21472" y="20329"/>
                    <a:pt x="21472" y="20329"/>
                  </a:cubicBezTo>
                  <a:cubicBezTo>
                    <a:pt x="21217" y="20692"/>
                    <a:pt x="21217" y="20692"/>
                    <a:pt x="21217" y="20692"/>
                  </a:cubicBezTo>
                  <a:cubicBezTo>
                    <a:pt x="20705" y="20692"/>
                    <a:pt x="20705" y="20692"/>
                    <a:pt x="20705" y="20692"/>
                  </a:cubicBezTo>
                  <a:cubicBezTo>
                    <a:pt x="20194" y="21055"/>
                    <a:pt x="20194" y="21055"/>
                    <a:pt x="20194" y="21055"/>
                  </a:cubicBezTo>
                  <a:cubicBezTo>
                    <a:pt x="19938" y="21418"/>
                    <a:pt x="19938" y="21418"/>
                    <a:pt x="19938" y="21418"/>
                  </a:cubicBezTo>
                  <a:cubicBezTo>
                    <a:pt x="19683" y="21600"/>
                    <a:pt x="19683" y="21600"/>
                    <a:pt x="19683" y="21600"/>
                  </a:cubicBezTo>
                  <a:cubicBezTo>
                    <a:pt x="19299" y="20874"/>
                    <a:pt x="19299" y="20874"/>
                    <a:pt x="19299" y="20874"/>
                  </a:cubicBezTo>
                  <a:cubicBezTo>
                    <a:pt x="18533" y="19966"/>
                    <a:pt x="18533" y="19966"/>
                    <a:pt x="18533" y="19966"/>
                  </a:cubicBezTo>
                  <a:cubicBezTo>
                    <a:pt x="18149" y="19422"/>
                    <a:pt x="18149" y="19422"/>
                    <a:pt x="18149" y="19422"/>
                  </a:cubicBezTo>
                  <a:cubicBezTo>
                    <a:pt x="17893" y="18696"/>
                    <a:pt x="17893" y="18696"/>
                    <a:pt x="17893" y="18696"/>
                  </a:cubicBezTo>
                  <a:cubicBezTo>
                    <a:pt x="17893" y="18151"/>
                    <a:pt x="17893" y="18151"/>
                    <a:pt x="17893" y="18151"/>
                  </a:cubicBezTo>
                  <a:cubicBezTo>
                    <a:pt x="17638" y="17788"/>
                    <a:pt x="17638" y="17788"/>
                    <a:pt x="17638" y="17788"/>
                  </a:cubicBezTo>
                  <a:cubicBezTo>
                    <a:pt x="17638" y="17788"/>
                    <a:pt x="17510" y="17788"/>
                    <a:pt x="17254" y="17788"/>
                  </a:cubicBezTo>
                  <a:cubicBezTo>
                    <a:pt x="17127" y="17788"/>
                    <a:pt x="16743" y="17607"/>
                    <a:pt x="16743" y="17607"/>
                  </a:cubicBezTo>
                  <a:cubicBezTo>
                    <a:pt x="16488" y="17607"/>
                    <a:pt x="16488" y="17607"/>
                    <a:pt x="16488" y="17607"/>
                  </a:cubicBezTo>
                  <a:cubicBezTo>
                    <a:pt x="16488" y="16699"/>
                    <a:pt x="16488" y="16699"/>
                    <a:pt x="16488" y="16699"/>
                  </a:cubicBezTo>
                  <a:cubicBezTo>
                    <a:pt x="16488" y="16699"/>
                    <a:pt x="16360" y="15973"/>
                    <a:pt x="16232" y="15973"/>
                  </a:cubicBezTo>
                  <a:cubicBezTo>
                    <a:pt x="16232" y="15792"/>
                    <a:pt x="16104" y="15429"/>
                    <a:pt x="16104" y="15429"/>
                  </a:cubicBezTo>
                  <a:cubicBezTo>
                    <a:pt x="16104" y="15429"/>
                    <a:pt x="15721" y="15610"/>
                    <a:pt x="15465" y="15610"/>
                  </a:cubicBezTo>
                  <a:cubicBezTo>
                    <a:pt x="15337" y="15792"/>
                    <a:pt x="15082" y="15973"/>
                    <a:pt x="14954" y="16155"/>
                  </a:cubicBezTo>
                  <a:cubicBezTo>
                    <a:pt x="14826" y="16336"/>
                    <a:pt x="14570" y="16518"/>
                    <a:pt x="14570" y="16518"/>
                  </a:cubicBezTo>
                  <a:cubicBezTo>
                    <a:pt x="13931" y="16881"/>
                    <a:pt x="13931" y="16881"/>
                    <a:pt x="13931" y="16881"/>
                  </a:cubicBezTo>
                  <a:cubicBezTo>
                    <a:pt x="13548" y="16518"/>
                    <a:pt x="13548" y="16518"/>
                    <a:pt x="13548" y="16518"/>
                  </a:cubicBezTo>
                  <a:cubicBezTo>
                    <a:pt x="12909" y="16336"/>
                    <a:pt x="12909" y="16336"/>
                    <a:pt x="12909" y="16336"/>
                  </a:cubicBezTo>
                  <a:cubicBezTo>
                    <a:pt x="12653" y="17062"/>
                    <a:pt x="12653" y="17062"/>
                    <a:pt x="12653" y="17062"/>
                  </a:cubicBezTo>
                  <a:cubicBezTo>
                    <a:pt x="12653" y="17062"/>
                    <a:pt x="12525" y="16699"/>
                    <a:pt x="12398" y="16518"/>
                  </a:cubicBezTo>
                  <a:cubicBezTo>
                    <a:pt x="12398" y="16155"/>
                    <a:pt x="12270" y="15610"/>
                    <a:pt x="12270" y="15610"/>
                  </a:cubicBezTo>
                  <a:cubicBezTo>
                    <a:pt x="12270" y="15610"/>
                    <a:pt x="12142" y="15429"/>
                    <a:pt x="12014" y="15429"/>
                  </a:cubicBezTo>
                  <a:cubicBezTo>
                    <a:pt x="11886" y="15429"/>
                    <a:pt x="11631" y="15247"/>
                    <a:pt x="11631" y="15247"/>
                  </a:cubicBezTo>
                  <a:cubicBezTo>
                    <a:pt x="11247" y="15247"/>
                    <a:pt x="11247" y="15247"/>
                    <a:pt x="11247" y="15247"/>
                  </a:cubicBezTo>
                  <a:cubicBezTo>
                    <a:pt x="10864" y="15973"/>
                    <a:pt x="10864" y="15973"/>
                    <a:pt x="10864" y="15973"/>
                  </a:cubicBezTo>
                  <a:cubicBezTo>
                    <a:pt x="10225" y="16336"/>
                    <a:pt x="10225" y="16336"/>
                    <a:pt x="10225" y="16336"/>
                  </a:cubicBezTo>
                  <a:cubicBezTo>
                    <a:pt x="9714" y="15973"/>
                    <a:pt x="9714" y="15973"/>
                    <a:pt x="9714" y="15973"/>
                  </a:cubicBezTo>
                  <a:cubicBezTo>
                    <a:pt x="9714" y="15973"/>
                    <a:pt x="9586" y="15610"/>
                    <a:pt x="9458" y="15792"/>
                  </a:cubicBezTo>
                  <a:cubicBezTo>
                    <a:pt x="9330" y="15792"/>
                    <a:pt x="8947" y="15610"/>
                    <a:pt x="8947" y="15610"/>
                  </a:cubicBezTo>
                  <a:cubicBezTo>
                    <a:pt x="8947" y="15610"/>
                    <a:pt x="8819" y="15429"/>
                    <a:pt x="8819" y="15247"/>
                  </a:cubicBezTo>
                  <a:cubicBezTo>
                    <a:pt x="8819" y="15066"/>
                    <a:pt x="8436" y="14703"/>
                    <a:pt x="8436" y="14703"/>
                  </a:cubicBezTo>
                  <a:cubicBezTo>
                    <a:pt x="8436" y="14703"/>
                    <a:pt x="7924" y="14339"/>
                    <a:pt x="7796" y="14339"/>
                  </a:cubicBezTo>
                  <a:cubicBezTo>
                    <a:pt x="7669" y="14521"/>
                    <a:pt x="7285" y="14521"/>
                    <a:pt x="7157" y="14521"/>
                  </a:cubicBezTo>
                  <a:cubicBezTo>
                    <a:pt x="6902" y="14521"/>
                    <a:pt x="6263" y="14339"/>
                    <a:pt x="6263" y="14339"/>
                  </a:cubicBezTo>
                  <a:cubicBezTo>
                    <a:pt x="5751" y="14884"/>
                    <a:pt x="5751" y="14884"/>
                    <a:pt x="5751" y="14884"/>
                  </a:cubicBezTo>
                  <a:cubicBezTo>
                    <a:pt x="5751" y="14884"/>
                    <a:pt x="5496" y="14884"/>
                    <a:pt x="5240" y="15066"/>
                  </a:cubicBezTo>
                  <a:cubicBezTo>
                    <a:pt x="5112" y="15066"/>
                    <a:pt x="4857" y="15247"/>
                    <a:pt x="4857" y="15247"/>
                  </a:cubicBezTo>
                  <a:cubicBezTo>
                    <a:pt x="4857" y="15247"/>
                    <a:pt x="4346" y="15066"/>
                    <a:pt x="4218" y="15066"/>
                  </a:cubicBezTo>
                  <a:cubicBezTo>
                    <a:pt x="4090" y="15066"/>
                    <a:pt x="4090" y="15066"/>
                    <a:pt x="3834" y="15066"/>
                  </a:cubicBezTo>
                  <a:cubicBezTo>
                    <a:pt x="3579" y="15066"/>
                    <a:pt x="2940" y="15066"/>
                    <a:pt x="2940" y="15066"/>
                  </a:cubicBezTo>
                  <a:cubicBezTo>
                    <a:pt x="3323" y="14521"/>
                    <a:pt x="3323" y="14521"/>
                    <a:pt x="3323" y="14521"/>
                  </a:cubicBezTo>
                  <a:cubicBezTo>
                    <a:pt x="3323" y="14521"/>
                    <a:pt x="3451" y="14158"/>
                    <a:pt x="3323" y="13976"/>
                  </a:cubicBezTo>
                  <a:cubicBezTo>
                    <a:pt x="3195" y="13795"/>
                    <a:pt x="3195" y="13613"/>
                    <a:pt x="3067" y="13613"/>
                  </a:cubicBezTo>
                  <a:cubicBezTo>
                    <a:pt x="2940" y="13432"/>
                    <a:pt x="2556" y="13069"/>
                    <a:pt x="2556" y="13069"/>
                  </a:cubicBezTo>
                  <a:cubicBezTo>
                    <a:pt x="2556" y="13069"/>
                    <a:pt x="2556" y="13069"/>
                    <a:pt x="2556" y="12887"/>
                  </a:cubicBezTo>
                  <a:cubicBezTo>
                    <a:pt x="2428" y="12706"/>
                    <a:pt x="2301" y="12161"/>
                    <a:pt x="2301" y="12161"/>
                  </a:cubicBezTo>
                  <a:cubicBezTo>
                    <a:pt x="2173" y="11798"/>
                    <a:pt x="2173" y="11798"/>
                    <a:pt x="2173" y="11798"/>
                  </a:cubicBezTo>
                  <a:cubicBezTo>
                    <a:pt x="2173" y="11798"/>
                    <a:pt x="1789" y="11435"/>
                    <a:pt x="1917" y="11072"/>
                  </a:cubicBezTo>
                  <a:cubicBezTo>
                    <a:pt x="2045" y="10709"/>
                    <a:pt x="2301" y="9802"/>
                    <a:pt x="2301" y="9802"/>
                  </a:cubicBezTo>
                  <a:cubicBezTo>
                    <a:pt x="2428" y="8894"/>
                    <a:pt x="2428" y="8894"/>
                    <a:pt x="2428" y="8894"/>
                  </a:cubicBezTo>
                  <a:cubicBezTo>
                    <a:pt x="2301" y="8350"/>
                    <a:pt x="2301" y="8350"/>
                    <a:pt x="2301" y="8350"/>
                  </a:cubicBezTo>
                  <a:cubicBezTo>
                    <a:pt x="2045" y="7805"/>
                    <a:pt x="2045" y="7805"/>
                    <a:pt x="2045" y="7805"/>
                  </a:cubicBezTo>
                  <a:cubicBezTo>
                    <a:pt x="2045" y="7805"/>
                    <a:pt x="1917" y="7805"/>
                    <a:pt x="1789" y="7442"/>
                  </a:cubicBezTo>
                  <a:cubicBezTo>
                    <a:pt x="1789" y="6897"/>
                    <a:pt x="1789" y="6897"/>
                    <a:pt x="1662" y="6716"/>
                  </a:cubicBezTo>
                  <a:cubicBezTo>
                    <a:pt x="1534" y="6353"/>
                    <a:pt x="1022" y="6171"/>
                    <a:pt x="1022" y="6171"/>
                  </a:cubicBezTo>
                  <a:cubicBezTo>
                    <a:pt x="383" y="6171"/>
                    <a:pt x="383" y="6171"/>
                    <a:pt x="383" y="6171"/>
                  </a:cubicBezTo>
                  <a:lnTo>
                    <a:pt x="256" y="599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7" name="Shape 2240">
              <a:extLst>
                <a:ext uri="{FF2B5EF4-FFF2-40B4-BE49-F238E27FC236}">
                  <a16:creationId xmlns:a16="http://schemas.microsoft.com/office/drawing/2014/main" id="{1FB01216-8891-CA61-1039-F6B1FF01CA73}"/>
                </a:ext>
              </a:extLst>
            </p:cNvPr>
            <p:cNvSpPr/>
            <p:nvPr/>
          </p:nvSpPr>
          <p:spPr>
            <a:xfrm>
              <a:off x="4648834" y="5410129"/>
              <a:ext cx="990214" cy="680363"/>
            </a:xfrm>
            <a:custGeom>
              <a:avLst/>
              <a:gdLst/>
              <a:ahLst/>
              <a:cxnLst>
                <a:cxn ang="0">
                  <a:pos x="wd2" y="hd2"/>
                </a:cxn>
                <a:cxn ang="5400000">
                  <a:pos x="wd2" y="hd2"/>
                </a:cxn>
                <a:cxn ang="10800000">
                  <a:pos x="wd2" y="hd2"/>
                </a:cxn>
                <a:cxn ang="16200000">
                  <a:pos x="wd2" y="hd2"/>
                </a:cxn>
              </a:cxnLst>
              <a:rect l="0" t="0" r="r" b="b"/>
              <a:pathLst>
                <a:path w="21600" h="21600" extrusionOk="0">
                  <a:moveTo>
                    <a:pt x="2520" y="7751"/>
                  </a:moveTo>
                  <a:cubicBezTo>
                    <a:pt x="2520" y="7751"/>
                    <a:pt x="2520" y="7751"/>
                    <a:pt x="2520" y="7751"/>
                  </a:cubicBezTo>
                  <a:cubicBezTo>
                    <a:pt x="2520" y="7751"/>
                    <a:pt x="2520" y="7751"/>
                    <a:pt x="2520" y="7751"/>
                  </a:cubicBezTo>
                  <a:cubicBezTo>
                    <a:pt x="2520" y="7624"/>
                    <a:pt x="2520" y="7624"/>
                    <a:pt x="2520" y="7624"/>
                  </a:cubicBezTo>
                  <a:cubicBezTo>
                    <a:pt x="2520" y="7369"/>
                    <a:pt x="2520" y="7369"/>
                    <a:pt x="2520" y="7369"/>
                  </a:cubicBezTo>
                  <a:cubicBezTo>
                    <a:pt x="2790" y="6861"/>
                    <a:pt x="2790" y="6861"/>
                    <a:pt x="2790" y="6861"/>
                  </a:cubicBezTo>
                  <a:cubicBezTo>
                    <a:pt x="2790" y="6226"/>
                    <a:pt x="2790" y="6226"/>
                    <a:pt x="2790" y="6226"/>
                  </a:cubicBezTo>
                  <a:cubicBezTo>
                    <a:pt x="3510" y="6353"/>
                    <a:pt x="3510" y="6353"/>
                    <a:pt x="3510" y="6353"/>
                  </a:cubicBezTo>
                  <a:cubicBezTo>
                    <a:pt x="3960" y="6988"/>
                    <a:pt x="3960" y="6988"/>
                    <a:pt x="3960" y="6988"/>
                  </a:cubicBezTo>
                  <a:cubicBezTo>
                    <a:pt x="4590" y="7496"/>
                    <a:pt x="4590" y="7496"/>
                    <a:pt x="4590" y="7496"/>
                  </a:cubicBezTo>
                  <a:cubicBezTo>
                    <a:pt x="4950" y="7751"/>
                    <a:pt x="4950" y="7751"/>
                    <a:pt x="4950" y="7751"/>
                  </a:cubicBezTo>
                  <a:cubicBezTo>
                    <a:pt x="5760" y="7496"/>
                    <a:pt x="5760" y="7496"/>
                    <a:pt x="5760" y="7496"/>
                  </a:cubicBezTo>
                  <a:cubicBezTo>
                    <a:pt x="7290" y="7369"/>
                    <a:pt x="7290" y="7369"/>
                    <a:pt x="7290" y="7369"/>
                  </a:cubicBezTo>
                  <a:cubicBezTo>
                    <a:pt x="7290" y="7369"/>
                    <a:pt x="8100" y="7242"/>
                    <a:pt x="8190" y="7115"/>
                  </a:cubicBezTo>
                  <a:cubicBezTo>
                    <a:pt x="8280" y="6988"/>
                    <a:pt x="8820" y="6861"/>
                    <a:pt x="8640" y="6607"/>
                  </a:cubicBezTo>
                  <a:cubicBezTo>
                    <a:pt x="8460" y="6480"/>
                    <a:pt x="8100" y="6099"/>
                    <a:pt x="8100" y="6099"/>
                  </a:cubicBezTo>
                  <a:cubicBezTo>
                    <a:pt x="8100" y="5845"/>
                    <a:pt x="8100" y="5845"/>
                    <a:pt x="8100" y="5845"/>
                  </a:cubicBezTo>
                  <a:cubicBezTo>
                    <a:pt x="8550" y="5209"/>
                    <a:pt x="8550" y="5209"/>
                    <a:pt x="8550" y="5209"/>
                  </a:cubicBezTo>
                  <a:cubicBezTo>
                    <a:pt x="9360" y="4828"/>
                    <a:pt x="9360" y="4828"/>
                    <a:pt x="9360" y="4828"/>
                  </a:cubicBezTo>
                  <a:cubicBezTo>
                    <a:pt x="9990" y="4701"/>
                    <a:pt x="9990" y="4701"/>
                    <a:pt x="9990" y="4701"/>
                  </a:cubicBezTo>
                  <a:cubicBezTo>
                    <a:pt x="10350" y="4574"/>
                    <a:pt x="10350" y="4574"/>
                    <a:pt x="10350" y="4574"/>
                  </a:cubicBezTo>
                  <a:cubicBezTo>
                    <a:pt x="10530" y="3812"/>
                    <a:pt x="10530" y="3812"/>
                    <a:pt x="10530" y="3812"/>
                  </a:cubicBezTo>
                  <a:cubicBezTo>
                    <a:pt x="11070" y="3685"/>
                    <a:pt x="11070" y="3685"/>
                    <a:pt x="11070" y="3685"/>
                  </a:cubicBezTo>
                  <a:cubicBezTo>
                    <a:pt x="11430" y="3812"/>
                    <a:pt x="11430" y="3812"/>
                    <a:pt x="11430" y="3812"/>
                  </a:cubicBezTo>
                  <a:cubicBezTo>
                    <a:pt x="11970" y="3812"/>
                    <a:pt x="11970" y="3812"/>
                    <a:pt x="11970" y="3812"/>
                  </a:cubicBezTo>
                  <a:cubicBezTo>
                    <a:pt x="12240" y="3304"/>
                    <a:pt x="12240" y="3304"/>
                    <a:pt x="12240" y="3304"/>
                  </a:cubicBezTo>
                  <a:cubicBezTo>
                    <a:pt x="12510" y="3049"/>
                    <a:pt x="12510" y="3049"/>
                    <a:pt x="12510" y="3049"/>
                  </a:cubicBezTo>
                  <a:cubicBezTo>
                    <a:pt x="12870" y="2795"/>
                    <a:pt x="12870" y="2795"/>
                    <a:pt x="12870" y="2795"/>
                  </a:cubicBezTo>
                  <a:cubicBezTo>
                    <a:pt x="13140" y="2033"/>
                    <a:pt x="13140" y="2033"/>
                    <a:pt x="13140" y="2033"/>
                  </a:cubicBezTo>
                  <a:cubicBezTo>
                    <a:pt x="13320" y="1144"/>
                    <a:pt x="13320" y="1144"/>
                    <a:pt x="13320" y="1144"/>
                  </a:cubicBezTo>
                  <a:cubicBezTo>
                    <a:pt x="13410" y="762"/>
                    <a:pt x="13410" y="762"/>
                    <a:pt x="13410" y="762"/>
                  </a:cubicBezTo>
                  <a:cubicBezTo>
                    <a:pt x="14670" y="254"/>
                    <a:pt x="14670" y="254"/>
                    <a:pt x="14670" y="254"/>
                  </a:cubicBezTo>
                  <a:cubicBezTo>
                    <a:pt x="15120" y="635"/>
                    <a:pt x="15120" y="635"/>
                    <a:pt x="15120" y="635"/>
                  </a:cubicBezTo>
                  <a:cubicBezTo>
                    <a:pt x="15750" y="508"/>
                    <a:pt x="15750" y="508"/>
                    <a:pt x="15750" y="508"/>
                  </a:cubicBezTo>
                  <a:cubicBezTo>
                    <a:pt x="16200" y="0"/>
                    <a:pt x="16200" y="0"/>
                    <a:pt x="16200" y="0"/>
                  </a:cubicBezTo>
                  <a:cubicBezTo>
                    <a:pt x="16740" y="127"/>
                    <a:pt x="16740" y="127"/>
                    <a:pt x="16740" y="127"/>
                  </a:cubicBezTo>
                  <a:cubicBezTo>
                    <a:pt x="17460" y="1144"/>
                    <a:pt x="17460" y="1144"/>
                    <a:pt x="17460" y="1144"/>
                  </a:cubicBezTo>
                  <a:cubicBezTo>
                    <a:pt x="18180" y="1144"/>
                    <a:pt x="18180" y="1144"/>
                    <a:pt x="18180" y="1144"/>
                  </a:cubicBezTo>
                  <a:cubicBezTo>
                    <a:pt x="18630" y="762"/>
                    <a:pt x="18630" y="762"/>
                    <a:pt x="18630" y="762"/>
                  </a:cubicBezTo>
                  <a:cubicBezTo>
                    <a:pt x="19080" y="508"/>
                    <a:pt x="19080" y="508"/>
                    <a:pt x="19080" y="508"/>
                  </a:cubicBezTo>
                  <a:cubicBezTo>
                    <a:pt x="19350" y="889"/>
                    <a:pt x="19350" y="889"/>
                    <a:pt x="19350" y="889"/>
                  </a:cubicBezTo>
                  <a:cubicBezTo>
                    <a:pt x="19620" y="1398"/>
                    <a:pt x="19620" y="1398"/>
                    <a:pt x="19620" y="1398"/>
                  </a:cubicBezTo>
                  <a:cubicBezTo>
                    <a:pt x="20070" y="1271"/>
                    <a:pt x="20070" y="1271"/>
                    <a:pt x="20070" y="1271"/>
                  </a:cubicBezTo>
                  <a:cubicBezTo>
                    <a:pt x="20340" y="1779"/>
                    <a:pt x="20340" y="1779"/>
                    <a:pt x="20340" y="1779"/>
                  </a:cubicBezTo>
                  <a:cubicBezTo>
                    <a:pt x="20610" y="2160"/>
                    <a:pt x="20610" y="2160"/>
                    <a:pt x="20610" y="2160"/>
                  </a:cubicBezTo>
                  <a:cubicBezTo>
                    <a:pt x="21060" y="2033"/>
                    <a:pt x="21060" y="2033"/>
                    <a:pt x="21060" y="2033"/>
                  </a:cubicBezTo>
                  <a:cubicBezTo>
                    <a:pt x="21510" y="2414"/>
                    <a:pt x="21510" y="2414"/>
                    <a:pt x="21510" y="2414"/>
                  </a:cubicBezTo>
                  <a:cubicBezTo>
                    <a:pt x="21420" y="2922"/>
                    <a:pt x="21420" y="2922"/>
                    <a:pt x="21420" y="2922"/>
                  </a:cubicBezTo>
                  <a:cubicBezTo>
                    <a:pt x="21600" y="3558"/>
                    <a:pt x="21600" y="3558"/>
                    <a:pt x="21600" y="3558"/>
                  </a:cubicBezTo>
                  <a:cubicBezTo>
                    <a:pt x="21330" y="3939"/>
                    <a:pt x="21330" y="3939"/>
                    <a:pt x="21330" y="3939"/>
                  </a:cubicBezTo>
                  <a:cubicBezTo>
                    <a:pt x="21330" y="3939"/>
                    <a:pt x="21240" y="4193"/>
                    <a:pt x="21060" y="4193"/>
                  </a:cubicBezTo>
                  <a:cubicBezTo>
                    <a:pt x="20970" y="4320"/>
                    <a:pt x="20790" y="4447"/>
                    <a:pt x="20790" y="4447"/>
                  </a:cubicBezTo>
                  <a:cubicBezTo>
                    <a:pt x="20520" y="4828"/>
                    <a:pt x="20520" y="4828"/>
                    <a:pt x="20520" y="4828"/>
                  </a:cubicBezTo>
                  <a:cubicBezTo>
                    <a:pt x="20160" y="4955"/>
                    <a:pt x="20160" y="4955"/>
                    <a:pt x="20160" y="4955"/>
                  </a:cubicBezTo>
                  <a:cubicBezTo>
                    <a:pt x="19890" y="5082"/>
                    <a:pt x="19890" y="5082"/>
                    <a:pt x="19890" y="5082"/>
                  </a:cubicBezTo>
                  <a:cubicBezTo>
                    <a:pt x="19710" y="5336"/>
                    <a:pt x="19710" y="5336"/>
                    <a:pt x="19710" y="5336"/>
                  </a:cubicBezTo>
                  <a:cubicBezTo>
                    <a:pt x="19530" y="6099"/>
                    <a:pt x="19530" y="6099"/>
                    <a:pt x="19530" y="6099"/>
                  </a:cubicBezTo>
                  <a:cubicBezTo>
                    <a:pt x="19260" y="6480"/>
                    <a:pt x="19260" y="6480"/>
                    <a:pt x="19260" y="6480"/>
                  </a:cubicBezTo>
                  <a:cubicBezTo>
                    <a:pt x="19170" y="7115"/>
                    <a:pt x="19170" y="7115"/>
                    <a:pt x="19170" y="7115"/>
                  </a:cubicBezTo>
                  <a:cubicBezTo>
                    <a:pt x="19170" y="7115"/>
                    <a:pt x="19350" y="7751"/>
                    <a:pt x="19170" y="7878"/>
                  </a:cubicBezTo>
                  <a:cubicBezTo>
                    <a:pt x="19080" y="7878"/>
                    <a:pt x="18990" y="8005"/>
                    <a:pt x="18990" y="8005"/>
                  </a:cubicBezTo>
                  <a:cubicBezTo>
                    <a:pt x="18900" y="9021"/>
                    <a:pt x="18900" y="9021"/>
                    <a:pt x="18900" y="9021"/>
                  </a:cubicBezTo>
                  <a:cubicBezTo>
                    <a:pt x="18540" y="9529"/>
                    <a:pt x="18540" y="9529"/>
                    <a:pt x="18540" y="9529"/>
                  </a:cubicBezTo>
                  <a:cubicBezTo>
                    <a:pt x="18450" y="10546"/>
                    <a:pt x="18450" y="10546"/>
                    <a:pt x="18450" y="10546"/>
                  </a:cubicBezTo>
                  <a:cubicBezTo>
                    <a:pt x="18450" y="10546"/>
                    <a:pt x="18630" y="11054"/>
                    <a:pt x="18360" y="11054"/>
                  </a:cubicBezTo>
                  <a:cubicBezTo>
                    <a:pt x="18180" y="11181"/>
                    <a:pt x="18090" y="11435"/>
                    <a:pt x="18090" y="11435"/>
                  </a:cubicBezTo>
                  <a:cubicBezTo>
                    <a:pt x="18090" y="12325"/>
                    <a:pt x="18090" y="12325"/>
                    <a:pt x="18090" y="12325"/>
                  </a:cubicBezTo>
                  <a:cubicBezTo>
                    <a:pt x="17820" y="12960"/>
                    <a:pt x="17820" y="12960"/>
                    <a:pt x="17820" y="12960"/>
                  </a:cubicBezTo>
                  <a:cubicBezTo>
                    <a:pt x="17910" y="13468"/>
                    <a:pt x="17910" y="13468"/>
                    <a:pt x="17910" y="13468"/>
                  </a:cubicBezTo>
                  <a:cubicBezTo>
                    <a:pt x="17730" y="13849"/>
                    <a:pt x="17730" y="13849"/>
                    <a:pt x="17730" y="13849"/>
                  </a:cubicBezTo>
                  <a:cubicBezTo>
                    <a:pt x="17820" y="14485"/>
                    <a:pt x="17820" y="14485"/>
                    <a:pt x="17820" y="14485"/>
                  </a:cubicBezTo>
                  <a:cubicBezTo>
                    <a:pt x="17640" y="14866"/>
                    <a:pt x="17640" y="14866"/>
                    <a:pt x="17640" y="14866"/>
                  </a:cubicBezTo>
                  <a:cubicBezTo>
                    <a:pt x="17550" y="14993"/>
                    <a:pt x="17550" y="14993"/>
                    <a:pt x="17550" y="14993"/>
                  </a:cubicBezTo>
                  <a:cubicBezTo>
                    <a:pt x="17460" y="15374"/>
                    <a:pt x="17460" y="15374"/>
                    <a:pt x="17460" y="15374"/>
                  </a:cubicBezTo>
                  <a:cubicBezTo>
                    <a:pt x="17280" y="16009"/>
                    <a:pt x="17280" y="16009"/>
                    <a:pt x="17280" y="16009"/>
                  </a:cubicBezTo>
                  <a:cubicBezTo>
                    <a:pt x="16560" y="16899"/>
                    <a:pt x="16560" y="16899"/>
                    <a:pt x="16560" y="16899"/>
                  </a:cubicBezTo>
                  <a:cubicBezTo>
                    <a:pt x="16200" y="16772"/>
                    <a:pt x="16200" y="16772"/>
                    <a:pt x="16200" y="16772"/>
                  </a:cubicBezTo>
                  <a:cubicBezTo>
                    <a:pt x="15930" y="17153"/>
                    <a:pt x="15930" y="17153"/>
                    <a:pt x="15930" y="17153"/>
                  </a:cubicBezTo>
                  <a:cubicBezTo>
                    <a:pt x="15930" y="17153"/>
                    <a:pt x="16020" y="17153"/>
                    <a:pt x="15840" y="17407"/>
                  </a:cubicBezTo>
                  <a:cubicBezTo>
                    <a:pt x="15660" y="17534"/>
                    <a:pt x="15300" y="17661"/>
                    <a:pt x="15300" y="17661"/>
                  </a:cubicBezTo>
                  <a:cubicBezTo>
                    <a:pt x="15120" y="17661"/>
                    <a:pt x="15120" y="17661"/>
                    <a:pt x="15120" y="17661"/>
                  </a:cubicBezTo>
                  <a:cubicBezTo>
                    <a:pt x="14490" y="17661"/>
                    <a:pt x="14490" y="17661"/>
                    <a:pt x="14490" y="17661"/>
                  </a:cubicBezTo>
                  <a:cubicBezTo>
                    <a:pt x="14490" y="17661"/>
                    <a:pt x="14400" y="17534"/>
                    <a:pt x="14310" y="17661"/>
                  </a:cubicBezTo>
                  <a:cubicBezTo>
                    <a:pt x="14220" y="17661"/>
                    <a:pt x="13770" y="17661"/>
                    <a:pt x="13770" y="17661"/>
                  </a:cubicBezTo>
                  <a:cubicBezTo>
                    <a:pt x="13770" y="17661"/>
                    <a:pt x="13590" y="17534"/>
                    <a:pt x="13500" y="17534"/>
                  </a:cubicBezTo>
                  <a:cubicBezTo>
                    <a:pt x="13410" y="17534"/>
                    <a:pt x="12870" y="17661"/>
                    <a:pt x="12870" y="17661"/>
                  </a:cubicBezTo>
                  <a:cubicBezTo>
                    <a:pt x="12510" y="17915"/>
                    <a:pt x="12510" y="17915"/>
                    <a:pt x="12510" y="17915"/>
                  </a:cubicBezTo>
                  <a:cubicBezTo>
                    <a:pt x="12510" y="17915"/>
                    <a:pt x="12420" y="17661"/>
                    <a:pt x="12330" y="17788"/>
                  </a:cubicBezTo>
                  <a:cubicBezTo>
                    <a:pt x="12150" y="17788"/>
                    <a:pt x="11700" y="18042"/>
                    <a:pt x="11700" y="18042"/>
                  </a:cubicBezTo>
                  <a:cubicBezTo>
                    <a:pt x="11700" y="18042"/>
                    <a:pt x="11880" y="18296"/>
                    <a:pt x="11700" y="18296"/>
                  </a:cubicBezTo>
                  <a:cubicBezTo>
                    <a:pt x="11610" y="18296"/>
                    <a:pt x="11340" y="18805"/>
                    <a:pt x="11340" y="18805"/>
                  </a:cubicBezTo>
                  <a:cubicBezTo>
                    <a:pt x="11160" y="18932"/>
                    <a:pt x="11160" y="18932"/>
                    <a:pt x="11160" y="18932"/>
                  </a:cubicBezTo>
                  <a:cubicBezTo>
                    <a:pt x="11070" y="19313"/>
                    <a:pt x="11070" y="19313"/>
                    <a:pt x="11070" y="19313"/>
                  </a:cubicBezTo>
                  <a:cubicBezTo>
                    <a:pt x="11070" y="19313"/>
                    <a:pt x="10980" y="19313"/>
                    <a:pt x="10800" y="19313"/>
                  </a:cubicBezTo>
                  <a:cubicBezTo>
                    <a:pt x="10710" y="19313"/>
                    <a:pt x="10440" y="19440"/>
                    <a:pt x="10440" y="19440"/>
                  </a:cubicBezTo>
                  <a:cubicBezTo>
                    <a:pt x="10350" y="19313"/>
                    <a:pt x="10350" y="19313"/>
                    <a:pt x="10350" y="19313"/>
                  </a:cubicBezTo>
                  <a:cubicBezTo>
                    <a:pt x="9990" y="20075"/>
                    <a:pt x="9990" y="20075"/>
                    <a:pt x="9990" y="20075"/>
                  </a:cubicBezTo>
                  <a:cubicBezTo>
                    <a:pt x="9630" y="20329"/>
                    <a:pt x="9630" y="20329"/>
                    <a:pt x="9630" y="20329"/>
                  </a:cubicBezTo>
                  <a:cubicBezTo>
                    <a:pt x="9450" y="20202"/>
                    <a:pt x="9450" y="20202"/>
                    <a:pt x="9450" y="20202"/>
                  </a:cubicBezTo>
                  <a:cubicBezTo>
                    <a:pt x="9270" y="20838"/>
                    <a:pt x="9270" y="20838"/>
                    <a:pt x="9270" y="20838"/>
                  </a:cubicBezTo>
                  <a:cubicBezTo>
                    <a:pt x="9270" y="20838"/>
                    <a:pt x="9000" y="20965"/>
                    <a:pt x="9000" y="21092"/>
                  </a:cubicBezTo>
                  <a:cubicBezTo>
                    <a:pt x="8910" y="21219"/>
                    <a:pt x="8460" y="21219"/>
                    <a:pt x="8460" y="21219"/>
                  </a:cubicBezTo>
                  <a:cubicBezTo>
                    <a:pt x="8100" y="21219"/>
                    <a:pt x="8100" y="21219"/>
                    <a:pt x="8100" y="21219"/>
                  </a:cubicBezTo>
                  <a:cubicBezTo>
                    <a:pt x="7470" y="21473"/>
                    <a:pt x="7470" y="21473"/>
                    <a:pt x="7470" y="21473"/>
                  </a:cubicBezTo>
                  <a:cubicBezTo>
                    <a:pt x="7470" y="21473"/>
                    <a:pt x="7290" y="21600"/>
                    <a:pt x="7200" y="21600"/>
                  </a:cubicBezTo>
                  <a:cubicBezTo>
                    <a:pt x="7110" y="21600"/>
                    <a:pt x="6660" y="21473"/>
                    <a:pt x="6660" y="21473"/>
                  </a:cubicBezTo>
                  <a:cubicBezTo>
                    <a:pt x="6390" y="21600"/>
                    <a:pt x="6390" y="21600"/>
                    <a:pt x="6390" y="21600"/>
                  </a:cubicBezTo>
                  <a:cubicBezTo>
                    <a:pt x="5760" y="21346"/>
                    <a:pt x="5760" y="21346"/>
                    <a:pt x="5760" y="21346"/>
                  </a:cubicBezTo>
                  <a:cubicBezTo>
                    <a:pt x="5580" y="20965"/>
                    <a:pt x="5580" y="20965"/>
                    <a:pt x="5580" y="20965"/>
                  </a:cubicBezTo>
                  <a:cubicBezTo>
                    <a:pt x="5040" y="20838"/>
                    <a:pt x="5040" y="20838"/>
                    <a:pt x="5040" y="20838"/>
                  </a:cubicBezTo>
                  <a:cubicBezTo>
                    <a:pt x="4950" y="20584"/>
                    <a:pt x="4950" y="20584"/>
                    <a:pt x="4950" y="20584"/>
                  </a:cubicBezTo>
                  <a:cubicBezTo>
                    <a:pt x="4590" y="20584"/>
                    <a:pt x="4590" y="20584"/>
                    <a:pt x="4590" y="20584"/>
                  </a:cubicBezTo>
                  <a:cubicBezTo>
                    <a:pt x="4230" y="20075"/>
                    <a:pt x="4230" y="20075"/>
                    <a:pt x="4230" y="20075"/>
                  </a:cubicBezTo>
                  <a:cubicBezTo>
                    <a:pt x="3780" y="19313"/>
                    <a:pt x="3780" y="19313"/>
                    <a:pt x="3780" y="19313"/>
                  </a:cubicBezTo>
                  <a:cubicBezTo>
                    <a:pt x="2880" y="18932"/>
                    <a:pt x="2880" y="18932"/>
                    <a:pt x="2880" y="18932"/>
                  </a:cubicBezTo>
                  <a:cubicBezTo>
                    <a:pt x="2610" y="18424"/>
                    <a:pt x="2610" y="18424"/>
                    <a:pt x="2610" y="18424"/>
                  </a:cubicBezTo>
                  <a:cubicBezTo>
                    <a:pt x="2340" y="18169"/>
                    <a:pt x="2340" y="18169"/>
                    <a:pt x="2340" y="18169"/>
                  </a:cubicBezTo>
                  <a:cubicBezTo>
                    <a:pt x="1980" y="17788"/>
                    <a:pt x="1980" y="17788"/>
                    <a:pt x="1980" y="17788"/>
                  </a:cubicBezTo>
                  <a:cubicBezTo>
                    <a:pt x="1620" y="17407"/>
                    <a:pt x="1620" y="17407"/>
                    <a:pt x="1620" y="17407"/>
                  </a:cubicBezTo>
                  <a:cubicBezTo>
                    <a:pt x="1440" y="17153"/>
                    <a:pt x="1440" y="17153"/>
                    <a:pt x="1440" y="17153"/>
                  </a:cubicBezTo>
                  <a:cubicBezTo>
                    <a:pt x="900" y="16136"/>
                    <a:pt x="900" y="16136"/>
                    <a:pt x="900" y="16136"/>
                  </a:cubicBezTo>
                  <a:cubicBezTo>
                    <a:pt x="900" y="15882"/>
                    <a:pt x="900" y="15882"/>
                    <a:pt x="900" y="15882"/>
                  </a:cubicBezTo>
                  <a:cubicBezTo>
                    <a:pt x="630" y="15374"/>
                    <a:pt x="630" y="15374"/>
                    <a:pt x="630" y="15374"/>
                  </a:cubicBezTo>
                  <a:cubicBezTo>
                    <a:pt x="540" y="14866"/>
                    <a:pt x="540" y="14866"/>
                    <a:pt x="540" y="14866"/>
                  </a:cubicBezTo>
                  <a:cubicBezTo>
                    <a:pt x="360" y="14612"/>
                    <a:pt x="360" y="14612"/>
                    <a:pt x="360" y="14612"/>
                  </a:cubicBezTo>
                  <a:cubicBezTo>
                    <a:pt x="0" y="14866"/>
                    <a:pt x="0" y="14866"/>
                    <a:pt x="0" y="14866"/>
                  </a:cubicBezTo>
                  <a:cubicBezTo>
                    <a:pt x="0" y="14866"/>
                    <a:pt x="0" y="14866"/>
                    <a:pt x="0" y="14866"/>
                  </a:cubicBezTo>
                  <a:cubicBezTo>
                    <a:pt x="0" y="14739"/>
                    <a:pt x="0" y="14739"/>
                    <a:pt x="0" y="14739"/>
                  </a:cubicBezTo>
                  <a:cubicBezTo>
                    <a:pt x="270" y="13849"/>
                    <a:pt x="270" y="13849"/>
                    <a:pt x="270" y="13849"/>
                  </a:cubicBezTo>
                  <a:cubicBezTo>
                    <a:pt x="540" y="13722"/>
                    <a:pt x="540" y="13722"/>
                    <a:pt x="540" y="13722"/>
                  </a:cubicBezTo>
                  <a:cubicBezTo>
                    <a:pt x="810" y="13087"/>
                    <a:pt x="810" y="13087"/>
                    <a:pt x="810" y="13087"/>
                  </a:cubicBezTo>
                  <a:cubicBezTo>
                    <a:pt x="720" y="12325"/>
                    <a:pt x="720" y="12325"/>
                    <a:pt x="720" y="12325"/>
                  </a:cubicBezTo>
                  <a:cubicBezTo>
                    <a:pt x="720" y="12071"/>
                    <a:pt x="720" y="12071"/>
                    <a:pt x="720" y="12071"/>
                  </a:cubicBezTo>
                  <a:cubicBezTo>
                    <a:pt x="450" y="11308"/>
                    <a:pt x="450" y="11308"/>
                    <a:pt x="450" y="11308"/>
                  </a:cubicBezTo>
                  <a:cubicBezTo>
                    <a:pt x="450" y="11308"/>
                    <a:pt x="540" y="11181"/>
                    <a:pt x="630" y="11181"/>
                  </a:cubicBezTo>
                  <a:cubicBezTo>
                    <a:pt x="720" y="11181"/>
                    <a:pt x="990" y="10927"/>
                    <a:pt x="990" y="10927"/>
                  </a:cubicBezTo>
                  <a:cubicBezTo>
                    <a:pt x="1530" y="10419"/>
                    <a:pt x="1530" y="10419"/>
                    <a:pt x="1530" y="10419"/>
                  </a:cubicBezTo>
                  <a:cubicBezTo>
                    <a:pt x="1080" y="9402"/>
                    <a:pt x="1080" y="9402"/>
                    <a:pt x="1080" y="9402"/>
                  </a:cubicBezTo>
                  <a:cubicBezTo>
                    <a:pt x="900" y="9402"/>
                    <a:pt x="900" y="9402"/>
                    <a:pt x="900" y="9402"/>
                  </a:cubicBezTo>
                  <a:cubicBezTo>
                    <a:pt x="360" y="9148"/>
                    <a:pt x="360" y="9148"/>
                    <a:pt x="360" y="9148"/>
                  </a:cubicBezTo>
                  <a:cubicBezTo>
                    <a:pt x="720" y="8767"/>
                    <a:pt x="720" y="8767"/>
                    <a:pt x="720" y="8767"/>
                  </a:cubicBezTo>
                  <a:cubicBezTo>
                    <a:pt x="900" y="8513"/>
                    <a:pt x="900" y="8513"/>
                    <a:pt x="900" y="8513"/>
                  </a:cubicBezTo>
                  <a:cubicBezTo>
                    <a:pt x="1620" y="8894"/>
                    <a:pt x="1620" y="8894"/>
                    <a:pt x="1620" y="8894"/>
                  </a:cubicBezTo>
                  <a:cubicBezTo>
                    <a:pt x="1620" y="8894"/>
                    <a:pt x="1890" y="9021"/>
                    <a:pt x="1800" y="8894"/>
                  </a:cubicBezTo>
                  <a:cubicBezTo>
                    <a:pt x="1800" y="8513"/>
                    <a:pt x="1890" y="8767"/>
                    <a:pt x="1890" y="8767"/>
                  </a:cubicBezTo>
                  <a:cubicBezTo>
                    <a:pt x="1980" y="9021"/>
                    <a:pt x="2250" y="8767"/>
                    <a:pt x="2430" y="8767"/>
                  </a:cubicBezTo>
                  <a:cubicBezTo>
                    <a:pt x="2700" y="8640"/>
                    <a:pt x="2520" y="8386"/>
                    <a:pt x="2430" y="8132"/>
                  </a:cubicBezTo>
                  <a:cubicBezTo>
                    <a:pt x="2430" y="8005"/>
                    <a:pt x="2430" y="7878"/>
                    <a:pt x="2520" y="7751"/>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8" name="Shape 2241">
              <a:extLst>
                <a:ext uri="{FF2B5EF4-FFF2-40B4-BE49-F238E27FC236}">
                  <a16:creationId xmlns:a16="http://schemas.microsoft.com/office/drawing/2014/main" id="{2E1FEDA5-951B-1FF5-E1E4-E8B1102073C2}"/>
                </a:ext>
              </a:extLst>
            </p:cNvPr>
            <p:cNvSpPr/>
            <p:nvPr/>
          </p:nvSpPr>
          <p:spPr>
            <a:xfrm>
              <a:off x="5446176" y="3631166"/>
              <a:ext cx="1187065" cy="1079328"/>
            </a:xfrm>
            <a:custGeom>
              <a:avLst/>
              <a:gdLst/>
              <a:ahLst/>
              <a:cxnLst>
                <a:cxn ang="0">
                  <a:pos x="wd2" y="hd2"/>
                </a:cxn>
                <a:cxn ang="5400000">
                  <a:pos x="wd2" y="hd2"/>
                </a:cxn>
                <a:cxn ang="10800000">
                  <a:pos x="wd2" y="hd2"/>
                </a:cxn>
                <a:cxn ang="16200000">
                  <a:pos x="wd2" y="hd2"/>
                </a:cxn>
              </a:cxnLst>
              <a:rect l="0" t="0" r="r" b="b"/>
              <a:pathLst>
                <a:path w="21600" h="21600" extrusionOk="0">
                  <a:moveTo>
                    <a:pt x="6075" y="5280"/>
                  </a:moveTo>
                  <a:cubicBezTo>
                    <a:pt x="6000" y="4880"/>
                    <a:pt x="6000" y="4880"/>
                    <a:pt x="6000" y="4880"/>
                  </a:cubicBezTo>
                  <a:cubicBezTo>
                    <a:pt x="6300" y="4720"/>
                    <a:pt x="6300" y="4720"/>
                    <a:pt x="6300" y="4720"/>
                  </a:cubicBezTo>
                  <a:cubicBezTo>
                    <a:pt x="6225" y="4400"/>
                    <a:pt x="6225" y="4400"/>
                    <a:pt x="6225" y="4400"/>
                  </a:cubicBezTo>
                  <a:cubicBezTo>
                    <a:pt x="5700" y="4480"/>
                    <a:pt x="5700" y="4480"/>
                    <a:pt x="5700" y="4480"/>
                  </a:cubicBezTo>
                  <a:cubicBezTo>
                    <a:pt x="5475" y="4400"/>
                    <a:pt x="5475" y="4400"/>
                    <a:pt x="5475" y="4400"/>
                  </a:cubicBezTo>
                  <a:cubicBezTo>
                    <a:pt x="5475" y="4000"/>
                    <a:pt x="5475" y="4000"/>
                    <a:pt x="5475" y="4000"/>
                  </a:cubicBezTo>
                  <a:cubicBezTo>
                    <a:pt x="5625" y="3600"/>
                    <a:pt x="5625" y="3600"/>
                    <a:pt x="5625" y="3600"/>
                  </a:cubicBezTo>
                  <a:cubicBezTo>
                    <a:pt x="5550" y="2880"/>
                    <a:pt x="5550" y="2880"/>
                    <a:pt x="5550" y="2880"/>
                  </a:cubicBezTo>
                  <a:cubicBezTo>
                    <a:pt x="5550" y="2880"/>
                    <a:pt x="5400" y="2880"/>
                    <a:pt x="5625" y="2720"/>
                  </a:cubicBezTo>
                  <a:cubicBezTo>
                    <a:pt x="5925" y="2640"/>
                    <a:pt x="6075" y="2640"/>
                    <a:pt x="6075" y="2640"/>
                  </a:cubicBezTo>
                  <a:cubicBezTo>
                    <a:pt x="6150" y="2160"/>
                    <a:pt x="6150" y="2160"/>
                    <a:pt x="6150" y="2160"/>
                  </a:cubicBezTo>
                  <a:cubicBezTo>
                    <a:pt x="6375" y="1920"/>
                    <a:pt x="6375" y="1920"/>
                    <a:pt x="6375" y="1920"/>
                  </a:cubicBezTo>
                  <a:cubicBezTo>
                    <a:pt x="6375" y="1920"/>
                    <a:pt x="6300" y="1920"/>
                    <a:pt x="6600" y="1920"/>
                  </a:cubicBezTo>
                  <a:cubicBezTo>
                    <a:pt x="6900" y="1920"/>
                    <a:pt x="6975" y="1920"/>
                    <a:pt x="6975" y="1920"/>
                  </a:cubicBezTo>
                  <a:cubicBezTo>
                    <a:pt x="7575" y="1920"/>
                    <a:pt x="7575" y="1920"/>
                    <a:pt x="7575" y="1920"/>
                  </a:cubicBezTo>
                  <a:cubicBezTo>
                    <a:pt x="7725" y="1680"/>
                    <a:pt x="7725" y="1680"/>
                    <a:pt x="7725" y="1680"/>
                  </a:cubicBezTo>
                  <a:cubicBezTo>
                    <a:pt x="7575" y="1280"/>
                    <a:pt x="7575" y="1280"/>
                    <a:pt x="7575" y="1280"/>
                  </a:cubicBezTo>
                  <a:cubicBezTo>
                    <a:pt x="7950" y="880"/>
                    <a:pt x="7950" y="880"/>
                    <a:pt x="7950" y="880"/>
                  </a:cubicBezTo>
                  <a:cubicBezTo>
                    <a:pt x="8025" y="320"/>
                    <a:pt x="8025" y="320"/>
                    <a:pt x="8025" y="320"/>
                  </a:cubicBezTo>
                  <a:cubicBezTo>
                    <a:pt x="8400" y="80"/>
                    <a:pt x="8400" y="80"/>
                    <a:pt x="8400" y="80"/>
                  </a:cubicBezTo>
                  <a:cubicBezTo>
                    <a:pt x="8400" y="80"/>
                    <a:pt x="8625" y="320"/>
                    <a:pt x="8700" y="320"/>
                  </a:cubicBezTo>
                  <a:cubicBezTo>
                    <a:pt x="8775" y="320"/>
                    <a:pt x="8850" y="400"/>
                    <a:pt x="8925" y="320"/>
                  </a:cubicBezTo>
                  <a:cubicBezTo>
                    <a:pt x="9000" y="320"/>
                    <a:pt x="9075" y="160"/>
                    <a:pt x="9075" y="160"/>
                  </a:cubicBezTo>
                  <a:cubicBezTo>
                    <a:pt x="9450" y="0"/>
                    <a:pt x="9450" y="0"/>
                    <a:pt x="9450" y="0"/>
                  </a:cubicBezTo>
                  <a:cubicBezTo>
                    <a:pt x="9675" y="80"/>
                    <a:pt x="9675" y="80"/>
                    <a:pt x="9675" y="80"/>
                  </a:cubicBezTo>
                  <a:cubicBezTo>
                    <a:pt x="9825" y="400"/>
                    <a:pt x="9825" y="400"/>
                    <a:pt x="9825" y="400"/>
                  </a:cubicBezTo>
                  <a:cubicBezTo>
                    <a:pt x="10200" y="400"/>
                    <a:pt x="10200" y="400"/>
                    <a:pt x="10200" y="400"/>
                  </a:cubicBezTo>
                  <a:cubicBezTo>
                    <a:pt x="10275" y="240"/>
                    <a:pt x="10275" y="240"/>
                    <a:pt x="10275" y="240"/>
                  </a:cubicBezTo>
                  <a:cubicBezTo>
                    <a:pt x="10800" y="80"/>
                    <a:pt x="10800" y="80"/>
                    <a:pt x="10800" y="80"/>
                  </a:cubicBezTo>
                  <a:cubicBezTo>
                    <a:pt x="11400" y="80"/>
                    <a:pt x="11400" y="80"/>
                    <a:pt x="11400" y="80"/>
                  </a:cubicBezTo>
                  <a:cubicBezTo>
                    <a:pt x="11475" y="560"/>
                    <a:pt x="11475" y="560"/>
                    <a:pt x="11475" y="560"/>
                  </a:cubicBezTo>
                  <a:cubicBezTo>
                    <a:pt x="11475" y="800"/>
                    <a:pt x="11475" y="800"/>
                    <a:pt x="11475" y="800"/>
                  </a:cubicBezTo>
                  <a:cubicBezTo>
                    <a:pt x="11475" y="800"/>
                    <a:pt x="11625" y="1040"/>
                    <a:pt x="11775" y="960"/>
                  </a:cubicBezTo>
                  <a:cubicBezTo>
                    <a:pt x="11850" y="960"/>
                    <a:pt x="12150" y="880"/>
                    <a:pt x="12225" y="720"/>
                  </a:cubicBezTo>
                  <a:cubicBezTo>
                    <a:pt x="12225" y="560"/>
                    <a:pt x="12300" y="400"/>
                    <a:pt x="12450" y="320"/>
                  </a:cubicBezTo>
                  <a:cubicBezTo>
                    <a:pt x="12600" y="320"/>
                    <a:pt x="12525" y="240"/>
                    <a:pt x="12750" y="160"/>
                  </a:cubicBezTo>
                  <a:cubicBezTo>
                    <a:pt x="13050" y="80"/>
                    <a:pt x="13275" y="0"/>
                    <a:pt x="13275" y="0"/>
                  </a:cubicBezTo>
                  <a:cubicBezTo>
                    <a:pt x="13950" y="160"/>
                    <a:pt x="13950" y="160"/>
                    <a:pt x="13950" y="160"/>
                  </a:cubicBezTo>
                  <a:cubicBezTo>
                    <a:pt x="14175" y="400"/>
                    <a:pt x="14175" y="400"/>
                    <a:pt x="14175" y="400"/>
                  </a:cubicBezTo>
                  <a:cubicBezTo>
                    <a:pt x="14400" y="560"/>
                    <a:pt x="14400" y="560"/>
                    <a:pt x="14400" y="560"/>
                  </a:cubicBezTo>
                  <a:cubicBezTo>
                    <a:pt x="14625" y="480"/>
                    <a:pt x="14625" y="480"/>
                    <a:pt x="14625" y="480"/>
                  </a:cubicBezTo>
                  <a:cubicBezTo>
                    <a:pt x="14700" y="640"/>
                    <a:pt x="14700" y="640"/>
                    <a:pt x="14700" y="640"/>
                  </a:cubicBezTo>
                  <a:cubicBezTo>
                    <a:pt x="15000" y="480"/>
                    <a:pt x="15000" y="480"/>
                    <a:pt x="15000" y="480"/>
                  </a:cubicBezTo>
                  <a:cubicBezTo>
                    <a:pt x="15150" y="800"/>
                    <a:pt x="15150" y="800"/>
                    <a:pt x="15150" y="800"/>
                  </a:cubicBezTo>
                  <a:cubicBezTo>
                    <a:pt x="15150" y="1440"/>
                    <a:pt x="15150" y="1440"/>
                    <a:pt x="15150" y="1440"/>
                  </a:cubicBezTo>
                  <a:cubicBezTo>
                    <a:pt x="15150" y="1680"/>
                    <a:pt x="15150" y="1680"/>
                    <a:pt x="15150" y="1680"/>
                  </a:cubicBezTo>
                  <a:cubicBezTo>
                    <a:pt x="15150" y="1920"/>
                    <a:pt x="15150" y="1920"/>
                    <a:pt x="15150" y="1920"/>
                  </a:cubicBezTo>
                  <a:cubicBezTo>
                    <a:pt x="15600" y="2240"/>
                    <a:pt x="15600" y="2240"/>
                    <a:pt x="15600" y="2240"/>
                  </a:cubicBezTo>
                  <a:cubicBezTo>
                    <a:pt x="15825" y="2480"/>
                    <a:pt x="15825" y="2480"/>
                    <a:pt x="15825" y="2480"/>
                  </a:cubicBezTo>
                  <a:cubicBezTo>
                    <a:pt x="15750" y="2880"/>
                    <a:pt x="15750" y="2880"/>
                    <a:pt x="15750" y="2880"/>
                  </a:cubicBezTo>
                  <a:cubicBezTo>
                    <a:pt x="15750" y="3120"/>
                    <a:pt x="15750" y="3120"/>
                    <a:pt x="15750" y="3120"/>
                  </a:cubicBezTo>
                  <a:cubicBezTo>
                    <a:pt x="15525" y="3760"/>
                    <a:pt x="15525" y="3760"/>
                    <a:pt x="15525" y="3760"/>
                  </a:cubicBezTo>
                  <a:cubicBezTo>
                    <a:pt x="16050" y="3920"/>
                    <a:pt x="16050" y="3920"/>
                    <a:pt x="16050" y="3920"/>
                  </a:cubicBezTo>
                  <a:cubicBezTo>
                    <a:pt x="16350" y="4240"/>
                    <a:pt x="16350" y="4240"/>
                    <a:pt x="16350" y="4240"/>
                  </a:cubicBezTo>
                  <a:cubicBezTo>
                    <a:pt x="16650" y="4240"/>
                    <a:pt x="16650" y="4240"/>
                    <a:pt x="16650" y="4240"/>
                  </a:cubicBezTo>
                  <a:cubicBezTo>
                    <a:pt x="16650" y="4640"/>
                    <a:pt x="16650" y="4640"/>
                    <a:pt x="16650" y="4640"/>
                  </a:cubicBezTo>
                  <a:cubicBezTo>
                    <a:pt x="16650" y="4640"/>
                    <a:pt x="16500" y="4880"/>
                    <a:pt x="16725" y="4880"/>
                  </a:cubicBezTo>
                  <a:cubicBezTo>
                    <a:pt x="16950" y="4960"/>
                    <a:pt x="17025" y="4960"/>
                    <a:pt x="17025" y="4960"/>
                  </a:cubicBezTo>
                  <a:cubicBezTo>
                    <a:pt x="17100" y="5200"/>
                    <a:pt x="17100" y="5200"/>
                    <a:pt x="17100" y="5200"/>
                  </a:cubicBezTo>
                  <a:cubicBezTo>
                    <a:pt x="17475" y="5760"/>
                    <a:pt x="17475" y="5760"/>
                    <a:pt x="17475" y="5760"/>
                  </a:cubicBezTo>
                  <a:cubicBezTo>
                    <a:pt x="18300" y="5920"/>
                    <a:pt x="18300" y="5920"/>
                    <a:pt x="18300" y="5920"/>
                  </a:cubicBezTo>
                  <a:cubicBezTo>
                    <a:pt x="18675" y="6080"/>
                    <a:pt x="18675" y="6080"/>
                    <a:pt x="18675" y="6080"/>
                  </a:cubicBezTo>
                  <a:cubicBezTo>
                    <a:pt x="18825" y="6400"/>
                    <a:pt x="18825" y="6400"/>
                    <a:pt x="18825" y="6400"/>
                  </a:cubicBezTo>
                  <a:cubicBezTo>
                    <a:pt x="18900" y="7120"/>
                    <a:pt x="18900" y="7120"/>
                    <a:pt x="18900" y="7120"/>
                  </a:cubicBezTo>
                  <a:cubicBezTo>
                    <a:pt x="19275" y="7120"/>
                    <a:pt x="19275" y="7120"/>
                    <a:pt x="19275" y="7120"/>
                  </a:cubicBezTo>
                  <a:cubicBezTo>
                    <a:pt x="19500" y="6880"/>
                    <a:pt x="19500" y="6880"/>
                    <a:pt x="19500" y="6880"/>
                  </a:cubicBezTo>
                  <a:cubicBezTo>
                    <a:pt x="19725" y="6800"/>
                    <a:pt x="19725" y="6800"/>
                    <a:pt x="19725" y="6800"/>
                  </a:cubicBezTo>
                  <a:cubicBezTo>
                    <a:pt x="20025" y="6880"/>
                    <a:pt x="20025" y="6880"/>
                    <a:pt x="20025" y="6880"/>
                  </a:cubicBezTo>
                  <a:cubicBezTo>
                    <a:pt x="20400" y="6960"/>
                    <a:pt x="20400" y="6960"/>
                    <a:pt x="20400" y="6960"/>
                  </a:cubicBezTo>
                  <a:cubicBezTo>
                    <a:pt x="20775" y="6960"/>
                    <a:pt x="20775" y="6960"/>
                    <a:pt x="20775" y="6960"/>
                  </a:cubicBezTo>
                  <a:cubicBezTo>
                    <a:pt x="20625" y="7360"/>
                    <a:pt x="20625" y="7360"/>
                    <a:pt x="20625" y="7360"/>
                  </a:cubicBezTo>
                  <a:cubicBezTo>
                    <a:pt x="20925" y="7600"/>
                    <a:pt x="20925" y="7600"/>
                    <a:pt x="20925" y="7600"/>
                  </a:cubicBezTo>
                  <a:cubicBezTo>
                    <a:pt x="21225" y="7680"/>
                    <a:pt x="21225" y="7680"/>
                    <a:pt x="21225" y="7680"/>
                  </a:cubicBezTo>
                  <a:cubicBezTo>
                    <a:pt x="21600" y="7840"/>
                    <a:pt x="21600" y="7840"/>
                    <a:pt x="21600" y="7840"/>
                  </a:cubicBezTo>
                  <a:cubicBezTo>
                    <a:pt x="21600" y="8320"/>
                    <a:pt x="21600" y="8320"/>
                    <a:pt x="21600" y="8320"/>
                  </a:cubicBezTo>
                  <a:cubicBezTo>
                    <a:pt x="21450" y="8560"/>
                    <a:pt x="21450" y="8560"/>
                    <a:pt x="21450" y="8560"/>
                  </a:cubicBezTo>
                  <a:cubicBezTo>
                    <a:pt x="21150" y="8640"/>
                    <a:pt x="21150" y="8640"/>
                    <a:pt x="21150" y="8640"/>
                  </a:cubicBezTo>
                  <a:cubicBezTo>
                    <a:pt x="21150" y="8640"/>
                    <a:pt x="21300" y="9040"/>
                    <a:pt x="21150" y="9120"/>
                  </a:cubicBezTo>
                  <a:cubicBezTo>
                    <a:pt x="21075" y="9200"/>
                    <a:pt x="20550" y="9680"/>
                    <a:pt x="20550" y="9680"/>
                  </a:cubicBezTo>
                  <a:cubicBezTo>
                    <a:pt x="20025" y="9840"/>
                    <a:pt x="20025" y="9840"/>
                    <a:pt x="20025" y="9840"/>
                  </a:cubicBezTo>
                  <a:cubicBezTo>
                    <a:pt x="19575" y="9680"/>
                    <a:pt x="19575" y="9680"/>
                    <a:pt x="19575" y="9680"/>
                  </a:cubicBezTo>
                  <a:cubicBezTo>
                    <a:pt x="19575" y="9680"/>
                    <a:pt x="19500" y="9600"/>
                    <a:pt x="19200" y="9680"/>
                  </a:cubicBezTo>
                  <a:cubicBezTo>
                    <a:pt x="18900" y="9840"/>
                    <a:pt x="18900" y="9920"/>
                    <a:pt x="18900" y="9920"/>
                  </a:cubicBezTo>
                  <a:cubicBezTo>
                    <a:pt x="18750" y="10480"/>
                    <a:pt x="18750" y="10480"/>
                    <a:pt x="18750" y="10480"/>
                  </a:cubicBezTo>
                  <a:cubicBezTo>
                    <a:pt x="18750" y="10720"/>
                    <a:pt x="18750" y="10720"/>
                    <a:pt x="18750" y="10720"/>
                  </a:cubicBezTo>
                  <a:cubicBezTo>
                    <a:pt x="19050" y="10960"/>
                    <a:pt x="19050" y="10960"/>
                    <a:pt x="19050" y="10960"/>
                  </a:cubicBezTo>
                  <a:cubicBezTo>
                    <a:pt x="19425" y="11040"/>
                    <a:pt x="19425" y="11040"/>
                    <a:pt x="19425" y="11040"/>
                  </a:cubicBezTo>
                  <a:cubicBezTo>
                    <a:pt x="19650" y="11360"/>
                    <a:pt x="19650" y="11360"/>
                    <a:pt x="19650" y="11360"/>
                  </a:cubicBezTo>
                  <a:cubicBezTo>
                    <a:pt x="19800" y="11600"/>
                    <a:pt x="19800" y="11600"/>
                    <a:pt x="19800" y="11600"/>
                  </a:cubicBezTo>
                  <a:cubicBezTo>
                    <a:pt x="19650" y="11920"/>
                    <a:pt x="19650" y="11920"/>
                    <a:pt x="19650" y="11920"/>
                  </a:cubicBezTo>
                  <a:cubicBezTo>
                    <a:pt x="19800" y="12080"/>
                    <a:pt x="19800" y="12080"/>
                    <a:pt x="19800" y="12080"/>
                  </a:cubicBezTo>
                  <a:cubicBezTo>
                    <a:pt x="20100" y="12240"/>
                    <a:pt x="20100" y="12240"/>
                    <a:pt x="20100" y="12240"/>
                  </a:cubicBezTo>
                  <a:cubicBezTo>
                    <a:pt x="19950" y="12400"/>
                    <a:pt x="19950" y="12400"/>
                    <a:pt x="19950" y="12400"/>
                  </a:cubicBezTo>
                  <a:cubicBezTo>
                    <a:pt x="20175" y="12880"/>
                    <a:pt x="20175" y="12880"/>
                    <a:pt x="20175" y="12880"/>
                  </a:cubicBezTo>
                  <a:cubicBezTo>
                    <a:pt x="20325" y="13120"/>
                    <a:pt x="20325" y="13120"/>
                    <a:pt x="20325" y="13120"/>
                  </a:cubicBezTo>
                  <a:cubicBezTo>
                    <a:pt x="20175" y="13280"/>
                    <a:pt x="20175" y="13280"/>
                    <a:pt x="20175" y="13280"/>
                  </a:cubicBezTo>
                  <a:cubicBezTo>
                    <a:pt x="20400" y="13360"/>
                    <a:pt x="20400" y="13360"/>
                    <a:pt x="20400" y="13360"/>
                  </a:cubicBezTo>
                  <a:cubicBezTo>
                    <a:pt x="20700" y="13360"/>
                    <a:pt x="20700" y="13360"/>
                    <a:pt x="20700" y="13360"/>
                  </a:cubicBezTo>
                  <a:cubicBezTo>
                    <a:pt x="20700" y="13600"/>
                    <a:pt x="20700" y="13600"/>
                    <a:pt x="20700" y="13600"/>
                  </a:cubicBezTo>
                  <a:cubicBezTo>
                    <a:pt x="21225" y="13920"/>
                    <a:pt x="21225" y="13920"/>
                    <a:pt x="21225" y="13920"/>
                  </a:cubicBezTo>
                  <a:cubicBezTo>
                    <a:pt x="21075" y="13920"/>
                    <a:pt x="21075" y="13920"/>
                    <a:pt x="21075" y="13920"/>
                  </a:cubicBezTo>
                  <a:cubicBezTo>
                    <a:pt x="20475" y="14080"/>
                    <a:pt x="20475" y="14080"/>
                    <a:pt x="20475" y="14080"/>
                  </a:cubicBezTo>
                  <a:cubicBezTo>
                    <a:pt x="20175" y="14560"/>
                    <a:pt x="20175" y="14560"/>
                    <a:pt x="20175" y="14560"/>
                  </a:cubicBezTo>
                  <a:cubicBezTo>
                    <a:pt x="19275" y="14560"/>
                    <a:pt x="19275" y="14560"/>
                    <a:pt x="19275" y="14560"/>
                  </a:cubicBezTo>
                  <a:cubicBezTo>
                    <a:pt x="19125" y="15520"/>
                    <a:pt x="19125" y="15520"/>
                    <a:pt x="19125" y="15520"/>
                  </a:cubicBezTo>
                  <a:cubicBezTo>
                    <a:pt x="18900" y="16160"/>
                    <a:pt x="18900" y="16160"/>
                    <a:pt x="18900" y="16160"/>
                  </a:cubicBezTo>
                  <a:cubicBezTo>
                    <a:pt x="18675" y="16880"/>
                    <a:pt x="18675" y="16880"/>
                    <a:pt x="18675" y="16880"/>
                  </a:cubicBezTo>
                  <a:cubicBezTo>
                    <a:pt x="18825" y="17280"/>
                    <a:pt x="18825" y="17280"/>
                    <a:pt x="18825" y="17280"/>
                  </a:cubicBezTo>
                  <a:cubicBezTo>
                    <a:pt x="19050" y="17840"/>
                    <a:pt x="19050" y="17840"/>
                    <a:pt x="19050" y="17840"/>
                  </a:cubicBezTo>
                  <a:cubicBezTo>
                    <a:pt x="19500" y="18400"/>
                    <a:pt x="19500" y="18400"/>
                    <a:pt x="19500" y="18400"/>
                  </a:cubicBezTo>
                  <a:cubicBezTo>
                    <a:pt x="19500" y="18400"/>
                    <a:pt x="19500" y="18400"/>
                    <a:pt x="19500" y="18400"/>
                  </a:cubicBezTo>
                  <a:cubicBezTo>
                    <a:pt x="19050" y="18560"/>
                    <a:pt x="19050" y="18560"/>
                    <a:pt x="19050" y="18560"/>
                  </a:cubicBezTo>
                  <a:cubicBezTo>
                    <a:pt x="18750" y="18640"/>
                    <a:pt x="18750" y="18640"/>
                    <a:pt x="18750" y="18640"/>
                  </a:cubicBezTo>
                  <a:cubicBezTo>
                    <a:pt x="18450" y="18160"/>
                    <a:pt x="18450" y="18160"/>
                    <a:pt x="18450" y="18160"/>
                  </a:cubicBezTo>
                  <a:cubicBezTo>
                    <a:pt x="18000" y="18000"/>
                    <a:pt x="18000" y="18000"/>
                    <a:pt x="18000" y="18000"/>
                  </a:cubicBezTo>
                  <a:cubicBezTo>
                    <a:pt x="17475" y="18240"/>
                    <a:pt x="17475" y="18240"/>
                    <a:pt x="17475" y="18240"/>
                  </a:cubicBezTo>
                  <a:cubicBezTo>
                    <a:pt x="16950" y="18400"/>
                    <a:pt x="16950" y="18400"/>
                    <a:pt x="16950" y="18400"/>
                  </a:cubicBezTo>
                  <a:cubicBezTo>
                    <a:pt x="16800" y="18400"/>
                    <a:pt x="16800" y="18400"/>
                    <a:pt x="16800" y="18400"/>
                  </a:cubicBezTo>
                  <a:cubicBezTo>
                    <a:pt x="16650" y="18720"/>
                    <a:pt x="16650" y="18720"/>
                    <a:pt x="16650" y="18720"/>
                  </a:cubicBezTo>
                  <a:cubicBezTo>
                    <a:pt x="16200" y="18960"/>
                    <a:pt x="16200" y="18960"/>
                    <a:pt x="16200" y="18960"/>
                  </a:cubicBezTo>
                  <a:cubicBezTo>
                    <a:pt x="16200" y="18960"/>
                    <a:pt x="16050" y="18800"/>
                    <a:pt x="15975" y="18720"/>
                  </a:cubicBezTo>
                  <a:cubicBezTo>
                    <a:pt x="15900" y="18640"/>
                    <a:pt x="15675" y="18480"/>
                    <a:pt x="15675" y="18480"/>
                  </a:cubicBezTo>
                  <a:cubicBezTo>
                    <a:pt x="15675" y="18480"/>
                    <a:pt x="15600" y="18320"/>
                    <a:pt x="15525" y="18240"/>
                  </a:cubicBezTo>
                  <a:cubicBezTo>
                    <a:pt x="15450" y="18240"/>
                    <a:pt x="15000" y="18560"/>
                    <a:pt x="15000" y="18560"/>
                  </a:cubicBezTo>
                  <a:cubicBezTo>
                    <a:pt x="15000" y="18560"/>
                    <a:pt x="14625" y="18800"/>
                    <a:pt x="14625" y="18880"/>
                  </a:cubicBezTo>
                  <a:cubicBezTo>
                    <a:pt x="14700" y="18880"/>
                    <a:pt x="14625" y="19280"/>
                    <a:pt x="14625" y="19280"/>
                  </a:cubicBezTo>
                  <a:cubicBezTo>
                    <a:pt x="14100" y="18800"/>
                    <a:pt x="14100" y="18800"/>
                    <a:pt x="14100" y="18800"/>
                  </a:cubicBezTo>
                  <a:cubicBezTo>
                    <a:pt x="13725" y="19120"/>
                    <a:pt x="13725" y="19120"/>
                    <a:pt x="13725" y="19120"/>
                  </a:cubicBezTo>
                  <a:cubicBezTo>
                    <a:pt x="13425" y="18880"/>
                    <a:pt x="13425" y="18880"/>
                    <a:pt x="13425" y="18880"/>
                  </a:cubicBezTo>
                  <a:cubicBezTo>
                    <a:pt x="13275" y="18800"/>
                    <a:pt x="13275" y="18800"/>
                    <a:pt x="13275" y="18800"/>
                  </a:cubicBezTo>
                  <a:cubicBezTo>
                    <a:pt x="12825" y="19360"/>
                    <a:pt x="12825" y="19360"/>
                    <a:pt x="12825" y="19360"/>
                  </a:cubicBezTo>
                  <a:cubicBezTo>
                    <a:pt x="12525" y="19200"/>
                    <a:pt x="12525" y="19200"/>
                    <a:pt x="12525" y="19200"/>
                  </a:cubicBezTo>
                  <a:cubicBezTo>
                    <a:pt x="12375" y="19760"/>
                    <a:pt x="12375" y="19760"/>
                    <a:pt x="12375" y="19760"/>
                  </a:cubicBezTo>
                  <a:cubicBezTo>
                    <a:pt x="12000" y="19440"/>
                    <a:pt x="12000" y="19440"/>
                    <a:pt x="12000" y="19440"/>
                  </a:cubicBezTo>
                  <a:cubicBezTo>
                    <a:pt x="12000" y="19440"/>
                    <a:pt x="11625" y="19360"/>
                    <a:pt x="11550" y="19360"/>
                  </a:cubicBezTo>
                  <a:cubicBezTo>
                    <a:pt x="11475" y="19360"/>
                    <a:pt x="11250" y="19680"/>
                    <a:pt x="11250" y="19680"/>
                  </a:cubicBezTo>
                  <a:cubicBezTo>
                    <a:pt x="10875" y="19360"/>
                    <a:pt x="10875" y="19360"/>
                    <a:pt x="10875" y="19360"/>
                  </a:cubicBezTo>
                  <a:cubicBezTo>
                    <a:pt x="10575" y="19120"/>
                    <a:pt x="10575" y="19120"/>
                    <a:pt x="10575" y="19120"/>
                  </a:cubicBezTo>
                  <a:cubicBezTo>
                    <a:pt x="10575" y="19120"/>
                    <a:pt x="9750" y="19200"/>
                    <a:pt x="9675" y="19200"/>
                  </a:cubicBezTo>
                  <a:cubicBezTo>
                    <a:pt x="9600" y="19200"/>
                    <a:pt x="9075" y="19120"/>
                    <a:pt x="9075" y="19120"/>
                  </a:cubicBezTo>
                  <a:cubicBezTo>
                    <a:pt x="8400" y="19280"/>
                    <a:pt x="8400" y="19280"/>
                    <a:pt x="8400" y="19280"/>
                  </a:cubicBezTo>
                  <a:cubicBezTo>
                    <a:pt x="7425" y="19280"/>
                    <a:pt x="7425" y="19280"/>
                    <a:pt x="7425" y="19280"/>
                  </a:cubicBezTo>
                  <a:cubicBezTo>
                    <a:pt x="6525" y="19360"/>
                    <a:pt x="6525" y="19360"/>
                    <a:pt x="6525" y="19360"/>
                  </a:cubicBezTo>
                  <a:cubicBezTo>
                    <a:pt x="5850" y="19360"/>
                    <a:pt x="5850" y="19360"/>
                    <a:pt x="5850" y="19360"/>
                  </a:cubicBezTo>
                  <a:cubicBezTo>
                    <a:pt x="5325" y="19760"/>
                    <a:pt x="5325" y="19760"/>
                    <a:pt x="5325" y="19760"/>
                  </a:cubicBezTo>
                  <a:cubicBezTo>
                    <a:pt x="4800" y="19840"/>
                    <a:pt x="4800" y="19840"/>
                    <a:pt x="4800" y="19840"/>
                  </a:cubicBezTo>
                  <a:cubicBezTo>
                    <a:pt x="4200" y="19920"/>
                    <a:pt x="4200" y="19920"/>
                    <a:pt x="4200" y="19920"/>
                  </a:cubicBezTo>
                  <a:cubicBezTo>
                    <a:pt x="4125" y="19920"/>
                    <a:pt x="4125" y="19920"/>
                    <a:pt x="4125" y="19920"/>
                  </a:cubicBezTo>
                  <a:cubicBezTo>
                    <a:pt x="4050" y="20000"/>
                    <a:pt x="4050" y="20000"/>
                    <a:pt x="4050" y="20000"/>
                  </a:cubicBezTo>
                  <a:cubicBezTo>
                    <a:pt x="3825" y="20160"/>
                    <a:pt x="3825" y="20160"/>
                    <a:pt x="3825" y="20160"/>
                  </a:cubicBezTo>
                  <a:cubicBezTo>
                    <a:pt x="3825" y="20240"/>
                    <a:pt x="3825" y="20240"/>
                    <a:pt x="3825" y="20240"/>
                  </a:cubicBezTo>
                  <a:cubicBezTo>
                    <a:pt x="3675" y="20400"/>
                    <a:pt x="3675" y="20400"/>
                    <a:pt x="3675" y="20400"/>
                  </a:cubicBezTo>
                  <a:cubicBezTo>
                    <a:pt x="3600" y="20800"/>
                    <a:pt x="3600" y="20800"/>
                    <a:pt x="3600" y="20800"/>
                  </a:cubicBezTo>
                  <a:cubicBezTo>
                    <a:pt x="3525" y="20960"/>
                    <a:pt x="3375" y="21120"/>
                    <a:pt x="3300" y="21280"/>
                  </a:cubicBezTo>
                  <a:cubicBezTo>
                    <a:pt x="3300" y="21280"/>
                    <a:pt x="3300" y="21280"/>
                    <a:pt x="3300" y="21280"/>
                  </a:cubicBezTo>
                  <a:cubicBezTo>
                    <a:pt x="3300" y="21280"/>
                    <a:pt x="3075" y="21200"/>
                    <a:pt x="3075" y="21360"/>
                  </a:cubicBezTo>
                  <a:cubicBezTo>
                    <a:pt x="3075" y="21440"/>
                    <a:pt x="3075" y="21440"/>
                    <a:pt x="3075" y="21440"/>
                  </a:cubicBezTo>
                  <a:cubicBezTo>
                    <a:pt x="2850" y="21520"/>
                    <a:pt x="2475" y="21360"/>
                    <a:pt x="2475" y="21360"/>
                  </a:cubicBezTo>
                  <a:cubicBezTo>
                    <a:pt x="2025" y="21600"/>
                    <a:pt x="2025" y="21600"/>
                    <a:pt x="2025" y="21600"/>
                  </a:cubicBezTo>
                  <a:cubicBezTo>
                    <a:pt x="2025" y="21600"/>
                    <a:pt x="2025" y="21600"/>
                    <a:pt x="2025" y="21600"/>
                  </a:cubicBezTo>
                  <a:cubicBezTo>
                    <a:pt x="2025" y="21520"/>
                    <a:pt x="1875" y="21200"/>
                    <a:pt x="1875" y="21200"/>
                  </a:cubicBezTo>
                  <a:cubicBezTo>
                    <a:pt x="1875" y="21200"/>
                    <a:pt x="1950" y="20640"/>
                    <a:pt x="1950" y="20640"/>
                  </a:cubicBezTo>
                  <a:cubicBezTo>
                    <a:pt x="1950" y="20560"/>
                    <a:pt x="1875" y="19920"/>
                    <a:pt x="1875" y="19920"/>
                  </a:cubicBezTo>
                  <a:cubicBezTo>
                    <a:pt x="1875" y="19600"/>
                    <a:pt x="1875" y="19600"/>
                    <a:pt x="1875" y="19600"/>
                  </a:cubicBezTo>
                  <a:cubicBezTo>
                    <a:pt x="1425" y="19280"/>
                    <a:pt x="1425" y="19280"/>
                    <a:pt x="1425" y="19280"/>
                  </a:cubicBezTo>
                  <a:cubicBezTo>
                    <a:pt x="1425" y="19280"/>
                    <a:pt x="900" y="19200"/>
                    <a:pt x="750" y="19200"/>
                  </a:cubicBezTo>
                  <a:cubicBezTo>
                    <a:pt x="675" y="19200"/>
                    <a:pt x="600" y="18960"/>
                    <a:pt x="600" y="18960"/>
                  </a:cubicBezTo>
                  <a:cubicBezTo>
                    <a:pt x="675" y="18720"/>
                    <a:pt x="675" y="18720"/>
                    <a:pt x="675" y="18720"/>
                  </a:cubicBezTo>
                  <a:cubicBezTo>
                    <a:pt x="900" y="18000"/>
                    <a:pt x="900" y="18000"/>
                    <a:pt x="900" y="18000"/>
                  </a:cubicBezTo>
                  <a:cubicBezTo>
                    <a:pt x="1275" y="17440"/>
                    <a:pt x="1275" y="17440"/>
                    <a:pt x="1275" y="17440"/>
                  </a:cubicBezTo>
                  <a:cubicBezTo>
                    <a:pt x="1575" y="17280"/>
                    <a:pt x="1575" y="17280"/>
                    <a:pt x="1575" y="17280"/>
                  </a:cubicBezTo>
                  <a:cubicBezTo>
                    <a:pt x="1575" y="17280"/>
                    <a:pt x="1875" y="16800"/>
                    <a:pt x="1950" y="16720"/>
                  </a:cubicBezTo>
                  <a:cubicBezTo>
                    <a:pt x="2025" y="16720"/>
                    <a:pt x="1950" y="16320"/>
                    <a:pt x="1875" y="16320"/>
                  </a:cubicBezTo>
                  <a:cubicBezTo>
                    <a:pt x="1875" y="16240"/>
                    <a:pt x="1875" y="16000"/>
                    <a:pt x="1875" y="15920"/>
                  </a:cubicBezTo>
                  <a:cubicBezTo>
                    <a:pt x="1875" y="15760"/>
                    <a:pt x="1650" y="15520"/>
                    <a:pt x="1650" y="15520"/>
                  </a:cubicBezTo>
                  <a:cubicBezTo>
                    <a:pt x="1575" y="14880"/>
                    <a:pt x="1575" y="14880"/>
                    <a:pt x="1575" y="14880"/>
                  </a:cubicBezTo>
                  <a:cubicBezTo>
                    <a:pt x="1425" y="14720"/>
                    <a:pt x="1425" y="14720"/>
                    <a:pt x="1425" y="14720"/>
                  </a:cubicBezTo>
                  <a:cubicBezTo>
                    <a:pt x="1425" y="14640"/>
                    <a:pt x="1425" y="14640"/>
                    <a:pt x="1425" y="14640"/>
                  </a:cubicBezTo>
                  <a:cubicBezTo>
                    <a:pt x="975" y="14000"/>
                    <a:pt x="975" y="14000"/>
                    <a:pt x="975" y="14000"/>
                  </a:cubicBezTo>
                  <a:cubicBezTo>
                    <a:pt x="600" y="13120"/>
                    <a:pt x="600" y="13120"/>
                    <a:pt x="600" y="13120"/>
                  </a:cubicBezTo>
                  <a:cubicBezTo>
                    <a:pt x="600" y="13120"/>
                    <a:pt x="150" y="12320"/>
                    <a:pt x="75" y="12000"/>
                  </a:cubicBezTo>
                  <a:cubicBezTo>
                    <a:pt x="0" y="11760"/>
                    <a:pt x="0" y="11760"/>
                    <a:pt x="0" y="11760"/>
                  </a:cubicBezTo>
                  <a:cubicBezTo>
                    <a:pt x="675" y="11600"/>
                    <a:pt x="675" y="11600"/>
                    <a:pt x="675" y="11600"/>
                  </a:cubicBezTo>
                  <a:cubicBezTo>
                    <a:pt x="1425" y="11280"/>
                    <a:pt x="1425" y="11280"/>
                    <a:pt x="1425" y="11280"/>
                  </a:cubicBezTo>
                  <a:cubicBezTo>
                    <a:pt x="1875" y="11360"/>
                    <a:pt x="1875" y="11360"/>
                    <a:pt x="1875" y="11360"/>
                  </a:cubicBezTo>
                  <a:cubicBezTo>
                    <a:pt x="2400" y="11280"/>
                    <a:pt x="2400" y="11280"/>
                    <a:pt x="2400" y="11280"/>
                  </a:cubicBezTo>
                  <a:cubicBezTo>
                    <a:pt x="2700" y="10880"/>
                    <a:pt x="2700" y="10880"/>
                    <a:pt x="2700" y="10880"/>
                  </a:cubicBezTo>
                  <a:cubicBezTo>
                    <a:pt x="3075" y="10880"/>
                    <a:pt x="3075" y="10880"/>
                    <a:pt x="3075" y="10880"/>
                  </a:cubicBezTo>
                  <a:cubicBezTo>
                    <a:pt x="2925" y="10320"/>
                    <a:pt x="2925" y="10320"/>
                    <a:pt x="2925" y="10320"/>
                  </a:cubicBezTo>
                  <a:cubicBezTo>
                    <a:pt x="2925" y="10320"/>
                    <a:pt x="3000" y="10080"/>
                    <a:pt x="3075" y="10160"/>
                  </a:cubicBezTo>
                  <a:cubicBezTo>
                    <a:pt x="3225" y="10160"/>
                    <a:pt x="3525" y="10160"/>
                    <a:pt x="3525" y="10160"/>
                  </a:cubicBezTo>
                  <a:cubicBezTo>
                    <a:pt x="3675" y="9840"/>
                    <a:pt x="3675" y="9840"/>
                    <a:pt x="3675" y="9840"/>
                  </a:cubicBezTo>
                  <a:cubicBezTo>
                    <a:pt x="3675" y="9680"/>
                    <a:pt x="3675" y="9680"/>
                    <a:pt x="3675" y="9680"/>
                  </a:cubicBezTo>
                  <a:cubicBezTo>
                    <a:pt x="4200" y="9520"/>
                    <a:pt x="4200" y="9520"/>
                    <a:pt x="4200" y="9520"/>
                  </a:cubicBezTo>
                  <a:cubicBezTo>
                    <a:pt x="4425" y="9280"/>
                    <a:pt x="4425" y="9280"/>
                    <a:pt x="4425" y="9280"/>
                  </a:cubicBezTo>
                  <a:cubicBezTo>
                    <a:pt x="4575" y="9440"/>
                    <a:pt x="4575" y="9440"/>
                    <a:pt x="4575" y="9440"/>
                  </a:cubicBezTo>
                  <a:cubicBezTo>
                    <a:pt x="4500" y="9760"/>
                    <a:pt x="4500" y="9760"/>
                    <a:pt x="4500" y="9760"/>
                  </a:cubicBezTo>
                  <a:cubicBezTo>
                    <a:pt x="4875" y="9680"/>
                    <a:pt x="4875" y="9680"/>
                    <a:pt x="4875" y="9680"/>
                  </a:cubicBezTo>
                  <a:cubicBezTo>
                    <a:pt x="5025" y="9200"/>
                    <a:pt x="5025" y="9200"/>
                    <a:pt x="5025" y="9200"/>
                  </a:cubicBezTo>
                  <a:cubicBezTo>
                    <a:pt x="4875" y="9120"/>
                    <a:pt x="4875" y="9120"/>
                    <a:pt x="4875" y="9120"/>
                  </a:cubicBezTo>
                  <a:cubicBezTo>
                    <a:pt x="4500" y="8960"/>
                    <a:pt x="4500" y="8960"/>
                    <a:pt x="4500" y="8960"/>
                  </a:cubicBezTo>
                  <a:cubicBezTo>
                    <a:pt x="4500" y="8960"/>
                    <a:pt x="4350" y="9040"/>
                    <a:pt x="4350" y="8880"/>
                  </a:cubicBezTo>
                  <a:cubicBezTo>
                    <a:pt x="4425" y="8640"/>
                    <a:pt x="4575" y="8240"/>
                    <a:pt x="4575" y="8240"/>
                  </a:cubicBezTo>
                  <a:cubicBezTo>
                    <a:pt x="4500" y="7760"/>
                    <a:pt x="4500" y="7760"/>
                    <a:pt x="4500" y="7760"/>
                  </a:cubicBezTo>
                  <a:cubicBezTo>
                    <a:pt x="4425" y="7200"/>
                    <a:pt x="4425" y="7200"/>
                    <a:pt x="4425" y="7200"/>
                  </a:cubicBezTo>
                  <a:cubicBezTo>
                    <a:pt x="4500" y="6880"/>
                    <a:pt x="4500" y="6880"/>
                    <a:pt x="4500" y="6880"/>
                  </a:cubicBezTo>
                  <a:cubicBezTo>
                    <a:pt x="4500" y="6560"/>
                    <a:pt x="4500" y="6560"/>
                    <a:pt x="4500" y="6560"/>
                  </a:cubicBezTo>
                  <a:cubicBezTo>
                    <a:pt x="4650" y="6240"/>
                    <a:pt x="4650" y="6240"/>
                    <a:pt x="4650" y="6240"/>
                  </a:cubicBezTo>
                  <a:cubicBezTo>
                    <a:pt x="5250" y="6000"/>
                    <a:pt x="5250" y="6000"/>
                    <a:pt x="5250" y="6000"/>
                  </a:cubicBezTo>
                  <a:cubicBezTo>
                    <a:pt x="5250" y="5440"/>
                    <a:pt x="5250" y="5440"/>
                    <a:pt x="5250" y="5440"/>
                  </a:cubicBezTo>
                  <a:cubicBezTo>
                    <a:pt x="5475" y="5200"/>
                    <a:pt x="5475" y="5200"/>
                    <a:pt x="5475" y="5200"/>
                  </a:cubicBezTo>
                  <a:lnTo>
                    <a:pt x="6075" y="528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9" name="Shape 2242">
              <a:extLst>
                <a:ext uri="{FF2B5EF4-FFF2-40B4-BE49-F238E27FC236}">
                  <a16:creationId xmlns:a16="http://schemas.microsoft.com/office/drawing/2014/main" id="{1C6365CE-02F3-ADDE-7D06-97E3335F44AE}"/>
                </a:ext>
              </a:extLst>
            </p:cNvPr>
            <p:cNvSpPr/>
            <p:nvPr/>
          </p:nvSpPr>
          <p:spPr>
            <a:xfrm>
              <a:off x="6142109" y="5240940"/>
              <a:ext cx="640260" cy="606703"/>
            </a:xfrm>
            <a:custGeom>
              <a:avLst/>
              <a:gdLst/>
              <a:ahLst/>
              <a:cxnLst>
                <a:cxn ang="0">
                  <a:pos x="wd2" y="hd2"/>
                </a:cxn>
                <a:cxn ang="5400000">
                  <a:pos x="wd2" y="hd2"/>
                </a:cxn>
                <a:cxn ang="10800000">
                  <a:pos x="wd2" y="hd2"/>
                </a:cxn>
                <a:cxn ang="16200000">
                  <a:pos x="wd2" y="hd2"/>
                </a:cxn>
              </a:cxnLst>
              <a:rect l="0" t="0" r="r" b="b"/>
              <a:pathLst>
                <a:path w="21600" h="21517" extrusionOk="0">
                  <a:moveTo>
                    <a:pt x="13796" y="21517"/>
                  </a:moveTo>
                  <a:cubicBezTo>
                    <a:pt x="13935" y="20949"/>
                    <a:pt x="13935" y="20949"/>
                    <a:pt x="13935" y="20949"/>
                  </a:cubicBezTo>
                  <a:cubicBezTo>
                    <a:pt x="13935" y="20949"/>
                    <a:pt x="14354" y="20806"/>
                    <a:pt x="14493" y="20806"/>
                  </a:cubicBezTo>
                  <a:cubicBezTo>
                    <a:pt x="14632" y="20664"/>
                    <a:pt x="14772" y="20806"/>
                    <a:pt x="14911" y="20664"/>
                  </a:cubicBezTo>
                  <a:cubicBezTo>
                    <a:pt x="15050" y="20664"/>
                    <a:pt x="15329" y="20522"/>
                    <a:pt x="15329" y="20522"/>
                  </a:cubicBezTo>
                  <a:cubicBezTo>
                    <a:pt x="15190" y="20522"/>
                    <a:pt x="15190" y="20522"/>
                    <a:pt x="15190" y="20522"/>
                  </a:cubicBezTo>
                  <a:cubicBezTo>
                    <a:pt x="15190" y="20238"/>
                    <a:pt x="15190" y="20238"/>
                    <a:pt x="15190" y="20238"/>
                  </a:cubicBezTo>
                  <a:cubicBezTo>
                    <a:pt x="15329" y="19954"/>
                    <a:pt x="15329" y="19954"/>
                    <a:pt x="15329" y="19954"/>
                  </a:cubicBezTo>
                  <a:cubicBezTo>
                    <a:pt x="14772" y="19670"/>
                    <a:pt x="14772" y="19670"/>
                    <a:pt x="14772" y="19670"/>
                  </a:cubicBezTo>
                  <a:cubicBezTo>
                    <a:pt x="14911" y="19385"/>
                    <a:pt x="14911" y="19385"/>
                    <a:pt x="14911" y="19385"/>
                  </a:cubicBezTo>
                  <a:cubicBezTo>
                    <a:pt x="14911" y="19385"/>
                    <a:pt x="14772" y="19101"/>
                    <a:pt x="14911" y="19101"/>
                  </a:cubicBezTo>
                  <a:cubicBezTo>
                    <a:pt x="15050" y="19101"/>
                    <a:pt x="15050" y="18675"/>
                    <a:pt x="15050" y="18675"/>
                  </a:cubicBezTo>
                  <a:cubicBezTo>
                    <a:pt x="15190" y="18391"/>
                    <a:pt x="15190" y="18391"/>
                    <a:pt x="15190" y="18391"/>
                  </a:cubicBezTo>
                  <a:cubicBezTo>
                    <a:pt x="15468" y="18391"/>
                    <a:pt x="15468" y="18391"/>
                    <a:pt x="15468" y="18391"/>
                  </a:cubicBezTo>
                  <a:cubicBezTo>
                    <a:pt x="15468" y="18391"/>
                    <a:pt x="15468" y="18106"/>
                    <a:pt x="15608" y="17964"/>
                  </a:cubicBezTo>
                  <a:cubicBezTo>
                    <a:pt x="15608" y="17964"/>
                    <a:pt x="15747" y="17822"/>
                    <a:pt x="15747" y="17822"/>
                  </a:cubicBezTo>
                  <a:cubicBezTo>
                    <a:pt x="15608" y="17396"/>
                    <a:pt x="15608" y="17396"/>
                    <a:pt x="15608" y="17396"/>
                  </a:cubicBezTo>
                  <a:cubicBezTo>
                    <a:pt x="15608" y="17396"/>
                    <a:pt x="15329" y="16970"/>
                    <a:pt x="15468" y="16970"/>
                  </a:cubicBezTo>
                  <a:cubicBezTo>
                    <a:pt x="15608" y="16970"/>
                    <a:pt x="15747" y="16828"/>
                    <a:pt x="15747" y="16828"/>
                  </a:cubicBezTo>
                  <a:cubicBezTo>
                    <a:pt x="15747" y="16828"/>
                    <a:pt x="16165" y="16401"/>
                    <a:pt x="16305" y="16401"/>
                  </a:cubicBezTo>
                  <a:cubicBezTo>
                    <a:pt x="16305" y="16401"/>
                    <a:pt x="16583" y="16117"/>
                    <a:pt x="16583" y="15975"/>
                  </a:cubicBezTo>
                  <a:cubicBezTo>
                    <a:pt x="16444" y="15833"/>
                    <a:pt x="16305" y="15691"/>
                    <a:pt x="16305" y="15691"/>
                  </a:cubicBezTo>
                  <a:cubicBezTo>
                    <a:pt x="16444" y="15122"/>
                    <a:pt x="16444" y="15122"/>
                    <a:pt x="16444" y="15122"/>
                  </a:cubicBezTo>
                  <a:cubicBezTo>
                    <a:pt x="16444" y="15122"/>
                    <a:pt x="16583" y="14838"/>
                    <a:pt x="16444" y="14838"/>
                  </a:cubicBezTo>
                  <a:cubicBezTo>
                    <a:pt x="16305" y="14696"/>
                    <a:pt x="16026" y="14696"/>
                    <a:pt x="16026" y="14696"/>
                  </a:cubicBezTo>
                  <a:cubicBezTo>
                    <a:pt x="15747" y="14412"/>
                    <a:pt x="15747" y="14412"/>
                    <a:pt x="15747" y="14412"/>
                  </a:cubicBezTo>
                  <a:cubicBezTo>
                    <a:pt x="15747" y="13985"/>
                    <a:pt x="15747" y="13985"/>
                    <a:pt x="15747" y="13985"/>
                  </a:cubicBezTo>
                  <a:cubicBezTo>
                    <a:pt x="15468" y="13559"/>
                    <a:pt x="15468" y="13559"/>
                    <a:pt x="15468" y="13559"/>
                  </a:cubicBezTo>
                  <a:cubicBezTo>
                    <a:pt x="15468" y="13559"/>
                    <a:pt x="15468" y="13275"/>
                    <a:pt x="15468" y="13133"/>
                  </a:cubicBezTo>
                  <a:cubicBezTo>
                    <a:pt x="15608" y="13133"/>
                    <a:pt x="15886" y="12564"/>
                    <a:pt x="15886" y="12422"/>
                  </a:cubicBezTo>
                  <a:cubicBezTo>
                    <a:pt x="16026" y="12422"/>
                    <a:pt x="16583" y="11854"/>
                    <a:pt x="16583" y="11854"/>
                  </a:cubicBezTo>
                  <a:cubicBezTo>
                    <a:pt x="16862" y="12564"/>
                    <a:pt x="16862" y="12564"/>
                    <a:pt x="16862" y="12564"/>
                  </a:cubicBezTo>
                  <a:cubicBezTo>
                    <a:pt x="16862" y="13133"/>
                    <a:pt x="16862" y="13133"/>
                    <a:pt x="16862" y="13133"/>
                  </a:cubicBezTo>
                  <a:cubicBezTo>
                    <a:pt x="16862" y="13133"/>
                    <a:pt x="16723" y="13417"/>
                    <a:pt x="16862" y="13417"/>
                  </a:cubicBezTo>
                  <a:cubicBezTo>
                    <a:pt x="17141" y="13275"/>
                    <a:pt x="17141" y="12991"/>
                    <a:pt x="17141" y="12991"/>
                  </a:cubicBezTo>
                  <a:cubicBezTo>
                    <a:pt x="17280" y="12849"/>
                    <a:pt x="17280" y="12849"/>
                    <a:pt x="17280" y="12849"/>
                  </a:cubicBezTo>
                  <a:cubicBezTo>
                    <a:pt x="17280" y="12849"/>
                    <a:pt x="17001" y="12422"/>
                    <a:pt x="17141" y="12422"/>
                  </a:cubicBezTo>
                  <a:cubicBezTo>
                    <a:pt x="17280" y="12422"/>
                    <a:pt x="17280" y="12138"/>
                    <a:pt x="17280" y="12422"/>
                  </a:cubicBezTo>
                  <a:cubicBezTo>
                    <a:pt x="17419" y="12564"/>
                    <a:pt x="17419" y="12849"/>
                    <a:pt x="17559" y="12706"/>
                  </a:cubicBezTo>
                  <a:cubicBezTo>
                    <a:pt x="17837" y="12706"/>
                    <a:pt x="17837" y="12849"/>
                    <a:pt x="17837" y="12706"/>
                  </a:cubicBezTo>
                  <a:cubicBezTo>
                    <a:pt x="17977" y="12564"/>
                    <a:pt x="17977" y="12422"/>
                    <a:pt x="17977" y="12422"/>
                  </a:cubicBezTo>
                  <a:cubicBezTo>
                    <a:pt x="18116" y="12280"/>
                    <a:pt x="18116" y="12280"/>
                    <a:pt x="18116" y="12280"/>
                  </a:cubicBezTo>
                  <a:cubicBezTo>
                    <a:pt x="18116" y="12280"/>
                    <a:pt x="18116" y="12564"/>
                    <a:pt x="18255" y="12564"/>
                  </a:cubicBezTo>
                  <a:cubicBezTo>
                    <a:pt x="18395" y="12564"/>
                    <a:pt x="18674" y="12564"/>
                    <a:pt x="18674" y="12564"/>
                  </a:cubicBezTo>
                  <a:cubicBezTo>
                    <a:pt x="18952" y="12706"/>
                    <a:pt x="18952" y="12706"/>
                    <a:pt x="18952" y="12706"/>
                  </a:cubicBezTo>
                  <a:cubicBezTo>
                    <a:pt x="18952" y="12706"/>
                    <a:pt x="19092" y="12706"/>
                    <a:pt x="19092" y="12564"/>
                  </a:cubicBezTo>
                  <a:cubicBezTo>
                    <a:pt x="19092" y="12422"/>
                    <a:pt x="19092" y="12280"/>
                    <a:pt x="19092" y="12280"/>
                  </a:cubicBezTo>
                  <a:cubicBezTo>
                    <a:pt x="19370" y="12138"/>
                    <a:pt x="19370" y="12138"/>
                    <a:pt x="19370" y="12138"/>
                  </a:cubicBezTo>
                  <a:cubicBezTo>
                    <a:pt x="19370" y="11712"/>
                    <a:pt x="19370" y="11712"/>
                    <a:pt x="19370" y="11712"/>
                  </a:cubicBezTo>
                  <a:cubicBezTo>
                    <a:pt x="19928" y="12138"/>
                    <a:pt x="19928" y="12138"/>
                    <a:pt x="19928" y="12138"/>
                  </a:cubicBezTo>
                  <a:cubicBezTo>
                    <a:pt x="20067" y="12564"/>
                    <a:pt x="20067" y="12564"/>
                    <a:pt x="20067" y="12564"/>
                  </a:cubicBezTo>
                  <a:cubicBezTo>
                    <a:pt x="20346" y="12422"/>
                    <a:pt x="20346" y="12422"/>
                    <a:pt x="20346" y="12422"/>
                  </a:cubicBezTo>
                  <a:cubicBezTo>
                    <a:pt x="20485" y="11996"/>
                    <a:pt x="20485" y="11996"/>
                    <a:pt x="20485" y="11996"/>
                  </a:cubicBezTo>
                  <a:cubicBezTo>
                    <a:pt x="20485" y="11996"/>
                    <a:pt x="20903" y="11996"/>
                    <a:pt x="21043" y="11854"/>
                  </a:cubicBezTo>
                  <a:cubicBezTo>
                    <a:pt x="21182" y="11854"/>
                    <a:pt x="21600" y="11712"/>
                    <a:pt x="21600" y="11712"/>
                  </a:cubicBezTo>
                  <a:cubicBezTo>
                    <a:pt x="21600" y="11570"/>
                    <a:pt x="21321" y="11428"/>
                    <a:pt x="21182" y="11570"/>
                  </a:cubicBezTo>
                  <a:cubicBezTo>
                    <a:pt x="21043" y="11570"/>
                    <a:pt x="20764" y="11712"/>
                    <a:pt x="20625" y="11570"/>
                  </a:cubicBezTo>
                  <a:cubicBezTo>
                    <a:pt x="20625" y="11428"/>
                    <a:pt x="20346" y="11143"/>
                    <a:pt x="20346" y="11143"/>
                  </a:cubicBezTo>
                  <a:cubicBezTo>
                    <a:pt x="20067" y="11143"/>
                    <a:pt x="20067" y="11143"/>
                    <a:pt x="20067" y="11143"/>
                  </a:cubicBezTo>
                  <a:cubicBezTo>
                    <a:pt x="20067" y="11143"/>
                    <a:pt x="19788" y="11001"/>
                    <a:pt x="19928" y="10859"/>
                  </a:cubicBezTo>
                  <a:cubicBezTo>
                    <a:pt x="20067" y="10717"/>
                    <a:pt x="20206" y="10717"/>
                    <a:pt x="20206" y="10717"/>
                  </a:cubicBezTo>
                  <a:cubicBezTo>
                    <a:pt x="20206" y="10717"/>
                    <a:pt x="20067" y="10433"/>
                    <a:pt x="20067" y="10291"/>
                  </a:cubicBezTo>
                  <a:cubicBezTo>
                    <a:pt x="20067" y="10149"/>
                    <a:pt x="20067" y="9864"/>
                    <a:pt x="19928" y="9722"/>
                  </a:cubicBezTo>
                  <a:cubicBezTo>
                    <a:pt x="19928" y="9722"/>
                    <a:pt x="19649" y="9154"/>
                    <a:pt x="19649" y="9154"/>
                  </a:cubicBezTo>
                  <a:cubicBezTo>
                    <a:pt x="19649" y="8870"/>
                    <a:pt x="19649" y="8870"/>
                    <a:pt x="19649" y="8870"/>
                  </a:cubicBezTo>
                  <a:cubicBezTo>
                    <a:pt x="19370" y="9012"/>
                    <a:pt x="19370" y="9012"/>
                    <a:pt x="19370" y="9012"/>
                  </a:cubicBezTo>
                  <a:cubicBezTo>
                    <a:pt x="19092" y="8728"/>
                    <a:pt x="19092" y="8728"/>
                    <a:pt x="19092" y="8728"/>
                  </a:cubicBezTo>
                  <a:cubicBezTo>
                    <a:pt x="19092" y="8728"/>
                    <a:pt x="18813" y="8728"/>
                    <a:pt x="18813" y="8870"/>
                  </a:cubicBezTo>
                  <a:cubicBezTo>
                    <a:pt x="18674" y="8870"/>
                    <a:pt x="18534" y="8728"/>
                    <a:pt x="18534" y="8728"/>
                  </a:cubicBezTo>
                  <a:cubicBezTo>
                    <a:pt x="18255" y="8728"/>
                    <a:pt x="18255" y="8728"/>
                    <a:pt x="18255" y="8728"/>
                  </a:cubicBezTo>
                  <a:cubicBezTo>
                    <a:pt x="18255" y="8728"/>
                    <a:pt x="18255" y="8728"/>
                    <a:pt x="17977" y="8728"/>
                  </a:cubicBezTo>
                  <a:cubicBezTo>
                    <a:pt x="17837" y="8728"/>
                    <a:pt x="17559" y="8585"/>
                    <a:pt x="17419" y="8585"/>
                  </a:cubicBezTo>
                  <a:cubicBezTo>
                    <a:pt x="17419" y="8443"/>
                    <a:pt x="17419" y="8301"/>
                    <a:pt x="17419" y="8301"/>
                  </a:cubicBezTo>
                  <a:cubicBezTo>
                    <a:pt x="17559" y="8159"/>
                    <a:pt x="17559" y="8017"/>
                    <a:pt x="17559" y="8017"/>
                  </a:cubicBezTo>
                  <a:cubicBezTo>
                    <a:pt x="17559" y="8017"/>
                    <a:pt x="17559" y="7591"/>
                    <a:pt x="17419" y="7591"/>
                  </a:cubicBezTo>
                  <a:cubicBezTo>
                    <a:pt x="17280" y="7591"/>
                    <a:pt x="17001" y="7591"/>
                    <a:pt x="17001" y="7591"/>
                  </a:cubicBezTo>
                  <a:cubicBezTo>
                    <a:pt x="16723" y="7449"/>
                    <a:pt x="16723" y="7449"/>
                    <a:pt x="16723" y="7449"/>
                  </a:cubicBezTo>
                  <a:cubicBezTo>
                    <a:pt x="17141" y="7306"/>
                    <a:pt x="17141" y="7306"/>
                    <a:pt x="17141" y="7306"/>
                  </a:cubicBezTo>
                  <a:cubicBezTo>
                    <a:pt x="17001" y="7022"/>
                    <a:pt x="17001" y="7022"/>
                    <a:pt x="17001" y="7022"/>
                  </a:cubicBezTo>
                  <a:cubicBezTo>
                    <a:pt x="17001" y="7022"/>
                    <a:pt x="17001" y="6738"/>
                    <a:pt x="17001" y="6738"/>
                  </a:cubicBezTo>
                  <a:cubicBezTo>
                    <a:pt x="17001" y="6596"/>
                    <a:pt x="16862" y="6454"/>
                    <a:pt x="16862" y="6454"/>
                  </a:cubicBezTo>
                  <a:cubicBezTo>
                    <a:pt x="16862" y="5885"/>
                    <a:pt x="16862" y="5885"/>
                    <a:pt x="16862" y="5885"/>
                  </a:cubicBezTo>
                  <a:cubicBezTo>
                    <a:pt x="16583" y="5885"/>
                    <a:pt x="16583" y="5885"/>
                    <a:pt x="16583" y="5885"/>
                  </a:cubicBezTo>
                  <a:cubicBezTo>
                    <a:pt x="16305" y="5743"/>
                    <a:pt x="16305" y="5743"/>
                    <a:pt x="16305" y="5743"/>
                  </a:cubicBezTo>
                  <a:cubicBezTo>
                    <a:pt x="16165" y="6170"/>
                    <a:pt x="16165" y="6170"/>
                    <a:pt x="16165" y="6170"/>
                  </a:cubicBezTo>
                  <a:cubicBezTo>
                    <a:pt x="15886" y="6312"/>
                    <a:pt x="15886" y="6312"/>
                    <a:pt x="15886" y="6312"/>
                  </a:cubicBezTo>
                  <a:cubicBezTo>
                    <a:pt x="15747" y="5885"/>
                    <a:pt x="15747" y="5885"/>
                    <a:pt x="15747" y="5885"/>
                  </a:cubicBezTo>
                  <a:cubicBezTo>
                    <a:pt x="15468" y="5743"/>
                    <a:pt x="15468" y="5743"/>
                    <a:pt x="15468" y="5743"/>
                  </a:cubicBezTo>
                  <a:cubicBezTo>
                    <a:pt x="15329" y="5743"/>
                    <a:pt x="15329" y="5743"/>
                    <a:pt x="15329" y="5743"/>
                  </a:cubicBezTo>
                  <a:cubicBezTo>
                    <a:pt x="15050" y="5317"/>
                    <a:pt x="15050" y="5317"/>
                    <a:pt x="15050" y="5317"/>
                  </a:cubicBezTo>
                  <a:cubicBezTo>
                    <a:pt x="14772" y="5317"/>
                    <a:pt x="14772" y="5317"/>
                    <a:pt x="14772" y="5317"/>
                  </a:cubicBezTo>
                  <a:cubicBezTo>
                    <a:pt x="14772" y="5317"/>
                    <a:pt x="14632" y="5743"/>
                    <a:pt x="14493" y="5459"/>
                  </a:cubicBezTo>
                  <a:cubicBezTo>
                    <a:pt x="14354" y="5317"/>
                    <a:pt x="14354" y="4891"/>
                    <a:pt x="14354" y="4891"/>
                  </a:cubicBezTo>
                  <a:cubicBezTo>
                    <a:pt x="14214" y="4749"/>
                    <a:pt x="14214" y="4749"/>
                    <a:pt x="14214" y="4749"/>
                  </a:cubicBezTo>
                  <a:cubicBezTo>
                    <a:pt x="14354" y="4464"/>
                    <a:pt x="14354" y="4464"/>
                    <a:pt x="14354" y="4464"/>
                  </a:cubicBezTo>
                  <a:cubicBezTo>
                    <a:pt x="14354" y="4038"/>
                    <a:pt x="14354" y="4038"/>
                    <a:pt x="14354" y="4038"/>
                  </a:cubicBezTo>
                  <a:cubicBezTo>
                    <a:pt x="14354" y="4038"/>
                    <a:pt x="14214" y="3754"/>
                    <a:pt x="14214" y="3754"/>
                  </a:cubicBezTo>
                  <a:cubicBezTo>
                    <a:pt x="14214" y="3612"/>
                    <a:pt x="14075" y="3328"/>
                    <a:pt x="14075" y="3328"/>
                  </a:cubicBezTo>
                  <a:cubicBezTo>
                    <a:pt x="14214" y="3043"/>
                    <a:pt x="14214" y="3043"/>
                    <a:pt x="14214" y="3043"/>
                  </a:cubicBezTo>
                  <a:cubicBezTo>
                    <a:pt x="13935" y="2901"/>
                    <a:pt x="13935" y="2901"/>
                    <a:pt x="13935" y="2901"/>
                  </a:cubicBezTo>
                  <a:cubicBezTo>
                    <a:pt x="13935" y="2475"/>
                    <a:pt x="13935" y="2475"/>
                    <a:pt x="13935" y="2475"/>
                  </a:cubicBezTo>
                  <a:cubicBezTo>
                    <a:pt x="13935" y="2333"/>
                    <a:pt x="13935" y="2333"/>
                    <a:pt x="13935" y="2333"/>
                  </a:cubicBezTo>
                  <a:cubicBezTo>
                    <a:pt x="13517" y="2191"/>
                    <a:pt x="13517" y="2191"/>
                    <a:pt x="13517" y="2191"/>
                  </a:cubicBezTo>
                  <a:cubicBezTo>
                    <a:pt x="13517" y="2191"/>
                    <a:pt x="13517" y="2049"/>
                    <a:pt x="13378" y="1906"/>
                  </a:cubicBezTo>
                  <a:cubicBezTo>
                    <a:pt x="13378" y="1906"/>
                    <a:pt x="13099" y="1622"/>
                    <a:pt x="13099" y="1622"/>
                  </a:cubicBezTo>
                  <a:cubicBezTo>
                    <a:pt x="13099" y="1622"/>
                    <a:pt x="12960" y="1622"/>
                    <a:pt x="12960" y="1764"/>
                  </a:cubicBezTo>
                  <a:cubicBezTo>
                    <a:pt x="12821" y="1906"/>
                    <a:pt x="12821" y="2191"/>
                    <a:pt x="12681" y="2191"/>
                  </a:cubicBezTo>
                  <a:cubicBezTo>
                    <a:pt x="12681" y="2191"/>
                    <a:pt x="12821" y="2191"/>
                    <a:pt x="12403" y="2191"/>
                  </a:cubicBezTo>
                  <a:cubicBezTo>
                    <a:pt x="12124" y="2049"/>
                    <a:pt x="12124" y="2049"/>
                    <a:pt x="11985" y="1906"/>
                  </a:cubicBezTo>
                  <a:cubicBezTo>
                    <a:pt x="11845" y="1906"/>
                    <a:pt x="11566" y="1622"/>
                    <a:pt x="11566" y="1622"/>
                  </a:cubicBezTo>
                  <a:cubicBezTo>
                    <a:pt x="11427" y="1054"/>
                    <a:pt x="11427" y="1054"/>
                    <a:pt x="11427" y="1054"/>
                  </a:cubicBezTo>
                  <a:cubicBezTo>
                    <a:pt x="11148" y="1054"/>
                    <a:pt x="11148" y="1054"/>
                    <a:pt x="11148" y="1054"/>
                  </a:cubicBezTo>
                  <a:cubicBezTo>
                    <a:pt x="11148" y="1054"/>
                    <a:pt x="11566" y="1196"/>
                    <a:pt x="11009" y="1196"/>
                  </a:cubicBezTo>
                  <a:cubicBezTo>
                    <a:pt x="10452" y="1196"/>
                    <a:pt x="9894" y="1196"/>
                    <a:pt x="9894" y="1196"/>
                  </a:cubicBezTo>
                  <a:cubicBezTo>
                    <a:pt x="9755" y="1480"/>
                    <a:pt x="9755" y="1480"/>
                    <a:pt x="9755" y="1480"/>
                  </a:cubicBezTo>
                  <a:cubicBezTo>
                    <a:pt x="9755" y="1480"/>
                    <a:pt x="9615" y="1764"/>
                    <a:pt x="9615" y="1906"/>
                  </a:cubicBezTo>
                  <a:cubicBezTo>
                    <a:pt x="9615" y="1906"/>
                    <a:pt x="9755" y="2049"/>
                    <a:pt x="9615" y="1906"/>
                  </a:cubicBezTo>
                  <a:cubicBezTo>
                    <a:pt x="9615" y="1764"/>
                    <a:pt x="9476" y="1764"/>
                    <a:pt x="9476" y="1622"/>
                  </a:cubicBezTo>
                  <a:cubicBezTo>
                    <a:pt x="9476" y="1622"/>
                    <a:pt x="9476" y="1480"/>
                    <a:pt x="9476" y="1480"/>
                  </a:cubicBezTo>
                  <a:cubicBezTo>
                    <a:pt x="9476" y="1338"/>
                    <a:pt x="9197" y="1196"/>
                    <a:pt x="9197" y="1196"/>
                  </a:cubicBezTo>
                  <a:cubicBezTo>
                    <a:pt x="9058" y="1480"/>
                    <a:pt x="9058" y="1480"/>
                    <a:pt x="9058" y="1480"/>
                  </a:cubicBezTo>
                  <a:cubicBezTo>
                    <a:pt x="9058" y="1480"/>
                    <a:pt x="9197" y="1622"/>
                    <a:pt x="8919" y="1622"/>
                  </a:cubicBezTo>
                  <a:cubicBezTo>
                    <a:pt x="8779" y="1764"/>
                    <a:pt x="8779" y="1764"/>
                    <a:pt x="8779" y="1764"/>
                  </a:cubicBezTo>
                  <a:cubicBezTo>
                    <a:pt x="8779" y="1622"/>
                    <a:pt x="8919" y="1480"/>
                    <a:pt x="8919" y="1480"/>
                  </a:cubicBezTo>
                  <a:cubicBezTo>
                    <a:pt x="8919" y="1480"/>
                    <a:pt x="9058" y="1196"/>
                    <a:pt x="9058" y="1196"/>
                  </a:cubicBezTo>
                  <a:cubicBezTo>
                    <a:pt x="9058" y="1196"/>
                    <a:pt x="9058" y="912"/>
                    <a:pt x="8919" y="912"/>
                  </a:cubicBezTo>
                  <a:cubicBezTo>
                    <a:pt x="8919" y="912"/>
                    <a:pt x="8640" y="912"/>
                    <a:pt x="8501" y="912"/>
                  </a:cubicBezTo>
                  <a:cubicBezTo>
                    <a:pt x="8501" y="912"/>
                    <a:pt x="8361" y="1054"/>
                    <a:pt x="8361" y="1054"/>
                  </a:cubicBezTo>
                  <a:cubicBezTo>
                    <a:pt x="8361" y="1054"/>
                    <a:pt x="8501" y="1196"/>
                    <a:pt x="8361" y="1196"/>
                  </a:cubicBezTo>
                  <a:cubicBezTo>
                    <a:pt x="8361" y="1196"/>
                    <a:pt x="8222" y="1196"/>
                    <a:pt x="8222" y="1338"/>
                  </a:cubicBezTo>
                  <a:cubicBezTo>
                    <a:pt x="8083" y="1338"/>
                    <a:pt x="8083" y="1054"/>
                    <a:pt x="8083" y="1054"/>
                  </a:cubicBezTo>
                  <a:cubicBezTo>
                    <a:pt x="8083" y="1054"/>
                    <a:pt x="7943" y="912"/>
                    <a:pt x="7943" y="912"/>
                  </a:cubicBezTo>
                  <a:cubicBezTo>
                    <a:pt x="7943" y="1054"/>
                    <a:pt x="7804" y="1338"/>
                    <a:pt x="7804" y="1338"/>
                  </a:cubicBezTo>
                  <a:cubicBezTo>
                    <a:pt x="7665" y="1338"/>
                    <a:pt x="7665" y="1338"/>
                    <a:pt x="7665" y="1196"/>
                  </a:cubicBezTo>
                  <a:cubicBezTo>
                    <a:pt x="7525" y="1196"/>
                    <a:pt x="7525" y="912"/>
                    <a:pt x="7525" y="912"/>
                  </a:cubicBezTo>
                  <a:cubicBezTo>
                    <a:pt x="7386" y="770"/>
                    <a:pt x="7386" y="770"/>
                    <a:pt x="7386" y="770"/>
                  </a:cubicBezTo>
                  <a:cubicBezTo>
                    <a:pt x="7386" y="770"/>
                    <a:pt x="6968" y="770"/>
                    <a:pt x="6828" y="770"/>
                  </a:cubicBezTo>
                  <a:cubicBezTo>
                    <a:pt x="6828" y="770"/>
                    <a:pt x="6550" y="770"/>
                    <a:pt x="6550" y="628"/>
                  </a:cubicBezTo>
                  <a:cubicBezTo>
                    <a:pt x="6410" y="485"/>
                    <a:pt x="6271" y="485"/>
                    <a:pt x="6271" y="485"/>
                  </a:cubicBezTo>
                  <a:cubicBezTo>
                    <a:pt x="6271" y="485"/>
                    <a:pt x="6271" y="485"/>
                    <a:pt x="6132" y="343"/>
                  </a:cubicBezTo>
                  <a:cubicBezTo>
                    <a:pt x="5992" y="343"/>
                    <a:pt x="5992" y="343"/>
                    <a:pt x="5853" y="343"/>
                  </a:cubicBezTo>
                  <a:cubicBezTo>
                    <a:pt x="5714" y="201"/>
                    <a:pt x="5853" y="201"/>
                    <a:pt x="5574" y="201"/>
                  </a:cubicBezTo>
                  <a:cubicBezTo>
                    <a:pt x="5295" y="201"/>
                    <a:pt x="5295" y="485"/>
                    <a:pt x="5156" y="343"/>
                  </a:cubicBezTo>
                  <a:cubicBezTo>
                    <a:pt x="4877" y="343"/>
                    <a:pt x="4877" y="343"/>
                    <a:pt x="4877" y="343"/>
                  </a:cubicBezTo>
                  <a:cubicBezTo>
                    <a:pt x="4738" y="201"/>
                    <a:pt x="4738" y="201"/>
                    <a:pt x="4738" y="201"/>
                  </a:cubicBezTo>
                  <a:cubicBezTo>
                    <a:pt x="4738" y="59"/>
                    <a:pt x="4599" y="-83"/>
                    <a:pt x="4599" y="59"/>
                  </a:cubicBezTo>
                  <a:cubicBezTo>
                    <a:pt x="4599" y="343"/>
                    <a:pt x="4599" y="201"/>
                    <a:pt x="4459" y="343"/>
                  </a:cubicBezTo>
                  <a:cubicBezTo>
                    <a:pt x="4459" y="485"/>
                    <a:pt x="4181" y="628"/>
                    <a:pt x="4181" y="628"/>
                  </a:cubicBezTo>
                  <a:cubicBezTo>
                    <a:pt x="4181" y="628"/>
                    <a:pt x="4041" y="628"/>
                    <a:pt x="4041" y="770"/>
                  </a:cubicBezTo>
                  <a:cubicBezTo>
                    <a:pt x="4041" y="770"/>
                    <a:pt x="3902" y="912"/>
                    <a:pt x="3902" y="912"/>
                  </a:cubicBezTo>
                  <a:cubicBezTo>
                    <a:pt x="3902" y="912"/>
                    <a:pt x="3902" y="770"/>
                    <a:pt x="3763" y="770"/>
                  </a:cubicBezTo>
                  <a:cubicBezTo>
                    <a:pt x="3763" y="770"/>
                    <a:pt x="3763" y="770"/>
                    <a:pt x="3763" y="770"/>
                  </a:cubicBezTo>
                  <a:cubicBezTo>
                    <a:pt x="3763" y="770"/>
                    <a:pt x="3484" y="770"/>
                    <a:pt x="3484" y="912"/>
                  </a:cubicBezTo>
                  <a:cubicBezTo>
                    <a:pt x="3484" y="912"/>
                    <a:pt x="3484" y="1054"/>
                    <a:pt x="3484" y="1196"/>
                  </a:cubicBezTo>
                  <a:cubicBezTo>
                    <a:pt x="3484" y="1196"/>
                    <a:pt x="3345" y="1338"/>
                    <a:pt x="3345" y="1338"/>
                  </a:cubicBezTo>
                  <a:cubicBezTo>
                    <a:pt x="3066" y="1480"/>
                    <a:pt x="3066" y="1480"/>
                    <a:pt x="3066" y="1480"/>
                  </a:cubicBezTo>
                  <a:cubicBezTo>
                    <a:pt x="3066" y="1480"/>
                    <a:pt x="3066" y="1480"/>
                    <a:pt x="2926" y="1480"/>
                  </a:cubicBezTo>
                  <a:cubicBezTo>
                    <a:pt x="2787" y="1480"/>
                    <a:pt x="2508" y="1480"/>
                    <a:pt x="2508" y="1480"/>
                  </a:cubicBezTo>
                  <a:cubicBezTo>
                    <a:pt x="2369" y="1480"/>
                    <a:pt x="2230" y="1480"/>
                    <a:pt x="2230" y="1480"/>
                  </a:cubicBezTo>
                  <a:cubicBezTo>
                    <a:pt x="2230" y="1622"/>
                    <a:pt x="2230" y="1622"/>
                    <a:pt x="2230" y="1622"/>
                  </a:cubicBezTo>
                  <a:cubicBezTo>
                    <a:pt x="2090" y="1764"/>
                    <a:pt x="2090" y="1764"/>
                    <a:pt x="2090" y="1764"/>
                  </a:cubicBezTo>
                  <a:cubicBezTo>
                    <a:pt x="2090" y="1764"/>
                    <a:pt x="1951" y="2049"/>
                    <a:pt x="1812" y="1906"/>
                  </a:cubicBezTo>
                  <a:cubicBezTo>
                    <a:pt x="1812" y="1906"/>
                    <a:pt x="1672" y="1906"/>
                    <a:pt x="1672" y="1906"/>
                  </a:cubicBezTo>
                  <a:cubicBezTo>
                    <a:pt x="1394" y="1764"/>
                    <a:pt x="1394" y="1764"/>
                    <a:pt x="1394" y="1764"/>
                  </a:cubicBezTo>
                  <a:cubicBezTo>
                    <a:pt x="1394" y="1764"/>
                    <a:pt x="1254" y="1906"/>
                    <a:pt x="1254" y="1906"/>
                  </a:cubicBezTo>
                  <a:cubicBezTo>
                    <a:pt x="1254" y="1906"/>
                    <a:pt x="1115" y="1906"/>
                    <a:pt x="1115" y="1906"/>
                  </a:cubicBezTo>
                  <a:cubicBezTo>
                    <a:pt x="1115" y="1906"/>
                    <a:pt x="1115" y="1906"/>
                    <a:pt x="1115" y="1906"/>
                  </a:cubicBezTo>
                  <a:cubicBezTo>
                    <a:pt x="1115" y="1906"/>
                    <a:pt x="1115" y="2049"/>
                    <a:pt x="1254" y="2191"/>
                  </a:cubicBezTo>
                  <a:cubicBezTo>
                    <a:pt x="1254" y="2191"/>
                    <a:pt x="1254" y="2333"/>
                    <a:pt x="1254" y="2475"/>
                  </a:cubicBezTo>
                  <a:cubicBezTo>
                    <a:pt x="1254" y="2475"/>
                    <a:pt x="1115" y="2617"/>
                    <a:pt x="1115" y="2617"/>
                  </a:cubicBezTo>
                  <a:cubicBezTo>
                    <a:pt x="975" y="2617"/>
                    <a:pt x="836" y="2475"/>
                    <a:pt x="836" y="2475"/>
                  </a:cubicBezTo>
                  <a:cubicBezTo>
                    <a:pt x="836" y="2475"/>
                    <a:pt x="836" y="2333"/>
                    <a:pt x="697" y="2333"/>
                  </a:cubicBezTo>
                  <a:cubicBezTo>
                    <a:pt x="697" y="2475"/>
                    <a:pt x="279" y="2617"/>
                    <a:pt x="279" y="2617"/>
                  </a:cubicBezTo>
                  <a:cubicBezTo>
                    <a:pt x="279" y="2901"/>
                    <a:pt x="279" y="2901"/>
                    <a:pt x="279" y="2901"/>
                  </a:cubicBezTo>
                  <a:cubicBezTo>
                    <a:pt x="0" y="3043"/>
                    <a:pt x="0" y="3043"/>
                    <a:pt x="0" y="3043"/>
                  </a:cubicBezTo>
                  <a:cubicBezTo>
                    <a:pt x="697" y="3043"/>
                    <a:pt x="697" y="3043"/>
                    <a:pt x="697" y="3043"/>
                  </a:cubicBezTo>
                  <a:cubicBezTo>
                    <a:pt x="836" y="3043"/>
                    <a:pt x="836" y="3043"/>
                    <a:pt x="836" y="3043"/>
                  </a:cubicBezTo>
                  <a:cubicBezTo>
                    <a:pt x="1115" y="3043"/>
                    <a:pt x="1115" y="3043"/>
                    <a:pt x="1115" y="3043"/>
                  </a:cubicBezTo>
                  <a:cubicBezTo>
                    <a:pt x="1254" y="2901"/>
                    <a:pt x="1254" y="2901"/>
                    <a:pt x="1254" y="2901"/>
                  </a:cubicBezTo>
                  <a:cubicBezTo>
                    <a:pt x="1254" y="2901"/>
                    <a:pt x="1394" y="2901"/>
                    <a:pt x="1394" y="3043"/>
                  </a:cubicBezTo>
                  <a:cubicBezTo>
                    <a:pt x="1394" y="3043"/>
                    <a:pt x="1672" y="3185"/>
                    <a:pt x="1672" y="3185"/>
                  </a:cubicBezTo>
                  <a:cubicBezTo>
                    <a:pt x="1672" y="3185"/>
                    <a:pt x="1672" y="3185"/>
                    <a:pt x="1672" y="3185"/>
                  </a:cubicBezTo>
                  <a:cubicBezTo>
                    <a:pt x="2090" y="3043"/>
                    <a:pt x="2090" y="3043"/>
                    <a:pt x="2090" y="3043"/>
                  </a:cubicBezTo>
                  <a:cubicBezTo>
                    <a:pt x="2090" y="3185"/>
                    <a:pt x="2090" y="3185"/>
                    <a:pt x="2090" y="3185"/>
                  </a:cubicBezTo>
                  <a:cubicBezTo>
                    <a:pt x="2090" y="3185"/>
                    <a:pt x="2090" y="3328"/>
                    <a:pt x="2230" y="3328"/>
                  </a:cubicBezTo>
                  <a:cubicBezTo>
                    <a:pt x="2369" y="3328"/>
                    <a:pt x="2369" y="3328"/>
                    <a:pt x="2369" y="3328"/>
                  </a:cubicBezTo>
                  <a:cubicBezTo>
                    <a:pt x="2369" y="3612"/>
                    <a:pt x="2369" y="3612"/>
                    <a:pt x="2369" y="3612"/>
                  </a:cubicBezTo>
                  <a:cubicBezTo>
                    <a:pt x="2648" y="3612"/>
                    <a:pt x="2648" y="3612"/>
                    <a:pt x="2648" y="3612"/>
                  </a:cubicBezTo>
                  <a:cubicBezTo>
                    <a:pt x="2648" y="3612"/>
                    <a:pt x="2787" y="3612"/>
                    <a:pt x="2787" y="3612"/>
                  </a:cubicBezTo>
                  <a:cubicBezTo>
                    <a:pt x="2787" y="3612"/>
                    <a:pt x="2787" y="3754"/>
                    <a:pt x="2787" y="3754"/>
                  </a:cubicBezTo>
                  <a:cubicBezTo>
                    <a:pt x="2787" y="3754"/>
                    <a:pt x="2926" y="3896"/>
                    <a:pt x="3066" y="4038"/>
                  </a:cubicBezTo>
                  <a:cubicBezTo>
                    <a:pt x="3066" y="4038"/>
                    <a:pt x="3205" y="4180"/>
                    <a:pt x="3205" y="4180"/>
                  </a:cubicBezTo>
                  <a:cubicBezTo>
                    <a:pt x="3345" y="4322"/>
                    <a:pt x="3345" y="4322"/>
                    <a:pt x="3345" y="4322"/>
                  </a:cubicBezTo>
                  <a:cubicBezTo>
                    <a:pt x="3484" y="4464"/>
                    <a:pt x="3484" y="4464"/>
                    <a:pt x="3484" y="4464"/>
                  </a:cubicBezTo>
                  <a:cubicBezTo>
                    <a:pt x="3623" y="4606"/>
                    <a:pt x="3623" y="4606"/>
                    <a:pt x="3623" y="4606"/>
                  </a:cubicBezTo>
                  <a:cubicBezTo>
                    <a:pt x="3623" y="4606"/>
                    <a:pt x="3623" y="4606"/>
                    <a:pt x="3623" y="4606"/>
                  </a:cubicBezTo>
                  <a:cubicBezTo>
                    <a:pt x="3623" y="4749"/>
                    <a:pt x="3623" y="4891"/>
                    <a:pt x="3763" y="4891"/>
                  </a:cubicBezTo>
                  <a:cubicBezTo>
                    <a:pt x="3763" y="4891"/>
                    <a:pt x="3763" y="4891"/>
                    <a:pt x="3902" y="4891"/>
                  </a:cubicBezTo>
                  <a:cubicBezTo>
                    <a:pt x="3902" y="4891"/>
                    <a:pt x="3902" y="4891"/>
                    <a:pt x="3902" y="5033"/>
                  </a:cubicBezTo>
                  <a:cubicBezTo>
                    <a:pt x="3902" y="5033"/>
                    <a:pt x="3902" y="5033"/>
                    <a:pt x="4041" y="5175"/>
                  </a:cubicBezTo>
                  <a:cubicBezTo>
                    <a:pt x="4041" y="5175"/>
                    <a:pt x="4181" y="5317"/>
                    <a:pt x="4181" y="5317"/>
                  </a:cubicBezTo>
                  <a:cubicBezTo>
                    <a:pt x="4181" y="5317"/>
                    <a:pt x="4181" y="5317"/>
                    <a:pt x="4181" y="5459"/>
                  </a:cubicBezTo>
                  <a:cubicBezTo>
                    <a:pt x="4181" y="5601"/>
                    <a:pt x="4320" y="5743"/>
                    <a:pt x="4320" y="5743"/>
                  </a:cubicBezTo>
                  <a:cubicBezTo>
                    <a:pt x="4320" y="5885"/>
                    <a:pt x="4459" y="5885"/>
                    <a:pt x="4459" y="5885"/>
                  </a:cubicBezTo>
                  <a:cubicBezTo>
                    <a:pt x="4459" y="5885"/>
                    <a:pt x="4459" y="5885"/>
                    <a:pt x="4459" y="5885"/>
                  </a:cubicBezTo>
                  <a:cubicBezTo>
                    <a:pt x="4459" y="5885"/>
                    <a:pt x="4599" y="5885"/>
                    <a:pt x="4599" y="6028"/>
                  </a:cubicBezTo>
                  <a:cubicBezTo>
                    <a:pt x="4599" y="6170"/>
                    <a:pt x="4459" y="6312"/>
                    <a:pt x="4599" y="6312"/>
                  </a:cubicBezTo>
                  <a:cubicBezTo>
                    <a:pt x="4599" y="6312"/>
                    <a:pt x="4738" y="6596"/>
                    <a:pt x="4877" y="6596"/>
                  </a:cubicBezTo>
                  <a:cubicBezTo>
                    <a:pt x="5017" y="6596"/>
                    <a:pt x="5017" y="6596"/>
                    <a:pt x="5017" y="6596"/>
                  </a:cubicBezTo>
                  <a:cubicBezTo>
                    <a:pt x="5156" y="6596"/>
                    <a:pt x="5156" y="6880"/>
                    <a:pt x="5295" y="6880"/>
                  </a:cubicBezTo>
                  <a:cubicBezTo>
                    <a:pt x="5295" y="7022"/>
                    <a:pt x="5295" y="7022"/>
                    <a:pt x="5435" y="7022"/>
                  </a:cubicBezTo>
                  <a:cubicBezTo>
                    <a:pt x="5574" y="7022"/>
                    <a:pt x="5574" y="7022"/>
                    <a:pt x="5574" y="7022"/>
                  </a:cubicBezTo>
                  <a:cubicBezTo>
                    <a:pt x="5574" y="7022"/>
                    <a:pt x="5574" y="7022"/>
                    <a:pt x="5574" y="7164"/>
                  </a:cubicBezTo>
                  <a:cubicBezTo>
                    <a:pt x="5714" y="7164"/>
                    <a:pt x="5992" y="7449"/>
                    <a:pt x="5992" y="7449"/>
                  </a:cubicBezTo>
                  <a:cubicBezTo>
                    <a:pt x="5992" y="7449"/>
                    <a:pt x="6132" y="7591"/>
                    <a:pt x="6132" y="7591"/>
                  </a:cubicBezTo>
                  <a:cubicBezTo>
                    <a:pt x="6132" y="7591"/>
                    <a:pt x="6271" y="7591"/>
                    <a:pt x="6410" y="7591"/>
                  </a:cubicBezTo>
                  <a:cubicBezTo>
                    <a:pt x="6410" y="7591"/>
                    <a:pt x="6550" y="7591"/>
                    <a:pt x="6550" y="7733"/>
                  </a:cubicBezTo>
                  <a:cubicBezTo>
                    <a:pt x="6550" y="7875"/>
                    <a:pt x="6689" y="7875"/>
                    <a:pt x="6689" y="8017"/>
                  </a:cubicBezTo>
                  <a:cubicBezTo>
                    <a:pt x="6689" y="8159"/>
                    <a:pt x="6828" y="8159"/>
                    <a:pt x="6828" y="8301"/>
                  </a:cubicBezTo>
                  <a:cubicBezTo>
                    <a:pt x="6828" y="8301"/>
                    <a:pt x="6968" y="8585"/>
                    <a:pt x="6968" y="8585"/>
                  </a:cubicBezTo>
                  <a:cubicBezTo>
                    <a:pt x="7804" y="8870"/>
                    <a:pt x="7804" y="8870"/>
                    <a:pt x="7804" y="8870"/>
                  </a:cubicBezTo>
                  <a:cubicBezTo>
                    <a:pt x="7943" y="9154"/>
                    <a:pt x="7943" y="9154"/>
                    <a:pt x="7943" y="9154"/>
                  </a:cubicBezTo>
                  <a:cubicBezTo>
                    <a:pt x="7943" y="9154"/>
                    <a:pt x="8083" y="9438"/>
                    <a:pt x="8083" y="9438"/>
                  </a:cubicBezTo>
                  <a:cubicBezTo>
                    <a:pt x="8222" y="9580"/>
                    <a:pt x="8361" y="9580"/>
                    <a:pt x="8361" y="9580"/>
                  </a:cubicBezTo>
                  <a:cubicBezTo>
                    <a:pt x="8779" y="10006"/>
                    <a:pt x="8779" y="10006"/>
                    <a:pt x="8779" y="10006"/>
                  </a:cubicBezTo>
                  <a:cubicBezTo>
                    <a:pt x="9197" y="10149"/>
                    <a:pt x="9197" y="10149"/>
                    <a:pt x="9197" y="10149"/>
                  </a:cubicBezTo>
                  <a:cubicBezTo>
                    <a:pt x="9197" y="10149"/>
                    <a:pt x="9476" y="10291"/>
                    <a:pt x="9615" y="10291"/>
                  </a:cubicBezTo>
                  <a:cubicBezTo>
                    <a:pt x="9615" y="10291"/>
                    <a:pt x="9894" y="10433"/>
                    <a:pt x="10034" y="10433"/>
                  </a:cubicBezTo>
                  <a:cubicBezTo>
                    <a:pt x="10034" y="10575"/>
                    <a:pt x="10173" y="11001"/>
                    <a:pt x="10173" y="11001"/>
                  </a:cubicBezTo>
                  <a:cubicBezTo>
                    <a:pt x="10312" y="11001"/>
                    <a:pt x="10591" y="11285"/>
                    <a:pt x="10591" y="11570"/>
                  </a:cubicBezTo>
                  <a:cubicBezTo>
                    <a:pt x="10730" y="11712"/>
                    <a:pt x="10730" y="11712"/>
                    <a:pt x="10730" y="11996"/>
                  </a:cubicBezTo>
                  <a:cubicBezTo>
                    <a:pt x="10870" y="12138"/>
                    <a:pt x="11148" y="12422"/>
                    <a:pt x="11148" y="12422"/>
                  </a:cubicBezTo>
                  <a:cubicBezTo>
                    <a:pt x="11148" y="12422"/>
                    <a:pt x="11148" y="12422"/>
                    <a:pt x="11288" y="12706"/>
                  </a:cubicBezTo>
                  <a:cubicBezTo>
                    <a:pt x="11427" y="12849"/>
                    <a:pt x="11566" y="12991"/>
                    <a:pt x="11566" y="13133"/>
                  </a:cubicBezTo>
                  <a:cubicBezTo>
                    <a:pt x="11566" y="13133"/>
                    <a:pt x="11566" y="13133"/>
                    <a:pt x="11566" y="13275"/>
                  </a:cubicBezTo>
                  <a:cubicBezTo>
                    <a:pt x="11566" y="13275"/>
                    <a:pt x="11566" y="13417"/>
                    <a:pt x="11566" y="13417"/>
                  </a:cubicBezTo>
                  <a:cubicBezTo>
                    <a:pt x="11566" y="13417"/>
                    <a:pt x="11706" y="13701"/>
                    <a:pt x="11706" y="13843"/>
                  </a:cubicBezTo>
                  <a:cubicBezTo>
                    <a:pt x="11706" y="13843"/>
                    <a:pt x="11845" y="14128"/>
                    <a:pt x="11845" y="14128"/>
                  </a:cubicBezTo>
                  <a:cubicBezTo>
                    <a:pt x="11845" y="14270"/>
                    <a:pt x="11845" y="14270"/>
                    <a:pt x="11845" y="14270"/>
                  </a:cubicBezTo>
                  <a:cubicBezTo>
                    <a:pt x="11985" y="14696"/>
                    <a:pt x="11985" y="14696"/>
                    <a:pt x="11985" y="14696"/>
                  </a:cubicBezTo>
                  <a:cubicBezTo>
                    <a:pt x="11845" y="14980"/>
                    <a:pt x="11845" y="14980"/>
                    <a:pt x="11845" y="14980"/>
                  </a:cubicBezTo>
                  <a:cubicBezTo>
                    <a:pt x="11845" y="14980"/>
                    <a:pt x="11706" y="15122"/>
                    <a:pt x="11845" y="15122"/>
                  </a:cubicBezTo>
                  <a:cubicBezTo>
                    <a:pt x="11985" y="15122"/>
                    <a:pt x="12124" y="15264"/>
                    <a:pt x="11985" y="15406"/>
                  </a:cubicBezTo>
                  <a:cubicBezTo>
                    <a:pt x="11985" y="15406"/>
                    <a:pt x="11845" y="15691"/>
                    <a:pt x="11845" y="15691"/>
                  </a:cubicBezTo>
                  <a:cubicBezTo>
                    <a:pt x="11845" y="15833"/>
                    <a:pt x="11845" y="15833"/>
                    <a:pt x="11845" y="15833"/>
                  </a:cubicBezTo>
                  <a:cubicBezTo>
                    <a:pt x="11706" y="16117"/>
                    <a:pt x="11706" y="16117"/>
                    <a:pt x="11706" y="16117"/>
                  </a:cubicBezTo>
                  <a:cubicBezTo>
                    <a:pt x="11706" y="16117"/>
                    <a:pt x="11985" y="16259"/>
                    <a:pt x="11985" y="16259"/>
                  </a:cubicBezTo>
                  <a:cubicBezTo>
                    <a:pt x="11985" y="16401"/>
                    <a:pt x="12124" y="16543"/>
                    <a:pt x="11985" y="16685"/>
                  </a:cubicBezTo>
                  <a:cubicBezTo>
                    <a:pt x="11985" y="16685"/>
                    <a:pt x="11985" y="16970"/>
                    <a:pt x="11985" y="16970"/>
                  </a:cubicBezTo>
                  <a:cubicBezTo>
                    <a:pt x="11985" y="16970"/>
                    <a:pt x="11985" y="17254"/>
                    <a:pt x="11985" y="17254"/>
                  </a:cubicBezTo>
                  <a:cubicBezTo>
                    <a:pt x="11985" y="17254"/>
                    <a:pt x="12263" y="17396"/>
                    <a:pt x="12124" y="17538"/>
                  </a:cubicBezTo>
                  <a:cubicBezTo>
                    <a:pt x="12124" y="17538"/>
                    <a:pt x="12124" y="17680"/>
                    <a:pt x="12124" y="17822"/>
                  </a:cubicBezTo>
                  <a:cubicBezTo>
                    <a:pt x="12263" y="18106"/>
                    <a:pt x="12542" y="18533"/>
                    <a:pt x="12542" y="18533"/>
                  </a:cubicBezTo>
                  <a:cubicBezTo>
                    <a:pt x="12542" y="18533"/>
                    <a:pt x="12681" y="18817"/>
                    <a:pt x="12681" y="18817"/>
                  </a:cubicBezTo>
                  <a:cubicBezTo>
                    <a:pt x="12681" y="18959"/>
                    <a:pt x="12542" y="18959"/>
                    <a:pt x="12681" y="19101"/>
                  </a:cubicBezTo>
                  <a:cubicBezTo>
                    <a:pt x="12681" y="19101"/>
                    <a:pt x="12542" y="19243"/>
                    <a:pt x="12681" y="19243"/>
                  </a:cubicBezTo>
                  <a:cubicBezTo>
                    <a:pt x="12821" y="19385"/>
                    <a:pt x="12960" y="19670"/>
                    <a:pt x="12960" y="19670"/>
                  </a:cubicBezTo>
                  <a:cubicBezTo>
                    <a:pt x="12960" y="19670"/>
                    <a:pt x="12960" y="19670"/>
                    <a:pt x="13099" y="19812"/>
                  </a:cubicBezTo>
                  <a:cubicBezTo>
                    <a:pt x="13099" y="19954"/>
                    <a:pt x="13099" y="20238"/>
                    <a:pt x="13099" y="20238"/>
                  </a:cubicBezTo>
                  <a:cubicBezTo>
                    <a:pt x="13099" y="20380"/>
                    <a:pt x="13239" y="20380"/>
                    <a:pt x="13099" y="20380"/>
                  </a:cubicBezTo>
                  <a:cubicBezTo>
                    <a:pt x="13099" y="20380"/>
                    <a:pt x="12960" y="20522"/>
                    <a:pt x="12960" y="20522"/>
                  </a:cubicBezTo>
                  <a:cubicBezTo>
                    <a:pt x="12821" y="20806"/>
                    <a:pt x="12821" y="20806"/>
                    <a:pt x="12821" y="20806"/>
                  </a:cubicBezTo>
                  <a:cubicBezTo>
                    <a:pt x="12821" y="20806"/>
                    <a:pt x="12960" y="20949"/>
                    <a:pt x="13099" y="20949"/>
                  </a:cubicBezTo>
                  <a:cubicBezTo>
                    <a:pt x="13099" y="20949"/>
                    <a:pt x="13239" y="20949"/>
                    <a:pt x="13239" y="20949"/>
                  </a:cubicBezTo>
                  <a:cubicBezTo>
                    <a:pt x="13517" y="21233"/>
                    <a:pt x="13517" y="21233"/>
                    <a:pt x="13517" y="21233"/>
                  </a:cubicBezTo>
                  <a:cubicBezTo>
                    <a:pt x="13517" y="21517"/>
                    <a:pt x="13517" y="21517"/>
                    <a:pt x="13517" y="21517"/>
                  </a:cubicBezTo>
                  <a:lnTo>
                    <a:pt x="13796" y="21517"/>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0" name="Shape 2243">
              <a:extLst>
                <a:ext uri="{FF2B5EF4-FFF2-40B4-BE49-F238E27FC236}">
                  <a16:creationId xmlns:a16="http://schemas.microsoft.com/office/drawing/2014/main" id="{324F4177-0F8A-E59C-7454-82DBF85DE43C}"/>
                </a:ext>
              </a:extLst>
            </p:cNvPr>
            <p:cNvSpPr/>
            <p:nvPr/>
          </p:nvSpPr>
          <p:spPr>
            <a:xfrm>
              <a:off x="2652499" y="4904601"/>
              <a:ext cx="532887" cy="434217"/>
            </a:xfrm>
            <a:custGeom>
              <a:avLst/>
              <a:gdLst/>
              <a:ahLst/>
              <a:cxnLst>
                <a:cxn ang="0">
                  <a:pos x="wd2" y="hd2"/>
                </a:cxn>
                <a:cxn ang="5400000">
                  <a:pos x="wd2" y="hd2"/>
                </a:cxn>
                <a:cxn ang="10800000">
                  <a:pos x="wd2" y="hd2"/>
                </a:cxn>
                <a:cxn ang="16200000">
                  <a:pos x="wd2" y="hd2"/>
                </a:cxn>
              </a:cxnLst>
              <a:rect l="0" t="0" r="r" b="b"/>
              <a:pathLst>
                <a:path w="21600" h="21532" extrusionOk="0">
                  <a:moveTo>
                    <a:pt x="167" y="3499"/>
                  </a:moveTo>
                  <a:cubicBezTo>
                    <a:pt x="167" y="3499"/>
                    <a:pt x="3516" y="1121"/>
                    <a:pt x="3516" y="1121"/>
                  </a:cubicBezTo>
                  <a:cubicBezTo>
                    <a:pt x="4521" y="923"/>
                    <a:pt x="4521" y="923"/>
                    <a:pt x="4521" y="923"/>
                  </a:cubicBezTo>
                  <a:cubicBezTo>
                    <a:pt x="5023" y="923"/>
                    <a:pt x="5023" y="923"/>
                    <a:pt x="5023" y="923"/>
                  </a:cubicBezTo>
                  <a:cubicBezTo>
                    <a:pt x="5191" y="725"/>
                    <a:pt x="5191" y="725"/>
                    <a:pt x="5191" y="725"/>
                  </a:cubicBezTo>
                  <a:cubicBezTo>
                    <a:pt x="5191" y="725"/>
                    <a:pt x="5358" y="1319"/>
                    <a:pt x="5526" y="1319"/>
                  </a:cubicBezTo>
                  <a:cubicBezTo>
                    <a:pt x="5526" y="1319"/>
                    <a:pt x="5860" y="1715"/>
                    <a:pt x="5860" y="1517"/>
                  </a:cubicBezTo>
                  <a:cubicBezTo>
                    <a:pt x="6028" y="1319"/>
                    <a:pt x="6028" y="1121"/>
                    <a:pt x="6195" y="1121"/>
                  </a:cubicBezTo>
                  <a:cubicBezTo>
                    <a:pt x="6195" y="923"/>
                    <a:pt x="6363" y="725"/>
                    <a:pt x="6698" y="923"/>
                  </a:cubicBezTo>
                  <a:cubicBezTo>
                    <a:pt x="6865" y="1121"/>
                    <a:pt x="6865" y="1914"/>
                    <a:pt x="6865" y="1914"/>
                  </a:cubicBezTo>
                  <a:cubicBezTo>
                    <a:pt x="8205" y="2310"/>
                    <a:pt x="7367" y="2508"/>
                    <a:pt x="9209" y="1914"/>
                  </a:cubicBezTo>
                  <a:cubicBezTo>
                    <a:pt x="9209" y="1914"/>
                    <a:pt x="9544" y="1517"/>
                    <a:pt x="9544" y="1517"/>
                  </a:cubicBezTo>
                  <a:cubicBezTo>
                    <a:pt x="9544" y="1319"/>
                    <a:pt x="9377" y="923"/>
                    <a:pt x="9712" y="1121"/>
                  </a:cubicBezTo>
                  <a:cubicBezTo>
                    <a:pt x="9879" y="1319"/>
                    <a:pt x="10047" y="1319"/>
                    <a:pt x="10214" y="1319"/>
                  </a:cubicBezTo>
                  <a:cubicBezTo>
                    <a:pt x="10381" y="1319"/>
                    <a:pt x="10716" y="1319"/>
                    <a:pt x="10716" y="1319"/>
                  </a:cubicBezTo>
                  <a:cubicBezTo>
                    <a:pt x="10716" y="1319"/>
                    <a:pt x="10884" y="1121"/>
                    <a:pt x="10716" y="923"/>
                  </a:cubicBezTo>
                  <a:cubicBezTo>
                    <a:pt x="10716" y="725"/>
                    <a:pt x="10549" y="526"/>
                    <a:pt x="10716" y="526"/>
                  </a:cubicBezTo>
                  <a:cubicBezTo>
                    <a:pt x="10716" y="328"/>
                    <a:pt x="11051" y="130"/>
                    <a:pt x="11051" y="130"/>
                  </a:cubicBezTo>
                  <a:cubicBezTo>
                    <a:pt x="11051" y="130"/>
                    <a:pt x="11219" y="130"/>
                    <a:pt x="11219" y="328"/>
                  </a:cubicBezTo>
                  <a:cubicBezTo>
                    <a:pt x="11386" y="526"/>
                    <a:pt x="11386" y="526"/>
                    <a:pt x="11386" y="725"/>
                  </a:cubicBezTo>
                  <a:cubicBezTo>
                    <a:pt x="11553" y="725"/>
                    <a:pt x="11553" y="923"/>
                    <a:pt x="11721" y="923"/>
                  </a:cubicBezTo>
                  <a:cubicBezTo>
                    <a:pt x="12056" y="923"/>
                    <a:pt x="12056" y="923"/>
                    <a:pt x="12223" y="725"/>
                  </a:cubicBezTo>
                  <a:cubicBezTo>
                    <a:pt x="12391" y="526"/>
                    <a:pt x="12391" y="526"/>
                    <a:pt x="12558" y="328"/>
                  </a:cubicBezTo>
                  <a:cubicBezTo>
                    <a:pt x="12726" y="-68"/>
                    <a:pt x="12726" y="-68"/>
                    <a:pt x="12893" y="130"/>
                  </a:cubicBezTo>
                  <a:cubicBezTo>
                    <a:pt x="13060" y="130"/>
                    <a:pt x="13395" y="328"/>
                    <a:pt x="13395" y="328"/>
                  </a:cubicBezTo>
                  <a:cubicBezTo>
                    <a:pt x="13060" y="725"/>
                    <a:pt x="13060" y="725"/>
                    <a:pt x="13060" y="725"/>
                  </a:cubicBezTo>
                  <a:cubicBezTo>
                    <a:pt x="13060" y="725"/>
                    <a:pt x="12893" y="725"/>
                    <a:pt x="13228" y="923"/>
                  </a:cubicBezTo>
                  <a:cubicBezTo>
                    <a:pt x="13730" y="1121"/>
                    <a:pt x="13898" y="1121"/>
                    <a:pt x="13898" y="1121"/>
                  </a:cubicBezTo>
                  <a:cubicBezTo>
                    <a:pt x="14233" y="526"/>
                    <a:pt x="14233" y="526"/>
                    <a:pt x="14233" y="526"/>
                  </a:cubicBezTo>
                  <a:cubicBezTo>
                    <a:pt x="14233" y="526"/>
                    <a:pt x="14233" y="130"/>
                    <a:pt x="14400" y="526"/>
                  </a:cubicBezTo>
                  <a:cubicBezTo>
                    <a:pt x="14400" y="725"/>
                    <a:pt x="14567" y="1121"/>
                    <a:pt x="14567" y="1121"/>
                  </a:cubicBezTo>
                  <a:cubicBezTo>
                    <a:pt x="14567" y="1121"/>
                    <a:pt x="14567" y="1715"/>
                    <a:pt x="14735" y="1715"/>
                  </a:cubicBezTo>
                  <a:cubicBezTo>
                    <a:pt x="14902" y="1715"/>
                    <a:pt x="14902" y="1517"/>
                    <a:pt x="14902" y="1715"/>
                  </a:cubicBezTo>
                  <a:cubicBezTo>
                    <a:pt x="14902" y="1914"/>
                    <a:pt x="14735" y="1914"/>
                    <a:pt x="14902" y="1914"/>
                  </a:cubicBezTo>
                  <a:cubicBezTo>
                    <a:pt x="14902" y="2112"/>
                    <a:pt x="15237" y="2112"/>
                    <a:pt x="15237" y="2112"/>
                  </a:cubicBezTo>
                  <a:cubicBezTo>
                    <a:pt x="15237" y="2112"/>
                    <a:pt x="15405" y="2112"/>
                    <a:pt x="15405" y="2310"/>
                  </a:cubicBezTo>
                  <a:cubicBezTo>
                    <a:pt x="15405" y="2508"/>
                    <a:pt x="15405" y="2706"/>
                    <a:pt x="15405" y="2706"/>
                  </a:cubicBezTo>
                  <a:cubicBezTo>
                    <a:pt x="15405" y="2706"/>
                    <a:pt x="15907" y="2706"/>
                    <a:pt x="15907" y="2706"/>
                  </a:cubicBezTo>
                  <a:cubicBezTo>
                    <a:pt x="16074" y="2706"/>
                    <a:pt x="16242" y="2904"/>
                    <a:pt x="16409" y="2904"/>
                  </a:cubicBezTo>
                  <a:cubicBezTo>
                    <a:pt x="16577" y="2706"/>
                    <a:pt x="16744" y="2508"/>
                    <a:pt x="16744" y="2508"/>
                  </a:cubicBezTo>
                  <a:cubicBezTo>
                    <a:pt x="16744" y="2706"/>
                    <a:pt x="17079" y="2706"/>
                    <a:pt x="17079" y="2904"/>
                  </a:cubicBezTo>
                  <a:cubicBezTo>
                    <a:pt x="16912" y="3301"/>
                    <a:pt x="16744" y="3301"/>
                    <a:pt x="17079" y="3499"/>
                  </a:cubicBezTo>
                  <a:cubicBezTo>
                    <a:pt x="17414" y="3499"/>
                    <a:pt x="17749" y="3697"/>
                    <a:pt x="17916" y="3697"/>
                  </a:cubicBezTo>
                  <a:cubicBezTo>
                    <a:pt x="18084" y="3895"/>
                    <a:pt x="18586" y="4093"/>
                    <a:pt x="18586" y="4093"/>
                  </a:cubicBezTo>
                  <a:cubicBezTo>
                    <a:pt x="18753" y="4093"/>
                    <a:pt x="18921" y="4093"/>
                    <a:pt x="18921" y="4292"/>
                  </a:cubicBezTo>
                  <a:cubicBezTo>
                    <a:pt x="18921" y="4490"/>
                    <a:pt x="18586" y="4886"/>
                    <a:pt x="18586" y="4886"/>
                  </a:cubicBezTo>
                  <a:cubicBezTo>
                    <a:pt x="18586" y="4886"/>
                    <a:pt x="18419" y="5084"/>
                    <a:pt x="18419" y="5282"/>
                  </a:cubicBezTo>
                  <a:cubicBezTo>
                    <a:pt x="18419" y="5282"/>
                    <a:pt x="18251" y="5877"/>
                    <a:pt x="18251" y="5877"/>
                  </a:cubicBezTo>
                  <a:cubicBezTo>
                    <a:pt x="18084" y="6075"/>
                    <a:pt x="17916" y="6471"/>
                    <a:pt x="17916" y="6471"/>
                  </a:cubicBezTo>
                  <a:cubicBezTo>
                    <a:pt x="17916" y="6471"/>
                    <a:pt x="17749" y="6868"/>
                    <a:pt x="17581" y="6868"/>
                  </a:cubicBezTo>
                  <a:cubicBezTo>
                    <a:pt x="17581" y="6868"/>
                    <a:pt x="17414" y="7066"/>
                    <a:pt x="17414" y="7066"/>
                  </a:cubicBezTo>
                  <a:cubicBezTo>
                    <a:pt x="17414" y="7264"/>
                    <a:pt x="17414" y="7660"/>
                    <a:pt x="17414" y="7660"/>
                  </a:cubicBezTo>
                  <a:cubicBezTo>
                    <a:pt x="17581" y="8057"/>
                    <a:pt x="17581" y="8057"/>
                    <a:pt x="17581" y="8057"/>
                  </a:cubicBezTo>
                  <a:cubicBezTo>
                    <a:pt x="17581" y="8453"/>
                    <a:pt x="17581" y="8453"/>
                    <a:pt x="17581" y="8453"/>
                  </a:cubicBezTo>
                  <a:cubicBezTo>
                    <a:pt x="18251" y="8255"/>
                    <a:pt x="18251" y="8255"/>
                    <a:pt x="18251" y="8255"/>
                  </a:cubicBezTo>
                  <a:cubicBezTo>
                    <a:pt x="18251" y="8255"/>
                    <a:pt x="18251" y="8255"/>
                    <a:pt x="18419" y="8453"/>
                  </a:cubicBezTo>
                  <a:cubicBezTo>
                    <a:pt x="18753" y="8453"/>
                    <a:pt x="18921" y="8255"/>
                    <a:pt x="19088" y="8255"/>
                  </a:cubicBezTo>
                  <a:cubicBezTo>
                    <a:pt x="19088" y="8255"/>
                    <a:pt x="19423" y="8651"/>
                    <a:pt x="19423" y="8651"/>
                  </a:cubicBezTo>
                  <a:cubicBezTo>
                    <a:pt x="19423" y="8651"/>
                    <a:pt x="19591" y="8849"/>
                    <a:pt x="19591" y="8849"/>
                  </a:cubicBezTo>
                  <a:cubicBezTo>
                    <a:pt x="19758" y="8849"/>
                    <a:pt x="20093" y="9048"/>
                    <a:pt x="20093" y="9048"/>
                  </a:cubicBezTo>
                  <a:cubicBezTo>
                    <a:pt x="20093" y="9642"/>
                    <a:pt x="20093" y="9642"/>
                    <a:pt x="20093" y="9642"/>
                  </a:cubicBezTo>
                  <a:cubicBezTo>
                    <a:pt x="20093" y="9642"/>
                    <a:pt x="20428" y="9642"/>
                    <a:pt x="20428" y="9642"/>
                  </a:cubicBezTo>
                  <a:cubicBezTo>
                    <a:pt x="20595" y="9642"/>
                    <a:pt x="20763" y="9840"/>
                    <a:pt x="20763" y="9840"/>
                  </a:cubicBezTo>
                  <a:cubicBezTo>
                    <a:pt x="20763" y="9840"/>
                    <a:pt x="20763" y="10435"/>
                    <a:pt x="20595" y="10435"/>
                  </a:cubicBezTo>
                  <a:cubicBezTo>
                    <a:pt x="20595" y="10633"/>
                    <a:pt x="20428" y="10831"/>
                    <a:pt x="20428" y="10831"/>
                  </a:cubicBezTo>
                  <a:cubicBezTo>
                    <a:pt x="20428" y="10831"/>
                    <a:pt x="20595" y="11227"/>
                    <a:pt x="20763" y="11227"/>
                  </a:cubicBezTo>
                  <a:cubicBezTo>
                    <a:pt x="20763" y="11227"/>
                    <a:pt x="21098" y="11227"/>
                    <a:pt x="21098" y="11227"/>
                  </a:cubicBezTo>
                  <a:cubicBezTo>
                    <a:pt x="21265" y="11227"/>
                    <a:pt x="21433" y="11624"/>
                    <a:pt x="21433" y="11624"/>
                  </a:cubicBezTo>
                  <a:cubicBezTo>
                    <a:pt x="21433" y="11624"/>
                    <a:pt x="21600" y="11822"/>
                    <a:pt x="21600" y="12020"/>
                  </a:cubicBezTo>
                  <a:cubicBezTo>
                    <a:pt x="21600" y="12218"/>
                    <a:pt x="21433" y="12615"/>
                    <a:pt x="21433" y="12615"/>
                  </a:cubicBezTo>
                  <a:cubicBezTo>
                    <a:pt x="21433" y="12615"/>
                    <a:pt x="21433" y="12813"/>
                    <a:pt x="21433" y="13011"/>
                  </a:cubicBezTo>
                  <a:cubicBezTo>
                    <a:pt x="21433" y="13011"/>
                    <a:pt x="21265" y="13209"/>
                    <a:pt x="21265" y="13209"/>
                  </a:cubicBezTo>
                  <a:cubicBezTo>
                    <a:pt x="20930" y="13209"/>
                    <a:pt x="20930" y="13209"/>
                    <a:pt x="20930" y="13209"/>
                  </a:cubicBezTo>
                  <a:cubicBezTo>
                    <a:pt x="20930" y="13209"/>
                    <a:pt x="20930" y="13804"/>
                    <a:pt x="20763" y="13804"/>
                  </a:cubicBezTo>
                  <a:cubicBezTo>
                    <a:pt x="20763" y="13804"/>
                    <a:pt x="20595" y="13804"/>
                    <a:pt x="20595" y="13804"/>
                  </a:cubicBezTo>
                  <a:cubicBezTo>
                    <a:pt x="20428" y="13804"/>
                    <a:pt x="20260" y="14002"/>
                    <a:pt x="20260" y="14002"/>
                  </a:cubicBezTo>
                  <a:cubicBezTo>
                    <a:pt x="20260" y="14200"/>
                    <a:pt x="20260" y="14200"/>
                    <a:pt x="20260" y="14200"/>
                  </a:cubicBezTo>
                  <a:cubicBezTo>
                    <a:pt x="20093" y="14596"/>
                    <a:pt x="20093" y="14596"/>
                    <a:pt x="20093" y="14596"/>
                  </a:cubicBezTo>
                  <a:cubicBezTo>
                    <a:pt x="20093" y="14596"/>
                    <a:pt x="20093" y="14596"/>
                    <a:pt x="19926" y="14596"/>
                  </a:cubicBezTo>
                  <a:cubicBezTo>
                    <a:pt x="19926" y="14596"/>
                    <a:pt x="19926" y="14596"/>
                    <a:pt x="19758" y="14596"/>
                  </a:cubicBezTo>
                  <a:cubicBezTo>
                    <a:pt x="19758" y="14794"/>
                    <a:pt x="19591" y="14794"/>
                    <a:pt x="19591" y="14794"/>
                  </a:cubicBezTo>
                  <a:cubicBezTo>
                    <a:pt x="19591" y="14794"/>
                    <a:pt x="19423" y="14596"/>
                    <a:pt x="19256" y="14596"/>
                  </a:cubicBezTo>
                  <a:cubicBezTo>
                    <a:pt x="19256" y="14596"/>
                    <a:pt x="19088" y="14596"/>
                    <a:pt x="19088" y="14794"/>
                  </a:cubicBezTo>
                  <a:cubicBezTo>
                    <a:pt x="18921" y="14993"/>
                    <a:pt x="18921" y="15191"/>
                    <a:pt x="18753" y="15191"/>
                  </a:cubicBezTo>
                  <a:cubicBezTo>
                    <a:pt x="18753" y="15191"/>
                    <a:pt x="18586" y="15389"/>
                    <a:pt x="18586" y="15389"/>
                  </a:cubicBezTo>
                  <a:cubicBezTo>
                    <a:pt x="18586" y="15389"/>
                    <a:pt x="18586" y="15785"/>
                    <a:pt x="18419" y="15785"/>
                  </a:cubicBezTo>
                  <a:cubicBezTo>
                    <a:pt x="18419" y="15983"/>
                    <a:pt x="18251" y="16182"/>
                    <a:pt x="18251" y="16182"/>
                  </a:cubicBezTo>
                  <a:cubicBezTo>
                    <a:pt x="18251" y="16182"/>
                    <a:pt x="18251" y="16380"/>
                    <a:pt x="18251" y="16380"/>
                  </a:cubicBezTo>
                  <a:cubicBezTo>
                    <a:pt x="18251" y="16578"/>
                    <a:pt x="18251" y="16776"/>
                    <a:pt x="18084" y="16974"/>
                  </a:cubicBezTo>
                  <a:cubicBezTo>
                    <a:pt x="17916" y="16974"/>
                    <a:pt x="17581" y="17371"/>
                    <a:pt x="17581" y="17371"/>
                  </a:cubicBezTo>
                  <a:cubicBezTo>
                    <a:pt x="17581" y="17371"/>
                    <a:pt x="17581" y="17371"/>
                    <a:pt x="17581" y="17569"/>
                  </a:cubicBezTo>
                  <a:cubicBezTo>
                    <a:pt x="17749" y="17569"/>
                    <a:pt x="17749" y="17767"/>
                    <a:pt x="17749" y="17767"/>
                  </a:cubicBezTo>
                  <a:cubicBezTo>
                    <a:pt x="17749" y="18163"/>
                    <a:pt x="17749" y="18163"/>
                    <a:pt x="17749" y="18163"/>
                  </a:cubicBezTo>
                  <a:cubicBezTo>
                    <a:pt x="17749" y="18163"/>
                    <a:pt x="17581" y="18361"/>
                    <a:pt x="17581" y="18560"/>
                  </a:cubicBezTo>
                  <a:cubicBezTo>
                    <a:pt x="17749" y="18560"/>
                    <a:pt x="17749" y="18560"/>
                    <a:pt x="17749" y="18560"/>
                  </a:cubicBezTo>
                  <a:cubicBezTo>
                    <a:pt x="17916" y="18956"/>
                    <a:pt x="17916" y="18956"/>
                    <a:pt x="17916" y="18956"/>
                  </a:cubicBezTo>
                  <a:cubicBezTo>
                    <a:pt x="18084" y="19352"/>
                    <a:pt x="18084" y="19352"/>
                    <a:pt x="18084" y="19352"/>
                  </a:cubicBezTo>
                  <a:cubicBezTo>
                    <a:pt x="18251" y="19352"/>
                    <a:pt x="18251" y="19352"/>
                    <a:pt x="18251" y="19352"/>
                  </a:cubicBezTo>
                  <a:cubicBezTo>
                    <a:pt x="18251" y="19352"/>
                    <a:pt x="18419" y="19749"/>
                    <a:pt x="18419" y="19947"/>
                  </a:cubicBezTo>
                  <a:cubicBezTo>
                    <a:pt x="18419" y="19947"/>
                    <a:pt x="18419" y="20343"/>
                    <a:pt x="18419" y="20343"/>
                  </a:cubicBezTo>
                  <a:cubicBezTo>
                    <a:pt x="18084" y="20739"/>
                    <a:pt x="18084" y="20739"/>
                    <a:pt x="18084" y="20739"/>
                  </a:cubicBezTo>
                  <a:cubicBezTo>
                    <a:pt x="17916" y="21136"/>
                    <a:pt x="17916" y="21136"/>
                    <a:pt x="17916" y="21136"/>
                  </a:cubicBezTo>
                  <a:cubicBezTo>
                    <a:pt x="17916" y="21136"/>
                    <a:pt x="17749" y="21136"/>
                    <a:pt x="17749" y="21136"/>
                  </a:cubicBezTo>
                  <a:cubicBezTo>
                    <a:pt x="17581" y="21136"/>
                    <a:pt x="17414" y="21136"/>
                    <a:pt x="17414" y="21136"/>
                  </a:cubicBezTo>
                  <a:cubicBezTo>
                    <a:pt x="17247" y="21334"/>
                    <a:pt x="17247" y="21334"/>
                    <a:pt x="17247" y="21334"/>
                  </a:cubicBezTo>
                  <a:cubicBezTo>
                    <a:pt x="16912" y="21334"/>
                    <a:pt x="16912" y="21334"/>
                    <a:pt x="16912" y="21334"/>
                  </a:cubicBezTo>
                  <a:cubicBezTo>
                    <a:pt x="16577" y="21532"/>
                    <a:pt x="16577" y="21532"/>
                    <a:pt x="16577" y="21532"/>
                  </a:cubicBezTo>
                  <a:cubicBezTo>
                    <a:pt x="16074" y="21532"/>
                    <a:pt x="16074" y="21532"/>
                    <a:pt x="16074" y="21532"/>
                  </a:cubicBezTo>
                  <a:cubicBezTo>
                    <a:pt x="15907" y="21136"/>
                    <a:pt x="15907" y="21136"/>
                    <a:pt x="15907" y="21136"/>
                  </a:cubicBezTo>
                  <a:cubicBezTo>
                    <a:pt x="15740" y="20739"/>
                    <a:pt x="15740" y="20739"/>
                    <a:pt x="15740" y="20739"/>
                  </a:cubicBezTo>
                  <a:cubicBezTo>
                    <a:pt x="15572" y="20541"/>
                    <a:pt x="15572" y="20541"/>
                    <a:pt x="15572" y="20541"/>
                  </a:cubicBezTo>
                  <a:cubicBezTo>
                    <a:pt x="15405" y="20541"/>
                    <a:pt x="15405" y="20541"/>
                    <a:pt x="15405" y="20541"/>
                  </a:cubicBezTo>
                  <a:cubicBezTo>
                    <a:pt x="14902" y="20343"/>
                    <a:pt x="14902" y="20343"/>
                    <a:pt x="14902" y="20343"/>
                  </a:cubicBezTo>
                  <a:cubicBezTo>
                    <a:pt x="15070" y="19947"/>
                    <a:pt x="15070" y="19947"/>
                    <a:pt x="15070" y="19947"/>
                  </a:cubicBezTo>
                  <a:cubicBezTo>
                    <a:pt x="15070" y="19947"/>
                    <a:pt x="14902" y="19550"/>
                    <a:pt x="14902" y="19550"/>
                  </a:cubicBezTo>
                  <a:cubicBezTo>
                    <a:pt x="14735" y="19550"/>
                    <a:pt x="14567" y="19550"/>
                    <a:pt x="14567" y="19550"/>
                  </a:cubicBezTo>
                  <a:cubicBezTo>
                    <a:pt x="14233" y="19154"/>
                    <a:pt x="14233" y="19154"/>
                    <a:pt x="14233" y="19154"/>
                  </a:cubicBezTo>
                  <a:cubicBezTo>
                    <a:pt x="14233" y="19154"/>
                    <a:pt x="14233" y="18956"/>
                    <a:pt x="14065" y="18758"/>
                  </a:cubicBezTo>
                  <a:cubicBezTo>
                    <a:pt x="13898" y="18758"/>
                    <a:pt x="13898" y="18560"/>
                    <a:pt x="13730" y="18560"/>
                  </a:cubicBezTo>
                  <a:cubicBezTo>
                    <a:pt x="13563" y="18560"/>
                    <a:pt x="13228" y="18560"/>
                    <a:pt x="13228" y="18560"/>
                  </a:cubicBezTo>
                  <a:cubicBezTo>
                    <a:pt x="13228" y="18560"/>
                    <a:pt x="13060" y="18163"/>
                    <a:pt x="12893" y="18163"/>
                  </a:cubicBezTo>
                  <a:cubicBezTo>
                    <a:pt x="12893" y="18163"/>
                    <a:pt x="12223" y="18163"/>
                    <a:pt x="12223" y="18163"/>
                  </a:cubicBezTo>
                  <a:cubicBezTo>
                    <a:pt x="12223" y="18163"/>
                    <a:pt x="12391" y="17569"/>
                    <a:pt x="12391" y="17569"/>
                  </a:cubicBezTo>
                  <a:cubicBezTo>
                    <a:pt x="12391" y="17371"/>
                    <a:pt x="12391" y="16776"/>
                    <a:pt x="12391" y="16776"/>
                  </a:cubicBezTo>
                  <a:cubicBezTo>
                    <a:pt x="12391" y="16578"/>
                    <a:pt x="12391" y="16578"/>
                    <a:pt x="12391" y="16578"/>
                  </a:cubicBezTo>
                  <a:cubicBezTo>
                    <a:pt x="12391" y="16578"/>
                    <a:pt x="12223" y="16380"/>
                    <a:pt x="12391" y="15983"/>
                  </a:cubicBezTo>
                  <a:cubicBezTo>
                    <a:pt x="12558" y="15587"/>
                    <a:pt x="12391" y="15785"/>
                    <a:pt x="12558" y="15389"/>
                  </a:cubicBezTo>
                  <a:cubicBezTo>
                    <a:pt x="12726" y="14794"/>
                    <a:pt x="12726" y="14596"/>
                    <a:pt x="12726" y="14596"/>
                  </a:cubicBezTo>
                  <a:cubicBezTo>
                    <a:pt x="12391" y="14398"/>
                    <a:pt x="12391" y="14398"/>
                    <a:pt x="12391" y="14398"/>
                  </a:cubicBezTo>
                  <a:cubicBezTo>
                    <a:pt x="12391" y="14398"/>
                    <a:pt x="12223" y="14200"/>
                    <a:pt x="12056" y="14398"/>
                  </a:cubicBezTo>
                  <a:cubicBezTo>
                    <a:pt x="12056" y="14794"/>
                    <a:pt x="11888" y="14794"/>
                    <a:pt x="11888" y="14794"/>
                  </a:cubicBezTo>
                  <a:cubicBezTo>
                    <a:pt x="11553" y="15389"/>
                    <a:pt x="11553" y="15389"/>
                    <a:pt x="11553" y="15389"/>
                  </a:cubicBezTo>
                  <a:cubicBezTo>
                    <a:pt x="11553" y="15983"/>
                    <a:pt x="11553" y="15983"/>
                    <a:pt x="11553" y="15983"/>
                  </a:cubicBezTo>
                  <a:cubicBezTo>
                    <a:pt x="11553" y="15983"/>
                    <a:pt x="11721" y="16182"/>
                    <a:pt x="11219" y="16182"/>
                  </a:cubicBezTo>
                  <a:cubicBezTo>
                    <a:pt x="10884" y="16182"/>
                    <a:pt x="10549" y="16182"/>
                    <a:pt x="10549" y="16182"/>
                  </a:cubicBezTo>
                  <a:cubicBezTo>
                    <a:pt x="10549" y="16182"/>
                    <a:pt x="10884" y="16578"/>
                    <a:pt x="10549" y="16578"/>
                  </a:cubicBezTo>
                  <a:cubicBezTo>
                    <a:pt x="10047" y="16578"/>
                    <a:pt x="9544" y="16578"/>
                    <a:pt x="9544" y="16578"/>
                  </a:cubicBezTo>
                  <a:cubicBezTo>
                    <a:pt x="9209" y="16182"/>
                    <a:pt x="9209" y="16182"/>
                    <a:pt x="9209" y="16182"/>
                  </a:cubicBezTo>
                  <a:cubicBezTo>
                    <a:pt x="8540" y="16380"/>
                    <a:pt x="8540" y="16380"/>
                    <a:pt x="8540" y="16380"/>
                  </a:cubicBezTo>
                  <a:cubicBezTo>
                    <a:pt x="8540" y="16380"/>
                    <a:pt x="8540" y="16182"/>
                    <a:pt x="8540" y="15785"/>
                  </a:cubicBezTo>
                  <a:cubicBezTo>
                    <a:pt x="8540" y="15587"/>
                    <a:pt x="8372" y="15191"/>
                    <a:pt x="8540" y="15191"/>
                  </a:cubicBezTo>
                  <a:cubicBezTo>
                    <a:pt x="8707" y="15191"/>
                    <a:pt x="8874" y="14993"/>
                    <a:pt x="8874" y="14993"/>
                  </a:cubicBezTo>
                  <a:cubicBezTo>
                    <a:pt x="8707" y="14398"/>
                    <a:pt x="8707" y="14398"/>
                    <a:pt x="8707" y="14398"/>
                  </a:cubicBezTo>
                  <a:cubicBezTo>
                    <a:pt x="8707" y="14398"/>
                    <a:pt x="8707" y="14398"/>
                    <a:pt x="8707" y="14398"/>
                  </a:cubicBezTo>
                  <a:cubicBezTo>
                    <a:pt x="8707" y="14398"/>
                    <a:pt x="8540" y="14398"/>
                    <a:pt x="8540" y="14200"/>
                  </a:cubicBezTo>
                  <a:cubicBezTo>
                    <a:pt x="8540" y="14002"/>
                    <a:pt x="8707" y="13605"/>
                    <a:pt x="8707" y="13605"/>
                  </a:cubicBezTo>
                  <a:cubicBezTo>
                    <a:pt x="8874" y="13407"/>
                    <a:pt x="8874" y="13011"/>
                    <a:pt x="8874" y="13011"/>
                  </a:cubicBezTo>
                  <a:cubicBezTo>
                    <a:pt x="8707" y="13011"/>
                    <a:pt x="8707" y="13011"/>
                    <a:pt x="8707" y="13011"/>
                  </a:cubicBezTo>
                  <a:cubicBezTo>
                    <a:pt x="8707" y="13011"/>
                    <a:pt x="8372" y="13209"/>
                    <a:pt x="8372" y="12813"/>
                  </a:cubicBezTo>
                  <a:cubicBezTo>
                    <a:pt x="8372" y="12615"/>
                    <a:pt x="8205" y="12218"/>
                    <a:pt x="8205" y="12218"/>
                  </a:cubicBezTo>
                  <a:cubicBezTo>
                    <a:pt x="8205" y="12218"/>
                    <a:pt x="7870" y="12020"/>
                    <a:pt x="7870" y="12020"/>
                  </a:cubicBezTo>
                  <a:cubicBezTo>
                    <a:pt x="7702" y="12020"/>
                    <a:pt x="7702" y="12020"/>
                    <a:pt x="7535" y="12218"/>
                  </a:cubicBezTo>
                  <a:cubicBezTo>
                    <a:pt x="7535" y="12218"/>
                    <a:pt x="7033" y="12020"/>
                    <a:pt x="7033" y="12020"/>
                  </a:cubicBezTo>
                  <a:cubicBezTo>
                    <a:pt x="7033" y="12020"/>
                    <a:pt x="6530" y="12020"/>
                    <a:pt x="6530" y="12020"/>
                  </a:cubicBezTo>
                  <a:cubicBezTo>
                    <a:pt x="6363" y="12020"/>
                    <a:pt x="6195" y="12416"/>
                    <a:pt x="6195" y="12416"/>
                  </a:cubicBezTo>
                  <a:cubicBezTo>
                    <a:pt x="5860" y="11822"/>
                    <a:pt x="5860" y="11822"/>
                    <a:pt x="5860" y="11822"/>
                  </a:cubicBezTo>
                  <a:cubicBezTo>
                    <a:pt x="6028" y="11227"/>
                    <a:pt x="6028" y="11227"/>
                    <a:pt x="6028" y="11227"/>
                  </a:cubicBezTo>
                  <a:cubicBezTo>
                    <a:pt x="6028" y="11227"/>
                    <a:pt x="5693" y="10831"/>
                    <a:pt x="5693" y="10633"/>
                  </a:cubicBezTo>
                  <a:cubicBezTo>
                    <a:pt x="5693" y="10633"/>
                    <a:pt x="5526" y="10237"/>
                    <a:pt x="5526" y="10237"/>
                  </a:cubicBezTo>
                  <a:cubicBezTo>
                    <a:pt x="5191" y="10237"/>
                    <a:pt x="5191" y="10237"/>
                    <a:pt x="5191" y="10237"/>
                  </a:cubicBezTo>
                  <a:cubicBezTo>
                    <a:pt x="5023" y="10038"/>
                    <a:pt x="5023" y="10038"/>
                    <a:pt x="5023" y="10038"/>
                  </a:cubicBezTo>
                  <a:cubicBezTo>
                    <a:pt x="5023" y="10038"/>
                    <a:pt x="4688" y="10038"/>
                    <a:pt x="4521" y="10038"/>
                  </a:cubicBezTo>
                  <a:cubicBezTo>
                    <a:pt x="4353" y="10038"/>
                    <a:pt x="4353" y="10038"/>
                    <a:pt x="4186" y="10038"/>
                  </a:cubicBezTo>
                  <a:cubicBezTo>
                    <a:pt x="4186" y="10038"/>
                    <a:pt x="3851" y="9642"/>
                    <a:pt x="3851" y="9642"/>
                  </a:cubicBezTo>
                  <a:cubicBezTo>
                    <a:pt x="3851" y="9444"/>
                    <a:pt x="3851" y="9246"/>
                    <a:pt x="3851" y="9048"/>
                  </a:cubicBezTo>
                  <a:cubicBezTo>
                    <a:pt x="3684" y="8849"/>
                    <a:pt x="3516" y="8453"/>
                    <a:pt x="3516" y="8255"/>
                  </a:cubicBezTo>
                  <a:cubicBezTo>
                    <a:pt x="3516" y="8255"/>
                    <a:pt x="3684" y="7859"/>
                    <a:pt x="3684" y="7859"/>
                  </a:cubicBezTo>
                  <a:cubicBezTo>
                    <a:pt x="3516" y="7660"/>
                    <a:pt x="3181" y="7264"/>
                    <a:pt x="3181" y="7264"/>
                  </a:cubicBezTo>
                  <a:cubicBezTo>
                    <a:pt x="3014" y="6868"/>
                    <a:pt x="3014" y="6868"/>
                    <a:pt x="3014" y="6868"/>
                  </a:cubicBezTo>
                  <a:cubicBezTo>
                    <a:pt x="3014" y="6868"/>
                    <a:pt x="2512" y="7264"/>
                    <a:pt x="2344" y="7264"/>
                  </a:cubicBezTo>
                  <a:cubicBezTo>
                    <a:pt x="2177" y="7264"/>
                    <a:pt x="1842" y="7066"/>
                    <a:pt x="1842" y="7264"/>
                  </a:cubicBezTo>
                  <a:cubicBezTo>
                    <a:pt x="1842" y="7264"/>
                    <a:pt x="2009" y="7660"/>
                    <a:pt x="1842" y="7660"/>
                  </a:cubicBezTo>
                  <a:cubicBezTo>
                    <a:pt x="1674" y="7660"/>
                    <a:pt x="1340" y="7660"/>
                    <a:pt x="1172" y="7462"/>
                  </a:cubicBezTo>
                  <a:cubicBezTo>
                    <a:pt x="1005" y="7264"/>
                    <a:pt x="1005" y="7066"/>
                    <a:pt x="1005" y="6868"/>
                  </a:cubicBezTo>
                  <a:cubicBezTo>
                    <a:pt x="837" y="6868"/>
                    <a:pt x="837" y="6471"/>
                    <a:pt x="670" y="6471"/>
                  </a:cubicBezTo>
                  <a:cubicBezTo>
                    <a:pt x="502" y="6471"/>
                    <a:pt x="335" y="6471"/>
                    <a:pt x="335" y="6273"/>
                  </a:cubicBezTo>
                  <a:cubicBezTo>
                    <a:pt x="335" y="6273"/>
                    <a:pt x="335" y="5679"/>
                    <a:pt x="335" y="5679"/>
                  </a:cubicBezTo>
                  <a:cubicBezTo>
                    <a:pt x="335" y="5282"/>
                    <a:pt x="335" y="5282"/>
                    <a:pt x="335" y="5282"/>
                  </a:cubicBezTo>
                  <a:cubicBezTo>
                    <a:pt x="335" y="5282"/>
                    <a:pt x="335" y="4688"/>
                    <a:pt x="167" y="4688"/>
                  </a:cubicBezTo>
                  <a:cubicBezTo>
                    <a:pt x="167" y="4490"/>
                    <a:pt x="0" y="4292"/>
                    <a:pt x="0" y="4292"/>
                  </a:cubicBezTo>
                  <a:cubicBezTo>
                    <a:pt x="0" y="3697"/>
                    <a:pt x="0" y="3697"/>
                    <a:pt x="0" y="3697"/>
                  </a:cubicBezTo>
                  <a:lnTo>
                    <a:pt x="167" y="3499"/>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1" name="Shape 2244">
              <a:extLst>
                <a:ext uri="{FF2B5EF4-FFF2-40B4-BE49-F238E27FC236}">
                  <a16:creationId xmlns:a16="http://schemas.microsoft.com/office/drawing/2014/main" id="{519F7B8D-B4CB-3490-8E11-5A771F0080B9}"/>
                </a:ext>
              </a:extLst>
            </p:cNvPr>
            <p:cNvSpPr/>
            <p:nvPr/>
          </p:nvSpPr>
          <p:spPr>
            <a:xfrm>
              <a:off x="3992669" y="4999599"/>
              <a:ext cx="990214" cy="531954"/>
            </a:xfrm>
            <a:custGeom>
              <a:avLst/>
              <a:gdLst/>
              <a:ahLst/>
              <a:cxnLst>
                <a:cxn ang="0">
                  <a:pos x="wd2" y="hd2"/>
                </a:cxn>
                <a:cxn ang="5400000">
                  <a:pos x="wd2" y="hd2"/>
                </a:cxn>
                <a:cxn ang="10800000">
                  <a:pos x="wd2" y="hd2"/>
                </a:cxn>
                <a:cxn ang="16200000">
                  <a:pos x="wd2" y="hd2"/>
                </a:cxn>
              </a:cxnLst>
              <a:rect l="0" t="0" r="r" b="b"/>
              <a:pathLst>
                <a:path w="21600" h="21600" extrusionOk="0">
                  <a:moveTo>
                    <a:pt x="3870" y="4385"/>
                  </a:moveTo>
                  <a:cubicBezTo>
                    <a:pt x="3960" y="4385"/>
                    <a:pt x="4500" y="3573"/>
                    <a:pt x="4500" y="3573"/>
                  </a:cubicBezTo>
                  <a:cubicBezTo>
                    <a:pt x="5040" y="3248"/>
                    <a:pt x="5040" y="3248"/>
                    <a:pt x="5040" y="3248"/>
                  </a:cubicBezTo>
                  <a:cubicBezTo>
                    <a:pt x="5220" y="2923"/>
                    <a:pt x="5220" y="2923"/>
                    <a:pt x="5220" y="2923"/>
                  </a:cubicBezTo>
                  <a:cubicBezTo>
                    <a:pt x="5400" y="2274"/>
                    <a:pt x="5400" y="2274"/>
                    <a:pt x="5400" y="2274"/>
                  </a:cubicBezTo>
                  <a:cubicBezTo>
                    <a:pt x="5400" y="2274"/>
                    <a:pt x="5310" y="1949"/>
                    <a:pt x="5580" y="1949"/>
                  </a:cubicBezTo>
                  <a:cubicBezTo>
                    <a:pt x="5850" y="1949"/>
                    <a:pt x="6660" y="1624"/>
                    <a:pt x="6660" y="1624"/>
                  </a:cubicBezTo>
                  <a:cubicBezTo>
                    <a:pt x="6750" y="1299"/>
                    <a:pt x="6750" y="1299"/>
                    <a:pt x="6750" y="1299"/>
                  </a:cubicBezTo>
                  <a:cubicBezTo>
                    <a:pt x="6570" y="812"/>
                    <a:pt x="6570" y="812"/>
                    <a:pt x="6570" y="812"/>
                  </a:cubicBezTo>
                  <a:cubicBezTo>
                    <a:pt x="6570" y="812"/>
                    <a:pt x="6570" y="162"/>
                    <a:pt x="6570" y="162"/>
                  </a:cubicBezTo>
                  <a:cubicBezTo>
                    <a:pt x="6660" y="0"/>
                    <a:pt x="7020" y="0"/>
                    <a:pt x="7200" y="0"/>
                  </a:cubicBezTo>
                  <a:cubicBezTo>
                    <a:pt x="7380" y="162"/>
                    <a:pt x="7560" y="325"/>
                    <a:pt x="7650" y="487"/>
                  </a:cubicBezTo>
                  <a:cubicBezTo>
                    <a:pt x="7650" y="650"/>
                    <a:pt x="7650" y="487"/>
                    <a:pt x="7650" y="812"/>
                  </a:cubicBezTo>
                  <a:cubicBezTo>
                    <a:pt x="7650" y="1137"/>
                    <a:pt x="7650" y="1462"/>
                    <a:pt x="7650" y="1462"/>
                  </a:cubicBezTo>
                  <a:cubicBezTo>
                    <a:pt x="7650" y="1462"/>
                    <a:pt x="7740" y="1624"/>
                    <a:pt x="7830" y="1786"/>
                  </a:cubicBezTo>
                  <a:cubicBezTo>
                    <a:pt x="8010" y="1786"/>
                    <a:pt x="8190" y="2111"/>
                    <a:pt x="8190" y="1949"/>
                  </a:cubicBezTo>
                  <a:cubicBezTo>
                    <a:pt x="8190" y="1949"/>
                    <a:pt x="8280" y="1786"/>
                    <a:pt x="8370" y="1624"/>
                  </a:cubicBezTo>
                  <a:cubicBezTo>
                    <a:pt x="8370" y="1624"/>
                    <a:pt x="8370" y="1624"/>
                    <a:pt x="8370" y="1624"/>
                  </a:cubicBezTo>
                  <a:cubicBezTo>
                    <a:pt x="8370" y="1949"/>
                    <a:pt x="8460" y="1786"/>
                    <a:pt x="8550" y="1786"/>
                  </a:cubicBezTo>
                  <a:cubicBezTo>
                    <a:pt x="8640" y="1786"/>
                    <a:pt x="9000" y="1462"/>
                    <a:pt x="9000" y="1462"/>
                  </a:cubicBezTo>
                  <a:cubicBezTo>
                    <a:pt x="9000" y="1462"/>
                    <a:pt x="8910" y="974"/>
                    <a:pt x="8910" y="974"/>
                  </a:cubicBezTo>
                  <a:cubicBezTo>
                    <a:pt x="8910" y="812"/>
                    <a:pt x="8910" y="650"/>
                    <a:pt x="8910" y="487"/>
                  </a:cubicBezTo>
                  <a:cubicBezTo>
                    <a:pt x="9000" y="325"/>
                    <a:pt x="9000" y="325"/>
                    <a:pt x="9000" y="325"/>
                  </a:cubicBezTo>
                  <a:cubicBezTo>
                    <a:pt x="9090" y="325"/>
                    <a:pt x="9270" y="487"/>
                    <a:pt x="9270" y="487"/>
                  </a:cubicBezTo>
                  <a:cubicBezTo>
                    <a:pt x="9270" y="487"/>
                    <a:pt x="9450" y="650"/>
                    <a:pt x="9540" y="650"/>
                  </a:cubicBezTo>
                  <a:cubicBezTo>
                    <a:pt x="9720" y="650"/>
                    <a:pt x="9630" y="974"/>
                    <a:pt x="9630" y="974"/>
                  </a:cubicBezTo>
                  <a:cubicBezTo>
                    <a:pt x="9630" y="974"/>
                    <a:pt x="9720" y="1462"/>
                    <a:pt x="9900" y="1624"/>
                  </a:cubicBezTo>
                  <a:cubicBezTo>
                    <a:pt x="10080" y="1786"/>
                    <a:pt x="10080" y="1949"/>
                    <a:pt x="10080" y="2111"/>
                  </a:cubicBezTo>
                  <a:cubicBezTo>
                    <a:pt x="10170" y="2111"/>
                    <a:pt x="10350" y="2111"/>
                    <a:pt x="10350" y="2111"/>
                  </a:cubicBezTo>
                  <a:cubicBezTo>
                    <a:pt x="10620" y="1949"/>
                    <a:pt x="10620" y="1949"/>
                    <a:pt x="10620" y="1949"/>
                  </a:cubicBezTo>
                  <a:cubicBezTo>
                    <a:pt x="10620" y="1949"/>
                    <a:pt x="10800" y="2111"/>
                    <a:pt x="10890" y="2436"/>
                  </a:cubicBezTo>
                  <a:cubicBezTo>
                    <a:pt x="10890" y="2598"/>
                    <a:pt x="11160" y="2598"/>
                    <a:pt x="11250" y="2436"/>
                  </a:cubicBezTo>
                  <a:cubicBezTo>
                    <a:pt x="11340" y="2436"/>
                    <a:pt x="11340" y="2436"/>
                    <a:pt x="11340" y="2436"/>
                  </a:cubicBezTo>
                  <a:cubicBezTo>
                    <a:pt x="11430" y="2598"/>
                    <a:pt x="11430" y="2598"/>
                    <a:pt x="11430" y="2598"/>
                  </a:cubicBezTo>
                  <a:cubicBezTo>
                    <a:pt x="11430" y="2598"/>
                    <a:pt x="11610" y="3248"/>
                    <a:pt x="11880" y="2761"/>
                  </a:cubicBezTo>
                  <a:cubicBezTo>
                    <a:pt x="12150" y="2274"/>
                    <a:pt x="11970" y="2761"/>
                    <a:pt x="11970" y="2761"/>
                  </a:cubicBezTo>
                  <a:cubicBezTo>
                    <a:pt x="11970" y="2761"/>
                    <a:pt x="12150" y="3248"/>
                    <a:pt x="12240" y="3248"/>
                  </a:cubicBezTo>
                  <a:cubicBezTo>
                    <a:pt x="12420" y="3248"/>
                    <a:pt x="12420" y="3248"/>
                    <a:pt x="12420" y="3248"/>
                  </a:cubicBezTo>
                  <a:cubicBezTo>
                    <a:pt x="12780" y="2923"/>
                    <a:pt x="12780" y="2923"/>
                    <a:pt x="12780" y="2923"/>
                  </a:cubicBezTo>
                  <a:cubicBezTo>
                    <a:pt x="13050" y="2761"/>
                    <a:pt x="13050" y="2761"/>
                    <a:pt x="13050" y="2761"/>
                  </a:cubicBezTo>
                  <a:cubicBezTo>
                    <a:pt x="13050" y="2761"/>
                    <a:pt x="13320" y="2761"/>
                    <a:pt x="13230" y="3573"/>
                  </a:cubicBezTo>
                  <a:cubicBezTo>
                    <a:pt x="13230" y="4223"/>
                    <a:pt x="13140" y="4060"/>
                    <a:pt x="13140" y="4060"/>
                  </a:cubicBezTo>
                  <a:cubicBezTo>
                    <a:pt x="12960" y="4547"/>
                    <a:pt x="12960" y="4547"/>
                    <a:pt x="12960" y="4547"/>
                  </a:cubicBezTo>
                  <a:cubicBezTo>
                    <a:pt x="12960" y="5035"/>
                    <a:pt x="12960" y="5035"/>
                    <a:pt x="12960" y="5035"/>
                  </a:cubicBezTo>
                  <a:cubicBezTo>
                    <a:pt x="12960" y="5035"/>
                    <a:pt x="13050" y="5035"/>
                    <a:pt x="13140" y="5035"/>
                  </a:cubicBezTo>
                  <a:cubicBezTo>
                    <a:pt x="13230" y="5035"/>
                    <a:pt x="13320" y="5684"/>
                    <a:pt x="13320" y="5684"/>
                  </a:cubicBezTo>
                  <a:cubicBezTo>
                    <a:pt x="13590" y="5847"/>
                    <a:pt x="13590" y="5847"/>
                    <a:pt x="13590" y="5847"/>
                  </a:cubicBezTo>
                  <a:cubicBezTo>
                    <a:pt x="13590" y="5847"/>
                    <a:pt x="13680" y="6009"/>
                    <a:pt x="13860" y="6171"/>
                  </a:cubicBezTo>
                  <a:cubicBezTo>
                    <a:pt x="13950" y="6334"/>
                    <a:pt x="14040" y="6659"/>
                    <a:pt x="14040" y="6659"/>
                  </a:cubicBezTo>
                  <a:cubicBezTo>
                    <a:pt x="14040" y="6659"/>
                    <a:pt x="14130" y="7308"/>
                    <a:pt x="14220" y="7471"/>
                  </a:cubicBezTo>
                  <a:cubicBezTo>
                    <a:pt x="14220" y="7795"/>
                    <a:pt x="14760" y="7146"/>
                    <a:pt x="14760" y="7146"/>
                  </a:cubicBezTo>
                  <a:cubicBezTo>
                    <a:pt x="14850" y="6334"/>
                    <a:pt x="14850" y="6334"/>
                    <a:pt x="14850" y="6334"/>
                  </a:cubicBezTo>
                  <a:cubicBezTo>
                    <a:pt x="15390" y="6009"/>
                    <a:pt x="15390" y="6009"/>
                    <a:pt x="15390" y="6009"/>
                  </a:cubicBezTo>
                  <a:cubicBezTo>
                    <a:pt x="15210" y="5035"/>
                    <a:pt x="15210" y="5035"/>
                    <a:pt x="15210" y="5035"/>
                  </a:cubicBezTo>
                  <a:cubicBezTo>
                    <a:pt x="15030" y="4385"/>
                    <a:pt x="15030" y="4385"/>
                    <a:pt x="15030" y="4385"/>
                  </a:cubicBezTo>
                  <a:cubicBezTo>
                    <a:pt x="15030" y="4385"/>
                    <a:pt x="15390" y="4547"/>
                    <a:pt x="15480" y="4385"/>
                  </a:cubicBezTo>
                  <a:cubicBezTo>
                    <a:pt x="15570" y="4385"/>
                    <a:pt x="15840" y="4547"/>
                    <a:pt x="15840" y="4547"/>
                  </a:cubicBezTo>
                  <a:cubicBezTo>
                    <a:pt x="16830" y="5359"/>
                    <a:pt x="16830" y="5359"/>
                    <a:pt x="16830" y="5359"/>
                  </a:cubicBezTo>
                  <a:cubicBezTo>
                    <a:pt x="16830" y="5359"/>
                    <a:pt x="17100" y="5197"/>
                    <a:pt x="17280" y="5197"/>
                  </a:cubicBezTo>
                  <a:cubicBezTo>
                    <a:pt x="17460" y="5035"/>
                    <a:pt x="17460" y="4710"/>
                    <a:pt x="17460" y="4710"/>
                  </a:cubicBezTo>
                  <a:cubicBezTo>
                    <a:pt x="17460" y="4710"/>
                    <a:pt x="17550" y="4872"/>
                    <a:pt x="17730" y="5197"/>
                  </a:cubicBezTo>
                  <a:cubicBezTo>
                    <a:pt x="17820" y="5684"/>
                    <a:pt x="17640" y="5522"/>
                    <a:pt x="17640" y="5684"/>
                  </a:cubicBezTo>
                  <a:cubicBezTo>
                    <a:pt x="17550" y="5847"/>
                    <a:pt x="17370" y="6334"/>
                    <a:pt x="17370" y="6334"/>
                  </a:cubicBezTo>
                  <a:cubicBezTo>
                    <a:pt x="17370" y="6334"/>
                    <a:pt x="17460" y="6659"/>
                    <a:pt x="17640" y="6659"/>
                  </a:cubicBezTo>
                  <a:cubicBezTo>
                    <a:pt x="17730" y="6659"/>
                    <a:pt x="17640" y="6821"/>
                    <a:pt x="17820" y="7146"/>
                  </a:cubicBezTo>
                  <a:cubicBezTo>
                    <a:pt x="17910" y="7308"/>
                    <a:pt x="18270" y="7471"/>
                    <a:pt x="18270" y="7471"/>
                  </a:cubicBezTo>
                  <a:cubicBezTo>
                    <a:pt x="18540" y="7471"/>
                    <a:pt x="18540" y="7471"/>
                    <a:pt x="18540" y="7471"/>
                  </a:cubicBezTo>
                  <a:cubicBezTo>
                    <a:pt x="18810" y="6983"/>
                    <a:pt x="18810" y="6983"/>
                    <a:pt x="18810" y="6983"/>
                  </a:cubicBezTo>
                  <a:cubicBezTo>
                    <a:pt x="18810" y="6983"/>
                    <a:pt x="19080" y="7146"/>
                    <a:pt x="19170" y="7308"/>
                  </a:cubicBezTo>
                  <a:cubicBezTo>
                    <a:pt x="19260" y="7471"/>
                    <a:pt x="19710" y="7795"/>
                    <a:pt x="19710" y="7795"/>
                  </a:cubicBezTo>
                  <a:cubicBezTo>
                    <a:pt x="20430" y="7471"/>
                    <a:pt x="20430" y="7471"/>
                    <a:pt x="20430" y="7471"/>
                  </a:cubicBezTo>
                  <a:cubicBezTo>
                    <a:pt x="20520" y="8770"/>
                    <a:pt x="20520" y="8770"/>
                    <a:pt x="20520" y="8770"/>
                  </a:cubicBezTo>
                  <a:cubicBezTo>
                    <a:pt x="20520" y="8770"/>
                    <a:pt x="20700" y="8770"/>
                    <a:pt x="20880" y="9257"/>
                  </a:cubicBezTo>
                  <a:cubicBezTo>
                    <a:pt x="21060" y="9582"/>
                    <a:pt x="20970" y="9257"/>
                    <a:pt x="20970" y="9257"/>
                  </a:cubicBezTo>
                  <a:cubicBezTo>
                    <a:pt x="20970" y="9257"/>
                    <a:pt x="21330" y="9582"/>
                    <a:pt x="21330" y="9744"/>
                  </a:cubicBezTo>
                  <a:cubicBezTo>
                    <a:pt x="21330" y="10069"/>
                    <a:pt x="21420" y="10394"/>
                    <a:pt x="21420" y="10394"/>
                  </a:cubicBezTo>
                  <a:cubicBezTo>
                    <a:pt x="21600" y="11044"/>
                    <a:pt x="21600" y="11044"/>
                    <a:pt x="21600" y="11044"/>
                  </a:cubicBezTo>
                  <a:cubicBezTo>
                    <a:pt x="21510" y="11044"/>
                    <a:pt x="21330" y="11044"/>
                    <a:pt x="21240" y="11044"/>
                  </a:cubicBezTo>
                  <a:cubicBezTo>
                    <a:pt x="21240" y="11044"/>
                    <a:pt x="21150" y="11206"/>
                    <a:pt x="21060" y="11206"/>
                  </a:cubicBezTo>
                  <a:cubicBezTo>
                    <a:pt x="20970" y="11206"/>
                    <a:pt x="20880" y="11206"/>
                    <a:pt x="20880" y="11206"/>
                  </a:cubicBezTo>
                  <a:cubicBezTo>
                    <a:pt x="20610" y="11368"/>
                    <a:pt x="20610" y="11368"/>
                    <a:pt x="20610" y="11368"/>
                  </a:cubicBezTo>
                  <a:cubicBezTo>
                    <a:pt x="20430" y="11693"/>
                    <a:pt x="20430" y="11693"/>
                    <a:pt x="20430" y="11693"/>
                  </a:cubicBezTo>
                  <a:cubicBezTo>
                    <a:pt x="20250" y="12018"/>
                    <a:pt x="20250" y="12018"/>
                    <a:pt x="20250" y="12018"/>
                  </a:cubicBezTo>
                  <a:cubicBezTo>
                    <a:pt x="20070" y="12668"/>
                    <a:pt x="20070" y="12668"/>
                    <a:pt x="20070" y="12668"/>
                  </a:cubicBezTo>
                  <a:cubicBezTo>
                    <a:pt x="20070" y="12992"/>
                    <a:pt x="20070" y="12992"/>
                    <a:pt x="20070" y="12992"/>
                  </a:cubicBezTo>
                  <a:cubicBezTo>
                    <a:pt x="19800" y="13480"/>
                    <a:pt x="19800" y="13480"/>
                    <a:pt x="19800" y="13480"/>
                  </a:cubicBezTo>
                  <a:cubicBezTo>
                    <a:pt x="19800" y="13480"/>
                    <a:pt x="19530" y="13805"/>
                    <a:pt x="19440" y="13805"/>
                  </a:cubicBezTo>
                  <a:cubicBezTo>
                    <a:pt x="19350" y="13805"/>
                    <a:pt x="19350" y="14454"/>
                    <a:pt x="19350" y="14454"/>
                  </a:cubicBezTo>
                  <a:cubicBezTo>
                    <a:pt x="19440" y="14941"/>
                    <a:pt x="19440" y="14941"/>
                    <a:pt x="19440" y="14941"/>
                  </a:cubicBezTo>
                  <a:cubicBezTo>
                    <a:pt x="19350" y="15753"/>
                    <a:pt x="19350" y="15753"/>
                    <a:pt x="19350" y="15753"/>
                  </a:cubicBezTo>
                  <a:cubicBezTo>
                    <a:pt x="18900" y="16078"/>
                    <a:pt x="18900" y="16078"/>
                    <a:pt x="18900" y="16078"/>
                  </a:cubicBezTo>
                  <a:cubicBezTo>
                    <a:pt x="18810" y="16565"/>
                    <a:pt x="18810" y="16565"/>
                    <a:pt x="18810" y="16565"/>
                  </a:cubicBezTo>
                  <a:cubicBezTo>
                    <a:pt x="18720" y="16890"/>
                    <a:pt x="18720" y="16890"/>
                    <a:pt x="18720" y="16890"/>
                  </a:cubicBezTo>
                  <a:cubicBezTo>
                    <a:pt x="18720" y="16890"/>
                    <a:pt x="18540" y="17053"/>
                    <a:pt x="18540" y="17053"/>
                  </a:cubicBezTo>
                  <a:cubicBezTo>
                    <a:pt x="18450" y="16890"/>
                    <a:pt x="18450" y="17377"/>
                    <a:pt x="18450" y="17377"/>
                  </a:cubicBezTo>
                  <a:cubicBezTo>
                    <a:pt x="18270" y="17702"/>
                    <a:pt x="18270" y="17702"/>
                    <a:pt x="18270" y="17702"/>
                  </a:cubicBezTo>
                  <a:cubicBezTo>
                    <a:pt x="18180" y="17702"/>
                    <a:pt x="18180" y="17702"/>
                    <a:pt x="18180" y="17702"/>
                  </a:cubicBezTo>
                  <a:cubicBezTo>
                    <a:pt x="18000" y="17865"/>
                    <a:pt x="18000" y="17865"/>
                    <a:pt x="18000" y="17865"/>
                  </a:cubicBezTo>
                  <a:cubicBezTo>
                    <a:pt x="18000" y="17865"/>
                    <a:pt x="17910" y="18027"/>
                    <a:pt x="17820" y="18027"/>
                  </a:cubicBezTo>
                  <a:cubicBezTo>
                    <a:pt x="17820" y="18189"/>
                    <a:pt x="17730" y="18027"/>
                    <a:pt x="17730" y="18027"/>
                  </a:cubicBezTo>
                  <a:cubicBezTo>
                    <a:pt x="17730" y="18027"/>
                    <a:pt x="17550" y="17865"/>
                    <a:pt x="17460" y="17865"/>
                  </a:cubicBezTo>
                  <a:cubicBezTo>
                    <a:pt x="17460" y="17865"/>
                    <a:pt x="17460" y="18027"/>
                    <a:pt x="17370" y="18027"/>
                  </a:cubicBezTo>
                  <a:cubicBezTo>
                    <a:pt x="17370" y="18027"/>
                    <a:pt x="17370" y="18027"/>
                    <a:pt x="17280" y="18189"/>
                  </a:cubicBezTo>
                  <a:cubicBezTo>
                    <a:pt x="17280" y="18189"/>
                    <a:pt x="17190" y="18027"/>
                    <a:pt x="17100" y="18027"/>
                  </a:cubicBezTo>
                  <a:cubicBezTo>
                    <a:pt x="17010" y="18027"/>
                    <a:pt x="17010" y="17865"/>
                    <a:pt x="17010" y="17865"/>
                  </a:cubicBezTo>
                  <a:cubicBezTo>
                    <a:pt x="16920" y="17865"/>
                    <a:pt x="16830" y="17865"/>
                    <a:pt x="16830" y="17865"/>
                  </a:cubicBezTo>
                  <a:cubicBezTo>
                    <a:pt x="16740" y="17865"/>
                    <a:pt x="16650" y="17865"/>
                    <a:pt x="16650" y="17865"/>
                  </a:cubicBezTo>
                  <a:cubicBezTo>
                    <a:pt x="16650" y="17865"/>
                    <a:pt x="16560" y="18027"/>
                    <a:pt x="16560" y="18027"/>
                  </a:cubicBezTo>
                  <a:cubicBezTo>
                    <a:pt x="16380" y="18189"/>
                    <a:pt x="16380" y="18189"/>
                    <a:pt x="16380" y="18189"/>
                  </a:cubicBezTo>
                  <a:cubicBezTo>
                    <a:pt x="16380" y="18189"/>
                    <a:pt x="16380" y="18352"/>
                    <a:pt x="16380" y="18514"/>
                  </a:cubicBezTo>
                  <a:cubicBezTo>
                    <a:pt x="16380" y="18514"/>
                    <a:pt x="16380" y="18677"/>
                    <a:pt x="16290" y="18677"/>
                  </a:cubicBezTo>
                  <a:cubicBezTo>
                    <a:pt x="16290" y="18677"/>
                    <a:pt x="16200" y="19002"/>
                    <a:pt x="16200" y="19002"/>
                  </a:cubicBezTo>
                  <a:cubicBezTo>
                    <a:pt x="16200" y="19002"/>
                    <a:pt x="16200" y="19489"/>
                    <a:pt x="16110" y="19489"/>
                  </a:cubicBezTo>
                  <a:cubicBezTo>
                    <a:pt x="16110" y="19489"/>
                    <a:pt x="16110" y="19651"/>
                    <a:pt x="16110" y="19651"/>
                  </a:cubicBezTo>
                  <a:cubicBezTo>
                    <a:pt x="16110" y="19976"/>
                    <a:pt x="16110" y="19976"/>
                    <a:pt x="16110" y="19976"/>
                  </a:cubicBezTo>
                  <a:cubicBezTo>
                    <a:pt x="16110" y="20138"/>
                    <a:pt x="16110" y="20138"/>
                    <a:pt x="16110" y="20138"/>
                  </a:cubicBezTo>
                  <a:cubicBezTo>
                    <a:pt x="15930" y="19976"/>
                    <a:pt x="15930" y="19976"/>
                    <a:pt x="15930" y="19976"/>
                  </a:cubicBezTo>
                  <a:cubicBezTo>
                    <a:pt x="15750" y="19002"/>
                    <a:pt x="15750" y="19002"/>
                    <a:pt x="15750" y="19002"/>
                  </a:cubicBezTo>
                  <a:cubicBezTo>
                    <a:pt x="15750" y="19002"/>
                    <a:pt x="15480" y="19164"/>
                    <a:pt x="15210" y="19164"/>
                  </a:cubicBezTo>
                  <a:cubicBezTo>
                    <a:pt x="14940" y="19002"/>
                    <a:pt x="14760" y="18677"/>
                    <a:pt x="14670" y="18677"/>
                  </a:cubicBezTo>
                  <a:cubicBezTo>
                    <a:pt x="14670" y="18514"/>
                    <a:pt x="14310" y="18677"/>
                    <a:pt x="14310" y="18677"/>
                  </a:cubicBezTo>
                  <a:cubicBezTo>
                    <a:pt x="14220" y="19326"/>
                    <a:pt x="14220" y="19326"/>
                    <a:pt x="14220" y="19326"/>
                  </a:cubicBezTo>
                  <a:cubicBezTo>
                    <a:pt x="13230" y="19164"/>
                    <a:pt x="13230" y="19164"/>
                    <a:pt x="13230" y="19164"/>
                  </a:cubicBezTo>
                  <a:cubicBezTo>
                    <a:pt x="12870" y="18839"/>
                    <a:pt x="12870" y="18839"/>
                    <a:pt x="12870" y="18839"/>
                  </a:cubicBezTo>
                  <a:cubicBezTo>
                    <a:pt x="12240" y="18352"/>
                    <a:pt x="12240" y="18352"/>
                    <a:pt x="12240" y="18352"/>
                  </a:cubicBezTo>
                  <a:cubicBezTo>
                    <a:pt x="12060" y="18189"/>
                    <a:pt x="12060" y="18189"/>
                    <a:pt x="12060" y="18189"/>
                  </a:cubicBezTo>
                  <a:cubicBezTo>
                    <a:pt x="12060" y="18189"/>
                    <a:pt x="11700" y="18189"/>
                    <a:pt x="11610" y="18189"/>
                  </a:cubicBezTo>
                  <a:cubicBezTo>
                    <a:pt x="11520" y="18189"/>
                    <a:pt x="11160" y="18027"/>
                    <a:pt x="11160" y="18027"/>
                  </a:cubicBezTo>
                  <a:cubicBezTo>
                    <a:pt x="11160" y="18027"/>
                    <a:pt x="10800" y="17865"/>
                    <a:pt x="10710" y="17865"/>
                  </a:cubicBezTo>
                  <a:cubicBezTo>
                    <a:pt x="10620" y="17865"/>
                    <a:pt x="10440" y="17865"/>
                    <a:pt x="10440" y="17865"/>
                  </a:cubicBezTo>
                  <a:cubicBezTo>
                    <a:pt x="9990" y="17702"/>
                    <a:pt x="9990" y="17702"/>
                    <a:pt x="9990" y="17702"/>
                  </a:cubicBezTo>
                  <a:cubicBezTo>
                    <a:pt x="9990" y="17702"/>
                    <a:pt x="9720" y="17377"/>
                    <a:pt x="9540" y="17540"/>
                  </a:cubicBezTo>
                  <a:cubicBezTo>
                    <a:pt x="9450" y="17540"/>
                    <a:pt x="9540" y="18027"/>
                    <a:pt x="9540" y="18027"/>
                  </a:cubicBezTo>
                  <a:cubicBezTo>
                    <a:pt x="9540" y="18027"/>
                    <a:pt x="9450" y="18839"/>
                    <a:pt x="9540" y="19002"/>
                  </a:cubicBezTo>
                  <a:cubicBezTo>
                    <a:pt x="9540" y="19326"/>
                    <a:pt x="9360" y="19651"/>
                    <a:pt x="9360" y="19651"/>
                  </a:cubicBezTo>
                  <a:cubicBezTo>
                    <a:pt x="9090" y="19814"/>
                    <a:pt x="9090" y="19814"/>
                    <a:pt x="9090" y="19814"/>
                  </a:cubicBezTo>
                  <a:cubicBezTo>
                    <a:pt x="9090" y="19814"/>
                    <a:pt x="8910" y="20301"/>
                    <a:pt x="8820" y="20301"/>
                  </a:cubicBezTo>
                  <a:cubicBezTo>
                    <a:pt x="8730" y="20301"/>
                    <a:pt x="8730" y="21275"/>
                    <a:pt x="8730" y="21275"/>
                  </a:cubicBezTo>
                  <a:cubicBezTo>
                    <a:pt x="8370" y="21438"/>
                    <a:pt x="8370" y="21438"/>
                    <a:pt x="8370" y="21438"/>
                  </a:cubicBezTo>
                  <a:cubicBezTo>
                    <a:pt x="8010" y="20950"/>
                    <a:pt x="8010" y="20950"/>
                    <a:pt x="8010" y="20950"/>
                  </a:cubicBezTo>
                  <a:cubicBezTo>
                    <a:pt x="7740" y="21275"/>
                    <a:pt x="7740" y="21275"/>
                    <a:pt x="7740" y="21275"/>
                  </a:cubicBezTo>
                  <a:cubicBezTo>
                    <a:pt x="7650" y="21600"/>
                    <a:pt x="7650" y="21600"/>
                    <a:pt x="7650" y="21600"/>
                  </a:cubicBezTo>
                  <a:cubicBezTo>
                    <a:pt x="7650" y="21600"/>
                    <a:pt x="7200" y="21438"/>
                    <a:pt x="7200" y="21438"/>
                  </a:cubicBezTo>
                  <a:cubicBezTo>
                    <a:pt x="7110" y="21438"/>
                    <a:pt x="6660" y="21275"/>
                    <a:pt x="6660" y="21275"/>
                  </a:cubicBezTo>
                  <a:cubicBezTo>
                    <a:pt x="6660" y="21275"/>
                    <a:pt x="6390" y="20788"/>
                    <a:pt x="6300" y="20626"/>
                  </a:cubicBezTo>
                  <a:cubicBezTo>
                    <a:pt x="6210" y="20463"/>
                    <a:pt x="5850" y="20138"/>
                    <a:pt x="5760" y="19976"/>
                  </a:cubicBezTo>
                  <a:cubicBezTo>
                    <a:pt x="5670" y="19976"/>
                    <a:pt x="5670" y="19814"/>
                    <a:pt x="5670" y="19814"/>
                  </a:cubicBezTo>
                  <a:cubicBezTo>
                    <a:pt x="5490" y="19489"/>
                    <a:pt x="5580" y="19489"/>
                    <a:pt x="5400" y="19326"/>
                  </a:cubicBezTo>
                  <a:cubicBezTo>
                    <a:pt x="5220" y="19164"/>
                    <a:pt x="5040" y="19164"/>
                    <a:pt x="5040" y="19002"/>
                  </a:cubicBezTo>
                  <a:cubicBezTo>
                    <a:pt x="5040" y="18839"/>
                    <a:pt x="5130" y="18514"/>
                    <a:pt x="4950" y="18514"/>
                  </a:cubicBezTo>
                  <a:cubicBezTo>
                    <a:pt x="4680" y="18677"/>
                    <a:pt x="4590" y="18839"/>
                    <a:pt x="4500" y="18677"/>
                  </a:cubicBezTo>
                  <a:cubicBezTo>
                    <a:pt x="4320" y="18352"/>
                    <a:pt x="4320" y="18352"/>
                    <a:pt x="4230" y="18027"/>
                  </a:cubicBezTo>
                  <a:cubicBezTo>
                    <a:pt x="4230" y="17702"/>
                    <a:pt x="4230" y="17377"/>
                    <a:pt x="4050" y="17377"/>
                  </a:cubicBezTo>
                  <a:cubicBezTo>
                    <a:pt x="3870" y="17377"/>
                    <a:pt x="3780" y="17215"/>
                    <a:pt x="3780" y="17215"/>
                  </a:cubicBezTo>
                  <a:cubicBezTo>
                    <a:pt x="3780" y="17215"/>
                    <a:pt x="3690" y="17377"/>
                    <a:pt x="3600" y="17053"/>
                  </a:cubicBezTo>
                  <a:cubicBezTo>
                    <a:pt x="3510" y="16565"/>
                    <a:pt x="3780" y="16890"/>
                    <a:pt x="3510" y="16241"/>
                  </a:cubicBezTo>
                  <a:cubicBezTo>
                    <a:pt x="3150" y="15753"/>
                    <a:pt x="3240" y="15916"/>
                    <a:pt x="3060" y="15591"/>
                  </a:cubicBezTo>
                  <a:cubicBezTo>
                    <a:pt x="2880" y="15266"/>
                    <a:pt x="2340" y="15591"/>
                    <a:pt x="2340" y="15591"/>
                  </a:cubicBezTo>
                  <a:cubicBezTo>
                    <a:pt x="2340" y="15591"/>
                    <a:pt x="2340" y="15429"/>
                    <a:pt x="2160" y="15104"/>
                  </a:cubicBezTo>
                  <a:cubicBezTo>
                    <a:pt x="1980" y="14779"/>
                    <a:pt x="2070" y="14941"/>
                    <a:pt x="1890" y="14617"/>
                  </a:cubicBezTo>
                  <a:cubicBezTo>
                    <a:pt x="1710" y="14129"/>
                    <a:pt x="1710" y="14292"/>
                    <a:pt x="1710" y="13805"/>
                  </a:cubicBezTo>
                  <a:cubicBezTo>
                    <a:pt x="1620" y="13317"/>
                    <a:pt x="1710" y="13155"/>
                    <a:pt x="1530" y="12830"/>
                  </a:cubicBezTo>
                  <a:cubicBezTo>
                    <a:pt x="1350" y="12505"/>
                    <a:pt x="1260" y="12180"/>
                    <a:pt x="1260" y="12180"/>
                  </a:cubicBezTo>
                  <a:cubicBezTo>
                    <a:pt x="1260" y="12180"/>
                    <a:pt x="1080" y="11856"/>
                    <a:pt x="1260" y="11368"/>
                  </a:cubicBezTo>
                  <a:cubicBezTo>
                    <a:pt x="1440" y="11044"/>
                    <a:pt x="1440" y="11044"/>
                    <a:pt x="1440" y="10719"/>
                  </a:cubicBezTo>
                  <a:cubicBezTo>
                    <a:pt x="1440" y="10556"/>
                    <a:pt x="1530" y="10232"/>
                    <a:pt x="1260" y="9907"/>
                  </a:cubicBezTo>
                  <a:cubicBezTo>
                    <a:pt x="990" y="9582"/>
                    <a:pt x="990" y="9582"/>
                    <a:pt x="720" y="9257"/>
                  </a:cubicBezTo>
                  <a:cubicBezTo>
                    <a:pt x="540" y="9095"/>
                    <a:pt x="450" y="9095"/>
                    <a:pt x="360" y="8932"/>
                  </a:cubicBezTo>
                  <a:cubicBezTo>
                    <a:pt x="270" y="8770"/>
                    <a:pt x="90" y="7633"/>
                    <a:pt x="90" y="7633"/>
                  </a:cubicBezTo>
                  <a:cubicBezTo>
                    <a:pt x="0" y="7146"/>
                    <a:pt x="0" y="7146"/>
                    <a:pt x="0" y="7146"/>
                  </a:cubicBezTo>
                  <a:cubicBezTo>
                    <a:pt x="450" y="7146"/>
                    <a:pt x="450" y="7146"/>
                    <a:pt x="450" y="7146"/>
                  </a:cubicBezTo>
                  <a:cubicBezTo>
                    <a:pt x="540" y="7795"/>
                    <a:pt x="540" y="7795"/>
                    <a:pt x="540" y="7795"/>
                  </a:cubicBezTo>
                  <a:cubicBezTo>
                    <a:pt x="630" y="8283"/>
                    <a:pt x="630" y="8283"/>
                    <a:pt x="630" y="8283"/>
                  </a:cubicBezTo>
                  <a:cubicBezTo>
                    <a:pt x="900" y="7308"/>
                    <a:pt x="900" y="7308"/>
                    <a:pt x="900" y="7308"/>
                  </a:cubicBezTo>
                  <a:cubicBezTo>
                    <a:pt x="1260" y="6496"/>
                    <a:pt x="1260" y="6496"/>
                    <a:pt x="1260" y="6496"/>
                  </a:cubicBezTo>
                  <a:cubicBezTo>
                    <a:pt x="1260" y="6496"/>
                    <a:pt x="1260" y="6496"/>
                    <a:pt x="1530" y="6496"/>
                  </a:cubicBezTo>
                  <a:cubicBezTo>
                    <a:pt x="1710" y="6496"/>
                    <a:pt x="1980" y="6171"/>
                    <a:pt x="2070" y="6171"/>
                  </a:cubicBezTo>
                  <a:cubicBezTo>
                    <a:pt x="2250" y="6171"/>
                    <a:pt x="2520" y="6334"/>
                    <a:pt x="2610" y="6334"/>
                  </a:cubicBezTo>
                  <a:cubicBezTo>
                    <a:pt x="2790" y="6171"/>
                    <a:pt x="2880" y="6171"/>
                    <a:pt x="2880" y="5847"/>
                  </a:cubicBezTo>
                  <a:cubicBezTo>
                    <a:pt x="2970" y="5684"/>
                    <a:pt x="2790" y="5359"/>
                    <a:pt x="3150" y="5197"/>
                  </a:cubicBezTo>
                  <a:cubicBezTo>
                    <a:pt x="3420" y="4872"/>
                    <a:pt x="3510" y="4872"/>
                    <a:pt x="3510" y="4872"/>
                  </a:cubicBezTo>
                  <a:lnTo>
                    <a:pt x="3870" y="4385"/>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2" name="Shape 2245">
              <a:extLst>
                <a:ext uri="{FF2B5EF4-FFF2-40B4-BE49-F238E27FC236}">
                  <a16:creationId xmlns:a16="http://schemas.microsoft.com/office/drawing/2014/main" id="{17D45E57-81F0-C392-946D-5D0651DEE580}"/>
                </a:ext>
              </a:extLst>
            </p:cNvPr>
            <p:cNvSpPr/>
            <p:nvPr/>
          </p:nvSpPr>
          <p:spPr>
            <a:xfrm>
              <a:off x="8516660" y="5710798"/>
              <a:ext cx="1193650" cy="424520"/>
            </a:xfrm>
            <a:custGeom>
              <a:avLst/>
              <a:gdLst/>
              <a:ahLst/>
              <a:cxnLst>
                <a:cxn ang="0">
                  <a:pos x="wd2" y="hd2"/>
                </a:cxn>
                <a:cxn ang="5400000">
                  <a:pos x="wd2" y="hd2"/>
                </a:cxn>
                <a:cxn ang="10800000">
                  <a:pos x="wd2" y="hd2"/>
                </a:cxn>
                <a:cxn ang="16200000">
                  <a:pos x="wd2" y="hd2"/>
                </a:cxn>
              </a:cxnLst>
              <a:rect l="0" t="0" r="r" b="b"/>
              <a:pathLst>
                <a:path w="21504" h="21431" extrusionOk="0">
                  <a:moveTo>
                    <a:pt x="17103" y="13929"/>
                  </a:moveTo>
                  <a:cubicBezTo>
                    <a:pt x="17178" y="13929"/>
                    <a:pt x="17178" y="13929"/>
                    <a:pt x="17178" y="13929"/>
                  </a:cubicBezTo>
                  <a:cubicBezTo>
                    <a:pt x="17103" y="13727"/>
                    <a:pt x="17103" y="13727"/>
                    <a:pt x="17103" y="13727"/>
                  </a:cubicBezTo>
                  <a:cubicBezTo>
                    <a:pt x="17103" y="13727"/>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252" y="13525"/>
                    <a:pt x="17252" y="13525"/>
                    <a:pt x="17252" y="13525"/>
                  </a:cubicBezTo>
                  <a:cubicBezTo>
                    <a:pt x="17326" y="13525"/>
                    <a:pt x="17326" y="13525"/>
                    <a:pt x="17326" y="13525"/>
                  </a:cubicBezTo>
                  <a:cubicBezTo>
                    <a:pt x="17326" y="13525"/>
                    <a:pt x="17326" y="13525"/>
                    <a:pt x="17326" y="13525"/>
                  </a:cubicBezTo>
                  <a:cubicBezTo>
                    <a:pt x="17400" y="13525"/>
                    <a:pt x="17549" y="13525"/>
                    <a:pt x="17623" y="13525"/>
                  </a:cubicBezTo>
                  <a:cubicBezTo>
                    <a:pt x="17623" y="13525"/>
                    <a:pt x="17623" y="13525"/>
                    <a:pt x="17623" y="13525"/>
                  </a:cubicBezTo>
                  <a:cubicBezTo>
                    <a:pt x="17623" y="13525"/>
                    <a:pt x="17623" y="13525"/>
                    <a:pt x="17623" y="13525"/>
                  </a:cubicBezTo>
                  <a:cubicBezTo>
                    <a:pt x="17623" y="13525"/>
                    <a:pt x="17623" y="13525"/>
                    <a:pt x="17623" y="13525"/>
                  </a:cubicBezTo>
                  <a:cubicBezTo>
                    <a:pt x="17623" y="13525"/>
                    <a:pt x="17623" y="13525"/>
                    <a:pt x="17623" y="13525"/>
                  </a:cubicBezTo>
                  <a:cubicBezTo>
                    <a:pt x="17623" y="13525"/>
                    <a:pt x="17623" y="13525"/>
                    <a:pt x="17623" y="13525"/>
                  </a:cubicBezTo>
                  <a:cubicBezTo>
                    <a:pt x="17697" y="13525"/>
                    <a:pt x="17697" y="13525"/>
                    <a:pt x="17697" y="13525"/>
                  </a:cubicBezTo>
                  <a:cubicBezTo>
                    <a:pt x="17697" y="13525"/>
                    <a:pt x="17697" y="13525"/>
                    <a:pt x="17697" y="13525"/>
                  </a:cubicBezTo>
                  <a:cubicBezTo>
                    <a:pt x="17697" y="13525"/>
                    <a:pt x="17697" y="13525"/>
                    <a:pt x="17697" y="13525"/>
                  </a:cubicBezTo>
                  <a:cubicBezTo>
                    <a:pt x="17697" y="13525"/>
                    <a:pt x="17697" y="13525"/>
                    <a:pt x="17697" y="13525"/>
                  </a:cubicBezTo>
                  <a:cubicBezTo>
                    <a:pt x="17697" y="13525"/>
                    <a:pt x="17697" y="13525"/>
                    <a:pt x="17697" y="13525"/>
                  </a:cubicBezTo>
                  <a:cubicBezTo>
                    <a:pt x="17697" y="13525"/>
                    <a:pt x="17697" y="13525"/>
                    <a:pt x="17697"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525"/>
                    <a:pt x="17771" y="13525"/>
                    <a:pt x="17771" y="13525"/>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771" y="13727"/>
                    <a:pt x="17771" y="13727"/>
                    <a:pt x="17771"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846" y="13727"/>
                    <a:pt x="17846" y="13727"/>
                    <a:pt x="17846" y="13727"/>
                  </a:cubicBezTo>
                  <a:cubicBezTo>
                    <a:pt x="17920" y="13525"/>
                    <a:pt x="17920" y="13525"/>
                    <a:pt x="17920" y="13525"/>
                  </a:cubicBezTo>
                  <a:cubicBezTo>
                    <a:pt x="17920" y="13525"/>
                    <a:pt x="17920" y="13525"/>
                    <a:pt x="17920" y="13525"/>
                  </a:cubicBezTo>
                  <a:cubicBezTo>
                    <a:pt x="17920" y="13525"/>
                    <a:pt x="17920" y="13525"/>
                    <a:pt x="17920" y="13525"/>
                  </a:cubicBezTo>
                  <a:cubicBezTo>
                    <a:pt x="17920" y="13525"/>
                    <a:pt x="17920" y="13525"/>
                    <a:pt x="17920" y="13525"/>
                  </a:cubicBezTo>
                  <a:cubicBezTo>
                    <a:pt x="17920" y="13525"/>
                    <a:pt x="17920" y="13525"/>
                    <a:pt x="17920" y="13525"/>
                  </a:cubicBezTo>
                  <a:cubicBezTo>
                    <a:pt x="17920" y="13525"/>
                    <a:pt x="17920" y="13525"/>
                    <a:pt x="17920" y="13525"/>
                  </a:cubicBezTo>
                  <a:cubicBezTo>
                    <a:pt x="17994" y="13525"/>
                    <a:pt x="17994" y="13525"/>
                    <a:pt x="17994" y="13525"/>
                  </a:cubicBezTo>
                  <a:cubicBezTo>
                    <a:pt x="17994" y="13525"/>
                    <a:pt x="17994" y="13525"/>
                    <a:pt x="17994" y="13525"/>
                  </a:cubicBezTo>
                  <a:cubicBezTo>
                    <a:pt x="17994" y="13525"/>
                    <a:pt x="17994" y="13525"/>
                    <a:pt x="17994" y="13525"/>
                  </a:cubicBezTo>
                  <a:cubicBezTo>
                    <a:pt x="17994" y="13525"/>
                    <a:pt x="17994" y="13525"/>
                    <a:pt x="17994" y="13525"/>
                  </a:cubicBezTo>
                  <a:cubicBezTo>
                    <a:pt x="17994" y="13525"/>
                    <a:pt x="17994" y="13525"/>
                    <a:pt x="17994" y="13525"/>
                  </a:cubicBezTo>
                  <a:cubicBezTo>
                    <a:pt x="17994" y="13525"/>
                    <a:pt x="17994" y="13525"/>
                    <a:pt x="17994" y="13525"/>
                  </a:cubicBezTo>
                  <a:cubicBezTo>
                    <a:pt x="18068" y="13525"/>
                    <a:pt x="18068" y="13525"/>
                    <a:pt x="18068" y="13525"/>
                  </a:cubicBezTo>
                  <a:cubicBezTo>
                    <a:pt x="18068" y="13525"/>
                    <a:pt x="18068" y="13525"/>
                    <a:pt x="18068" y="13525"/>
                  </a:cubicBezTo>
                  <a:cubicBezTo>
                    <a:pt x="18068" y="13525"/>
                    <a:pt x="18068" y="13525"/>
                    <a:pt x="18068" y="13525"/>
                  </a:cubicBezTo>
                  <a:cubicBezTo>
                    <a:pt x="18068" y="13525"/>
                    <a:pt x="18068" y="13525"/>
                    <a:pt x="18068" y="13525"/>
                  </a:cubicBezTo>
                  <a:cubicBezTo>
                    <a:pt x="18068" y="13525"/>
                    <a:pt x="18068" y="13525"/>
                    <a:pt x="18068" y="13525"/>
                  </a:cubicBezTo>
                  <a:cubicBezTo>
                    <a:pt x="18143" y="13525"/>
                    <a:pt x="18143" y="13525"/>
                    <a:pt x="18143" y="13525"/>
                  </a:cubicBezTo>
                  <a:cubicBezTo>
                    <a:pt x="18143" y="13525"/>
                    <a:pt x="18143" y="13525"/>
                    <a:pt x="18143" y="13525"/>
                  </a:cubicBezTo>
                  <a:cubicBezTo>
                    <a:pt x="18143" y="13525"/>
                    <a:pt x="18143" y="13525"/>
                    <a:pt x="18143" y="13525"/>
                  </a:cubicBezTo>
                  <a:cubicBezTo>
                    <a:pt x="18143" y="13525"/>
                    <a:pt x="18143" y="13525"/>
                    <a:pt x="18143" y="13525"/>
                  </a:cubicBezTo>
                  <a:cubicBezTo>
                    <a:pt x="18143" y="13525"/>
                    <a:pt x="18143" y="13525"/>
                    <a:pt x="18143" y="13525"/>
                  </a:cubicBezTo>
                  <a:cubicBezTo>
                    <a:pt x="18217" y="13525"/>
                    <a:pt x="18217" y="13525"/>
                    <a:pt x="18217" y="13525"/>
                  </a:cubicBezTo>
                  <a:cubicBezTo>
                    <a:pt x="18217" y="13525"/>
                    <a:pt x="18217" y="13525"/>
                    <a:pt x="18217" y="13525"/>
                  </a:cubicBezTo>
                  <a:cubicBezTo>
                    <a:pt x="18217" y="13525"/>
                    <a:pt x="18217" y="13525"/>
                    <a:pt x="18217" y="13525"/>
                  </a:cubicBezTo>
                  <a:cubicBezTo>
                    <a:pt x="18217" y="13525"/>
                    <a:pt x="18217" y="13525"/>
                    <a:pt x="18217" y="13525"/>
                  </a:cubicBezTo>
                  <a:cubicBezTo>
                    <a:pt x="18217" y="13525"/>
                    <a:pt x="18217" y="13525"/>
                    <a:pt x="18217" y="13525"/>
                  </a:cubicBezTo>
                  <a:cubicBezTo>
                    <a:pt x="18217" y="13525"/>
                    <a:pt x="18217" y="13525"/>
                    <a:pt x="18217" y="13525"/>
                  </a:cubicBezTo>
                  <a:cubicBezTo>
                    <a:pt x="18291" y="13525"/>
                    <a:pt x="18291" y="13525"/>
                    <a:pt x="18291" y="13525"/>
                  </a:cubicBezTo>
                  <a:cubicBezTo>
                    <a:pt x="18291" y="13525"/>
                    <a:pt x="18291" y="13525"/>
                    <a:pt x="18291" y="13525"/>
                  </a:cubicBezTo>
                  <a:cubicBezTo>
                    <a:pt x="18291" y="13525"/>
                    <a:pt x="18291" y="13525"/>
                    <a:pt x="18291" y="13525"/>
                  </a:cubicBezTo>
                  <a:cubicBezTo>
                    <a:pt x="18291" y="13525"/>
                    <a:pt x="18291" y="13525"/>
                    <a:pt x="18291" y="13525"/>
                  </a:cubicBezTo>
                  <a:cubicBezTo>
                    <a:pt x="18291" y="13525"/>
                    <a:pt x="18291" y="13525"/>
                    <a:pt x="18291"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365" y="13525"/>
                    <a:pt x="18365" y="13525"/>
                    <a:pt x="18365" y="13525"/>
                  </a:cubicBezTo>
                  <a:cubicBezTo>
                    <a:pt x="18439" y="13525"/>
                    <a:pt x="18439" y="13525"/>
                    <a:pt x="18439" y="13525"/>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439" y="13323"/>
                    <a:pt x="18439" y="13323"/>
                    <a:pt x="18439"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514" y="13323"/>
                    <a:pt x="18514" y="13323"/>
                    <a:pt x="18514" y="13323"/>
                  </a:cubicBezTo>
                  <a:cubicBezTo>
                    <a:pt x="18662" y="14131"/>
                    <a:pt x="18662" y="14131"/>
                    <a:pt x="18662" y="14131"/>
                  </a:cubicBezTo>
                  <a:cubicBezTo>
                    <a:pt x="18662" y="14131"/>
                    <a:pt x="19479" y="14535"/>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776" y="14333"/>
                    <a:pt x="19776" y="14333"/>
                    <a:pt x="19776"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9850" y="14333"/>
                    <a:pt x="19850" y="14333"/>
                    <a:pt x="19850" y="14333"/>
                  </a:cubicBezTo>
                  <a:cubicBezTo>
                    <a:pt x="17103" y="13929"/>
                    <a:pt x="17103" y="13929"/>
                    <a:pt x="17103" y="13929"/>
                  </a:cubicBezTo>
                  <a:close/>
                  <a:moveTo>
                    <a:pt x="17252" y="13525"/>
                  </a:moveTo>
                  <a:cubicBezTo>
                    <a:pt x="17252" y="13525"/>
                    <a:pt x="17252" y="13525"/>
                    <a:pt x="17252" y="13525"/>
                  </a:cubicBezTo>
                  <a:cubicBezTo>
                    <a:pt x="17252" y="13525"/>
                    <a:pt x="17252" y="13525"/>
                    <a:pt x="17252" y="13525"/>
                  </a:cubicBezTo>
                  <a:cubicBezTo>
                    <a:pt x="17252" y="13525"/>
                    <a:pt x="17252" y="13525"/>
                    <a:pt x="17252" y="13525"/>
                  </a:cubicBezTo>
                  <a:close/>
                  <a:moveTo>
                    <a:pt x="19924" y="14333"/>
                  </a:move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24" y="14333"/>
                    <a:pt x="19924" y="14333"/>
                    <a:pt x="19924" y="14333"/>
                  </a:cubicBezTo>
                  <a:cubicBezTo>
                    <a:pt x="19998" y="14333"/>
                    <a:pt x="19998" y="14333"/>
                    <a:pt x="19998" y="14333"/>
                  </a:cubicBezTo>
                  <a:cubicBezTo>
                    <a:pt x="19998" y="14333"/>
                    <a:pt x="19998" y="14333"/>
                    <a:pt x="19998" y="14333"/>
                  </a:cubicBezTo>
                  <a:cubicBezTo>
                    <a:pt x="19998" y="14333"/>
                    <a:pt x="19998" y="14333"/>
                    <a:pt x="19998" y="14333"/>
                  </a:cubicBezTo>
                  <a:cubicBezTo>
                    <a:pt x="19998" y="14333"/>
                    <a:pt x="19998" y="14333"/>
                    <a:pt x="19998" y="14333"/>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19998" y="14131"/>
                    <a:pt x="19998" y="14131"/>
                    <a:pt x="19998"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072" y="14131"/>
                    <a:pt x="20072" y="14131"/>
                    <a:pt x="20072" y="14131"/>
                  </a:cubicBezTo>
                  <a:cubicBezTo>
                    <a:pt x="20147" y="14131"/>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147" y="13929"/>
                    <a:pt x="20147" y="13929"/>
                    <a:pt x="20147"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21" y="13929"/>
                    <a:pt x="20221" y="13929"/>
                    <a:pt x="20221"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295" y="13929"/>
                    <a:pt x="20295" y="13929"/>
                    <a:pt x="20295"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369" y="13929"/>
                    <a:pt x="20369" y="13929"/>
                    <a:pt x="20369" y="13929"/>
                  </a:cubicBezTo>
                  <a:cubicBezTo>
                    <a:pt x="20444" y="13929"/>
                    <a:pt x="20444" y="13929"/>
                    <a:pt x="20592" y="14131"/>
                  </a:cubicBezTo>
                  <a:cubicBezTo>
                    <a:pt x="20741" y="14333"/>
                    <a:pt x="20963" y="14535"/>
                    <a:pt x="21112" y="14535"/>
                  </a:cubicBezTo>
                  <a:cubicBezTo>
                    <a:pt x="21409" y="14535"/>
                    <a:pt x="21409" y="14535"/>
                    <a:pt x="21409" y="14535"/>
                  </a:cubicBezTo>
                  <a:cubicBezTo>
                    <a:pt x="21483" y="13929"/>
                    <a:pt x="21483" y="13929"/>
                    <a:pt x="21483" y="13929"/>
                  </a:cubicBezTo>
                  <a:cubicBezTo>
                    <a:pt x="21557" y="14333"/>
                    <a:pt x="21409" y="12314"/>
                    <a:pt x="21483" y="11708"/>
                  </a:cubicBezTo>
                  <a:cubicBezTo>
                    <a:pt x="21409" y="11507"/>
                    <a:pt x="21334" y="11305"/>
                    <a:pt x="21334" y="11103"/>
                  </a:cubicBezTo>
                  <a:cubicBezTo>
                    <a:pt x="21260" y="10901"/>
                    <a:pt x="20889" y="10901"/>
                    <a:pt x="20889" y="10901"/>
                  </a:cubicBezTo>
                  <a:cubicBezTo>
                    <a:pt x="20592" y="10699"/>
                    <a:pt x="20592" y="10699"/>
                    <a:pt x="20592" y="10699"/>
                  </a:cubicBezTo>
                  <a:cubicBezTo>
                    <a:pt x="20369" y="10497"/>
                    <a:pt x="20369" y="10497"/>
                    <a:pt x="20369" y="10497"/>
                  </a:cubicBezTo>
                  <a:cubicBezTo>
                    <a:pt x="20147" y="9488"/>
                    <a:pt x="20147" y="9488"/>
                    <a:pt x="20147" y="9488"/>
                  </a:cubicBezTo>
                  <a:cubicBezTo>
                    <a:pt x="19924" y="9084"/>
                    <a:pt x="19924" y="9084"/>
                    <a:pt x="19924" y="9084"/>
                  </a:cubicBezTo>
                  <a:cubicBezTo>
                    <a:pt x="19701" y="8277"/>
                    <a:pt x="19701" y="8277"/>
                    <a:pt x="19701" y="8277"/>
                  </a:cubicBezTo>
                  <a:cubicBezTo>
                    <a:pt x="19776" y="7873"/>
                    <a:pt x="19776" y="7873"/>
                    <a:pt x="19776" y="7873"/>
                  </a:cubicBezTo>
                  <a:cubicBezTo>
                    <a:pt x="19998" y="7065"/>
                    <a:pt x="19998" y="7065"/>
                    <a:pt x="19998" y="7065"/>
                  </a:cubicBezTo>
                  <a:cubicBezTo>
                    <a:pt x="19998" y="7065"/>
                    <a:pt x="20072" y="7065"/>
                    <a:pt x="20147" y="6662"/>
                  </a:cubicBezTo>
                  <a:cubicBezTo>
                    <a:pt x="20295" y="6056"/>
                    <a:pt x="20147" y="6056"/>
                    <a:pt x="20147" y="6056"/>
                  </a:cubicBezTo>
                  <a:cubicBezTo>
                    <a:pt x="20147" y="6056"/>
                    <a:pt x="19850" y="5652"/>
                    <a:pt x="19701" y="5450"/>
                  </a:cubicBezTo>
                  <a:cubicBezTo>
                    <a:pt x="19553" y="5249"/>
                    <a:pt x="19330" y="5854"/>
                    <a:pt x="19330" y="5854"/>
                  </a:cubicBezTo>
                  <a:cubicBezTo>
                    <a:pt x="18885" y="5652"/>
                    <a:pt x="18885" y="5652"/>
                    <a:pt x="18885" y="5652"/>
                  </a:cubicBezTo>
                  <a:cubicBezTo>
                    <a:pt x="18514" y="5652"/>
                    <a:pt x="18514" y="5652"/>
                    <a:pt x="18514" y="5652"/>
                  </a:cubicBezTo>
                  <a:cubicBezTo>
                    <a:pt x="18217" y="4845"/>
                    <a:pt x="18217" y="4845"/>
                    <a:pt x="18217" y="4845"/>
                  </a:cubicBezTo>
                  <a:cubicBezTo>
                    <a:pt x="17697" y="4441"/>
                    <a:pt x="17697" y="4441"/>
                    <a:pt x="17697" y="4441"/>
                  </a:cubicBezTo>
                  <a:cubicBezTo>
                    <a:pt x="17400" y="4037"/>
                    <a:pt x="17400" y="4037"/>
                    <a:pt x="17400" y="4037"/>
                  </a:cubicBezTo>
                  <a:cubicBezTo>
                    <a:pt x="17400" y="4037"/>
                    <a:pt x="17400" y="2422"/>
                    <a:pt x="17400" y="2221"/>
                  </a:cubicBezTo>
                  <a:cubicBezTo>
                    <a:pt x="17400" y="1817"/>
                    <a:pt x="17400" y="1211"/>
                    <a:pt x="17400" y="1211"/>
                  </a:cubicBezTo>
                  <a:cubicBezTo>
                    <a:pt x="17400" y="1211"/>
                    <a:pt x="16955" y="1009"/>
                    <a:pt x="16732" y="1211"/>
                  </a:cubicBezTo>
                  <a:cubicBezTo>
                    <a:pt x="16584" y="1413"/>
                    <a:pt x="16361" y="1211"/>
                    <a:pt x="16361" y="1211"/>
                  </a:cubicBezTo>
                  <a:cubicBezTo>
                    <a:pt x="16361" y="1211"/>
                    <a:pt x="15767" y="1009"/>
                    <a:pt x="15693" y="606"/>
                  </a:cubicBezTo>
                  <a:cubicBezTo>
                    <a:pt x="15693" y="202"/>
                    <a:pt x="15693" y="404"/>
                    <a:pt x="15619" y="404"/>
                  </a:cubicBezTo>
                  <a:cubicBezTo>
                    <a:pt x="15470" y="404"/>
                    <a:pt x="15025" y="404"/>
                    <a:pt x="15025" y="404"/>
                  </a:cubicBezTo>
                  <a:cubicBezTo>
                    <a:pt x="14580" y="0"/>
                    <a:pt x="14580" y="0"/>
                    <a:pt x="14580" y="0"/>
                  </a:cubicBezTo>
                  <a:cubicBezTo>
                    <a:pt x="14580" y="1817"/>
                    <a:pt x="14580" y="1817"/>
                    <a:pt x="14580" y="1817"/>
                  </a:cubicBezTo>
                  <a:cubicBezTo>
                    <a:pt x="14505" y="1413"/>
                    <a:pt x="14505" y="1413"/>
                    <a:pt x="14505" y="1413"/>
                  </a:cubicBezTo>
                  <a:cubicBezTo>
                    <a:pt x="13763" y="1211"/>
                    <a:pt x="13763" y="1211"/>
                    <a:pt x="13763" y="1211"/>
                  </a:cubicBezTo>
                  <a:cubicBezTo>
                    <a:pt x="13318" y="1817"/>
                    <a:pt x="13318" y="1817"/>
                    <a:pt x="13318" y="1817"/>
                  </a:cubicBezTo>
                  <a:cubicBezTo>
                    <a:pt x="12947" y="2221"/>
                    <a:pt x="12947" y="2221"/>
                    <a:pt x="12947" y="2221"/>
                  </a:cubicBezTo>
                  <a:cubicBezTo>
                    <a:pt x="12947" y="2826"/>
                    <a:pt x="12947" y="2826"/>
                    <a:pt x="12947" y="2826"/>
                  </a:cubicBezTo>
                  <a:cubicBezTo>
                    <a:pt x="12798" y="3432"/>
                    <a:pt x="12798" y="3432"/>
                    <a:pt x="12798" y="3432"/>
                  </a:cubicBezTo>
                  <a:cubicBezTo>
                    <a:pt x="12798" y="3432"/>
                    <a:pt x="12576" y="3634"/>
                    <a:pt x="12427" y="3634"/>
                  </a:cubicBezTo>
                  <a:cubicBezTo>
                    <a:pt x="12427" y="3836"/>
                    <a:pt x="12353" y="4239"/>
                    <a:pt x="12353" y="4441"/>
                  </a:cubicBezTo>
                  <a:cubicBezTo>
                    <a:pt x="12279" y="4643"/>
                    <a:pt x="12130" y="4643"/>
                    <a:pt x="12130" y="4643"/>
                  </a:cubicBezTo>
                  <a:cubicBezTo>
                    <a:pt x="11833" y="4441"/>
                    <a:pt x="11833" y="4441"/>
                    <a:pt x="11833" y="4441"/>
                  </a:cubicBezTo>
                  <a:cubicBezTo>
                    <a:pt x="11611" y="4441"/>
                    <a:pt x="11611" y="4441"/>
                    <a:pt x="11611" y="4441"/>
                  </a:cubicBezTo>
                  <a:cubicBezTo>
                    <a:pt x="11462" y="4037"/>
                    <a:pt x="11462" y="4037"/>
                    <a:pt x="11462" y="4037"/>
                  </a:cubicBezTo>
                  <a:cubicBezTo>
                    <a:pt x="11611" y="3230"/>
                    <a:pt x="11611" y="3230"/>
                    <a:pt x="11611" y="3230"/>
                  </a:cubicBezTo>
                  <a:cubicBezTo>
                    <a:pt x="11611" y="2826"/>
                    <a:pt x="11611" y="2826"/>
                    <a:pt x="11611" y="2826"/>
                  </a:cubicBezTo>
                  <a:cubicBezTo>
                    <a:pt x="11165" y="2826"/>
                    <a:pt x="11165" y="2826"/>
                    <a:pt x="11165" y="2826"/>
                  </a:cubicBezTo>
                  <a:cubicBezTo>
                    <a:pt x="10720" y="2422"/>
                    <a:pt x="10720" y="2422"/>
                    <a:pt x="10720" y="2422"/>
                  </a:cubicBezTo>
                  <a:cubicBezTo>
                    <a:pt x="9755" y="2221"/>
                    <a:pt x="9755" y="2221"/>
                    <a:pt x="9755" y="2221"/>
                  </a:cubicBezTo>
                  <a:cubicBezTo>
                    <a:pt x="9161" y="1817"/>
                    <a:pt x="9161" y="1817"/>
                    <a:pt x="9161" y="1817"/>
                  </a:cubicBezTo>
                  <a:cubicBezTo>
                    <a:pt x="8790" y="807"/>
                    <a:pt x="8790" y="807"/>
                    <a:pt x="8790" y="807"/>
                  </a:cubicBezTo>
                  <a:cubicBezTo>
                    <a:pt x="8196" y="404"/>
                    <a:pt x="8196" y="404"/>
                    <a:pt x="8196" y="404"/>
                  </a:cubicBezTo>
                  <a:cubicBezTo>
                    <a:pt x="7677" y="1413"/>
                    <a:pt x="7677" y="1413"/>
                    <a:pt x="7677" y="1413"/>
                  </a:cubicBezTo>
                  <a:cubicBezTo>
                    <a:pt x="7677" y="1413"/>
                    <a:pt x="7157" y="807"/>
                    <a:pt x="6934" y="807"/>
                  </a:cubicBezTo>
                  <a:cubicBezTo>
                    <a:pt x="6786" y="1009"/>
                    <a:pt x="6489" y="1211"/>
                    <a:pt x="6415" y="1413"/>
                  </a:cubicBezTo>
                  <a:cubicBezTo>
                    <a:pt x="6341" y="1413"/>
                    <a:pt x="6192" y="2019"/>
                    <a:pt x="6118" y="2019"/>
                  </a:cubicBezTo>
                  <a:cubicBezTo>
                    <a:pt x="5969" y="2221"/>
                    <a:pt x="5821" y="2019"/>
                    <a:pt x="5672" y="2019"/>
                  </a:cubicBezTo>
                  <a:cubicBezTo>
                    <a:pt x="5598" y="2221"/>
                    <a:pt x="5524" y="2422"/>
                    <a:pt x="5376" y="2422"/>
                  </a:cubicBezTo>
                  <a:cubicBezTo>
                    <a:pt x="5227" y="2422"/>
                    <a:pt x="5153" y="2221"/>
                    <a:pt x="5004" y="2221"/>
                  </a:cubicBezTo>
                  <a:cubicBezTo>
                    <a:pt x="4930" y="2422"/>
                    <a:pt x="4856" y="2624"/>
                    <a:pt x="4708" y="2624"/>
                  </a:cubicBezTo>
                  <a:cubicBezTo>
                    <a:pt x="4559" y="2624"/>
                    <a:pt x="4485" y="2221"/>
                    <a:pt x="4485" y="2221"/>
                  </a:cubicBezTo>
                  <a:cubicBezTo>
                    <a:pt x="4262" y="2221"/>
                    <a:pt x="4262" y="2221"/>
                    <a:pt x="4262" y="2221"/>
                  </a:cubicBezTo>
                  <a:cubicBezTo>
                    <a:pt x="4039" y="1615"/>
                    <a:pt x="4039" y="1615"/>
                    <a:pt x="4039" y="1615"/>
                  </a:cubicBezTo>
                  <a:cubicBezTo>
                    <a:pt x="4039" y="1615"/>
                    <a:pt x="3965" y="2019"/>
                    <a:pt x="3743" y="2019"/>
                  </a:cubicBezTo>
                  <a:cubicBezTo>
                    <a:pt x="3594" y="1817"/>
                    <a:pt x="3446" y="1615"/>
                    <a:pt x="3297" y="1817"/>
                  </a:cubicBezTo>
                  <a:cubicBezTo>
                    <a:pt x="3149" y="1817"/>
                    <a:pt x="2926" y="2019"/>
                    <a:pt x="2926" y="2019"/>
                  </a:cubicBezTo>
                  <a:cubicBezTo>
                    <a:pt x="2332" y="1413"/>
                    <a:pt x="2332" y="1413"/>
                    <a:pt x="2332" y="1413"/>
                  </a:cubicBezTo>
                  <a:cubicBezTo>
                    <a:pt x="1961" y="1211"/>
                    <a:pt x="1961" y="1211"/>
                    <a:pt x="1961" y="1211"/>
                  </a:cubicBezTo>
                  <a:cubicBezTo>
                    <a:pt x="1664" y="1009"/>
                    <a:pt x="1664" y="1009"/>
                    <a:pt x="1664" y="1009"/>
                  </a:cubicBezTo>
                  <a:cubicBezTo>
                    <a:pt x="1516" y="1615"/>
                    <a:pt x="1516" y="1615"/>
                    <a:pt x="1516" y="1615"/>
                  </a:cubicBezTo>
                  <a:cubicBezTo>
                    <a:pt x="1145" y="1615"/>
                    <a:pt x="1145" y="1615"/>
                    <a:pt x="1145" y="1615"/>
                  </a:cubicBezTo>
                  <a:cubicBezTo>
                    <a:pt x="1145" y="1615"/>
                    <a:pt x="699" y="1211"/>
                    <a:pt x="402" y="1413"/>
                  </a:cubicBezTo>
                  <a:cubicBezTo>
                    <a:pt x="328" y="1413"/>
                    <a:pt x="105" y="2019"/>
                    <a:pt x="31" y="2019"/>
                  </a:cubicBezTo>
                  <a:cubicBezTo>
                    <a:pt x="-43" y="2221"/>
                    <a:pt x="31" y="2221"/>
                    <a:pt x="105" y="2826"/>
                  </a:cubicBezTo>
                  <a:cubicBezTo>
                    <a:pt x="105" y="3230"/>
                    <a:pt x="31" y="4037"/>
                    <a:pt x="31" y="4037"/>
                  </a:cubicBezTo>
                  <a:cubicBezTo>
                    <a:pt x="477" y="4239"/>
                    <a:pt x="477" y="4239"/>
                    <a:pt x="477" y="4239"/>
                  </a:cubicBezTo>
                  <a:cubicBezTo>
                    <a:pt x="848" y="4643"/>
                    <a:pt x="848" y="4643"/>
                    <a:pt x="848" y="4643"/>
                  </a:cubicBezTo>
                  <a:cubicBezTo>
                    <a:pt x="922" y="5450"/>
                    <a:pt x="922" y="5450"/>
                    <a:pt x="922" y="5450"/>
                  </a:cubicBezTo>
                  <a:cubicBezTo>
                    <a:pt x="922" y="5450"/>
                    <a:pt x="1145" y="6056"/>
                    <a:pt x="1219" y="5854"/>
                  </a:cubicBezTo>
                  <a:cubicBezTo>
                    <a:pt x="1293" y="5854"/>
                    <a:pt x="1219" y="5652"/>
                    <a:pt x="1293" y="5450"/>
                  </a:cubicBezTo>
                  <a:cubicBezTo>
                    <a:pt x="1293" y="5450"/>
                    <a:pt x="1367" y="5854"/>
                    <a:pt x="1516" y="5854"/>
                  </a:cubicBezTo>
                  <a:cubicBezTo>
                    <a:pt x="1516" y="5854"/>
                    <a:pt x="1664" y="5652"/>
                    <a:pt x="1738" y="5652"/>
                  </a:cubicBezTo>
                  <a:cubicBezTo>
                    <a:pt x="1887" y="5854"/>
                    <a:pt x="1961" y="6056"/>
                    <a:pt x="2035" y="6056"/>
                  </a:cubicBezTo>
                  <a:cubicBezTo>
                    <a:pt x="2110" y="6056"/>
                    <a:pt x="2258" y="5854"/>
                    <a:pt x="2258" y="5854"/>
                  </a:cubicBezTo>
                  <a:cubicBezTo>
                    <a:pt x="2406" y="5652"/>
                    <a:pt x="2629" y="5450"/>
                    <a:pt x="2852" y="6056"/>
                  </a:cubicBezTo>
                  <a:cubicBezTo>
                    <a:pt x="3000" y="6460"/>
                    <a:pt x="2926" y="6662"/>
                    <a:pt x="3075" y="6662"/>
                  </a:cubicBezTo>
                  <a:cubicBezTo>
                    <a:pt x="3149" y="6662"/>
                    <a:pt x="3149" y="6258"/>
                    <a:pt x="3223" y="6258"/>
                  </a:cubicBezTo>
                  <a:cubicBezTo>
                    <a:pt x="3371" y="6258"/>
                    <a:pt x="3371" y="6460"/>
                    <a:pt x="3446" y="6662"/>
                  </a:cubicBezTo>
                  <a:cubicBezTo>
                    <a:pt x="3594" y="7065"/>
                    <a:pt x="3594" y="7469"/>
                    <a:pt x="3743" y="7671"/>
                  </a:cubicBezTo>
                  <a:cubicBezTo>
                    <a:pt x="3743" y="7873"/>
                    <a:pt x="3817" y="8075"/>
                    <a:pt x="3965" y="8075"/>
                  </a:cubicBezTo>
                  <a:cubicBezTo>
                    <a:pt x="3965" y="8075"/>
                    <a:pt x="4039" y="7873"/>
                    <a:pt x="4039" y="7873"/>
                  </a:cubicBezTo>
                  <a:cubicBezTo>
                    <a:pt x="4188" y="7873"/>
                    <a:pt x="4336" y="7873"/>
                    <a:pt x="4411" y="8075"/>
                  </a:cubicBezTo>
                  <a:cubicBezTo>
                    <a:pt x="4708" y="8075"/>
                    <a:pt x="4782" y="8075"/>
                    <a:pt x="4856" y="8277"/>
                  </a:cubicBezTo>
                  <a:cubicBezTo>
                    <a:pt x="4930" y="8680"/>
                    <a:pt x="5079" y="9286"/>
                    <a:pt x="5153" y="9690"/>
                  </a:cubicBezTo>
                  <a:cubicBezTo>
                    <a:pt x="5227" y="10093"/>
                    <a:pt x="5301" y="10901"/>
                    <a:pt x="5376" y="11103"/>
                  </a:cubicBezTo>
                  <a:cubicBezTo>
                    <a:pt x="5450" y="11507"/>
                    <a:pt x="5672" y="11708"/>
                    <a:pt x="5747" y="12112"/>
                  </a:cubicBezTo>
                  <a:cubicBezTo>
                    <a:pt x="5821" y="12314"/>
                    <a:pt x="5969" y="13525"/>
                    <a:pt x="6044" y="13929"/>
                  </a:cubicBezTo>
                  <a:cubicBezTo>
                    <a:pt x="6044" y="14333"/>
                    <a:pt x="6266" y="14938"/>
                    <a:pt x="6341" y="15746"/>
                  </a:cubicBezTo>
                  <a:cubicBezTo>
                    <a:pt x="6489" y="16553"/>
                    <a:pt x="6489" y="17159"/>
                    <a:pt x="6489" y="17159"/>
                  </a:cubicBezTo>
                  <a:cubicBezTo>
                    <a:pt x="6489" y="17966"/>
                    <a:pt x="6489" y="17966"/>
                    <a:pt x="6489" y="17966"/>
                  </a:cubicBezTo>
                  <a:cubicBezTo>
                    <a:pt x="6489" y="17966"/>
                    <a:pt x="6266" y="19783"/>
                    <a:pt x="6118" y="20187"/>
                  </a:cubicBezTo>
                  <a:cubicBezTo>
                    <a:pt x="5969" y="20591"/>
                    <a:pt x="6192" y="21196"/>
                    <a:pt x="6415" y="21398"/>
                  </a:cubicBezTo>
                  <a:cubicBezTo>
                    <a:pt x="6637" y="21600"/>
                    <a:pt x="7231" y="20793"/>
                    <a:pt x="7231" y="20793"/>
                  </a:cubicBezTo>
                  <a:cubicBezTo>
                    <a:pt x="7602" y="20389"/>
                    <a:pt x="7602" y="20389"/>
                    <a:pt x="7602" y="20389"/>
                  </a:cubicBezTo>
                  <a:cubicBezTo>
                    <a:pt x="7973" y="20187"/>
                    <a:pt x="7973" y="20187"/>
                    <a:pt x="7973" y="20187"/>
                  </a:cubicBezTo>
                  <a:cubicBezTo>
                    <a:pt x="7973" y="20187"/>
                    <a:pt x="8864" y="19985"/>
                    <a:pt x="9013" y="19783"/>
                  </a:cubicBezTo>
                  <a:cubicBezTo>
                    <a:pt x="9235" y="19379"/>
                    <a:pt x="9235" y="18976"/>
                    <a:pt x="9235" y="18976"/>
                  </a:cubicBezTo>
                  <a:cubicBezTo>
                    <a:pt x="9161" y="18370"/>
                    <a:pt x="9161" y="18370"/>
                    <a:pt x="9161" y="18370"/>
                  </a:cubicBezTo>
                  <a:cubicBezTo>
                    <a:pt x="9161" y="18370"/>
                    <a:pt x="9606" y="17764"/>
                    <a:pt x="9829" y="17563"/>
                  </a:cubicBezTo>
                  <a:cubicBezTo>
                    <a:pt x="9978" y="17361"/>
                    <a:pt x="10126" y="17764"/>
                    <a:pt x="10126" y="17764"/>
                  </a:cubicBezTo>
                  <a:cubicBezTo>
                    <a:pt x="10349" y="18370"/>
                    <a:pt x="10349" y="18370"/>
                    <a:pt x="10349" y="18370"/>
                  </a:cubicBezTo>
                  <a:cubicBezTo>
                    <a:pt x="10646" y="19178"/>
                    <a:pt x="10646" y="19178"/>
                    <a:pt x="10646" y="19178"/>
                  </a:cubicBezTo>
                  <a:cubicBezTo>
                    <a:pt x="11017" y="19379"/>
                    <a:pt x="11017" y="19379"/>
                    <a:pt x="11017" y="19379"/>
                  </a:cubicBezTo>
                  <a:cubicBezTo>
                    <a:pt x="11017" y="19379"/>
                    <a:pt x="11239" y="19985"/>
                    <a:pt x="11314" y="20187"/>
                  </a:cubicBezTo>
                  <a:cubicBezTo>
                    <a:pt x="11314" y="20591"/>
                    <a:pt x="11314" y="20591"/>
                    <a:pt x="11314" y="20591"/>
                  </a:cubicBezTo>
                  <a:cubicBezTo>
                    <a:pt x="11759" y="20591"/>
                    <a:pt x="11759" y="20591"/>
                    <a:pt x="11759" y="20591"/>
                  </a:cubicBezTo>
                  <a:cubicBezTo>
                    <a:pt x="12130" y="20187"/>
                    <a:pt x="12130" y="20187"/>
                    <a:pt x="12130" y="20187"/>
                  </a:cubicBezTo>
                  <a:cubicBezTo>
                    <a:pt x="12501" y="20793"/>
                    <a:pt x="12501" y="20793"/>
                    <a:pt x="12501" y="20793"/>
                  </a:cubicBezTo>
                  <a:cubicBezTo>
                    <a:pt x="12872" y="20389"/>
                    <a:pt x="12872" y="20389"/>
                    <a:pt x="12872" y="20389"/>
                  </a:cubicBezTo>
                  <a:cubicBezTo>
                    <a:pt x="12798" y="20187"/>
                    <a:pt x="12501" y="19985"/>
                    <a:pt x="12501" y="19985"/>
                  </a:cubicBezTo>
                  <a:cubicBezTo>
                    <a:pt x="12130" y="19985"/>
                    <a:pt x="12130" y="19985"/>
                    <a:pt x="12130" y="19985"/>
                  </a:cubicBezTo>
                  <a:cubicBezTo>
                    <a:pt x="12056" y="19783"/>
                    <a:pt x="12056" y="19783"/>
                    <a:pt x="12056" y="19783"/>
                  </a:cubicBezTo>
                  <a:cubicBezTo>
                    <a:pt x="11908" y="19379"/>
                    <a:pt x="11908" y="19379"/>
                    <a:pt x="11908" y="19379"/>
                  </a:cubicBezTo>
                  <a:cubicBezTo>
                    <a:pt x="12204" y="18774"/>
                    <a:pt x="12204" y="18774"/>
                    <a:pt x="12204" y="18774"/>
                  </a:cubicBezTo>
                  <a:cubicBezTo>
                    <a:pt x="12204" y="18774"/>
                    <a:pt x="12353" y="18774"/>
                    <a:pt x="12427" y="18572"/>
                  </a:cubicBezTo>
                  <a:cubicBezTo>
                    <a:pt x="12576" y="18572"/>
                    <a:pt x="13021" y="18168"/>
                    <a:pt x="13021" y="18168"/>
                  </a:cubicBezTo>
                  <a:cubicBezTo>
                    <a:pt x="13169" y="17764"/>
                    <a:pt x="13169" y="17764"/>
                    <a:pt x="13169" y="17764"/>
                  </a:cubicBezTo>
                  <a:cubicBezTo>
                    <a:pt x="13169" y="17764"/>
                    <a:pt x="13318" y="17361"/>
                    <a:pt x="13318" y="17361"/>
                  </a:cubicBezTo>
                  <a:cubicBezTo>
                    <a:pt x="13392" y="17361"/>
                    <a:pt x="13541" y="17361"/>
                    <a:pt x="13615" y="17159"/>
                  </a:cubicBezTo>
                  <a:cubicBezTo>
                    <a:pt x="13615" y="17159"/>
                    <a:pt x="13689" y="16957"/>
                    <a:pt x="13689" y="16957"/>
                  </a:cubicBezTo>
                  <a:cubicBezTo>
                    <a:pt x="13689" y="16957"/>
                    <a:pt x="13689" y="16755"/>
                    <a:pt x="13763" y="16755"/>
                  </a:cubicBezTo>
                  <a:cubicBezTo>
                    <a:pt x="13763" y="16755"/>
                    <a:pt x="13837" y="16755"/>
                    <a:pt x="13912" y="16553"/>
                  </a:cubicBezTo>
                  <a:cubicBezTo>
                    <a:pt x="13986" y="16553"/>
                    <a:pt x="13986" y="16553"/>
                    <a:pt x="14060" y="16351"/>
                  </a:cubicBezTo>
                  <a:cubicBezTo>
                    <a:pt x="14060" y="16351"/>
                    <a:pt x="14134" y="15746"/>
                    <a:pt x="14134" y="15746"/>
                  </a:cubicBezTo>
                  <a:cubicBezTo>
                    <a:pt x="14134" y="15746"/>
                    <a:pt x="14134" y="15746"/>
                    <a:pt x="14134" y="15746"/>
                  </a:cubicBezTo>
                  <a:cubicBezTo>
                    <a:pt x="14209" y="15746"/>
                    <a:pt x="14283" y="15948"/>
                    <a:pt x="14283" y="15948"/>
                  </a:cubicBezTo>
                  <a:cubicBezTo>
                    <a:pt x="14283" y="15948"/>
                    <a:pt x="14431" y="15948"/>
                    <a:pt x="14505" y="15948"/>
                  </a:cubicBezTo>
                  <a:cubicBezTo>
                    <a:pt x="14505" y="15948"/>
                    <a:pt x="14654" y="15746"/>
                    <a:pt x="14654" y="15746"/>
                  </a:cubicBezTo>
                  <a:cubicBezTo>
                    <a:pt x="14654" y="15746"/>
                    <a:pt x="14654" y="15544"/>
                    <a:pt x="14728" y="15544"/>
                  </a:cubicBezTo>
                  <a:cubicBezTo>
                    <a:pt x="14802" y="15544"/>
                    <a:pt x="14877" y="15544"/>
                    <a:pt x="14951" y="15544"/>
                  </a:cubicBezTo>
                  <a:cubicBezTo>
                    <a:pt x="14951" y="15544"/>
                    <a:pt x="15099" y="15544"/>
                    <a:pt x="15099" y="15544"/>
                  </a:cubicBezTo>
                  <a:cubicBezTo>
                    <a:pt x="15173" y="15342"/>
                    <a:pt x="15173" y="15342"/>
                    <a:pt x="15173" y="15342"/>
                  </a:cubicBezTo>
                  <a:cubicBezTo>
                    <a:pt x="15248" y="15342"/>
                    <a:pt x="15173" y="15140"/>
                    <a:pt x="15248" y="15342"/>
                  </a:cubicBezTo>
                  <a:cubicBezTo>
                    <a:pt x="15322" y="15342"/>
                    <a:pt x="15248" y="15544"/>
                    <a:pt x="15322" y="15342"/>
                  </a:cubicBezTo>
                  <a:cubicBezTo>
                    <a:pt x="15396" y="15140"/>
                    <a:pt x="15470" y="14736"/>
                    <a:pt x="15470" y="14736"/>
                  </a:cubicBezTo>
                  <a:cubicBezTo>
                    <a:pt x="15470" y="14736"/>
                    <a:pt x="15396" y="14736"/>
                    <a:pt x="15545" y="14736"/>
                  </a:cubicBezTo>
                  <a:cubicBezTo>
                    <a:pt x="15693" y="14736"/>
                    <a:pt x="15693" y="14736"/>
                    <a:pt x="15842" y="14736"/>
                  </a:cubicBezTo>
                  <a:cubicBezTo>
                    <a:pt x="15916" y="14736"/>
                    <a:pt x="16064" y="14535"/>
                    <a:pt x="16064" y="14535"/>
                  </a:cubicBezTo>
                  <a:cubicBezTo>
                    <a:pt x="16138" y="14535"/>
                    <a:pt x="16213" y="14333"/>
                    <a:pt x="16213" y="14333"/>
                  </a:cubicBezTo>
                  <a:cubicBezTo>
                    <a:pt x="16213" y="14131"/>
                    <a:pt x="15916" y="13727"/>
                    <a:pt x="15916" y="13727"/>
                  </a:cubicBezTo>
                  <a:cubicBezTo>
                    <a:pt x="15916" y="13727"/>
                    <a:pt x="15767" y="13525"/>
                    <a:pt x="15990" y="13525"/>
                  </a:cubicBezTo>
                  <a:cubicBezTo>
                    <a:pt x="16213" y="13727"/>
                    <a:pt x="16287" y="13727"/>
                    <a:pt x="16287" y="13727"/>
                  </a:cubicBezTo>
                  <a:cubicBezTo>
                    <a:pt x="16361" y="13727"/>
                    <a:pt x="16361" y="13525"/>
                    <a:pt x="16435" y="13525"/>
                  </a:cubicBezTo>
                  <a:cubicBezTo>
                    <a:pt x="16510" y="13323"/>
                    <a:pt x="16584" y="13121"/>
                    <a:pt x="16584" y="13121"/>
                  </a:cubicBezTo>
                  <a:cubicBezTo>
                    <a:pt x="16658" y="13121"/>
                    <a:pt x="16806" y="13525"/>
                    <a:pt x="16806" y="13525"/>
                  </a:cubicBezTo>
                  <a:cubicBezTo>
                    <a:pt x="16806" y="13929"/>
                    <a:pt x="16806" y="13929"/>
                    <a:pt x="16806" y="13929"/>
                  </a:cubicBezTo>
                  <a:cubicBezTo>
                    <a:pt x="17029" y="13929"/>
                    <a:pt x="17029" y="13929"/>
                    <a:pt x="17029" y="13929"/>
                  </a:cubicBezTo>
                  <a:cubicBezTo>
                    <a:pt x="17029" y="13929"/>
                    <a:pt x="17103" y="13929"/>
                    <a:pt x="17103" y="13929"/>
                  </a:cubicBezTo>
                  <a:cubicBezTo>
                    <a:pt x="19924" y="14333"/>
                    <a:pt x="19924" y="14333"/>
                    <a:pt x="19924" y="14333"/>
                  </a:cubicBezTo>
                  <a:close/>
                  <a:moveTo>
                    <a:pt x="19924" y="14333"/>
                  </a:moveTo>
                  <a:cubicBezTo>
                    <a:pt x="19924" y="14333"/>
                    <a:pt x="19924" y="14333"/>
                    <a:pt x="19924" y="14333"/>
                  </a:cubicBezTo>
                  <a:cubicBezTo>
                    <a:pt x="19924" y="14333"/>
                    <a:pt x="19924" y="14333"/>
                    <a:pt x="19924" y="1433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3" name="Shape 2246">
              <a:extLst>
                <a:ext uri="{FF2B5EF4-FFF2-40B4-BE49-F238E27FC236}">
                  <a16:creationId xmlns:a16="http://schemas.microsoft.com/office/drawing/2014/main" id="{04F26A87-3A55-6A93-3084-FC59A923BBA6}"/>
                </a:ext>
              </a:extLst>
            </p:cNvPr>
            <p:cNvSpPr/>
            <p:nvPr/>
          </p:nvSpPr>
          <p:spPr>
            <a:xfrm>
              <a:off x="5047496" y="3663931"/>
              <a:ext cx="744659" cy="558937"/>
            </a:xfrm>
            <a:custGeom>
              <a:avLst/>
              <a:gdLst/>
              <a:ahLst/>
              <a:cxnLst>
                <a:cxn ang="0">
                  <a:pos x="wd2" y="hd2"/>
                </a:cxn>
                <a:cxn ang="5400000">
                  <a:pos x="wd2" y="hd2"/>
                </a:cxn>
                <a:cxn ang="10800000">
                  <a:pos x="wd2" y="hd2"/>
                </a:cxn>
                <a:cxn ang="16200000">
                  <a:pos x="wd2" y="hd2"/>
                </a:cxn>
              </a:cxnLst>
              <a:rect l="0" t="0" r="r" b="b"/>
              <a:pathLst>
                <a:path w="21514" h="21600" extrusionOk="0">
                  <a:moveTo>
                    <a:pt x="2062" y="4011"/>
                  </a:moveTo>
                  <a:cubicBezTo>
                    <a:pt x="2778" y="3394"/>
                    <a:pt x="2778" y="3394"/>
                    <a:pt x="2778" y="3394"/>
                  </a:cubicBezTo>
                  <a:cubicBezTo>
                    <a:pt x="3136" y="2931"/>
                    <a:pt x="3136" y="2931"/>
                    <a:pt x="3136" y="2931"/>
                  </a:cubicBezTo>
                  <a:cubicBezTo>
                    <a:pt x="3971" y="3086"/>
                    <a:pt x="3971" y="3086"/>
                    <a:pt x="3971" y="3086"/>
                  </a:cubicBezTo>
                  <a:cubicBezTo>
                    <a:pt x="3971" y="3086"/>
                    <a:pt x="4568" y="2777"/>
                    <a:pt x="4687" y="2777"/>
                  </a:cubicBezTo>
                  <a:cubicBezTo>
                    <a:pt x="4807" y="2777"/>
                    <a:pt x="5642" y="2623"/>
                    <a:pt x="5642" y="2623"/>
                  </a:cubicBezTo>
                  <a:cubicBezTo>
                    <a:pt x="6120" y="2160"/>
                    <a:pt x="6120" y="2160"/>
                    <a:pt x="6120" y="2160"/>
                  </a:cubicBezTo>
                  <a:cubicBezTo>
                    <a:pt x="6120" y="2160"/>
                    <a:pt x="6478" y="2314"/>
                    <a:pt x="6478" y="2469"/>
                  </a:cubicBezTo>
                  <a:cubicBezTo>
                    <a:pt x="6597" y="2623"/>
                    <a:pt x="6955" y="3086"/>
                    <a:pt x="7074" y="3086"/>
                  </a:cubicBezTo>
                  <a:cubicBezTo>
                    <a:pt x="7194" y="2931"/>
                    <a:pt x="7313" y="2314"/>
                    <a:pt x="7313" y="2314"/>
                  </a:cubicBezTo>
                  <a:cubicBezTo>
                    <a:pt x="8029" y="2160"/>
                    <a:pt x="8029" y="2160"/>
                    <a:pt x="8029" y="2160"/>
                  </a:cubicBezTo>
                  <a:cubicBezTo>
                    <a:pt x="8626" y="2006"/>
                    <a:pt x="8626" y="2006"/>
                    <a:pt x="8626" y="2006"/>
                  </a:cubicBezTo>
                  <a:cubicBezTo>
                    <a:pt x="8626" y="2006"/>
                    <a:pt x="8626" y="1851"/>
                    <a:pt x="8745" y="1851"/>
                  </a:cubicBezTo>
                  <a:cubicBezTo>
                    <a:pt x="8864" y="2006"/>
                    <a:pt x="9580" y="2006"/>
                    <a:pt x="9580" y="2006"/>
                  </a:cubicBezTo>
                  <a:cubicBezTo>
                    <a:pt x="10296" y="2006"/>
                    <a:pt x="10296" y="2006"/>
                    <a:pt x="10296" y="2006"/>
                  </a:cubicBezTo>
                  <a:cubicBezTo>
                    <a:pt x="10296" y="2006"/>
                    <a:pt x="10774" y="2314"/>
                    <a:pt x="10893" y="2314"/>
                  </a:cubicBezTo>
                  <a:cubicBezTo>
                    <a:pt x="10893" y="2160"/>
                    <a:pt x="11251" y="1543"/>
                    <a:pt x="11251" y="1543"/>
                  </a:cubicBezTo>
                  <a:cubicBezTo>
                    <a:pt x="11967" y="1851"/>
                    <a:pt x="11967" y="1851"/>
                    <a:pt x="11967" y="1851"/>
                  </a:cubicBezTo>
                  <a:cubicBezTo>
                    <a:pt x="12086" y="1234"/>
                    <a:pt x="12086" y="1234"/>
                    <a:pt x="12086" y="1234"/>
                  </a:cubicBezTo>
                  <a:cubicBezTo>
                    <a:pt x="12086" y="1234"/>
                    <a:pt x="12444" y="463"/>
                    <a:pt x="12444" y="463"/>
                  </a:cubicBezTo>
                  <a:cubicBezTo>
                    <a:pt x="12564" y="463"/>
                    <a:pt x="13041" y="0"/>
                    <a:pt x="13041" y="0"/>
                  </a:cubicBezTo>
                  <a:cubicBezTo>
                    <a:pt x="13280" y="926"/>
                    <a:pt x="13280" y="926"/>
                    <a:pt x="13280" y="926"/>
                  </a:cubicBezTo>
                  <a:cubicBezTo>
                    <a:pt x="13757" y="1389"/>
                    <a:pt x="13757" y="1389"/>
                    <a:pt x="13757" y="1389"/>
                  </a:cubicBezTo>
                  <a:cubicBezTo>
                    <a:pt x="13876" y="1543"/>
                    <a:pt x="13876" y="1543"/>
                    <a:pt x="13876" y="1543"/>
                  </a:cubicBezTo>
                  <a:cubicBezTo>
                    <a:pt x="14354" y="2006"/>
                    <a:pt x="14354" y="2006"/>
                    <a:pt x="14354" y="2006"/>
                  </a:cubicBezTo>
                  <a:cubicBezTo>
                    <a:pt x="15189" y="1697"/>
                    <a:pt x="15189" y="1697"/>
                    <a:pt x="15189" y="1697"/>
                  </a:cubicBezTo>
                  <a:cubicBezTo>
                    <a:pt x="15666" y="1543"/>
                    <a:pt x="15666" y="1543"/>
                    <a:pt x="15666" y="1543"/>
                  </a:cubicBezTo>
                  <a:cubicBezTo>
                    <a:pt x="16024" y="1543"/>
                    <a:pt x="16024" y="1543"/>
                    <a:pt x="16024" y="1543"/>
                  </a:cubicBezTo>
                  <a:cubicBezTo>
                    <a:pt x="16144" y="1851"/>
                    <a:pt x="16144" y="1851"/>
                    <a:pt x="16144" y="1851"/>
                  </a:cubicBezTo>
                  <a:cubicBezTo>
                    <a:pt x="16502" y="2160"/>
                    <a:pt x="16502" y="2160"/>
                    <a:pt x="16502" y="2160"/>
                  </a:cubicBezTo>
                  <a:cubicBezTo>
                    <a:pt x="17099" y="2160"/>
                    <a:pt x="17099" y="2160"/>
                    <a:pt x="17099" y="2160"/>
                  </a:cubicBezTo>
                  <a:cubicBezTo>
                    <a:pt x="17337" y="2623"/>
                    <a:pt x="17337" y="2623"/>
                    <a:pt x="17337" y="2623"/>
                  </a:cubicBezTo>
                  <a:cubicBezTo>
                    <a:pt x="17815" y="2777"/>
                    <a:pt x="17815" y="2777"/>
                    <a:pt x="17815" y="2777"/>
                  </a:cubicBezTo>
                  <a:cubicBezTo>
                    <a:pt x="18173" y="3394"/>
                    <a:pt x="18173" y="3394"/>
                    <a:pt x="18173" y="3394"/>
                  </a:cubicBezTo>
                  <a:cubicBezTo>
                    <a:pt x="18531" y="3549"/>
                    <a:pt x="18531" y="3549"/>
                    <a:pt x="18531" y="3549"/>
                  </a:cubicBezTo>
                  <a:cubicBezTo>
                    <a:pt x="18769" y="4166"/>
                    <a:pt x="18769" y="4166"/>
                    <a:pt x="18769" y="4166"/>
                  </a:cubicBezTo>
                  <a:cubicBezTo>
                    <a:pt x="19247" y="4166"/>
                    <a:pt x="19247" y="4166"/>
                    <a:pt x="19247" y="4166"/>
                  </a:cubicBezTo>
                  <a:cubicBezTo>
                    <a:pt x="19843" y="4320"/>
                    <a:pt x="19843" y="4320"/>
                    <a:pt x="19843" y="4320"/>
                  </a:cubicBezTo>
                  <a:cubicBezTo>
                    <a:pt x="20201" y="4320"/>
                    <a:pt x="20201" y="4320"/>
                    <a:pt x="20201" y="4320"/>
                  </a:cubicBezTo>
                  <a:cubicBezTo>
                    <a:pt x="20201" y="4320"/>
                    <a:pt x="20201" y="4320"/>
                    <a:pt x="20201" y="4320"/>
                  </a:cubicBezTo>
                  <a:cubicBezTo>
                    <a:pt x="20321" y="4320"/>
                    <a:pt x="20321" y="4320"/>
                    <a:pt x="20321" y="4320"/>
                  </a:cubicBezTo>
                  <a:cubicBezTo>
                    <a:pt x="20440" y="5709"/>
                    <a:pt x="20440" y="5709"/>
                    <a:pt x="20440" y="5709"/>
                  </a:cubicBezTo>
                  <a:cubicBezTo>
                    <a:pt x="20201" y="6480"/>
                    <a:pt x="20201" y="6480"/>
                    <a:pt x="20201" y="6480"/>
                  </a:cubicBezTo>
                  <a:cubicBezTo>
                    <a:pt x="20201" y="7251"/>
                    <a:pt x="20201" y="7251"/>
                    <a:pt x="20201" y="7251"/>
                  </a:cubicBezTo>
                  <a:cubicBezTo>
                    <a:pt x="20559" y="7406"/>
                    <a:pt x="20559" y="7406"/>
                    <a:pt x="20559" y="7406"/>
                  </a:cubicBezTo>
                  <a:cubicBezTo>
                    <a:pt x="21395" y="7251"/>
                    <a:pt x="21395" y="7251"/>
                    <a:pt x="21395" y="7251"/>
                  </a:cubicBezTo>
                  <a:cubicBezTo>
                    <a:pt x="21514" y="7869"/>
                    <a:pt x="21514" y="7869"/>
                    <a:pt x="21514" y="7869"/>
                  </a:cubicBezTo>
                  <a:cubicBezTo>
                    <a:pt x="21037" y="8177"/>
                    <a:pt x="21037" y="8177"/>
                    <a:pt x="21037" y="8177"/>
                  </a:cubicBezTo>
                  <a:cubicBezTo>
                    <a:pt x="21156" y="8949"/>
                    <a:pt x="21156" y="8949"/>
                    <a:pt x="21156" y="8949"/>
                  </a:cubicBezTo>
                  <a:cubicBezTo>
                    <a:pt x="20201" y="8794"/>
                    <a:pt x="20201" y="8794"/>
                    <a:pt x="20201" y="8794"/>
                  </a:cubicBezTo>
                  <a:cubicBezTo>
                    <a:pt x="19843" y="9257"/>
                    <a:pt x="19843" y="9257"/>
                    <a:pt x="19843" y="9257"/>
                  </a:cubicBezTo>
                  <a:cubicBezTo>
                    <a:pt x="19843" y="10337"/>
                    <a:pt x="19843" y="10337"/>
                    <a:pt x="19843" y="10337"/>
                  </a:cubicBezTo>
                  <a:cubicBezTo>
                    <a:pt x="18889" y="10800"/>
                    <a:pt x="18889" y="10800"/>
                    <a:pt x="18889" y="10800"/>
                  </a:cubicBezTo>
                  <a:cubicBezTo>
                    <a:pt x="18650" y="11417"/>
                    <a:pt x="18650" y="11417"/>
                    <a:pt x="18650" y="11417"/>
                  </a:cubicBezTo>
                  <a:cubicBezTo>
                    <a:pt x="18650" y="12034"/>
                    <a:pt x="18650" y="12034"/>
                    <a:pt x="18650" y="12034"/>
                  </a:cubicBezTo>
                  <a:cubicBezTo>
                    <a:pt x="18531" y="12651"/>
                    <a:pt x="18531" y="12651"/>
                    <a:pt x="18531" y="12651"/>
                  </a:cubicBezTo>
                  <a:cubicBezTo>
                    <a:pt x="18650" y="13731"/>
                    <a:pt x="18650" y="13731"/>
                    <a:pt x="18650" y="13731"/>
                  </a:cubicBezTo>
                  <a:cubicBezTo>
                    <a:pt x="18769" y="14657"/>
                    <a:pt x="18769" y="14657"/>
                    <a:pt x="18769" y="14657"/>
                  </a:cubicBezTo>
                  <a:cubicBezTo>
                    <a:pt x="18769" y="14657"/>
                    <a:pt x="18531" y="15429"/>
                    <a:pt x="18411" y="15891"/>
                  </a:cubicBezTo>
                  <a:cubicBezTo>
                    <a:pt x="18411" y="16200"/>
                    <a:pt x="18650" y="16046"/>
                    <a:pt x="18650" y="16046"/>
                  </a:cubicBezTo>
                  <a:cubicBezTo>
                    <a:pt x="19247" y="16354"/>
                    <a:pt x="19247" y="16354"/>
                    <a:pt x="19247" y="16354"/>
                  </a:cubicBezTo>
                  <a:cubicBezTo>
                    <a:pt x="19485" y="16509"/>
                    <a:pt x="19485" y="16509"/>
                    <a:pt x="19485" y="16509"/>
                  </a:cubicBezTo>
                  <a:cubicBezTo>
                    <a:pt x="19247" y="17434"/>
                    <a:pt x="19247" y="17434"/>
                    <a:pt x="19247" y="17434"/>
                  </a:cubicBezTo>
                  <a:cubicBezTo>
                    <a:pt x="18650" y="17589"/>
                    <a:pt x="18650" y="17589"/>
                    <a:pt x="18650" y="17589"/>
                  </a:cubicBezTo>
                  <a:cubicBezTo>
                    <a:pt x="18769" y="16971"/>
                    <a:pt x="18769" y="16971"/>
                    <a:pt x="18769" y="16971"/>
                  </a:cubicBezTo>
                  <a:cubicBezTo>
                    <a:pt x="18531" y="16663"/>
                    <a:pt x="18531" y="16663"/>
                    <a:pt x="18531" y="16663"/>
                  </a:cubicBezTo>
                  <a:cubicBezTo>
                    <a:pt x="18173" y="17126"/>
                    <a:pt x="18173" y="17126"/>
                    <a:pt x="18173" y="17126"/>
                  </a:cubicBezTo>
                  <a:cubicBezTo>
                    <a:pt x="17337" y="17434"/>
                    <a:pt x="17337" y="17434"/>
                    <a:pt x="17337" y="17434"/>
                  </a:cubicBezTo>
                  <a:cubicBezTo>
                    <a:pt x="17337" y="17743"/>
                    <a:pt x="17337" y="17743"/>
                    <a:pt x="17337" y="17743"/>
                  </a:cubicBezTo>
                  <a:cubicBezTo>
                    <a:pt x="17099" y="18360"/>
                    <a:pt x="17099" y="18360"/>
                    <a:pt x="17099" y="18360"/>
                  </a:cubicBezTo>
                  <a:cubicBezTo>
                    <a:pt x="17099" y="18360"/>
                    <a:pt x="16621" y="18360"/>
                    <a:pt x="16383" y="18360"/>
                  </a:cubicBezTo>
                  <a:cubicBezTo>
                    <a:pt x="16263" y="18206"/>
                    <a:pt x="16144" y="18669"/>
                    <a:pt x="16144" y="18669"/>
                  </a:cubicBezTo>
                  <a:cubicBezTo>
                    <a:pt x="16383" y="19749"/>
                    <a:pt x="16383" y="19749"/>
                    <a:pt x="16383" y="19749"/>
                  </a:cubicBezTo>
                  <a:cubicBezTo>
                    <a:pt x="15786" y="19749"/>
                    <a:pt x="15786" y="19749"/>
                    <a:pt x="15786" y="19749"/>
                  </a:cubicBezTo>
                  <a:cubicBezTo>
                    <a:pt x="15308" y="20520"/>
                    <a:pt x="15308" y="20520"/>
                    <a:pt x="15308" y="20520"/>
                  </a:cubicBezTo>
                  <a:cubicBezTo>
                    <a:pt x="14473" y="20674"/>
                    <a:pt x="14473" y="20674"/>
                    <a:pt x="14473" y="20674"/>
                  </a:cubicBezTo>
                  <a:cubicBezTo>
                    <a:pt x="13757" y="20520"/>
                    <a:pt x="13757" y="20520"/>
                    <a:pt x="13757" y="20520"/>
                  </a:cubicBezTo>
                  <a:cubicBezTo>
                    <a:pt x="12564" y="21137"/>
                    <a:pt x="12564" y="21137"/>
                    <a:pt x="12564" y="21137"/>
                  </a:cubicBezTo>
                  <a:cubicBezTo>
                    <a:pt x="11490" y="21446"/>
                    <a:pt x="11490" y="21446"/>
                    <a:pt x="11490" y="21446"/>
                  </a:cubicBezTo>
                  <a:cubicBezTo>
                    <a:pt x="11490" y="21600"/>
                    <a:pt x="11490" y="21600"/>
                    <a:pt x="11490" y="21600"/>
                  </a:cubicBezTo>
                  <a:cubicBezTo>
                    <a:pt x="11370" y="20674"/>
                    <a:pt x="11370" y="20674"/>
                    <a:pt x="11370" y="20674"/>
                  </a:cubicBezTo>
                  <a:cubicBezTo>
                    <a:pt x="11012" y="20211"/>
                    <a:pt x="11012" y="20211"/>
                    <a:pt x="11012" y="20211"/>
                  </a:cubicBezTo>
                  <a:cubicBezTo>
                    <a:pt x="11012" y="20211"/>
                    <a:pt x="10654" y="19286"/>
                    <a:pt x="10654" y="19131"/>
                  </a:cubicBezTo>
                  <a:cubicBezTo>
                    <a:pt x="10654" y="19131"/>
                    <a:pt x="9342" y="19131"/>
                    <a:pt x="9342" y="19131"/>
                  </a:cubicBezTo>
                  <a:cubicBezTo>
                    <a:pt x="9342" y="19131"/>
                    <a:pt x="9103" y="18669"/>
                    <a:pt x="8984" y="18360"/>
                  </a:cubicBezTo>
                  <a:cubicBezTo>
                    <a:pt x="8984" y="18206"/>
                    <a:pt x="8626" y="18669"/>
                    <a:pt x="8626" y="18669"/>
                  </a:cubicBezTo>
                  <a:cubicBezTo>
                    <a:pt x="8148" y="18823"/>
                    <a:pt x="8148" y="18823"/>
                    <a:pt x="8148" y="18823"/>
                  </a:cubicBezTo>
                  <a:cubicBezTo>
                    <a:pt x="8148" y="18669"/>
                    <a:pt x="8148" y="18669"/>
                    <a:pt x="8148" y="18669"/>
                  </a:cubicBezTo>
                  <a:cubicBezTo>
                    <a:pt x="7790" y="18051"/>
                    <a:pt x="7790" y="18051"/>
                    <a:pt x="7790" y="18051"/>
                  </a:cubicBezTo>
                  <a:cubicBezTo>
                    <a:pt x="7790" y="16509"/>
                    <a:pt x="7790" y="16509"/>
                    <a:pt x="7790" y="16509"/>
                  </a:cubicBezTo>
                  <a:cubicBezTo>
                    <a:pt x="7790" y="16046"/>
                    <a:pt x="7790" y="16046"/>
                    <a:pt x="7790" y="16046"/>
                  </a:cubicBezTo>
                  <a:cubicBezTo>
                    <a:pt x="8029" y="14966"/>
                    <a:pt x="8029" y="14966"/>
                    <a:pt x="8029" y="14966"/>
                  </a:cubicBezTo>
                  <a:cubicBezTo>
                    <a:pt x="8029" y="14966"/>
                    <a:pt x="7790" y="14811"/>
                    <a:pt x="7671" y="14503"/>
                  </a:cubicBezTo>
                  <a:cubicBezTo>
                    <a:pt x="7432" y="14194"/>
                    <a:pt x="7194" y="13886"/>
                    <a:pt x="7194" y="13886"/>
                  </a:cubicBezTo>
                  <a:cubicBezTo>
                    <a:pt x="6955" y="13886"/>
                    <a:pt x="6955" y="13886"/>
                    <a:pt x="6955" y="13886"/>
                  </a:cubicBezTo>
                  <a:cubicBezTo>
                    <a:pt x="6597" y="13269"/>
                    <a:pt x="6597" y="13269"/>
                    <a:pt x="6597" y="13269"/>
                  </a:cubicBezTo>
                  <a:cubicBezTo>
                    <a:pt x="5762" y="13577"/>
                    <a:pt x="5762" y="13577"/>
                    <a:pt x="5762" y="13577"/>
                  </a:cubicBezTo>
                  <a:cubicBezTo>
                    <a:pt x="5284" y="13731"/>
                    <a:pt x="5284" y="13731"/>
                    <a:pt x="5284" y="13731"/>
                  </a:cubicBezTo>
                  <a:cubicBezTo>
                    <a:pt x="5045" y="14040"/>
                    <a:pt x="5045" y="14040"/>
                    <a:pt x="5045" y="14040"/>
                  </a:cubicBezTo>
                  <a:cubicBezTo>
                    <a:pt x="3613" y="13886"/>
                    <a:pt x="3613" y="13886"/>
                    <a:pt x="3613" y="13886"/>
                  </a:cubicBezTo>
                  <a:cubicBezTo>
                    <a:pt x="2897" y="13423"/>
                    <a:pt x="2897" y="13423"/>
                    <a:pt x="2897" y="13423"/>
                  </a:cubicBezTo>
                  <a:cubicBezTo>
                    <a:pt x="2539" y="13269"/>
                    <a:pt x="2539" y="13269"/>
                    <a:pt x="2539" y="13269"/>
                  </a:cubicBezTo>
                  <a:cubicBezTo>
                    <a:pt x="2062" y="12806"/>
                    <a:pt x="2062" y="12806"/>
                    <a:pt x="2062" y="12806"/>
                  </a:cubicBezTo>
                  <a:cubicBezTo>
                    <a:pt x="1465" y="12189"/>
                    <a:pt x="1465" y="12189"/>
                    <a:pt x="1465" y="12189"/>
                  </a:cubicBezTo>
                  <a:cubicBezTo>
                    <a:pt x="1346" y="11263"/>
                    <a:pt x="1346" y="11263"/>
                    <a:pt x="1346" y="11263"/>
                  </a:cubicBezTo>
                  <a:cubicBezTo>
                    <a:pt x="1227" y="10646"/>
                    <a:pt x="1227" y="10646"/>
                    <a:pt x="1227" y="10646"/>
                  </a:cubicBezTo>
                  <a:cubicBezTo>
                    <a:pt x="630" y="9874"/>
                    <a:pt x="630" y="9874"/>
                    <a:pt x="630" y="9874"/>
                  </a:cubicBezTo>
                  <a:cubicBezTo>
                    <a:pt x="391" y="9257"/>
                    <a:pt x="391" y="9257"/>
                    <a:pt x="391" y="9257"/>
                  </a:cubicBezTo>
                  <a:cubicBezTo>
                    <a:pt x="391" y="8331"/>
                    <a:pt x="391" y="8331"/>
                    <a:pt x="391" y="8331"/>
                  </a:cubicBezTo>
                  <a:cubicBezTo>
                    <a:pt x="33" y="7560"/>
                    <a:pt x="33" y="7560"/>
                    <a:pt x="33" y="7560"/>
                  </a:cubicBezTo>
                  <a:cubicBezTo>
                    <a:pt x="153" y="6789"/>
                    <a:pt x="153" y="6789"/>
                    <a:pt x="153" y="6789"/>
                  </a:cubicBezTo>
                  <a:cubicBezTo>
                    <a:pt x="153" y="6789"/>
                    <a:pt x="-86" y="6634"/>
                    <a:pt x="33" y="6480"/>
                  </a:cubicBezTo>
                  <a:cubicBezTo>
                    <a:pt x="272" y="6480"/>
                    <a:pt x="630" y="6326"/>
                    <a:pt x="630" y="6326"/>
                  </a:cubicBezTo>
                  <a:cubicBezTo>
                    <a:pt x="749" y="5400"/>
                    <a:pt x="749" y="5400"/>
                    <a:pt x="749" y="5400"/>
                  </a:cubicBezTo>
                  <a:cubicBezTo>
                    <a:pt x="869" y="5091"/>
                    <a:pt x="869" y="5091"/>
                    <a:pt x="869" y="5091"/>
                  </a:cubicBezTo>
                  <a:cubicBezTo>
                    <a:pt x="1346" y="4783"/>
                    <a:pt x="1346" y="4783"/>
                    <a:pt x="1346" y="4783"/>
                  </a:cubicBezTo>
                  <a:cubicBezTo>
                    <a:pt x="1585" y="4011"/>
                    <a:pt x="1585" y="4011"/>
                    <a:pt x="1585" y="4011"/>
                  </a:cubicBezTo>
                  <a:lnTo>
                    <a:pt x="2062" y="401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4" name="Shape 2247">
              <a:extLst>
                <a:ext uri="{FF2B5EF4-FFF2-40B4-BE49-F238E27FC236}">
                  <a16:creationId xmlns:a16="http://schemas.microsoft.com/office/drawing/2014/main" id="{4599A5D5-18BD-5F49-80BE-34A5B9DA70D3}"/>
                </a:ext>
              </a:extLst>
            </p:cNvPr>
            <p:cNvSpPr/>
            <p:nvPr/>
          </p:nvSpPr>
          <p:spPr>
            <a:xfrm>
              <a:off x="5042837" y="2946950"/>
              <a:ext cx="723469" cy="476917"/>
            </a:xfrm>
            <a:custGeom>
              <a:avLst/>
              <a:gdLst/>
              <a:ahLst/>
              <a:cxnLst>
                <a:cxn ang="0">
                  <a:pos x="wd2" y="hd2"/>
                </a:cxn>
                <a:cxn ang="5400000">
                  <a:pos x="wd2" y="hd2"/>
                </a:cxn>
                <a:cxn ang="10800000">
                  <a:pos x="wd2" y="hd2"/>
                </a:cxn>
                <a:cxn ang="16200000">
                  <a:pos x="wd2" y="hd2"/>
                </a:cxn>
              </a:cxnLst>
              <a:rect l="0" t="0" r="r" b="b"/>
              <a:pathLst>
                <a:path w="21532" h="21465" extrusionOk="0">
                  <a:moveTo>
                    <a:pt x="4718" y="9360"/>
                  </a:moveTo>
                  <a:cubicBezTo>
                    <a:pt x="4841" y="9000"/>
                    <a:pt x="4841" y="9000"/>
                    <a:pt x="4841" y="9000"/>
                  </a:cubicBezTo>
                  <a:cubicBezTo>
                    <a:pt x="4964" y="8640"/>
                    <a:pt x="4964" y="8640"/>
                    <a:pt x="4964" y="8640"/>
                  </a:cubicBezTo>
                  <a:cubicBezTo>
                    <a:pt x="4964" y="8100"/>
                    <a:pt x="4964" y="8100"/>
                    <a:pt x="4964" y="8100"/>
                  </a:cubicBezTo>
                  <a:cubicBezTo>
                    <a:pt x="4718" y="8100"/>
                    <a:pt x="4718" y="8100"/>
                    <a:pt x="4718" y="8100"/>
                  </a:cubicBezTo>
                  <a:cubicBezTo>
                    <a:pt x="4596" y="7560"/>
                    <a:pt x="4596" y="7560"/>
                    <a:pt x="4596" y="7560"/>
                  </a:cubicBezTo>
                  <a:cubicBezTo>
                    <a:pt x="4596" y="7560"/>
                    <a:pt x="4718" y="7380"/>
                    <a:pt x="4841" y="7380"/>
                  </a:cubicBezTo>
                  <a:cubicBezTo>
                    <a:pt x="4841" y="7200"/>
                    <a:pt x="5209" y="7200"/>
                    <a:pt x="5209" y="7200"/>
                  </a:cubicBezTo>
                  <a:cubicBezTo>
                    <a:pt x="5455" y="6840"/>
                    <a:pt x="5455" y="6840"/>
                    <a:pt x="5455" y="6840"/>
                  </a:cubicBezTo>
                  <a:cubicBezTo>
                    <a:pt x="5455" y="6840"/>
                    <a:pt x="5332" y="6480"/>
                    <a:pt x="5577" y="6480"/>
                  </a:cubicBezTo>
                  <a:cubicBezTo>
                    <a:pt x="5700" y="6480"/>
                    <a:pt x="5946" y="6480"/>
                    <a:pt x="6068" y="6480"/>
                  </a:cubicBezTo>
                  <a:cubicBezTo>
                    <a:pt x="6191" y="6480"/>
                    <a:pt x="6314" y="6300"/>
                    <a:pt x="6314" y="6300"/>
                  </a:cubicBezTo>
                  <a:cubicBezTo>
                    <a:pt x="6559" y="6300"/>
                    <a:pt x="6682" y="6480"/>
                    <a:pt x="6559" y="6300"/>
                  </a:cubicBezTo>
                  <a:cubicBezTo>
                    <a:pt x="6559" y="6300"/>
                    <a:pt x="6559" y="6120"/>
                    <a:pt x="6437" y="5940"/>
                  </a:cubicBezTo>
                  <a:cubicBezTo>
                    <a:pt x="6314" y="5760"/>
                    <a:pt x="5946" y="5400"/>
                    <a:pt x="6191" y="5220"/>
                  </a:cubicBezTo>
                  <a:cubicBezTo>
                    <a:pt x="6314" y="5040"/>
                    <a:pt x="6437" y="5040"/>
                    <a:pt x="6559" y="5220"/>
                  </a:cubicBezTo>
                  <a:cubicBezTo>
                    <a:pt x="6682" y="5220"/>
                    <a:pt x="6805" y="5580"/>
                    <a:pt x="6805" y="5580"/>
                  </a:cubicBezTo>
                  <a:cubicBezTo>
                    <a:pt x="6805" y="4860"/>
                    <a:pt x="6805" y="4860"/>
                    <a:pt x="6805" y="4860"/>
                  </a:cubicBezTo>
                  <a:cubicBezTo>
                    <a:pt x="6805" y="4860"/>
                    <a:pt x="7173" y="4860"/>
                    <a:pt x="7296" y="4680"/>
                  </a:cubicBezTo>
                  <a:cubicBezTo>
                    <a:pt x="7296" y="4500"/>
                    <a:pt x="7173" y="4140"/>
                    <a:pt x="7173" y="4140"/>
                  </a:cubicBezTo>
                  <a:cubicBezTo>
                    <a:pt x="7173" y="4140"/>
                    <a:pt x="7173" y="4140"/>
                    <a:pt x="7541" y="4140"/>
                  </a:cubicBezTo>
                  <a:cubicBezTo>
                    <a:pt x="7909" y="3960"/>
                    <a:pt x="7787" y="3960"/>
                    <a:pt x="8032" y="3960"/>
                  </a:cubicBezTo>
                  <a:cubicBezTo>
                    <a:pt x="8155" y="3960"/>
                    <a:pt x="8523" y="3960"/>
                    <a:pt x="8523" y="3960"/>
                  </a:cubicBezTo>
                  <a:cubicBezTo>
                    <a:pt x="8523" y="3960"/>
                    <a:pt x="8768" y="3780"/>
                    <a:pt x="8646" y="3600"/>
                  </a:cubicBezTo>
                  <a:cubicBezTo>
                    <a:pt x="8646" y="3420"/>
                    <a:pt x="8400" y="3060"/>
                    <a:pt x="8400" y="3060"/>
                  </a:cubicBezTo>
                  <a:cubicBezTo>
                    <a:pt x="8400" y="3060"/>
                    <a:pt x="8523" y="2520"/>
                    <a:pt x="8523" y="2700"/>
                  </a:cubicBezTo>
                  <a:cubicBezTo>
                    <a:pt x="8523" y="3060"/>
                    <a:pt x="8891" y="3420"/>
                    <a:pt x="8891" y="3420"/>
                  </a:cubicBezTo>
                  <a:cubicBezTo>
                    <a:pt x="9137" y="3060"/>
                    <a:pt x="9137" y="3060"/>
                    <a:pt x="9137" y="3060"/>
                  </a:cubicBezTo>
                  <a:cubicBezTo>
                    <a:pt x="9505" y="2880"/>
                    <a:pt x="9505" y="2880"/>
                    <a:pt x="9505" y="2880"/>
                  </a:cubicBezTo>
                  <a:cubicBezTo>
                    <a:pt x="9873" y="2700"/>
                    <a:pt x="9873" y="2700"/>
                    <a:pt x="9873" y="2700"/>
                  </a:cubicBezTo>
                  <a:cubicBezTo>
                    <a:pt x="9873" y="2700"/>
                    <a:pt x="10241" y="2700"/>
                    <a:pt x="10487" y="2700"/>
                  </a:cubicBezTo>
                  <a:cubicBezTo>
                    <a:pt x="10609" y="2700"/>
                    <a:pt x="10977" y="2520"/>
                    <a:pt x="10977" y="2520"/>
                  </a:cubicBezTo>
                  <a:cubicBezTo>
                    <a:pt x="11100" y="2160"/>
                    <a:pt x="11100" y="2160"/>
                    <a:pt x="11100" y="2160"/>
                  </a:cubicBezTo>
                  <a:cubicBezTo>
                    <a:pt x="10609" y="1440"/>
                    <a:pt x="10609" y="1440"/>
                    <a:pt x="10609" y="1440"/>
                  </a:cubicBezTo>
                  <a:cubicBezTo>
                    <a:pt x="10609" y="1440"/>
                    <a:pt x="10855" y="900"/>
                    <a:pt x="10855" y="1080"/>
                  </a:cubicBezTo>
                  <a:cubicBezTo>
                    <a:pt x="10977" y="1260"/>
                    <a:pt x="10977" y="1620"/>
                    <a:pt x="11100" y="1620"/>
                  </a:cubicBezTo>
                  <a:cubicBezTo>
                    <a:pt x="11223" y="1620"/>
                    <a:pt x="11346" y="1800"/>
                    <a:pt x="11468" y="1620"/>
                  </a:cubicBezTo>
                  <a:cubicBezTo>
                    <a:pt x="11468" y="1440"/>
                    <a:pt x="11468" y="900"/>
                    <a:pt x="11468" y="900"/>
                  </a:cubicBezTo>
                  <a:cubicBezTo>
                    <a:pt x="11468" y="900"/>
                    <a:pt x="11346" y="720"/>
                    <a:pt x="11468" y="720"/>
                  </a:cubicBezTo>
                  <a:cubicBezTo>
                    <a:pt x="11591" y="900"/>
                    <a:pt x="11837" y="1260"/>
                    <a:pt x="11837" y="1260"/>
                  </a:cubicBezTo>
                  <a:cubicBezTo>
                    <a:pt x="12205" y="1260"/>
                    <a:pt x="12205" y="1260"/>
                    <a:pt x="12205" y="1260"/>
                  </a:cubicBezTo>
                  <a:cubicBezTo>
                    <a:pt x="12573" y="720"/>
                    <a:pt x="12573" y="720"/>
                    <a:pt x="12573" y="720"/>
                  </a:cubicBezTo>
                  <a:cubicBezTo>
                    <a:pt x="12696" y="1080"/>
                    <a:pt x="12696" y="1080"/>
                    <a:pt x="12696" y="1080"/>
                  </a:cubicBezTo>
                  <a:cubicBezTo>
                    <a:pt x="12696" y="1080"/>
                    <a:pt x="12941" y="900"/>
                    <a:pt x="13064" y="900"/>
                  </a:cubicBezTo>
                  <a:cubicBezTo>
                    <a:pt x="13187" y="900"/>
                    <a:pt x="13187" y="720"/>
                    <a:pt x="13309" y="720"/>
                  </a:cubicBezTo>
                  <a:cubicBezTo>
                    <a:pt x="13432" y="720"/>
                    <a:pt x="13677" y="900"/>
                    <a:pt x="13677" y="900"/>
                  </a:cubicBezTo>
                  <a:cubicBezTo>
                    <a:pt x="14291" y="1080"/>
                    <a:pt x="14291" y="1080"/>
                    <a:pt x="14291" y="1080"/>
                  </a:cubicBezTo>
                  <a:cubicBezTo>
                    <a:pt x="14537" y="540"/>
                    <a:pt x="14537" y="540"/>
                    <a:pt x="14537" y="540"/>
                  </a:cubicBezTo>
                  <a:cubicBezTo>
                    <a:pt x="15150" y="900"/>
                    <a:pt x="15150" y="900"/>
                    <a:pt x="15150" y="900"/>
                  </a:cubicBezTo>
                  <a:cubicBezTo>
                    <a:pt x="15641" y="1260"/>
                    <a:pt x="15641" y="1260"/>
                    <a:pt x="15641" y="1260"/>
                  </a:cubicBezTo>
                  <a:cubicBezTo>
                    <a:pt x="16255" y="1260"/>
                    <a:pt x="16255" y="1260"/>
                    <a:pt x="16255" y="1260"/>
                  </a:cubicBezTo>
                  <a:cubicBezTo>
                    <a:pt x="16255" y="1260"/>
                    <a:pt x="16746" y="900"/>
                    <a:pt x="16868" y="900"/>
                  </a:cubicBezTo>
                  <a:cubicBezTo>
                    <a:pt x="17114" y="720"/>
                    <a:pt x="17605" y="720"/>
                    <a:pt x="17605" y="720"/>
                  </a:cubicBezTo>
                  <a:cubicBezTo>
                    <a:pt x="17605" y="720"/>
                    <a:pt x="17727" y="720"/>
                    <a:pt x="17973" y="720"/>
                  </a:cubicBezTo>
                  <a:cubicBezTo>
                    <a:pt x="18218" y="540"/>
                    <a:pt x="18832" y="540"/>
                    <a:pt x="18832" y="540"/>
                  </a:cubicBezTo>
                  <a:cubicBezTo>
                    <a:pt x="19200" y="0"/>
                    <a:pt x="19200" y="0"/>
                    <a:pt x="19200" y="0"/>
                  </a:cubicBezTo>
                  <a:cubicBezTo>
                    <a:pt x="19814" y="360"/>
                    <a:pt x="19814" y="360"/>
                    <a:pt x="19814" y="360"/>
                  </a:cubicBezTo>
                  <a:cubicBezTo>
                    <a:pt x="19814" y="720"/>
                    <a:pt x="19814" y="720"/>
                    <a:pt x="19814" y="720"/>
                  </a:cubicBezTo>
                  <a:cubicBezTo>
                    <a:pt x="19200" y="1440"/>
                    <a:pt x="19200" y="1440"/>
                    <a:pt x="19200" y="1440"/>
                  </a:cubicBezTo>
                  <a:cubicBezTo>
                    <a:pt x="19200" y="2700"/>
                    <a:pt x="19200" y="2700"/>
                    <a:pt x="19200" y="2700"/>
                  </a:cubicBezTo>
                  <a:cubicBezTo>
                    <a:pt x="19077" y="4500"/>
                    <a:pt x="18709" y="5400"/>
                    <a:pt x="18587" y="6480"/>
                  </a:cubicBezTo>
                  <a:cubicBezTo>
                    <a:pt x="18464" y="7020"/>
                    <a:pt x="18218" y="7200"/>
                    <a:pt x="18587" y="8100"/>
                  </a:cubicBezTo>
                  <a:cubicBezTo>
                    <a:pt x="18832" y="8460"/>
                    <a:pt x="18832" y="9720"/>
                    <a:pt x="19323" y="10440"/>
                  </a:cubicBezTo>
                  <a:cubicBezTo>
                    <a:pt x="19568" y="10800"/>
                    <a:pt x="19323" y="11700"/>
                    <a:pt x="19691" y="12060"/>
                  </a:cubicBezTo>
                  <a:cubicBezTo>
                    <a:pt x="19691" y="12060"/>
                    <a:pt x="19691" y="12240"/>
                    <a:pt x="19814" y="12600"/>
                  </a:cubicBezTo>
                  <a:cubicBezTo>
                    <a:pt x="20059" y="12960"/>
                    <a:pt x="20059" y="12780"/>
                    <a:pt x="20182" y="12960"/>
                  </a:cubicBezTo>
                  <a:cubicBezTo>
                    <a:pt x="20182" y="12960"/>
                    <a:pt x="20427" y="13140"/>
                    <a:pt x="20550" y="13320"/>
                  </a:cubicBezTo>
                  <a:cubicBezTo>
                    <a:pt x="20673" y="13500"/>
                    <a:pt x="20673" y="13860"/>
                    <a:pt x="20673" y="14040"/>
                  </a:cubicBezTo>
                  <a:cubicBezTo>
                    <a:pt x="20673" y="14220"/>
                    <a:pt x="20796" y="14400"/>
                    <a:pt x="20796" y="14400"/>
                  </a:cubicBezTo>
                  <a:cubicBezTo>
                    <a:pt x="20796" y="14400"/>
                    <a:pt x="20918" y="14220"/>
                    <a:pt x="20918" y="14400"/>
                  </a:cubicBezTo>
                  <a:cubicBezTo>
                    <a:pt x="20918" y="14580"/>
                    <a:pt x="20796" y="14220"/>
                    <a:pt x="20918" y="14580"/>
                  </a:cubicBezTo>
                  <a:cubicBezTo>
                    <a:pt x="21164" y="14940"/>
                    <a:pt x="21532" y="14940"/>
                    <a:pt x="21532" y="14940"/>
                  </a:cubicBezTo>
                  <a:cubicBezTo>
                    <a:pt x="21409" y="15660"/>
                    <a:pt x="21409" y="15660"/>
                    <a:pt x="21409" y="15660"/>
                  </a:cubicBezTo>
                  <a:cubicBezTo>
                    <a:pt x="21164" y="15840"/>
                    <a:pt x="21164" y="15840"/>
                    <a:pt x="21164" y="15840"/>
                  </a:cubicBezTo>
                  <a:cubicBezTo>
                    <a:pt x="21164" y="15840"/>
                    <a:pt x="20550" y="15840"/>
                    <a:pt x="20550" y="16200"/>
                  </a:cubicBezTo>
                  <a:cubicBezTo>
                    <a:pt x="20550" y="16380"/>
                    <a:pt x="20550" y="17100"/>
                    <a:pt x="20550" y="17100"/>
                  </a:cubicBezTo>
                  <a:cubicBezTo>
                    <a:pt x="20182" y="17640"/>
                    <a:pt x="20182" y="17640"/>
                    <a:pt x="20182" y="17640"/>
                  </a:cubicBezTo>
                  <a:cubicBezTo>
                    <a:pt x="20182" y="17640"/>
                    <a:pt x="20427" y="18360"/>
                    <a:pt x="20427" y="18540"/>
                  </a:cubicBezTo>
                  <a:cubicBezTo>
                    <a:pt x="20427" y="18720"/>
                    <a:pt x="20550" y="18720"/>
                    <a:pt x="20550" y="18720"/>
                  </a:cubicBezTo>
                  <a:cubicBezTo>
                    <a:pt x="20182" y="18900"/>
                    <a:pt x="20182" y="18900"/>
                    <a:pt x="20182" y="18900"/>
                  </a:cubicBezTo>
                  <a:cubicBezTo>
                    <a:pt x="19691" y="18900"/>
                    <a:pt x="19691" y="18900"/>
                    <a:pt x="19691" y="18900"/>
                  </a:cubicBezTo>
                  <a:cubicBezTo>
                    <a:pt x="18709" y="18540"/>
                    <a:pt x="18709" y="18540"/>
                    <a:pt x="18709" y="18540"/>
                  </a:cubicBezTo>
                  <a:cubicBezTo>
                    <a:pt x="18464" y="19080"/>
                    <a:pt x="18464" y="19080"/>
                    <a:pt x="18464" y="19080"/>
                  </a:cubicBezTo>
                  <a:cubicBezTo>
                    <a:pt x="18218" y="19080"/>
                    <a:pt x="18218" y="19080"/>
                    <a:pt x="18218" y="19080"/>
                  </a:cubicBezTo>
                  <a:cubicBezTo>
                    <a:pt x="18218" y="19080"/>
                    <a:pt x="18096" y="19440"/>
                    <a:pt x="17850" y="19620"/>
                  </a:cubicBezTo>
                  <a:cubicBezTo>
                    <a:pt x="17727" y="19800"/>
                    <a:pt x="17605" y="19980"/>
                    <a:pt x="17482" y="19980"/>
                  </a:cubicBezTo>
                  <a:cubicBezTo>
                    <a:pt x="17237" y="20160"/>
                    <a:pt x="16991" y="19800"/>
                    <a:pt x="16991" y="19800"/>
                  </a:cubicBezTo>
                  <a:cubicBezTo>
                    <a:pt x="16623" y="19620"/>
                    <a:pt x="16623" y="19620"/>
                    <a:pt x="16623" y="19620"/>
                  </a:cubicBezTo>
                  <a:cubicBezTo>
                    <a:pt x="16255" y="18900"/>
                    <a:pt x="16255" y="18900"/>
                    <a:pt x="16255" y="18900"/>
                  </a:cubicBezTo>
                  <a:cubicBezTo>
                    <a:pt x="15150" y="17820"/>
                    <a:pt x="15150" y="17820"/>
                    <a:pt x="15150" y="17820"/>
                  </a:cubicBezTo>
                  <a:cubicBezTo>
                    <a:pt x="14537" y="17460"/>
                    <a:pt x="14537" y="17460"/>
                    <a:pt x="14537" y="17460"/>
                  </a:cubicBezTo>
                  <a:cubicBezTo>
                    <a:pt x="14046" y="17280"/>
                    <a:pt x="14046" y="17280"/>
                    <a:pt x="14046" y="17280"/>
                  </a:cubicBezTo>
                  <a:cubicBezTo>
                    <a:pt x="13432" y="17280"/>
                    <a:pt x="13432" y="17280"/>
                    <a:pt x="13432" y="17280"/>
                  </a:cubicBezTo>
                  <a:cubicBezTo>
                    <a:pt x="12941" y="16920"/>
                    <a:pt x="12941" y="16920"/>
                    <a:pt x="12941" y="16920"/>
                  </a:cubicBezTo>
                  <a:cubicBezTo>
                    <a:pt x="12450" y="16920"/>
                    <a:pt x="12450" y="16920"/>
                    <a:pt x="12450" y="16920"/>
                  </a:cubicBezTo>
                  <a:cubicBezTo>
                    <a:pt x="11837" y="16560"/>
                    <a:pt x="11837" y="16560"/>
                    <a:pt x="11837" y="16560"/>
                  </a:cubicBezTo>
                  <a:cubicBezTo>
                    <a:pt x="11346" y="17100"/>
                    <a:pt x="11346" y="17100"/>
                    <a:pt x="11346" y="17100"/>
                  </a:cubicBezTo>
                  <a:cubicBezTo>
                    <a:pt x="10732" y="17640"/>
                    <a:pt x="10732" y="17640"/>
                    <a:pt x="10732" y="17640"/>
                  </a:cubicBezTo>
                  <a:cubicBezTo>
                    <a:pt x="10118" y="18540"/>
                    <a:pt x="10118" y="18540"/>
                    <a:pt x="10118" y="18540"/>
                  </a:cubicBezTo>
                  <a:cubicBezTo>
                    <a:pt x="10118" y="18540"/>
                    <a:pt x="9750" y="19080"/>
                    <a:pt x="9505" y="19260"/>
                  </a:cubicBezTo>
                  <a:cubicBezTo>
                    <a:pt x="9382" y="19080"/>
                    <a:pt x="9382" y="19080"/>
                    <a:pt x="9382" y="19080"/>
                  </a:cubicBezTo>
                  <a:cubicBezTo>
                    <a:pt x="9382" y="19080"/>
                    <a:pt x="9382" y="18540"/>
                    <a:pt x="9505" y="18180"/>
                  </a:cubicBezTo>
                  <a:cubicBezTo>
                    <a:pt x="9627" y="18000"/>
                    <a:pt x="9627" y="17640"/>
                    <a:pt x="9627" y="17460"/>
                  </a:cubicBezTo>
                  <a:cubicBezTo>
                    <a:pt x="9627" y="17280"/>
                    <a:pt x="9627" y="16920"/>
                    <a:pt x="9505" y="16560"/>
                  </a:cubicBezTo>
                  <a:cubicBezTo>
                    <a:pt x="9505" y="16200"/>
                    <a:pt x="9382" y="15660"/>
                    <a:pt x="9382" y="15660"/>
                  </a:cubicBezTo>
                  <a:cubicBezTo>
                    <a:pt x="9750" y="15300"/>
                    <a:pt x="9750" y="15300"/>
                    <a:pt x="9750" y="15300"/>
                  </a:cubicBezTo>
                  <a:cubicBezTo>
                    <a:pt x="9505" y="14400"/>
                    <a:pt x="9505" y="14400"/>
                    <a:pt x="9505" y="14400"/>
                  </a:cubicBezTo>
                  <a:cubicBezTo>
                    <a:pt x="9259" y="14400"/>
                    <a:pt x="9259" y="14400"/>
                    <a:pt x="9259" y="14400"/>
                  </a:cubicBezTo>
                  <a:cubicBezTo>
                    <a:pt x="8891" y="14400"/>
                    <a:pt x="8891" y="14400"/>
                    <a:pt x="8891" y="14400"/>
                  </a:cubicBezTo>
                  <a:cubicBezTo>
                    <a:pt x="8646" y="14940"/>
                    <a:pt x="8646" y="14940"/>
                    <a:pt x="8646" y="14940"/>
                  </a:cubicBezTo>
                  <a:cubicBezTo>
                    <a:pt x="8646" y="14940"/>
                    <a:pt x="8768" y="15300"/>
                    <a:pt x="8768" y="15480"/>
                  </a:cubicBezTo>
                  <a:cubicBezTo>
                    <a:pt x="8646" y="15660"/>
                    <a:pt x="8400" y="15660"/>
                    <a:pt x="8400" y="15660"/>
                  </a:cubicBezTo>
                  <a:cubicBezTo>
                    <a:pt x="8277" y="15840"/>
                    <a:pt x="8277" y="16380"/>
                    <a:pt x="8277" y="16380"/>
                  </a:cubicBezTo>
                  <a:cubicBezTo>
                    <a:pt x="7787" y="15660"/>
                    <a:pt x="7787" y="15660"/>
                    <a:pt x="7787" y="15660"/>
                  </a:cubicBezTo>
                  <a:cubicBezTo>
                    <a:pt x="7787" y="15660"/>
                    <a:pt x="7541" y="15660"/>
                    <a:pt x="7418" y="15480"/>
                  </a:cubicBezTo>
                  <a:cubicBezTo>
                    <a:pt x="7296" y="15480"/>
                    <a:pt x="7050" y="15480"/>
                    <a:pt x="7050" y="15480"/>
                  </a:cubicBezTo>
                  <a:cubicBezTo>
                    <a:pt x="7050" y="15480"/>
                    <a:pt x="7050" y="15480"/>
                    <a:pt x="6927" y="15480"/>
                  </a:cubicBezTo>
                  <a:cubicBezTo>
                    <a:pt x="6682" y="15480"/>
                    <a:pt x="6682" y="15480"/>
                    <a:pt x="6559" y="15120"/>
                  </a:cubicBezTo>
                  <a:cubicBezTo>
                    <a:pt x="6437" y="14760"/>
                    <a:pt x="6068" y="13860"/>
                    <a:pt x="6068" y="13860"/>
                  </a:cubicBezTo>
                  <a:cubicBezTo>
                    <a:pt x="6068" y="13860"/>
                    <a:pt x="5946" y="13500"/>
                    <a:pt x="5823" y="13500"/>
                  </a:cubicBezTo>
                  <a:cubicBezTo>
                    <a:pt x="5823" y="13500"/>
                    <a:pt x="5700" y="13860"/>
                    <a:pt x="5700" y="13860"/>
                  </a:cubicBezTo>
                  <a:cubicBezTo>
                    <a:pt x="5577" y="13860"/>
                    <a:pt x="5577" y="13500"/>
                    <a:pt x="5577" y="13320"/>
                  </a:cubicBezTo>
                  <a:cubicBezTo>
                    <a:pt x="5577" y="13140"/>
                    <a:pt x="5577" y="12960"/>
                    <a:pt x="5577" y="12600"/>
                  </a:cubicBezTo>
                  <a:cubicBezTo>
                    <a:pt x="5577" y="12240"/>
                    <a:pt x="5455" y="11880"/>
                    <a:pt x="5577" y="11880"/>
                  </a:cubicBezTo>
                  <a:cubicBezTo>
                    <a:pt x="5577" y="11880"/>
                    <a:pt x="5700" y="12060"/>
                    <a:pt x="5823" y="12060"/>
                  </a:cubicBezTo>
                  <a:cubicBezTo>
                    <a:pt x="5946" y="12060"/>
                    <a:pt x="5946" y="11700"/>
                    <a:pt x="5946" y="11700"/>
                  </a:cubicBezTo>
                  <a:cubicBezTo>
                    <a:pt x="6068" y="11700"/>
                    <a:pt x="6191" y="11880"/>
                    <a:pt x="6191" y="11880"/>
                  </a:cubicBezTo>
                  <a:cubicBezTo>
                    <a:pt x="6314" y="11880"/>
                    <a:pt x="6437" y="11880"/>
                    <a:pt x="6437" y="11880"/>
                  </a:cubicBezTo>
                  <a:cubicBezTo>
                    <a:pt x="6559" y="11700"/>
                    <a:pt x="6559" y="11700"/>
                    <a:pt x="6559" y="11520"/>
                  </a:cubicBezTo>
                  <a:cubicBezTo>
                    <a:pt x="6559" y="11340"/>
                    <a:pt x="6437" y="11160"/>
                    <a:pt x="6437" y="11160"/>
                  </a:cubicBezTo>
                  <a:cubicBezTo>
                    <a:pt x="6314" y="11160"/>
                    <a:pt x="5577" y="11700"/>
                    <a:pt x="5577" y="11700"/>
                  </a:cubicBezTo>
                  <a:cubicBezTo>
                    <a:pt x="5087" y="11700"/>
                    <a:pt x="5087" y="11700"/>
                    <a:pt x="5087" y="11700"/>
                  </a:cubicBezTo>
                  <a:cubicBezTo>
                    <a:pt x="5332" y="11340"/>
                    <a:pt x="5332" y="11340"/>
                    <a:pt x="5332" y="11340"/>
                  </a:cubicBezTo>
                  <a:cubicBezTo>
                    <a:pt x="5087" y="10980"/>
                    <a:pt x="5087" y="10980"/>
                    <a:pt x="5087" y="10980"/>
                  </a:cubicBezTo>
                  <a:cubicBezTo>
                    <a:pt x="5087" y="10620"/>
                    <a:pt x="5087" y="10620"/>
                    <a:pt x="5087" y="10620"/>
                  </a:cubicBezTo>
                  <a:cubicBezTo>
                    <a:pt x="4841" y="10440"/>
                    <a:pt x="4841" y="10440"/>
                    <a:pt x="4841" y="10440"/>
                  </a:cubicBezTo>
                  <a:cubicBezTo>
                    <a:pt x="4964" y="10080"/>
                    <a:pt x="4964" y="10080"/>
                    <a:pt x="4964" y="10080"/>
                  </a:cubicBezTo>
                  <a:cubicBezTo>
                    <a:pt x="5209" y="10080"/>
                    <a:pt x="5209" y="10080"/>
                    <a:pt x="5209" y="10080"/>
                  </a:cubicBezTo>
                  <a:cubicBezTo>
                    <a:pt x="5455" y="9900"/>
                    <a:pt x="5455" y="9900"/>
                    <a:pt x="5455" y="9900"/>
                  </a:cubicBezTo>
                  <a:cubicBezTo>
                    <a:pt x="5455" y="9180"/>
                    <a:pt x="5455" y="9180"/>
                    <a:pt x="5455" y="9180"/>
                  </a:cubicBezTo>
                  <a:cubicBezTo>
                    <a:pt x="5209" y="9360"/>
                    <a:pt x="5209" y="9360"/>
                    <a:pt x="5209" y="9360"/>
                  </a:cubicBezTo>
                  <a:cubicBezTo>
                    <a:pt x="5332" y="9720"/>
                    <a:pt x="5332" y="9720"/>
                    <a:pt x="5332" y="9720"/>
                  </a:cubicBezTo>
                  <a:cubicBezTo>
                    <a:pt x="4841" y="9720"/>
                    <a:pt x="4841" y="9720"/>
                    <a:pt x="4841" y="9720"/>
                  </a:cubicBezTo>
                  <a:cubicBezTo>
                    <a:pt x="4718" y="9360"/>
                    <a:pt x="4718" y="9360"/>
                    <a:pt x="4718" y="9360"/>
                  </a:cubicBezTo>
                  <a:close/>
                  <a:moveTo>
                    <a:pt x="2755" y="18540"/>
                  </a:moveTo>
                  <a:cubicBezTo>
                    <a:pt x="2755" y="18540"/>
                    <a:pt x="2755" y="18540"/>
                    <a:pt x="2755" y="18540"/>
                  </a:cubicBezTo>
                  <a:cubicBezTo>
                    <a:pt x="2755" y="18540"/>
                    <a:pt x="3000" y="18540"/>
                    <a:pt x="3000" y="18540"/>
                  </a:cubicBezTo>
                  <a:cubicBezTo>
                    <a:pt x="3000" y="18540"/>
                    <a:pt x="3123" y="18720"/>
                    <a:pt x="3000" y="18720"/>
                  </a:cubicBezTo>
                  <a:cubicBezTo>
                    <a:pt x="3000" y="18900"/>
                    <a:pt x="3123" y="18900"/>
                    <a:pt x="3000" y="18900"/>
                  </a:cubicBezTo>
                  <a:cubicBezTo>
                    <a:pt x="2877" y="18900"/>
                    <a:pt x="2632" y="19080"/>
                    <a:pt x="2632" y="18900"/>
                  </a:cubicBezTo>
                  <a:cubicBezTo>
                    <a:pt x="2632" y="18900"/>
                    <a:pt x="2755" y="18720"/>
                    <a:pt x="2755" y="18720"/>
                  </a:cubicBezTo>
                  <a:cubicBezTo>
                    <a:pt x="2755" y="18540"/>
                    <a:pt x="2755" y="18540"/>
                    <a:pt x="2755" y="18540"/>
                  </a:cubicBezTo>
                  <a:close/>
                  <a:moveTo>
                    <a:pt x="7787" y="17100"/>
                  </a:moveTo>
                  <a:cubicBezTo>
                    <a:pt x="7787" y="17100"/>
                    <a:pt x="7787" y="17100"/>
                    <a:pt x="7787" y="17100"/>
                  </a:cubicBezTo>
                  <a:cubicBezTo>
                    <a:pt x="7787" y="17100"/>
                    <a:pt x="7664" y="17640"/>
                    <a:pt x="7787" y="17640"/>
                  </a:cubicBezTo>
                  <a:cubicBezTo>
                    <a:pt x="7787" y="17640"/>
                    <a:pt x="7909" y="17640"/>
                    <a:pt x="8032" y="17640"/>
                  </a:cubicBezTo>
                  <a:cubicBezTo>
                    <a:pt x="8155" y="17460"/>
                    <a:pt x="8155" y="17460"/>
                    <a:pt x="8155" y="17460"/>
                  </a:cubicBezTo>
                  <a:cubicBezTo>
                    <a:pt x="8155" y="17280"/>
                    <a:pt x="8155" y="17100"/>
                    <a:pt x="8155" y="17100"/>
                  </a:cubicBezTo>
                  <a:cubicBezTo>
                    <a:pt x="7787" y="17100"/>
                    <a:pt x="7787" y="17100"/>
                    <a:pt x="7787" y="17100"/>
                  </a:cubicBezTo>
                  <a:close/>
                  <a:moveTo>
                    <a:pt x="1037" y="16380"/>
                  </a:moveTo>
                  <a:cubicBezTo>
                    <a:pt x="1037" y="16380"/>
                    <a:pt x="1037" y="16380"/>
                    <a:pt x="1037" y="16380"/>
                  </a:cubicBezTo>
                  <a:cubicBezTo>
                    <a:pt x="914" y="16560"/>
                    <a:pt x="914" y="16560"/>
                    <a:pt x="914" y="16560"/>
                  </a:cubicBezTo>
                  <a:cubicBezTo>
                    <a:pt x="914" y="16560"/>
                    <a:pt x="791" y="16020"/>
                    <a:pt x="791" y="15840"/>
                  </a:cubicBezTo>
                  <a:cubicBezTo>
                    <a:pt x="791" y="15840"/>
                    <a:pt x="546" y="15660"/>
                    <a:pt x="546" y="15660"/>
                  </a:cubicBezTo>
                  <a:cubicBezTo>
                    <a:pt x="546" y="15660"/>
                    <a:pt x="423" y="15660"/>
                    <a:pt x="423" y="15660"/>
                  </a:cubicBezTo>
                  <a:cubicBezTo>
                    <a:pt x="300" y="15660"/>
                    <a:pt x="300" y="15840"/>
                    <a:pt x="300" y="15840"/>
                  </a:cubicBezTo>
                  <a:cubicBezTo>
                    <a:pt x="177" y="15840"/>
                    <a:pt x="177" y="15840"/>
                    <a:pt x="177" y="15840"/>
                  </a:cubicBezTo>
                  <a:cubicBezTo>
                    <a:pt x="177" y="15840"/>
                    <a:pt x="55" y="15840"/>
                    <a:pt x="55" y="15840"/>
                  </a:cubicBezTo>
                  <a:cubicBezTo>
                    <a:pt x="-68" y="16020"/>
                    <a:pt x="55" y="16200"/>
                    <a:pt x="55" y="16200"/>
                  </a:cubicBezTo>
                  <a:cubicBezTo>
                    <a:pt x="55" y="16200"/>
                    <a:pt x="177" y="16200"/>
                    <a:pt x="300" y="16380"/>
                  </a:cubicBezTo>
                  <a:cubicBezTo>
                    <a:pt x="423" y="16380"/>
                    <a:pt x="423" y="16380"/>
                    <a:pt x="423" y="16380"/>
                  </a:cubicBezTo>
                  <a:cubicBezTo>
                    <a:pt x="423" y="16380"/>
                    <a:pt x="668" y="16740"/>
                    <a:pt x="791" y="16920"/>
                  </a:cubicBezTo>
                  <a:cubicBezTo>
                    <a:pt x="791" y="16920"/>
                    <a:pt x="791" y="17100"/>
                    <a:pt x="791" y="17100"/>
                  </a:cubicBezTo>
                  <a:cubicBezTo>
                    <a:pt x="423" y="17460"/>
                    <a:pt x="423" y="17460"/>
                    <a:pt x="423" y="17460"/>
                  </a:cubicBezTo>
                  <a:cubicBezTo>
                    <a:pt x="423" y="17460"/>
                    <a:pt x="546" y="17640"/>
                    <a:pt x="546" y="17640"/>
                  </a:cubicBezTo>
                  <a:cubicBezTo>
                    <a:pt x="668" y="17640"/>
                    <a:pt x="423" y="17820"/>
                    <a:pt x="423" y="17820"/>
                  </a:cubicBezTo>
                  <a:cubicBezTo>
                    <a:pt x="423" y="17820"/>
                    <a:pt x="423" y="18180"/>
                    <a:pt x="423" y="18180"/>
                  </a:cubicBezTo>
                  <a:cubicBezTo>
                    <a:pt x="423" y="18180"/>
                    <a:pt x="546" y="18360"/>
                    <a:pt x="791" y="18360"/>
                  </a:cubicBezTo>
                  <a:cubicBezTo>
                    <a:pt x="1037" y="18540"/>
                    <a:pt x="1037" y="18360"/>
                    <a:pt x="1037" y="18360"/>
                  </a:cubicBezTo>
                  <a:cubicBezTo>
                    <a:pt x="1159" y="18540"/>
                    <a:pt x="1159" y="18540"/>
                    <a:pt x="1159" y="18540"/>
                  </a:cubicBezTo>
                  <a:cubicBezTo>
                    <a:pt x="1159" y="18720"/>
                    <a:pt x="1159" y="18720"/>
                    <a:pt x="1159" y="18720"/>
                  </a:cubicBezTo>
                  <a:cubicBezTo>
                    <a:pt x="1282" y="18900"/>
                    <a:pt x="1282" y="18900"/>
                    <a:pt x="1282" y="18900"/>
                  </a:cubicBezTo>
                  <a:cubicBezTo>
                    <a:pt x="1650" y="19080"/>
                    <a:pt x="1650" y="19080"/>
                    <a:pt x="1650" y="19080"/>
                  </a:cubicBezTo>
                  <a:cubicBezTo>
                    <a:pt x="1650" y="19260"/>
                    <a:pt x="1650" y="19260"/>
                    <a:pt x="1650" y="19260"/>
                  </a:cubicBezTo>
                  <a:cubicBezTo>
                    <a:pt x="1650" y="19800"/>
                    <a:pt x="1650" y="19800"/>
                    <a:pt x="1650" y="19800"/>
                  </a:cubicBezTo>
                  <a:cubicBezTo>
                    <a:pt x="1650" y="19800"/>
                    <a:pt x="1527" y="19800"/>
                    <a:pt x="1405" y="19800"/>
                  </a:cubicBezTo>
                  <a:cubicBezTo>
                    <a:pt x="1405" y="19980"/>
                    <a:pt x="1405" y="20160"/>
                    <a:pt x="1282" y="20160"/>
                  </a:cubicBezTo>
                  <a:cubicBezTo>
                    <a:pt x="1282" y="20160"/>
                    <a:pt x="1282" y="20520"/>
                    <a:pt x="1159" y="20700"/>
                  </a:cubicBezTo>
                  <a:cubicBezTo>
                    <a:pt x="1159" y="20880"/>
                    <a:pt x="1282" y="21060"/>
                    <a:pt x="1282" y="21240"/>
                  </a:cubicBezTo>
                  <a:cubicBezTo>
                    <a:pt x="1282" y="21600"/>
                    <a:pt x="1405" y="21420"/>
                    <a:pt x="1527" y="21420"/>
                  </a:cubicBezTo>
                  <a:cubicBezTo>
                    <a:pt x="1527" y="21420"/>
                    <a:pt x="1650" y="21240"/>
                    <a:pt x="1650" y="21240"/>
                  </a:cubicBezTo>
                  <a:cubicBezTo>
                    <a:pt x="1773" y="21240"/>
                    <a:pt x="1896" y="20880"/>
                    <a:pt x="2018" y="20700"/>
                  </a:cubicBezTo>
                  <a:cubicBezTo>
                    <a:pt x="2018" y="20520"/>
                    <a:pt x="2018" y="20340"/>
                    <a:pt x="2018" y="20340"/>
                  </a:cubicBezTo>
                  <a:cubicBezTo>
                    <a:pt x="1896" y="20160"/>
                    <a:pt x="2018" y="19800"/>
                    <a:pt x="2018" y="19800"/>
                  </a:cubicBezTo>
                  <a:cubicBezTo>
                    <a:pt x="2018" y="19620"/>
                    <a:pt x="2018" y="19620"/>
                    <a:pt x="2018" y="19620"/>
                  </a:cubicBezTo>
                  <a:cubicBezTo>
                    <a:pt x="1896" y="18900"/>
                    <a:pt x="1896" y="18900"/>
                    <a:pt x="1896" y="18900"/>
                  </a:cubicBezTo>
                  <a:cubicBezTo>
                    <a:pt x="2141" y="18180"/>
                    <a:pt x="2141" y="18180"/>
                    <a:pt x="2141" y="18180"/>
                  </a:cubicBezTo>
                  <a:cubicBezTo>
                    <a:pt x="2387" y="18180"/>
                    <a:pt x="2387" y="18180"/>
                    <a:pt x="2387" y="18180"/>
                  </a:cubicBezTo>
                  <a:cubicBezTo>
                    <a:pt x="2755" y="17820"/>
                    <a:pt x="2755" y="17820"/>
                    <a:pt x="2755" y="17820"/>
                  </a:cubicBezTo>
                  <a:cubicBezTo>
                    <a:pt x="2755" y="17820"/>
                    <a:pt x="2755" y="17820"/>
                    <a:pt x="2755" y="17820"/>
                  </a:cubicBezTo>
                  <a:cubicBezTo>
                    <a:pt x="2755" y="17820"/>
                    <a:pt x="2877" y="17820"/>
                    <a:pt x="3000" y="17640"/>
                  </a:cubicBezTo>
                  <a:cubicBezTo>
                    <a:pt x="3246" y="17640"/>
                    <a:pt x="3123" y="17820"/>
                    <a:pt x="3246" y="17820"/>
                  </a:cubicBezTo>
                  <a:cubicBezTo>
                    <a:pt x="3246" y="18000"/>
                    <a:pt x="3368" y="18000"/>
                    <a:pt x="3491" y="18000"/>
                  </a:cubicBezTo>
                  <a:cubicBezTo>
                    <a:pt x="3491" y="18000"/>
                    <a:pt x="3614" y="17640"/>
                    <a:pt x="3614" y="17640"/>
                  </a:cubicBezTo>
                  <a:cubicBezTo>
                    <a:pt x="3614" y="17460"/>
                    <a:pt x="3491" y="17460"/>
                    <a:pt x="3491" y="17460"/>
                  </a:cubicBezTo>
                  <a:cubicBezTo>
                    <a:pt x="3368" y="17100"/>
                    <a:pt x="3368" y="17100"/>
                    <a:pt x="3368" y="17100"/>
                  </a:cubicBezTo>
                  <a:cubicBezTo>
                    <a:pt x="3737" y="16920"/>
                    <a:pt x="3737" y="16920"/>
                    <a:pt x="3737" y="16920"/>
                  </a:cubicBezTo>
                  <a:cubicBezTo>
                    <a:pt x="3859" y="16740"/>
                    <a:pt x="3859" y="16740"/>
                    <a:pt x="3859" y="16740"/>
                  </a:cubicBezTo>
                  <a:cubicBezTo>
                    <a:pt x="4105" y="16380"/>
                    <a:pt x="4105" y="16380"/>
                    <a:pt x="4105" y="16380"/>
                  </a:cubicBezTo>
                  <a:cubicBezTo>
                    <a:pt x="3982" y="16020"/>
                    <a:pt x="3982" y="16020"/>
                    <a:pt x="3982" y="16020"/>
                  </a:cubicBezTo>
                  <a:cubicBezTo>
                    <a:pt x="3982" y="16020"/>
                    <a:pt x="4227" y="16020"/>
                    <a:pt x="4350" y="16020"/>
                  </a:cubicBezTo>
                  <a:cubicBezTo>
                    <a:pt x="4350" y="16020"/>
                    <a:pt x="4350" y="15840"/>
                    <a:pt x="4350" y="15840"/>
                  </a:cubicBezTo>
                  <a:cubicBezTo>
                    <a:pt x="4227" y="15480"/>
                    <a:pt x="4227" y="15480"/>
                    <a:pt x="4227" y="15480"/>
                  </a:cubicBezTo>
                  <a:cubicBezTo>
                    <a:pt x="4227" y="15480"/>
                    <a:pt x="4473" y="15480"/>
                    <a:pt x="4596" y="15300"/>
                  </a:cubicBezTo>
                  <a:cubicBezTo>
                    <a:pt x="4596" y="15300"/>
                    <a:pt x="4473" y="15120"/>
                    <a:pt x="4473" y="15120"/>
                  </a:cubicBezTo>
                  <a:cubicBezTo>
                    <a:pt x="4473" y="14940"/>
                    <a:pt x="4596" y="14760"/>
                    <a:pt x="4596" y="14760"/>
                  </a:cubicBezTo>
                  <a:cubicBezTo>
                    <a:pt x="4596" y="14760"/>
                    <a:pt x="4841" y="15120"/>
                    <a:pt x="4964" y="15120"/>
                  </a:cubicBezTo>
                  <a:cubicBezTo>
                    <a:pt x="5087" y="15300"/>
                    <a:pt x="5087" y="15120"/>
                    <a:pt x="5209" y="15120"/>
                  </a:cubicBezTo>
                  <a:cubicBezTo>
                    <a:pt x="5209" y="14940"/>
                    <a:pt x="5087" y="14760"/>
                    <a:pt x="5087" y="14760"/>
                  </a:cubicBezTo>
                  <a:cubicBezTo>
                    <a:pt x="4964" y="14580"/>
                    <a:pt x="4964" y="14580"/>
                    <a:pt x="4964" y="14580"/>
                  </a:cubicBezTo>
                  <a:cubicBezTo>
                    <a:pt x="4596" y="14400"/>
                    <a:pt x="4596" y="14400"/>
                    <a:pt x="4596" y="14400"/>
                  </a:cubicBezTo>
                  <a:cubicBezTo>
                    <a:pt x="4105" y="14040"/>
                    <a:pt x="4105" y="14040"/>
                    <a:pt x="4105" y="14040"/>
                  </a:cubicBezTo>
                  <a:cubicBezTo>
                    <a:pt x="4105" y="14040"/>
                    <a:pt x="3737" y="14040"/>
                    <a:pt x="3737" y="13860"/>
                  </a:cubicBezTo>
                  <a:cubicBezTo>
                    <a:pt x="3614" y="13860"/>
                    <a:pt x="3614" y="13860"/>
                    <a:pt x="3614" y="13860"/>
                  </a:cubicBezTo>
                  <a:cubicBezTo>
                    <a:pt x="3614" y="13860"/>
                    <a:pt x="3368" y="13860"/>
                    <a:pt x="3368" y="13860"/>
                  </a:cubicBezTo>
                  <a:cubicBezTo>
                    <a:pt x="3246" y="13860"/>
                    <a:pt x="3123" y="14040"/>
                    <a:pt x="3000" y="14220"/>
                  </a:cubicBezTo>
                  <a:cubicBezTo>
                    <a:pt x="3000" y="14220"/>
                    <a:pt x="2877" y="14400"/>
                    <a:pt x="2755" y="14400"/>
                  </a:cubicBezTo>
                  <a:cubicBezTo>
                    <a:pt x="2755" y="14400"/>
                    <a:pt x="2632" y="14040"/>
                    <a:pt x="2632" y="14040"/>
                  </a:cubicBezTo>
                  <a:cubicBezTo>
                    <a:pt x="2387" y="14040"/>
                    <a:pt x="2387" y="14040"/>
                    <a:pt x="2387" y="14040"/>
                  </a:cubicBezTo>
                  <a:cubicBezTo>
                    <a:pt x="2387" y="14040"/>
                    <a:pt x="2264" y="14400"/>
                    <a:pt x="2264" y="14580"/>
                  </a:cubicBezTo>
                  <a:cubicBezTo>
                    <a:pt x="2264" y="14580"/>
                    <a:pt x="2018" y="14580"/>
                    <a:pt x="1896" y="14580"/>
                  </a:cubicBezTo>
                  <a:cubicBezTo>
                    <a:pt x="1773" y="14760"/>
                    <a:pt x="1650" y="14760"/>
                    <a:pt x="1527" y="14940"/>
                  </a:cubicBezTo>
                  <a:cubicBezTo>
                    <a:pt x="1405" y="14940"/>
                    <a:pt x="1650" y="15120"/>
                    <a:pt x="1650" y="15120"/>
                  </a:cubicBezTo>
                  <a:cubicBezTo>
                    <a:pt x="1650" y="15480"/>
                    <a:pt x="1650" y="15480"/>
                    <a:pt x="1650" y="15480"/>
                  </a:cubicBezTo>
                  <a:cubicBezTo>
                    <a:pt x="1405" y="15480"/>
                    <a:pt x="1405" y="15480"/>
                    <a:pt x="1405" y="15480"/>
                  </a:cubicBezTo>
                  <a:cubicBezTo>
                    <a:pt x="1282" y="15300"/>
                    <a:pt x="1282" y="15300"/>
                    <a:pt x="1282" y="15300"/>
                  </a:cubicBezTo>
                  <a:cubicBezTo>
                    <a:pt x="1037" y="15660"/>
                    <a:pt x="1037" y="15660"/>
                    <a:pt x="1037" y="15660"/>
                  </a:cubicBezTo>
                  <a:cubicBezTo>
                    <a:pt x="914" y="16020"/>
                    <a:pt x="914" y="16020"/>
                    <a:pt x="914" y="16020"/>
                  </a:cubicBezTo>
                  <a:cubicBezTo>
                    <a:pt x="914" y="16020"/>
                    <a:pt x="1037" y="16380"/>
                    <a:pt x="1037" y="16380"/>
                  </a:cubicBezTo>
                  <a:close/>
                  <a:moveTo>
                    <a:pt x="4227" y="13680"/>
                  </a:moveTo>
                  <a:cubicBezTo>
                    <a:pt x="4227" y="13680"/>
                    <a:pt x="4227" y="13680"/>
                    <a:pt x="4227" y="13680"/>
                  </a:cubicBezTo>
                  <a:cubicBezTo>
                    <a:pt x="4350" y="13860"/>
                    <a:pt x="4350" y="13860"/>
                    <a:pt x="4350" y="13860"/>
                  </a:cubicBezTo>
                  <a:cubicBezTo>
                    <a:pt x="4350" y="13860"/>
                    <a:pt x="4473" y="14040"/>
                    <a:pt x="4718" y="14040"/>
                  </a:cubicBezTo>
                  <a:cubicBezTo>
                    <a:pt x="5087" y="14040"/>
                    <a:pt x="5087" y="14400"/>
                    <a:pt x="5332" y="14040"/>
                  </a:cubicBezTo>
                  <a:cubicBezTo>
                    <a:pt x="5332" y="13860"/>
                    <a:pt x="5332" y="13860"/>
                    <a:pt x="5209" y="13680"/>
                  </a:cubicBezTo>
                  <a:cubicBezTo>
                    <a:pt x="5209" y="13500"/>
                    <a:pt x="5087" y="13500"/>
                    <a:pt x="5087" y="13320"/>
                  </a:cubicBezTo>
                  <a:cubicBezTo>
                    <a:pt x="5087" y="13320"/>
                    <a:pt x="5087" y="13320"/>
                    <a:pt x="4841" y="12960"/>
                  </a:cubicBezTo>
                  <a:cubicBezTo>
                    <a:pt x="4718" y="12780"/>
                    <a:pt x="4718" y="12960"/>
                    <a:pt x="4596" y="12960"/>
                  </a:cubicBezTo>
                  <a:cubicBezTo>
                    <a:pt x="4473" y="12960"/>
                    <a:pt x="4350" y="12960"/>
                    <a:pt x="4227" y="12960"/>
                  </a:cubicBezTo>
                  <a:cubicBezTo>
                    <a:pt x="4105" y="13140"/>
                    <a:pt x="4350" y="13320"/>
                    <a:pt x="4350" y="13500"/>
                  </a:cubicBezTo>
                  <a:cubicBezTo>
                    <a:pt x="4350" y="13500"/>
                    <a:pt x="4227" y="13680"/>
                    <a:pt x="4227" y="13680"/>
                  </a:cubicBezTo>
                  <a:close/>
                  <a:moveTo>
                    <a:pt x="2632" y="10260"/>
                  </a:moveTo>
                  <a:cubicBezTo>
                    <a:pt x="2632" y="10260"/>
                    <a:pt x="2632" y="10260"/>
                    <a:pt x="2632" y="10260"/>
                  </a:cubicBezTo>
                  <a:cubicBezTo>
                    <a:pt x="2632" y="10080"/>
                    <a:pt x="2877" y="10080"/>
                    <a:pt x="3000" y="10260"/>
                  </a:cubicBezTo>
                  <a:cubicBezTo>
                    <a:pt x="3000" y="10260"/>
                    <a:pt x="3246" y="10440"/>
                    <a:pt x="3246" y="10620"/>
                  </a:cubicBezTo>
                  <a:cubicBezTo>
                    <a:pt x="3246" y="10620"/>
                    <a:pt x="3368" y="10620"/>
                    <a:pt x="3368" y="10800"/>
                  </a:cubicBezTo>
                  <a:cubicBezTo>
                    <a:pt x="3368" y="10800"/>
                    <a:pt x="3491" y="10980"/>
                    <a:pt x="3491" y="11160"/>
                  </a:cubicBezTo>
                  <a:cubicBezTo>
                    <a:pt x="3614" y="11340"/>
                    <a:pt x="3737" y="11520"/>
                    <a:pt x="3737" y="11520"/>
                  </a:cubicBezTo>
                  <a:cubicBezTo>
                    <a:pt x="3737" y="11520"/>
                    <a:pt x="3859" y="11700"/>
                    <a:pt x="3737" y="11700"/>
                  </a:cubicBezTo>
                  <a:cubicBezTo>
                    <a:pt x="3614" y="11700"/>
                    <a:pt x="3246" y="11700"/>
                    <a:pt x="3246" y="11700"/>
                  </a:cubicBezTo>
                  <a:cubicBezTo>
                    <a:pt x="3246" y="11700"/>
                    <a:pt x="3123" y="11880"/>
                    <a:pt x="3123" y="11880"/>
                  </a:cubicBezTo>
                  <a:cubicBezTo>
                    <a:pt x="3123" y="12060"/>
                    <a:pt x="3368" y="12240"/>
                    <a:pt x="3246" y="12240"/>
                  </a:cubicBezTo>
                  <a:cubicBezTo>
                    <a:pt x="3123" y="12420"/>
                    <a:pt x="3123" y="12420"/>
                    <a:pt x="3000" y="12420"/>
                  </a:cubicBezTo>
                  <a:cubicBezTo>
                    <a:pt x="2877" y="12240"/>
                    <a:pt x="2755" y="11880"/>
                    <a:pt x="2755" y="11880"/>
                  </a:cubicBezTo>
                  <a:cubicBezTo>
                    <a:pt x="2632" y="12060"/>
                    <a:pt x="2632" y="12600"/>
                    <a:pt x="2632" y="12600"/>
                  </a:cubicBezTo>
                  <a:cubicBezTo>
                    <a:pt x="2632" y="12780"/>
                    <a:pt x="2755" y="12960"/>
                    <a:pt x="2632" y="13140"/>
                  </a:cubicBezTo>
                  <a:cubicBezTo>
                    <a:pt x="2632" y="13140"/>
                    <a:pt x="2264" y="13320"/>
                    <a:pt x="2264" y="13320"/>
                  </a:cubicBezTo>
                  <a:cubicBezTo>
                    <a:pt x="2264" y="13320"/>
                    <a:pt x="2141" y="13320"/>
                    <a:pt x="2141" y="13320"/>
                  </a:cubicBezTo>
                  <a:cubicBezTo>
                    <a:pt x="2018" y="13320"/>
                    <a:pt x="1773" y="12960"/>
                    <a:pt x="1650" y="12780"/>
                  </a:cubicBezTo>
                  <a:cubicBezTo>
                    <a:pt x="1650" y="12600"/>
                    <a:pt x="1650" y="12240"/>
                    <a:pt x="1650" y="12240"/>
                  </a:cubicBezTo>
                  <a:cubicBezTo>
                    <a:pt x="1527" y="12060"/>
                    <a:pt x="1405" y="11880"/>
                    <a:pt x="1405" y="11880"/>
                  </a:cubicBezTo>
                  <a:cubicBezTo>
                    <a:pt x="1405" y="11880"/>
                    <a:pt x="1527" y="11700"/>
                    <a:pt x="1282" y="11880"/>
                  </a:cubicBezTo>
                  <a:cubicBezTo>
                    <a:pt x="914" y="11880"/>
                    <a:pt x="1037" y="12060"/>
                    <a:pt x="914" y="12060"/>
                  </a:cubicBezTo>
                  <a:cubicBezTo>
                    <a:pt x="791" y="11880"/>
                    <a:pt x="791" y="11700"/>
                    <a:pt x="546" y="11700"/>
                  </a:cubicBezTo>
                  <a:cubicBezTo>
                    <a:pt x="423" y="11700"/>
                    <a:pt x="300" y="11520"/>
                    <a:pt x="300" y="11520"/>
                  </a:cubicBezTo>
                  <a:cubicBezTo>
                    <a:pt x="300" y="11520"/>
                    <a:pt x="668" y="11160"/>
                    <a:pt x="791" y="11160"/>
                  </a:cubicBezTo>
                  <a:cubicBezTo>
                    <a:pt x="914" y="11160"/>
                    <a:pt x="791" y="11160"/>
                    <a:pt x="1037" y="11160"/>
                  </a:cubicBezTo>
                  <a:cubicBezTo>
                    <a:pt x="1405" y="10980"/>
                    <a:pt x="1527" y="11340"/>
                    <a:pt x="1527" y="10980"/>
                  </a:cubicBezTo>
                  <a:cubicBezTo>
                    <a:pt x="1650" y="10620"/>
                    <a:pt x="1650" y="10440"/>
                    <a:pt x="1773" y="10260"/>
                  </a:cubicBezTo>
                  <a:cubicBezTo>
                    <a:pt x="1773" y="10080"/>
                    <a:pt x="1896" y="9720"/>
                    <a:pt x="1896" y="9720"/>
                  </a:cubicBezTo>
                  <a:cubicBezTo>
                    <a:pt x="1896" y="9540"/>
                    <a:pt x="2264" y="9540"/>
                    <a:pt x="2264" y="9540"/>
                  </a:cubicBezTo>
                  <a:cubicBezTo>
                    <a:pt x="2387" y="10080"/>
                    <a:pt x="2387" y="10080"/>
                    <a:pt x="2387" y="10080"/>
                  </a:cubicBezTo>
                  <a:cubicBezTo>
                    <a:pt x="2387" y="10080"/>
                    <a:pt x="2387" y="10260"/>
                    <a:pt x="2509" y="10260"/>
                  </a:cubicBezTo>
                  <a:cubicBezTo>
                    <a:pt x="2632" y="10260"/>
                    <a:pt x="2632" y="10260"/>
                    <a:pt x="2632" y="10260"/>
                  </a:cubicBezTo>
                  <a:close/>
                  <a:moveTo>
                    <a:pt x="4350" y="9360"/>
                  </a:moveTo>
                  <a:cubicBezTo>
                    <a:pt x="4350" y="9360"/>
                    <a:pt x="4350" y="9360"/>
                    <a:pt x="4350" y="9360"/>
                  </a:cubicBezTo>
                  <a:cubicBezTo>
                    <a:pt x="4227" y="9540"/>
                    <a:pt x="4227" y="9540"/>
                    <a:pt x="4227" y="9540"/>
                  </a:cubicBezTo>
                  <a:cubicBezTo>
                    <a:pt x="3737" y="9540"/>
                    <a:pt x="3737" y="9540"/>
                    <a:pt x="3737" y="9540"/>
                  </a:cubicBezTo>
                  <a:cubicBezTo>
                    <a:pt x="3737" y="9900"/>
                    <a:pt x="3737" y="9900"/>
                    <a:pt x="3737" y="9900"/>
                  </a:cubicBezTo>
                  <a:cubicBezTo>
                    <a:pt x="3982" y="10260"/>
                    <a:pt x="3982" y="10260"/>
                    <a:pt x="3982" y="10260"/>
                  </a:cubicBezTo>
                  <a:cubicBezTo>
                    <a:pt x="3982" y="10260"/>
                    <a:pt x="4105" y="10080"/>
                    <a:pt x="4227" y="10080"/>
                  </a:cubicBezTo>
                  <a:cubicBezTo>
                    <a:pt x="4350" y="10080"/>
                    <a:pt x="4596" y="10080"/>
                    <a:pt x="4596" y="10080"/>
                  </a:cubicBezTo>
                  <a:cubicBezTo>
                    <a:pt x="4718" y="9900"/>
                    <a:pt x="4718" y="9900"/>
                    <a:pt x="4718" y="9900"/>
                  </a:cubicBezTo>
                  <a:cubicBezTo>
                    <a:pt x="4596" y="9360"/>
                    <a:pt x="4596" y="9360"/>
                    <a:pt x="4596" y="9360"/>
                  </a:cubicBezTo>
                  <a:lnTo>
                    <a:pt x="4350" y="9360"/>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5" name="Shape 2248">
              <a:extLst>
                <a:ext uri="{FF2B5EF4-FFF2-40B4-BE49-F238E27FC236}">
                  <a16:creationId xmlns:a16="http://schemas.microsoft.com/office/drawing/2014/main" id="{CFA8CA44-7BB3-9B3B-B258-633773A3FBB0}"/>
                </a:ext>
              </a:extLst>
            </p:cNvPr>
            <p:cNvSpPr/>
            <p:nvPr/>
          </p:nvSpPr>
          <p:spPr>
            <a:xfrm>
              <a:off x="5724850" y="6171439"/>
              <a:ext cx="1003832" cy="734329"/>
            </a:xfrm>
            <a:custGeom>
              <a:avLst/>
              <a:gdLst/>
              <a:ahLst/>
              <a:cxnLst>
                <a:cxn ang="0">
                  <a:pos x="wd2" y="hd2"/>
                </a:cxn>
                <a:cxn ang="5400000">
                  <a:pos x="wd2" y="hd2"/>
                </a:cxn>
                <a:cxn ang="10800000">
                  <a:pos x="wd2" y="hd2"/>
                </a:cxn>
                <a:cxn ang="16200000">
                  <a:pos x="wd2" y="hd2"/>
                </a:cxn>
              </a:cxnLst>
              <a:rect l="0" t="0" r="r" b="b"/>
              <a:pathLst>
                <a:path w="21551" h="21600" extrusionOk="0">
                  <a:moveTo>
                    <a:pt x="571" y="4461"/>
                  </a:moveTo>
                  <a:cubicBezTo>
                    <a:pt x="571" y="4226"/>
                    <a:pt x="571" y="4226"/>
                    <a:pt x="571" y="4226"/>
                  </a:cubicBezTo>
                  <a:cubicBezTo>
                    <a:pt x="571" y="4226"/>
                    <a:pt x="571" y="4226"/>
                    <a:pt x="571" y="4226"/>
                  </a:cubicBezTo>
                  <a:cubicBezTo>
                    <a:pt x="1190" y="3991"/>
                    <a:pt x="1721" y="4461"/>
                    <a:pt x="1987" y="4461"/>
                  </a:cubicBezTo>
                  <a:cubicBezTo>
                    <a:pt x="2518" y="4578"/>
                    <a:pt x="1367" y="5400"/>
                    <a:pt x="1544" y="5400"/>
                  </a:cubicBezTo>
                  <a:cubicBezTo>
                    <a:pt x="1721" y="5283"/>
                    <a:pt x="1544" y="5987"/>
                    <a:pt x="1810" y="6104"/>
                  </a:cubicBezTo>
                  <a:cubicBezTo>
                    <a:pt x="2253" y="6222"/>
                    <a:pt x="2607" y="5752"/>
                    <a:pt x="3138" y="5752"/>
                  </a:cubicBezTo>
                  <a:cubicBezTo>
                    <a:pt x="3581" y="5635"/>
                    <a:pt x="4112" y="5987"/>
                    <a:pt x="4289" y="5752"/>
                  </a:cubicBezTo>
                  <a:cubicBezTo>
                    <a:pt x="4643" y="5165"/>
                    <a:pt x="6059" y="6339"/>
                    <a:pt x="6767" y="5752"/>
                  </a:cubicBezTo>
                  <a:cubicBezTo>
                    <a:pt x="7210" y="5283"/>
                    <a:pt x="8981" y="5048"/>
                    <a:pt x="9600" y="5048"/>
                  </a:cubicBezTo>
                  <a:cubicBezTo>
                    <a:pt x="11194" y="4930"/>
                    <a:pt x="11282" y="4930"/>
                    <a:pt x="11990" y="4343"/>
                  </a:cubicBezTo>
                  <a:cubicBezTo>
                    <a:pt x="11990" y="4343"/>
                    <a:pt x="12433" y="3052"/>
                    <a:pt x="12699" y="2465"/>
                  </a:cubicBezTo>
                  <a:cubicBezTo>
                    <a:pt x="12876" y="1996"/>
                    <a:pt x="13407" y="1761"/>
                    <a:pt x="13938" y="1291"/>
                  </a:cubicBezTo>
                  <a:cubicBezTo>
                    <a:pt x="14381" y="822"/>
                    <a:pt x="15531" y="352"/>
                    <a:pt x="15797" y="235"/>
                  </a:cubicBezTo>
                  <a:cubicBezTo>
                    <a:pt x="16062" y="235"/>
                    <a:pt x="17921" y="352"/>
                    <a:pt x="17921" y="352"/>
                  </a:cubicBezTo>
                  <a:cubicBezTo>
                    <a:pt x="18895" y="0"/>
                    <a:pt x="18895" y="0"/>
                    <a:pt x="18895" y="0"/>
                  </a:cubicBezTo>
                  <a:cubicBezTo>
                    <a:pt x="18895" y="0"/>
                    <a:pt x="19072" y="939"/>
                    <a:pt x="19338" y="1057"/>
                  </a:cubicBezTo>
                  <a:cubicBezTo>
                    <a:pt x="20135" y="1174"/>
                    <a:pt x="20754" y="1174"/>
                    <a:pt x="21020" y="939"/>
                  </a:cubicBezTo>
                  <a:cubicBezTo>
                    <a:pt x="21108" y="939"/>
                    <a:pt x="21108" y="1174"/>
                    <a:pt x="21197" y="1291"/>
                  </a:cubicBezTo>
                  <a:cubicBezTo>
                    <a:pt x="21285" y="1526"/>
                    <a:pt x="21374" y="1996"/>
                    <a:pt x="21374" y="1996"/>
                  </a:cubicBezTo>
                  <a:cubicBezTo>
                    <a:pt x="21285" y="2583"/>
                    <a:pt x="21285" y="2583"/>
                    <a:pt x="21285" y="2583"/>
                  </a:cubicBezTo>
                  <a:cubicBezTo>
                    <a:pt x="21197" y="2700"/>
                    <a:pt x="21197" y="2700"/>
                    <a:pt x="21197" y="2700"/>
                  </a:cubicBezTo>
                  <a:cubicBezTo>
                    <a:pt x="20754" y="3052"/>
                    <a:pt x="20754" y="3052"/>
                    <a:pt x="20754" y="3052"/>
                  </a:cubicBezTo>
                  <a:cubicBezTo>
                    <a:pt x="20754" y="3052"/>
                    <a:pt x="20577" y="3052"/>
                    <a:pt x="20489" y="3170"/>
                  </a:cubicBezTo>
                  <a:cubicBezTo>
                    <a:pt x="20400" y="3170"/>
                    <a:pt x="20223" y="3287"/>
                    <a:pt x="20223" y="3287"/>
                  </a:cubicBezTo>
                  <a:cubicBezTo>
                    <a:pt x="20223" y="3287"/>
                    <a:pt x="20046" y="3522"/>
                    <a:pt x="20046" y="3639"/>
                  </a:cubicBezTo>
                  <a:cubicBezTo>
                    <a:pt x="19958" y="3874"/>
                    <a:pt x="19869" y="4226"/>
                    <a:pt x="19869" y="4226"/>
                  </a:cubicBezTo>
                  <a:cubicBezTo>
                    <a:pt x="19692" y="4813"/>
                    <a:pt x="19692" y="4813"/>
                    <a:pt x="19692" y="4813"/>
                  </a:cubicBezTo>
                  <a:cubicBezTo>
                    <a:pt x="19692" y="5635"/>
                    <a:pt x="19692" y="5635"/>
                    <a:pt x="19692" y="5635"/>
                  </a:cubicBezTo>
                  <a:cubicBezTo>
                    <a:pt x="19869" y="6574"/>
                    <a:pt x="19869" y="6574"/>
                    <a:pt x="19869" y="6574"/>
                  </a:cubicBezTo>
                  <a:cubicBezTo>
                    <a:pt x="20046" y="7630"/>
                    <a:pt x="20046" y="7630"/>
                    <a:pt x="20046" y="7630"/>
                  </a:cubicBezTo>
                  <a:cubicBezTo>
                    <a:pt x="20046" y="7630"/>
                    <a:pt x="19781" y="7983"/>
                    <a:pt x="19692" y="7983"/>
                  </a:cubicBezTo>
                  <a:cubicBezTo>
                    <a:pt x="19692" y="7983"/>
                    <a:pt x="19603" y="8100"/>
                    <a:pt x="19603" y="8100"/>
                  </a:cubicBezTo>
                  <a:cubicBezTo>
                    <a:pt x="19603" y="8335"/>
                    <a:pt x="19603" y="8335"/>
                    <a:pt x="19603" y="8335"/>
                  </a:cubicBezTo>
                  <a:cubicBezTo>
                    <a:pt x="19515" y="8687"/>
                    <a:pt x="19515" y="8687"/>
                    <a:pt x="19515" y="8687"/>
                  </a:cubicBezTo>
                  <a:cubicBezTo>
                    <a:pt x="19426" y="8922"/>
                    <a:pt x="19426" y="8922"/>
                    <a:pt x="19426" y="8922"/>
                  </a:cubicBezTo>
                  <a:cubicBezTo>
                    <a:pt x="19426" y="8922"/>
                    <a:pt x="19338" y="9157"/>
                    <a:pt x="19249" y="9157"/>
                  </a:cubicBezTo>
                  <a:cubicBezTo>
                    <a:pt x="19161" y="9274"/>
                    <a:pt x="18984" y="9509"/>
                    <a:pt x="18984" y="9509"/>
                  </a:cubicBezTo>
                  <a:cubicBezTo>
                    <a:pt x="19072" y="9743"/>
                    <a:pt x="19072" y="9743"/>
                    <a:pt x="19072" y="9743"/>
                  </a:cubicBezTo>
                  <a:cubicBezTo>
                    <a:pt x="20046" y="9978"/>
                    <a:pt x="20046" y="9978"/>
                    <a:pt x="20046" y="9978"/>
                  </a:cubicBezTo>
                  <a:cubicBezTo>
                    <a:pt x="20046" y="10213"/>
                    <a:pt x="20046" y="10213"/>
                    <a:pt x="20046" y="10213"/>
                  </a:cubicBezTo>
                  <a:cubicBezTo>
                    <a:pt x="20489" y="10800"/>
                    <a:pt x="20489" y="10800"/>
                    <a:pt x="20489" y="10800"/>
                  </a:cubicBezTo>
                  <a:cubicBezTo>
                    <a:pt x="20754" y="11387"/>
                    <a:pt x="20754" y="11387"/>
                    <a:pt x="20754" y="11387"/>
                  </a:cubicBezTo>
                  <a:cubicBezTo>
                    <a:pt x="21197" y="11622"/>
                    <a:pt x="21197" y="11622"/>
                    <a:pt x="21197" y="11622"/>
                  </a:cubicBezTo>
                  <a:cubicBezTo>
                    <a:pt x="21197" y="11622"/>
                    <a:pt x="21551" y="11974"/>
                    <a:pt x="21551" y="11974"/>
                  </a:cubicBezTo>
                  <a:cubicBezTo>
                    <a:pt x="21462" y="12091"/>
                    <a:pt x="21020" y="12326"/>
                    <a:pt x="21020" y="12326"/>
                  </a:cubicBezTo>
                  <a:cubicBezTo>
                    <a:pt x="20754" y="12561"/>
                    <a:pt x="20754" y="12561"/>
                    <a:pt x="20754" y="12561"/>
                  </a:cubicBezTo>
                  <a:cubicBezTo>
                    <a:pt x="20754" y="12561"/>
                    <a:pt x="20577" y="12561"/>
                    <a:pt x="20400" y="12678"/>
                  </a:cubicBezTo>
                  <a:cubicBezTo>
                    <a:pt x="20312" y="12796"/>
                    <a:pt x="19781" y="13148"/>
                    <a:pt x="19781" y="13148"/>
                  </a:cubicBezTo>
                  <a:cubicBezTo>
                    <a:pt x="19072" y="12561"/>
                    <a:pt x="19072" y="12561"/>
                    <a:pt x="19072" y="12561"/>
                  </a:cubicBezTo>
                  <a:cubicBezTo>
                    <a:pt x="18630" y="12443"/>
                    <a:pt x="18630" y="12443"/>
                    <a:pt x="18630" y="12443"/>
                  </a:cubicBezTo>
                  <a:cubicBezTo>
                    <a:pt x="18453" y="12796"/>
                    <a:pt x="18453" y="12796"/>
                    <a:pt x="18453" y="12796"/>
                  </a:cubicBezTo>
                  <a:cubicBezTo>
                    <a:pt x="18010" y="12913"/>
                    <a:pt x="18010" y="12913"/>
                    <a:pt x="18010" y="12913"/>
                  </a:cubicBezTo>
                  <a:cubicBezTo>
                    <a:pt x="17744" y="13500"/>
                    <a:pt x="17744" y="13500"/>
                    <a:pt x="17744" y="13500"/>
                  </a:cubicBezTo>
                  <a:cubicBezTo>
                    <a:pt x="17744" y="13500"/>
                    <a:pt x="17125" y="13735"/>
                    <a:pt x="16948" y="13852"/>
                  </a:cubicBezTo>
                  <a:cubicBezTo>
                    <a:pt x="16859" y="13970"/>
                    <a:pt x="16505" y="14322"/>
                    <a:pt x="16505" y="14322"/>
                  </a:cubicBezTo>
                  <a:cubicBezTo>
                    <a:pt x="16594" y="14791"/>
                    <a:pt x="16594" y="14791"/>
                    <a:pt x="16594" y="14791"/>
                  </a:cubicBezTo>
                  <a:cubicBezTo>
                    <a:pt x="16240" y="15143"/>
                    <a:pt x="16240" y="15143"/>
                    <a:pt x="16240" y="15143"/>
                  </a:cubicBezTo>
                  <a:cubicBezTo>
                    <a:pt x="16240" y="15143"/>
                    <a:pt x="15974" y="15261"/>
                    <a:pt x="15885" y="15496"/>
                  </a:cubicBezTo>
                  <a:cubicBezTo>
                    <a:pt x="15885" y="15730"/>
                    <a:pt x="15974" y="15848"/>
                    <a:pt x="15974" y="15848"/>
                  </a:cubicBezTo>
                  <a:cubicBezTo>
                    <a:pt x="15797" y="15848"/>
                    <a:pt x="15531" y="15965"/>
                    <a:pt x="15443" y="16083"/>
                  </a:cubicBezTo>
                  <a:cubicBezTo>
                    <a:pt x="15354" y="16083"/>
                    <a:pt x="15354" y="16317"/>
                    <a:pt x="15443" y="16552"/>
                  </a:cubicBezTo>
                  <a:cubicBezTo>
                    <a:pt x="15443" y="16670"/>
                    <a:pt x="15620" y="16904"/>
                    <a:pt x="15797" y="17257"/>
                  </a:cubicBezTo>
                  <a:cubicBezTo>
                    <a:pt x="15885" y="17609"/>
                    <a:pt x="15974" y="17609"/>
                    <a:pt x="15974" y="17726"/>
                  </a:cubicBezTo>
                  <a:cubicBezTo>
                    <a:pt x="15974" y="17843"/>
                    <a:pt x="15885" y="18196"/>
                    <a:pt x="15797" y="18313"/>
                  </a:cubicBezTo>
                  <a:cubicBezTo>
                    <a:pt x="15620" y="18548"/>
                    <a:pt x="15443" y="18548"/>
                    <a:pt x="15354" y="18548"/>
                  </a:cubicBezTo>
                  <a:cubicBezTo>
                    <a:pt x="15266" y="18665"/>
                    <a:pt x="15000" y="18900"/>
                    <a:pt x="14912" y="18900"/>
                  </a:cubicBezTo>
                  <a:cubicBezTo>
                    <a:pt x="14823" y="19017"/>
                    <a:pt x="14381" y="19135"/>
                    <a:pt x="14292" y="19135"/>
                  </a:cubicBezTo>
                  <a:cubicBezTo>
                    <a:pt x="14203" y="19135"/>
                    <a:pt x="13672" y="19370"/>
                    <a:pt x="13672" y="19370"/>
                  </a:cubicBezTo>
                  <a:cubicBezTo>
                    <a:pt x="13230" y="19604"/>
                    <a:pt x="13230" y="19604"/>
                    <a:pt x="13230" y="19604"/>
                  </a:cubicBezTo>
                  <a:cubicBezTo>
                    <a:pt x="12964" y="19839"/>
                    <a:pt x="12964" y="19839"/>
                    <a:pt x="12964" y="19839"/>
                  </a:cubicBezTo>
                  <a:cubicBezTo>
                    <a:pt x="12256" y="19604"/>
                    <a:pt x="12256" y="19604"/>
                    <a:pt x="12256" y="19604"/>
                  </a:cubicBezTo>
                  <a:cubicBezTo>
                    <a:pt x="11371" y="19252"/>
                    <a:pt x="11371" y="19252"/>
                    <a:pt x="11371" y="19252"/>
                  </a:cubicBezTo>
                  <a:cubicBezTo>
                    <a:pt x="11371" y="19252"/>
                    <a:pt x="10928" y="19722"/>
                    <a:pt x="10840" y="19722"/>
                  </a:cubicBezTo>
                  <a:cubicBezTo>
                    <a:pt x="10751" y="19722"/>
                    <a:pt x="10220" y="19252"/>
                    <a:pt x="10220" y="19252"/>
                  </a:cubicBezTo>
                  <a:cubicBezTo>
                    <a:pt x="9954" y="18665"/>
                    <a:pt x="9954" y="18665"/>
                    <a:pt x="9954" y="18665"/>
                  </a:cubicBezTo>
                  <a:cubicBezTo>
                    <a:pt x="9954" y="18665"/>
                    <a:pt x="9423" y="18783"/>
                    <a:pt x="9335" y="18783"/>
                  </a:cubicBezTo>
                  <a:cubicBezTo>
                    <a:pt x="9246" y="18783"/>
                    <a:pt x="9158" y="19017"/>
                    <a:pt x="9158" y="19135"/>
                  </a:cubicBezTo>
                  <a:cubicBezTo>
                    <a:pt x="9069" y="19135"/>
                    <a:pt x="8892" y="19135"/>
                    <a:pt x="8715" y="19135"/>
                  </a:cubicBezTo>
                  <a:cubicBezTo>
                    <a:pt x="8449" y="19135"/>
                    <a:pt x="8272" y="19370"/>
                    <a:pt x="8272" y="19370"/>
                  </a:cubicBezTo>
                  <a:cubicBezTo>
                    <a:pt x="8095" y="19839"/>
                    <a:pt x="8095" y="19839"/>
                    <a:pt x="8095" y="19839"/>
                  </a:cubicBezTo>
                  <a:cubicBezTo>
                    <a:pt x="8095" y="19839"/>
                    <a:pt x="7653" y="20074"/>
                    <a:pt x="7653" y="20074"/>
                  </a:cubicBezTo>
                  <a:cubicBezTo>
                    <a:pt x="7564" y="20191"/>
                    <a:pt x="6767" y="20543"/>
                    <a:pt x="6767" y="20543"/>
                  </a:cubicBezTo>
                  <a:cubicBezTo>
                    <a:pt x="6148" y="20778"/>
                    <a:pt x="6148" y="20778"/>
                    <a:pt x="6148" y="20778"/>
                  </a:cubicBezTo>
                  <a:cubicBezTo>
                    <a:pt x="6148" y="20778"/>
                    <a:pt x="5971" y="20896"/>
                    <a:pt x="5882" y="20778"/>
                  </a:cubicBezTo>
                  <a:cubicBezTo>
                    <a:pt x="5794" y="20778"/>
                    <a:pt x="5528" y="21130"/>
                    <a:pt x="5528" y="21130"/>
                  </a:cubicBezTo>
                  <a:cubicBezTo>
                    <a:pt x="4997" y="21600"/>
                    <a:pt x="4997" y="21600"/>
                    <a:pt x="4997" y="21600"/>
                  </a:cubicBezTo>
                  <a:cubicBezTo>
                    <a:pt x="4466" y="21600"/>
                    <a:pt x="4466" y="21600"/>
                    <a:pt x="4466" y="21600"/>
                  </a:cubicBezTo>
                  <a:cubicBezTo>
                    <a:pt x="4466" y="21600"/>
                    <a:pt x="4466" y="21483"/>
                    <a:pt x="4466" y="21483"/>
                  </a:cubicBezTo>
                  <a:cubicBezTo>
                    <a:pt x="4466" y="21483"/>
                    <a:pt x="4466" y="21483"/>
                    <a:pt x="4466" y="21483"/>
                  </a:cubicBezTo>
                  <a:cubicBezTo>
                    <a:pt x="4466" y="21365"/>
                    <a:pt x="4466" y="21365"/>
                    <a:pt x="4466" y="21365"/>
                  </a:cubicBezTo>
                  <a:cubicBezTo>
                    <a:pt x="4466" y="21248"/>
                    <a:pt x="4377" y="21130"/>
                    <a:pt x="4377" y="20896"/>
                  </a:cubicBezTo>
                  <a:cubicBezTo>
                    <a:pt x="4289" y="20661"/>
                    <a:pt x="4200" y="20426"/>
                    <a:pt x="4200" y="20191"/>
                  </a:cubicBezTo>
                  <a:cubicBezTo>
                    <a:pt x="4200" y="20074"/>
                    <a:pt x="4289" y="19957"/>
                    <a:pt x="4289" y="19839"/>
                  </a:cubicBezTo>
                  <a:cubicBezTo>
                    <a:pt x="4289" y="19839"/>
                    <a:pt x="4289" y="19839"/>
                    <a:pt x="4289" y="19839"/>
                  </a:cubicBezTo>
                  <a:cubicBezTo>
                    <a:pt x="4377" y="19722"/>
                    <a:pt x="4377" y="19604"/>
                    <a:pt x="4377" y="19370"/>
                  </a:cubicBezTo>
                  <a:cubicBezTo>
                    <a:pt x="4289" y="18900"/>
                    <a:pt x="3935" y="18900"/>
                    <a:pt x="3846" y="18430"/>
                  </a:cubicBezTo>
                  <a:cubicBezTo>
                    <a:pt x="3758" y="18078"/>
                    <a:pt x="3403" y="17726"/>
                    <a:pt x="3403" y="17609"/>
                  </a:cubicBezTo>
                  <a:cubicBezTo>
                    <a:pt x="2784" y="17139"/>
                    <a:pt x="2430" y="17257"/>
                    <a:pt x="2076" y="16787"/>
                  </a:cubicBezTo>
                  <a:cubicBezTo>
                    <a:pt x="1987" y="16670"/>
                    <a:pt x="1899" y="16552"/>
                    <a:pt x="1899" y="16435"/>
                  </a:cubicBezTo>
                  <a:cubicBezTo>
                    <a:pt x="1987" y="16317"/>
                    <a:pt x="1987" y="16317"/>
                    <a:pt x="1987" y="16317"/>
                  </a:cubicBezTo>
                  <a:cubicBezTo>
                    <a:pt x="1987" y="16317"/>
                    <a:pt x="1899" y="16317"/>
                    <a:pt x="1810" y="16200"/>
                  </a:cubicBezTo>
                  <a:cubicBezTo>
                    <a:pt x="1721" y="16083"/>
                    <a:pt x="1633" y="15965"/>
                    <a:pt x="1544" y="15848"/>
                  </a:cubicBezTo>
                  <a:cubicBezTo>
                    <a:pt x="1544" y="15848"/>
                    <a:pt x="1544" y="15848"/>
                    <a:pt x="1544" y="15848"/>
                  </a:cubicBezTo>
                  <a:cubicBezTo>
                    <a:pt x="1633" y="15848"/>
                    <a:pt x="1721" y="15613"/>
                    <a:pt x="1721" y="15613"/>
                  </a:cubicBezTo>
                  <a:cubicBezTo>
                    <a:pt x="1810" y="15261"/>
                    <a:pt x="1810" y="15261"/>
                    <a:pt x="1810" y="15261"/>
                  </a:cubicBezTo>
                  <a:cubicBezTo>
                    <a:pt x="1899" y="15026"/>
                    <a:pt x="1899" y="15026"/>
                    <a:pt x="1899" y="15026"/>
                  </a:cubicBezTo>
                  <a:cubicBezTo>
                    <a:pt x="1899" y="15026"/>
                    <a:pt x="1810" y="14674"/>
                    <a:pt x="1721" y="14674"/>
                  </a:cubicBezTo>
                  <a:cubicBezTo>
                    <a:pt x="1721" y="14557"/>
                    <a:pt x="1456" y="14439"/>
                    <a:pt x="1456" y="14439"/>
                  </a:cubicBezTo>
                  <a:cubicBezTo>
                    <a:pt x="1456" y="13852"/>
                    <a:pt x="1456" y="13852"/>
                    <a:pt x="1456" y="13852"/>
                  </a:cubicBezTo>
                  <a:cubicBezTo>
                    <a:pt x="1367" y="13265"/>
                    <a:pt x="1367" y="13265"/>
                    <a:pt x="1367" y="13265"/>
                  </a:cubicBezTo>
                  <a:cubicBezTo>
                    <a:pt x="1190" y="12913"/>
                    <a:pt x="1190" y="12913"/>
                    <a:pt x="1190" y="12913"/>
                  </a:cubicBezTo>
                  <a:cubicBezTo>
                    <a:pt x="1190" y="12913"/>
                    <a:pt x="1367" y="12678"/>
                    <a:pt x="1456" y="12561"/>
                  </a:cubicBezTo>
                  <a:cubicBezTo>
                    <a:pt x="1456" y="12561"/>
                    <a:pt x="1544" y="12443"/>
                    <a:pt x="1633" y="12443"/>
                  </a:cubicBezTo>
                  <a:cubicBezTo>
                    <a:pt x="1721" y="12326"/>
                    <a:pt x="1899" y="12326"/>
                    <a:pt x="1987" y="12326"/>
                  </a:cubicBezTo>
                  <a:cubicBezTo>
                    <a:pt x="2076" y="12326"/>
                    <a:pt x="2253" y="12091"/>
                    <a:pt x="2253" y="12091"/>
                  </a:cubicBezTo>
                  <a:cubicBezTo>
                    <a:pt x="2253" y="12091"/>
                    <a:pt x="2253" y="11739"/>
                    <a:pt x="2164" y="11622"/>
                  </a:cubicBezTo>
                  <a:cubicBezTo>
                    <a:pt x="2164" y="11387"/>
                    <a:pt x="2341" y="11152"/>
                    <a:pt x="2341" y="11152"/>
                  </a:cubicBezTo>
                  <a:cubicBezTo>
                    <a:pt x="2341" y="11152"/>
                    <a:pt x="2607" y="10683"/>
                    <a:pt x="2695" y="10565"/>
                  </a:cubicBezTo>
                  <a:cubicBezTo>
                    <a:pt x="2784" y="10448"/>
                    <a:pt x="2872" y="9861"/>
                    <a:pt x="2872" y="9861"/>
                  </a:cubicBezTo>
                  <a:cubicBezTo>
                    <a:pt x="2518" y="9861"/>
                    <a:pt x="2518" y="9861"/>
                    <a:pt x="2518" y="9861"/>
                  </a:cubicBezTo>
                  <a:cubicBezTo>
                    <a:pt x="2164" y="9743"/>
                    <a:pt x="2164" y="9743"/>
                    <a:pt x="2164" y="9743"/>
                  </a:cubicBezTo>
                  <a:cubicBezTo>
                    <a:pt x="2164" y="9743"/>
                    <a:pt x="1810" y="9039"/>
                    <a:pt x="1810" y="9039"/>
                  </a:cubicBezTo>
                  <a:cubicBezTo>
                    <a:pt x="1810" y="8922"/>
                    <a:pt x="1633" y="8922"/>
                    <a:pt x="1633" y="8922"/>
                  </a:cubicBezTo>
                  <a:cubicBezTo>
                    <a:pt x="1633" y="8922"/>
                    <a:pt x="1279" y="8687"/>
                    <a:pt x="1279" y="8687"/>
                  </a:cubicBezTo>
                  <a:cubicBezTo>
                    <a:pt x="1190" y="8687"/>
                    <a:pt x="925" y="8570"/>
                    <a:pt x="925" y="8570"/>
                  </a:cubicBezTo>
                  <a:cubicBezTo>
                    <a:pt x="925" y="8570"/>
                    <a:pt x="571" y="7983"/>
                    <a:pt x="482" y="7748"/>
                  </a:cubicBezTo>
                  <a:cubicBezTo>
                    <a:pt x="394" y="7513"/>
                    <a:pt x="305" y="7396"/>
                    <a:pt x="305" y="7396"/>
                  </a:cubicBezTo>
                  <a:cubicBezTo>
                    <a:pt x="305" y="7396"/>
                    <a:pt x="217" y="7161"/>
                    <a:pt x="128" y="7043"/>
                  </a:cubicBezTo>
                  <a:cubicBezTo>
                    <a:pt x="40" y="6926"/>
                    <a:pt x="40" y="6691"/>
                    <a:pt x="40" y="6691"/>
                  </a:cubicBezTo>
                  <a:cubicBezTo>
                    <a:pt x="40" y="6691"/>
                    <a:pt x="128" y="6339"/>
                    <a:pt x="40" y="6104"/>
                  </a:cubicBezTo>
                  <a:cubicBezTo>
                    <a:pt x="40" y="5987"/>
                    <a:pt x="-49" y="5517"/>
                    <a:pt x="40" y="5517"/>
                  </a:cubicBezTo>
                  <a:cubicBezTo>
                    <a:pt x="128" y="5283"/>
                    <a:pt x="217" y="5048"/>
                    <a:pt x="394" y="4930"/>
                  </a:cubicBezTo>
                  <a:cubicBezTo>
                    <a:pt x="482" y="4930"/>
                    <a:pt x="482" y="4930"/>
                    <a:pt x="571" y="4930"/>
                  </a:cubicBezTo>
                  <a:cubicBezTo>
                    <a:pt x="659" y="4930"/>
                    <a:pt x="571" y="4578"/>
                    <a:pt x="571" y="4578"/>
                  </a:cubicBezTo>
                  <a:lnTo>
                    <a:pt x="571" y="446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6" name="Shape 2249">
              <a:extLst>
                <a:ext uri="{FF2B5EF4-FFF2-40B4-BE49-F238E27FC236}">
                  <a16:creationId xmlns:a16="http://schemas.microsoft.com/office/drawing/2014/main" id="{107577BE-1487-3448-DE1F-25966951CFCC}"/>
                </a:ext>
              </a:extLst>
            </p:cNvPr>
            <p:cNvSpPr/>
            <p:nvPr/>
          </p:nvSpPr>
          <p:spPr>
            <a:xfrm>
              <a:off x="9462705" y="5706943"/>
              <a:ext cx="1125425" cy="892374"/>
            </a:xfrm>
            <a:custGeom>
              <a:avLst/>
              <a:gdLst/>
              <a:ahLst/>
              <a:cxnLst>
                <a:cxn ang="0">
                  <a:pos x="wd2" y="hd2"/>
                </a:cxn>
                <a:cxn ang="5400000">
                  <a:pos x="wd2" y="hd2"/>
                </a:cxn>
                <a:cxn ang="10800000">
                  <a:pos x="wd2" y="hd2"/>
                </a:cxn>
                <a:cxn ang="16200000">
                  <a:pos x="wd2" y="hd2"/>
                </a:cxn>
              </a:cxnLst>
              <a:rect l="0" t="0" r="r" b="b"/>
              <a:pathLst>
                <a:path w="21600" h="21600" extrusionOk="0">
                  <a:moveTo>
                    <a:pt x="0" y="7265"/>
                  </a:moveTo>
                  <a:cubicBezTo>
                    <a:pt x="79" y="7265"/>
                    <a:pt x="237" y="7168"/>
                    <a:pt x="316" y="7168"/>
                  </a:cubicBezTo>
                  <a:cubicBezTo>
                    <a:pt x="316" y="7071"/>
                    <a:pt x="396" y="7071"/>
                    <a:pt x="396" y="6974"/>
                  </a:cubicBezTo>
                  <a:cubicBezTo>
                    <a:pt x="396" y="6974"/>
                    <a:pt x="158" y="6877"/>
                    <a:pt x="79" y="6683"/>
                  </a:cubicBezTo>
                  <a:cubicBezTo>
                    <a:pt x="79" y="6683"/>
                    <a:pt x="237" y="6587"/>
                    <a:pt x="237" y="6587"/>
                  </a:cubicBezTo>
                  <a:cubicBezTo>
                    <a:pt x="237" y="6587"/>
                    <a:pt x="712" y="6683"/>
                    <a:pt x="870" y="6683"/>
                  </a:cubicBezTo>
                  <a:cubicBezTo>
                    <a:pt x="1029" y="6683"/>
                    <a:pt x="1582" y="6490"/>
                    <a:pt x="1582" y="6490"/>
                  </a:cubicBezTo>
                  <a:cubicBezTo>
                    <a:pt x="1741" y="6877"/>
                    <a:pt x="1741" y="6877"/>
                    <a:pt x="1741" y="6877"/>
                  </a:cubicBezTo>
                  <a:cubicBezTo>
                    <a:pt x="1741" y="6877"/>
                    <a:pt x="2611" y="6877"/>
                    <a:pt x="2927" y="6974"/>
                  </a:cubicBezTo>
                  <a:cubicBezTo>
                    <a:pt x="3086" y="7071"/>
                    <a:pt x="3086" y="6974"/>
                    <a:pt x="3244" y="6877"/>
                  </a:cubicBezTo>
                  <a:cubicBezTo>
                    <a:pt x="3323" y="6780"/>
                    <a:pt x="3481" y="6683"/>
                    <a:pt x="3560" y="6780"/>
                  </a:cubicBezTo>
                  <a:cubicBezTo>
                    <a:pt x="3640" y="6780"/>
                    <a:pt x="3640" y="6780"/>
                    <a:pt x="3798" y="6877"/>
                  </a:cubicBezTo>
                  <a:cubicBezTo>
                    <a:pt x="3956" y="6974"/>
                    <a:pt x="4193" y="7071"/>
                    <a:pt x="4352" y="7071"/>
                  </a:cubicBezTo>
                  <a:cubicBezTo>
                    <a:pt x="4668" y="7071"/>
                    <a:pt x="4668" y="7071"/>
                    <a:pt x="4668" y="7071"/>
                  </a:cubicBezTo>
                  <a:cubicBezTo>
                    <a:pt x="4747" y="6780"/>
                    <a:pt x="4747" y="6780"/>
                    <a:pt x="4747" y="6780"/>
                  </a:cubicBezTo>
                  <a:cubicBezTo>
                    <a:pt x="4905" y="6974"/>
                    <a:pt x="4589" y="5715"/>
                    <a:pt x="4747" y="5715"/>
                  </a:cubicBezTo>
                  <a:cubicBezTo>
                    <a:pt x="4985" y="5618"/>
                    <a:pt x="5064" y="5909"/>
                    <a:pt x="5380" y="5812"/>
                  </a:cubicBezTo>
                  <a:cubicBezTo>
                    <a:pt x="5697" y="5618"/>
                    <a:pt x="6171" y="6393"/>
                    <a:pt x="6251" y="6005"/>
                  </a:cubicBezTo>
                  <a:cubicBezTo>
                    <a:pt x="6330" y="5715"/>
                    <a:pt x="6804" y="6102"/>
                    <a:pt x="6409" y="5715"/>
                  </a:cubicBezTo>
                  <a:cubicBezTo>
                    <a:pt x="5934" y="5230"/>
                    <a:pt x="6092" y="5327"/>
                    <a:pt x="5776" y="5230"/>
                  </a:cubicBezTo>
                  <a:cubicBezTo>
                    <a:pt x="5459" y="5037"/>
                    <a:pt x="5222" y="4940"/>
                    <a:pt x="5064" y="4843"/>
                  </a:cubicBezTo>
                  <a:cubicBezTo>
                    <a:pt x="4905" y="4843"/>
                    <a:pt x="4985" y="4843"/>
                    <a:pt x="4747" y="4649"/>
                  </a:cubicBezTo>
                  <a:cubicBezTo>
                    <a:pt x="4510" y="4456"/>
                    <a:pt x="4273" y="4262"/>
                    <a:pt x="4273" y="4262"/>
                  </a:cubicBezTo>
                  <a:cubicBezTo>
                    <a:pt x="4273" y="4262"/>
                    <a:pt x="4035" y="4165"/>
                    <a:pt x="4035" y="3971"/>
                  </a:cubicBezTo>
                  <a:cubicBezTo>
                    <a:pt x="3956" y="3778"/>
                    <a:pt x="3877" y="3487"/>
                    <a:pt x="3877" y="3487"/>
                  </a:cubicBezTo>
                  <a:cubicBezTo>
                    <a:pt x="4273" y="3100"/>
                    <a:pt x="4273" y="3100"/>
                    <a:pt x="4273" y="3100"/>
                  </a:cubicBezTo>
                  <a:cubicBezTo>
                    <a:pt x="4510" y="2422"/>
                    <a:pt x="4510" y="2422"/>
                    <a:pt x="4510" y="2422"/>
                  </a:cubicBezTo>
                  <a:cubicBezTo>
                    <a:pt x="4510" y="2422"/>
                    <a:pt x="4273" y="2228"/>
                    <a:pt x="4668" y="2228"/>
                  </a:cubicBezTo>
                  <a:cubicBezTo>
                    <a:pt x="4985" y="2228"/>
                    <a:pt x="4985" y="2228"/>
                    <a:pt x="4985" y="2228"/>
                  </a:cubicBezTo>
                  <a:cubicBezTo>
                    <a:pt x="4985" y="2228"/>
                    <a:pt x="5064" y="2809"/>
                    <a:pt x="5143" y="2712"/>
                  </a:cubicBezTo>
                  <a:cubicBezTo>
                    <a:pt x="5301" y="2712"/>
                    <a:pt x="5380" y="2518"/>
                    <a:pt x="5459" y="2422"/>
                  </a:cubicBezTo>
                  <a:cubicBezTo>
                    <a:pt x="5538" y="2325"/>
                    <a:pt x="5776" y="2034"/>
                    <a:pt x="5855" y="2131"/>
                  </a:cubicBezTo>
                  <a:cubicBezTo>
                    <a:pt x="5855" y="2325"/>
                    <a:pt x="5618" y="2615"/>
                    <a:pt x="5934" y="2615"/>
                  </a:cubicBezTo>
                  <a:cubicBezTo>
                    <a:pt x="6251" y="2615"/>
                    <a:pt x="6171" y="2809"/>
                    <a:pt x="6409" y="2906"/>
                  </a:cubicBezTo>
                  <a:cubicBezTo>
                    <a:pt x="6646" y="2906"/>
                    <a:pt x="6884" y="3100"/>
                    <a:pt x="6884" y="3196"/>
                  </a:cubicBezTo>
                  <a:cubicBezTo>
                    <a:pt x="6884" y="3293"/>
                    <a:pt x="6884" y="3390"/>
                    <a:pt x="6963" y="3487"/>
                  </a:cubicBezTo>
                  <a:cubicBezTo>
                    <a:pt x="7121" y="3584"/>
                    <a:pt x="7200" y="3487"/>
                    <a:pt x="7358" y="3487"/>
                  </a:cubicBezTo>
                  <a:cubicBezTo>
                    <a:pt x="7516" y="3487"/>
                    <a:pt x="7516" y="3293"/>
                    <a:pt x="7596" y="3487"/>
                  </a:cubicBezTo>
                  <a:cubicBezTo>
                    <a:pt x="7596" y="3681"/>
                    <a:pt x="7675" y="3778"/>
                    <a:pt x="7675" y="3778"/>
                  </a:cubicBezTo>
                  <a:cubicBezTo>
                    <a:pt x="7991" y="4262"/>
                    <a:pt x="7991" y="4262"/>
                    <a:pt x="7991" y="4262"/>
                  </a:cubicBezTo>
                  <a:cubicBezTo>
                    <a:pt x="8308" y="4649"/>
                    <a:pt x="8308" y="4649"/>
                    <a:pt x="8308" y="4649"/>
                  </a:cubicBezTo>
                  <a:cubicBezTo>
                    <a:pt x="8308" y="4649"/>
                    <a:pt x="8070" y="4649"/>
                    <a:pt x="8387" y="4843"/>
                  </a:cubicBezTo>
                  <a:cubicBezTo>
                    <a:pt x="8703" y="4940"/>
                    <a:pt x="8941" y="4940"/>
                    <a:pt x="8941" y="4940"/>
                  </a:cubicBezTo>
                  <a:cubicBezTo>
                    <a:pt x="8941" y="4940"/>
                    <a:pt x="8941" y="4940"/>
                    <a:pt x="9257" y="5037"/>
                  </a:cubicBezTo>
                  <a:cubicBezTo>
                    <a:pt x="9574" y="5134"/>
                    <a:pt x="9811" y="5327"/>
                    <a:pt x="10127" y="5230"/>
                  </a:cubicBezTo>
                  <a:cubicBezTo>
                    <a:pt x="10523" y="5230"/>
                    <a:pt x="10840" y="4746"/>
                    <a:pt x="10840" y="4746"/>
                  </a:cubicBezTo>
                  <a:cubicBezTo>
                    <a:pt x="10840" y="4746"/>
                    <a:pt x="10998" y="4456"/>
                    <a:pt x="10919" y="4262"/>
                  </a:cubicBezTo>
                  <a:cubicBezTo>
                    <a:pt x="10919" y="4068"/>
                    <a:pt x="11077" y="3681"/>
                    <a:pt x="11235" y="3584"/>
                  </a:cubicBezTo>
                  <a:cubicBezTo>
                    <a:pt x="11393" y="3487"/>
                    <a:pt x="11156" y="3390"/>
                    <a:pt x="11235" y="3196"/>
                  </a:cubicBezTo>
                  <a:cubicBezTo>
                    <a:pt x="11314" y="3100"/>
                    <a:pt x="11393" y="3003"/>
                    <a:pt x="11473" y="2906"/>
                  </a:cubicBezTo>
                  <a:cubicBezTo>
                    <a:pt x="11631" y="2809"/>
                    <a:pt x="12105" y="2228"/>
                    <a:pt x="12105" y="2228"/>
                  </a:cubicBezTo>
                  <a:cubicBezTo>
                    <a:pt x="12264" y="1743"/>
                    <a:pt x="12264" y="1743"/>
                    <a:pt x="12264" y="1743"/>
                  </a:cubicBezTo>
                  <a:cubicBezTo>
                    <a:pt x="12264" y="1743"/>
                    <a:pt x="12264" y="1162"/>
                    <a:pt x="12343" y="1065"/>
                  </a:cubicBezTo>
                  <a:cubicBezTo>
                    <a:pt x="12422" y="969"/>
                    <a:pt x="12659" y="194"/>
                    <a:pt x="12659" y="194"/>
                  </a:cubicBezTo>
                  <a:cubicBezTo>
                    <a:pt x="12738" y="0"/>
                    <a:pt x="12738" y="0"/>
                    <a:pt x="12738" y="0"/>
                  </a:cubicBezTo>
                  <a:cubicBezTo>
                    <a:pt x="12738" y="0"/>
                    <a:pt x="14321" y="1743"/>
                    <a:pt x="14400" y="1743"/>
                  </a:cubicBezTo>
                  <a:cubicBezTo>
                    <a:pt x="14479" y="1743"/>
                    <a:pt x="15112" y="2228"/>
                    <a:pt x="15191" y="2422"/>
                  </a:cubicBezTo>
                  <a:cubicBezTo>
                    <a:pt x="15270" y="2518"/>
                    <a:pt x="15745" y="3293"/>
                    <a:pt x="15745" y="3293"/>
                  </a:cubicBezTo>
                  <a:cubicBezTo>
                    <a:pt x="15824" y="3681"/>
                    <a:pt x="15824" y="3681"/>
                    <a:pt x="15824" y="3681"/>
                  </a:cubicBezTo>
                  <a:cubicBezTo>
                    <a:pt x="15824" y="3681"/>
                    <a:pt x="15824" y="3971"/>
                    <a:pt x="15982" y="4165"/>
                  </a:cubicBezTo>
                  <a:cubicBezTo>
                    <a:pt x="16141" y="4262"/>
                    <a:pt x="16457" y="4649"/>
                    <a:pt x="16615" y="4746"/>
                  </a:cubicBezTo>
                  <a:cubicBezTo>
                    <a:pt x="16774" y="4746"/>
                    <a:pt x="17407" y="5230"/>
                    <a:pt x="17407" y="5230"/>
                  </a:cubicBezTo>
                  <a:cubicBezTo>
                    <a:pt x="17407" y="5230"/>
                    <a:pt x="17486" y="4940"/>
                    <a:pt x="17565" y="5134"/>
                  </a:cubicBezTo>
                  <a:cubicBezTo>
                    <a:pt x="17644" y="5327"/>
                    <a:pt x="17723" y="5618"/>
                    <a:pt x="17723" y="5715"/>
                  </a:cubicBezTo>
                  <a:cubicBezTo>
                    <a:pt x="17723" y="5812"/>
                    <a:pt x="17802" y="6199"/>
                    <a:pt x="17960" y="6102"/>
                  </a:cubicBezTo>
                  <a:cubicBezTo>
                    <a:pt x="18119" y="6102"/>
                    <a:pt x="18593" y="6102"/>
                    <a:pt x="18593" y="6102"/>
                  </a:cubicBezTo>
                  <a:cubicBezTo>
                    <a:pt x="18593" y="6102"/>
                    <a:pt x="18673" y="6296"/>
                    <a:pt x="18910" y="6296"/>
                  </a:cubicBezTo>
                  <a:cubicBezTo>
                    <a:pt x="19147" y="6296"/>
                    <a:pt x="19226" y="6199"/>
                    <a:pt x="19385" y="6102"/>
                  </a:cubicBezTo>
                  <a:cubicBezTo>
                    <a:pt x="19464" y="6102"/>
                    <a:pt x="20097" y="6005"/>
                    <a:pt x="20097" y="6005"/>
                  </a:cubicBezTo>
                  <a:cubicBezTo>
                    <a:pt x="20571" y="6296"/>
                    <a:pt x="20571" y="6296"/>
                    <a:pt x="20571" y="6296"/>
                  </a:cubicBezTo>
                  <a:cubicBezTo>
                    <a:pt x="21046" y="6490"/>
                    <a:pt x="21046" y="6490"/>
                    <a:pt x="21046" y="6490"/>
                  </a:cubicBezTo>
                  <a:cubicBezTo>
                    <a:pt x="21442" y="6974"/>
                    <a:pt x="21442" y="6974"/>
                    <a:pt x="21442" y="6974"/>
                  </a:cubicBezTo>
                  <a:cubicBezTo>
                    <a:pt x="21600" y="7361"/>
                    <a:pt x="21600" y="7361"/>
                    <a:pt x="21600" y="7361"/>
                  </a:cubicBezTo>
                  <a:cubicBezTo>
                    <a:pt x="21600" y="7361"/>
                    <a:pt x="21125" y="6877"/>
                    <a:pt x="21046" y="6877"/>
                  </a:cubicBezTo>
                  <a:cubicBezTo>
                    <a:pt x="20967" y="6974"/>
                    <a:pt x="20809" y="6974"/>
                    <a:pt x="20730" y="6974"/>
                  </a:cubicBezTo>
                  <a:cubicBezTo>
                    <a:pt x="20571" y="7071"/>
                    <a:pt x="20176" y="7168"/>
                    <a:pt x="20176" y="7168"/>
                  </a:cubicBezTo>
                  <a:cubicBezTo>
                    <a:pt x="19938" y="7361"/>
                    <a:pt x="19938" y="7361"/>
                    <a:pt x="19938" y="7361"/>
                  </a:cubicBezTo>
                  <a:cubicBezTo>
                    <a:pt x="19622" y="7361"/>
                    <a:pt x="19622" y="7361"/>
                    <a:pt x="19622" y="7361"/>
                  </a:cubicBezTo>
                  <a:cubicBezTo>
                    <a:pt x="19385" y="7846"/>
                    <a:pt x="19385" y="7846"/>
                    <a:pt x="19385" y="7846"/>
                  </a:cubicBezTo>
                  <a:cubicBezTo>
                    <a:pt x="18989" y="8233"/>
                    <a:pt x="18989" y="8233"/>
                    <a:pt x="18989" y="8233"/>
                  </a:cubicBezTo>
                  <a:cubicBezTo>
                    <a:pt x="18514" y="8717"/>
                    <a:pt x="18514" y="8717"/>
                    <a:pt x="18514" y="8717"/>
                  </a:cubicBezTo>
                  <a:cubicBezTo>
                    <a:pt x="18277" y="9396"/>
                    <a:pt x="18277" y="9396"/>
                    <a:pt x="18277" y="9396"/>
                  </a:cubicBezTo>
                  <a:cubicBezTo>
                    <a:pt x="18277" y="9396"/>
                    <a:pt x="18593" y="9686"/>
                    <a:pt x="18514" y="9686"/>
                  </a:cubicBezTo>
                  <a:cubicBezTo>
                    <a:pt x="18435" y="9783"/>
                    <a:pt x="18277" y="9977"/>
                    <a:pt x="18277" y="9977"/>
                  </a:cubicBezTo>
                  <a:cubicBezTo>
                    <a:pt x="18435" y="10267"/>
                    <a:pt x="18435" y="10267"/>
                    <a:pt x="18435" y="10267"/>
                  </a:cubicBezTo>
                  <a:cubicBezTo>
                    <a:pt x="18356" y="10655"/>
                    <a:pt x="18356" y="10655"/>
                    <a:pt x="18356" y="10655"/>
                  </a:cubicBezTo>
                  <a:cubicBezTo>
                    <a:pt x="18673" y="11042"/>
                    <a:pt x="18673" y="11042"/>
                    <a:pt x="18673" y="11042"/>
                  </a:cubicBezTo>
                  <a:cubicBezTo>
                    <a:pt x="18593" y="11333"/>
                    <a:pt x="18593" y="11333"/>
                    <a:pt x="18593" y="11333"/>
                  </a:cubicBezTo>
                  <a:cubicBezTo>
                    <a:pt x="18673" y="11720"/>
                    <a:pt x="18673" y="11720"/>
                    <a:pt x="18673" y="11720"/>
                  </a:cubicBezTo>
                  <a:cubicBezTo>
                    <a:pt x="18673" y="11720"/>
                    <a:pt x="18989" y="11720"/>
                    <a:pt x="18673" y="12108"/>
                  </a:cubicBezTo>
                  <a:cubicBezTo>
                    <a:pt x="18435" y="12398"/>
                    <a:pt x="18356" y="12495"/>
                    <a:pt x="18356" y="12592"/>
                  </a:cubicBezTo>
                  <a:cubicBezTo>
                    <a:pt x="18435" y="12786"/>
                    <a:pt x="18514" y="13173"/>
                    <a:pt x="18514" y="13173"/>
                  </a:cubicBezTo>
                  <a:cubicBezTo>
                    <a:pt x="18514" y="13173"/>
                    <a:pt x="18435" y="13464"/>
                    <a:pt x="18593" y="13657"/>
                  </a:cubicBezTo>
                  <a:cubicBezTo>
                    <a:pt x="18673" y="13754"/>
                    <a:pt x="19068" y="13948"/>
                    <a:pt x="19068" y="13948"/>
                  </a:cubicBezTo>
                  <a:cubicBezTo>
                    <a:pt x="19068" y="13948"/>
                    <a:pt x="19226" y="14239"/>
                    <a:pt x="19226" y="14335"/>
                  </a:cubicBezTo>
                  <a:cubicBezTo>
                    <a:pt x="19147" y="14432"/>
                    <a:pt x="18673" y="14529"/>
                    <a:pt x="18673" y="14529"/>
                  </a:cubicBezTo>
                  <a:cubicBezTo>
                    <a:pt x="18673" y="14529"/>
                    <a:pt x="18673" y="14820"/>
                    <a:pt x="18673" y="14917"/>
                  </a:cubicBezTo>
                  <a:cubicBezTo>
                    <a:pt x="18673" y="15013"/>
                    <a:pt x="18752" y="15498"/>
                    <a:pt x="18752" y="15498"/>
                  </a:cubicBezTo>
                  <a:cubicBezTo>
                    <a:pt x="18910" y="16079"/>
                    <a:pt x="18910" y="16079"/>
                    <a:pt x="18910" y="16079"/>
                  </a:cubicBezTo>
                  <a:cubicBezTo>
                    <a:pt x="18910" y="16079"/>
                    <a:pt x="18910" y="16466"/>
                    <a:pt x="18752" y="16660"/>
                  </a:cubicBezTo>
                  <a:cubicBezTo>
                    <a:pt x="18514" y="16854"/>
                    <a:pt x="18435" y="16951"/>
                    <a:pt x="18277" y="16757"/>
                  </a:cubicBezTo>
                  <a:cubicBezTo>
                    <a:pt x="18593" y="16370"/>
                    <a:pt x="18593" y="16370"/>
                    <a:pt x="18593" y="16370"/>
                  </a:cubicBezTo>
                  <a:cubicBezTo>
                    <a:pt x="18514" y="15982"/>
                    <a:pt x="18514" y="15982"/>
                    <a:pt x="18514" y="15982"/>
                  </a:cubicBezTo>
                  <a:cubicBezTo>
                    <a:pt x="18277" y="16079"/>
                    <a:pt x="18277" y="16079"/>
                    <a:pt x="18277" y="16079"/>
                  </a:cubicBezTo>
                  <a:cubicBezTo>
                    <a:pt x="18119" y="15595"/>
                    <a:pt x="18119" y="15595"/>
                    <a:pt x="18119" y="15595"/>
                  </a:cubicBezTo>
                  <a:cubicBezTo>
                    <a:pt x="17802" y="15691"/>
                    <a:pt x="17802" y="15691"/>
                    <a:pt x="17802" y="15691"/>
                  </a:cubicBezTo>
                  <a:cubicBezTo>
                    <a:pt x="17644" y="16273"/>
                    <a:pt x="17644" y="16273"/>
                    <a:pt x="17644" y="16273"/>
                  </a:cubicBezTo>
                  <a:cubicBezTo>
                    <a:pt x="17802" y="16854"/>
                    <a:pt x="17802" y="16854"/>
                    <a:pt x="17802" y="16854"/>
                  </a:cubicBezTo>
                  <a:cubicBezTo>
                    <a:pt x="17881" y="17144"/>
                    <a:pt x="17881" y="17144"/>
                    <a:pt x="17881" y="17144"/>
                  </a:cubicBezTo>
                  <a:cubicBezTo>
                    <a:pt x="17881" y="17144"/>
                    <a:pt x="17723" y="17144"/>
                    <a:pt x="17644" y="17241"/>
                  </a:cubicBezTo>
                  <a:cubicBezTo>
                    <a:pt x="17644" y="17241"/>
                    <a:pt x="17486" y="17338"/>
                    <a:pt x="17565" y="17435"/>
                  </a:cubicBezTo>
                  <a:cubicBezTo>
                    <a:pt x="17644" y="17532"/>
                    <a:pt x="17723" y="17726"/>
                    <a:pt x="17723" y="17726"/>
                  </a:cubicBezTo>
                  <a:cubicBezTo>
                    <a:pt x="17723" y="17822"/>
                    <a:pt x="17802" y="18210"/>
                    <a:pt x="17802" y="18210"/>
                  </a:cubicBezTo>
                  <a:cubicBezTo>
                    <a:pt x="17960" y="18597"/>
                    <a:pt x="17960" y="18597"/>
                    <a:pt x="17960" y="18597"/>
                  </a:cubicBezTo>
                  <a:cubicBezTo>
                    <a:pt x="17960" y="18597"/>
                    <a:pt x="18198" y="19372"/>
                    <a:pt x="18198" y="19469"/>
                  </a:cubicBezTo>
                  <a:cubicBezTo>
                    <a:pt x="18198" y="19469"/>
                    <a:pt x="18356" y="20244"/>
                    <a:pt x="18356" y="20244"/>
                  </a:cubicBezTo>
                  <a:cubicBezTo>
                    <a:pt x="18356" y="20244"/>
                    <a:pt x="17960" y="20728"/>
                    <a:pt x="17881" y="20825"/>
                  </a:cubicBezTo>
                  <a:cubicBezTo>
                    <a:pt x="17723" y="20922"/>
                    <a:pt x="17723" y="21116"/>
                    <a:pt x="17644" y="21019"/>
                  </a:cubicBezTo>
                  <a:cubicBezTo>
                    <a:pt x="17565" y="20922"/>
                    <a:pt x="17407" y="20728"/>
                    <a:pt x="17248" y="20631"/>
                  </a:cubicBezTo>
                  <a:cubicBezTo>
                    <a:pt x="17169" y="20535"/>
                    <a:pt x="16774" y="20147"/>
                    <a:pt x="16695" y="20050"/>
                  </a:cubicBezTo>
                  <a:cubicBezTo>
                    <a:pt x="16615" y="19953"/>
                    <a:pt x="16457" y="19857"/>
                    <a:pt x="16457" y="19857"/>
                  </a:cubicBezTo>
                  <a:cubicBezTo>
                    <a:pt x="16457" y="19857"/>
                    <a:pt x="16378" y="20050"/>
                    <a:pt x="16299" y="20050"/>
                  </a:cubicBezTo>
                  <a:cubicBezTo>
                    <a:pt x="16220" y="20050"/>
                    <a:pt x="16062" y="19953"/>
                    <a:pt x="16062" y="19953"/>
                  </a:cubicBezTo>
                  <a:cubicBezTo>
                    <a:pt x="15982" y="19953"/>
                    <a:pt x="15824" y="19857"/>
                    <a:pt x="15745" y="19760"/>
                  </a:cubicBezTo>
                  <a:cubicBezTo>
                    <a:pt x="15587" y="19566"/>
                    <a:pt x="15508" y="19372"/>
                    <a:pt x="15429" y="19372"/>
                  </a:cubicBezTo>
                  <a:cubicBezTo>
                    <a:pt x="15429" y="19372"/>
                    <a:pt x="15429" y="19275"/>
                    <a:pt x="15112" y="19275"/>
                  </a:cubicBezTo>
                  <a:cubicBezTo>
                    <a:pt x="14796" y="19372"/>
                    <a:pt x="14163" y="19372"/>
                    <a:pt x="14558" y="18791"/>
                  </a:cubicBezTo>
                  <a:cubicBezTo>
                    <a:pt x="14637" y="18597"/>
                    <a:pt x="14479" y="18307"/>
                    <a:pt x="14954" y="18016"/>
                  </a:cubicBezTo>
                  <a:cubicBezTo>
                    <a:pt x="14954" y="18016"/>
                    <a:pt x="15349" y="17822"/>
                    <a:pt x="15429" y="17629"/>
                  </a:cubicBezTo>
                  <a:cubicBezTo>
                    <a:pt x="15587" y="17435"/>
                    <a:pt x="15270" y="17144"/>
                    <a:pt x="15270" y="17144"/>
                  </a:cubicBezTo>
                  <a:cubicBezTo>
                    <a:pt x="15191" y="17144"/>
                    <a:pt x="15112" y="17144"/>
                    <a:pt x="14954" y="17048"/>
                  </a:cubicBezTo>
                  <a:cubicBezTo>
                    <a:pt x="14875" y="17048"/>
                    <a:pt x="14479" y="16757"/>
                    <a:pt x="14479" y="16660"/>
                  </a:cubicBezTo>
                  <a:cubicBezTo>
                    <a:pt x="14400" y="16466"/>
                    <a:pt x="14400" y="16370"/>
                    <a:pt x="14479" y="15982"/>
                  </a:cubicBezTo>
                  <a:cubicBezTo>
                    <a:pt x="14558" y="15595"/>
                    <a:pt x="14637" y="15788"/>
                    <a:pt x="14796" y="15595"/>
                  </a:cubicBezTo>
                  <a:cubicBezTo>
                    <a:pt x="15033" y="15304"/>
                    <a:pt x="15191" y="15110"/>
                    <a:pt x="14954" y="14917"/>
                  </a:cubicBezTo>
                  <a:cubicBezTo>
                    <a:pt x="14716" y="14820"/>
                    <a:pt x="14637" y="14917"/>
                    <a:pt x="14163" y="14529"/>
                  </a:cubicBezTo>
                  <a:cubicBezTo>
                    <a:pt x="13688" y="14142"/>
                    <a:pt x="13530" y="13948"/>
                    <a:pt x="13451" y="13948"/>
                  </a:cubicBezTo>
                  <a:cubicBezTo>
                    <a:pt x="13371" y="13851"/>
                    <a:pt x="13292" y="13754"/>
                    <a:pt x="13134" y="13851"/>
                  </a:cubicBezTo>
                  <a:cubicBezTo>
                    <a:pt x="13055" y="13948"/>
                    <a:pt x="12659" y="14432"/>
                    <a:pt x="12580" y="14529"/>
                  </a:cubicBezTo>
                  <a:cubicBezTo>
                    <a:pt x="12501" y="14626"/>
                    <a:pt x="12026" y="15110"/>
                    <a:pt x="12026" y="15110"/>
                  </a:cubicBezTo>
                  <a:cubicBezTo>
                    <a:pt x="11947" y="15207"/>
                    <a:pt x="11156" y="15885"/>
                    <a:pt x="11156" y="15885"/>
                  </a:cubicBezTo>
                  <a:cubicBezTo>
                    <a:pt x="11156" y="15885"/>
                    <a:pt x="10919" y="16660"/>
                    <a:pt x="10760" y="16951"/>
                  </a:cubicBezTo>
                  <a:cubicBezTo>
                    <a:pt x="10681" y="17241"/>
                    <a:pt x="10207" y="17629"/>
                    <a:pt x="10207" y="17822"/>
                  </a:cubicBezTo>
                  <a:cubicBezTo>
                    <a:pt x="10207" y="17919"/>
                    <a:pt x="10207" y="18210"/>
                    <a:pt x="10127" y="18307"/>
                  </a:cubicBezTo>
                  <a:cubicBezTo>
                    <a:pt x="10127" y="18307"/>
                    <a:pt x="9890" y="18694"/>
                    <a:pt x="9732" y="18694"/>
                  </a:cubicBezTo>
                  <a:cubicBezTo>
                    <a:pt x="9653" y="18791"/>
                    <a:pt x="9178" y="18888"/>
                    <a:pt x="9178" y="19082"/>
                  </a:cubicBezTo>
                  <a:cubicBezTo>
                    <a:pt x="9178" y="19275"/>
                    <a:pt x="9415" y="19275"/>
                    <a:pt x="9178" y="19663"/>
                  </a:cubicBezTo>
                  <a:cubicBezTo>
                    <a:pt x="8941" y="19953"/>
                    <a:pt x="8703" y="21309"/>
                    <a:pt x="8466" y="20147"/>
                  </a:cubicBezTo>
                  <a:cubicBezTo>
                    <a:pt x="8308" y="19372"/>
                    <a:pt x="8308" y="19275"/>
                    <a:pt x="8149" y="19178"/>
                  </a:cubicBezTo>
                  <a:cubicBezTo>
                    <a:pt x="7912" y="18985"/>
                    <a:pt x="7754" y="18888"/>
                    <a:pt x="7754" y="18888"/>
                  </a:cubicBezTo>
                  <a:cubicBezTo>
                    <a:pt x="7754" y="18888"/>
                    <a:pt x="7596" y="18597"/>
                    <a:pt x="7912" y="18500"/>
                  </a:cubicBezTo>
                  <a:cubicBezTo>
                    <a:pt x="8229" y="18500"/>
                    <a:pt x="8308" y="18694"/>
                    <a:pt x="8466" y="18500"/>
                  </a:cubicBezTo>
                  <a:cubicBezTo>
                    <a:pt x="8703" y="18307"/>
                    <a:pt x="8782" y="18210"/>
                    <a:pt x="8466" y="18113"/>
                  </a:cubicBezTo>
                  <a:cubicBezTo>
                    <a:pt x="8149" y="18016"/>
                    <a:pt x="8308" y="18210"/>
                    <a:pt x="7991" y="18016"/>
                  </a:cubicBezTo>
                  <a:cubicBezTo>
                    <a:pt x="7754" y="17726"/>
                    <a:pt x="7675" y="17726"/>
                    <a:pt x="7596" y="17629"/>
                  </a:cubicBezTo>
                  <a:cubicBezTo>
                    <a:pt x="7596" y="17532"/>
                    <a:pt x="7596" y="17532"/>
                    <a:pt x="7675" y="17435"/>
                  </a:cubicBezTo>
                  <a:cubicBezTo>
                    <a:pt x="7833" y="17144"/>
                    <a:pt x="7833" y="17144"/>
                    <a:pt x="7833" y="17144"/>
                  </a:cubicBezTo>
                  <a:cubicBezTo>
                    <a:pt x="7833" y="17144"/>
                    <a:pt x="7833" y="17144"/>
                    <a:pt x="7754" y="17144"/>
                  </a:cubicBezTo>
                  <a:cubicBezTo>
                    <a:pt x="7754" y="16951"/>
                    <a:pt x="7912" y="16757"/>
                    <a:pt x="7912" y="16563"/>
                  </a:cubicBezTo>
                  <a:cubicBezTo>
                    <a:pt x="7912" y="16466"/>
                    <a:pt x="7833" y="16370"/>
                    <a:pt x="7754" y="16370"/>
                  </a:cubicBezTo>
                  <a:cubicBezTo>
                    <a:pt x="7675" y="16370"/>
                    <a:pt x="7754" y="16370"/>
                    <a:pt x="7596" y="16370"/>
                  </a:cubicBezTo>
                  <a:cubicBezTo>
                    <a:pt x="7596" y="16273"/>
                    <a:pt x="7516" y="16273"/>
                    <a:pt x="7516" y="16176"/>
                  </a:cubicBezTo>
                  <a:cubicBezTo>
                    <a:pt x="7437" y="16079"/>
                    <a:pt x="7437" y="16079"/>
                    <a:pt x="7437" y="16079"/>
                  </a:cubicBezTo>
                  <a:cubicBezTo>
                    <a:pt x="7121" y="16079"/>
                    <a:pt x="7121" y="16079"/>
                    <a:pt x="7121" y="16079"/>
                  </a:cubicBezTo>
                  <a:cubicBezTo>
                    <a:pt x="7042" y="15691"/>
                    <a:pt x="7042" y="15691"/>
                    <a:pt x="7042" y="15691"/>
                  </a:cubicBezTo>
                  <a:cubicBezTo>
                    <a:pt x="7042" y="15691"/>
                    <a:pt x="7279" y="15788"/>
                    <a:pt x="7358" y="15788"/>
                  </a:cubicBezTo>
                  <a:cubicBezTo>
                    <a:pt x="7437" y="15788"/>
                    <a:pt x="7754" y="15498"/>
                    <a:pt x="7754" y="15498"/>
                  </a:cubicBezTo>
                  <a:cubicBezTo>
                    <a:pt x="7754" y="15498"/>
                    <a:pt x="7596" y="15401"/>
                    <a:pt x="7516" y="15401"/>
                  </a:cubicBezTo>
                  <a:cubicBezTo>
                    <a:pt x="7437" y="15401"/>
                    <a:pt x="7437" y="15110"/>
                    <a:pt x="7437" y="15110"/>
                  </a:cubicBezTo>
                  <a:cubicBezTo>
                    <a:pt x="7200" y="14917"/>
                    <a:pt x="7200" y="14917"/>
                    <a:pt x="7200" y="14917"/>
                  </a:cubicBezTo>
                  <a:cubicBezTo>
                    <a:pt x="6884" y="14820"/>
                    <a:pt x="6884" y="14820"/>
                    <a:pt x="6884" y="14820"/>
                  </a:cubicBezTo>
                  <a:cubicBezTo>
                    <a:pt x="6884" y="14820"/>
                    <a:pt x="6804" y="14723"/>
                    <a:pt x="6725" y="14723"/>
                  </a:cubicBezTo>
                  <a:cubicBezTo>
                    <a:pt x="6725" y="14626"/>
                    <a:pt x="6725" y="14529"/>
                    <a:pt x="6725" y="14529"/>
                  </a:cubicBezTo>
                  <a:cubicBezTo>
                    <a:pt x="6804" y="14432"/>
                    <a:pt x="6804" y="14432"/>
                    <a:pt x="6804" y="14432"/>
                  </a:cubicBezTo>
                  <a:cubicBezTo>
                    <a:pt x="7042" y="14239"/>
                    <a:pt x="7042" y="14239"/>
                    <a:pt x="7042" y="14239"/>
                  </a:cubicBezTo>
                  <a:cubicBezTo>
                    <a:pt x="7042" y="13948"/>
                    <a:pt x="7042" y="13948"/>
                    <a:pt x="7042" y="13948"/>
                  </a:cubicBezTo>
                  <a:cubicBezTo>
                    <a:pt x="7042" y="13657"/>
                    <a:pt x="7042" y="13657"/>
                    <a:pt x="7042" y="13657"/>
                  </a:cubicBezTo>
                  <a:cubicBezTo>
                    <a:pt x="6884" y="13657"/>
                    <a:pt x="6884" y="13657"/>
                    <a:pt x="6884" y="13657"/>
                  </a:cubicBezTo>
                  <a:cubicBezTo>
                    <a:pt x="6884" y="13657"/>
                    <a:pt x="6567" y="13851"/>
                    <a:pt x="6409" y="13657"/>
                  </a:cubicBezTo>
                  <a:cubicBezTo>
                    <a:pt x="6251" y="13561"/>
                    <a:pt x="6330" y="13657"/>
                    <a:pt x="6171" y="13754"/>
                  </a:cubicBezTo>
                  <a:cubicBezTo>
                    <a:pt x="6092" y="13754"/>
                    <a:pt x="5934" y="13948"/>
                    <a:pt x="5934" y="13948"/>
                  </a:cubicBezTo>
                  <a:cubicBezTo>
                    <a:pt x="5934" y="13948"/>
                    <a:pt x="5855" y="14045"/>
                    <a:pt x="5697" y="14045"/>
                  </a:cubicBezTo>
                  <a:cubicBezTo>
                    <a:pt x="5618" y="14045"/>
                    <a:pt x="5618" y="13754"/>
                    <a:pt x="5618" y="13754"/>
                  </a:cubicBezTo>
                  <a:cubicBezTo>
                    <a:pt x="5222" y="13657"/>
                    <a:pt x="5222" y="13657"/>
                    <a:pt x="5222" y="13657"/>
                  </a:cubicBezTo>
                  <a:cubicBezTo>
                    <a:pt x="4905" y="13270"/>
                    <a:pt x="4905" y="13270"/>
                    <a:pt x="4905" y="13270"/>
                  </a:cubicBezTo>
                  <a:cubicBezTo>
                    <a:pt x="4431" y="13270"/>
                    <a:pt x="4431" y="13270"/>
                    <a:pt x="4431" y="13270"/>
                  </a:cubicBezTo>
                  <a:cubicBezTo>
                    <a:pt x="4273" y="13173"/>
                    <a:pt x="4273" y="13173"/>
                    <a:pt x="4273" y="13173"/>
                  </a:cubicBezTo>
                  <a:cubicBezTo>
                    <a:pt x="4114" y="12979"/>
                    <a:pt x="4114" y="12979"/>
                    <a:pt x="4114" y="12979"/>
                  </a:cubicBezTo>
                  <a:cubicBezTo>
                    <a:pt x="4114" y="12979"/>
                    <a:pt x="4035" y="12786"/>
                    <a:pt x="3956" y="12786"/>
                  </a:cubicBezTo>
                  <a:cubicBezTo>
                    <a:pt x="3798" y="12689"/>
                    <a:pt x="3798" y="12786"/>
                    <a:pt x="3719" y="12786"/>
                  </a:cubicBezTo>
                  <a:cubicBezTo>
                    <a:pt x="3640" y="12786"/>
                    <a:pt x="3640" y="12786"/>
                    <a:pt x="3402" y="12786"/>
                  </a:cubicBezTo>
                  <a:cubicBezTo>
                    <a:pt x="3244" y="12786"/>
                    <a:pt x="3244" y="12592"/>
                    <a:pt x="3244" y="12592"/>
                  </a:cubicBezTo>
                  <a:cubicBezTo>
                    <a:pt x="3244" y="12592"/>
                    <a:pt x="3323" y="12398"/>
                    <a:pt x="3323" y="12301"/>
                  </a:cubicBezTo>
                  <a:cubicBezTo>
                    <a:pt x="3323" y="12301"/>
                    <a:pt x="3481" y="12301"/>
                    <a:pt x="3481" y="12301"/>
                  </a:cubicBezTo>
                  <a:cubicBezTo>
                    <a:pt x="3560" y="12204"/>
                    <a:pt x="3798" y="12108"/>
                    <a:pt x="3956" y="12108"/>
                  </a:cubicBezTo>
                  <a:cubicBezTo>
                    <a:pt x="4035" y="12108"/>
                    <a:pt x="4035" y="12108"/>
                    <a:pt x="4193" y="12011"/>
                  </a:cubicBezTo>
                  <a:cubicBezTo>
                    <a:pt x="4273" y="12011"/>
                    <a:pt x="4273" y="11914"/>
                    <a:pt x="4273" y="11914"/>
                  </a:cubicBezTo>
                  <a:cubicBezTo>
                    <a:pt x="4273" y="11914"/>
                    <a:pt x="4273" y="11526"/>
                    <a:pt x="4273" y="11526"/>
                  </a:cubicBezTo>
                  <a:cubicBezTo>
                    <a:pt x="4273" y="11430"/>
                    <a:pt x="4273" y="11430"/>
                    <a:pt x="4352" y="11430"/>
                  </a:cubicBezTo>
                  <a:cubicBezTo>
                    <a:pt x="4352" y="11333"/>
                    <a:pt x="4352" y="11236"/>
                    <a:pt x="4352" y="11236"/>
                  </a:cubicBezTo>
                  <a:cubicBezTo>
                    <a:pt x="4352" y="11236"/>
                    <a:pt x="4273" y="11042"/>
                    <a:pt x="4273" y="10945"/>
                  </a:cubicBezTo>
                  <a:cubicBezTo>
                    <a:pt x="4193" y="10752"/>
                    <a:pt x="4114" y="10848"/>
                    <a:pt x="4114" y="10848"/>
                  </a:cubicBezTo>
                  <a:cubicBezTo>
                    <a:pt x="3956" y="10848"/>
                    <a:pt x="3956" y="10848"/>
                    <a:pt x="3956" y="10848"/>
                  </a:cubicBezTo>
                  <a:cubicBezTo>
                    <a:pt x="3956" y="10848"/>
                    <a:pt x="3719" y="10848"/>
                    <a:pt x="3719" y="10752"/>
                  </a:cubicBezTo>
                  <a:cubicBezTo>
                    <a:pt x="3640" y="10752"/>
                    <a:pt x="3481" y="10752"/>
                    <a:pt x="3481" y="10752"/>
                  </a:cubicBezTo>
                  <a:cubicBezTo>
                    <a:pt x="3244" y="10461"/>
                    <a:pt x="3244" y="10461"/>
                    <a:pt x="3244" y="10461"/>
                  </a:cubicBezTo>
                  <a:cubicBezTo>
                    <a:pt x="3244" y="10461"/>
                    <a:pt x="3086" y="10461"/>
                    <a:pt x="2927" y="10461"/>
                  </a:cubicBezTo>
                  <a:cubicBezTo>
                    <a:pt x="2769" y="10364"/>
                    <a:pt x="2611" y="10267"/>
                    <a:pt x="2611" y="10267"/>
                  </a:cubicBezTo>
                  <a:cubicBezTo>
                    <a:pt x="2136" y="9880"/>
                    <a:pt x="2136" y="9880"/>
                    <a:pt x="2136" y="9880"/>
                  </a:cubicBezTo>
                  <a:cubicBezTo>
                    <a:pt x="2057" y="9686"/>
                    <a:pt x="2057" y="9686"/>
                    <a:pt x="2057" y="9686"/>
                  </a:cubicBezTo>
                  <a:cubicBezTo>
                    <a:pt x="1899" y="9589"/>
                    <a:pt x="1899" y="9589"/>
                    <a:pt x="1899" y="9589"/>
                  </a:cubicBezTo>
                  <a:cubicBezTo>
                    <a:pt x="1899" y="9589"/>
                    <a:pt x="1662" y="9202"/>
                    <a:pt x="1662" y="9105"/>
                  </a:cubicBezTo>
                  <a:cubicBezTo>
                    <a:pt x="1662" y="9105"/>
                    <a:pt x="1662" y="9105"/>
                    <a:pt x="1741" y="9008"/>
                  </a:cubicBezTo>
                  <a:cubicBezTo>
                    <a:pt x="1741" y="9008"/>
                    <a:pt x="1741" y="8911"/>
                    <a:pt x="1820" y="8814"/>
                  </a:cubicBezTo>
                  <a:cubicBezTo>
                    <a:pt x="1820" y="8717"/>
                    <a:pt x="1899" y="8621"/>
                    <a:pt x="1899" y="8524"/>
                  </a:cubicBezTo>
                  <a:cubicBezTo>
                    <a:pt x="1899" y="8524"/>
                    <a:pt x="1978" y="8427"/>
                    <a:pt x="2057" y="8427"/>
                  </a:cubicBezTo>
                  <a:cubicBezTo>
                    <a:pt x="2136" y="8427"/>
                    <a:pt x="2215" y="8330"/>
                    <a:pt x="2215" y="8330"/>
                  </a:cubicBezTo>
                  <a:cubicBezTo>
                    <a:pt x="2215" y="8233"/>
                    <a:pt x="2215" y="8136"/>
                    <a:pt x="2295" y="8039"/>
                  </a:cubicBezTo>
                  <a:cubicBezTo>
                    <a:pt x="2295" y="7943"/>
                    <a:pt x="2136" y="8039"/>
                    <a:pt x="2057" y="7943"/>
                  </a:cubicBezTo>
                  <a:cubicBezTo>
                    <a:pt x="1978" y="7943"/>
                    <a:pt x="1978" y="7943"/>
                    <a:pt x="1899" y="8039"/>
                  </a:cubicBezTo>
                  <a:cubicBezTo>
                    <a:pt x="1820" y="8039"/>
                    <a:pt x="1741" y="7846"/>
                    <a:pt x="1741" y="7846"/>
                  </a:cubicBezTo>
                  <a:cubicBezTo>
                    <a:pt x="1741" y="7749"/>
                    <a:pt x="1582" y="7749"/>
                    <a:pt x="1503" y="7652"/>
                  </a:cubicBezTo>
                  <a:cubicBezTo>
                    <a:pt x="1424" y="7652"/>
                    <a:pt x="1424" y="7652"/>
                    <a:pt x="1424" y="7555"/>
                  </a:cubicBezTo>
                  <a:cubicBezTo>
                    <a:pt x="1345" y="7458"/>
                    <a:pt x="1424" y="7458"/>
                    <a:pt x="1345" y="7458"/>
                  </a:cubicBezTo>
                  <a:cubicBezTo>
                    <a:pt x="1345" y="7361"/>
                    <a:pt x="1266" y="7361"/>
                    <a:pt x="1266" y="7361"/>
                  </a:cubicBezTo>
                  <a:cubicBezTo>
                    <a:pt x="1266" y="7361"/>
                    <a:pt x="1187" y="7555"/>
                    <a:pt x="1108" y="7555"/>
                  </a:cubicBezTo>
                  <a:cubicBezTo>
                    <a:pt x="1029" y="7555"/>
                    <a:pt x="949" y="7458"/>
                    <a:pt x="949" y="7458"/>
                  </a:cubicBezTo>
                  <a:cubicBezTo>
                    <a:pt x="870" y="7458"/>
                    <a:pt x="791" y="7458"/>
                    <a:pt x="712" y="7555"/>
                  </a:cubicBezTo>
                  <a:cubicBezTo>
                    <a:pt x="712" y="7555"/>
                    <a:pt x="554" y="7458"/>
                    <a:pt x="554" y="7458"/>
                  </a:cubicBezTo>
                  <a:cubicBezTo>
                    <a:pt x="554" y="7361"/>
                    <a:pt x="316" y="7361"/>
                    <a:pt x="316" y="7361"/>
                  </a:cubicBezTo>
                  <a:cubicBezTo>
                    <a:pt x="316" y="7361"/>
                    <a:pt x="316" y="7458"/>
                    <a:pt x="237" y="7458"/>
                  </a:cubicBezTo>
                  <a:cubicBezTo>
                    <a:pt x="158" y="7555"/>
                    <a:pt x="79" y="7458"/>
                    <a:pt x="79" y="7458"/>
                  </a:cubicBezTo>
                  <a:cubicBezTo>
                    <a:pt x="0" y="7458"/>
                    <a:pt x="0" y="7361"/>
                    <a:pt x="0" y="7265"/>
                  </a:cubicBezTo>
                  <a:close/>
                  <a:moveTo>
                    <a:pt x="791" y="17629"/>
                  </a:moveTo>
                  <a:cubicBezTo>
                    <a:pt x="791" y="17629"/>
                    <a:pt x="791" y="17629"/>
                    <a:pt x="791" y="17629"/>
                  </a:cubicBezTo>
                  <a:cubicBezTo>
                    <a:pt x="791" y="17919"/>
                    <a:pt x="791" y="17919"/>
                    <a:pt x="791" y="17919"/>
                  </a:cubicBezTo>
                  <a:cubicBezTo>
                    <a:pt x="1266" y="18113"/>
                    <a:pt x="1266" y="18113"/>
                    <a:pt x="1266" y="18113"/>
                  </a:cubicBezTo>
                  <a:cubicBezTo>
                    <a:pt x="1582" y="18404"/>
                    <a:pt x="1582" y="18404"/>
                    <a:pt x="1582" y="18404"/>
                  </a:cubicBezTo>
                  <a:cubicBezTo>
                    <a:pt x="1582" y="18404"/>
                    <a:pt x="1741" y="18888"/>
                    <a:pt x="1741" y="18985"/>
                  </a:cubicBezTo>
                  <a:cubicBezTo>
                    <a:pt x="1741" y="19178"/>
                    <a:pt x="1978" y="19178"/>
                    <a:pt x="2057" y="19178"/>
                  </a:cubicBezTo>
                  <a:cubicBezTo>
                    <a:pt x="2057" y="19178"/>
                    <a:pt x="2374" y="19275"/>
                    <a:pt x="2374" y="19275"/>
                  </a:cubicBezTo>
                  <a:cubicBezTo>
                    <a:pt x="2374" y="19275"/>
                    <a:pt x="2532" y="19469"/>
                    <a:pt x="2611" y="19566"/>
                  </a:cubicBezTo>
                  <a:cubicBezTo>
                    <a:pt x="2611" y="19663"/>
                    <a:pt x="2611" y="19857"/>
                    <a:pt x="2611" y="19857"/>
                  </a:cubicBezTo>
                  <a:cubicBezTo>
                    <a:pt x="2927" y="20244"/>
                    <a:pt x="2927" y="20244"/>
                    <a:pt x="2927" y="20244"/>
                  </a:cubicBezTo>
                  <a:cubicBezTo>
                    <a:pt x="3481" y="20244"/>
                    <a:pt x="3481" y="20244"/>
                    <a:pt x="3481" y="20244"/>
                  </a:cubicBezTo>
                  <a:cubicBezTo>
                    <a:pt x="3481" y="20244"/>
                    <a:pt x="4035" y="20825"/>
                    <a:pt x="4114" y="20922"/>
                  </a:cubicBezTo>
                  <a:cubicBezTo>
                    <a:pt x="4114" y="21019"/>
                    <a:pt x="4431" y="21406"/>
                    <a:pt x="4431" y="21406"/>
                  </a:cubicBezTo>
                  <a:cubicBezTo>
                    <a:pt x="4431" y="21406"/>
                    <a:pt x="4985" y="21406"/>
                    <a:pt x="5064" y="21406"/>
                  </a:cubicBezTo>
                  <a:cubicBezTo>
                    <a:pt x="5064" y="21406"/>
                    <a:pt x="5618" y="21406"/>
                    <a:pt x="5618" y="21406"/>
                  </a:cubicBezTo>
                  <a:cubicBezTo>
                    <a:pt x="6013" y="21600"/>
                    <a:pt x="6013" y="21600"/>
                    <a:pt x="6013" y="21600"/>
                  </a:cubicBezTo>
                  <a:cubicBezTo>
                    <a:pt x="6409" y="21503"/>
                    <a:pt x="6409" y="21503"/>
                    <a:pt x="6409" y="21503"/>
                  </a:cubicBezTo>
                  <a:cubicBezTo>
                    <a:pt x="7279" y="21213"/>
                    <a:pt x="7279" y="21213"/>
                    <a:pt x="7279" y="21213"/>
                  </a:cubicBezTo>
                  <a:cubicBezTo>
                    <a:pt x="7279" y="21213"/>
                    <a:pt x="7042" y="21019"/>
                    <a:pt x="7042" y="21019"/>
                  </a:cubicBezTo>
                  <a:cubicBezTo>
                    <a:pt x="7042" y="20922"/>
                    <a:pt x="6725" y="20438"/>
                    <a:pt x="6725" y="20438"/>
                  </a:cubicBezTo>
                  <a:cubicBezTo>
                    <a:pt x="6725" y="20438"/>
                    <a:pt x="6251" y="19760"/>
                    <a:pt x="6171" y="19760"/>
                  </a:cubicBezTo>
                  <a:cubicBezTo>
                    <a:pt x="6171" y="19663"/>
                    <a:pt x="6092" y="19566"/>
                    <a:pt x="6092" y="19469"/>
                  </a:cubicBezTo>
                  <a:cubicBezTo>
                    <a:pt x="6092" y="19275"/>
                    <a:pt x="6171" y="19178"/>
                    <a:pt x="6171" y="19082"/>
                  </a:cubicBezTo>
                  <a:cubicBezTo>
                    <a:pt x="6251" y="18985"/>
                    <a:pt x="6251" y="18791"/>
                    <a:pt x="6251" y="18791"/>
                  </a:cubicBezTo>
                  <a:cubicBezTo>
                    <a:pt x="6251" y="18791"/>
                    <a:pt x="6013" y="18791"/>
                    <a:pt x="5855" y="18791"/>
                  </a:cubicBezTo>
                  <a:cubicBezTo>
                    <a:pt x="5776" y="18791"/>
                    <a:pt x="5618" y="18888"/>
                    <a:pt x="5459" y="18888"/>
                  </a:cubicBezTo>
                  <a:cubicBezTo>
                    <a:pt x="5380" y="18888"/>
                    <a:pt x="5222" y="18791"/>
                    <a:pt x="5222" y="18791"/>
                  </a:cubicBezTo>
                  <a:cubicBezTo>
                    <a:pt x="5143" y="18791"/>
                    <a:pt x="5143" y="18500"/>
                    <a:pt x="5143" y="18500"/>
                  </a:cubicBezTo>
                  <a:cubicBezTo>
                    <a:pt x="5301" y="18113"/>
                    <a:pt x="5301" y="18113"/>
                    <a:pt x="5301" y="18113"/>
                  </a:cubicBezTo>
                  <a:cubicBezTo>
                    <a:pt x="5143" y="17822"/>
                    <a:pt x="5143" y="17822"/>
                    <a:pt x="5143" y="17822"/>
                  </a:cubicBezTo>
                  <a:cubicBezTo>
                    <a:pt x="4826" y="17435"/>
                    <a:pt x="4826" y="17435"/>
                    <a:pt x="4826" y="17435"/>
                  </a:cubicBezTo>
                  <a:cubicBezTo>
                    <a:pt x="4826" y="17435"/>
                    <a:pt x="4273" y="17726"/>
                    <a:pt x="4193" y="17726"/>
                  </a:cubicBezTo>
                  <a:cubicBezTo>
                    <a:pt x="4114" y="17726"/>
                    <a:pt x="3798" y="18210"/>
                    <a:pt x="3719" y="18210"/>
                  </a:cubicBezTo>
                  <a:cubicBezTo>
                    <a:pt x="3719" y="18210"/>
                    <a:pt x="3481" y="17919"/>
                    <a:pt x="3481" y="17919"/>
                  </a:cubicBezTo>
                  <a:cubicBezTo>
                    <a:pt x="2848" y="17726"/>
                    <a:pt x="2848" y="17726"/>
                    <a:pt x="2848" y="17726"/>
                  </a:cubicBezTo>
                  <a:cubicBezTo>
                    <a:pt x="2848" y="17726"/>
                    <a:pt x="2769" y="17919"/>
                    <a:pt x="2690" y="18016"/>
                  </a:cubicBezTo>
                  <a:cubicBezTo>
                    <a:pt x="2611" y="18113"/>
                    <a:pt x="2532" y="18016"/>
                    <a:pt x="2532" y="17919"/>
                  </a:cubicBezTo>
                  <a:cubicBezTo>
                    <a:pt x="2453" y="17726"/>
                    <a:pt x="2611" y="17435"/>
                    <a:pt x="2611" y="17435"/>
                  </a:cubicBezTo>
                  <a:cubicBezTo>
                    <a:pt x="2136" y="17144"/>
                    <a:pt x="2136" y="17144"/>
                    <a:pt x="2136" y="17144"/>
                  </a:cubicBezTo>
                  <a:cubicBezTo>
                    <a:pt x="1820" y="16951"/>
                    <a:pt x="1820" y="16951"/>
                    <a:pt x="1820" y="16951"/>
                  </a:cubicBezTo>
                  <a:cubicBezTo>
                    <a:pt x="1424" y="17435"/>
                    <a:pt x="1424" y="17435"/>
                    <a:pt x="1424" y="17435"/>
                  </a:cubicBezTo>
                  <a:cubicBezTo>
                    <a:pt x="1424" y="17435"/>
                    <a:pt x="870" y="17532"/>
                    <a:pt x="791" y="17629"/>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7" name="Shape 2250">
              <a:extLst>
                <a:ext uri="{FF2B5EF4-FFF2-40B4-BE49-F238E27FC236}">
                  <a16:creationId xmlns:a16="http://schemas.microsoft.com/office/drawing/2014/main" id="{75981845-52F0-41CC-3A84-A2973B8586F6}"/>
                </a:ext>
              </a:extLst>
            </p:cNvPr>
            <p:cNvSpPr/>
            <p:nvPr/>
          </p:nvSpPr>
          <p:spPr>
            <a:xfrm>
              <a:off x="3622830" y="5430349"/>
              <a:ext cx="1143455" cy="563774"/>
            </a:xfrm>
            <a:custGeom>
              <a:avLst/>
              <a:gdLst/>
              <a:ahLst/>
              <a:cxnLst>
                <a:cxn ang="0">
                  <a:pos x="wd2" y="hd2"/>
                </a:cxn>
                <a:cxn ang="5400000">
                  <a:pos x="wd2" y="hd2"/>
                </a:cxn>
                <a:cxn ang="10800000">
                  <a:pos x="wd2" y="hd2"/>
                </a:cxn>
                <a:cxn ang="16200000">
                  <a:pos x="wd2" y="hd2"/>
                </a:cxn>
              </a:cxnLst>
              <a:rect l="0" t="0" r="r" b="b"/>
              <a:pathLst>
                <a:path w="21490" h="21490" extrusionOk="0">
                  <a:moveTo>
                    <a:pt x="14477" y="3541"/>
                  </a:moveTo>
                  <a:cubicBezTo>
                    <a:pt x="14477" y="3541"/>
                    <a:pt x="14477" y="2628"/>
                    <a:pt x="14555" y="2628"/>
                  </a:cubicBezTo>
                  <a:cubicBezTo>
                    <a:pt x="14632" y="2628"/>
                    <a:pt x="14787" y="2172"/>
                    <a:pt x="14787" y="2172"/>
                  </a:cubicBezTo>
                  <a:cubicBezTo>
                    <a:pt x="15019" y="2020"/>
                    <a:pt x="15019" y="2020"/>
                    <a:pt x="15019" y="2020"/>
                  </a:cubicBezTo>
                  <a:cubicBezTo>
                    <a:pt x="15019" y="2020"/>
                    <a:pt x="15174" y="1715"/>
                    <a:pt x="15174" y="1411"/>
                  </a:cubicBezTo>
                  <a:cubicBezTo>
                    <a:pt x="15097" y="1259"/>
                    <a:pt x="15174" y="498"/>
                    <a:pt x="15174" y="498"/>
                  </a:cubicBezTo>
                  <a:cubicBezTo>
                    <a:pt x="15174" y="498"/>
                    <a:pt x="15097" y="42"/>
                    <a:pt x="15174" y="42"/>
                  </a:cubicBezTo>
                  <a:cubicBezTo>
                    <a:pt x="15329" y="-110"/>
                    <a:pt x="15561" y="194"/>
                    <a:pt x="15561" y="194"/>
                  </a:cubicBezTo>
                  <a:cubicBezTo>
                    <a:pt x="15948" y="346"/>
                    <a:pt x="15948" y="346"/>
                    <a:pt x="15948" y="346"/>
                  </a:cubicBezTo>
                  <a:cubicBezTo>
                    <a:pt x="15948" y="346"/>
                    <a:pt x="16103" y="346"/>
                    <a:pt x="16181" y="346"/>
                  </a:cubicBezTo>
                  <a:cubicBezTo>
                    <a:pt x="16258" y="346"/>
                    <a:pt x="16568" y="498"/>
                    <a:pt x="16568" y="498"/>
                  </a:cubicBezTo>
                  <a:cubicBezTo>
                    <a:pt x="16568" y="498"/>
                    <a:pt x="16877" y="651"/>
                    <a:pt x="16955" y="651"/>
                  </a:cubicBezTo>
                  <a:cubicBezTo>
                    <a:pt x="17032" y="651"/>
                    <a:pt x="17342" y="651"/>
                    <a:pt x="17342" y="651"/>
                  </a:cubicBezTo>
                  <a:cubicBezTo>
                    <a:pt x="17497" y="803"/>
                    <a:pt x="17497" y="803"/>
                    <a:pt x="17497" y="803"/>
                  </a:cubicBezTo>
                  <a:cubicBezTo>
                    <a:pt x="18039" y="1259"/>
                    <a:pt x="18039" y="1259"/>
                    <a:pt x="18039" y="1259"/>
                  </a:cubicBezTo>
                  <a:cubicBezTo>
                    <a:pt x="18348" y="1563"/>
                    <a:pt x="18348" y="1563"/>
                    <a:pt x="18348" y="1563"/>
                  </a:cubicBezTo>
                  <a:cubicBezTo>
                    <a:pt x="19200" y="1715"/>
                    <a:pt x="19200" y="1715"/>
                    <a:pt x="19200" y="1715"/>
                  </a:cubicBezTo>
                  <a:cubicBezTo>
                    <a:pt x="19277" y="1107"/>
                    <a:pt x="19277" y="1107"/>
                    <a:pt x="19277" y="1107"/>
                  </a:cubicBezTo>
                  <a:cubicBezTo>
                    <a:pt x="19277" y="1107"/>
                    <a:pt x="19587" y="955"/>
                    <a:pt x="19587" y="1107"/>
                  </a:cubicBezTo>
                  <a:cubicBezTo>
                    <a:pt x="19665" y="1107"/>
                    <a:pt x="19819" y="1411"/>
                    <a:pt x="20052" y="1563"/>
                  </a:cubicBezTo>
                  <a:cubicBezTo>
                    <a:pt x="20284" y="1563"/>
                    <a:pt x="20516" y="1411"/>
                    <a:pt x="20516" y="1411"/>
                  </a:cubicBezTo>
                  <a:cubicBezTo>
                    <a:pt x="20671" y="2324"/>
                    <a:pt x="20671" y="2324"/>
                    <a:pt x="20671" y="2324"/>
                  </a:cubicBezTo>
                  <a:cubicBezTo>
                    <a:pt x="20826" y="2476"/>
                    <a:pt x="20826" y="2476"/>
                    <a:pt x="20826" y="2476"/>
                  </a:cubicBezTo>
                  <a:cubicBezTo>
                    <a:pt x="20748" y="2476"/>
                    <a:pt x="20748" y="2476"/>
                    <a:pt x="20748" y="2476"/>
                  </a:cubicBezTo>
                  <a:cubicBezTo>
                    <a:pt x="20748" y="2932"/>
                    <a:pt x="20748" y="2932"/>
                    <a:pt x="20748" y="2932"/>
                  </a:cubicBezTo>
                  <a:cubicBezTo>
                    <a:pt x="20826" y="3084"/>
                    <a:pt x="20826" y="3084"/>
                    <a:pt x="20826" y="3084"/>
                  </a:cubicBezTo>
                  <a:cubicBezTo>
                    <a:pt x="20826" y="3084"/>
                    <a:pt x="20748" y="3389"/>
                    <a:pt x="20748" y="3389"/>
                  </a:cubicBezTo>
                  <a:cubicBezTo>
                    <a:pt x="20748" y="3389"/>
                    <a:pt x="20748" y="3693"/>
                    <a:pt x="20748" y="3693"/>
                  </a:cubicBezTo>
                  <a:cubicBezTo>
                    <a:pt x="20594" y="3997"/>
                    <a:pt x="20594" y="3997"/>
                    <a:pt x="20594" y="3997"/>
                  </a:cubicBezTo>
                  <a:cubicBezTo>
                    <a:pt x="20594" y="4301"/>
                    <a:pt x="20594" y="4301"/>
                    <a:pt x="20594" y="4301"/>
                  </a:cubicBezTo>
                  <a:cubicBezTo>
                    <a:pt x="20594" y="4301"/>
                    <a:pt x="20594" y="4758"/>
                    <a:pt x="20594" y="4758"/>
                  </a:cubicBezTo>
                  <a:cubicBezTo>
                    <a:pt x="20594" y="4758"/>
                    <a:pt x="20671" y="4910"/>
                    <a:pt x="20748" y="4910"/>
                  </a:cubicBezTo>
                  <a:cubicBezTo>
                    <a:pt x="20748" y="4910"/>
                    <a:pt x="20748" y="5062"/>
                    <a:pt x="20748" y="5062"/>
                  </a:cubicBezTo>
                  <a:cubicBezTo>
                    <a:pt x="20748" y="5062"/>
                    <a:pt x="20826" y="5214"/>
                    <a:pt x="20903" y="5366"/>
                  </a:cubicBezTo>
                  <a:cubicBezTo>
                    <a:pt x="20903" y="5366"/>
                    <a:pt x="20903" y="5366"/>
                    <a:pt x="20903" y="5366"/>
                  </a:cubicBezTo>
                  <a:cubicBezTo>
                    <a:pt x="20903" y="5366"/>
                    <a:pt x="20981" y="5670"/>
                    <a:pt x="20981" y="5822"/>
                  </a:cubicBezTo>
                  <a:cubicBezTo>
                    <a:pt x="21058" y="5975"/>
                    <a:pt x="21058" y="6127"/>
                    <a:pt x="21058" y="6127"/>
                  </a:cubicBezTo>
                  <a:cubicBezTo>
                    <a:pt x="21058" y="6127"/>
                    <a:pt x="21135" y="6431"/>
                    <a:pt x="21213" y="6431"/>
                  </a:cubicBezTo>
                  <a:cubicBezTo>
                    <a:pt x="21213" y="6431"/>
                    <a:pt x="21290" y="6431"/>
                    <a:pt x="21368" y="6431"/>
                  </a:cubicBezTo>
                  <a:cubicBezTo>
                    <a:pt x="21368" y="6431"/>
                    <a:pt x="21445" y="6431"/>
                    <a:pt x="21445" y="6431"/>
                  </a:cubicBezTo>
                  <a:cubicBezTo>
                    <a:pt x="21445" y="6583"/>
                    <a:pt x="21368" y="7496"/>
                    <a:pt x="21368" y="7496"/>
                  </a:cubicBezTo>
                  <a:cubicBezTo>
                    <a:pt x="21445" y="8408"/>
                    <a:pt x="21445" y="8408"/>
                    <a:pt x="21445" y="8408"/>
                  </a:cubicBezTo>
                  <a:cubicBezTo>
                    <a:pt x="21445" y="8408"/>
                    <a:pt x="21368" y="8865"/>
                    <a:pt x="21368" y="9017"/>
                  </a:cubicBezTo>
                  <a:cubicBezTo>
                    <a:pt x="21445" y="9321"/>
                    <a:pt x="21600" y="9625"/>
                    <a:pt x="21368" y="9777"/>
                  </a:cubicBezTo>
                  <a:cubicBezTo>
                    <a:pt x="21213" y="9777"/>
                    <a:pt x="20981" y="10082"/>
                    <a:pt x="20903" y="9777"/>
                  </a:cubicBezTo>
                  <a:cubicBezTo>
                    <a:pt x="20903" y="9777"/>
                    <a:pt x="20826" y="9473"/>
                    <a:pt x="20826" y="9929"/>
                  </a:cubicBezTo>
                  <a:cubicBezTo>
                    <a:pt x="20903" y="10082"/>
                    <a:pt x="20671" y="9929"/>
                    <a:pt x="20671" y="9929"/>
                  </a:cubicBezTo>
                  <a:cubicBezTo>
                    <a:pt x="20052" y="9473"/>
                    <a:pt x="20052" y="9473"/>
                    <a:pt x="20052" y="9473"/>
                  </a:cubicBezTo>
                  <a:cubicBezTo>
                    <a:pt x="19897" y="9777"/>
                    <a:pt x="19897" y="9777"/>
                    <a:pt x="19897" y="9777"/>
                  </a:cubicBezTo>
                  <a:cubicBezTo>
                    <a:pt x="19587" y="10234"/>
                    <a:pt x="19587" y="10234"/>
                    <a:pt x="19587" y="10234"/>
                  </a:cubicBezTo>
                  <a:cubicBezTo>
                    <a:pt x="20052" y="10538"/>
                    <a:pt x="20052" y="10538"/>
                    <a:pt x="20052" y="10538"/>
                  </a:cubicBezTo>
                  <a:cubicBezTo>
                    <a:pt x="20206" y="10538"/>
                    <a:pt x="20206" y="10538"/>
                    <a:pt x="20206" y="10538"/>
                  </a:cubicBezTo>
                  <a:cubicBezTo>
                    <a:pt x="20594" y="11755"/>
                    <a:pt x="20594" y="11755"/>
                    <a:pt x="20594" y="11755"/>
                  </a:cubicBezTo>
                  <a:cubicBezTo>
                    <a:pt x="20129" y="12363"/>
                    <a:pt x="20129" y="12363"/>
                    <a:pt x="20129" y="12363"/>
                  </a:cubicBezTo>
                  <a:cubicBezTo>
                    <a:pt x="20129" y="12363"/>
                    <a:pt x="19897" y="12667"/>
                    <a:pt x="19819" y="12667"/>
                  </a:cubicBezTo>
                  <a:cubicBezTo>
                    <a:pt x="19742" y="12667"/>
                    <a:pt x="19665" y="12820"/>
                    <a:pt x="19665" y="12820"/>
                  </a:cubicBezTo>
                  <a:cubicBezTo>
                    <a:pt x="19897" y="13732"/>
                    <a:pt x="19897" y="13732"/>
                    <a:pt x="19897" y="13732"/>
                  </a:cubicBezTo>
                  <a:cubicBezTo>
                    <a:pt x="19897" y="14036"/>
                    <a:pt x="19897" y="14036"/>
                    <a:pt x="19897" y="14036"/>
                  </a:cubicBezTo>
                  <a:cubicBezTo>
                    <a:pt x="19974" y="14949"/>
                    <a:pt x="19974" y="14949"/>
                    <a:pt x="19974" y="14949"/>
                  </a:cubicBezTo>
                  <a:cubicBezTo>
                    <a:pt x="19742" y="15710"/>
                    <a:pt x="19742" y="15710"/>
                    <a:pt x="19742" y="15710"/>
                  </a:cubicBezTo>
                  <a:cubicBezTo>
                    <a:pt x="19510" y="15862"/>
                    <a:pt x="19510" y="15862"/>
                    <a:pt x="19510" y="15862"/>
                  </a:cubicBezTo>
                  <a:cubicBezTo>
                    <a:pt x="19277" y="16927"/>
                    <a:pt x="19277" y="16927"/>
                    <a:pt x="19277" y="16927"/>
                  </a:cubicBezTo>
                  <a:cubicBezTo>
                    <a:pt x="18890" y="17383"/>
                    <a:pt x="18890" y="17383"/>
                    <a:pt x="18890" y="17383"/>
                  </a:cubicBezTo>
                  <a:cubicBezTo>
                    <a:pt x="18813" y="17991"/>
                    <a:pt x="18813" y="17991"/>
                    <a:pt x="18813" y="17991"/>
                  </a:cubicBezTo>
                  <a:cubicBezTo>
                    <a:pt x="18890" y="18904"/>
                    <a:pt x="18890" y="18904"/>
                    <a:pt x="18890" y="18904"/>
                  </a:cubicBezTo>
                  <a:cubicBezTo>
                    <a:pt x="18426" y="18296"/>
                    <a:pt x="18426" y="18296"/>
                    <a:pt x="18426" y="18296"/>
                  </a:cubicBezTo>
                  <a:cubicBezTo>
                    <a:pt x="18039" y="18600"/>
                    <a:pt x="18039" y="18600"/>
                    <a:pt x="18039" y="18600"/>
                  </a:cubicBezTo>
                  <a:cubicBezTo>
                    <a:pt x="17806" y="18752"/>
                    <a:pt x="17806" y="18752"/>
                    <a:pt x="17806" y="18752"/>
                  </a:cubicBezTo>
                  <a:cubicBezTo>
                    <a:pt x="17342" y="19360"/>
                    <a:pt x="17342" y="19360"/>
                    <a:pt x="17342" y="19360"/>
                  </a:cubicBezTo>
                  <a:cubicBezTo>
                    <a:pt x="16955" y="19056"/>
                    <a:pt x="16955" y="19056"/>
                    <a:pt x="16955" y="19056"/>
                  </a:cubicBezTo>
                  <a:cubicBezTo>
                    <a:pt x="16413" y="19360"/>
                    <a:pt x="16413" y="19360"/>
                    <a:pt x="16413" y="19360"/>
                  </a:cubicBezTo>
                  <a:cubicBezTo>
                    <a:pt x="15948" y="19360"/>
                    <a:pt x="15948" y="19360"/>
                    <a:pt x="15948" y="19360"/>
                  </a:cubicBezTo>
                  <a:cubicBezTo>
                    <a:pt x="15716" y="19665"/>
                    <a:pt x="15716" y="19665"/>
                    <a:pt x="15716" y="19665"/>
                  </a:cubicBezTo>
                  <a:cubicBezTo>
                    <a:pt x="15561" y="20273"/>
                    <a:pt x="15561" y="20273"/>
                    <a:pt x="15561" y="20273"/>
                  </a:cubicBezTo>
                  <a:cubicBezTo>
                    <a:pt x="15484" y="20577"/>
                    <a:pt x="15484" y="20577"/>
                    <a:pt x="15484" y="20577"/>
                  </a:cubicBezTo>
                  <a:cubicBezTo>
                    <a:pt x="15174" y="20729"/>
                    <a:pt x="15174" y="20729"/>
                    <a:pt x="15174" y="20729"/>
                  </a:cubicBezTo>
                  <a:cubicBezTo>
                    <a:pt x="15019" y="21186"/>
                    <a:pt x="15019" y="21186"/>
                    <a:pt x="15019" y="21186"/>
                  </a:cubicBezTo>
                  <a:cubicBezTo>
                    <a:pt x="14787" y="21490"/>
                    <a:pt x="14787" y="21490"/>
                    <a:pt x="14787" y="21490"/>
                  </a:cubicBezTo>
                  <a:cubicBezTo>
                    <a:pt x="14632" y="21490"/>
                    <a:pt x="14632" y="21490"/>
                    <a:pt x="14632" y="21490"/>
                  </a:cubicBezTo>
                  <a:cubicBezTo>
                    <a:pt x="13935" y="21490"/>
                    <a:pt x="13935" y="21490"/>
                    <a:pt x="13935" y="21490"/>
                  </a:cubicBezTo>
                  <a:cubicBezTo>
                    <a:pt x="13161" y="21338"/>
                    <a:pt x="13161" y="21338"/>
                    <a:pt x="13161" y="21338"/>
                  </a:cubicBezTo>
                  <a:cubicBezTo>
                    <a:pt x="12465" y="20882"/>
                    <a:pt x="12465" y="20882"/>
                    <a:pt x="12465" y="20882"/>
                  </a:cubicBezTo>
                  <a:cubicBezTo>
                    <a:pt x="11923" y="21034"/>
                    <a:pt x="11923" y="21034"/>
                    <a:pt x="11923" y="21034"/>
                  </a:cubicBezTo>
                  <a:cubicBezTo>
                    <a:pt x="11923" y="21034"/>
                    <a:pt x="11535" y="20882"/>
                    <a:pt x="11303" y="20882"/>
                  </a:cubicBezTo>
                  <a:cubicBezTo>
                    <a:pt x="10994" y="20882"/>
                    <a:pt x="10374" y="20577"/>
                    <a:pt x="10374" y="20577"/>
                  </a:cubicBezTo>
                  <a:cubicBezTo>
                    <a:pt x="9600" y="20121"/>
                    <a:pt x="9600" y="20121"/>
                    <a:pt x="9600" y="20121"/>
                  </a:cubicBezTo>
                  <a:cubicBezTo>
                    <a:pt x="9135" y="20121"/>
                    <a:pt x="9135" y="20121"/>
                    <a:pt x="9135" y="20121"/>
                  </a:cubicBezTo>
                  <a:cubicBezTo>
                    <a:pt x="8439" y="19969"/>
                    <a:pt x="8439" y="19969"/>
                    <a:pt x="8439" y="19969"/>
                  </a:cubicBezTo>
                  <a:cubicBezTo>
                    <a:pt x="8439" y="19969"/>
                    <a:pt x="8361" y="19665"/>
                    <a:pt x="8284" y="19513"/>
                  </a:cubicBezTo>
                  <a:cubicBezTo>
                    <a:pt x="8284" y="19360"/>
                    <a:pt x="8052" y="19056"/>
                    <a:pt x="8052" y="19056"/>
                  </a:cubicBezTo>
                  <a:cubicBezTo>
                    <a:pt x="8052" y="18752"/>
                    <a:pt x="8052" y="18752"/>
                    <a:pt x="8052" y="18752"/>
                  </a:cubicBezTo>
                  <a:cubicBezTo>
                    <a:pt x="7897" y="17991"/>
                    <a:pt x="7897" y="17991"/>
                    <a:pt x="7897" y="17991"/>
                  </a:cubicBezTo>
                  <a:cubicBezTo>
                    <a:pt x="7742" y="17383"/>
                    <a:pt x="7742" y="17383"/>
                    <a:pt x="7742" y="17383"/>
                  </a:cubicBezTo>
                  <a:cubicBezTo>
                    <a:pt x="7897" y="16927"/>
                    <a:pt x="7897" y="16927"/>
                    <a:pt x="7897" y="16927"/>
                  </a:cubicBezTo>
                  <a:cubicBezTo>
                    <a:pt x="7742" y="16775"/>
                    <a:pt x="7742" y="16775"/>
                    <a:pt x="7742" y="16775"/>
                  </a:cubicBezTo>
                  <a:cubicBezTo>
                    <a:pt x="7742" y="16775"/>
                    <a:pt x="7432" y="16927"/>
                    <a:pt x="7277" y="16927"/>
                  </a:cubicBezTo>
                  <a:cubicBezTo>
                    <a:pt x="7200" y="17079"/>
                    <a:pt x="6735" y="17231"/>
                    <a:pt x="6735" y="17231"/>
                  </a:cubicBezTo>
                  <a:cubicBezTo>
                    <a:pt x="6581" y="17383"/>
                    <a:pt x="6581" y="17383"/>
                    <a:pt x="6581" y="17383"/>
                  </a:cubicBezTo>
                  <a:cubicBezTo>
                    <a:pt x="5961" y="17383"/>
                    <a:pt x="5961" y="17383"/>
                    <a:pt x="5961" y="17383"/>
                  </a:cubicBezTo>
                  <a:cubicBezTo>
                    <a:pt x="5342" y="17535"/>
                    <a:pt x="5342" y="17535"/>
                    <a:pt x="5342" y="17535"/>
                  </a:cubicBezTo>
                  <a:cubicBezTo>
                    <a:pt x="5110" y="17839"/>
                    <a:pt x="5110" y="17839"/>
                    <a:pt x="5110" y="17839"/>
                  </a:cubicBezTo>
                  <a:cubicBezTo>
                    <a:pt x="4645" y="18296"/>
                    <a:pt x="4645" y="18296"/>
                    <a:pt x="4645" y="18296"/>
                  </a:cubicBezTo>
                  <a:cubicBezTo>
                    <a:pt x="4645" y="18904"/>
                    <a:pt x="4645" y="18904"/>
                    <a:pt x="4645" y="18904"/>
                  </a:cubicBezTo>
                  <a:cubicBezTo>
                    <a:pt x="4413" y="19513"/>
                    <a:pt x="4413" y="19513"/>
                    <a:pt x="4413" y="19513"/>
                  </a:cubicBezTo>
                  <a:cubicBezTo>
                    <a:pt x="4026" y="19513"/>
                    <a:pt x="4026" y="19513"/>
                    <a:pt x="4026" y="19513"/>
                  </a:cubicBezTo>
                  <a:cubicBezTo>
                    <a:pt x="3639" y="18904"/>
                    <a:pt x="3639" y="18904"/>
                    <a:pt x="3639" y="18904"/>
                  </a:cubicBezTo>
                  <a:cubicBezTo>
                    <a:pt x="3484" y="19208"/>
                    <a:pt x="3484" y="19208"/>
                    <a:pt x="3484" y="19208"/>
                  </a:cubicBezTo>
                  <a:cubicBezTo>
                    <a:pt x="3019" y="19056"/>
                    <a:pt x="3019" y="19056"/>
                    <a:pt x="3019" y="19056"/>
                  </a:cubicBezTo>
                  <a:cubicBezTo>
                    <a:pt x="2942" y="19208"/>
                    <a:pt x="2942" y="19208"/>
                    <a:pt x="2942" y="19208"/>
                  </a:cubicBezTo>
                  <a:cubicBezTo>
                    <a:pt x="2942" y="19208"/>
                    <a:pt x="2942" y="19056"/>
                    <a:pt x="2942" y="19056"/>
                  </a:cubicBezTo>
                  <a:cubicBezTo>
                    <a:pt x="2942" y="18904"/>
                    <a:pt x="3019" y="18448"/>
                    <a:pt x="3019" y="18448"/>
                  </a:cubicBezTo>
                  <a:cubicBezTo>
                    <a:pt x="3019" y="18448"/>
                    <a:pt x="3019" y="18296"/>
                    <a:pt x="3019" y="18144"/>
                  </a:cubicBezTo>
                  <a:cubicBezTo>
                    <a:pt x="3019" y="18144"/>
                    <a:pt x="2942" y="17991"/>
                    <a:pt x="2942" y="17991"/>
                  </a:cubicBezTo>
                  <a:cubicBezTo>
                    <a:pt x="2865" y="17839"/>
                    <a:pt x="2865" y="17839"/>
                    <a:pt x="2865" y="17839"/>
                  </a:cubicBezTo>
                  <a:cubicBezTo>
                    <a:pt x="2865" y="17839"/>
                    <a:pt x="2787" y="17535"/>
                    <a:pt x="2787" y="17535"/>
                  </a:cubicBezTo>
                  <a:cubicBezTo>
                    <a:pt x="2710" y="17687"/>
                    <a:pt x="2632" y="17687"/>
                    <a:pt x="2632" y="17687"/>
                  </a:cubicBezTo>
                  <a:cubicBezTo>
                    <a:pt x="2632" y="17687"/>
                    <a:pt x="2632" y="17991"/>
                    <a:pt x="2632" y="17991"/>
                  </a:cubicBezTo>
                  <a:cubicBezTo>
                    <a:pt x="2555" y="18144"/>
                    <a:pt x="2477" y="18144"/>
                    <a:pt x="2477" y="18144"/>
                  </a:cubicBezTo>
                  <a:cubicBezTo>
                    <a:pt x="2477" y="18144"/>
                    <a:pt x="2477" y="18144"/>
                    <a:pt x="2477" y="18144"/>
                  </a:cubicBezTo>
                  <a:cubicBezTo>
                    <a:pt x="2400" y="18144"/>
                    <a:pt x="2400" y="18144"/>
                    <a:pt x="2400" y="18144"/>
                  </a:cubicBezTo>
                  <a:cubicBezTo>
                    <a:pt x="2323" y="18448"/>
                    <a:pt x="2323" y="18448"/>
                    <a:pt x="2323" y="18448"/>
                  </a:cubicBezTo>
                  <a:cubicBezTo>
                    <a:pt x="2245" y="18600"/>
                    <a:pt x="2245" y="18600"/>
                    <a:pt x="2245" y="18600"/>
                  </a:cubicBezTo>
                  <a:cubicBezTo>
                    <a:pt x="2245" y="18600"/>
                    <a:pt x="2245" y="18600"/>
                    <a:pt x="2245" y="18600"/>
                  </a:cubicBezTo>
                  <a:cubicBezTo>
                    <a:pt x="2245" y="18600"/>
                    <a:pt x="2245" y="18600"/>
                    <a:pt x="2245" y="18600"/>
                  </a:cubicBezTo>
                  <a:cubicBezTo>
                    <a:pt x="2245" y="18600"/>
                    <a:pt x="2168" y="18600"/>
                    <a:pt x="2168" y="18752"/>
                  </a:cubicBezTo>
                  <a:cubicBezTo>
                    <a:pt x="2168" y="18752"/>
                    <a:pt x="2090" y="18752"/>
                    <a:pt x="2013" y="18752"/>
                  </a:cubicBezTo>
                  <a:cubicBezTo>
                    <a:pt x="2013" y="18752"/>
                    <a:pt x="1858" y="18752"/>
                    <a:pt x="1858" y="18752"/>
                  </a:cubicBezTo>
                  <a:cubicBezTo>
                    <a:pt x="1781" y="18600"/>
                    <a:pt x="1781" y="18600"/>
                    <a:pt x="1781" y="18600"/>
                  </a:cubicBezTo>
                  <a:cubicBezTo>
                    <a:pt x="1548" y="18448"/>
                    <a:pt x="1548" y="18448"/>
                    <a:pt x="1548" y="18448"/>
                  </a:cubicBezTo>
                  <a:cubicBezTo>
                    <a:pt x="1548" y="18448"/>
                    <a:pt x="1548" y="18448"/>
                    <a:pt x="1548" y="18448"/>
                  </a:cubicBezTo>
                  <a:cubicBezTo>
                    <a:pt x="1394" y="18296"/>
                    <a:pt x="1394" y="18296"/>
                    <a:pt x="1394" y="18296"/>
                  </a:cubicBezTo>
                  <a:cubicBezTo>
                    <a:pt x="1316" y="18144"/>
                    <a:pt x="1316" y="18144"/>
                    <a:pt x="1316" y="18144"/>
                  </a:cubicBezTo>
                  <a:cubicBezTo>
                    <a:pt x="1316" y="17839"/>
                    <a:pt x="1316" y="17839"/>
                    <a:pt x="1316" y="17839"/>
                  </a:cubicBezTo>
                  <a:cubicBezTo>
                    <a:pt x="1161" y="17535"/>
                    <a:pt x="1161" y="17535"/>
                    <a:pt x="1161" y="17535"/>
                  </a:cubicBezTo>
                  <a:cubicBezTo>
                    <a:pt x="852" y="17383"/>
                    <a:pt x="852" y="17383"/>
                    <a:pt x="852" y="17383"/>
                  </a:cubicBezTo>
                  <a:cubicBezTo>
                    <a:pt x="619" y="17231"/>
                    <a:pt x="619" y="17231"/>
                    <a:pt x="619" y="17231"/>
                  </a:cubicBezTo>
                  <a:cubicBezTo>
                    <a:pt x="465" y="17231"/>
                    <a:pt x="465" y="17231"/>
                    <a:pt x="465" y="17231"/>
                  </a:cubicBezTo>
                  <a:cubicBezTo>
                    <a:pt x="465" y="17231"/>
                    <a:pt x="155" y="17231"/>
                    <a:pt x="155" y="17231"/>
                  </a:cubicBezTo>
                  <a:cubicBezTo>
                    <a:pt x="155" y="17231"/>
                    <a:pt x="77" y="17231"/>
                    <a:pt x="77" y="17231"/>
                  </a:cubicBezTo>
                  <a:cubicBezTo>
                    <a:pt x="77" y="17231"/>
                    <a:pt x="77" y="17231"/>
                    <a:pt x="77" y="17231"/>
                  </a:cubicBezTo>
                  <a:cubicBezTo>
                    <a:pt x="77" y="17231"/>
                    <a:pt x="77" y="17231"/>
                    <a:pt x="77" y="17231"/>
                  </a:cubicBezTo>
                  <a:cubicBezTo>
                    <a:pt x="77" y="17231"/>
                    <a:pt x="77" y="17231"/>
                    <a:pt x="77" y="17231"/>
                  </a:cubicBezTo>
                  <a:cubicBezTo>
                    <a:pt x="155" y="17231"/>
                    <a:pt x="155" y="17231"/>
                    <a:pt x="155" y="17231"/>
                  </a:cubicBezTo>
                  <a:cubicBezTo>
                    <a:pt x="155" y="17231"/>
                    <a:pt x="155" y="17079"/>
                    <a:pt x="155" y="17079"/>
                  </a:cubicBezTo>
                  <a:cubicBezTo>
                    <a:pt x="155" y="17079"/>
                    <a:pt x="155" y="17079"/>
                    <a:pt x="155" y="17079"/>
                  </a:cubicBezTo>
                  <a:cubicBezTo>
                    <a:pt x="155" y="17079"/>
                    <a:pt x="232" y="17231"/>
                    <a:pt x="232" y="17231"/>
                  </a:cubicBezTo>
                  <a:cubicBezTo>
                    <a:pt x="232" y="17231"/>
                    <a:pt x="232" y="17231"/>
                    <a:pt x="232" y="17231"/>
                  </a:cubicBezTo>
                  <a:cubicBezTo>
                    <a:pt x="232" y="17231"/>
                    <a:pt x="232" y="17231"/>
                    <a:pt x="232" y="17231"/>
                  </a:cubicBezTo>
                  <a:cubicBezTo>
                    <a:pt x="232" y="17231"/>
                    <a:pt x="310" y="17079"/>
                    <a:pt x="310" y="17079"/>
                  </a:cubicBezTo>
                  <a:cubicBezTo>
                    <a:pt x="310" y="17079"/>
                    <a:pt x="310" y="17079"/>
                    <a:pt x="310" y="17079"/>
                  </a:cubicBezTo>
                  <a:cubicBezTo>
                    <a:pt x="310" y="17079"/>
                    <a:pt x="310" y="17079"/>
                    <a:pt x="310" y="17079"/>
                  </a:cubicBezTo>
                  <a:cubicBezTo>
                    <a:pt x="310" y="17079"/>
                    <a:pt x="310" y="17079"/>
                    <a:pt x="310" y="17079"/>
                  </a:cubicBezTo>
                  <a:cubicBezTo>
                    <a:pt x="310" y="17079"/>
                    <a:pt x="310" y="17079"/>
                    <a:pt x="310" y="17079"/>
                  </a:cubicBezTo>
                  <a:cubicBezTo>
                    <a:pt x="310" y="17079"/>
                    <a:pt x="310" y="17079"/>
                    <a:pt x="310" y="17079"/>
                  </a:cubicBezTo>
                  <a:cubicBezTo>
                    <a:pt x="310" y="17079"/>
                    <a:pt x="310" y="17079"/>
                    <a:pt x="387" y="17079"/>
                  </a:cubicBezTo>
                  <a:cubicBezTo>
                    <a:pt x="387" y="17079"/>
                    <a:pt x="387" y="17079"/>
                    <a:pt x="387" y="16927"/>
                  </a:cubicBezTo>
                  <a:cubicBezTo>
                    <a:pt x="387" y="16927"/>
                    <a:pt x="387" y="16927"/>
                    <a:pt x="387" y="16927"/>
                  </a:cubicBezTo>
                  <a:cubicBezTo>
                    <a:pt x="387" y="16927"/>
                    <a:pt x="387" y="16927"/>
                    <a:pt x="310" y="16927"/>
                  </a:cubicBezTo>
                  <a:cubicBezTo>
                    <a:pt x="310" y="16927"/>
                    <a:pt x="310" y="16927"/>
                    <a:pt x="310" y="16927"/>
                  </a:cubicBezTo>
                  <a:cubicBezTo>
                    <a:pt x="310" y="16927"/>
                    <a:pt x="310" y="16927"/>
                    <a:pt x="310" y="16775"/>
                  </a:cubicBezTo>
                  <a:cubicBezTo>
                    <a:pt x="310" y="16775"/>
                    <a:pt x="387" y="16775"/>
                    <a:pt x="387" y="16775"/>
                  </a:cubicBezTo>
                  <a:cubicBezTo>
                    <a:pt x="387" y="16775"/>
                    <a:pt x="387" y="16775"/>
                    <a:pt x="310" y="16775"/>
                  </a:cubicBezTo>
                  <a:cubicBezTo>
                    <a:pt x="310" y="16775"/>
                    <a:pt x="310" y="16775"/>
                    <a:pt x="310" y="16775"/>
                  </a:cubicBezTo>
                  <a:cubicBezTo>
                    <a:pt x="310" y="16622"/>
                    <a:pt x="310" y="16775"/>
                    <a:pt x="310" y="16775"/>
                  </a:cubicBezTo>
                  <a:cubicBezTo>
                    <a:pt x="310" y="16622"/>
                    <a:pt x="310" y="16622"/>
                    <a:pt x="310" y="16622"/>
                  </a:cubicBezTo>
                  <a:cubicBezTo>
                    <a:pt x="310" y="16622"/>
                    <a:pt x="310" y="16622"/>
                    <a:pt x="310" y="16622"/>
                  </a:cubicBezTo>
                  <a:cubicBezTo>
                    <a:pt x="310" y="16622"/>
                    <a:pt x="310" y="16622"/>
                    <a:pt x="310" y="16622"/>
                  </a:cubicBezTo>
                  <a:cubicBezTo>
                    <a:pt x="310" y="16622"/>
                    <a:pt x="310" y="16622"/>
                    <a:pt x="310" y="16622"/>
                  </a:cubicBezTo>
                  <a:cubicBezTo>
                    <a:pt x="310" y="16622"/>
                    <a:pt x="310" y="16622"/>
                    <a:pt x="310" y="16622"/>
                  </a:cubicBezTo>
                  <a:cubicBezTo>
                    <a:pt x="232" y="16622"/>
                    <a:pt x="232" y="16622"/>
                    <a:pt x="232" y="16622"/>
                  </a:cubicBezTo>
                  <a:cubicBezTo>
                    <a:pt x="232" y="16622"/>
                    <a:pt x="232" y="16622"/>
                    <a:pt x="232" y="16622"/>
                  </a:cubicBezTo>
                  <a:cubicBezTo>
                    <a:pt x="232" y="16470"/>
                    <a:pt x="232" y="16470"/>
                    <a:pt x="232" y="16470"/>
                  </a:cubicBezTo>
                  <a:cubicBezTo>
                    <a:pt x="232" y="16470"/>
                    <a:pt x="232" y="16470"/>
                    <a:pt x="232" y="16470"/>
                  </a:cubicBezTo>
                  <a:cubicBezTo>
                    <a:pt x="232" y="16470"/>
                    <a:pt x="232" y="16470"/>
                    <a:pt x="232" y="16470"/>
                  </a:cubicBezTo>
                  <a:cubicBezTo>
                    <a:pt x="232" y="16470"/>
                    <a:pt x="232" y="16318"/>
                    <a:pt x="232" y="16318"/>
                  </a:cubicBezTo>
                  <a:cubicBezTo>
                    <a:pt x="232" y="16318"/>
                    <a:pt x="232" y="16318"/>
                    <a:pt x="232" y="16318"/>
                  </a:cubicBezTo>
                  <a:cubicBezTo>
                    <a:pt x="232" y="16318"/>
                    <a:pt x="232" y="16318"/>
                    <a:pt x="232" y="16318"/>
                  </a:cubicBezTo>
                  <a:cubicBezTo>
                    <a:pt x="232" y="16318"/>
                    <a:pt x="232" y="16318"/>
                    <a:pt x="232" y="16318"/>
                  </a:cubicBezTo>
                  <a:cubicBezTo>
                    <a:pt x="232" y="16318"/>
                    <a:pt x="232" y="16318"/>
                    <a:pt x="232" y="16318"/>
                  </a:cubicBezTo>
                  <a:cubicBezTo>
                    <a:pt x="232" y="16318"/>
                    <a:pt x="232" y="16318"/>
                    <a:pt x="232" y="16318"/>
                  </a:cubicBezTo>
                  <a:cubicBezTo>
                    <a:pt x="232" y="16166"/>
                    <a:pt x="232" y="16318"/>
                    <a:pt x="232" y="16166"/>
                  </a:cubicBezTo>
                  <a:cubicBezTo>
                    <a:pt x="232" y="16166"/>
                    <a:pt x="232" y="16166"/>
                    <a:pt x="232" y="16166"/>
                  </a:cubicBezTo>
                  <a:cubicBezTo>
                    <a:pt x="232" y="16166"/>
                    <a:pt x="232" y="16166"/>
                    <a:pt x="232" y="16166"/>
                  </a:cubicBezTo>
                  <a:cubicBezTo>
                    <a:pt x="232" y="16166"/>
                    <a:pt x="155" y="16166"/>
                    <a:pt x="155" y="16014"/>
                  </a:cubicBezTo>
                  <a:cubicBezTo>
                    <a:pt x="155" y="16014"/>
                    <a:pt x="155" y="16014"/>
                    <a:pt x="155" y="16014"/>
                  </a:cubicBezTo>
                  <a:cubicBezTo>
                    <a:pt x="155" y="16014"/>
                    <a:pt x="155" y="16014"/>
                    <a:pt x="155" y="16014"/>
                  </a:cubicBezTo>
                  <a:cubicBezTo>
                    <a:pt x="155" y="16014"/>
                    <a:pt x="155" y="16014"/>
                    <a:pt x="155" y="16014"/>
                  </a:cubicBezTo>
                  <a:cubicBezTo>
                    <a:pt x="155" y="16166"/>
                    <a:pt x="155" y="16166"/>
                    <a:pt x="155" y="16166"/>
                  </a:cubicBezTo>
                  <a:cubicBezTo>
                    <a:pt x="155" y="16318"/>
                    <a:pt x="155" y="16318"/>
                    <a:pt x="155" y="16318"/>
                  </a:cubicBezTo>
                  <a:cubicBezTo>
                    <a:pt x="77" y="16318"/>
                    <a:pt x="77" y="16318"/>
                    <a:pt x="77" y="16318"/>
                  </a:cubicBezTo>
                  <a:cubicBezTo>
                    <a:pt x="77" y="16166"/>
                    <a:pt x="77" y="16166"/>
                    <a:pt x="77" y="16166"/>
                  </a:cubicBezTo>
                  <a:cubicBezTo>
                    <a:pt x="155" y="15710"/>
                    <a:pt x="155" y="15710"/>
                    <a:pt x="155" y="15710"/>
                  </a:cubicBezTo>
                  <a:cubicBezTo>
                    <a:pt x="310" y="15405"/>
                    <a:pt x="310" y="15405"/>
                    <a:pt x="310" y="15405"/>
                  </a:cubicBezTo>
                  <a:cubicBezTo>
                    <a:pt x="310" y="15405"/>
                    <a:pt x="310" y="15101"/>
                    <a:pt x="387" y="15101"/>
                  </a:cubicBezTo>
                  <a:cubicBezTo>
                    <a:pt x="387" y="14949"/>
                    <a:pt x="387" y="14797"/>
                    <a:pt x="387" y="14797"/>
                  </a:cubicBezTo>
                  <a:cubicBezTo>
                    <a:pt x="542" y="14645"/>
                    <a:pt x="542" y="14645"/>
                    <a:pt x="542" y="14645"/>
                  </a:cubicBezTo>
                  <a:cubicBezTo>
                    <a:pt x="542" y="14645"/>
                    <a:pt x="619" y="14493"/>
                    <a:pt x="619" y="14493"/>
                  </a:cubicBezTo>
                  <a:cubicBezTo>
                    <a:pt x="619" y="14341"/>
                    <a:pt x="542" y="14189"/>
                    <a:pt x="542" y="14189"/>
                  </a:cubicBezTo>
                  <a:cubicBezTo>
                    <a:pt x="542" y="14036"/>
                    <a:pt x="619" y="13884"/>
                    <a:pt x="619" y="13884"/>
                  </a:cubicBezTo>
                  <a:cubicBezTo>
                    <a:pt x="542" y="13884"/>
                    <a:pt x="542"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732"/>
                  </a:cubicBezTo>
                  <a:cubicBezTo>
                    <a:pt x="465" y="13732"/>
                    <a:pt x="465" y="13732"/>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465" y="13580"/>
                    <a:pt x="465" y="13580"/>
                    <a:pt x="465" y="13580"/>
                  </a:cubicBezTo>
                  <a:cubicBezTo>
                    <a:pt x="619" y="13276"/>
                    <a:pt x="774" y="12972"/>
                    <a:pt x="774" y="12972"/>
                  </a:cubicBezTo>
                  <a:cubicBezTo>
                    <a:pt x="774" y="12972"/>
                    <a:pt x="929" y="12820"/>
                    <a:pt x="1084" y="12972"/>
                  </a:cubicBezTo>
                  <a:cubicBezTo>
                    <a:pt x="1161" y="13124"/>
                    <a:pt x="1316" y="13428"/>
                    <a:pt x="1394" y="13580"/>
                  </a:cubicBezTo>
                  <a:cubicBezTo>
                    <a:pt x="1394" y="13580"/>
                    <a:pt x="1471" y="13732"/>
                    <a:pt x="1548" y="13732"/>
                  </a:cubicBezTo>
                  <a:cubicBezTo>
                    <a:pt x="1626" y="13732"/>
                    <a:pt x="1703" y="13884"/>
                    <a:pt x="1703" y="13884"/>
                  </a:cubicBezTo>
                  <a:cubicBezTo>
                    <a:pt x="1703" y="14036"/>
                    <a:pt x="1781" y="13884"/>
                    <a:pt x="1781" y="14189"/>
                  </a:cubicBezTo>
                  <a:cubicBezTo>
                    <a:pt x="1703" y="14493"/>
                    <a:pt x="1703" y="14797"/>
                    <a:pt x="1781" y="14797"/>
                  </a:cubicBezTo>
                  <a:cubicBezTo>
                    <a:pt x="1935" y="14645"/>
                    <a:pt x="2013" y="14493"/>
                    <a:pt x="2013" y="14645"/>
                  </a:cubicBezTo>
                  <a:cubicBezTo>
                    <a:pt x="2013" y="14797"/>
                    <a:pt x="2090" y="14645"/>
                    <a:pt x="2013" y="14949"/>
                  </a:cubicBezTo>
                  <a:cubicBezTo>
                    <a:pt x="2013" y="15253"/>
                    <a:pt x="1935" y="15405"/>
                    <a:pt x="2013" y="15405"/>
                  </a:cubicBezTo>
                  <a:cubicBezTo>
                    <a:pt x="2168" y="15558"/>
                    <a:pt x="2323" y="15710"/>
                    <a:pt x="2400" y="15558"/>
                  </a:cubicBezTo>
                  <a:cubicBezTo>
                    <a:pt x="2477" y="15253"/>
                    <a:pt x="2400" y="15558"/>
                    <a:pt x="2477" y="15253"/>
                  </a:cubicBezTo>
                  <a:cubicBezTo>
                    <a:pt x="2555" y="14797"/>
                    <a:pt x="2555" y="14949"/>
                    <a:pt x="2632" y="14797"/>
                  </a:cubicBezTo>
                  <a:cubicBezTo>
                    <a:pt x="2632" y="14493"/>
                    <a:pt x="2632" y="14645"/>
                    <a:pt x="2710" y="14341"/>
                  </a:cubicBezTo>
                  <a:cubicBezTo>
                    <a:pt x="2710" y="14036"/>
                    <a:pt x="2787" y="14189"/>
                    <a:pt x="2710" y="14036"/>
                  </a:cubicBezTo>
                  <a:cubicBezTo>
                    <a:pt x="2710" y="14036"/>
                    <a:pt x="2710" y="13884"/>
                    <a:pt x="2632" y="13732"/>
                  </a:cubicBezTo>
                  <a:cubicBezTo>
                    <a:pt x="2632" y="13428"/>
                    <a:pt x="2477" y="13580"/>
                    <a:pt x="2710" y="13428"/>
                  </a:cubicBezTo>
                  <a:cubicBezTo>
                    <a:pt x="2865" y="13276"/>
                    <a:pt x="2942" y="13276"/>
                    <a:pt x="2942" y="13276"/>
                  </a:cubicBezTo>
                  <a:cubicBezTo>
                    <a:pt x="2942" y="13124"/>
                    <a:pt x="3174" y="13124"/>
                    <a:pt x="3174" y="13124"/>
                  </a:cubicBezTo>
                  <a:cubicBezTo>
                    <a:pt x="3174" y="13124"/>
                    <a:pt x="3406" y="13124"/>
                    <a:pt x="3406" y="13124"/>
                  </a:cubicBezTo>
                  <a:cubicBezTo>
                    <a:pt x="3484" y="13124"/>
                    <a:pt x="3794" y="13124"/>
                    <a:pt x="3794" y="13276"/>
                  </a:cubicBezTo>
                  <a:cubicBezTo>
                    <a:pt x="3794" y="13428"/>
                    <a:pt x="3948" y="13428"/>
                    <a:pt x="3948" y="13428"/>
                  </a:cubicBezTo>
                  <a:cubicBezTo>
                    <a:pt x="3948" y="13428"/>
                    <a:pt x="4103" y="13428"/>
                    <a:pt x="4181" y="13732"/>
                  </a:cubicBezTo>
                  <a:cubicBezTo>
                    <a:pt x="4181" y="14189"/>
                    <a:pt x="4181" y="14493"/>
                    <a:pt x="4258" y="14341"/>
                  </a:cubicBezTo>
                  <a:cubicBezTo>
                    <a:pt x="4335" y="14341"/>
                    <a:pt x="4490" y="14645"/>
                    <a:pt x="4490" y="14493"/>
                  </a:cubicBezTo>
                  <a:cubicBezTo>
                    <a:pt x="4568" y="14341"/>
                    <a:pt x="4645" y="14189"/>
                    <a:pt x="4723" y="14189"/>
                  </a:cubicBezTo>
                  <a:cubicBezTo>
                    <a:pt x="4800" y="14189"/>
                    <a:pt x="4645" y="14036"/>
                    <a:pt x="4877" y="14036"/>
                  </a:cubicBezTo>
                  <a:cubicBezTo>
                    <a:pt x="5187" y="14189"/>
                    <a:pt x="5110" y="14341"/>
                    <a:pt x="5265" y="14036"/>
                  </a:cubicBezTo>
                  <a:cubicBezTo>
                    <a:pt x="5342" y="13732"/>
                    <a:pt x="5342" y="13732"/>
                    <a:pt x="5497" y="13580"/>
                  </a:cubicBezTo>
                  <a:cubicBezTo>
                    <a:pt x="5574" y="13428"/>
                    <a:pt x="5574" y="13428"/>
                    <a:pt x="5652" y="13276"/>
                  </a:cubicBezTo>
                  <a:cubicBezTo>
                    <a:pt x="5652" y="13276"/>
                    <a:pt x="5961" y="13276"/>
                    <a:pt x="5961" y="13276"/>
                  </a:cubicBezTo>
                  <a:cubicBezTo>
                    <a:pt x="6039" y="13124"/>
                    <a:pt x="6116" y="12820"/>
                    <a:pt x="6194" y="12820"/>
                  </a:cubicBezTo>
                  <a:cubicBezTo>
                    <a:pt x="6194" y="12820"/>
                    <a:pt x="6503" y="12820"/>
                    <a:pt x="6581" y="12820"/>
                  </a:cubicBezTo>
                  <a:cubicBezTo>
                    <a:pt x="6658" y="12820"/>
                    <a:pt x="6813" y="12820"/>
                    <a:pt x="6890" y="12667"/>
                  </a:cubicBezTo>
                  <a:cubicBezTo>
                    <a:pt x="6890" y="12515"/>
                    <a:pt x="6890" y="12515"/>
                    <a:pt x="6968" y="12363"/>
                  </a:cubicBezTo>
                  <a:cubicBezTo>
                    <a:pt x="7123" y="12363"/>
                    <a:pt x="7200" y="12363"/>
                    <a:pt x="7355" y="12363"/>
                  </a:cubicBezTo>
                  <a:cubicBezTo>
                    <a:pt x="7510" y="12363"/>
                    <a:pt x="7510" y="12363"/>
                    <a:pt x="7587" y="12363"/>
                  </a:cubicBezTo>
                  <a:cubicBezTo>
                    <a:pt x="7665" y="12363"/>
                    <a:pt x="7742" y="12667"/>
                    <a:pt x="7742" y="12211"/>
                  </a:cubicBezTo>
                  <a:cubicBezTo>
                    <a:pt x="7665" y="11755"/>
                    <a:pt x="7587" y="11755"/>
                    <a:pt x="7665" y="11603"/>
                  </a:cubicBezTo>
                  <a:cubicBezTo>
                    <a:pt x="7819" y="11603"/>
                    <a:pt x="7974" y="11603"/>
                    <a:pt x="7974" y="11603"/>
                  </a:cubicBezTo>
                  <a:cubicBezTo>
                    <a:pt x="8052" y="11603"/>
                    <a:pt x="8361" y="11755"/>
                    <a:pt x="8439" y="11755"/>
                  </a:cubicBezTo>
                  <a:cubicBezTo>
                    <a:pt x="8439" y="11755"/>
                    <a:pt x="8516" y="12059"/>
                    <a:pt x="8516" y="12059"/>
                  </a:cubicBezTo>
                  <a:cubicBezTo>
                    <a:pt x="8594" y="12059"/>
                    <a:pt x="8671" y="12211"/>
                    <a:pt x="8748" y="12059"/>
                  </a:cubicBezTo>
                  <a:cubicBezTo>
                    <a:pt x="8748" y="12059"/>
                    <a:pt x="8826" y="11755"/>
                    <a:pt x="8903" y="11755"/>
                  </a:cubicBezTo>
                  <a:cubicBezTo>
                    <a:pt x="8981" y="11755"/>
                    <a:pt x="9213" y="11755"/>
                    <a:pt x="9213" y="11755"/>
                  </a:cubicBezTo>
                  <a:cubicBezTo>
                    <a:pt x="9213" y="11755"/>
                    <a:pt x="9523" y="11907"/>
                    <a:pt x="9523" y="11907"/>
                  </a:cubicBezTo>
                  <a:cubicBezTo>
                    <a:pt x="9523" y="11907"/>
                    <a:pt x="9445" y="12211"/>
                    <a:pt x="9445" y="12363"/>
                  </a:cubicBezTo>
                  <a:cubicBezTo>
                    <a:pt x="9445" y="12515"/>
                    <a:pt x="9445" y="12667"/>
                    <a:pt x="9523" y="12820"/>
                  </a:cubicBezTo>
                  <a:cubicBezTo>
                    <a:pt x="9523" y="12820"/>
                    <a:pt x="9677" y="13124"/>
                    <a:pt x="9677" y="13124"/>
                  </a:cubicBezTo>
                  <a:cubicBezTo>
                    <a:pt x="9677" y="13124"/>
                    <a:pt x="10065" y="13428"/>
                    <a:pt x="10065" y="13428"/>
                  </a:cubicBezTo>
                  <a:cubicBezTo>
                    <a:pt x="10065" y="13428"/>
                    <a:pt x="10142" y="13580"/>
                    <a:pt x="10142" y="12972"/>
                  </a:cubicBezTo>
                  <a:cubicBezTo>
                    <a:pt x="10142" y="12363"/>
                    <a:pt x="10142" y="12211"/>
                    <a:pt x="10142" y="12211"/>
                  </a:cubicBezTo>
                  <a:cubicBezTo>
                    <a:pt x="10142" y="11603"/>
                    <a:pt x="10142" y="11603"/>
                    <a:pt x="10142" y="11603"/>
                  </a:cubicBezTo>
                  <a:cubicBezTo>
                    <a:pt x="10142" y="11603"/>
                    <a:pt x="10142" y="11451"/>
                    <a:pt x="10065" y="11451"/>
                  </a:cubicBezTo>
                  <a:cubicBezTo>
                    <a:pt x="10065" y="11451"/>
                    <a:pt x="9987" y="11451"/>
                    <a:pt x="9987" y="11451"/>
                  </a:cubicBezTo>
                  <a:cubicBezTo>
                    <a:pt x="9987" y="11451"/>
                    <a:pt x="9677" y="11298"/>
                    <a:pt x="9600" y="11298"/>
                  </a:cubicBezTo>
                  <a:cubicBezTo>
                    <a:pt x="9523" y="11298"/>
                    <a:pt x="9600" y="10994"/>
                    <a:pt x="9600" y="10842"/>
                  </a:cubicBezTo>
                  <a:cubicBezTo>
                    <a:pt x="9600" y="10842"/>
                    <a:pt x="9755" y="10538"/>
                    <a:pt x="9755" y="10538"/>
                  </a:cubicBezTo>
                  <a:cubicBezTo>
                    <a:pt x="9755" y="10082"/>
                    <a:pt x="9755" y="10082"/>
                    <a:pt x="9755" y="10082"/>
                  </a:cubicBezTo>
                  <a:cubicBezTo>
                    <a:pt x="9523" y="9321"/>
                    <a:pt x="9523" y="9321"/>
                    <a:pt x="9523" y="9321"/>
                  </a:cubicBezTo>
                  <a:cubicBezTo>
                    <a:pt x="9290" y="8865"/>
                    <a:pt x="9290" y="8865"/>
                    <a:pt x="9290" y="8865"/>
                  </a:cubicBezTo>
                  <a:cubicBezTo>
                    <a:pt x="9135" y="8104"/>
                    <a:pt x="9135" y="8104"/>
                    <a:pt x="9135" y="8104"/>
                  </a:cubicBezTo>
                  <a:cubicBezTo>
                    <a:pt x="9135" y="8104"/>
                    <a:pt x="9135" y="8104"/>
                    <a:pt x="9135" y="8104"/>
                  </a:cubicBezTo>
                  <a:cubicBezTo>
                    <a:pt x="9135" y="8104"/>
                    <a:pt x="9135" y="8104"/>
                    <a:pt x="9135" y="8104"/>
                  </a:cubicBezTo>
                  <a:cubicBezTo>
                    <a:pt x="9368" y="7800"/>
                    <a:pt x="9368" y="7800"/>
                    <a:pt x="9368" y="7800"/>
                  </a:cubicBezTo>
                  <a:cubicBezTo>
                    <a:pt x="9523" y="7496"/>
                    <a:pt x="9755" y="7191"/>
                    <a:pt x="9755" y="7191"/>
                  </a:cubicBezTo>
                  <a:cubicBezTo>
                    <a:pt x="9755" y="7191"/>
                    <a:pt x="9755" y="7191"/>
                    <a:pt x="9832" y="7191"/>
                  </a:cubicBezTo>
                  <a:cubicBezTo>
                    <a:pt x="9987" y="6887"/>
                    <a:pt x="9987" y="6887"/>
                    <a:pt x="9987" y="6887"/>
                  </a:cubicBezTo>
                  <a:cubicBezTo>
                    <a:pt x="9987" y="6887"/>
                    <a:pt x="10374" y="6583"/>
                    <a:pt x="10374" y="6583"/>
                  </a:cubicBezTo>
                  <a:cubicBezTo>
                    <a:pt x="10374" y="6583"/>
                    <a:pt x="10452" y="6431"/>
                    <a:pt x="10452" y="6431"/>
                  </a:cubicBezTo>
                  <a:cubicBezTo>
                    <a:pt x="10529" y="6431"/>
                    <a:pt x="10529" y="6431"/>
                    <a:pt x="10529" y="6431"/>
                  </a:cubicBezTo>
                  <a:cubicBezTo>
                    <a:pt x="10916" y="5670"/>
                    <a:pt x="10916" y="5670"/>
                    <a:pt x="10916" y="5670"/>
                  </a:cubicBezTo>
                  <a:cubicBezTo>
                    <a:pt x="10916" y="4910"/>
                    <a:pt x="10916" y="4910"/>
                    <a:pt x="10916" y="4910"/>
                  </a:cubicBezTo>
                  <a:cubicBezTo>
                    <a:pt x="10994" y="4605"/>
                    <a:pt x="10994" y="4605"/>
                    <a:pt x="10994" y="4605"/>
                  </a:cubicBezTo>
                  <a:cubicBezTo>
                    <a:pt x="10994" y="4453"/>
                    <a:pt x="10994" y="4149"/>
                    <a:pt x="10994" y="4149"/>
                  </a:cubicBezTo>
                  <a:cubicBezTo>
                    <a:pt x="11458" y="4149"/>
                    <a:pt x="11458" y="4149"/>
                    <a:pt x="11458" y="4149"/>
                  </a:cubicBezTo>
                  <a:cubicBezTo>
                    <a:pt x="11458" y="4149"/>
                    <a:pt x="11535" y="4301"/>
                    <a:pt x="11613" y="4453"/>
                  </a:cubicBezTo>
                  <a:cubicBezTo>
                    <a:pt x="11690" y="4453"/>
                    <a:pt x="11768" y="4301"/>
                    <a:pt x="11768" y="4301"/>
                  </a:cubicBezTo>
                  <a:cubicBezTo>
                    <a:pt x="11845" y="4301"/>
                    <a:pt x="11923" y="3997"/>
                    <a:pt x="11923" y="3997"/>
                  </a:cubicBezTo>
                  <a:cubicBezTo>
                    <a:pt x="11923" y="3541"/>
                    <a:pt x="11923" y="3541"/>
                    <a:pt x="11923" y="3541"/>
                  </a:cubicBezTo>
                  <a:cubicBezTo>
                    <a:pt x="11845" y="2780"/>
                    <a:pt x="11845" y="2780"/>
                    <a:pt x="11845" y="2780"/>
                  </a:cubicBezTo>
                  <a:cubicBezTo>
                    <a:pt x="11845" y="2324"/>
                    <a:pt x="11845" y="2324"/>
                    <a:pt x="11845" y="2324"/>
                  </a:cubicBezTo>
                  <a:cubicBezTo>
                    <a:pt x="11845" y="2324"/>
                    <a:pt x="11845" y="2324"/>
                    <a:pt x="11845" y="2324"/>
                  </a:cubicBezTo>
                  <a:cubicBezTo>
                    <a:pt x="11923" y="2324"/>
                    <a:pt x="12232" y="2780"/>
                    <a:pt x="12387" y="2932"/>
                  </a:cubicBezTo>
                  <a:cubicBezTo>
                    <a:pt x="12465" y="3084"/>
                    <a:pt x="12697" y="3541"/>
                    <a:pt x="12697" y="3541"/>
                  </a:cubicBezTo>
                  <a:cubicBezTo>
                    <a:pt x="12697" y="3541"/>
                    <a:pt x="13084" y="3693"/>
                    <a:pt x="13161" y="3693"/>
                  </a:cubicBezTo>
                  <a:cubicBezTo>
                    <a:pt x="13161" y="3693"/>
                    <a:pt x="13548" y="3845"/>
                    <a:pt x="13548" y="3845"/>
                  </a:cubicBezTo>
                  <a:cubicBezTo>
                    <a:pt x="13626" y="3541"/>
                    <a:pt x="13626" y="3541"/>
                    <a:pt x="13626" y="3541"/>
                  </a:cubicBezTo>
                  <a:cubicBezTo>
                    <a:pt x="13858" y="3236"/>
                    <a:pt x="13858" y="3236"/>
                    <a:pt x="13858" y="3236"/>
                  </a:cubicBezTo>
                  <a:cubicBezTo>
                    <a:pt x="14168" y="3693"/>
                    <a:pt x="14168" y="3693"/>
                    <a:pt x="14168" y="3693"/>
                  </a:cubicBezTo>
                  <a:cubicBezTo>
                    <a:pt x="14477" y="3541"/>
                    <a:pt x="14477" y="3541"/>
                    <a:pt x="14477" y="3541"/>
                  </a:cubicBezTo>
                  <a:close/>
                  <a:moveTo>
                    <a:pt x="387" y="13732"/>
                  </a:moveTo>
                  <a:cubicBezTo>
                    <a:pt x="387" y="13732"/>
                    <a:pt x="387" y="13732"/>
                    <a:pt x="387" y="13732"/>
                  </a:cubicBezTo>
                  <a:cubicBezTo>
                    <a:pt x="387" y="13732"/>
                    <a:pt x="387" y="13732"/>
                    <a:pt x="387" y="13732"/>
                  </a:cubicBezTo>
                  <a:cubicBezTo>
                    <a:pt x="387" y="13732"/>
                    <a:pt x="387" y="13732"/>
                    <a:pt x="387" y="13732"/>
                  </a:cubicBezTo>
                  <a:close/>
                  <a:moveTo>
                    <a:pt x="77" y="17231"/>
                  </a:moveTo>
                  <a:cubicBezTo>
                    <a:pt x="77" y="17231"/>
                    <a:pt x="77" y="17231"/>
                    <a:pt x="77" y="17231"/>
                  </a:cubicBezTo>
                  <a:cubicBezTo>
                    <a:pt x="77" y="17231"/>
                    <a:pt x="77" y="17231"/>
                    <a:pt x="77" y="17231"/>
                  </a:cubicBezTo>
                  <a:cubicBezTo>
                    <a:pt x="77" y="17231"/>
                    <a:pt x="77" y="17231"/>
                    <a:pt x="77" y="17231"/>
                  </a:cubicBezTo>
                  <a:cubicBezTo>
                    <a:pt x="77" y="17231"/>
                    <a:pt x="77" y="17231"/>
                    <a:pt x="77" y="17231"/>
                  </a:cubicBezTo>
                  <a:close/>
                  <a:moveTo>
                    <a:pt x="77" y="17231"/>
                  </a:moveTo>
                  <a:cubicBezTo>
                    <a:pt x="77" y="17231"/>
                    <a:pt x="77" y="17231"/>
                    <a:pt x="77" y="17231"/>
                  </a:cubicBezTo>
                  <a:cubicBezTo>
                    <a:pt x="77" y="17231"/>
                    <a:pt x="77" y="17079"/>
                    <a:pt x="77" y="17079"/>
                  </a:cubicBezTo>
                  <a:cubicBezTo>
                    <a:pt x="77" y="17079"/>
                    <a:pt x="77" y="17079"/>
                    <a:pt x="77" y="17079"/>
                  </a:cubicBezTo>
                  <a:cubicBezTo>
                    <a:pt x="77" y="17079"/>
                    <a:pt x="155" y="17079"/>
                    <a:pt x="155" y="16927"/>
                  </a:cubicBezTo>
                  <a:cubicBezTo>
                    <a:pt x="155" y="16927"/>
                    <a:pt x="155" y="16927"/>
                    <a:pt x="155" y="16927"/>
                  </a:cubicBezTo>
                  <a:cubicBezTo>
                    <a:pt x="155" y="16927"/>
                    <a:pt x="155" y="16927"/>
                    <a:pt x="155" y="16927"/>
                  </a:cubicBezTo>
                  <a:cubicBezTo>
                    <a:pt x="155" y="16927"/>
                    <a:pt x="155" y="16927"/>
                    <a:pt x="155" y="16927"/>
                  </a:cubicBezTo>
                  <a:cubicBezTo>
                    <a:pt x="77" y="16927"/>
                    <a:pt x="77" y="16927"/>
                    <a:pt x="77" y="16927"/>
                  </a:cubicBezTo>
                  <a:cubicBezTo>
                    <a:pt x="0" y="17231"/>
                    <a:pt x="0" y="17231"/>
                    <a:pt x="0" y="17231"/>
                  </a:cubicBezTo>
                  <a:lnTo>
                    <a:pt x="77" y="1723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8" name="Shape 2251">
              <a:extLst>
                <a:ext uri="{FF2B5EF4-FFF2-40B4-BE49-F238E27FC236}">
                  <a16:creationId xmlns:a16="http://schemas.microsoft.com/office/drawing/2014/main" id="{D123E89B-B8F4-1F86-3147-14016537D677}"/>
                </a:ext>
              </a:extLst>
            </p:cNvPr>
            <p:cNvSpPr/>
            <p:nvPr/>
          </p:nvSpPr>
          <p:spPr>
            <a:xfrm>
              <a:off x="1499238" y="4970688"/>
              <a:ext cx="2143476" cy="2152874"/>
            </a:xfrm>
            <a:custGeom>
              <a:avLst/>
              <a:gdLst/>
              <a:ahLst/>
              <a:cxnLst>
                <a:cxn ang="0">
                  <a:pos x="wd2" y="hd2"/>
                </a:cxn>
                <a:cxn ang="5400000">
                  <a:pos x="wd2" y="hd2"/>
                </a:cxn>
                <a:cxn ang="10800000">
                  <a:pos x="wd2" y="hd2"/>
                </a:cxn>
                <a:cxn ang="16200000">
                  <a:pos x="wd2" y="hd2"/>
                </a:cxn>
              </a:cxnLst>
              <a:rect l="0" t="0" r="r" b="b"/>
              <a:pathLst>
                <a:path w="21600" h="21600" extrusionOk="0">
                  <a:moveTo>
                    <a:pt x="10758" y="18910"/>
                  </a:moveTo>
                  <a:cubicBezTo>
                    <a:pt x="10842" y="18790"/>
                    <a:pt x="10842" y="18790"/>
                    <a:pt x="10842" y="18790"/>
                  </a:cubicBezTo>
                  <a:cubicBezTo>
                    <a:pt x="10842" y="18790"/>
                    <a:pt x="10842" y="18549"/>
                    <a:pt x="10758" y="18509"/>
                  </a:cubicBezTo>
                  <a:cubicBezTo>
                    <a:pt x="10717" y="18468"/>
                    <a:pt x="10675" y="18428"/>
                    <a:pt x="10675" y="18428"/>
                  </a:cubicBezTo>
                  <a:cubicBezTo>
                    <a:pt x="10675" y="18428"/>
                    <a:pt x="10675" y="18268"/>
                    <a:pt x="10675" y="18187"/>
                  </a:cubicBezTo>
                  <a:cubicBezTo>
                    <a:pt x="10675" y="18147"/>
                    <a:pt x="10675" y="17987"/>
                    <a:pt x="10675" y="17946"/>
                  </a:cubicBezTo>
                  <a:cubicBezTo>
                    <a:pt x="10675" y="17906"/>
                    <a:pt x="10717" y="17746"/>
                    <a:pt x="10717" y="17706"/>
                  </a:cubicBezTo>
                  <a:cubicBezTo>
                    <a:pt x="10717" y="17706"/>
                    <a:pt x="10675" y="17706"/>
                    <a:pt x="10758" y="17625"/>
                  </a:cubicBezTo>
                  <a:cubicBezTo>
                    <a:pt x="10842" y="17505"/>
                    <a:pt x="10842" y="17425"/>
                    <a:pt x="10842" y="17425"/>
                  </a:cubicBezTo>
                  <a:cubicBezTo>
                    <a:pt x="11008" y="17224"/>
                    <a:pt x="11008" y="17224"/>
                    <a:pt x="11008" y="17224"/>
                  </a:cubicBezTo>
                  <a:cubicBezTo>
                    <a:pt x="11008" y="17224"/>
                    <a:pt x="11132" y="17023"/>
                    <a:pt x="11174" y="17023"/>
                  </a:cubicBezTo>
                  <a:cubicBezTo>
                    <a:pt x="11215" y="17063"/>
                    <a:pt x="11382" y="17023"/>
                    <a:pt x="11423" y="17023"/>
                  </a:cubicBezTo>
                  <a:cubicBezTo>
                    <a:pt x="11465" y="17023"/>
                    <a:pt x="11631" y="17184"/>
                    <a:pt x="11714" y="17023"/>
                  </a:cubicBezTo>
                  <a:cubicBezTo>
                    <a:pt x="11797" y="16903"/>
                    <a:pt x="11838" y="16822"/>
                    <a:pt x="11838" y="16782"/>
                  </a:cubicBezTo>
                  <a:cubicBezTo>
                    <a:pt x="11880" y="16742"/>
                    <a:pt x="11922" y="16622"/>
                    <a:pt x="12046" y="16622"/>
                  </a:cubicBezTo>
                  <a:cubicBezTo>
                    <a:pt x="12171" y="16581"/>
                    <a:pt x="12462" y="16581"/>
                    <a:pt x="12462" y="16581"/>
                  </a:cubicBezTo>
                  <a:cubicBezTo>
                    <a:pt x="12586" y="16622"/>
                    <a:pt x="12586" y="16622"/>
                    <a:pt x="12586" y="16622"/>
                  </a:cubicBezTo>
                  <a:cubicBezTo>
                    <a:pt x="12918" y="16742"/>
                    <a:pt x="12918" y="16742"/>
                    <a:pt x="12918" y="16742"/>
                  </a:cubicBezTo>
                  <a:cubicBezTo>
                    <a:pt x="12918" y="16742"/>
                    <a:pt x="13043" y="16742"/>
                    <a:pt x="13126" y="16742"/>
                  </a:cubicBezTo>
                  <a:cubicBezTo>
                    <a:pt x="13168" y="16742"/>
                    <a:pt x="13209" y="16742"/>
                    <a:pt x="13209" y="16742"/>
                  </a:cubicBezTo>
                  <a:cubicBezTo>
                    <a:pt x="13334" y="16903"/>
                    <a:pt x="13334" y="16903"/>
                    <a:pt x="13334" y="16903"/>
                  </a:cubicBezTo>
                  <a:cubicBezTo>
                    <a:pt x="13334" y="16903"/>
                    <a:pt x="13500" y="16983"/>
                    <a:pt x="13542" y="16983"/>
                  </a:cubicBezTo>
                  <a:cubicBezTo>
                    <a:pt x="13583" y="16983"/>
                    <a:pt x="13915" y="16903"/>
                    <a:pt x="13915" y="16903"/>
                  </a:cubicBezTo>
                  <a:cubicBezTo>
                    <a:pt x="13915" y="16903"/>
                    <a:pt x="14040" y="16862"/>
                    <a:pt x="14082" y="16903"/>
                  </a:cubicBezTo>
                  <a:cubicBezTo>
                    <a:pt x="14123" y="16943"/>
                    <a:pt x="14248" y="16983"/>
                    <a:pt x="14289" y="17023"/>
                  </a:cubicBezTo>
                  <a:cubicBezTo>
                    <a:pt x="14289" y="17063"/>
                    <a:pt x="14622" y="17224"/>
                    <a:pt x="14705" y="17264"/>
                  </a:cubicBezTo>
                  <a:cubicBezTo>
                    <a:pt x="14746" y="17304"/>
                    <a:pt x="14912" y="17264"/>
                    <a:pt x="14912" y="17264"/>
                  </a:cubicBezTo>
                  <a:cubicBezTo>
                    <a:pt x="14995" y="17465"/>
                    <a:pt x="14995" y="17465"/>
                    <a:pt x="14995" y="17465"/>
                  </a:cubicBezTo>
                  <a:cubicBezTo>
                    <a:pt x="15411" y="17585"/>
                    <a:pt x="15411" y="17585"/>
                    <a:pt x="15411" y="17585"/>
                  </a:cubicBezTo>
                  <a:cubicBezTo>
                    <a:pt x="15577" y="17585"/>
                    <a:pt x="15577" y="17585"/>
                    <a:pt x="15577" y="17585"/>
                  </a:cubicBezTo>
                  <a:cubicBezTo>
                    <a:pt x="16158" y="17786"/>
                    <a:pt x="16158" y="17786"/>
                    <a:pt x="16158" y="17786"/>
                  </a:cubicBezTo>
                  <a:cubicBezTo>
                    <a:pt x="16532" y="17505"/>
                    <a:pt x="16532" y="17505"/>
                    <a:pt x="16532" y="17505"/>
                  </a:cubicBezTo>
                  <a:cubicBezTo>
                    <a:pt x="16532" y="17505"/>
                    <a:pt x="16615" y="17545"/>
                    <a:pt x="16657" y="17545"/>
                  </a:cubicBezTo>
                  <a:cubicBezTo>
                    <a:pt x="16698" y="17545"/>
                    <a:pt x="16782" y="17224"/>
                    <a:pt x="16782" y="17224"/>
                  </a:cubicBezTo>
                  <a:cubicBezTo>
                    <a:pt x="16782" y="17224"/>
                    <a:pt x="16782" y="17143"/>
                    <a:pt x="16823" y="17143"/>
                  </a:cubicBezTo>
                  <a:cubicBezTo>
                    <a:pt x="16906" y="17143"/>
                    <a:pt x="17197" y="17023"/>
                    <a:pt x="17197" y="17023"/>
                  </a:cubicBezTo>
                  <a:cubicBezTo>
                    <a:pt x="17197" y="16983"/>
                    <a:pt x="17155" y="16822"/>
                    <a:pt x="17280" y="16782"/>
                  </a:cubicBezTo>
                  <a:cubicBezTo>
                    <a:pt x="17363" y="16742"/>
                    <a:pt x="17529" y="16622"/>
                    <a:pt x="17529" y="16622"/>
                  </a:cubicBezTo>
                  <a:cubicBezTo>
                    <a:pt x="17571" y="16581"/>
                    <a:pt x="17488" y="16501"/>
                    <a:pt x="17612" y="16461"/>
                  </a:cubicBezTo>
                  <a:cubicBezTo>
                    <a:pt x="17695" y="16461"/>
                    <a:pt x="17820" y="16421"/>
                    <a:pt x="17903" y="16421"/>
                  </a:cubicBezTo>
                  <a:cubicBezTo>
                    <a:pt x="17903" y="16421"/>
                    <a:pt x="17903" y="16421"/>
                    <a:pt x="17903" y="16421"/>
                  </a:cubicBezTo>
                  <a:cubicBezTo>
                    <a:pt x="17903" y="16381"/>
                    <a:pt x="17903" y="16381"/>
                    <a:pt x="17903" y="16381"/>
                  </a:cubicBezTo>
                  <a:cubicBezTo>
                    <a:pt x="17903" y="16381"/>
                    <a:pt x="17903" y="16381"/>
                    <a:pt x="17903" y="16381"/>
                  </a:cubicBezTo>
                  <a:cubicBezTo>
                    <a:pt x="17945" y="16381"/>
                    <a:pt x="17945" y="16381"/>
                    <a:pt x="17945" y="16381"/>
                  </a:cubicBezTo>
                  <a:cubicBezTo>
                    <a:pt x="17945" y="16381"/>
                    <a:pt x="17945" y="16381"/>
                    <a:pt x="17945" y="16381"/>
                  </a:cubicBezTo>
                  <a:cubicBezTo>
                    <a:pt x="17945" y="16381"/>
                    <a:pt x="17945" y="16381"/>
                    <a:pt x="17945" y="16381"/>
                  </a:cubicBezTo>
                  <a:cubicBezTo>
                    <a:pt x="17945" y="16381"/>
                    <a:pt x="17945" y="16381"/>
                    <a:pt x="17945" y="16381"/>
                  </a:cubicBezTo>
                  <a:cubicBezTo>
                    <a:pt x="17945" y="16381"/>
                    <a:pt x="17945" y="16381"/>
                    <a:pt x="17945" y="16381"/>
                  </a:cubicBezTo>
                  <a:cubicBezTo>
                    <a:pt x="17945" y="16381"/>
                    <a:pt x="17945" y="16381"/>
                    <a:pt x="17945" y="16381"/>
                  </a:cubicBezTo>
                  <a:cubicBezTo>
                    <a:pt x="17986" y="16341"/>
                    <a:pt x="17986" y="16341"/>
                    <a:pt x="17986" y="16341"/>
                  </a:cubicBezTo>
                  <a:cubicBezTo>
                    <a:pt x="17986" y="16341"/>
                    <a:pt x="17986" y="16341"/>
                    <a:pt x="17986" y="16341"/>
                  </a:cubicBezTo>
                  <a:cubicBezTo>
                    <a:pt x="17986" y="16341"/>
                    <a:pt x="17986" y="16341"/>
                    <a:pt x="17986"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28" y="16341"/>
                    <a:pt x="18028" y="16341"/>
                    <a:pt x="18028" y="16341"/>
                  </a:cubicBezTo>
                  <a:cubicBezTo>
                    <a:pt x="18069" y="16341"/>
                    <a:pt x="18069" y="16341"/>
                    <a:pt x="18069" y="16341"/>
                  </a:cubicBezTo>
                  <a:cubicBezTo>
                    <a:pt x="18069" y="16341"/>
                    <a:pt x="18069" y="16341"/>
                    <a:pt x="18069" y="16341"/>
                  </a:cubicBezTo>
                  <a:cubicBezTo>
                    <a:pt x="18069" y="16341"/>
                    <a:pt x="18069" y="16341"/>
                    <a:pt x="18069" y="16341"/>
                  </a:cubicBezTo>
                  <a:cubicBezTo>
                    <a:pt x="18069" y="16341"/>
                    <a:pt x="18069" y="16341"/>
                    <a:pt x="18069" y="16341"/>
                  </a:cubicBezTo>
                  <a:cubicBezTo>
                    <a:pt x="18069" y="16300"/>
                    <a:pt x="18069" y="16300"/>
                    <a:pt x="18069" y="16300"/>
                  </a:cubicBezTo>
                  <a:cubicBezTo>
                    <a:pt x="18069" y="16300"/>
                    <a:pt x="18069" y="16300"/>
                    <a:pt x="18069" y="16300"/>
                  </a:cubicBezTo>
                  <a:cubicBezTo>
                    <a:pt x="18069" y="16300"/>
                    <a:pt x="18069" y="16300"/>
                    <a:pt x="18069" y="16300"/>
                  </a:cubicBezTo>
                  <a:cubicBezTo>
                    <a:pt x="18069" y="16300"/>
                    <a:pt x="18069" y="16300"/>
                    <a:pt x="18069" y="16300"/>
                  </a:cubicBezTo>
                  <a:cubicBezTo>
                    <a:pt x="18069" y="16300"/>
                    <a:pt x="18069" y="16300"/>
                    <a:pt x="18069" y="16300"/>
                  </a:cubicBezTo>
                  <a:cubicBezTo>
                    <a:pt x="18069" y="16300"/>
                    <a:pt x="18069" y="16300"/>
                    <a:pt x="18069"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11" y="16300"/>
                    <a:pt x="18111" y="16300"/>
                    <a:pt x="18111" y="16300"/>
                  </a:cubicBezTo>
                  <a:cubicBezTo>
                    <a:pt x="18152" y="16260"/>
                    <a:pt x="18194" y="16260"/>
                    <a:pt x="18194" y="16260"/>
                  </a:cubicBezTo>
                  <a:cubicBezTo>
                    <a:pt x="18443" y="16059"/>
                    <a:pt x="18443" y="16059"/>
                    <a:pt x="18443" y="16059"/>
                  </a:cubicBezTo>
                  <a:cubicBezTo>
                    <a:pt x="18568" y="15618"/>
                    <a:pt x="18568" y="15618"/>
                    <a:pt x="18568" y="15618"/>
                  </a:cubicBezTo>
                  <a:cubicBezTo>
                    <a:pt x="18402" y="15497"/>
                    <a:pt x="18402" y="15497"/>
                    <a:pt x="18402" y="15497"/>
                  </a:cubicBezTo>
                  <a:cubicBezTo>
                    <a:pt x="18028" y="15497"/>
                    <a:pt x="18028" y="15497"/>
                    <a:pt x="18028" y="15497"/>
                  </a:cubicBezTo>
                  <a:cubicBezTo>
                    <a:pt x="17612" y="15337"/>
                    <a:pt x="17612" y="15337"/>
                    <a:pt x="17612" y="15337"/>
                  </a:cubicBezTo>
                  <a:cubicBezTo>
                    <a:pt x="17405" y="15016"/>
                    <a:pt x="17405" y="15016"/>
                    <a:pt x="17405" y="15016"/>
                  </a:cubicBezTo>
                  <a:cubicBezTo>
                    <a:pt x="17280" y="15016"/>
                    <a:pt x="17280" y="15016"/>
                    <a:pt x="17280" y="15016"/>
                  </a:cubicBezTo>
                  <a:cubicBezTo>
                    <a:pt x="17238" y="14735"/>
                    <a:pt x="17155" y="14855"/>
                    <a:pt x="17322" y="14654"/>
                  </a:cubicBezTo>
                  <a:cubicBezTo>
                    <a:pt x="17488" y="14413"/>
                    <a:pt x="17488" y="14413"/>
                    <a:pt x="17488" y="14413"/>
                  </a:cubicBezTo>
                  <a:cubicBezTo>
                    <a:pt x="17446" y="14012"/>
                    <a:pt x="17446" y="14012"/>
                    <a:pt x="17446" y="14012"/>
                  </a:cubicBezTo>
                  <a:cubicBezTo>
                    <a:pt x="17322" y="13891"/>
                    <a:pt x="17322" y="13891"/>
                    <a:pt x="17322" y="13891"/>
                  </a:cubicBezTo>
                  <a:cubicBezTo>
                    <a:pt x="17114" y="13771"/>
                    <a:pt x="17114" y="13771"/>
                    <a:pt x="17114" y="13771"/>
                  </a:cubicBezTo>
                  <a:cubicBezTo>
                    <a:pt x="17114" y="13771"/>
                    <a:pt x="16989" y="13610"/>
                    <a:pt x="16948" y="13570"/>
                  </a:cubicBezTo>
                  <a:cubicBezTo>
                    <a:pt x="16948" y="13570"/>
                    <a:pt x="16948" y="13490"/>
                    <a:pt x="16948" y="13490"/>
                  </a:cubicBezTo>
                  <a:cubicBezTo>
                    <a:pt x="16906" y="13450"/>
                    <a:pt x="17072" y="13450"/>
                    <a:pt x="17072" y="13450"/>
                  </a:cubicBezTo>
                  <a:cubicBezTo>
                    <a:pt x="17114" y="13450"/>
                    <a:pt x="17238" y="13410"/>
                    <a:pt x="17280" y="13410"/>
                  </a:cubicBezTo>
                  <a:cubicBezTo>
                    <a:pt x="17322" y="13410"/>
                    <a:pt x="17488" y="13249"/>
                    <a:pt x="17488" y="13249"/>
                  </a:cubicBezTo>
                  <a:cubicBezTo>
                    <a:pt x="17488" y="13249"/>
                    <a:pt x="17571" y="13088"/>
                    <a:pt x="17654" y="13048"/>
                  </a:cubicBezTo>
                  <a:cubicBezTo>
                    <a:pt x="17695" y="13008"/>
                    <a:pt x="17778" y="12687"/>
                    <a:pt x="17778" y="12647"/>
                  </a:cubicBezTo>
                  <a:cubicBezTo>
                    <a:pt x="17778" y="12647"/>
                    <a:pt x="17695" y="12446"/>
                    <a:pt x="17654" y="12446"/>
                  </a:cubicBezTo>
                  <a:cubicBezTo>
                    <a:pt x="17280" y="12286"/>
                    <a:pt x="17363" y="12205"/>
                    <a:pt x="17197" y="12125"/>
                  </a:cubicBezTo>
                  <a:cubicBezTo>
                    <a:pt x="17197" y="11924"/>
                    <a:pt x="17197" y="11924"/>
                    <a:pt x="17197" y="11924"/>
                  </a:cubicBezTo>
                  <a:cubicBezTo>
                    <a:pt x="17405" y="11764"/>
                    <a:pt x="17405" y="11764"/>
                    <a:pt x="17405" y="11764"/>
                  </a:cubicBezTo>
                  <a:cubicBezTo>
                    <a:pt x="17446" y="11723"/>
                    <a:pt x="17529" y="11683"/>
                    <a:pt x="17571" y="11683"/>
                  </a:cubicBezTo>
                  <a:cubicBezTo>
                    <a:pt x="17612" y="11603"/>
                    <a:pt x="17612" y="11603"/>
                    <a:pt x="17612" y="11603"/>
                  </a:cubicBezTo>
                  <a:cubicBezTo>
                    <a:pt x="17612" y="11603"/>
                    <a:pt x="17529" y="11523"/>
                    <a:pt x="17529" y="11523"/>
                  </a:cubicBezTo>
                  <a:cubicBezTo>
                    <a:pt x="17529" y="11523"/>
                    <a:pt x="17488" y="11483"/>
                    <a:pt x="17446" y="11483"/>
                  </a:cubicBezTo>
                  <a:cubicBezTo>
                    <a:pt x="17446" y="11483"/>
                    <a:pt x="17405" y="11442"/>
                    <a:pt x="17405" y="11442"/>
                  </a:cubicBezTo>
                  <a:cubicBezTo>
                    <a:pt x="17405" y="11442"/>
                    <a:pt x="17363" y="11402"/>
                    <a:pt x="17322" y="11402"/>
                  </a:cubicBezTo>
                  <a:cubicBezTo>
                    <a:pt x="17280" y="11402"/>
                    <a:pt x="17322" y="11322"/>
                    <a:pt x="17363" y="11322"/>
                  </a:cubicBezTo>
                  <a:cubicBezTo>
                    <a:pt x="17363" y="11282"/>
                    <a:pt x="17363" y="11201"/>
                    <a:pt x="17363" y="11201"/>
                  </a:cubicBezTo>
                  <a:cubicBezTo>
                    <a:pt x="17363" y="11201"/>
                    <a:pt x="17238" y="11201"/>
                    <a:pt x="17197" y="11201"/>
                  </a:cubicBezTo>
                  <a:cubicBezTo>
                    <a:pt x="17197" y="11161"/>
                    <a:pt x="17197" y="11161"/>
                    <a:pt x="17197" y="11161"/>
                  </a:cubicBezTo>
                  <a:cubicBezTo>
                    <a:pt x="17197" y="11161"/>
                    <a:pt x="17238" y="11041"/>
                    <a:pt x="17280" y="11041"/>
                  </a:cubicBezTo>
                  <a:cubicBezTo>
                    <a:pt x="17280" y="11001"/>
                    <a:pt x="17280" y="10961"/>
                    <a:pt x="17280" y="10961"/>
                  </a:cubicBezTo>
                  <a:cubicBezTo>
                    <a:pt x="17280" y="10961"/>
                    <a:pt x="17280" y="10920"/>
                    <a:pt x="17280" y="10840"/>
                  </a:cubicBezTo>
                  <a:cubicBezTo>
                    <a:pt x="17322" y="10800"/>
                    <a:pt x="17280" y="10800"/>
                    <a:pt x="17280" y="10800"/>
                  </a:cubicBezTo>
                  <a:cubicBezTo>
                    <a:pt x="17280" y="10800"/>
                    <a:pt x="17238" y="10760"/>
                    <a:pt x="17197" y="10760"/>
                  </a:cubicBezTo>
                  <a:cubicBezTo>
                    <a:pt x="17197" y="10760"/>
                    <a:pt x="17197" y="10760"/>
                    <a:pt x="17238" y="10720"/>
                  </a:cubicBezTo>
                  <a:cubicBezTo>
                    <a:pt x="17280" y="10639"/>
                    <a:pt x="17280" y="10680"/>
                    <a:pt x="17280" y="10680"/>
                  </a:cubicBezTo>
                  <a:cubicBezTo>
                    <a:pt x="17280" y="10599"/>
                    <a:pt x="17280" y="10599"/>
                    <a:pt x="17280" y="10599"/>
                  </a:cubicBezTo>
                  <a:cubicBezTo>
                    <a:pt x="17197" y="10559"/>
                    <a:pt x="17197" y="10559"/>
                    <a:pt x="17197" y="10559"/>
                  </a:cubicBezTo>
                  <a:cubicBezTo>
                    <a:pt x="17072" y="10479"/>
                    <a:pt x="17072" y="10479"/>
                    <a:pt x="17072" y="10479"/>
                  </a:cubicBezTo>
                  <a:cubicBezTo>
                    <a:pt x="17072" y="10479"/>
                    <a:pt x="16906" y="10479"/>
                    <a:pt x="16906" y="10479"/>
                  </a:cubicBezTo>
                  <a:cubicBezTo>
                    <a:pt x="16906" y="10479"/>
                    <a:pt x="16782" y="10479"/>
                    <a:pt x="16782" y="10479"/>
                  </a:cubicBezTo>
                  <a:cubicBezTo>
                    <a:pt x="16698" y="10519"/>
                    <a:pt x="16698" y="10519"/>
                    <a:pt x="16698" y="10519"/>
                  </a:cubicBezTo>
                  <a:cubicBezTo>
                    <a:pt x="16657" y="10559"/>
                    <a:pt x="16657" y="10559"/>
                    <a:pt x="16657" y="10559"/>
                  </a:cubicBezTo>
                  <a:cubicBezTo>
                    <a:pt x="16532" y="10599"/>
                    <a:pt x="16532" y="10599"/>
                    <a:pt x="16532" y="10599"/>
                  </a:cubicBezTo>
                  <a:cubicBezTo>
                    <a:pt x="16408" y="10639"/>
                    <a:pt x="16408" y="10639"/>
                    <a:pt x="16408" y="10639"/>
                  </a:cubicBezTo>
                  <a:cubicBezTo>
                    <a:pt x="16408" y="10639"/>
                    <a:pt x="16366" y="10720"/>
                    <a:pt x="16325" y="10760"/>
                  </a:cubicBezTo>
                  <a:cubicBezTo>
                    <a:pt x="16325" y="10760"/>
                    <a:pt x="16325" y="10800"/>
                    <a:pt x="16325" y="10800"/>
                  </a:cubicBezTo>
                  <a:cubicBezTo>
                    <a:pt x="16408" y="10840"/>
                    <a:pt x="16408" y="10840"/>
                    <a:pt x="16408" y="10840"/>
                  </a:cubicBezTo>
                  <a:cubicBezTo>
                    <a:pt x="16408" y="10920"/>
                    <a:pt x="16408" y="10920"/>
                    <a:pt x="16408" y="10920"/>
                  </a:cubicBezTo>
                  <a:cubicBezTo>
                    <a:pt x="16449" y="10920"/>
                    <a:pt x="16449" y="10920"/>
                    <a:pt x="16449" y="10920"/>
                  </a:cubicBezTo>
                  <a:cubicBezTo>
                    <a:pt x="16408" y="11001"/>
                    <a:pt x="16408" y="11001"/>
                    <a:pt x="16408" y="11001"/>
                  </a:cubicBezTo>
                  <a:cubicBezTo>
                    <a:pt x="16408" y="11001"/>
                    <a:pt x="16366" y="11001"/>
                    <a:pt x="16325" y="11041"/>
                  </a:cubicBezTo>
                  <a:cubicBezTo>
                    <a:pt x="16283" y="11081"/>
                    <a:pt x="16283" y="11121"/>
                    <a:pt x="16283" y="11121"/>
                  </a:cubicBezTo>
                  <a:cubicBezTo>
                    <a:pt x="16158" y="11161"/>
                    <a:pt x="16158" y="11161"/>
                    <a:pt x="16158" y="11161"/>
                  </a:cubicBezTo>
                  <a:cubicBezTo>
                    <a:pt x="16075" y="11121"/>
                    <a:pt x="16075" y="11121"/>
                    <a:pt x="16075" y="11121"/>
                  </a:cubicBezTo>
                  <a:cubicBezTo>
                    <a:pt x="15992" y="11161"/>
                    <a:pt x="15992" y="11161"/>
                    <a:pt x="15992" y="11161"/>
                  </a:cubicBezTo>
                  <a:cubicBezTo>
                    <a:pt x="15951" y="11161"/>
                    <a:pt x="15951" y="11161"/>
                    <a:pt x="15951" y="11161"/>
                  </a:cubicBezTo>
                  <a:cubicBezTo>
                    <a:pt x="15951" y="11081"/>
                    <a:pt x="15951" y="11081"/>
                    <a:pt x="15951" y="11081"/>
                  </a:cubicBezTo>
                  <a:cubicBezTo>
                    <a:pt x="15909" y="11041"/>
                    <a:pt x="15909" y="11041"/>
                    <a:pt x="15909" y="11041"/>
                  </a:cubicBezTo>
                  <a:cubicBezTo>
                    <a:pt x="15951" y="11001"/>
                    <a:pt x="15951" y="11001"/>
                    <a:pt x="15951" y="11001"/>
                  </a:cubicBezTo>
                  <a:cubicBezTo>
                    <a:pt x="15951" y="11001"/>
                    <a:pt x="15992" y="10961"/>
                    <a:pt x="15992" y="10961"/>
                  </a:cubicBezTo>
                  <a:cubicBezTo>
                    <a:pt x="16034" y="10961"/>
                    <a:pt x="16075" y="10920"/>
                    <a:pt x="16075" y="10920"/>
                  </a:cubicBezTo>
                  <a:cubicBezTo>
                    <a:pt x="16158" y="10920"/>
                    <a:pt x="16158" y="10920"/>
                    <a:pt x="16158" y="10920"/>
                  </a:cubicBezTo>
                  <a:cubicBezTo>
                    <a:pt x="16158" y="10840"/>
                    <a:pt x="16158" y="10840"/>
                    <a:pt x="16158" y="10840"/>
                  </a:cubicBezTo>
                  <a:cubicBezTo>
                    <a:pt x="16200" y="10760"/>
                    <a:pt x="16200" y="10760"/>
                    <a:pt x="16200" y="10760"/>
                  </a:cubicBezTo>
                  <a:cubicBezTo>
                    <a:pt x="16200" y="10639"/>
                    <a:pt x="16200" y="10639"/>
                    <a:pt x="16200" y="10639"/>
                  </a:cubicBezTo>
                  <a:cubicBezTo>
                    <a:pt x="16158" y="10599"/>
                    <a:pt x="16158" y="10599"/>
                    <a:pt x="16158" y="10599"/>
                  </a:cubicBezTo>
                  <a:cubicBezTo>
                    <a:pt x="16117" y="10559"/>
                    <a:pt x="16117" y="10559"/>
                    <a:pt x="16117" y="10559"/>
                  </a:cubicBezTo>
                  <a:cubicBezTo>
                    <a:pt x="16117" y="10519"/>
                    <a:pt x="16117" y="10519"/>
                    <a:pt x="16117" y="10519"/>
                  </a:cubicBezTo>
                  <a:cubicBezTo>
                    <a:pt x="16117" y="10439"/>
                    <a:pt x="16117" y="10439"/>
                    <a:pt x="16117" y="10439"/>
                  </a:cubicBezTo>
                  <a:cubicBezTo>
                    <a:pt x="16158" y="10399"/>
                    <a:pt x="16158" y="10399"/>
                    <a:pt x="16158" y="10399"/>
                  </a:cubicBezTo>
                  <a:cubicBezTo>
                    <a:pt x="16158" y="10399"/>
                    <a:pt x="16200" y="10358"/>
                    <a:pt x="16200" y="10318"/>
                  </a:cubicBezTo>
                  <a:cubicBezTo>
                    <a:pt x="16200" y="10318"/>
                    <a:pt x="16200" y="10238"/>
                    <a:pt x="16200" y="10238"/>
                  </a:cubicBezTo>
                  <a:cubicBezTo>
                    <a:pt x="16200" y="10238"/>
                    <a:pt x="16200" y="10198"/>
                    <a:pt x="16200" y="10198"/>
                  </a:cubicBezTo>
                  <a:cubicBezTo>
                    <a:pt x="16366" y="10037"/>
                    <a:pt x="16366" y="10037"/>
                    <a:pt x="16366" y="10037"/>
                  </a:cubicBezTo>
                  <a:cubicBezTo>
                    <a:pt x="16449" y="9957"/>
                    <a:pt x="16449" y="9957"/>
                    <a:pt x="16449" y="9957"/>
                  </a:cubicBezTo>
                  <a:cubicBezTo>
                    <a:pt x="16449" y="9957"/>
                    <a:pt x="16532" y="9957"/>
                    <a:pt x="16532" y="9917"/>
                  </a:cubicBezTo>
                  <a:cubicBezTo>
                    <a:pt x="16532" y="9917"/>
                    <a:pt x="16615" y="9917"/>
                    <a:pt x="16615" y="9917"/>
                  </a:cubicBezTo>
                  <a:cubicBezTo>
                    <a:pt x="16615" y="9917"/>
                    <a:pt x="16657" y="9877"/>
                    <a:pt x="16657" y="9877"/>
                  </a:cubicBezTo>
                  <a:cubicBezTo>
                    <a:pt x="16698" y="9836"/>
                    <a:pt x="16698" y="9796"/>
                    <a:pt x="16698" y="9796"/>
                  </a:cubicBezTo>
                  <a:cubicBezTo>
                    <a:pt x="16698" y="9796"/>
                    <a:pt x="16698" y="9756"/>
                    <a:pt x="16698" y="9756"/>
                  </a:cubicBezTo>
                  <a:cubicBezTo>
                    <a:pt x="16698" y="9756"/>
                    <a:pt x="16698" y="9716"/>
                    <a:pt x="16698" y="9716"/>
                  </a:cubicBezTo>
                  <a:cubicBezTo>
                    <a:pt x="16698" y="9716"/>
                    <a:pt x="16698" y="9676"/>
                    <a:pt x="16698" y="9676"/>
                  </a:cubicBezTo>
                  <a:cubicBezTo>
                    <a:pt x="16698" y="9636"/>
                    <a:pt x="16740" y="9636"/>
                    <a:pt x="16740" y="9636"/>
                  </a:cubicBezTo>
                  <a:cubicBezTo>
                    <a:pt x="16740" y="9555"/>
                    <a:pt x="16740" y="9555"/>
                    <a:pt x="16740" y="9555"/>
                  </a:cubicBezTo>
                  <a:cubicBezTo>
                    <a:pt x="16740" y="9555"/>
                    <a:pt x="16698" y="9515"/>
                    <a:pt x="16698" y="9475"/>
                  </a:cubicBezTo>
                  <a:cubicBezTo>
                    <a:pt x="16698" y="9475"/>
                    <a:pt x="16698" y="9475"/>
                    <a:pt x="16698" y="9435"/>
                  </a:cubicBezTo>
                  <a:cubicBezTo>
                    <a:pt x="16740" y="9395"/>
                    <a:pt x="16782" y="9395"/>
                    <a:pt x="16782" y="9395"/>
                  </a:cubicBezTo>
                  <a:cubicBezTo>
                    <a:pt x="16865" y="9395"/>
                    <a:pt x="16865" y="9395"/>
                    <a:pt x="16865" y="9395"/>
                  </a:cubicBezTo>
                  <a:cubicBezTo>
                    <a:pt x="16865" y="9395"/>
                    <a:pt x="16906" y="9355"/>
                    <a:pt x="16948" y="9355"/>
                  </a:cubicBezTo>
                  <a:cubicBezTo>
                    <a:pt x="16948" y="9355"/>
                    <a:pt x="16989" y="9314"/>
                    <a:pt x="16989" y="9314"/>
                  </a:cubicBezTo>
                  <a:cubicBezTo>
                    <a:pt x="17031" y="9234"/>
                    <a:pt x="17031" y="9234"/>
                    <a:pt x="17031" y="9234"/>
                  </a:cubicBezTo>
                  <a:cubicBezTo>
                    <a:pt x="17072" y="9234"/>
                    <a:pt x="17072" y="9234"/>
                    <a:pt x="17072" y="9234"/>
                  </a:cubicBezTo>
                  <a:cubicBezTo>
                    <a:pt x="17114" y="9194"/>
                    <a:pt x="17114" y="9194"/>
                    <a:pt x="17114" y="9194"/>
                  </a:cubicBezTo>
                  <a:cubicBezTo>
                    <a:pt x="17114" y="9114"/>
                    <a:pt x="17114" y="9114"/>
                    <a:pt x="17114" y="9114"/>
                  </a:cubicBezTo>
                  <a:cubicBezTo>
                    <a:pt x="17197" y="9074"/>
                    <a:pt x="17197" y="9074"/>
                    <a:pt x="17197" y="9074"/>
                  </a:cubicBezTo>
                  <a:cubicBezTo>
                    <a:pt x="17197" y="9033"/>
                    <a:pt x="17197" y="9033"/>
                    <a:pt x="17197" y="9033"/>
                  </a:cubicBezTo>
                  <a:cubicBezTo>
                    <a:pt x="17238" y="8993"/>
                    <a:pt x="17238" y="8993"/>
                    <a:pt x="17238" y="8993"/>
                  </a:cubicBezTo>
                  <a:cubicBezTo>
                    <a:pt x="17280" y="8993"/>
                    <a:pt x="17280" y="8993"/>
                    <a:pt x="17280" y="8993"/>
                  </a:cubicBezTo>
                  <a:cubicBezTo>
                    <a:pt x="17363" y="8913"/>
                    <a:pt x="17363" y="8913"/>
                    <a:pt x="17363" y="8913"/>
                  </a:cubicBezTo>
                  <a:cubicBezTo>
                    <a:pt x="17446" y="8873"/>
                    <a:pt x="17446" y="8873"/>
                    <a:pt x="17446" y="8873"/>
                  </a:cubicBezTo>
                  <a:cubicBezTo>
                    <a:pt x="17446" y="8873"/>
                    <a:pt x="17488" y="8793"/>
                    <a:pt x="17488" y="8752"/>
                  </a:cubicBezTo>
                  <a:cubicBezTo>
                    <a:pt x="17488" y="8712"/>
                    <a:pt x="17488" y="8712"/>
                    <a:pt x="17529" y="8672"/>
                  </a:cubicBezTo>
                  <a:cubicBezTo>
                    <a:pt x="17529" y="8672"/>
                    <a:pt x="17571" y="8672"/>
                    <a:pt x="17612" y="8632"/>
                  </a:cubicBezTo>
                  <a:cubicBezTo>
                    <a:pt x="17612" y="8632"/>
                    <a:pt x="17612" y="8592"/>
                    <a:pt x="17612" y="8592"/>
                  </a:cubicBezTo>
                  <a:cubicBezTo>
                    <a:pt x="17654" y="8592"/>
                    <a:pt x="17654" y="8592"/>
                    <a:pt x="17654" y="8592"/>
                  </a:cubicBezTo>
                  <a:cubicBezTo>
                    <a:pt x="17654" y="8512"/>
                    <a:pt x="17654" y="8512"/>
                    <a:pt x="17654" y="8512"/>
                  </a:cubicBezTo>
                  <a:cubicBezTo>
                    <a:pt x="17654" y="8471"/>
                    <a:pt x="17654" y="8471"/>
                    <a:pt x="17654" y="8471"/>
                  </a:cubicBezTo>
                  <a:cubicBezTo>
                    <a:pt x="17654" y="8471"/>
                    <a:pt x="17571" y="8512"/>
                    <a:pt x="17571" y="8512"/>
                  </a:cubicBezTo>
                  <a:cubicBezTo>
                    <a:pt x="17571" y="8512"/>
                    <a:pt x="17529" y="8512"/>
                    <a:pt x="17488" y="8512"/>
                  </a:cubicBezTo>
                  <a:cubicBezTo>
                    <a:pt x="17488" y="8512"/>
                    <a:pt x="17446" y="8512"/>
                    <a:pt x="17405" y="8512"/>
                  </a:cubicBezTo>
                  <a:cubicBezTo>
                    <a:pt x="17363" y="8471"/>
                    <a:pt x="17405" y="8471"/>
                    <a:pt x="17405" y="8471"/>
                  </a:cubicBezTo>
                  <a:cubicBezTo>
                    <a:pt x="17405" y="8471"/>
                    <a:pt x="17446" y="8471"/>
                    <a:pt x="17446" y="8431"/>
                  </a:cubicBezTo>
                  <a:cubicBezTo>
                    <a:pt x="17446" y="8431"/>
                    <a:pt x="17488" y="8351"/>
                    <a:pt x="17488" y="8351"/>
                  </a:cubicBezTo>
                  <a:cubicBezTo>
                    <a:pt x="17529" y="8351"/>
                    <a:pt x="17529" y="8351"/>
                    <a:pt x="17529" y="8351"/>
                  </a:cubicBezTo>
                  <a:cubicBezTo>
                    <a:pt x="17571" y="8311"/>
                    <a:pt x="17571" y="8311"/>
                    <a:pt x="17571" y="8311"/>
                  </a:cubicBezTo>
                  <a:cubicBezTo>
                    <a:pt x="17571" y="8311"/>
                    <a:pt x="17612" y="8311"/>
                    <a:pt x="17612" y="8311"/>
                  </a:cubicBezTo>
                  <a:cubicBezTo>
                    <a:pt x="17612" y="8311"/>
                    <a:pt x="17571" y="8271"/>
                    <a:pt x="17571" y="8271"/>
                  </a:cubicBezTo>
                  <a:cubicBezTo>
                    <a:pt x="17571" y="8190"/>
                    <a:pt x="17571" y="8190"/>
                    <a:pt x="17571" y="8190"/>
                  </a:cubicBezTo>
                  <a:cubicBezTo>
                    <a:pt x="17654" y="8230"/>
                    <a:pt x="17654" y="8230"/>
                    <a:pt x="17654" y="8230"/>
                  </a:cubicBezTo>
                  <a:cubicBezTo>
                    <a:pt x="17778" y="8230"/>
                    <a:pt x="17778" y="8230"/>
                    <a:pt x="17778" y="8230"/>
                  </a:cubicBezTo>
                  <a:cubicBezTo>
                    <a:pt x="17820" y="8190"/>
                    <a:pt x="17820" y="8190"/>
                    <a:pt x="17820" y="8190"/>
                  </a:cubicBezTo>
                  <a:cubicBezTo>
                    <a:pt x="17820" y="8190"/>
                    <a:pt x="17862" y="8271"/>
                    <a:pt x="17862" y="8271"/>
                  </a:cubicBezTo>
                  <a:cubicBezTo>
                    <a:pt x="17862" y="8311"/>
                    <a:pt x="17862" y="8351"/>
                    <a:pt x="17903" y="8351"/>
                  </a:cubicBezTo>
                  <a:cubicBezTo>
                    <a:pt x="17903" y="8351"/>
                    <a:pt x="17986" y="8391"/>
                    <a:pt x="17986" y="8391"/>
                  </a:cubicBezTo>
                  <a:cubicBezTo>
                    <a:pt x="17986" y="8391"/>
                    <a:pt x="17986" y="8351"/>
                    <a:pt x="18028" y="8351"/>
                  </a:cubicBezTo>
                  <a:cubicBezTo>
                    <a:pt x="18028" y="8351"/>
                    <a:pt x="18069" y="8351"/>
                    <a:pt x="18069" y="8351"/>
                  </a:cubicBezTo>
                  <a:cubicBezTo>
                    <a:pt x="18111" y="8351"/>
                    <a:pt x="18152" y="8351"/>
                    <a:pt x="18152" y="8351"/>
                  </a:cubicBezTo>
                  <a:cubicBezTo>
                    <a:pt x="18152" y="8351"/>
                    <a:pt x="18194" y="8351"/>
                    <a:pt x="18235" y="8351"/>
                  </a:cubicBezTo>
                  <a:cubicBezTo>
                    <a:pt x="18235" y="8311"/>
                    <a:pt x="18235" y="8311"/>
                    <a:pt x="18235" y="8311"/>
                  </a:cubicBezTo>
                  <a:cubicBezTo>
                    <a:pt x="18235" y="8311"/>
                    <a:pt x="18235" y="8271"/>
                    <a:pt x="18235" y="8271"/>
                  </a:cubicBezTo>
                  <a:cubicBezTo>
                    <a:pt x="18235" y="8271"/>
                    <a:pt x="18277" y="8190"/>
                    <a:pt x="18277" y="8190"/>
                  </a:cubicBezTo>
                  <a:cubicBezTo>
                    <a:pt x="18277" y="8190"/>
                    <a:pt x="18318" y="8190"/>
                    <a:pt x="18318" y="8190"/>
                  </a:cubicBezTo>
                  <a:cubicBezTo>
                    <a:pt x="18318" y="8190"/>
                    <a:pt x="18360" y="8190"/>
                    <a:pt x="18360" y="8190"/>
                  </a:cubicBezTo>
                  <a:cubicBezTo>
                    <a:pt x="18360" y="8190"/>
                    <a:pt x="18360" y="8150"/>
                    <a:pt x="18360" y="8150"/>
                  </a:cubicBezTo>
                  <a:cubicBezTo>
                    <a:pt x="18360" y="8150"/>
                    <a:pt x="18360" y="8110"/>
                    <a:pt x="18360" y="8110"/>
                  </a:cubicBezTo>
                  <a:cubicBezTo>
                    <a:pt x="18360" y="8110"/>
                    <a:pt x="18402" y="8110"/>
                    <a:pt x="18402" y="8110"/>
                  </a:cubicBezTo>
                  <a:cubicBezTo>
                    <a:pt x="18402" y="8030"/>
                    <a:pt x="18402" y="8030"/>
                    <a:pt x="18402" y="8030"/>
                  </a:cubicBezTo>
                  <a:cubicBezTo>
                    <a:pt x="18402" y="8030"/>
                    <a:pt x="18485" y="8030"/>
                    <a:pt x="18485" y="8030"/>
                  </a:cubicBezTo>
                  <a:cubicBezTo>
                    <a:pt x="18526" y="8030"/>
                    <a:pt x="18485" y="8030"/>
                    <a:pt x="18485" y="8030"/>
                  </a:cubicBezTo>
                  <a:cubicBezTo>
                    <a:pt x="18609" y="7990"/>
                    <a:pt x="18609" y="7990"/>
                    <a:pt x="18609" y="7990"/>
                  </a:cubicBezTo>
                  <a:cubicBezTo>
                    <a:pt x="18609" y="7990"/>
                    <a:pt x="18609" y="7990"/>
                    <a:pt x="18609" y="8030"/>
                  </a:cubicBezTo>
                  <a:cubicBezTo>
                    <a:pt x="18526" y="7909"/>
                    <a:pt x="18402" y="7749"/>
                    <a:pt x="18402" y="7749"/>
                  </a:cubicBezTo>
                  <a:cubicBezTo>
                    <a:pt x="18485" y="7588"/>
                    <a:pt x="18485" y="7588"/>
                    <a:pt x="18485" y="7588"/>
                  </a:cubicBezTo>
                  <a:cubicBezTo>
                    <a:pt x="18485" y="7588"/>
                    <a:pt x="18526" y="7307"/>
                    <a:pt x="18526" y="7227"/>
                  </a:cubicBezTo>
                  <a:cubicBezTo>
                    <a:pt x="18526" y="7187"/>
                    <a:pt x="18526" y="6946"/>
                    <a:pt x="18526" y="6946"/>
                  </a:cubicBezTo>
                  <a:cubicBezTo>
                    <a:pt x="18526" y="6946"/>
                    <a:pt x="18360" y="6906"/>
                    <a:pt x="18485" y="6785"/>
                  </a:cubicBezTo>
                  <a:cubicBezTo>
                    <a:pt x="18609" y="6625"/>
                    <a:pt x="18734" y="6424"/>
                    <a:pt x="18734" y="6424"/>
                  </a:cubicBezTo>
                  <a:cubicBezTo>
                    <a:pt x="18734" y="6022"/>
                    <a:pt x="18734" y="6022"/>
                    <a:pt x="18734" y="6022"/>
                  </a:cubicBezTo>
                  <a:cubicBezTo>
                    <a:pt x="18734" y="6022"/>
                    <a:pt x="18609" y="5902"/>
                    <a:pt x="18775" y="5822"/>
                  </a:cubicBezTo>
                  <a:cubicBezTo>
                    <a:pt x="18942" y="5701"/>
                    <a:pt x="19232" y="5340"/>
                    <a:pt x="19232" y="5340"/>
                  </a:cubicBezTo>
                  <a:cubicBezTo>
                    <a:pt x="19523" y="5019"/>
                    <a:pt x="19523" y="5019"/>
                    <a:pt x="19523" y="5019"/>
                  </a:cubicBezTo>
                  <a:cubicBezTo>
                    <a:pt x="19025" y="4898"/>
                    <a:pt x="19025" y="4898"/>
                    <a:pt x="19025" y="4898"/>
                  </a:cubicBezTo>
                  <a:cubicBezTo>
                    <a:pt x="18734" y="4858"/>
                    <a:pt x="18734" y="4858"/>
                    <a:pt x="18734" y="4858"/>
                  </a:cubicBezTo>
                  <a:cubicBezTo>
                    <a:pt x="18526" y="4738"/>
                    <a:pt x="18526" y="4738"/>
                    <a:pt x="18526" y="4738"/>
                  </a:cubicBezTo>
                  <a:cubicBezTo>
                    <a:pt x="18402" y="4537"/>
                    <a:pt x="18402" y="4537"/>
                    <a:pt x="18402" y="4537"/>
                  </a:cubicBezTo>
                  <a:cubicBezTo>
                    <a:pt x="18277" y="4617"/>
                    <a:pt x="18277" y="4617"/>
                    <a:pt x="18277" y="4617"/>
                  </a:cubicBezTo>
                  <a:cubicBezTo>
                    <a:pt x="18152" y="4697"/>
                    <a:pt x="18152" y="4697"/>
                    <a:pt x="18152" y="4697"/>
                  </a:cubicBezTo>
                  <a:cubicBezTo>
                    <a:pt x="17862" y="4657"/>
                    <a:pt x="17862" y="4657"/>
                    <a:pt x="17862" y="4657"/>
                  </a:cubicBezTo>
                  <a:cubicBezTo>
                    <a:pt x="17654" y="4457"/>
                    <a:pt x="17654" y="4457"/>
                    <a:pt x="17654" y="4457"/>
                  </a:cubicBezTo>
                  <a:cubicBezTo>
                    <a:pt x="17488" y="4577"/>
                    <a:pt x="17488" y="4577"/>
                    <a:pt x="17488" y="4577"/>
                  </a:cubicBezTo>
                  <a:cubicBezTo>
                    <a:pt x="17322" y="4457"/>
                    <a:pt x="17322" y="4457"/>
                    <a:pt x="17322" y="4457"/>
                  </a:cubicBezTo>
                  <a:cubicBezTo>
                    <a:pt x="17197" y="4256"/>
                    <a:pt x="17197" y="4256"/>
                    <a:pt x="17197" y="4256"/>
                  </a:cubicBezTo>
                  <a:cubicBezTo>
                    <a:pt x="17155" y="4095"/>
                    <a:pt x="17155" y="4095"/>
                    <a:pt x="17155" y="4095"/>
                  </a:cubicBezTo>
                  <a:cubicBezTo>
                    <a:pt x="16948" y="3894"/>
                    <a:pt x="16948" y="3894"/>
                    <a:pt x="16948" y="3894"/>
                  </a:cubicBezTo>
                  <a:cubicBezTo>
                    <a:pt x="16865" y="3894"/>
                    <a:pt x="16865" y="3894"/>
                    <a:pt x="16865" y="3894"/>
                  </a:cubicBezTo>
                  <a:cubicBezTo>
                    <a:pt x="16865" y="3935"/>
                    <a:pt x="16823" y="3935"/>
                    <a:pt x="16823" y="3935"/>
                  </a:cubicBezTo>
                  <a:cubicBezTo>
                    <a:pt x="16823" y="3935"/>
                    <a:pt x="16698" y="3894"/>
                    <a:pt x="16698" y="3894"/>
                  </a:cubicBezTo>
                  <a:cubicBezTo>
                    <a:pt x="16698" y="3814"/>
                    <a:pt x="16698" y="3814"/>
                    <a:pt x="16698" y="3814"/>
                  </a:cubicBezTo>
                  <a:cubicBezTo>
                    <a:pt x="16657" y="3774"/>
                    <a:pt x="16657" y="3774"/>
                    <a:pt x="16657" y="3774"/>
                  </a:cubicBezTo>
                  <a:cubicBezTo>
                    <a:pt x="16574" y="3774"/>
                    <a:pt x="16574" y="3774"/>
                    <a:pt x="16574" y="3774"/>
                  </a:cubicBezTo>
                  <a:cubicBezTo>
                    <a:pt x="16491" y="3814"/>
                    <a:pt x="16491" y="3814"/>
                    <a:pt x="16491" y="3814"/>
                  </a:cubicBezTo>
                  <a:cubicBezTo>
                    <a:pt x="16449" y="3854"/>
                    <a:pt x="16449" y="3854"/>
                    <a:pt x="16449" y="3854"/>
                  </a:cubicBezTo>
                  <a:cubicBezTo>
                    <a:pt x="16449" y="3854"/>
                    <a:pt x="16449" y="3854"/>
                    <a:pt x="16449" y="3854"/>
                  </a:cubicBezTo>
                  <a:cubicBezTo>
                    <a:pt x="16408" y="3894"/>
                    <a:pt x="16408" y="3894"/>
                    <a:pt x="16408" y="3894"/>
                  </a:cubicBezTo>
                  <a:cubicBezTo>
                    <a:pt x="16366" y="3894"/>
                    <a:pt x="16366" y="3894"/>
                    <a:pt x="16366" y="3894"/>
                  </a:cubicBezTo>
                  <a:cubicBezTo>
                    <a:pt x="16366" y="3894"/>
                    <a:pt x="16366" y="3894"/>
                    <a:pt x="16366" y="3894"/>
                  </a:cubicBezTo>
                  <a:cubicBezTo>
                    <a:pt x="16366" y="3894"/>
                    <a:pt x="16325" y="3894"/>
                    <a:pt x="16325" y="3894"/>
                  </a:cubicBezTo>
                  <a:cubicBezTo>
                    <a:pt x="16242" y="3894"/>
                    <a:pt x="16242" y="3894"/>
                    <a:pt x="16242" y="3894"/>
                  </a:cubicBezTo>
                  <a:cubicBezTo>
                    <a:pt x="16242" y="3854"/>
                    <a:pt x="16242" y="3854"/>
                    <a:pt x="16242" y="3854"/>
                  </a:cubicBezTo>
                  <a:cubicBezTo>
                    <a:pt x="16242" y="3814"/>
                    <a:pt x="16242" y="3814"/>
                    <a:pt x="16242" y="3814"/>
                  </a:cubicBezTo>
                  <a:cubicBezTo>
                    <a:pt x="16158" y="3774"/>
                    <a:pt x="16158" y="3774"/>
                    <a:pt x="16158" y="3774"/>
                  </a:cubicBezTo>
                  <a:cubicBezTo>
                    <a:pt x="16117" y="3774"/>
                    <a:pt x="16117" y="3774"/>
                    <a:pt x="16117" y="3774"/>
                  </a:cubicBezTo>
                  <a:cubicBezTo>
                    <a:pt x="16117" y="3774"/>
                    <a:pt x="16075" y="3734"/>
                    <a:pt x="16075" y="3734"/>
                  </a:cubicBezTo>
                  <a:cubicBezTo>
                    <a:pt x="16034" y="3734"/>
                    <a:pt x="16034" y="3694"/>
                    <a:pt x="16034" y="3694"/>
                  </a:cubicBezTo>
                  <a:cubicBezTo>
                    <a:pt x="15992" y="3654"/>
                    <a:pt x="15992" y="3654"/>
                    <a:pt x="15992" y="3654"/>
                  </a:cubicBezTo>
                  <a:cubicBezTo>
                    <a:pt x="16075" y="3654"/>
                    <a:pt x="16075" y="3654"/>
                    <a:pt x="16075" y="3654"/>
                  </a:cubicBezTo>
                  <a:cubicBezTo>
                    <a:pt x="16075" y="3654"/>
                    <a:pt x="16075" y="3613"/>
                    <a:pt x="16075" y="3613"/>
                  </a:cubicBezTo>
                  <a:cubicBezTo>
                    <a:pt x="16075" y="3613"/>
                    <a:pt x="16075" y="3613"/>
                    <a:pt x="16075" y="3613"/>
                  </a:cubicBezTo>
                  <a:cubicBezTo>
                    <a:pt x="16075" y="3613"/>
                    <a:pt x="16034" y="3613"/>
                    <a:pt x="16034" y="3613"/>
                  </a:cubicBezTo>
                  <a:cubicBezTo>
                    <a:pt x="15951" y="3613"/>
                    <a:pt x="15951" y="3613"/>
                    <a:pt x="15951" y="3613"/>
                  </a:cubicBezTo>
                  <a:cubicBezTo>
                    <a:pt x="15909" y="3654"/>
                    <a:pt x="15909" y="3654"/>
                    <a:pt x="15909" y="3654"/>
                  </a:cubicBezTo>
                  <a:cubicBezTo>
                    <a:pt x="15826" y="3654"/>
                    <a:pt x="15826" y="3654"/>
                    <a:pt x="15826" y="3654"/>
                  </a:cubicBezTo>
                  <a:cubicBezTo>
                    <a:pt x="15743" y="3694"/>
                    <a:pt x="15743" y="3694"/>
                    <a:pt x="15743" y="3694"/>
                  </a:cubicBezTo>
                  <a:cubicBezTo>
                    <a:pt x="15618" y="3694"/>
                    <a:pt x="15618" y="3694"/>
                    <a:pt x="15618" y="3694"/>
                  </a:cubicBezTo>
                  <a:cubicBezTo>
                    <a:pt x="15577" y="3613"/>
                    <a:pt x="15577" y="3613"/>
                    <a:pt x="15577" y="3613"/>
                  </a:cubicBezTo>
                  <a:cubicBezTo>
                    <a:pt x="15535" y="3533"/>
                    <a:pt x="15535" y="3533"/>
                    <a:pt x="15535" y="3533"/>
                  </a:cubicBezTo>
                  <a:cubicBezTo>
                    <a:pt x="15494" y="3493"/>
                    <a:pt x="15494" y="3493"/>
                    <a:pt x="15494" y="3493"/>
                  </a:cubicBezTo>
                  <a:cubicBezTo>
                    <a:pt x="15452" y="3493"/>
                    <a:pt x="15452" y="3493"/>
                    <a:pt x="15452" y="3493"/>
                  </a:cubicBezTo>
                  <a:cubicBezTo>
                    <a:pt x="15328" y="3453"/>
                    <a:pt x="15328" y="3453"/>
                    <a:pt x="15328" y="3453"/>
                  </a:cubicBezTo>
                  <a:cubicBezTo>
                    <a:pt x="15369" y="3372"/>
                    <a:pt x="15369" y="3372"/>
                    <a:pt x="15369" y="3372"/>
                  </a:cubicBezTo>
                  <a:cubicBezTo>
                    <a:pt x="15369" y="3372"/>
                    <a:pt x="15328" y="3292"/>
                    <a:pt x="15328" y="3292"/>
                  </a:cubicBezTo>
                  <a:cubicBezTo>
                    <a:pt x="15286" y="3292"/>
                    <a:pt x="15245" y="3292"/>
                    <a:pt x="15245" y="3292"/>
                  </a:cubicBezTo>
                  <a:cubicBezTo>
                    <a:pt x="15162" y="3212"/>
                    <a:pt x="15162" y="3212"/>
                    <a:pt x="15162" y="3212"/>
                  </a:cubicBezTo>
                  <a:cubicBezTo>
                    <a:pt x="15162" y="3212"/>
                    <a:pt x="15162" y="3172"/>
                    <a:pt x="15120" y="3132"/>
                  </a:cubicBezTo>
                  <a:cubicBezTo>
                    <a:pt x="15078" y="3132"/>
                    <a:pt x="15078" y="3091"/>
                    <a:pt x="15037" y="3091"/>
                  </a:cubicBezTo>
                  <a:cubicBezTo>
                    <a:pt x="14995" y="3091"/>
                    <a:pt x="14912" y="3091"/>
                    <a:pt x="14912" y="3091"/>
                  </a:cubicBezTo>
                  <a:cubicBezTo>
                    <a:pt x="14912" y="3091"/>
                    <a:pt x="14871" y="3011"/>
                    <a:pt x="14829" y="3011"/>
                  </a:cubicBezTo>
                  <a:cubicBezTo>
                    <a:pt x="14829" y="3011"/>
                    <a:pt x="14663" y="3011"/>
                    <a:pt x="14663" y="3011"/>
                  </a:cubicBezTo>
                  <a:cubicBezTo>
                    <a:pt x="14663" y="3011"/>
                    <a:pt x="14705" y="2891"/>
                    <a:pt x="14705" y="2891"/>
                  </a:cubicBezTo>
                  <a:cubicBezTo>
                    <a:pt x="14705" y="2851"/>
                    <a:pt x="14705" y="2730"/>
                    <a:pt x="14705" y="2730"/>
                  </a:cubicBezTo>
                  <a:cubicBezTo>
                    <a:pt x="14705" y="2690"/>
                    <a:pt x="14705" y="2690"/>
                    <a:pt x="14705" y="2690"/>
                  </a:cubicBezTo>
                  <a:cubicBezTo>
                    <a:pt x="14705" y="2690"/>
                    <a:pt x="14663" y="2650"/>
                    <a:pt x="14705" y="2570"/>
                  </a:cubicBezTo>
                  <a:cubicBezTo>
                    <a:pt x="14746" y="2489"/>
                    <a:pt x="14705" y="2529"/>
                    <a:pt x="14746" y="2449"/>
                  </a:cubicBezTo>
                  <a:cubicBezTo>
                    <a:pt x="14788" y="2329"/>
                    <a:pt x="14788" y="2288"/>
                    <a:pt x="14788" y="2288"/>
                  </a:cubicBezTo>
                  <a:cubicBezTo>
                    <a:pt x="14705" y="2248"/>
                    <a:pt x="14705" y="2248"/>
                    <a:pt x="14705" y="2248"/>
                  </a:cubicBezTo>
                  <a:cubicBezTo>
                    <a:pt x="14705" y="2248"/>
                    <a:pt x="14663" y="2208"/>
                    <a:pt x="14622" y="2248"/>
                  </a:cubicBezTo>
                  <a:cubicBezTo>
                    <a:pt x="14622" y="2329"/>
                    <a:pt x="14580" y="2329"/>
                    <a:pt x="14580" y="2329"/>
                  </a:cubicBezTo>
                  <a:cubicBezTo>
                    <a:pt x="14497" y="2449"/>
                    <a:pt x="14497" y="2449"/>
                    <a:pt x="14497" y="2449"/>
                  </a:cubicBezTo>
                  <a:cubicBezTo>
                    <a:pt x="14497" y="2570"/>
                    <a:pt x="14497" y="2570"/>
                    <a:pt x="14497" y="2570"/>
                  </a:cubicBezTo>
                  <a:cubicBezTo>
                    <a:pt x="14497" y="2570"/>
                    <a:pt x="14538" y="2610"/>
                    <a:pt x="14414" y="2610"/>
                  </a:cubicBezTo>
                  <a:cubicBezTo>
                    <a:pt x="14331" y="2610"/>
                    <a:pt x="14248" y="2610"/>
                    <a:pt x="14248" y="2610"/>
                  </a:cubicBezTo>
                  <a:cubicBezTo>
                    <a:pt x="14248" y="2610"/>
                    <a:pt x="14331" y="2690"/>
                    <a:pt x="14206" y="2690"/>
                  </a:cubicBezTo>
                  <a:cubicBezTo>
                    <a:pt x="14123" y="2690"/>
                    <a:pt x="13998" y="2690"/>
                    <a:pt x="13998" y="2690"/>
                  </a:cubicBezTo>
                  <a:cubicBezTo>
                    <a:pt x="13915" y="2610"/>
                    <a:pt x="13915" y="2610"/>
                    <a:pt x="13915" y="2610"/>
                  </a:cubicBezTo>
                  <a:cubicBezTo>
                    <a:pt x="13749" y="2650"/>
                    <a:pt x="13749" y="2650"/>
                    <a:pt x="13749" y="2650"/>
                  </a:cubicBezTo>
                  <a:cubicBezTo>
                    <a:pt x="13749" y="2650"/>
                    <a:pt x="13749" y="2610"/>
                    <a:pt x="13749" y="2529"/>
                  </a:cubicBezTo>
                  <a:cubicBezTo>
                    <a:pt x="13749" y="2489"/>
                    <a:pt x="13708" y="2409"/>
                    <a:pt x="13749" y="2409"/>
                  </a:cubicBezTo>
                  <a:cubicBezTo>
                    <a:pt x="13791" y="2409"/>
                    <a:pt x="13832" y="2369"/>
                    <a:pt x="13832" y="2369"/>
                  </a:cubicBezTo>
                  <a:cubicBezTo>
                    <a:pt x="13791" y="2248"/>
                    <a:pt x="13791" y="2248"/>
                    <a:pt x="13791" y="2248"/>
                  </a:cubicBezTo>
                  <a:cubicBezTo>
                    <a:pt x="13791" y="2248"/>
                    <a:pt x="13791" y="2248"/>
                    <a:pt x="13791" y="2248"/>
                  </a:cubicBezTo>
                  <a:cubicBezTo>
                    <a:pt x="13791" y="2248"/>
                    <a:pt x="13749" y="2248"/>
                    <a:pt x="13749" y="2208"/>
                  </a:cubicBezTo>
                  <a:cubicBezTo>
                    <a:pt x="13749" y="2168"/>
                    <a:pt x="13791" y="2088"/>
                    <a:pt x="13791" y="2088"/>
                  </a:cubicBezTo>
                  <a:cubicBezTo>
                    <a:pt x="13832" y="2048"/>
                    <a:pt x="13832" y="1967"/>
                    <a:pt x="13832" y="1967"/>
                  </a:cubicBezTo>
                  <a:cubicBezTo>
                    <a:pt x="13791" y="1967"/>
                    <a:pt x="13791" y="1967"/>
                    <a:pt x="13791" y="1967"/>
                  </a:cubicBezTo>
                  <a:cubicBezTo>
                    <a:pt x="13791" y="1967"/>
                    <a:pt x="13708" y="2007"/>
                    <a:pt x="13708" y="1927"/>
                  </a:cubicBezTo>
                  <a:cubicBezTo>
                    <a:pt x="13708" y="1887"/>
                    <a:pt x="13666" y="1807"/>
                    <a:pt x="13666" y="1807"/>
                  </a:cubicBezTo>
                  <a:cubicBezTo>
                    <a:pt x="13666" y="1807"/>
                    <a:pt x="13583" y="1767"/>
                    <a:pt x="13583" y="1767"/>
                  </a:cubicBezTo>
                  <a:cubicBezTo>
                    <a:pt x="13542" y="1767"/>
                    <a:pt x="13542" y="1767"/>
                    <a:pt x="13500" y="1807"/>
                  </a:cubicBezTo>
                  <a:cubicBezTo>
                    <a:pt x="13500" y="1807"/>
                    <a:pt x="13375" y="1767"/>
                    <a:pt x="13375" y="1767"/>
                  </a:cubicBezTo>
                  <a:cubicBezTo>
                    <a:pt x="13375" y="1767"/>
                    <a:pt x="13251" y="1767"/>
                    <a:pt x="13251" y="1767"/>
                  </a:cubicBezTo>
                  <a:cubicBezTo>
                    <a:pt x="13209" y="1767"/>
                    <a:pt x="13168" y="1847"/>
                    <a:pt x="13168" y="1847"/>
                  </a:cubicBezTo>
                  <a:cubicBezTo>
                    <a:pt x="13085" y="1726"/>
                    <a:pt x="13085" y="1726"/>
                    <a:pt x="13085" y="1726"/>
                  </a:cubicBezTo>
                  <a:cubicBezTo>
                    <a:pt x="13126" y="1606"/>
                    <a:pt x="13126" y="1606"/>
                    <a:pt x="13126" y="1606"/>
                  </a:cubicBezTo>
                  <a:cubicBezTo>
                    <a:pt x="13126" y="1606"/>
                    <a:pt x="13043" y="1526"/>
                    <a:pt x="13043" y="1486"/>
                  </a:cubicBezTo>
                  <a:cubicBezTo>
                    <a:pt x="13043" y="1486"/>
                    <a:pt x="13002" y="1405"/>
                    <a:pt x="13002" y="1405"/>
                  </a:cubicBezTo>
                  <a:cubicBezTo>
                    <a:pt x="12918" y="1405"/>
                    <a:pt x="12918" y="1405"/>
                    <a:pt x="12918" y="1405"/>
                  </a:cubicBezTo>
                  <a:cubicBezTo>
                    <a:pt x="12877" y="1365"/>
                    <a:pt x="12877" y="1365"/>
                    <a:pt x="12877" y="1365"/>
                  </a:cubicBezTo>
                  <a:cubicBezTo>
                    <a:pt x="12877" y="1365"/>
                    <a:pt x="12794" y="1365"/>
                    <a:pt x="12752" y="1365"/>
                  </a:cubicBezTo>
                  <a:cubicBezTo>
                    <a:pt x="12711" y="1365"/>
                    <a:pt x="12711" y="1365"/>
                    <a:pt x="12669" y="1365"/>
                  </a:cubicBezTo>
                  <a:cubicBezTo>
                    <a:pt x="12669" y="1365"/>
                    <a:pt x="12586" y="1285"/>
                    <a:pt x="12586" y="1285"/>
                  </a:cubicBezTo>
                  <a:cubicBezTo>
                    <a:pt x="12586" y="1245"/>
                    <a:pt x="12586" y="1204"/>
                    <a:pt x="12586" y="1164"/>
                  </a:cubicBezTo>
                  <a:cubicBezTo>
                    <a:pt x="12545" y="1124"/>
                    <a:pt x="12503" y="1044"/>
                    <a:pt x="12503" y="1004"/>
                  </a:cubicBezTo>
                  <a:cubicBezTo>
                    <a:pt x="12503" y="1004"/>
                    <a:pt x="12545" y="923"/>
                    <a:pt x="12545" y="923"/>
                  </a:cubicBezTo>
                  <a:cubicBezTo>
                    <a:pt x="12503" y="883"/>
                    <a:pt x="12420" y="803"/>
                    <a:pt x="12420" y="803"/>
                  </a:cubicBezTo>
                  <a:cubicBezTo>
                    <a:pt x="12378" y="723"/>
                    <a:pt x="12378" y="723"/>
                    <a:pt x="12378" y="723"/>
                  </a:cubicBezTo>
                  <a:cubicBezTo>
                    <a:pt x="12378" y="723"/>
                    <a:pt x="12254" y="803"/>
                    <a:pt x="12212" y="803"/>
                  </a:cubicBezTo>
                  <a:cubicBezTo>
                    <a:pt x="12171" y="803"/>
                    <a:pt x="12088" y="763"/>
                    <a:pt x="12088" y="803"/>
                  </a:cubicBezTo>
                  <a:cubicBezTo>
                    <a:pt x="12088" y="803"/>
                    <a:pt x="12129" y="883"/>
                    <a:pt x="12088" y="883"/>
                  </a:cubicBezTo>
                  <a:cubicBezTo>
                    <a:pt x="12046" y="883"/>
                    <a:pt x="11963" y="883"/>
                    <a:pt x="11922" y="843"/>
                  </a:cubicBezTo>
                  <a:cubicBezTo>
                    <a:pt x="11880" y="803"/>
                    <a:pt x="11880" y="763"/>
                    <a:pt x="11880" y="723"/>
                  </a:cubicBezTo>
                  <a:cubicBezTo>
                    <a:pt x="11838" y="723"/>
                    <a:pt x="11838" y="642"/>
                    <a:pt x="11797" y="642"/>
                  </a:cubicBezTo>
                  <a:cubicBezTo>
                    <a:pt x="11755" y="642"/>
                    <a:pt x="11714" y="642"/>
                    <a:pt x="11714" y="602"/>
                  </a:cubicBezTo>
                  <a:cubicBezTo>
                    <a:pt x="11714" y="602"/>
                    <a:pt x="11714" y="482"/>
                    <a:pt x="11714" y="482"/>
                  </a:cubicBezTo>
                  <a:cubicBezTo>
                    <a:pt x="11714" y="401"/>
                    <a:pt x="11714" y="401"/>
                    <a:pt x="11714" y="401"/>
                  </a:cubicBezTo>
                  <a:cubicBezTo>
                    <a:pt x="11714" y="401"/>
                    <a:pt x="11714" y="281"/>
                    <a:pt x="11672" y="281"/>
                  </a:cubicBezTo>
                  <a:cubicBezTo>
                    <a:pt x="11672" y="241"/>
                    <a:pt x="11631" y="201"/>
                    <a:pt x="11631" y="201"/>
                  </a:cubicBezTo>
                  <a:cubicBezTo>
                    <a:pt x="11631" y="80"/>
                    <a:pt x="11631" y="80"/>
                    <a:pt x="11631" y="80"/>
                  </a:cubicBezTo>
                  <a:cubicBezTo>
                    <a:pt x="11672" y="40"/>
                    <a:pt x="11672" y="40"/>
                    <a:pt x="11672" y="40"/>
                  </a:cubicBezTo>
                  <a:cubicBezTo>
                    <a:pt x="11672" y="40"/>
                    <a:pt x="11672" y="0"/>
                    <a:pt x="11714" y="0"/>
                  </a:cubicBezTo>
                  <a:cubicBezTo>
                    <a:pt x="10758" y="161"/>
                    <a:pt x="10758" y="161"/>
                    <a:pt x="10758" y="161"/>
                  </a:cubicBezTo>
                  <a:cubicBezTo>
                    <a:pt x="10343" y="201"/>
                    <a:pt x="10343" y="201"/>
                    <a:pt x="10343" y="201"/>
                  </a:cubicBezTo>
                  <a:cubicBezTo>
                    <a:pt x="10177" y="401"/>
                    <a:pt x="10177" y="401"/>
                    <a:pt x="10177" y="401"/>
                  </a:cubicBezTo>
                  <a:cubicBezTo>
                    <a:pt x="10094" y="602"/>
                    <a:pt x="10094" y="602"/>
                    <a:pt x="10094" y="602"/>
                  </a:cubicBezTo>
                  <a:cubicBezTo>
                    <a:pt x="10135" y="923"/>
                    <a:pt x="10135" y="923"/>
                    <a:pt x="10135" y="923"/>
                  </a:cubicBezTo>
                  <a:cubicBezTo>
                    <a:pt x="10011" y="1124"/>
                    <a:pt x="10011" y="1124"/>
                    <a:pt x="10011" y="1124"/>
                  </a:cubicBezTo>
                  <a:cubicBezTo>
                    <a:pt x="10011" y="1365"/>
                    <a:pt x="10011" y="1365"/>
                    <a:pt x="10011" y="1365"/>
                  </a:cubicBezTo>
                  <a:cubicBezTo>
                    <a:pt x="10011" y="1726"/>
                    <a:pt x="10011" y="1726"/>
                    <a:pt x="10011" y="1726"/>
                  </a:cubicBezTo>
                  <a:cubicBezTo>
                    <a:pt x="9803" y="1847"/>
                    <a:pt x="9803" y="1847"/>
                    <a:pt x="9803" y="1847"/>
                  </a:cubicBezTo>
                  <a:cubicBezTo>
                    <a:pt x="9512" y="2128"/>
                    <a:pt x="9512" y="2128"/>
                    <a:pt x="9512" y="2128"/>
                  </a:cubicBezTo>
                  <a:cubicBezTo>
                    <a:pt x="9097" y="2288"/>
                    <a:pt x="9097" y="2288"/>
                    <a:pt x="9097" y="2288"/>
                  </a:cubicBezTo>
                  <a:cubicBezTo>
                    <a:pt x="8557" y="2409"/>
                    <a:pt x="8557" y="2409"/>
                    <a:pt x="8557" y="2409"/>
                  </a:cubicBezTo>
                  <a:cubicBezTo>
                    <a:pt x="8142" y="2529"/>
                    <a:pt x="8142" y="2529"/>
                    <a:pt x="8142" y="2529"/>
                  </a:cubicBezTo>
                  <a:cubicBezTo>
                    <a:pt x="7768" y="2730"/>
                    <a:pt x="7768" y="2730"/>
                    <a:pt x="7768" y="2730"/>
                  </a:cubicBezTo>
                  <a:cubicBezTo>
                    <a:pt x="7685" y="3011"/>
                    <a:pt x="7685" y="3011"/>
                    <a:pt x="7685" y="3011"/>
                  </a:cubicBezTo>
                  <a:cubicBezTo>
                    <a:pt x="7643" y="3372"/>
                    <a:pt x="7643" y="3372"/>
                    <a:pt x="7643" y="3372"/>
                  </a:cubicBezTo>
                  <a:cubicBezTo>
                    <a:pt x="7352" y="3493"/>
                    <a:pt x="7352" y="3493"/>
                    <a:pt x="7352" y="3493"/>
                  </a:cubicBezTo>
                  <a:cubicBezTo>
                    <a:pt x="7352" y="3493"/>
                    <a:pt x="7228" y="3573"/>
                    <a:pt x="7145" y="3533"/>
                  </a:cubicBezTo>
                  <a:cubicBezTo>
                    <a:pt x="7020" y="3533"/>
                    <a:pt x="6771" y="3453"/>
                    <a:pt x="6771" y="3453"/>
                  </a:cubicBezTo>
                  <a:cubicBezTo>
                    <a:pt x="6771" y="3453"/>
                    <a:pt x="6480" y="3292"/>
                    <a:pt x="6355" y="3292"/>
                  </a:cubicBezTo>
                  <a:cubicBezTo>
                    <a:pt x="6231" y="3252"/>
                    <a:pt x="6023" y="3051"/>
                    <a:pt x="6023" y="3051"/>
                  </a:cubicBezTo>
                  <a:cubicBezTo>
                    <a:pt x="5815" y="3212"/>
                    <a:pt x="5815" y="3212"/>
                    <a:pt x="5815" y="3212"/>
                  </a:cubicBezTo>
                  <a:cubicBezTo>
                    <a:pt x="5815" y="3212"/>
                    <a:pt x="5691" y="3091"/>
                    <a:pt x="5691" y="3011"/>
                  </a:cubicBezTo>
                  <a:cubicBezTo>
                    <a:pt x="5691" y="2971"/>
                    <a:pt x="5691" y="2971"/>
                    <a:pt x="5691" y="2891"/>
                  </a:cubicBezTo>
                  <a:cubicBezTo>
                    <a:pt x="5691" y="2770"/>
                    <a:pt x="5691" y="2570"/>
                    <a:pt x="5691" y="2570"/>
                  </a:cubicBezTo>
                  <a:cubicBezTo>
                    <a:pt x="5400" y="2449"/>
                    <a:pt x="5400" y="2449"/>
                    <a:pt x="5400" y="2449"/>
                  </a:cubicBezTo>
                  <a:cubicBezTo>
                    <a:pt x="5109" y="2409"/>
                    <a:pt x="5109" y="2409"/>
                    <a:pt x="5109" y="2409"/>
                  </a:cubicBezTo>
                  <a:cubicBezTo>
                    <a:pt x="5109" y="2409"/>
                    <a:pt x="5109" y="2489"/>
                    <a:pt x="5026" y="2409"/>
                  </a:cubicBezTo>
                  <a:cubicBezTo>
                    <a:pt x="4902" y="2329"/>
                    <a:pt x="4902" y="2168"/>
                    <a:pt x="4902" y="2168"/>
                  </a:cubicBezTo>
                  <a:cubicBezTo>
                    <a:pt x="4652" y="2048"/>
                    <a:pt x="4652" y="2048"/>
                    <a:pt x="4652" y="2048"/>
                  </a:cubicBezTo>
                  <a:cubicBezTo>
                    <a:pt x="4569" y="2369"/>
                    <a:pt x="4569" y="2369"/>
                    <a:pt x="4569" y="2369"/>
                  </a:cubicBezTo>
                  <a:cubicBezTo>
                    <a:pt x="4860" y="2610"/>
                    <a:pt x="4860" y="2610"/>
                    <a:pt x="4860" y="2610"/>
                  </a:cubicBezTo>
                  <a:cubicBezTo>
                    <a:pt x="4943" y="2770"/>
                    <a:pt x="4943" y="2770"/>
                    <a:pt x="4943" y="2770"/>
                  </a:cubicBezTo>
                  <a:cubicBezTo>
                    <a:pt x="4860" y="3011"/>
                    <a:pt x="4860" y="3011"/>
                    <a:pt x="4860" y="3011"/>
                  </a:cubicBezTo>
                  <a:cubicBezTo>
                    <a:pt x="4943" y="3212"/>
                    <a:pt x="4943" y="3212"/>
                    <a:pt x="4943" y="3212"/>
                  </a:cubicBezTo>
                  <a:cubicBezTo>
                    <a:pt x="4985" y="3372"/>
                    <a:pt x="4985" y="3372"/>
                    <a:pt x="4985" y="3372"/>
                  </a:cubicBezTo>
                  <a:cubicBezTo>
                    <a:pt x="4985" y="3372"/>
                    <a:pt x="5026" y="3372"/>
                    <a:pt x="5026" y="3493"/>
                  </a:cubicBezTo>
                  <a:cubicBezTo>
                    <a:pt x="5026" y="3573"/>
                    <a:pt x="4985" y="3975"/>
                    <a:pt x="4985" y="3975"/>
                  </a:cubicBezTo>
                  <a:cubicBezTo>
                    <a:pt x="4985" y="4296"/>
                    <a:pt x="4985" y="4296"/>
                    <a:pt x="4985" y="4296"/>
                  </a:cubicBezTo>
                  <a:cubicBezTo>
                    <a:pt x="5109" y="4617"/>
                    <a:pt x="5109" y="4617"/>
                    <a:pt x="5109" y="4617"/>
                  </a:cubicBezTo>
                  <a:cubicBezTo>
                    <a:pt x="5109" y="4617"/>
                    <a:pt x="4902" y="4738"/>
                    <a:pt x="4818" y="4738"/>
                  </a:cubicBezTo>
                  <a:cubicBezTo>
                    <a:pt x="4735" y="4738"/>
                    <a:pt x="4528" y="4657"/>
                    <a:pt x="4528" y="4657"/>
                  </a:cubicBezTo>
                  <a:cubicBezTo>
                    <a:pt x="4445" y="4457"/>
                    <a:pt x="4445" y="4457"/>
                    <a:pt x="4445" y="4457"/>
                  </a:cubicBezTo>
                  <a:cubicBezTo>
                    <a:pt x="3946" y="4497"/>
                    <a:pt x="3946" y="4497"/>
                    <a:pt x="3946" y="4497"/>
                  </a:cubicBezTo>
                  <a:cubicBezTo>
                    <a:pt x="3655" y="4457"/>
                    <a:pt x="3655" y="4457"/>
                    <a:pt x="3655" y="4457"/>
                  </a:cubicBezTo>
                  <a:cubicBezTo>
                    <a:pt x="3406" y="4617"/>
                    <a:pt x="3406" y="4617"/>
                    <a:pt x="3406" y="4617"/>
                  </a:cubicBezTo>
                  <a:cubicBezTo>
                    <a:pt x="3240" y="4577"/>
                    <a:pt x="3240" y="4577"/>
                    <a:pt x="3240" y="4577"/>
                  </a:cubicBezTo>
                  <a:cubicBezTo>
                    <a:pt x="3074" y="4416"/>
                    <a:pt x="3074" y="4416"/>
                    <a:pt x="3074" y="4416"/>
                  </a:cubicBezTo>
                  <a:cubicBezTo>
                    <a:pt x="3032" y="4175"/>
                    <a:pt x="3032" y="4175"/>
                    <a:pt x="3032" y="4175"/>
                  </a:cubicBezTo>
                  <a:cubicBezTo>
                    <a:pt x="2949" y="3975"/>
                    <a:pt x="2949" y="3975"/>
                    <a:pt x="2949" y="3975"/>
                  </a:cubicBezTo>
                  <a:cubicBezTo>
                    <a:pt x="2783" y="3774"/>
                    <a:pt x="2783" y="3774"/>
                    <a:pt x="2783" y="3774"/>
                  </a:cubicBezTo>
                  <a:cubicBezTo>
                    <a:pt x="2243" y="3814"/>
                    <a:pt x="2243" y="3814"/>
                    <a:pt x="2243" y="3814"/>
                  </a:cubicBezTo>
                  <a:cubicBezTo>
                    <a:pt x="2035" y="3854"/>
                    <a:pt x="2035" y="3854"/>
                    <a:pt x="2035" y="3854"/>
                  </a:cubicBezTo>
                  <a:cubicBezTo>
                    <a:pt x="1911" y="3975"/>
                    <a:pt x="1911" y="3975"/>
                    <a:pt x="1911" y="3975"/>
                  </a:cubicBezTo>
                  <a:cubicBezTo>
                    <a:pt x="1662" y="3935"/>
                    <a:pt x="1662" y="3935"/>
                    <a:pt x="1662" y="3935"/>
                  </a:cubicBezTo>
                  <a:cubicBezTo>
                    <a:pt x="1578" y="4055"/>
                    <a:pt x="1578" y="4055"/>
                    <a:pt x="1578" y="4055"/>
                  </a:cubicBezTo>
                  <a:cubicBezTo>
                    <a:pt x="1288" y="3975"/>
                    <a:pt x="1288" y="3975"/>
                    <a:pt x="1288" y="3975"/>
                  </a:cubicBezTo>
                  <a:cubicBezTo>
                    <a:pt x="997" y="4015"/>
                    <a:pt x="997" y="4015"/>
                    <a:pt x="997" y="4015"/>
                  </a:cubicBezTo>
                  <a:cubicBezTo>
                    <a:pt x="789" y="3975"/>
                    <a:pt x="789" y="3975"/>
                    <a:pt x="789" y="3975"/>
                  </a:cubicBezTo>
                  <a:cubicBezTo>
                    <a:pt x="415" y="4055"/>
                    <a:pt x="415" y="4055"/>
                    <a:pt x="415" y="4055"/>
                  </a:cubicBezTo>
                  <a:cubicBezTo>
                    <a:pt x="208" y="4216"/>
                    <a:pt x="208" y="4216"/>
                    <a:pt x="208" y="4216"/>
                  </a:cubicBezTo>
                  <a:cubicBezTo>
                    <a:pt x="0" y="4537"/>
                    <a:pt x="0" y="4537"/>
                    <a:pt x="0" y="4537"/>
                  </a:cubicBezTo>
                  <a:cubicBezTo>
                    <a:pt x="0" y="4537"/>
                    <a:pt x="83" y="4537"/>
                    <a:pt x="166" y="4537"/>
                  </a:cubicBezTo>
                  <a:cubicBezTo>
                    <a:pt x="208" y="4537"/>
                    <a:pt x="582" y="4577"/>
                    <a:pt x="582" y="4577"/>
                  </a:cubicBezTo>
                  <a:cubicBezTo>
                    <a:pt x="665" y="4697"/>
                    <a:pt x="665" y="4697"/>
                    <a:pt x="665" y="4697"/>
                  </a:cubicBezTo>
                  <a:cubicBezTo>
                    <a:pt x="415" y="4818"/>
                    <a:pt x="415" y="4818"/>
                    <a:pt x="415" y="4818"/>
                  </a:cubicBezTo>
                  <a:cubicBezTo>
                    <a:pt x="623" y="4898"/>
                    <a:pt x="623" y="4898"/>
                    <a:pt x="623" y="4898"/>
                  </a:cubicBezTo>
                  <a:cubicBezTo>
                    <a:pt x="665" y="4978"/>
                    <a:pt x="665" y="4978"/>
                    <a:pt x="665" y="4978"/>
                  </a:cubicBezTo>
                  <a:cubicBezTo>
                    <a:pt x="665" y="5099"/>
                    <a:pt x="665" y="5099"/>
                    <a:pt x="665" y="5099"/>
                  </a:cubicBezTo>
                  <a:cubicBezTo>
                    <a:pt x="208" y="5139"/>
                    <a:pt x="208" y="5139"/>
                    <a:pt x="208" y="5139"/>
                  </a:cubicBezTo>
                  <a:cubicBezTo>
                    <a:pt x="208" y="5139"/>
                    <a:pt x="83" y="5099"/>
                    <a:pt x="83" y="5179"/>
                  </a:cubicBezTo>
                  <a:cubicBezTo>
                    <a:pt x="42" y="5259"/>
                    <a:pt x="208" y="5300"/>
                    <a:pt x="208" y="5300"/>
                  </a:cubicBezTo>
                  <a:cubicBezTo>
                    <a:pt x="415" y="5420"/>
                    <a:pt x="415" y="5420"/>
                    <a:pt x="415" y="5420"/>
                  </a:cubicBezTo>
                  <a:cubicBezTo>
                    <a:pt x="374" y="5822"/>
                    <a:pt x="374" y="5822"/>
                    <a:pt x="374" y="5822"/>
                  </a:cubicBezTo>
                  <a:cubicBezTo>
                    <a:pt x="540" y="5822"/>
                    <a:pt x="540" y="5822"/>
                    <a:pt x="540" y="5822"/>
                  </a:cubicBezTo>
                  <a:cubicBezTo>
                    <a:pt x="789" y="5822"/>
                    <a:pt x="789" y="5822"/>
                    <a:pt x="789" y="5822"/>
                  </a:cubicBezTo>
                  <a:cubicBezTo>
                    <a:pt x="789" y="5822"/>
                    <a:pt x="831" y="5741"/>
                    <a:pt x="955" y="5701"/>
                  </a:cubicBezTo>
                  <a:cubicBezTo>
                    <a:pt x="1038" y="5701"/>
                    <a:pt x="1163" y="5701"/>
                    <a:pt x="1163" y="5701"/>
                  </a:cubicBezTo>
                  <a:cubicBezTo>
                    <a:pt x="1163" y="5701"/>
                    <a:pt x="1163" y="5661"/>
                    <a:pt x="1246" y="5862"/>
                  </a:cubicBezTo>
                  <a:cubicBezTo>
                    <a:pt x="1288" y="6022"/>
                    <a:pt x="1288" y="6022"/>
                    <a:pt x="1288" y="6022"/>
                  </a:cubicBezTo>
                  <a:cubicBezTo>
                    <a:pt x="1454" y="6062"/>
                    <a:pt x="1454" y="6062"/>
                    <a:pt x="1454" y="6062"/>
                  </a:cubicBezTo>
                  <a:cubicBezTo>
                    <a:pt x="1537" y="6103"/>
                    <a:pt x="1537" y="6103"/>
                    <a:pt x="1537" y="6103"/>
                  </a:cubicBezTo>
                  <a:cubicBezTo>
                    <a:pt x="1537" y="6103"/>
                    <a:pt x="1703" y="6183"/>
                    <a:pt x="1786" y="6223"/>
                  </a:cubicBezTo>
                  <a:cubicBezTo>
                    <a:pt x="1869" y="6263"/>
                    <a:pt x="2035" y="6424"/>
                    <a:pt x="2035" y="6424"/>
                  </a:cubicBezTo>
                  <a:cubicBezTo>
                    <a:pt x="2118" y="6464"/>
                    <a:pt x="2118" y="6464"/>
                    <a:pt x="2118" y="6464"/>
                  </a:cubicBezTo>
                  <a:cubicBezTo>
                    <a:pt x="2118" y="6665"/>
                    <a:pt x="2118" y="6665"/>
                    <a:pt x="2118" y="6665"/>
                  </a:cubicBezTo>
                  <a:cubicBezTo>
                    <a:pt x="2118" y="6665"/>
                    <a:pt x="2285" y="6705"/>
                    <a:pt x="2409" y="6705"/>
                  </a:cubicBezTo>
                  <a:cubicBezTo>
                    <a:pt x="2534" y="6705"/>
                    <a:pt x="2825" y="6665"/>
                    <a:pt x="2825" y="6665"/>
                  </a:cubicBezTo>
                  <a:cubicBezTo>
                    <a:pt x="2908" y="6825"/>
                    <a:pt x="2908" y="6825"/>
                    <a:pt x="2908" y="6825"/>
                  </a:cubicBezTo>
                  <a:cubicBezTo>
                    <a:pt x="2991" y="6825"/>
                    <a:pt x="3365" y="6946"/>
                    <a:pt x="3365" y="6946"/>
                  </a:cubicBezTo>
                  <a:cubicBezTo>
                    <a:pt x="3240" y="7106"/>
                    <a:pt x="3240" y="7106"/>
                    <a:pt x="3240" y="7106"/>
                  </a:cubicBezTo>
                  <a:cubicBezTo>
                    <a:pt x="3115" y="7227"/>
                    <a:pt x="3115" y="7227"/>
                    <a:pt x="3115" y="7227"/>
                  </a:cubicBezTo>
                  <a:cubicBezTo>
                    <a:pt x="3074" y="7347"/>
                    <a:pt x="3074" y="7347"/>
                    <a:pt x="3074" y="7347"/>
                  </a:cubicBezTo>
                  <a:cubicBezTo>
                    <a:pt x="3074" y="7347"/>
                    <a:pt x="3115" y="7347"/>
                    <a:pt x="3282" y="7387"/>
                  </a:cubicBezTo>
                  <a:cubicBezTo>
                    <a:pt x="3448" y="7428"/>
                    <a:pt x="3572" y="7508"/>
                    <a:pt x="3572" y="7508"/>
                  </a:cubicBezTo>
                  <a:cubicBezTo>
                    <a:pt x="3489" y="7709"/>
                    <a:pt x="3489" y="7709"/>
                    <a:pt x="3489" y="7709"/>
                  </a:cubicBezTo>
                  <a:cubicBezTo>
                    <a:pt x="3697" y="7869"/>
                    <a:pt x="3697" y="7869"/>
                    <a:pt x="3697" y="7869"/>
                  </a:cubicBezTo>
                  <a:cubicBezTo>
                    <a:pt x="3697" y="7869"/>
                    <a:pt x="3780" y="7990"/>
                    <a:pt x="3780" y="8030"/>
                  </a:cubicBezTo>
                  <a:cubicBezTo>
                    <a:pt x="3738" y="8070"/>
                    <a:pt x="3738" y="8150"/>
                    <a:pt x="3738" y="8150"/>
                  </a:cubicBezTo>
                  <a:cubicBezTo>
                    <a:pt x="3614" y="8110"/>
                    <a:pt x="3614" y="8110"/>
                    <a:pt x="3614" y="8110"/>
                  </a:cubicBezTo>
                  <a:cubicBezTo>
                    <a:pt x="3614" y="8110"/>
                    <a:pt x="3614" y="8190"/>
                    <a:pt x="3572" y="8110"/>
                  </a:cubicBezTo>
                  <a:cubicBezTo>
                    <a:pt x="3489" y="8030"/>
                    <a:pt x="3448" y="7949"/>
                    <a:pt x="3448" y="7949"/>
                  </a:cubicBezTo>
                  <a:cubicBezTo>
                    <a:pt x="3406" y="8110"/>
                    <a:pt x="3406" y="8110"/>
                    <a:pt x="3406" y="8110"/>
                  </a:cubicBezTo>
                  <a:cubicBezTo>
                    <a:pt x="3406" y="8110"/>
                    <a:pt x="3448" y="8271"/>
                    <a:pt x="3489" y="8311"/>
                  </a:cubicBezTo>
                  <a:cubicBezTo>
                    <a:pt x="3572" y="8311"/>
                    <a:pt x="3572" y="8271"/>
                    <a:pt x="3572" y="8391"/>
                  </a:cubicBezTo>
                  <a:cubicBezTo>
                    <a:pt x="3572" y="8471"/>
                    <a:pt x="3614" y="8672"/>
                    <a:pt x="3655" y="8712"/>
                  </a:cubicBezTo>
                  <a:cubicBezTo>
                    <a:pt x="3697" y="8793"/>
                    <a:pt x="3697" y="8993"/>
                    <a:pt x="3738" y="9033"/>
                  </a:cubicBezTo>
                  <a:cubicBezTo>
                    <a:pt x="3822" y="9033"/>
                    <a:pt x="3863" y="9074"/>
                    <a:pt x="3863" y="9074"/>
                  </a:cubicBezTo>
                  <a:cubicBezTo>
                    <a:pt x="3946" y="9154"/>
                    <a:pt x="3946" y="9154"/>
                    <a:pt x="3946" y="9154"/>
                  </a:cubicBezTo>
                  <a:cubicBezTo>
                    <a:pt x="4195" y="9355"/>
                    <a:pt x="4195" y="9355"/>
                    <a:pt x="4195" y="9355"/>
                  </a:cubicBezTo>
                  <a:cubicBezTo>
                    <a:pt x="4195" y="9355"/>
                    <a:pt x="4362" y="9475"/>
                    <a:pt x="4445" y="9515"/>
                  </a:cubicBezTo>
                  <a:cubicBezTo>
                    <a:pt x="4528" y="9555"/>
                    <a:pt x="4569" y="9555"/>
                    <a:pt x="4569" y="9555"/>
                  </a:cubicBezTo>
                  <a:cubicBezTo>
                    <a:pt x="4777" y="9756"/>
                    <a:pt x="4777" y="9756"/>
                    <a:pt x="4777" y="9756"/>
                  </a:cubicBezTo>
                  <a:cubicBezTo>
                    <a:pt x="4777" y="9756"/>
                    <a:pt x="4902" y="9957"/>
                    <a:pt x="4860" y="9957"/>
                  </a:cubicBezTo>
                  <a:cubicBezTo>
                    <a:pt x="4818" y="9957"/>
                    <a:pt x="4860" y="9997"/>
                    <a:pt x="4777" y="9997"/>
                  </a:cubicBezTo>
                  <a:cubicBezTo>
                    <a:pt x="4652" y="9997"/>
                    <a:pt x="4694" y="10077"/>
                    <a:pt x="4611" y="9997"/>
                  </a:cubicBezTo>
                  <a:cubicBezTo>
                    <a:pt x="4486" y="9917"/>
                    <a:pt x="4403" y="9796"/>
                    <a:pt x="4278" y="9796"/>
                  </a:cubicBezTo>
                  <a:cubicBezTo>
                    <a:pt x="4154" y="9796"/>
                    <a:pt x="4154" y="9796"/>
                    <a:pt x="4154" y="9796"/>
                  </a:cubicBezTo>
                  <a:cubicBezTo>
                    <a:pt x="4403" y="9997"/>
                    <a:pt x="4403" y="9997"/>
                    <a:pt x="4403" y="9997"/>
                  </a:cubicBezTo>
                  <a:cubicBezTo>
                    <a:pt x="4528" y="10037"/>
                    <a:pt x="4528" y="10037"/>
                    <a:pt x="4528" y="10037"/>
                  </a:cubicBezTo>
                  <a:cubicBezTo>
                    <a:pt x="4694" y="10198"/>
                    <a:pt x="4694" y="10198"/>
                    <a:pt x="4694" y="10198"/>
                  </a:cubicBezTo>
                  <a:cubicBezTo>
                    <a:pt x="4735" y="10198"/>
                    <a:pt x="4735" y="10198"/>
                    <a:pt x="4735" y="10198"/>
                  </a:cubicBezTo>
                  <a:cubicBezTo>
                    <a:pt x="4735" y="10198"/>
                    <a:pt x="4777" y="10278"/>
                    <a:pt x="4777" y="10318"/>
                  </a:cubicBezTo>
                  <a:cubicBezTo>
                    <a:pt x="4777" y="10358"/>
                    <a:pt x="4735" y="10479"/>
                    <a:pt x="4694" y="10519"/>
                  </a:cubicBezTo>
                  <a:cubicBezTo>
                    <a:pt x="4694" y="10599"/>
                    <a:pt x="4694" y="10680"/>
                    <a:pt x="4694" y="10680"/>
                  </a:cubicBezTo>
                  <a:cubicBezTo>
                    <a:pt x="4569" y="10399"/>
                    <a:pt x="4569" y="10399"/>
                    <a:pt x="4569" y="10399"/>
                  </a:cubicBezTo>
                  <a:cubicBezTo>
                    <a:pt x="4569" y="10399"/>
                    <a:pt x="4611" y="10318"/>
                    <a:pt x="4528" y="10278"/>
                  </a:cubicBezTo>
                  <a:cubicBezTo>
                    <a:pt x="4445" y="10278"/>
                    <a:pt x="4362" y="10318"/>
                    <a:pt x="4362" y="10318"/>
                  </a:cubicBezTo>
                  <a:cubicBezTo>
                    <a:pt x="4362" y="10318"/>
                    <a:pt x="4320" y="10399"/>
                    <a:pt x="4362" y="10439"/>
                  </a:cubicBezTo>
                  <a:cubicBezTo>
                    <a:pt x="4445" y="10479"/>
                    <a:pt x="4486" y="10519"/>
                    <a:pt x="4486" y="10559"/>
                  </a:cubicBezTo>
                  <a:cubicBezTo>
                    <a:pt x="4528" y="10599"/>
                    <a:pt x="4528" y="10639"/>
                    <a:pt x="4528" y="10639"/>
                  </a:cubicBezTo>
                  <a:cubicBezTo>
                    <a:pt x="4528" y="10639"/>
                    <a:pt x="4611" y="10639"/>
                    <a:pt x="4611" y="10720"/>
                  </a:cubicBezTo>
                  <a:cubicBezTo>
                    <a:pt x="4611" y="10840"/>
                    <a:pt x="4569" y="10961"/>
                    <a:pt x="4569" y="10961"/>
                  </a:cubicBezTo>
                  <a:cubicBezTo>
                    <a:pt x="4569" y="10961"/>
                    <a:pt x="4486" y="10961"/>
                    <a:pt x="4611" y="11041"/>
                  </a:cubicBezTo>
                  <a:cubicBezTo>
                    <a:pt x="4735" y="11121"/>
                    <a:pt x="4777" y="11161"/>
                    <a:pt x="4818" y="11201"/>
                  </a:cubicBezTo>
                  <a:cubicBezTo>
                    <a:pt x="4860" y="11242"/>
                    <a:pt x="5026" y="11442"/>
                    <a:pt x="5026" y="11442"/>
                  </a:cubicBezTo>
                  <a:cubicBezTo>
                    <a:pt x="5151" y="11603"/>
                    <a:pt x="5151" y="11603"/>
                    <a:pt x="5151" y="11603"/>
                  </a:cubicBezTo>
                  <a:cubicBezTo>
                    <a:pt x="5151" y="11603"/>
                    <a:pt x="5151" y="11683"/>
                    <a:pt x="5151" y="11683"/>
                  </a:cubicBezTo>
                  <a:cubicBezTo>
                    <a:pt x="5109" y="11683"/>
                    <a:pt x="5026" y="11683"/>
                    <a:pt x="5026" y="11683"/>
                  </a:cubicBezTo>
                  <a:cubicBezTo>
                    <a:pt x="5026" y="11683"/>
                    <a:pt x="4985" y="11683"/>
                    <a:pt x="4943" y="11643"/>
                  </a:cubicBezTo>
                  <a:cubicBezTo>
                    <a:pt x="4902" y="11563"/>
                    <a:pt x="4818" y="11442"/>
                    <a:pt x="4818" y="11442"/>
                  </a:cubicBezTo>
                  <a:cubicBezTo>
                    <a:pt x="4735" y="11402"/>
                    <a:pt x="4735" y="11402"/>
                    <a:pt x="4735" y="11402"/>
                  </a:cubicBezTo>
                  <a:cubicBezTo>
                    <a:pt x="4652" y="11442"/>
                    <a:pt x="4652" y="11442"/>
                    <a:pt x="4652" y="11442"/>
                  </a:cubicBezTo>
                  <a:cubicBezTo>
                    <a:pt x="4652" y="11442"/>
                    <a:pt x="4569" y="11603"/>
                    <a:pt x="4569" y="11603"/>
                  </a:cubicBezTo>
                  <a:cubicBezTo>
                    <a:pt x="4569" y="11643"/>
                    <a:pt x="4445" y="11884"/>
                    <a:pt x="4445" y="11884"/>
                  </a:cubicBezTo>
                  <a:cubicBezTo>
                    <a:pt x="4362" y="12366"/>
                    <a:pt x="4362" y="12366"/>
                    <a:pt x="4362" y="12366"/>
                  </a:cubicBezTo>
                  <a:cubicBezTo>
                    <a:pt x="4362" y="12366"/>
                    <a:pt x="4362" y="12928"/>
                    <a:pt x="4320" y="12968"/>
                  </a:cubicBezTo>
                  <a:cubicBezTo>
                    <a:pt x="4320" y="13008"/>
                    <a:pt x="4154" y="13410"/>
                    <a:pt x="4154" y="13410"/>
                  </a:cubicBezTo>
                  <a:cubicBezTo>
                    <a:pt x="4154" y="13410"/>
                    <a:pt x="4154" y="13450"/>
                    <a:pt x="4154" y="13570"/>
                  </a:cubicBezTo>
                  <a:cubicBezTo>
                    <a:pt x="4112" y="13691"/>
                    <a:pt x="4071" y="13891"/>
                    <a:pt x="4071" y="13891"/>
                  </a:cubicBezTo>
                  <a:cubicBezTo>
                    <a:pt x="4071" y="13891"/>
                    <a:pt x="4029" y="14052"/>
                    <a:pt x="4029" y="14132"/>
                  </a:cubicBezTo>
                  <a:cubicBezTo>
                    <a:pt x="3988" y="14213"/>
                    <a:pt x="3863" y="14534"/>
                    <a:pt x="3863" y="14534"/>
                  </a:cubicBezTo>
                  <a:cubicBezTo>
                    <a:pt x="3822" y="14895"/>
                    <a:pt x="3822" y="14895"/>
                    <a:pt x="3822" y="14895"/>
                  </a:cubicBezTo>
                  <a:cubicBezTo>
                    <a:pt x="3489" y="15578"/>
                    <a:pt x="3489" y="15578"/>
                    <a:pt x="3489" y="15578"/>
                  </a:cubicBezTo>
                  <a:cubicBezTo>
                    <a:pt x="3240" y="15778"/>
                    <a:pt x="3240" y="15778"/>
                    <a:pt x="3240" y="15778"/>
                  </a:cubicBezTo>
                  <a:cubicBezTo>
                    <a:pt x="3115" y="15859"/>
                    <a:pt x="3115" y="15859"/>
                    <a:pt x="3115" y="15859"/>
                  </a:cubicBezTo>
                  <a:cubicBezTo>
                    <a:pt x="3240" y="15899"/>
                    <a:pt x="3323" y="15939"/>
                    <a:pt x="3365" y="16059"/>
                  </a:cubicBezTo>
                  <a:cubicBezTo>
                    <a:pt x="3448" y="16260"/>
                    <a:pt x="3614" y="16581"/>
                    <a:pt x="3614" y="16581"/>
                  </a:cubicBezTo>
                  <a:cubicBezTo>
                    <a:pt x="4154" y="16782"/>
                    <a:pt x="4154" y="16782"/>
                    <a:pt x="4154" y="16782"/>
                  </a:cubicBezTo>
                  <a:cubicBezTo>
                    <a:pt x="4154" y="16782"/>
                    <a:pt x="4445" y="17023"/>
                    <a:pt x="4486" y="17103"/>
                  </a:cubicBezTo>
                  <a:cubicBezTo>
                    <a:pt x="4528" y="17143"/>
                    <a:pt x="5151" y="17344"/>
                    <a:pt x="5151" y="17344"/>
                  </a:cubicBezTo>
                  <a:cubicBezTo>
                    <a:pt x="5566" y="17706"/>
                    <a:pt x="5566" y="17706"/>
                    <a:pt x="5566" y="17706"/>
                  </a:cubicBezTo>
                  <a:cubicBezTo>
                    <a:pt x="6189" y="17706"/>
                    <a:pt x="6189" y="17706"/>
                    <a:pt x="6189" y="17706"/>
                  </a:cubicBezTo>
                  <a:cubicBezTo>
                    <a:pt x="6605" y="17786"/>
                    <a:pt x="6605" y="17786"/>
                    <a:pt x="6605" y="17786"/>
                  </a:cubicBezTo>
                  <a:cubicBezTo>
                    <a:pt x="6812" y="17545"/>
                    <a:pt x="6812" y="17545"/>
                    <a:pt x="6812" y="17545"/>
                  </a:cubicBezTo>
                  <a:cubicBezTo>
                    <a:pt x="6812" y="17545"/>
                    <a:pt x="7851" y="18027"/>
                    <a:pt x="7892" y="18027"/>
                  </a:cubicBezTo>
                  <a:cubicBezTo>
                    <a:pt x="7934" y="18027"/>
                    <a:pt x="7934" y="18147"/>
                    <a:pt x="7975" y="18268"/>
                  </a:cubicBezTo>
                  <a:cubicBezTo>
                    <a:pt x="7975" y="18268"/>
                    <a:pt x="7975" y="18268"/>
                    <a:pt x="7975" y="18268"/>
                  </a:cubicBezTo>
                  <a:cubicBezTo>
                    <a:pt x="7975" y="18268"/>
                    <a:pt x="7975" y="18268"/>
                    <a:pt x="7975" y="18268"/>
                  </a:cubicBezTo>
                  <a:cubicBezTo>
                    <a:pt x="8017" y="18268"/>
                    <a:pt x="8017" y="18268"/>
                    <a:pt x="8017" y="18268"/>
                  </a:cubicBezTo>
                  <a:cubicBezTo>
                    <a:pt x="8017" y="18268"/>
                    <a:pt x="7975" y="18228"/>
                    <a:pt x="7975" y="18228"/>
                  </a:cubicBezTo>
                  <a:cubicBezTo>
                    <a:pt x="7975" y="18187"/>
                    <a:pt x="7975" y="18187"/>
                    <a:pt x="7975" y="18187"/>
                  </a:cubicBezTo>
                  <a:cubicBezTo>
                    <a:pt x="8017" y="18187"/>
                    <a:pt x="8017" y="18187"/>
                    <a:pt x="8017" y="18187"/>
                  </a:cubicBezTo>
                  <a:cubicBezTo>
                    <a:pt x="8017" y="18187"/>
                    <a:pt x="8017" y="18187"/>
                    <a:pt x="8017" y="18187"/>
                  </a:cubicBezTo>
                  <a:cubicBezTo>
                    <a:pt x="8017" y="18187"/>
                    <a:pt x="8017" y="18187"/>
                    <a:pt x="8017" y="18187"/>
                  </a:cubicBezTo>
                  <a:cubicBezTo>
                    <a:pt x="8058" y="18187"/>
                    <a:pt x="8058" y="18187"/>
                    <a:pt x="8058" y="18187"/>
                  </a:cubicBezTo>
                  <a:cubicBezTo>
                    <a:pt x="8100" y="18147"/>
                    <a:pt x="8100" y="18147"/>
                    <a:pt x="8100" y="18147"/>
                  </a:cubicBezTo>
                  <a:cubicBezTo>
                    <a:pt x="8100" y="18147"/>
                    <a:pt x="8100" y="18147"/>
                    <a:pt x="8100" y="18147"/>
                  </a:cubicBezTo>
                  <a:cubicBezTo>
                    <a:pt x="8100" y="18107"/>
                    <a:pt x="8058" y="18107"/>
                    <a:pt x="8058" y="18107"/>
                  </a:cubicBezTo>
                  <a:cubicBezTo>
                    <a:pt x="8058" y="18107"/>
                    <a:pt x="8100" y="18107"/>
                    <a:pt x="8100" y="18067"/>
                  </a:cubicBezTo>
                  <a:cubicBezTo>
                    <a:pt x="8100" y="18067"/>
                    <a:pt x="8100" y="18067"/>
                    <a:pt x="8100" y="18067"/>
                  </a:cubicBezTo>
                  <a:cubicBezTo>
                    <a:pt x="8142" y="18067"/>
                    <a:pt x="8142" y="18067"/>
                    <a:pt x="8142" y="18067"/>
                  </a:cubicBezTo>
                  <a:cubicBezTo>
                    <a:pt x="8142" y="18067"/>
                    <a:pt x="8142" y="18067"/>
                    <a:pt x="8142" y="18067"/>
                  </a:cubicBezTo>
                  <a:cubicBezTo>
                    <a:pt x="8142" y="18067"/>
                    <a:pt x="8142" y="18067"/>
                    <a:pt x="8142" y="18067"/>
                  </a:cubicBezTo>
                  <a:cubicBezTo>
                    <a:pt x="8183" y="18067"/>
                    <a:pt x="8183" y="18067"/>
                    <a:pt x="8183" y="18067"/>
                  </a:cubicBezTo>
                  <a:cubicBezTo>
                    <a:pt x="8183" y="18067"/>
                    <a:pt x="8183" y="18067"/>
                    <a:pt x="8183" y="18067"/>
                  </a:cubicBezTo>
                  <a:cubicBezTo>
                    <a:pt x="8225" y="18067"/>
                    <a:pt x="8225" y="18067"/>
                    <a:pt x="8225" y="18067"/>
                  </a:cubicBezTo>
                  <a:cubicBezTo>
                    <a:pt x="8225" y="18067"/>
                    <a:pt x="8225" y="18067"/>
                    <a:pt x="8225" y="18067"/>
                  </a:cubicBezTo>
                  <a:cubicBezTo>
                    <a:pt x="8225" y="18067"/>
                    <a:pt x="8266" y="18067"/>
                    <a:pt x="8266" y="18067"/>
                  </a:cubicBezTo>
                  <a:cubicBezTo>
                    <a:pt x="8266" y="18067"/>
                    <a:pt x="8266" y="18107"/>
                    <a:pt x="8266" y="18107"/>
                  </a:cubicBezTo>
                  <a:cubicBezTo>
                    <a:pt x="8266" y="18107"/>
                    <a:pt x="8266" y="18107"/>
                    <a:pt x="8266" y="18107"/>
                  </a:cubicBezTo>
                  <a:cubicBezTo>
                    <a:pt x="8266" y="18107"/>
                    <a:pt x="8308" y="18107"/>
                    <a:pt x="8308" y="18107"/>
                  </a:cubicBezTo>
                  <a:cubicBezTo>
                    <a:pt x="8308" y="18107"/>
                    <a:pt x="8308" y="18147"/>
                    <a:pt x="8308" y="18147"/>
                  </a:cubicBezTo>
                  <a:cubicBezTo>
                    <a:pt x="8308" y="18147"/>
                    <a:pt x="8349" y="18147"/>
                    <a:pt x="8349" y="18147"/>
                  </a:cubicBezTo>
                  <a:cubicBezTo>
                    <a:pt x="8349" y="18147"/>
                    <a:pt x="8391" y="18147"/>
                    <a:pt x="8391" y="18147"/>
                  </a:cubicBezTo>
                  <a:cubicBezTo>
                    <a:pt x="8391" y="18147"/>
                    <a:pt x="8391" y="18147"/>
                    <a:pt x="8391" y="18187"/>
                  </a:cubicBezTo>
                  <a:cubicBezTo>
                    <a:pt x="8432" y="18187"/>
                    <a:pt x="8432" y="18187"/>
                    <a:pt x="8432" y="18187"/>
                  </a:cubicBezTo>
                  <a:cubicBezTo>
                    <a:pt x="8432" y="18147"/>
                    <a:pt x="8474" y="18147"/>
                    <a:pt x="8474" y="18147"/>
                  </a:cubicBezTo>
                  <a:cubicBezTo>
                    <a:pt x="8474" y="18187"/>
                    <a:pt x="8474" y="18187"/>
                    <a:pt x="8474" y="18187"/>
                  </a:cubicBezTo>
                  <a:cubicBezTo>
                    <a:pt x="8515" y="18187"/>
                    <a:pt x="8515" y="18187"/>
                    <a:pt x="8515" y="18187"/>
                  </a:cubicBezTo>
                  <a:cubicBezTo>
                    <a:pt x="8557" y="18187"/>
                    <a:pt x="8557" y="18187"/>
                    <a:pt x="8557" y="18187"/>
                  </a:cubicBezTo>
                  <a:cubicBezTo>
                    <a:pt x="8557" y="18228"/>
                    <a:pt x="8557" y="18228"/>
                    <a:pt x="8557" y="18228"/>
                  </a:cubicBezTo>
                  <a:cubicBezTo>
                    <a:pt x="8515" y="18228"/>
                    <a:pt x="8515" y="18228"/>
                    <a:pt x="8515" y="18228"/>
                  </a:cubicBezTo>
                  <a:cubicBezTo>
                    <a:pt x="8515" y="18228"/>
                    <a:pt x="8515" y="18228"/>
                    <a:pt x="8515" y="18228"/>
                  </a:cubicBezTo>
                  <a:cubicBezTo>
                    <a:pt x="8515" y="18268"/>
                    <a:pt x="8515" y="18268"/>
                    <a:pt x="8515" y="18268"/>
                  </a:cubicBezTo>
                  <a:cubicBezTo>
                    <a:pt x="8557" y="18268"/>
                    <a:pt x="8557" y="18268"/>
                    <a:pt x="8557" y="18268"/>
                  </a:cubicBezTo>
                  <a:cubicBezTo>
                    <a:pt x="8557" y="18268"/>
                    <a:pt x="8557" y="18268"/>
                    <a:pt x="8557" y="18268"/>
                  </a:cubicBezTo>
                  <a:cubicBezTo>
                    <a:pt x="8640" y="18308"/>
                    <a:pt x="8640" y="18308"/>
                    <a:pt x="8640" y="18308"/>
                  </a:cubicBezTo>
                  <a:cubicBezTo>
                    <a:pt x="8598" y="18308"/>
                    <a:pt x="8598" y="18308"/>
                    <a:pt x="8598" y="18308"/>
                  </a:cubicBezTo>
                  <a:cubicBezTo>
                    <a:pt x="8598" y="18308"/>
                    <a:pt x="8598" y="18308"/>
                    <a:pt x="8598" y="18308"/>
                  </a:cubicBezTo>
                  <a:cubicBezTo>
                    <a:pt x="8598" y="18308"/>
                    <a:pt x="8557" y="18308"/>
                    <a:pt x="8557" y="18308"/>
                  </a:cubicBezTo>
                  <a:cubicBezTo>
                    <a:pt x="8557" y="18308"/>
                    <a:pt x="8515" y="18308"/>
                    <a:pt x="8515" y="18308"/>
                  </a:cubicBezTo>
                  <a:cubicBezTo>
                    <a:pt x="8515" y="18348"/>
                    <a:pt x="8515" y="18348"/>
                    <a:pt x="8515" y="18348"/>
                  </a:cubicBezTo>
                  <a:cubicBezTo>
                    <a:pt x="8515" y="18428"/>
                    <a:pt x="8515" y="18428"/>
                    <a:pt x="8515" y="18428"/>
                  </a:cubicBezTo>
                  <a:cubicBezTo>
                    <a:pt x="8474" y="18428"/>
                    <a:pt x="8474" y="18428"/>
                    <a:pt x="8474" y="18428"/>
                  </a:cubicBezTo>
                  <a:cubicBezTo>
                    <a:pt x="8474" y="18468"/>
                    <a:pt x="8474" y="18468"/>
                    <a:pt x="8474" y="18468"/>
                  </a:cubicBezTo>
                  <a:cubicBezTo>
                    <a:pt x="8474" y="18468"/>
                    <a:pt x="8474" y="18468"/>
                    <a:pt x="8474" y="18468"/>
                  </a:cubicBezTo>
                  <a:cubicBezTo>
                    <a:pt x="8474" y="18468"/>
                    <a:pt x="8474" y="18468"/>
                    <a:pt x="8474" y="18468"/>
                  </a:cubicBezTo>
                  <a:cubicBezTo>
                    <a:pt x="8474" y="18468"/>
                    <a:pt x="8474" y="18468"/>
                    <a:pt x="8432" y="18468"/>
                  </a:cubicBezTo>
                  <a:cubicBezTo>
                    <a:pt x="8432" y="18468"/>
                    <a:pt x="8432" y="18468"/>
                    <a:pt x="8432" y="18468"/>
                  </a:cubicBezTo>
                  <a:cubicBezTo>
                    <a:pt x="8391" y="18428"/>
                    <a:pt x="8391" y="18428"/>
                    <a:pt x="8391" y="18428"/>
                  </a:cubicBezTo>
                  <a:cubicBezTo>
                    <a:pt x="8391" y="18468"/>
                    <a:pt x="8391" y="18468"/>
                    <a:pt x="8391" y="18468"/>
                  </a:cubicBezTo>
                  <a:cubicBezTo>
                    <a:pt x="8391" y="18509"/>
                    <a:pt x="8391" y="18509"/>
                    <a:pt x="8391" y="18509"/>
                  </a:cubicBezTo>
                  <a:cubicBezTo>
                    <a:pt x="8391" y="18509"/>
                    <a:pt x="8391" y="18509"/>
                    <a:pt x="8391" y="18509"/>
                  </a:cubicBezTo>
                  <a:cubicBezTo>
                    <a:pt x="8349" y="18509"/>
                    <a:pt x="8349" y="18509"/>
                    <a:pt x="8349" y="18509"/>
                  </a:cubicBezTo>
                  <a:cubicBezTo>
                    <a:pt x="8308" y="18509"/>
                    <a:pt x="8308" y="18509"/>
                    <a:pt x="8308" y="18509"/>
                  </a:cubicBezTo>
                  <a:cubicBezTo>
                    <a:pt x="8266" y="18509"/>
                    <a:pt x="8266" y="18509"/>
                    <a:pt x="8266" y="18509"/>
                  </a:cubicBezTo>
                  <a:cubicBezTo>
                    <a:pt x="8266" y="18509"/>
                    <a:pt x="8266" y="18509"/>
                    <a:pt x="8266" y="18509"/>
                  </a:cubicBezTo>
                  <a:cubicBezTo>
                    <a:pt x="8225" y="18549"/>
                    <a:pt x="8225" y="18549"/>
                    <a:pt x="8225" y="18549"/>
                  </a:cubicBezTo>
                  <a:cubicBezTo>
                    <a:pt x="8225" y="18549"/>
                    <a:pt x="8225" y="18549"/>
                    <a:pt x="8225" y="18549"/>
                  </a:cubicBezTo>
                  <a:cubicBezTo>
                    <a:pt x="8225" y="18549"/>
                    <a:pt x="8225" y="18549"/>
                    <a:pt x="8225" y="18549"/>
                  </a:cubicBezTo>
                  <a:cubicBezTo>
                    <a:pt x="8225" y="18549"/>
                    <a:pt x="8225" y="18549"/>
                    <a:pt x="8225" y="18549"/>
                  </a:cubicBezTo>
                  <a:cubicBezTo>
                    <a:pt x="8183" y="18509"/>
                    <a:pt x="8183" y="18509"/>
                    <a:pt x="8183" y="18509"/>
                  </a:cubicBezTo>
                  <a:cubicBezTo>
                    <a:pt x="8183" y="18549"/>
                    <a:pt x="8183" y="18549"/>
                    <a:pt x="8183" y="18549"/>
                  </a:cubicBezTo>
                  <a:cubicBezTo>
                    <a:pt x="8183" y="18549"/>
                    <a:pt x="8183" y="18549"/>
                    <a:pt x="8183" y="18549"/>
                  </a:cubicBezTo>
                  <a:cubicBezTo>
                    <a:pt x="8183" y="18549"/>
                    <a:pt x="8183" y="18549"/>
                    <a:pt x="8183" y="18549"/>
                  </a:cubicBezTo>
                  <a:cubicBezTo>
                    <a:pt x="8723" y="18669"/>
                    <a:pt x="8723" y="18669"/>
                    <a:pt x="8723" y="18669"/>
                  </a:cubicBezTo>
                  <a:cubicBezTo>
                    <a:pt x="8848" y="18709"/>
                    <a:pt x="8848" y="18790"/>
                    <a:pt x="8972" y="18870"/>
                  </a:cubicBezTo>
                  <a:cubicBezTo>
                    <a:pt x="9305" y="18749"/>
                    <a:pt x="9305" y="18749"/>
                    <a:pt x="9305" y="18749"/>
                  </a:cubicBezTo>
                  <a:cubicBezTo>
                    <a:pt x="9720" y="19030"/>
                    <a:pt x="9720" y="19030"/>
                    <a:pt x="9720" y="19030"/>
                  </a:cubicBezTo>
                  <a:cubicBezTo>
                    <a:pt x="10094" y="18910"/>
                    <a:pt x="10094" y="18910"/>
                    <a:pt x="10094" y="18910"/>
                  </a:cubicBezTo>
                  <a:cubicBezTo>
                    <a:pt x="10468" y="18910"/>
                    <a:pt x="10468" y="18910"/>
                    <a:pt x="10468" y="18910"/>
                  </a:cubicBezTo>
                  <a:cubicBezTo>
                    <a:pt x="10468" y="18870"/>
                    <a:pt x="10634" y="18870"/>
                    <a:pt x="10758" y="18910"/>
                  </a:cubicBezTo>
                  <a:cubicBezTo>
                    <a:pt x="10758" y="18910"/>
                    <a:pt x="10758" y="18910"/>
                    <a:pt x="10758" y="18910"/>
                  </a:cubicBezTo>
                  <a:close/>
                  <a:moveTo>
                    <a:pt x="7975" y="18308"/>
                  </a:moveTo>
                  <a:cubicBezTo>
                    <a:pt x="7975" y="18308"/>
                    <a:pt x="7975" y="18308"/>
                    <a:pt x="7975" y="18308"/>
                  </a:cubicBezTo>
                  <a:cubicBezTo>
                    <a:pt x="7975" y="18308"/>
                    <a:pt x="7975" y="18308"/>
                    <a:pt x="7975" y="18308"/>
                  </a:cubicBezTo>
                  <a:cubicBezTo>
                    <a:pt x="7975" y="18308"/>
                    <a:pt x="8017" y="18308"/>
                    <a:pt x="8017" y="18308"/>
                  </a:cubicBezTo>
                  <a:cubicBezTo>
                    <a:pt x="8017" y="18308"/>
                    <a:pt x="8017" y="18348"/>
                    <a:pt x="8017" y="18348"/>
                  </a:cubicBezTo>
                  <a:cubicBezTo>
                    <a:pt x="8017" y="18348"/>
                    <a:pt x="8017" y="18348"/>
                    <a:pt x="8017" y="18348"/>
                  </a:cubicBezTo>
                  <a:cubicBezTo>
                    <a:pt x="8017" y="18348"/>
                    <a:pt x="8017" y="18348"/>
                    <a:pt x="8058" y="18388"/>
                  </a:cubicBezTo>
                  <a:cubicBezTo>
                    <a:pt x="8058" y="18388"/>
                    <a:pt x="8017" y="18388"/>
                    <a:pt x="8017" y="18388"/>
                  </a:cubicBezTo>
                  <a:cubicBezTo>
                    <a:pt x="8017" y="18388"/>
                    <a:pt x="8017" y="18388"/>
                    <a:pt x="8017" y="18388"/>
                  </a:cubicBezTo>
                  <a:cubicBezTo>
                    <a:pt x="7975" y="18388"/>
                    <a:pt x="7975" y="18388"/>
                    <a:pt x="7975" y="18388"/>
                  </a:cubicBezTo>
                  <a:cubicBezTo>
                    <a:pt x="7975" y="18388"/>
                    <a:pt x="7975" y="18388"/>
                    <a:pt x="7975" y="18388"/>
                  </a:cubicBezTo>
                  <a:cubicBezTo>
                    <a:pt x="7975" y="18308"/>
                    <a:pt x="7975" y="18308"/>
                    <a:pt x="7975" y="18308"/>
                  </a:cubicBezTo>
                  <a:close/>
                  <a:moveTo>
                    <a:pt x="18692" y="8110"/>
                  </a:moveTo>
                  <a:cubicBezTo>
                    <a:pt x="18692" y="8110"/>
                    <a:pt x="18692" y="8110"/>
                    <a:pt x="18692" y="8110"/>
                  </a:cubicBezTo>
                  <a:cubicBezTo>
                    <a:pt x="18651" y="8110"/>
                    <a:pt x="18651" y="8110"/>
                    <a:pt x="18651" y="8110"/>
                  </a:cubicBezTo>
                  <a:cubicBezTo>
                    <a:pt x="18609" y="8070"/>
                    <a:pt x="18609" y="8070"/>
                    <a:pt x="18609" y="8070"/>
                  </a:cubicBezTo>
                  <a:cubicBezTo>
                    <a:pt x="18609" y="8070"/>
                    <a:pt x="18609" y="8070"/>
                    <a:pt x="18609" y="8070"/>
                  </a:cubicBezTo>
                  <a:cubicBezTo>
                    <a:pt x="18609" y="8070"/>
                    <a:pt x="18609" y="8070"/>
                    <a:pt x="18609" y="8070"/>
                  </a:cubicBezTo>
                  <a:cubicBezTo>
                    <a:pt x="18651" y="8070"/>
                    <a:pt x="18651" y="8030"/>
                    <a:pt x="18651" y="8030"/>
                  </a:cubicBezTo>
                  <a:cubicBezTo>
                    <a:pt x="18651" y="8070"/>
                    <a:pt x="18692" y="8070"/>
                    <a:pt x="18692" y="8110"/>
                  </a:cubicBezTo>
                  <a:close/>
                  <a:moveTo>
                    <a:pt x="20478" y="20877"/>
                  </a:moveTo>
                  <a:cubicBezTo>
                    <a:pt x="20478" y="20877"/>
                    <a:pt x="20478" y="20877"/>
                    <a:pt x="20478" y="20877"/>
                  </a:cubicBezTo>
                  <a:cubicBezTo>
                    <a:pt x="20395" y="21038"/>
                    <a:pt x="20395" y="21038"/>
                    <a:pt x="20395" y="21038"/>
                  </a:cubicBezTo>
                  <a:cubicBezTo>
                    <a:pt x="20312" y="21158"/>
                    <a:pt x="20312" y="21158"/>
                    <a:pt x="20312" y="21158"/>
                  </a:cubicBezTo>
                  <a:cubicBezTo>
                    <a:pt x="20520" y="21239"/>
                    <a:pt x="20520" y="21239"/>
                    <a:pt x="20520" y="21239"/>
                  </a:cubicBezTo>
                  <a:cubicBezTo>
                    <a:pt x="20645" y="21399"/>
                    <a:pt x="20645" y="21399"/>
                    <a:pt x="20645" y="21399"/>
                  </a:cubicBezTo>
                  <a:cubicBezTo>
                    <a:pt x="20645" y="21399"/>
                    <a:pt x="20728" y="21520"/>
                    <a:pt x="20811" y="21520"/>
                  </a:cubicBezTo>
                  <a:cubicBezTo>
                    <a:pt x="20894" y="21520"/>
                    <a:pt x="21018" y="21600"/>
                    <a:pt x="21018" y="21600"/>
                  </a:cubicBezTo>
                  <a:cubicBezTo>
                    <a:pt x="21018" y="21600"/>
                    <a:pt x="21102" y="21480"/>
                    <a:pt x="21102" y="21319"/>
                  </a:cubicBezTo>
                  <a:cubicBezTo>
                    <a:pt x="21143" y="21199"/>
                    <a:pt x="20977" y="21038"/>
                    <a:pt x="21226" y="20998"/>
                  </a:cubicBezTo>
                  <a:cubicBezTo>
                    <a:pt x="21475" y="20998"/>
                    <a:pt x="21309" y="20717"/>
                    <a:pt x="21309" y="20717"/>
                  </a:cubicBezTo>
                  <a:cubicBezTo>
                    <a:pt x="21309" y="20516"/>
                    <a:pt x="21309" y="20516"/>
                    <a:pt x="21309" y="20516"/>
                  </a:cubicBezTo>
                  <a:cubicBezTo>
                    <a:pt x="21268" y="20275"/>
                    <a:pt x="21268" y="20275"/>
                    <a:pt x="21268" y="20275"/>
                  </a:cubicBezTo>
                  <a:cubicBezTo>
                    <a:pt x="21309" y="20195"/>
                    <a:pt x="21309" y="20195"/>
                    <a:pt x="21309" y="20195"/>
                  </a:cubicBezTo>
                  <a:cubicBezTo>
                    <a:pt x="21434" y="20034"/>
                    <a:pt x="21434" y="20034"/>
                    <a:pt x="21434" y="20034"/>
                  </a:cubicBezTo>
                  <a:cubicBezTo>
                    <a:pt x="21558" y="19914"/>
                    <a:pt x="21558" y="19914"/>
                    <a:pt x="21558" y="19914"/>
                  </a:cubicBezTo>
                  <a:cubicBezTo>
                    <a:pt x="21558" y="19914"/>
                    <a:pt x="21600" y="19793"/>
                    <a:pt x="21600" y="19713"/>
                  </a:cubicBezTo>
                  <a:cubicBezTo>
                    <a:pt x="21558" y="19673"/>
                    <a:pt x="21434" y="19472"/>
                    <a:pt x="21434" y="19472"/>
                  </a:cubicBezTo>
                  <a:cubicBezTo>
                    <a:pt x="21558" y="18990"/>
                    <a:pt x="21558" y="18990"/>
                    <a:pt x="21558" y="18990"/>
                  </a:cubicBezTo>
                  <a:cubicBezTo>
                    <a:pt x="21517" y="18910"/>
                    <a:pt x="21517" y="18910"/>
                    <a:pt x="21517" y="18910"/>
                  </a:cubicBezTo>
                  <a:cubicBezTo>
                    <a:pt x="21475" y="18790"/>
                    <a:pt x="21475" y="18790"/>
                    <a:pt x="21475" y="18790"/>
                  </a:cubicBezTo>
                  <a:cubicBezTo>
                    <a:pt x="21392" y="18428"/>
                    <a:pt x="21392" y="18428"/>
                    <a:pt x="21392" y="18428"/>
                  </a:cubicBezTo>
                  <a:cubicBezTo>
                    <a:pt x="21392" y="17946"/>
                    <a:pt x="21392" y="17946"/>
                    <a:pt x="21392" y="17946"/>
                  </a:cubicBezTo>
                  <a:cubicBezTo>
                    <a:pt x="21143" y="18027"/>
                    <a:pt x="21143" y="18027"/>
                    <a:pt x="21143" y="18027"/>
                  </a:cubicBezTo>
                  <a:cubicBezTo>
                    <a:pt x="21226" y="18228"/>
                    <a:pt x="21226" y="18228"/>
                    <a:pt x="21226" y="18228"/>
                  </a:cubicBezTo>
                  <a:cubicBezTo>
                    <a:pt x="21143" y="18589"/>
                    <a:pt x="21143" y="18589"/>
                    <a:pt x="21143" y="18589"/>
                  </a:cubicBezTo>
                  <a:cubicBezTo>
                    <a:pt x="20935" y="18629"/>
                    <a:pt x="20935" y="18629"/>
                    <a:pt x="20935" y="18629"/>
                  </a:cubicBezTo>
                  <a:cubicBezTo>
                    <a:pt x="20852" y="18669"/>
                    <a:pt x="20852" y="18669"/>
                    <a:pt x="20852" y="18669"/>
                  </a:cubicBezTo>
                  <a:cubicBezTo>
                    <a:pt x="20728" y="18790"/>
                    <a:pt x="20728" y="18790"/>
                    <a:pt x="20728" y="18790"/>
                  </a:cubicBezTo>
                  <a:cubicBezTo>
                    <a:pt x="20520" y="18830"/>
                    <a:pt x="20520" y="18830"/>
                    <a:pt x="20520" y="18830"/>
                  </a:cubicBezTo>
                  <a:cubicBezTo>
                    <a:pt x="20312" y="18990"/>
                    <a:pt x="20312" y="18990"/>
                    <a:pt x="20312" y="18990"/>
                  </a:cubicBezTo>
                  <a:cubicBezTo>
                    <a:pt x="20146" y="19191"/>
                    <a:pt x="20146" y="19191"/>
                    <a:pt x="20146" y="19191"/>
                  </a:cubicBezTo>
                  <a:cubicBezTo>
                    <a:pt x="20022" y="19312"/>
                    <a:pt x="20022" y="19312"/>
                    <a:pt x="20022" y="19312"/>
                  </a:cubicBezTo>
                  <a:cubicBezTo>
                    <a:pt x="20022" y="19312"/>
                    <a:pt x="20022" y="19392"/>
                    <a:pt x="20105" y="19472"/>
                  </a:cubicBezTo>
                  <a:cubicBezTo>
                    <a:pt x="20188" y="19593"/>
                    <a:pt x="19980" y="19994"/>
                    <a:pt x="19980" y="19994"/>
                  </a:cubicBezTo>
                  <a:cubicBezTo>
                    <a:pt x="20146" y="19994"/>
                    <a:pt x="20146" y="19994"/>
                    <a:pt x="20146" y="19994"/>
                  </a:cubicBezTo>
                  <a:cubicBezTo>
                    <a:pt x="20188" y="20195"/>
                    <a:pt x="20188" y="20195"/>
                    <a:pt x="20188" y="20195"/>
                  </a:cubicBezTo>
                  <a:cubicBezTo>
                    <a:pt x="20063" y="20396"/>
                    <a:pt x="20063" y="20396"/>
                    <a:pt x="20063" y="20396"/>
                  </a:cubicBezTo>
                  <a:cubicBezTo>
                    <a:pt x="20188" y="20476"/>
                    <a:pt x="20188" y="20476"/>
                    <a:pt x="20188" y="20476"/>
                  </a:cubicBezTo>
                  <a:cubicBezTo>
                    <a:pt x="20312" y="20476"/>
                    <a:pt x="20312" y="20476"/>
                    <a:pt x="20312" y="20476"/>
                  </a:cubicBezTo>
                  <a:cubicBezTo>
                    <a:pt x="20188" y="20717"/>
                    <a:pt x="20188" y="20717"/>
                    <a:pt x="20188" y="20717"/>
                  </a:cubicBezTo>
                  <a:cubicBezTo>
                    <a:pt x="20188" y="20797"/>
                    <a:pt x="20188" y="20797"/>
                    <a:pt x="20188" y="20797"/>
                  </a:cubicBezTo>
                  <a:lnTo>
                    <a:pt x="20478" y="20877"/>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9" name="Shape 2252">
              <a:extLst>
                <a:ext uri="{FF2B5EF4-FFF2-40B4-BE49-F238E27FC236}">
                  <a16:creationId xmlns:a16="http://schemas.microsoft.com/office/drawing/2014/main" id="{9448A0C0-1B00-10F7-E1D3-133F913B01AC}"/>
                </a:ext>
              </a:extLst>
            </p:cNvPr>
            <p:cNvSpPr/>
            <p:nvPr/>
          </p:nvSpPr>
          <p:spPr>
            <a:xfrm>
              <a:off x="0" y="1969771"/>
              <a:ext cx="982261" cy="792151"/>
            </a:xfrm>
            <a:custGeom>
              <a:avLst/>
              <a:gdLst/>
              <a:ahLst/>
              <a:cxnLst>
                <a:cxn ang="0">
                  <a:pos x="wd2" y="hd2"/>
                </a:cxn>
                <a:cxn ang="5400000">
                  <a:pos x="wd2" y="hd2"/>
                </a:cxn>
                <a:cxn ang="10800000">
                  <a:pos x="wd2" y="hd2"/>
                </a:cxn>
                <a:cxn ang="16200000">
                  <a:pos x="wd2" y="hd2"/>
                </a:cxn>
              </a:cxnLst>
              <a:rect l="0" t="0" r="r" b="b"/>
              <a:pathLst>
                <a:path w="21600" h="21600" extrusionOk="0">
                  <a:moveTo>
                    <a:pt x="4356" y="8073"/>
                  </a:moveTo>
                  <a:cubicBezTo>
                    <a:pt x="4719" y="8400"/>
                    <a:pt x="4719" y="8400"/>
                    <a:pt x="4719" y="8400"/>
                  </a:cubicBezTo>
                  <a:cubicBezTo>
                    <a:pt x="4992" y="8182"/>
                    <a:pt x="4992" y="8182"/>
                    <a:pt x="4992" y="8182"/>
                  </a:cubicBezTo>
                  <a:cubicBezTo>
                    <a:pt x="5173" y="7964"/>
                    <a:pt x="5173" y="7964"/>
                    <a:pt x="5173" y="7964"/>
                  </a:cubicBezTo>
                  <a:cubicBezTo>
                    <a:pt x="5355" y="8182"/>
                    <a:pt x="5355" y="8182"/>
                    <a:pt x="5355" y="8182"/>
                  </a:cubicBezTo>
                  <a:cubicBezTo>
                    <a:pt x="5082" y="8509"/>
                    <a:pt x="5082" y="8509"/>
                    <a:pt x="5082" y="8509"/>
                  </a:cubicBezTo>
                  <a:cubicBezTo>
                    <a:pt x="4901" y="8727"/>
                    <a:pt x="4901" y="8727"/>
                    <a:pt x="4901" y="8727"/>
                  </a:cubicBezTo>
                  <a:cubicBezTo>
                    <a:pt x="4901" y="9055"/>
                    <a:pt x="4901" y="9055"/>
                    <a:pt x="4901" y="9055"/>
                  </a:cubicBezTo>
                  <a:cubicBezTo>
                    <a:pt x="4538" y="8945"/>
                    <a:pt x="4538" y="8945"/>
                    <a:pt x="4538" y="8945"/>
                  </a:cubicBezTo>
                  <a:cubicBezTo>
                    <a:pt x="4175" y="8509"/>
                    <a:pt x="4175" y="8509"/>
                    <a:pt x="4175" y="8509"/>
                  </a:cubicBezTo>
                  <a:cubicBezTo>
                    <a:pt x="3993" y="8400"/>
                    <a:pt x="3993" y="8400"/>
                    <a:pt x="3993" y="8400"/>
                  </a:cubicBezTo>
                  <a:cubicBezTo>
                    <a:pt x="3812" y="8291"/>
                    <a:pt x="3812" y="8291"/>
                    <a:pt x="3812" y="8291"/>
                  </a:cubicBezTo>
                  <a:cubicBezTo>
                    <a:pt x="3721" y="7964"/>
                    <a:pt x="3721" y="7964"/>
                    <a:pt x="3721" y="7964"/>
                  </a:cubicBezTo>
                  <a:cubicBezTo>
                    <a:pt x="3630" y="8073"/>
                    <a:pt x="3630" y="8073"/>
                    <a:pt x="3630" y="8073"/>
                  </a:cubicBezTo>
                  <a:cubicBezTo>
                    <a:pt x="3267" y="8182"/>
                    <a:pt x="3267" y="8182"/>
                    <a:pt x="3267" y="8182"/>
                  </a:cubicBezTo>
                  <a:cubicBezTo>
                    <a:pt x="3176" y="8291"/>
                    <a:pt x="3176" y="8291"/>
                    <a:pt x="3176" y="8291"/>
                  </a:cubicBezTo>
                  <a:cubicBezTo>
                    <a:pt x="3086" y="8073"/>
                    <a:pt x="3086" y="8073"/>
                    <a:pt x="3086" y="8073"/>
                  </a:cubicBezTo>
                  <a:cubicBezTo>
                    <a:pt x="3176" y="7855"/>
                    <a:pt x="3176" y="7855"/>
                    <a:pt x="3176" y="7855"/>
                  </a:cubicBezTo>
                  <a:cubicBezTo>
                    <a:pt x="2904" y="7855"/>
                    <a:pt x="2904" y="7855"/>
                    <a:pt x="2904" y="7855"/>
                  </a:cubicBezTo>
                  <a:cubicBezTo>
                    <a:pt x="2904" y="7855"/>
                    <a:pt x="2813" y="7964"/>
                    <a:pt x="2723" y="7964"/>
                  </a:cubicBezTo>
                  <a:cubicBezTo>
                    <a:pt x="2632" y="7964"/>
                    <a:pt x="2541" y="7964"/>
                    <a:pt x="2541" y="7964"/>
                  </a:cubicBezTo>
                  <a:cubicBezTo>
                    <a:pt x="2450" y="7855"/>
                    <a:pt x="2360" y="7745"/>
                    <a:pt x="2269" y="7745"/>
                  </a:cubicBezTo>
                  <a:cubicBezTo>
                    <a:pt x="2178" y="7636"/>
                    <a:pt x="2087" y="7527"/>
                    <a:pt x="2087" y="7527"/>
                  </a:cubicBezTo>
                  <a:cubicBezTo>
                    <a:pt x="1906" y="7636"/>
                    <a:pt x="1906" y="7636"/>
                    <a:pt x="1906" y="7636"/>
                  </a:cubicBezTo>
                  <a:cubicBezTo>
                    <a:pt x="1724" y="7855"/>
                    <a:pt x="1724" y="7855"/>
                    <a:pt x="1724" y="7855"/>
                  </a:cubicBezTo>
                  <a:cubicBezTo>
                    <a:pt x="1724" y="7745"/>
                    <a:pt x="1724" y="7745"/>
                    <a:pt x="1724" y="7745"/>
                  </a:cubicBezTo>
                  <a:cubicBezTo>
                    <a:pt x="1543" y="7636"/>
                    <a:pt x="1543" y="7636"/>
                    <a:pt x="1543" y="7636"/>
                  </a:cubicBezTo>
                  <a:cubicBezTo>
                    <a:pt x="1180" y="7636"/>
                    <a:pt x="1180" y="7636"/>
                    <a:pt x="1180" y="7636"/>
                  </a:cubicBezTo>
                  <a:cubicBezTo>
                    <a:pt x="1089" y="7636"/>
                    <a:pt x="1089" y="7636"/>
                    <a:pt x="1089" y="7636"/>
                  </a:cubicBezTo>
                  <a:cubicBezTo>
                    <a:pt x="1089" y="7636"/>
                    <a:pt x="1089" y="7636"/>
                    <a:pt x="908" y="7636"/>
                  </a:cubicBezTo>
                  <a:cubicBezTo>
                    <a:pt x="817" y="7527"/>
                    <a:pt x="817" y="7527"/>
                    <a:pt x="817" y="7527"/>
                  </a:cubicBezTo>
                  <a:cubicBezTo>
                    <a:pt x="545" y="7418"/>
                    <a:pt x="545" y="7418"/>
                    <a:pt x="545" y="7418"/>
                  </a:cubicBezTo>
                  <a:cubicBezTo>
                    <a:pt x="272" y="7309"/>
                    <a:pt x="272" y="7309"/>
                    <a:pt x="272" y="7309"/>
                  </a:cubicBezTo>
                  <a:cubicBezTo>
                    <a:pt x="272" y="7309"/>
                    <a:pt x="182" y="7309"/>
                    <a:pt x="182" y="7418"/>
                  </a:cubicBezTo>
                  <a:cubicBezTo>
                    <a:pt x="182" y="7636"/>
                    <a:pt x="0" y="7745"/>
                    <a:pt x="0" y="7855"/>
                  </a:cubicBezTo>
                  <a:cubicBezTo>
                    <a:pt x="91" y="7964"/>
                    <a:pt x="182" y="7964"/>
                    <a:pt x="272" y="8182"/>
                  </a:cubicBezTo>
                  <a:cubicBezTo>
                    <a:pt x="454" y="8291"/>
                    <a:pt x="454" y="8291"/>
                    <a:pt x="454" y="8291"/>
                  </a:cubicBezTo>
                  <a:cubicBezTo>
                    <a:pt x="726" y="8291"/>
                    <a:pt x="726" y="8291"/>
                    <a:pt x="726" y="8291"/>
                  </a:cubicBezTo>
                  <a:cubicBezTo>
                    <a:pt x="817" y="8182"/>
                    <a:pt x="817" y="8182"/>
                    <a:pt x="817" y="8182"/>
                  </a:cubicBezTo>
                  <a:cubicBezTo>
                    <a:pt x="1180" y="8291"/>
                    <a:pt x="1180" y="8291"/>
                    <a:pt x="1180" y="8291"/>
                  </a:cubicBezTo>
                  <a:cubicBezTo>
                    <a:pt x="1271" y="8509"/>
                    <a:pt x="1361" y="8727"/>
                    <a:pt x="1452" y="8618"/>
                  </a:cubicBezTo>
                  <a:cubicBezTo>
                    <a:pt x="1543" y="8509"/>
                    <a:pt x="1543" y="8509"/>
                    <a:pt x="1543" y="8509"/>
                  </a:cubicBezTo>
                  <a:cubicBezTo>
                    <a:pt x="1724" y="8618"/>
                    <a:pt x="1724" y="8618"/>
                    <a:pt x="1724" y="8618"/>
                  </a:cubicBezTo>
                  <a:cubicBezTo>
                    <a:pt x="1724" y="8618"/>
                    <a:pt x="1815" y="9055"/>
                    <a:pt x="1997" y="9055"/>
                  </a:cubicBezTo>
                  <a:cubicBezTo>
                    <a:pt x="2087" y="9164"/>
                    <a:pt x="2178" y="9164"/>
                    <a:pt x="2178" y="9164"/>
                  </a:cubicBezTo>
                  <a:cubicBezTo>
                    <a:pt x="2541" y="9382"/>
                    <a:pt x="2541" y="9382"/>
                    <a:pt x="2541" y="9382"/>
                  </a:cubicBezTo>
                  <a:cubicBezTo>
                    <a:pt x="2723" y="9382"/>
                    <a:pt x="2723" y="9382"/>
                    <a:pt x="2723" y="9382"/>
                  </a:cubicBezTo>
                  <a:cubicBezTo>
                    <a:pt x="2723" y="9382"/>
                    <a:pt x="2995" y="9273"/>
                    <a:pt x="2995" y="9382"/>
                  </a:cubicBezTo>
                  <a:cubicBezTo>
                    <a:pt x="2995" y="9491"/>
                    <a:pt x="3176" y="9600"/>
                    <a:pt x="3086" y="9709"/>
                  </a:cubicBezTo>
                  <a:cubicBezTo>
                    <a:pt x="3086" y="9709"/>
                    <a:pt x="3086" y="9818"/>
                    <a:pt x="3086" y="9927"/>
                  </a:cubicBezTo>
                  <a:cubicBezTo>
                    <a:pt x="3086" y="10036"/>
                    <a:pt x="3086" y="10145"/>
                    <a:pt x="3086" y="10145"/>
                  </a:cubicBezTo>
                  <a:cubicBezTo>
                    <a:pt x="2813" y="10473"/>
                    <a:pt x="2813" y="10473"/>
                    <a:pt x="2813" y="10473"/>
                  </a:cubicBezTo>
                  <a:cubicBezTo>
                    <a:pt x="2813" y="10691"/>
                    <a:pt x="2813" y="10691"/>
                    <a:pt x="2813" y="10691"/>
                  </a:cubicBezTo>
                  <a:cubicBezTo>
                    <a:pt x="2813" y="10691"/>
                    <a:pt x="2813" y="10909"/>
                    <a:pt x="2723" y="10909"/>
                  </a:cubicBezTo>
                  <a:cubicBezTo>
                    <a:pt x="2723" y="11018"/>
                    <a:pt x="2632" y="11345"/>
                    <a:pt x="2632" y="11345"/>
                  </a:cubicBezTo>
                  <a:cubicBezTo>
                    <a:pt x="2904" y="11127"/>
                    <a:pt x="2904" y="11127"/>
                    <a:pt x="2904" y="11127"/>
                  </a:cubicBezTo>
                  <a:cubicBezTo>
                    <a:pt x="2904" y="11127"/>
                    <a:pt x="2995" y="11127"/>
                    <a:pt x="2995" y="11236"/>
                  </a:cubicBezTo>
                  <a:cubicBezTo>
                    <a:pt x="2904" y="11455"/>
                    <a:pt x="2813" y="11564"/>
                    <a:pt x="2813" y="11564"/>
                  </a:cubicBezTo>
                  <a:cubicBezTo>
                    <a:pt x="2813" y="11564"/>
                    <a:pt x="2904" y="11891"/>
                    <a:pt x="2995" y="11782"/>
                  </a:cubicBezTo>
                  <a:cubicBezTo>
                    <a:pt x="3176" y="11673"/>
                    <a:pt x="3176" y="11673"/>
                    <a:pt x="3176" y="11673"/>
                  </a:cubicBezTo>
                  <a:cubicBezTo>
                    <a:pt x="3358" y="11564"/>
                    <a:pt x="3358" y="11564"/>
                    <a:pt x="3358" y="11564"/>
                  </a:cubicBezTo>
                  <a:cubicBezTo>
                    <a:pt x="3630" y="11455"/>
                    <a:pt x="3630" y="11455"/>
                    <a:pt x="3630" y="11455"/>
                  </a:cubicBezTo>
                  <a:cubicBezTo>
                    <a:pt x="3630" y="11455"/>
                    <a:pt x="3630" y="11455"/>
                    <a:pt x="3721" y="11345"/>
                  </a:cubicBezTo>
                  <a:cubicBezTo>
                    <a:pt x="3903" y="11345"/>
                    <a:pt x="4175" y="11345"/>
                    <a:pt x="4175" y="11345"/>
                  </a:cubicBezTo>
                  <a:cubicBezTo>
                    <a:pt x="4175" y="11345"/>
                    <a:pt x="4266" y="11673"/>
                    <a:pt x="4175" y="11673"/>
                  </a:cubicBezTo>
                  <a:cubicBezTo>
                    <a:pt x="4084" y="11673"/>
                    <a:pt x="3721" y="11564"/>
                    <a:pt x="3721" y="11564"/>
                  </a:cubicBezTo>
                  <a:cubicBezTo>
                    <a:pt x="3539" y="11673"/>
                    <a:pt x="3539" y="11673"/>
                    <a:pt x="3539" y="11673"/>
                  </a:cubicBezTo>
                  <a:cubicBezTo>
                    <a:pt x="3358" y="11782"/>
                    <a:pt x="3358" y="11782"/>
                    <a:pt x="3358" y="11782"/>
                  </a:cubicBezTo>
                  <a:cubicBezTo>
                    <a:pt x="3176" y="12000"/>
                    <a:pt x="3176" y="12000"/>
                    <a:pt x="3176" y="12000"/>
                  </a:cubicBezTo>
                  <a:cubicBezTo>
                    <a:pt x="3176" y="12000"/>
                    <a:pt x="2995" y="12327"/>
                    <a:pt x="3086" y="12327"/>
                  </a:cubicBezTo>
                  <a:cubicBezTo>
                    <a:pt x="3176" y="12436"/>
                    <a:pt x="2904" y="12545"/>
                    <a:pt x="2904" y="12545"/>
                  </a:cubicBezTo>
                  <a:cubicBezTo>
                    <a:pt x="2813" y="12545"/>
                    <a:pt x="2813" y="12545"/>
                    <a:pt x="2813" y="12545"/>
                  </a:cubicBezTo>
                  <a:cubicBezTo>
                    <a:pt x="2813" y="12655"/>
                    <a:pt x="2813" y="12655"/>
                    <a:pt x="2813" y="12655"/>
                  </a:cubicBezTo>
                  <a:cubicBezTo>
                    <a:pt x="2813" y="12655"/>
                    <a:pt x="2813" y="12655"/>
                    <a:pt x="2904" y="12764"/>
                  </a:cubicBezTo>
                  <a:cubicBezTo>
                    <a:pt x="2995" y="12764"/>
                    <a:pt x="3267" y="12764"/>
                    <a:pt x="3267" y="12764"/>
                  </a:cubicBezTo>
                  <a:cubicBezTo>
                    <a:pt x="3267" y="12764"/>
                    <a:pt x="3449" y="12655"/>
                    <a:pt x="3358" y="12764"/>
                  </a:cubicBezTo>
                  <a:cubicBezTo>
                    <a:pt x="3358" y="12873"/>
                    <a:pt x="3267" y="13200"/>
                    <a:pt x="3267" y="13200"/>
                  </a:cubicBezTo>
                  <a:cubicBezTo>
                    <a:pt x="3267" y="13200"/>
                    <a:pt x="3176" y="13309"/>
                    <a:pt x="2904" y="13309"/>
                  </a:cubicBezTo>
                  <a:cubicBezTo>
                    <a:pt x="2723" y="13418"/>
                    <a:pt x="2450" y="13527"/>
                    <a:pt x="2450" y="13527"/>
                  </a:cubicBezTo>
                  <a:cubicBezTo>
                    <a:pt x="2269" y="13855"/>
                    <a:pt x="2269" y="13855"/>
                    <a:pt x="2269" y="13855"/>
                  </a:cubicBezTo>
                  <a:cubicBezTo>
                    <a:pt x="2269" y="13855"/>
                    <a:pt x="2360" y="13964"/>
                    <a:pt x="2087" y="13964"/>
                  </a:cubicBezTo>
                  <a:cubicBezTo>
                    <a:pt x="1906" y="13964"/>
                    <a:pt x="1724" y="13964"/>
                    <a:pt x="1724" y="13964"/>
                  </a:cubicBezTo>
                  <a:cubicBezTo>
                    <a:pt x="1543" y="13964"/>
                    <a:pt x="1543" y="13964"/>
                    <a:pt x="1543" y="13964"/>
                  </a:cubicBezTo>
                  <a:cubicBezTo>
                    <a:pt x="1543" y="13964"/>
                    <a:pt x="1361" y="14073"/>
                    <a:pt x="1361" y="14073"/>
                  </a:cubicBezTo>
                  <a:cubicBezTo>
                    <a:pt x="1271" y="13964"/>
                    <a:pt x="1180" y="13855"/>
                    <a:pt x="1180" y="13855"/>
                  </a:cubicBezTo>
                  <a:cubicBezTo>
                    <a:pt x="1271" y="13418"/>
                    <a:pt x="1271" y="13418"/>
                    <a:pt x="1271" y="13418"/>
                  </a:cubicBezTo>
                  <a:cubicBezTo>
                    <a:pt x="1180" y="13309"/>
                    <a:pt x="1180" y="13309"/>
                    <a:pt x="1180" y="13309"/>
                  </a:cubicBezTo>
                  <a:cubicBezTo>
                    <a:pt x="1180" y="12982"/>
                    <a:pt x="1180" y="12982"/>
                    <a:pt x="1180" y="12982"/>
                  </a:cubicBezTo>
                  <a:cubicBezTo>
                    <a:pt x="1180" y="12982"/>
                    <a:pt x="908" y="13200"/>
                    <a:pt x="908" y="13309"/>
                  </a:cubicBezTo>
                  <a:cubicBezTo>
                    <a:pt x="817" y="13309"/>
                    <a:pt x="817" y="13527"/>
                    <a:pt x="817" y="13527"/>
                  </a:cubicBezTo>
                  <a:cubicBezTo>
                    <a:pt x="635" y="13855"/>
                    <a:pt x="635" y="13855"/>
                    <a:pt x="635" y="13855"/>
                  </a:cubicBezTo>
                  <a:cubicBezTo>
                    <a:pt x="545" y="13855"/>
                    <a:pt x="545" y="13855"/>
                    <a:pt x="545" y="13855"/>
                  </a:cubicBezTo>
                  <a:cubicBezTo>
                    <a:pt x="545" y="14291"/>
                    <a:pt x="545" y="14291"/>
                    <a:pt x="545" y="14291"/>
                  </a:cubicBezTo>
                  <a:cubicBezTo>
                    <a:pt x="454" y="14509"/>
                    <a:pt x="454" y="14509"/>
                    <a:pt x="454" y="14509"/>
                  </a:cubicBezTo>
                  <a:cubicBezTo>
                    <a:pt x="454" y="14509"/>
                    <a:pt x="363" y="14509"/>
                    <a:pt x="454" y="14618"/>
                  </a:cubicBezTo>
                  <a:cubicBezTo>
                    <a:pt x="545" y="14618"/>
                    <a:pt x="908" y="14836"/>
                    <a:pt x="908" y="14836"/>
                  </a:cubicBezTo>
                  <a:cubicBezTo>
                    <a:pt x="908" y="14836"/>
                    <a:pt x="998" y="14727"/>
                    <a:pt x="1180" y="14945"/>
                  </a:cubicBezTo>
                  <a:cubicBezTo>
                    <a:pt x="1271" y="15055"/>
                    <a:pt x="1452" y="15164"/>
                    <a:pt x="1452" y="15164"/>
                  </a:cubicBezTo>
                  <a:cubicBezTo>
                    <a:pt x="1543" y="15164"/>
                    <a:pt x="1543" y="15164"/>
                    <a:pt x="1543" y="15164"/>
                  </a:cubicBezTo>
                  <a:cubicBezTo>
                    <a:pt x="1815" y="15055"/>
                    <a:pt x="1815" y="15055"/>
                    <a:pt x="1815" y="15055"/>
                  </a:cubicBezTo>
                  <a:cubicBezTo>
                    <a:pt x="1997" y="15273"/>
                    <a:pt x="1997" y="15273"/>
                    <a:pt x="1997" y="15273"/>
                  </a:cubicBezTo>
                  <a:cubicBezTo>
                    <a:pt x="2450" y="15382"/>
                    <a:pt x="2450" y="15382"/>
                    <a:pt x="2450" y="15382"/>
                  </a:cubicBezTo>
                  <a:cubicBezTo>
                    <a:pt x="2450" y="15382"/>
                    <a:pt x="2541" y="15600"/>
                    <a:pt x="2541" y="15709"/>
                  </a:cubicBezTo>
                  <a:cubicBezTo>
                    <a:pt x="2632" y="15709"/>
                    <a:pt x="2813" y="16036"/>
                    <a:pt x="2813" y="16036"/>
                  </a:cubicBezTo>
                  <a:cubicBezTo>
                    <a:pt x="2813" y="16036"/>
                    <a:pt x="2813" y="15818"/>
                    <a:pt x="2995" y="15927"/>
                  </a:cubicBezTo>
                  <a:cubicBezTo>
                    <a:pt x="3267" y="15927"/>
                    <a:pt x="3358" y="15927"/>
                    <a:pt x="3358" y="15927"/>
                  </a:cubicBezTo>
                  <a:cubicBezTo>
                    <a:pt x="3358" y="15927"/>
                    <a:pt x="3539" y="15927"/>
                    <a:pt x="3630" y="16036"/>
                  </a:cubicBezTo>
                  <a:cubicBezTo>
                    <a:pt x="3721" y="16145"/>
                    <a:pt x="3993" y="16691"/>
                    <a:pt x="3993" y="16691"/>
                  </a:cubicBezTo>
                  <a:cubicBezTo>
                    <a:pt x="4175" y="17236"/>
                    <a:pt x="4175" y="17236"/>
                    <a:pt x="4175" y="17236"/>
                  </a:cubicBezTo>
                  <a:cubicBezTo>
                    <a:pt x="4356" y="17673"/>
                    <a:pt x="4356" y="17673"/>
                    <a:pt x="4356" y="17673"/>
                  </a:cubicBezTo>
                  <a:cubicBezTo>
                    <a:pt x="4356" y="17673"/>
                    <a:pt x="4356" y="17782"/>
                    <a:pt x="4538" y="17891"/>
                  </a:cubicBezTo>
                  <a:cubicBezTo>
                    <a:pt x="4719" y="18109"/>
                    <a:pt x="4810" y="18327"/>
                    <a:pt x="4810" y="18327"/>
                  </a:cubicBezTo>
                  <a:cubicBezTo>
                    <a:pt x="4810" y="18327"/>
                    <a:pt x="4810" y="18436"/>
                    <a:pt x="4901" y="18545"/>
                  </a:cubicBezTo>
                  <a:cubicBezTo>
                    <a:pt x="4992" y="18764"/>
                    <a:pt x="5173" y="18982"/>
                    <a:pt x="5173" y="18982"/>
                  </a:cubicBezTo>
                  <a:cubicBezTo>
                    <a:pt x="5173" y="18982"/>
                    <a:pt x="5173" y="19091"/>
                    <a:pt x="5264" y="19200"/>
                  </a:cubicBezTo>
                  <a:cubicBezTo>
                    <a:pt x="5445" y="19309"/>
                    <a:pt x="5627" y="19309"/>
                    <a:pt x="5718" y="19418"/>
                  </a:cubicBezTo>
                  <a:cubicBezTo>
                    <a:pt x="5899" y="19636"/>
                    <a:pt x="6081" y="19855"/>
                    <a:pt x="6081" y="19855"/>
                  </a:cubicBezTo>
                  <a:cubicBezTo>
                    <a:pt x="6081" y="19855"/>
                    <a:pt x="6534" y="20400"/>
                    <a:pt x="6716" y="20618"/>
                  </a:cubicBezTo>
                  <a:cubicBezTo>
                    <a:pt x="6897" y="20836"/>
                    <a:pt x="7079" y="21055"/>
                    <a:pt x="7170" y="21055"/>
                  </a:cubicBezTo>
                  <a:cubicBezTo>
                    <a:pt x="7261" y="21164"/>
                    <a:pt x="7714" y="21273"/>
                    <a:pt x="7714" y="21273"/>
                  </a:cubicBezTo>
                  <a:cubicBezTo>
                    <a:pt x="7714" y="21273"/>
                    <a:pt x="7987" y="21600"/>
                    <a:pt x="8077" y="21491"/>
                  </a:cubicBezTo>
                  <a:cubicBezTo>
                    <a:pt x="8259" y="21491"/>
                    <a:pt x="7896" y="21382"/>
                    <a:pt x="8440" y="21382"/>
                  </a:cubicBezTo>
                  <a:cubicBezTo>
                    <a:pt x="8985" y="21382"/>
                    <a:pt x="9348" y="21600"/>
                    <a:pt x="9348" y="21600"/>
                  </a:cubicBezTo>
                  <a:cubicBezTo>
                    <a:pt x="9711" y="21273"/>
                    <a:pt x="9711" y="21273"/>
                    <a:pt x="9711" y="21273"/>
                  </a:cubicBezTo>
                  <a:cubicBezTo>
                    <a:pt x="9711" y="21273"/>
                    <a:pt x="9620" y="21491"/>
                    <a:pt x="9711" y="21164"/>
                  </a:cubicBezTo>
                  <a:cubicBezTo>
                    <a:pt x="9802" y="20945"/>
                    <a:pt x="9892" y="20727"/>
                    <a:pt x="9892" y="20727"/>
                  </a:cubicBezTo>
                  <a:cubicBezTo>
                    <a:pt x="9892" y="20727"/>
                    <a:pt x="9802" y="20509"/>
                    <a:pt x="10074" y="20509"/>
                  </a:cubicBezTo>
                  <a:cubicBezTo>
                    <a:pt x="10255" y="20509"/>
                    <a:pt x="10800" y="20400"/>
                    <a:pt x="10891" y="20400"/>
                  </a:cubicBezTo>
                  <a:cubicBezTo>
                    <a:pt x="10982" y="20400"/>
                    <a:pt x="10982" y="20509"/>
                    <a:pt x="11072" y="20400"/>
                  </a:cubicBezTo>
                  <a:cubicBezTo>
                    <a:pt x="11072" y="20291"/>
                    <a:pt x="11889" y="20618"/>
                    <a:pt x="11889" y="20618"/>
                  </a:cubicBezTo>
                  <a:cubicBezTo>
                    <a:pt x="11980" y="20400"/>
                    <a:pt x="11980" y="20400"/>
                    <a:pt x="11980" y="20400"/>
                  </a:cubicBezTo>
                  <a:cubicBezTo>
                    <a:pt x="12161" y="20291"/>
                    <a:pt x="12161" y="20291"/>
                    <a:pt x="12161" y="20291"/>
                  </a:cubicBezTo>
                  <a:cubicBezTo>
                    <a:pt x="12343" y="20727"/>
                    <a:pt x="12343" y="20727"/>
                    <a:pt x="12343" y="20727"/>
                  </a:cubicBezTo>
                  <a:cubicBezTo>
                    <a:pt x="12706" y="20727"/>
                    <a:pt x="12706" y="20727"/>
                    <a:pt x="12706" y="20727"/>
                  </a:cubicBezTo>
                  <a:cubicBezTo>
                    <a:pt x="12706" y="20727"/>
                    <a:pt x="12978" y="20618"/>
                    <a:pt x="13160" y="20618"/>
                  </a:cubicBezTo>
                  <a:cubicBezTo>
                    <a:pt x="13250" y="20618"/>
                    <a:pt x="13613" y="20400"/>
                    <a:pt x="13613" y="20400"/>
                  </a:cubicBezTo>
                  <a:cubicBezTo>
                    <a:pt x="13613" y="20400"/>
                    <a:pt x="13704" y="20182"/>
                    <a:pt x="13795" y="20182"/>
                  </a:cubicBezTo>
                  <a:cubicBezTo>
                    <a:pt x="13886" y="20073"/>
                    <a:pt x="14158" y="20073"/>
                    <a:pt x="14249" y="20073"/>
                  </a:cubicBezTo>
                  <a:cubicBezTo>
                    <a:pt x="14430" y="20073"/>
                    <a:pt x="14703" y="19964"/>
                    <a:pt x="14703" y="19964"/>
                  </a:cubicBezTo>
                  <a:cubicBezTo>
                    <a:pt x="14884" y="19745"/>
                    <a:pt x="14884" y="19745"/>
                    <a:pt x="14884" y="19745"/>
                  </a:cubicBezTo>
                  <a:cubicBezTo>
                    <a:pt x="14884" y="19745"/>
                    <a:pt x="14975" y="19636"/>
                    <a:pt x="15156" y="19636"/>
                  </a:cubicBezTo>
                  <a:cubicBezTo>
                    <a:pt x="15247" y="19745"/>
                    <a:pt x="15610" y="19745"/>
                    <a:pt x="15610" y="19745"/>
                  </a:cubicBezTo>
                  <a:cubicBezTo>
                    <a:pt x="15882" y="19527"/>
                    <a:pt x="15882" y="19527"/>
                    <a:pt x="15882" y="19527"/>
                  </a:cubicBezTo>
                  <a:cubicBezTo>
                    <a:pt x="16155" y="19418"/>
                    <a:pt x="16155" y="19418"/>
                    <a:pt x="16155" y="19418"/>
                  </a:cubicBezTo>
                  <a:cubicBezTo>
                    <a:pt x="16155" y="19418"/>
                    <a:pt x="16155" y="19309"/>
                    <a:pt x="16245" y="19418"/>
                  </a:cubicBezTo>
                  <a:cubicBezTo>
                    <a:pt x="16336" y="19527"/>
                    <a:pt x="16518" y="19745"/>
                    <a:pt x="16518" y="19745"/>
                  </a:cubicBezTo>
                  <a:cubicBezTo>
                    <a:pt x="16881" y="19855"/>
                    <a:pt x="16881" y="19855"/>
                    <a:pt x="16881" y="19855"/>
                  </a:cubicBezTo>
                  <a:cubicBezTo>
                    <a:pt x="17153" y="19745"/>
                    <a:pt x="17153" y="19745"/>
                    <a:pt x="17153" y="19745"/>
                  </a:cubicBezTo>
                  <a:cubicBezTo>
                    <a:pt x="17334" y="19527"/>
                    <a:pt x="17334" y="19527"/>
                    <a:pt x="17334" y="19527"/>
                  </a:cubicBezTo>
                  <a:cubicBezTo>
                    <a:pt x="17334" y="19527"/>
                    <a:pt x="17334" y="19418"/>
                    <a:pt x="17607" y="19418"/>
                  </a:cubicBezTo>
                  <a:cubicBezTo>
                    <a:pt x="17879" y="19418"/>
                    <a:pt x="17970" y="19418"/>
                    <a:pt x="17970" y="19418"/>
                  </a:cubicBezTo>
                  <a:cubicBezTo>
                    <a:pt x="17970" y="19418"/>
                    <a:pt x="18242" y="19418"/>
                    <a:pt x="18242" y="19309"/>
                  </a:cubicBezTo>
                  <a:cubicBezTo>
                    <a:pt x="18242" y="19200"/>
                    <a:pt x="18242" y="18982"/>
                    <a:pt x="18333" y="18873"/>
                  </a:cubicBezTo>
                  <a:cubicBezTo>
                    <a:pt x="18333" y="18764"/>
                    <a:pt x="18696" y="18327"/>
                    <a:pt x="18696" y="18327"/>
                  </a:cubicBezTo>
                  <a:cubicBezTo>
                    <a:pt x="18877" y="18218"/>
                    <a:pt x="18877" y="18218"/>
                    <a:pt x="18877" y="18218"/>
                  </a:cubicBezTo>
                  <a:cubicBezTo>
                    <a:pt x="18787" y="17891"/>
                    <a:pt x="18787" y="17891"/>
                    <a:pt x="18787" y="17891"/>
                  </a:cubicBezTo>
                  <a:cubicBezTo>
                    <a:pt x="18877" y="17673"/>
                    <a:pt x="18877" y="17673"/>
                    <a:pt x="18877" y="17673"/>
                  </a:cubicBezTo>
                  <a:cubicBezTo>
                    <a:pt x="18877" y="17673"/>
                    <a:pt x="19150" y="17564"/>
                    <a:pt x="19059" y="17782"/>
                  </a:cubicBezTo>
                  <a:cubicBezTo>
                    <a:pt x="18968" y="18000"/>
                    <a:pt x="19059" y="18109"/>
                    <a:pt x="19059" y="18109"/>
                  </a:cubicBezTo>
                  <a:cubicBezTo>
                    <a:pt x="19059" y="18109"/>
                    <a:pt x="19150" y="18000"/>
                    <a:pt x="19240" y="18000"/>
                  </a:cubicBezTo>
                  <a:cubicBezTo>
                    <a:pt x="19422" y="18000"/>
                    <a:pt x="19422" y="17891"/>
                    <a:pt x="19513" y="17891"/>
                  </a:cubicBezTo>
                  <a:cubicBezTo>
                    <a:pt x="19694" y="18000"/>
                    <a:pt x="19785" y="17891"/>
                    <a:pt x="19785" y="17891"/>
                  </a:cubicBezTo>
                  <a:cubicBezTo>
                    <a:pt x="19785" y="17891"/>
                    <a:pt x="19694" y="17673"/>
                    <a:pt x="19785" y="17673"/>
                  </a:cubicBezTo>
                  <a:cubicBezTo>
                    <a:pt x="19876" y="17782"/>
                    <a:pt x="20057" y="17782"/>
                    <a:pt x="20057" y="17782"/>
                  </a:cubicBezTo>
                  <a:cubicBezTo>
                    <a:pt x="20057" y="17782"/>
                    <a:pt x="20148" y="17782"/>
                    <a:pt x="20148" y="17673"/>
                  </a:cubicBezTo>
                  <a:cubicBezTo>
                    <a:pt x="20148" y="17673"/>
                    <a:pt x="19876" y="17455"/>
                    <a:pt x="19966" y="17455"/>
                  </a:cubicBezTo>
                  <a:cubicBezTo>
                    <a:pt x="20057" y="17564"/>
                    <a:pt x="20239" y="17455"/>
                    <a:pt x="20239" y="17455"/>
                  </a:cubicBezTo>
                  <a:cubicBezTo>
                    <a:pt x="20239" y="17455"/>
                    <a:pt x="20511" y="17564"/>
                    <a:pt x="20239" y="17345"/>
                  </a:cubicBezTo>
                  <a:cubicBezTo>
                    <a:pt x="20057" y="17018"/>
                    <a:pt x="20329" y="17018"/>
                    <a:pt x="20329" y="17018"/>
                  </a:cubicBezTo>
                  <a:cubicBezTo>
                    <a:pt x="20329" y="17018"/>
                    <a:pt x="20602" y="17127"/>
                    <a:pt x="20511" y="17127"/>
                  </a:cubicBezTo>
                  <a:cubicBezTo>
                    <a:pt x="20420" y="17018"/>
                    <a:pt x="20057" y="16473"/>
                    <a:pt x="20057" y="16473"/>
                  </a:cubicBezTo>
                  <a:cubicBezTo>
                    <a:pt x="20057" y="16364"/>
                    <a:pt x="20057" y="16364"/>
                    <a:pt x="20057" y="16364"/>
                  </a:cubicBezTo>
                  <a:cubicBezTo>
                    <a:pt x="20057" y="16145"/>
                    <a:pt x="20057" y="16145"/>
                    <a:pt x="20057" y="16145"/>
                  </a:cubicBezTo>
                  <a:cubicBezTo>
                    <a:pt x="20057" y="16145"/>
                    <a:pt x="20239" y="16255"/>
                    <a:pt x="20329" y="16364"/>
                  </a:cubicBezTo>
                  <a:cubicBezTo>
                    <a:pt x="20329" y="16364"/>
                    <a:pt x="20329" y="16364"/>
                    <a:pt x="20420" y="16473"/>
                  </a:cubicBezTo>
                  <a:cubicBezTo>
                    <a:pt x="20602" y="16582"/>
                    <a:pt x="20511" y="16800"/>
                    <a:pt x="20602" y="16800"/>
                  </a:cubicBezTo>
                  <a:cubicBezTo>
                    <a:pt x="20692" y="16909"/>
                    <a:pt x="20965" y="16800"/>
                    <a:pt x="20965" y="16800"/>
                  </a:cubicBezTo>
                  <a:cubicBezTo>
                    <a:pt x="21146" y="16473"/>
                    <a:pt x="21146" y="16473"/>
                    <a:pt x="21146" y="16473"/>
                  </a:cubicBezTo>
                  <a:cubicBezTo>
                    <a:pt x="21146" y="16473"/>
                    <a:pt x="21509" y="16036"/>
                    <a:pt x="21418" y="16036"/>
                  </a:cubicBezTo>
                  <a:cubicBezTo>
                    <a:pt x="21328" y="15927"/>
                    <a:pt x="20874" y="16145"/>
                    <a:pt x="20874" y="16145"/>
                  </a:cubicBezTo>
                  <a:cubicBezTo>
                    <a:pt x="21055" y="15709"/>
                    <a:pt x="21055" y="15709"/>
                    <a:pt x="21055" y="15709"/>
                  </a:cubicBezTo>
                  <a:cubicBezTo>
                    <a:pt x="20783" y="15600"/>
                    <a:pt x="20783" y="15600"/>
                    <a:pt x="20783" y="15600"/>
                  </a:cubicBezTo>
                  <a:cubicBezTo>
                    <a:pt x="20692" y="15491"/>
                    <a:pt x="20692" y="15491"/>
                    <a:pt x="20692" y="15491"/>
                  </a:cubicBezTo>
                  <a:cubicBezTo>
                    <a:pt x="20692" y="15491"/>
                    <a:pt x="20965" y="15491"/>
                    <a:pt x="20965" y="15491"/>
                  </a:cubicBezTo>
                  <a:cubicBezTo>
                    <a:pt x="21055" y="15491"/>
                    <a:pt x="21237" y="15382"/>
                    <a:pt x="21237" y="15382"/>
                  </a:cubicBezTo>
                  <a:cubicBezTo>
                    <a:pt x="21237" y="15164"/>
                    <a:pt x="21237" y="15164"/>
                    <a:pt x="21237" y="15164"/>
                  </a:cubicBezTo>
                  <a:cubicBezTo>
                    <a:pt x="20965" y="14945"/>
                    <a:pt x="20965" y="14945"/>
                    <a:pt x="20965" y="14945"/>
                  </a:cubicBezTo>
                  <a:cubicBezTo>
                    <a:pt x="21055" y="14836"/>
                    <a:pt x="21055" y="14836"/>
                    <a:pt x="21055" y="14836"/>
                  </a:cubicBezTo>
                  <a:cubicBezTo>
                    <a:pt x="21146" y="14618"/>
                    <a:pt x="21146" y="14618"/>
                    <a:pt x="21146" y="14618"/>
                  </a:cubicBezTo>
                  <a:cubicBezTo>
                    <a:pt x="21328" y="14509"/>
                    <a:pt x="21328" y="14509"/>
                    <a:pt x="21328" y="14509"/>
                  </a:cubicBezTo>
                  <a:cubicBezTo>
                    <a:pt x="21600" y="13855"/>
                    <a:pt x="21600" y="13855"/>
                    <a:pt x="21600" y="13855"/>
                  </a:cubicBezTo>
                  <a:cubicBezTo>
                    <a:pt x="21509" y="13636"/>
                    <a:pt x="21509" y="13636"/>
                    <a:pt x="21509" y="13636"/>
                  </a:cubicBezTo>
                  <a:cubicBezTo>
                    <a:pt x="21328" y="13636"/>
                    <a:pt x="21328" y="13636"/>
                    <a:pt x="21328" y="13636"/>
                  </a:cubicBezTo>
                  <a:cubicBezTo>
                    <a:pt x="21328" y="13200"/>
                    <a:pt x="21328" y="13200"/>
                    <a:pt x="21328" y="13200"/>
                  </a:cubicBezTo>
                  <a:cubicBezTo>
                    <a:pt x="20965" y="12982"/>
                    <a:pt x="20965" y="12982"/>
                    <a:pt x="20965" y="12982"/>
                  </a:cubicBezTo>
                  <a:cubicBezTo>
                    <a:pt x="20965" y="12982"/>
                    <a:pt x="20692" y="12764"/>
                    <a:pt x="20692" y="12655"/>
                  </a:cubicBezTo>
                  <a:cubicBezTo>
                    <a:pt x="20692" y="12655"/>
                    <a:pt x="20692" y="12436"/>
                    <a:pt x="20602" y="12545"/>
                  </a:cubicBezTo>
                  <a:cubicBezTo>
                    <a:pt x="20511" y="12545"/>
                    <a:pt x="20420" y="12436"/>
                    <a:pt x="20420" y="12436"/>
                  </a:cubicBezTo>
                  <a:cubicBezTo>
                    <a:pt x="20420" y="12436"/>
                    <a:pt x="20420" y="12109"/>
                    <a:pt x="20420" y="12109"/>
                  </a:cubicBezTo>
                  <a:cubicBezTo>
                    <a:pt x="20420" y="12109"/>
                    <a:pt x="20602" y="12000"/>
                    <a:pt x="20602" y="11891"/>
                  </a:cubicBezTo>
                  <a:cubicBezTo>
                    <a:pt x="20692" y="11782"/>
                    <a:pt x="20602" y="11564"/>
                    <a:pt x="20602" y="11564"/>
                  </a:cubicBezTo>
                  <a:cubicBezTo>
                    <a:pt x="20511" y="11564"/>
                    <a:pt x="20329" y="11673"/>
                    <a:pt x="20329" y="11673"/>
                  </a:cubicBezTo>
                  <a:cubicBezTo>
                    <a:pt x="19785" y="11782"/>
                    <a:pt x="19785" y="11782"/>
                    <a:pt x="19785" y="11782"/>
                  </a:cubicBezTo>
                  <a:cubicBezTo>
                    <a:pt x="19603" y="11673"/>
                    <a:pt x="19603" y="11673"/>
                    <a:pt x="19603" y="11673"/>
                  </a:cubicBezTo>
                  <a:cubicBezTo>
                    <a:pt x="19603" y="11673"/>
                    <a:pt x="19694" y="11673"/>
                    <a:pt x="19694" y="11564"/>
                  </a:cubicBezTo>
                  <a:cubicBezTo>
                    <a:pt x="19785" y="11455"/>
                    <a:pt x="19785" y="11345"/>
                    <a:pt x="19876" y="11236"/>
                  </a:cubicBezTo>
                  <a:cubicBezTo>
                    <a:pt x="19966" y="11127"/>
                    <a:pt x="19966" y="11236"/>
                    <a:pt x="20057" y="11018"/>
                  </a:cubicBezTo>
                  <a:cubicBezTo>
                    <a:pt x="20239" y="10909"/>
                    <a:pt x="20420" y="10691"/>
                    <a:pt x="20420" y="10691"/>
                  </a:cubicBezTo>
                  <a:cubicBezTo>
                    <a:pt x="20420" y="10364"/>
                    <a:pt x="20420" y="10364"/>
                    <a:pt x="20420" y="10364"/>
                  </a:cubicBezTo>
                  <a:cubicBezTo>
                    <a:pt x="20329" y="10036"/>
                    <a:pt x="20329" y="10036"/>
                    <a:pt x="20329" y="10036"/>
                  </a:cubicBezTo>
                  <a:cubicBezTo>
                    <a:pt x="20329" y="10036"/>
                    <a:pt x="20239" y="9927"/>
                    <a:pt x="20148" y="9927"/>
                  </a:cubicBezTo>
                  <a:cubicBezTo>
                    <a:pt x="20057" y="9927"/>
                    <a:pt x="20148" y="10145"/>
                    <a:pt x="19966" y="9927"/>
                  </a:cubicBezTo>
                  <a:cubicBezTo>
                    <a:pt x="19876" y="9818"/>
                    <a:pt x="19876" y="9818"/>
                    <a:pt x="19785" y="9600"/>
                  </a:cubicBezTo>
                  <a:cubicBezTo>
                    <a:pt x="19694" y="9491"/>
                    <a:pt x="19694" y="9273"/>
                    <a:pt x="19694" y="9273"/>
                  </a:cubicBezTo>
                  <a:cubicBezTo>
                    <a:pt x="19694" y="9273"/>
                    <a:pt x="19513" y="9164"/>
                    <a:pt x="19603" y="9164"/>
                  </a:cubicBezTo>
                  <a:cubicBezTo>
                    <a:pt x="19785" y="9164"/>
                    <a:pt x="19876" y="9273"/>
                    <a:pt x="19966" y="9164"/>
                  </a:cubicBezTo>
                  <a:cubicBezTo>
                    <a:pt x="20057" y="9055"/>
                    <a:pt x="20057" y="9164"/>
                    <a:pt x="20057" y="9055"/>
                  </a:cubicBezTo>
                  <a:cubicBezTo>
                    <a:pt x="20057" y="8945"/>
                    <a:pt x="20148" y="8618"/>
                    <a:pt x="20148" y="8618"/>
                  </a:cubicBezTo>
                  <a:cubicBezTo>
                    <a:pt x="20148" y="8509"/>
                    <a:pt x="20148" y="8509"/>
                    <a:pt x="20329" y="8400"/>
                  </a:cubicBezTo>
                  <a:cubicBezTo>
                    <a:pt x="20602" y="8291"/>
                    <a:pt x="20511" y="8291"/>
                    <a:pt x="20692" y="8291"/>
                  </a:cubicBezTo>
                  <a:cubicBezTo>
                    <a:pt x="20783" y="8182"/>
                    <a:pt x="20874" y="8073"/>
                    <a:pt x="20783" y="8073"/>
                  </a:cubicBezTo>
                  <a:cubicBezTo>
                    <a:pt x="20783" y="7964"/>
                    <a:pt x="20602" y="7964"/>
                    <a:pt x="20602" y="7964"/>
                  </a:cubicBezTo>
                  <a:cubicBezTo>
                    <a:pt x="20511" y="7855"/>
                    <a:pt x="20329" y="8073"/>
                    <a:pt x="20329" y="8073"/>
                  </a:cubicBezTo>
                  <a:cubicBezTo>
                    <a:pt x="20329" y="8073"/>
                    <a:pt x="20148" y="8182"/>
                    <a:pt x="20057" y="8291"/>
                  </a:cubicBezTo>
                  <a:cubicBezTo>
                    <a:pt x="19966" y="8400"/>
                    <a:pt x="19876" y="8291"/>
                    <a:pt x="19785" y="8291"/>
                  </a:cubicBezTo>
                  <a:cubicBezTo>
                    <a:pt x="19694" y="8291"/>
                    <a:pt x="19694" y="8291"/>
                    <a:pt x="19694" y="8291"/>
                  </a:cubicBezTo>
                  <a:cubicBezTo>
                    <a:pt x="19694" y="8291"/>
                    <a:pt x="19513" y="8182"/>
                    <a:pt x="19422" y="8400"/>
                  </a:cubicBezTo>
                  <a:cubicBezTo>
                    <a:pt x="19422" y="8618"/>
                    <a:pt x="19240" y="8836"/>
                    <a:pt x="19240" y="8836"/>
                  </a:cubicBezTo>
                  <a:cubicBezTo>
                    <a:pt x="19240" y="8836"/>
                    <a:pt x="19150" y="8945"/>
                    <a:pt x="19150" y="8727"/>
                  </a:cubicBezTo>
                  <a:cubicBezTo>
                    <a:pt x="19150" y="8618"/>
                    <a:pt x="19059" y="8291"/>
                    <a:pt x="19059" y="8291"/>
                  </a:cubicBezTo>
                  <a:cubicBezTo>
                    <a:pt x="19059" y="8291"/>
                    <a:pt x="19059" y="8291"/>
                    <a:pt x="19059" y="8291"/>
                  </a:cubicBezTo>
                  <a:cubicBezTo>
                    <a:pt x="18968" y="8291"/>
                    <a:pt x="18696" y="8182"/>
                    <a:pt x="18696" y="8182"/>
                  </a:cubicBezTo>
                  <a:cubicBezTo>
                    <a:pt x="18696" y="8182"/>
                    <a:pt x="18787" y="8182"/>
                    <a:pt x="18787" y="7964"/>
                  </a:cubicBezTo>
                  <a:cubicBezTo>
                    <a:pt x="18696" y="7855"/>
                    <a:pt x="18696" y="7745"/>
                    <a:pt x="18696" y="7745"/>
                  </a:cubicBezTo>
                  <a:cubicBezTo>
                    <a:pt x="18787" y="7745"/>
                    <a:pt x="18877" y="7745"/>
                    <a:pt x="18877" y="7745"/>
                  </a:cubicBezTo>
                  <a:cubicBezTo>
                    <a:pt x="18968" y="7745"/>
                    <a:pt x="18968" y="7745"/>
                    <a:pt x="18968" y="7527"/>
                  </a:cubicBezTo>
                  <a:cubicBezTo>
                    <a:pt x="18968" y="7200"/>
                    <a:pt x="18877" y="7091"/>
                    <a:pt x="18877" y="7091"/>
                  </a:cubicBezTo>
                  <a:cubicBezTo>
                    <a:pt x="18877" y="7091"/>
                    <a:pt x="18787" y="6982"/>
                    <a:pt x="18787" y="6982"/>
                  </a:cubicBezTo>
                  <a:cubicBezTo>
                    <a:pt x="18787" y="6545"/>
                    <a:pt x="18787" y="6545"/>
                    <a:pt x="18787" y="6545"/>
                  </a:cubicBezTo>
                  <a:cubicBezTo>
                    <a:pt x="18787" y="6545"/>
                    <a:pt x="18787" y="6436"/>
                    <a:pt x="18696" y="6327"/>
                  </a:cubicBezTo>
                  <a:cubicBezTo>
                    <a:pt x="18605" y="6218"/>
                    <a:pt x="18605" y="6109"/>
                    <a:pt x="18514" y="6218"/>
                  </a:cubicBezTo>
                  <a:cubicBezTo>
                    <a:pt x="18514" y="6218"/>
                    <a:pt x="18424" y="6327"/>
                    <a:pt x="18333" y="6327"/>
                  </a:cubicBezTo>
                  <a:cubicBezTo>
                    <a:pt x="18242" y="6218"/>
                    <a:pt x="18061" y="6109"/>
                    <a:pt x="18061" y="6109"/>
                  </a:cubicBezTo>
                  <a:cubicBezTo>
                    <a:pt x="17697" y="5891"/>
                    <a:pt x="17697" y="5891"/>
                    <a:pt x="17697" y="5891"/>
                  </a:cubicBezTo>
                  <a:cubicBezTo>
                    <a:pt x="17697" y="5891"/>
                    <a:pt x="17697" y="5891"/>
                    <a:pt x="17607" y="6000"/>
                  </a:cubicBezTo>
                  <a:cubicBezTo>
                    <a:pt x="17607" y="6109"/>
                    <a:pt x="17516" y="6000"/>
                    <a:pt x="17516" y="6218"/>
                  </a:cubicBezTo>
                  <a:cubicBezTo>
                    <a:pt x="17607" y="6327"/>
                    <a:pt x="17607" y="6436"/>
                    <a:pt x="17607" y="6545"/>
                  </a:cubicBezTo>
                  <a:cubicBezTo>
                    <a:pt x="17516" y="6655"/>
                    <a:pt x="17516" y="6764"/>
                    <a:pt x="17516" y="6982"/>
                  </a:cubicBezTo>
                  <a:cubicBezTo>
                    <a:pt x="17425" y="7091"/>
                    <a:pt x="17334" y="7091"/>
                    <a:pt x="17334" y="7200"/>
                  </a:cubicBezTo>
                  <a:cubicBezTo>
                    <a:pt x="17334" y="7309"/>
                    <a:pt x="17425" y="7309"/>
                    <a:pt x="17425" y="7418"/>
                  </a:cubicBezTo>
                  <a:cubicBezTo>
                    <a:pt x="17425" y="7418"/>
                    <a:pt x="17334" y="7636"/>
                    <a:pt x="17244" y="7636"/>
                  </a:cubicBezTo>
                  <a:cubicBezTo>
                    <a:pt x="17244" y="7745"/>
                    <a:pt x="17153" y="7855"/>
                    <a:pt x="17062" y="7855"/>
                  </a:cubicBezTo>
                  <a:cubicBezTo>
                    <a:pt x="17062" y="7745"/>
                    <a:pt x="16971" y="7745"/>
                    <a:pt x="16881" y="7745"/>
                  </a:cubicBezTo>
                  <a:cubicBezTo>
                    <a:pt x="16790" y="7745"/>
                    <a:pt x="16699" y="7855"/>
                    <a:pt x="16699" y="7855"/>
                  </a:cubicBezTo>
                  <a:cubicBezTo>
                    <a:pt x="16699" y="7855"/>
                    <a:pt x="16608" y="7964"/>
                    <a:pt x="16518" y="7855"/>
                  </a:cubicBezTo>
                  <a:cubicBezTo>
                    <a:pt x="16336" y="7745"/>
                    <a:pt x="16245" y="7636"/>
                    <a:pt x="16245" y="7636"/>
                  </a:cubicBezTo>
                  <a:cubicBezTo>
                    <a:pt x="16245" y="7418"/>
                    <a:pt x="16245" y="7418"/>
                    <a:pt x="16245" y="7418"/>
                  </a:cubicBezTo>
                  <a:cubicBezTo>
                    <a:pt x="16245" y="7418"/>
                    <a:pt x="16608" y="7527"/>
                    <a:pt x="16155" y="7200"/>
                  </a:cubicBezTo>
                  <a:cubicBezTo>
                    <a:pt x="15792" y="6982"/>
                    <a:pt x="15792" y="6982"/>
                    <a:pt x="15792" y="6982"/>
                  </a:cubicBezTo>
                  <a:cubicBezTo>
                    <a:pt x="15792" y="6982"/>
                    <a:pt x="15792" y="7091"/>
                    <a:pt x="15701" y="7200"/>
                  </a:cubicBezTo>
                  <a:cubicBezTo>
                    <a:pt x="15610" y="7200"/>
                    <a:pt x="15610" y="7309"/>
                    <a:pt x="15610" y="7309"/>
                  </a:cubicBezTo>
                  <a:cubicBezTo>
                    <a:pt x="15519" y="7527"/>
                    <a:pt x="15519" y="7527"/>
                    <a:pt x="15519" y="7527"/>
                  </a:cubicBezTo>
                  <a:cubicBezTo>
                    <a:pt x="15429" y="7527"/>
                    <a:pt x="15429" y="7527"/>
                    <a:pt x="15429" y="7527"/>
                  </a:cubicBezTo>
                  <a:cubicBezTo>
                    <a:pt x="15247" y="7855"/>
                    <a:pt x="15247" y="7855"/>
                    <a:pt x="15247" y="7855"/>
                  </a:cubicBezTo>
                  <a:cubicBezTo>
                    <a:pt x="15247" y="7855"/>
                    <a:pt x="15156" y="7964"/>
                    <a:pt x="15066" y="7964"/>
                  </a:cubicBezTo>
                  <a:cubicBezTo>
                    <a:pt x="15066" y="7964"/>
                    <a:pt x="14975" y="7964"/>
                    <a:pt x="14975" y="7964"/>
                  </a:cubicBezTo>
                  <a:cubicBezTo>
                    <a:pt x="14884" y="7964"/>
                    <a:pt x="14793" y="7964"/>
                    <a:pt x="14793" y="7855"/>
                  </a:cubicBezTo>
                  <a:cubicBezTo>
                    <a:pt x="14703" y="7855"/>
                    <a:pt x="14703" y="7855"/>
                    <a:pt x="14703" y="7745"/>
                  </a:cubicBezTo>
                  <a:cubicBezTo>
                    <a:pt x="14703" y="7636"/>
                    <a:pt x="14703" y="7418"/>
                    <a:pt x="14612" y="7309"/>
                  </a:cubicBezTo>
                  <a:cubicBezTo>
                    <a:pt x="14612" y="7200"/>
                    <a:pt x="14612" y="7200"/>
                    <a:pt x="14521" y="6982"/>
                  </a:cubicBezTo>
                  <a:cubicBezTo>
                    <a:pt x="14430" y="6873"/>
                    <a:pt x="14339" y="6655"/>
                    <a:pt x="14339" y="6655"/>
                  </a:cubicBezTo>
                  <a:cubicBezTo>
                    <a:pt x="13886" y="6327"/>
                    <a:pt x="13886" y="6327"/>
                    <a:pt x="13886" y="6327"/>
                  </a:cubicBezTo>
                  <a:cubicBezTo>
                    <a:pt x="13886" y="6327"/>
                    <a:pt x="13976" y="6218"/>
                    <a:pt x="13795" y="6218"/>
                  </a:cubicBezTo>
                  <a:cubicBezTo>
                    <a:pt x="13704" y="6327"/>
                    <a:pt x="13523" y="6545"/>
                    <a:pt x="13523" y="6545"/>
                  </a:cubicBezTo>
                  <a:cubicBezTo>
                    <a:pt x="13523" y="6545"/>
                    <a:pt x="13523" y="6764"/>
                    <a:pt x="13523" y="6873"/>
                  </a:cubicBezTo>
                  <a:cubicBezTo>
                    <a:pt x="13523" y="6873"/>
                    <a:pt x="13432" y="6982"/>
                    <a:pt x="13432" y="7091"/>
                  </a:cubicBezTo>
                  <a:cubicBezTo>
                    <a:pt x="13523" y="7309"/>
                    <a:pt x="13613" y="7527"/>
                    <a:pt x="13523" y="7636"/>
                  </a:cubicBezTo>
                  <a:cubicBezTo>
                    <a:pt x="13523" y="7636"/>
                    <a:pt x="13432" y="7855"/>
                    <a:pt x="13432" y="8073"/>
                  </a:cubicBezTo>
                  <a:cubicBezTo>
                    <a:pt x="13432" y="8291"/>
                    <a:pt x="13523" y="8509"/>
                    <a:pt x="13432" y="8509"/>
                  </a:cubicBezTo>
                  <a:cubicBezTo>
                    <a:pt x="13341" y="8618"/>
                    <a:pt x="13341" y="8727"/>
                    <a:pt x="13341" y="8727"/>
                  </a:cubicBezTo>
                  <a:cubicBezTo>
                    <a:pt x="13250" y="8727"/>
                    <a:pt x="13250" y="8727"/>
                    <a:pt x="13250" y="8727"/>
                  </a:cubicBezTo>
                  <a:cubicBezTo>
                    <a:pt x="13250" y="8727"/>
                    <a:pt x="13250" y="8618"/>
                    <a:pt x="13341" y="8291"/>
                  </a:cubicBezTo>
                  <a:cubicBezTo>
                    <a:pt x="13341" y="7964"/>
                    <a:pt x="13250" y="7855"/>
                    <a:pt x="13250" y="7745"/>
                  </a:cubicBezTo>
                  <a:cubicBezTo>
                    <a:pt x="13160" y="7745"/>
                    <a:pt x="13160" y="7745"/>
                    <a:pt x="13160" y="7636"/>
                  </a:cubicBezTo>
                  <a:cubicBezTo>
                    <a:pt x="13160" y="7527"/>
                    <a:pt x="13160" y="7418"/>
                    <a:pt x="13160" y="7418"/>
                  </a:cubicBezTo>
                  <a:cubicBezTo>
                    <a:pt x="13160" y="7418"/>
                    <a:pt x="12978" y="7200"/>
                    <a:pt x="12978" y="7091"/>
                  </a:cubicBezTo>
                  <a:cubicBezTo>
                    <a:pt x="12978" y="6982"/>
                    <a:pt x="13069" y="6873"/>
                    <a:pt x="13069" y="6655"/>
                  </a:cubicBezTo>
                  <a:cubicBezTo>
                    <a:pt x="13069" y="6327"/>
                    <a:pt x="13160" y="6327"/>
                    <a:pt x="13069" y="6218"/>
                  </a:cubicBezTo>
                  <a:cubicBezTo>
                    <a:pt x="12978" y="6109"/>
                    <a:pt x="13069" y="6000"/>
                    <a:pt x="12978" y="5891"/>
                  </a:cubicBezTo>
                  <a:cubicBezTo>
                    <a:pt x="12887" y="5891"/>
                    <a:pt x="12887" y="6000"/>
                    <a:pt x="12797" y="5891"/>
                  </a:cubicBezTo>
                  <a:cubicBezTo>
                    <a:pt x="12797" y="5891"/>
                    <a:pt x="12797" y="6000"/>
                    <a:pt x="12797" y="6000"/>
                  </a:cubicBezTo>
                  <a:cubicBezTo>
                    <a:pt x="12887" y="5782"/>
                    <a:pt x="12887" y="5782"/>
                    <a:pt x="12887" y="5782"/>
                  </a:cubicBezTo>
                  <a:cubicBezTo>
                    <a:pt x="12887" y="5782"/>
                    <a:pt x="12978" y="5345"/>
                    <a:pt x="12887" y="5564"/>
                  </a:cubicBezTo>
                  <a:cubicBezTo>
                    <a:pt x="12797" y="5673"/>
                    <a:pt x="12524" y="5782"/>
                    <a:pt x="12524" y="5673"/>
                  </a:cubicBezTo>
                  <a:cubicBezTo>
                    <a:pt x="12615" y="5564"/>
                    <a:pt x="12524" y="5455"/>
                    <a:pt x="12524" y="5455"/>
                  </a:cubicBezTo>
                  <a:cubicBezTo>
                    <a:pt x="12524" y="5455"/>
                    <a:pt x="12161" y="5455"/>
                    <a:pt x="12161" y="5455"/>
                  </a:cubicBezTo>
                  <a:cubicBezTo>
                    <a:pt x="12161" y="5455"/>
                    <a:pt x="12161" y="5345"/>
                    <a:pt x="12161" y="5564"/>
                  </a:cubicBezTo>
                  <a:cubicBezTo>
                    <a:pt x="12161" y="5673"/>
                    <a:pt x="12252" y="5891"/>
                    <a:pt x="12071" y="5891"/>
                  </a:cubicBezTo>
                  <a:cubicBezTo>
                    <a:pt x="11889" y="6000"/>
                    <a:pt x="11798" y="6000"/>
                    <a:pt x="11798" y="6000"/>
                  </a:cubicBezTo>
                  <a:cubicBezTo>
                    <a:pt x="11798" y="5891"/>
                    <a:pt x="11617" y="5782"/>
                    <a:pt x="11617" y="5782"/>
                  </a:cubicBezTo>
                  <a:cubicBezTo>
                    <a:pt x="11617" y="5782"/>
                    <a:pt x="11526" y="5782"/>
                    <a:pt x="11435" y="5782"/>
                  </a:cubicBezTo>
                  <a:cubicBezTo>
                    <a:pt x="11435" y="5891"/>
                    <a:pt x="11254" y="5891"/>
                    <a:pt x="11254" y="5891"/>
                  </a:cubicBezTo>
                  <a:cubicBezTo>
                    <a:pt x="11254" y="6109"/>
                    <a:pt x="11254" y="6109"/>
                    <a:pt x="11254" y="6109"/>
                  </a:cubicBezTo>
                  <a:cubicBezTo>
                    <a:pt x="11254" y="6218"/>
                    <a:pt x="11254" y="6218"/>
                    <a:pt x="11254" y="6218"/>
                  </a:cubicBezTo>
                  <a:cubicBezTo>
                    <a:pt x="11254" y="6218"/>
                    <a:pt x="11163" y="6218"/>
                    <a:pt x="11163" y="6218"/>
                  </a:cubicBezTo>
                  <a:cubicBezTo>
                    <a:pt x="11072" y="6327"/>
                    <a:pt x="10982" y="6327"/>
                    <a:pt x="11072" y="6436"/>
                  </a:cubicBezTo>
                  <a:cubicBezTo>
                    <a:pt x="11072" y="6436"/>
                    <a:pt x="11072" y="6436"/>
                    <a:pt x="11072" y="6655"/>
                  </a:cubicBezTo>
                  <a:cubicBezTo>
                    <a:pt x="11072" y="6764"/>
                    <a:pt x="11072" y="6764"/>
                    <a:pt x="11072" y="6873"/>
                  </a:cubicBezTo>
                  <a:cubicBezTo>
                    <a:pt x="10982" y="6982"/>
                    <a:pt x="10982" y="7091"/>
                    <a:pt x="10891" y="7200"/>
                  </a:cubicBezTo>
                  <a:cubicBezTo>
                    <a:pt x="10891" y="7200"/>
                    <a:pt x="10800" y="7309"/>
                    <a:pt x="10800" y="7309"/>
                  </a:cubicBezTo>
                  <a:cubicBezTo>
                    <a:pt x="10709" y="7418"/>
                    <a:pt x="10709" y="7418"/>
                    <a:pt x="10618" y="7418"/>
                  </a:cubicBezTo>
                  <a:cubicBezTo>
                    <a:pt x="10528" y="7418"/>
                    <a:pt x="10528" y="7527"/>
                    <a:pt x="10528" y="7418"/>
                  </a:cubicBezTo>
                  <a:cubicBezTo>
                    <a:pt x="10528" y="7200"/>
                    <a:pt x="10528" y="7091"/>
                    <a:pt x="10528" y="6873"/>
                  </a:cubicBezTo>
                  <a:cubicBezTo>
                    <a:pt x="10528" y="6764"/>
                    <a:pt x="10618" y="6764"/>
                    <a:pt x="10437" y="6545"/>
                  </a:cubicBezTo>
                  <a:cubicBezTo>
                    <a:pt x="10346" y="6327"/>
                    <a:pt x="10255" y="6327"/>
                    <a:pt x="10255" y="6218"/>
                  </a:cubicBezTo>
                  <a:cubicBezTo>
                    <a:pt x="10255" y="6218"/>
                    <a:pt x="10255" y="6109"/>
                    <a:pt x="10255" y="6000"/>
                  </a:cubicBezTo>
                  <a:cubicBezTo>
                    <a:pt x="10255" y="5891"/>
                    <a:pt x="10255" y="6109"/>
                    <a:pt x="10255" y="5673"/>
                  </a:cubicBezTo>
                  <a:cubicBezTo>
                    <a:pt x="10346" y="5345"/>
                    <a:pt x="10255" y="5236"/>
                    <a:pt x="10255" y="5236"/>
                  </a:cubicBezTo>
                  <a:cubicBezTo>
                    <a:pt x="10255" y="5236"/>
                    <a:pt x="10346" y="4691"/>
                    <a:pt x="10346" y="4691"/>
                  </a:cubicBezTo>
                  <a:cubicBezTo>
                    <a:pt x="10255" y="4691"/>
                    <a:pt x="9983" y="4691"/>
                    <a:pt x="9892" y="4691"/>
                  </a:cubicBezTo>
                  <a:cubicBezTo>
                    <a:pt x="9802" y="4691"/>
                    <a:pt x="9802" y="4691"/>
                    <a:pt x="9711" y="4691"/>
                  </a:cubicBezTo>
                  <a:cubicBezTo>
                    <a:pt x="9711" y="4800"/>
                    <a:pt x="9620" y="4691"/>
                    <a:pt x="9620" y="4909"/>
                  </a:cubicBezTo>
                  <a:cubicBezTo>
                    <a:pt x="9529" y="5127"/>
                    <a:pt x="9439" y="5127"/>
                    <a:pt x="9439" y="5345"/>
                  </a:cubicBezTo>
                  <a:cubicBezTo>
                    <a:pt x="9439" y="5455"/>
                    <a:pt x="9439" y="5673"/>
                    <a:pt x="9439" y="5673"/>
                  </a:cubicBezTo>
                  <a:cubicBezTo>
                    <a:pt x="9439" y="5782"/>
                    <a:pt x="9348" y="5891"/>
                    <a:pt x="9348" y="5891"/>
                  </a:cubicBezTo>
                  <a:cubicBezTo>
                    <a:pt x="9348" y="5891"/>
                    <a:pt x="9348" y="6000"/>
                    <a:pt x="9348" y="6218"/>
                  </a:cubicBezTo>
                  <a:cubicBezTo>
                    <a:pt x="9257" y="6436"/>
                    <a:pt x="9257" y="6545"/>
                    <a:pt x="9257" y="6655"/>
                  </a:cubicBezTo>
                  <a:cubicBezTo>
                    <a:pt x="9257" y="6655"/>
                    <a:pt x="9257" y="6655"/>
                    <a:pt x="9166" y="6764"/>
                  </a:cubicBezTo>
                  <a:cubicBezTo>
                    <a:pt x="9076" y="6873"/>
                    <a:pt x="8894" y="7200"/>
                    <a:pt x="8803" y="7200"/>
                  </a:cubicBezTo>
                  <a:cubicBezTo>
                    <a:pt x="8803" y="7200"/>
                    <a:pt x="8803" y="7200"/>
                    <a:pt x="8713" y="7309"/>
                  </a:cubicBezTo>
                  <a:cubicBezTo>
                    <a:pt x="8713" y="7309"/>
                    <a:pt x="8531" y="7636"/>
                    <a:pt x="8440" y="7636"/>
                  </a:cubicBezTo>
                  <a:cubicBezTo>
                    <a:pt x="8350" y="7745"/>
                    <a:pt x="8440" y="7745"/>
                    <a:pt x="8350" y="7745"/>
                  </a:cubicBezTo>
                  <a:cubicBezTo>
                    <a:pt x="8350" y="7636"/>
                    <a:pt x="8259" y="7636"/>
                    <a:pt x="8259" y="7527"/>
                  </a:cubicBezTo>
                  <a:cubicBezTo>
                    <a:pt x="8259" y="7309"/>
                    <a:pt x="8259" y="7309"/>
                    <a:pt x="8350" y="7091"/>
                  </a:cubicBezTo>
                  <a:cubicBezTo>
                    <a:pt x="8350" y="6982"/>
                    <a:pt x="8440" y="6764"/>
                    <a:pt x="8440" y="6764"/>
                  </a:cubicBezTo>
                  <a:cubicBezTo>
                    <a:pt x="8440" y="6764"/>
                    <a:pt x="8531" y="6655"/>
                    <a:pt x="8440" y="6655"/>
                  </a:cubicBezTo>
                  <a:cubicBezTo>
                    <a:pt x="8350" y="6655"/>
                    <a:pt x="8259" y="6655"/>
                    <a:pt x="8168" y="6655"/>
                  </a:cubicBezTo>
                  <a:cubicBezTo>
                    <a:pt x="7987" y="6655"/>
                    <a:pt x="7805" y="6764"/>
                    <a:pt x="7714" y="6873"/>
                  </a:cubicBezTo>
                  <a:cubicBezTo>
                    <a:pt x="7624" y="6873"/>
                    <a:pt x="7624" y="6982"/>
                    <a:pt x="7442" y="7200"/>
                  </a:cubicBezTo>
                  <a:cubicBezTo>
                    <a:pt x="7261" y="7309"/>
                    <a:pt x="7261" y="7309"/>
                    <a:pt x="7261" y="7309"/>
                  </a:cubicBezTo>
                  <a:cubicBezTo>
                    <a:pt x="7170" y="7527"/>
                    <a:pt x="7170" y="7527"/>
                    <a:pt x="7170" y="7527"/>
                  </a:cubicBezTo>
                  <a:cubicBezTo>
                    <a:pt x="7170" y="7636"/>
                    <a:pt x="7170" y="7636"/>
                    <a:pt x="7170" y="7636"/>
                  </a:cubicBezTo>
                  <a:cubicBezTo>
                    <a:pt x="7170" y="7636"/>
                    <a:pt x="7170" y="7418"/>
                    <a:pt x="7170" y="7418"/>
                  </a:cubicBezTo>
                  <a:cubicBezTo>
                    <a:pt x="7170" y="7418"/>
                    <a:pt x="7079" y="7418"/>
                    <a:pt x="7079" y="7527"/>
                  </a:cubicBezTo>
                  <a:cubicBezTo>
                    <a:pt x="7079" y="7527"/>
                    <a:pt x="6988" y="7636"/>
                    <a:pt x="6988" y="7636"/>
                  </a:cubicBezTo>
                  <a:cubicBezTo>
                    <a:pt x="6897" y="7745"/>
                    <a:pt x="6897" y="7855"/>
                    <a:pt x="6897" y="7964"/>
                  </a:cubicBezTo>
                  <a:cubicBezTo>
                    <a:pt x="6807" y="8073"/>
                    <a:pt x="6807" y="8291"/>
                    <a:pt x="6716" y="8291"/>
                  </a:cubicBezTo>
                  <a:cubicBezTo>
                    <a:pt x="6716" y="8291"/>
                    <a:pt x="6716" y="8400"/>
                    <a:pt x="6716" y="8400"/>
                  </a:cubicBezTo>
                  <a:cubicBezTo>
                    <a:pt x="6625" y="8400"/>
                    <a:pt x="6534" y="8509"/>
                    <a:pt x="6534" y="8509"/>
                  </a:cubicBezTo>
                  <a:cubicBezTo>
                    <a:pt x="6534" y="8618"/>
                    <a:pt x="6444" y="8400"/>
                    <a:pt x="6444" y="8182"/>
                  </a:cubicBezTo>
                  <a:cubicBezTo>
                    <a:pt x="6534" y="8073"/>
                    <a:pt x="6534" y="8073"/>
                    <a:pt x="6534" y="7964"/>
                  </a:cubicBezTo>
                  <a:cubicBezTo>
                    <a:pt x="6625" y="7964"/>
                    <a:pt x="6625" y="7745"/>
                    <a:pt x="6716" y="7745"/>
                  </a:cubicBezTo>
                  <a:cubicBezTo>
                    <a:pt x="6716" y="7745"/>
                    <a:pt x="6716" y="7855"/>
                    <a:pt x="6716" y="7636"/>
                  </a:cubicBezTo>
                  <a:cubicBezTo>
                    <a:pt x="6807" y="7418"/>
                    <a:pt x="6807" y="7309"/>
                    <a:pt x="6807" y="7309"/>
                  </a:cubicBezTo>
                  <a:cubicBezTo>
                    <a:pt x="6807" y="7309"/>
                    <a:pt x="6807" y="7309"/>
                    <a:pt x="6807" y="7200"/>
                  </a:cubicBezTo>
                  <a:cubicBezTo>
                    <a:pt x="6716" y="7091"/>
                    <a:pt x="6716" y="7200"/>
                    <a:pt x="6716" y="7091"/>
                  </a:cubicBezTo>
                  <a:cubicBezTo>
                    <a:pt x="6807" y="6982"/>
                    <a:pt x="6807" y="6873"/>
                    <a:pt x="6807" y="6764"/>
                  </a:cubicBezTo>
                  <a:cubicBezTo>
                    <a:pt x="6897" y="6764"/>
                    <a:pt x="6897" y="6655"/>
                    <a:pt x="6897" y="6655"/>
                  </a:cubicBezTo>
                  <a:cubicBezTo>
                    <a:pt x="6897" y="6655"/>
                    <a:pt x="6897" y="6655"/>
                    <a:pt x="6897" y="6545"/>
                  </a:cubicBezTo>
                  <a:cubicBezTo>
                    <a:pt x="6897" y="6545"/>
                    <a:pt x="6807" y="6436"/>
                    <a:pt x="6807" y="6436"/>
                  </a:cubicBezTo>
                  <a:cubicBezTo>
                    <a:pt x="6807" y="6436"/>
                    <a:pt x="6807" y="6327"/>
                    <a:pt x="6807" y="6327"/>
                  </a:cubicBezTo>
                  <a:cubicBezTo>
                    <a:pt x="6807" y="6327"/>
                    <a:pt x="6897" y="6218"/>
                    <a:pt x="6897" y="6109"/>
                  </a:cubicBezTo>
                  <a:cubicBezTo>
                    <a:pt x="6807" y="6109"/>
                    <a:pt x="6807" y="6000"/>
                    <a:pt x="6716" y="5891"/>
                  </a:cubicBezTo>
                  <a:cubicBezTo>
                    <a:pt x="6625" y="5891"/>
                    <a:pt x="6625" y="5891"/>
                    <a:pt x="6625" y="5782"/>
                  </a:cubicBezTo>
                  <a:cubicBezTo>
                    <a:pt x="6625" y="5782"/>
                    <a:pt x="6444" y="5673"/>
                    <a:pt x="6444" y="5673"/>
                  </a:cubicBezTo>
                  <a:cubicBezTo>
                    <a:pt x="6444" y="5673"/>
                    <a:pt x="6534" y="5455"/>
                    <a:pt x="6534" y="5455"/>
                  </a:cubicBezTo>
                  <a:cubicBezTo>
                    <a:pt x="6534" y="5455"/>
                    <a:pt x="6534" y="5345"/>
                    <a:pt x="6625" y="5345"/>
                  </a:cubicBezTo>
                  <a:cubicBezTo>
                    <a:pt x="6625" y="5455"/>
                    <a:pt x="6625" y="5564"/>
                    <a:pt x="6625" y="5564"/>
                  </a:cubicBezTo>
                  <a:cubicBezTo>
                    <a:pt x="6625" y="5673"/>
                    <a:pt x="6897" y="5782"/>
                    <a:pt x="6897" y="5782"/>
                  </a:cubicBezTo>
                  <a:cubicBezTo>
                    <a:pt x="6897" y="5782"/>
                    <a:pt x="7079" y="5673"/>
                    <a:pt x="7079" y="5673"/>
                  </a:cubicBezTo>
                  <a:cubicBezTo>
                    <a:pt x="7170" y="5673"/>
                    <a:pt x="7170" y="5455"/>
                    <a:pt x="7170" y="5455"/>
                  </a:cubicBezTo>
                  <a:cubicBezTo>
                    <a:pt x="7170" y="5455"/>
                    <a:pt x="7079" y="5455"/>
                    <a:pt x="7170" y="5345"/>
                  </a:cubicBezTo>
                  <a:cubicBezTo>
                    <a:pt x="7261" y="5345"/>
                    <a:pt x="7442" y="5236"/>
                    <a:pt x="7442" y="5236"/>
                  </a:cubicBezTo>
                  <a:cubicBezTo>
                    <a:pt x="7442" y="5127"/>
                    <a:pt x="7533" y="5127"/>
                    <a:pt x="7533" y="5127"/>
                  </a:cubicBezTo>
                  <a:cubicBezTo>
                    <a:pt x="7533" y="5127"/>
                    <a:pt x="7624" y="5018"/>
                    <a:pt x="7624" y="5018"/>
                  </a:cubicBezTo>
                  <a:cubicBezTo>
                    <a:pt x="7624" y="4909"/>
                    <a:pt x="7714" y="4909"/>
                    <a:pt x="7624" y="4800"/>
                  </a:cubicBezTo>
                  <a:cubicBezTo>
                    <a:pt x="7624" y="4800"/>
                    <a:pt x="7624" y="4691"/>
                    <a:pt x="7624" y="4582"/>
                  </a:cubicBezTo>
                  <a:cubicBezTo>
                    <a:pt x="7624" y="4582"/>
                    <a:pt x="7805" y="4691"/>
                    <a:pt x="7624" y="4473"/>
                  </a:cubicBezTo>
                  <a:cubicBezTo>
                    <a:pt x="7442" y="4364"/>
                    <a:pt x="7261" y="4255"/>
                    <a:pt x="7351" y="4255"/>
                  </a:cubicBezTo>
                  <a:cubicBezTo>
                    <a:pt x="7442" y="4255"/>
                    <a:pt x="7533" y="4255"/>
                    <a:pt x="7533" y="4255"/>
                  </a:cubicBezTo>
                  <a:cubicBezTo>
                    <a:pt x="7624" y="4255"/>
                    <a:pt x="7714" y="4364"/>
                    <a:pt x="7714" y="4255"/>
                  </a:cubicBezTo>
                  <a:cubicBezTo>
                    <a:pt x="7805" y="4255"/>
                    <a:pt x="7805" y="4255"/>
                    <a:pt x="7805" y="4145"/>
                  </a:cubicBezTo>
                  <a:cubicBezTo>
                    <a:pt x="7714" y="4036"/>
                    <a:pt x="7714" y="4036"/>
                    <a:pt x="7714" y="4036"/>
                  </a:cubicBezTo>
                  <a:cubicBezTo>
                    <a:pt x="7624" y="3927"/>
                    <a:pt x="7624" y="3927"/>
                    <a:pt x="7533" y="3927"/>
                  </a:cubicBezTo>
                  <a:cubicBezTo>
                    <a:pt x="7533" y="3927"/>
                    <a:pt x="7442" y="4036"/>
                    <a:pt x="7533" y="3818"/>
                  </a:cubicBezTo>
                  <a:cubicBezTo>
                    <a:pt x="7533" y="3600"/>
                    <a:pt x="7533" y="3600"/>
                    <a:pt x="7533" y="3491"/>
                  </a:cubicBezTo>
                  <a:cubicBezTo>
                    <a:pt x="7533" y="3491"/>
                    <a:pt x="7714" y="3491"/>
                    <a:pt x="7533" y="3491"/>
                  </a:cubicBezTo>
                  <a:cubicBezTo>
                    <a:pt x="7442" y="3382"/>
                    <a:pt x="7442" y="3382"/>
                    <a:pt x="7442" y="3382"/>
                  </a:cubicBezTo>
                  <a:cubicBezTo>
                    <a:pt x="7351" y="3382"/>
                    <a:pt x="7442" y="3382"/>
                    <a:pt x="7261" y="3382"/>
                  </a:cubicBezTo>
                  <a:cubicBezTo>
                    <a:pt x="7170" y="3382"/>
                    <a:pt x="7261" y="3164"/>
                    <a:pt x="7261" y="3164"/>
                  </a:cubicBezTo>
                  <a:cubicBezTo>
                    <a:pt x="7261" y="3055"/>
                    <a:pt x="7351" y="2618"/>
                    <a:pt x="7351" y="2618"/>
                  </a:cubicBezTo>
                  <a:cubicBezTo>
                    <a:pt x="7261" y="2509"/>
                    <a:pt x="7261" y="2509"/>
                    <a:pt x="7261" y="2509"/>
                  </a:cubicBezTo>
                  <a:cubicBezTo>
                    <a:pt x="7261" y="2509"/>
                    <a:pt x="7170" y="2291"/>
                    <a:pt x="7170" y="2291"/>
                  </a:cubicBezTo>
                  <a:cubicBezTo>
                    <a:pt x="7170" y="2182"/>
                    <a:pt x="7170" y="2073"/>
                    <a:pt x="7079" y="2073"/>
                  </a:cubicBezTo>
                  <a:cubicBezTo>
                    <a:pt x="7079" y="2073"/>
                    <a:pt x="6988" y="1964"/>
                    <a:pt x="6988" y="1964"/>
                  </a:cubicBezTo>
                  <a:cubicBezTo>
                    <a:pt x="6988" y="1964"/>
                    <a:pt x="6897" y="1964"/>
                    <a:pt x="6897" y="1855"/>
                  </a:cubicBezTo>
                  <a:cubicBezTo>
                    <a:pt x="6897" y="1745"/>
                    <a:pt x="6897" y="1636"/>
                    <a:pt x="6897" y="1636"/>
                  </a:cubicBezTo>
                  <a:cubicBezTo>
                    <a:pt x="6897" y="1527"/>
                    <a:pt x="6897" y="1418"/>
                    <a:pt x="6897" y="1418"/>
                  </a:cubicBezTo>
                  <a:cubicBezTo>
                    <a:pt x="6716" y="873"/>
                    <a:pt x="6716" y="873"/>
                    <a:pt x="6716" y="873"/>
                  </a:cubicBezTo>
                  <a:cubicBezTo>
                    <a:pt x="6716" y="764"/>
                    <a:pt x="6716" y="764"/>
                    <a:pt x="6716" y="764"/>
                  </a:cubicBezTo>
                  <a:cubicBezTo>
                    <a:pt x="6625" y="545"/>
                    <a:pt x="6625" y="545"/>
                    <a:pt x="6625" y="545"/>
                  </a:cubicBezTo>
                  <a:cubicBezTo>
                    <a:pt x="6534" y="545"/>
                    <a:pt x="6534" y="545"/>
                    <a:pt x="6534" y="545"/>
                  </a:cubicBezTo>
                  <a:cubicBezTo>
                    <a:pt x="6534" y="327"/>
                    <a:pt x="6534" y="327"/>
                    <a:pt x="6534" y="327"/>
                  </a:cubicBezTo>
                  <a:cubicBezTo>
                    <a:pt x="6534" y="327"/>
                    <a:pt x="6444" y="327"/>
                    <a:pt x="6444" y="436"/>
                  </a:cubicBezTo>
                  <a:cubicBezTo>
                    <a:pt x="6444" y="436"/>
                    <a:pt x="6444" y="545"/>
                    <a:pt x="6353" y="545"/>
                  </a:cubicBezTo>
                  <a:cubicBezTo>
                    <a:pt x="6262" y="545"/>
                    <a:pt x="6171" y="436"/>
                    <a:pt x="6171" y="436"/>
                  </a:cubicBezTo>
                  <a:cubicBezTo>
                    <a:pt x="6171" y="436"/>
                    <a:pt x="6171" y="327"/>
                    <a:pt x="6171" y="218"/>
                  </a:cubicBezTo>
                  <a:cubicBezTo>
                    <a:pt x="6081" y="218"/>
                    <a:pt x="5808" y="0"/>
                    <a:pt x="5808" y="0"/>
                  </a:cubicBezTo>
                  <a:cubicBezTo>
                    <a:pt x="5808" y="0"/>
                    <a:pt x="5808" y="0"/>
                    <a:pt x="5808" y="109"/>
                  </a:cubicBezTo>
                  <a:cubicBezTo>
                    <a:pt x="5808" y="109"/>
                    <a:pt x="5718" y="218"/>
                    <a:pt x="5718" y="109"/>
                  </a:cubicBezTo>
                  <a:cubicBezTo>
                    <a:pt x="5627" y="109"/>
                    <a:pt x="5445" y="0"/>
                    <a:pt x="5445" y="0"/>
                  </a:cubicBezTo>
                  <a:cubicBezTo>
                    <a:pt x="5445" y="0"/>
                    <a:pt x="5445" y="109"/>
                    <a:pt x="5445" y="109"/>
                  </a:cubicBezTo>
                  <a:cubicBezTo>
                    <a:pt x="5445" y="218"/>
                    <a:pt x="5536" y="327"/>
                    <a:pt x="5536" y="327"/>
                  </a:cubicBezTo>
                  <a:cubicBezTo>
                    <a:pt x="5445" y="327"/>
                    <a:pt x="5355" y="327"/>
                    <a:pt x="5355" y="327"/>
                  </a:cubicBezTo>
                  <a:cubicBezTo>
                    <a:pt x="5355" y="327"/>
                    <a:pt x="5355" y="327"/>
                    <a:pt x="5264" y="327"/>
                  </a:cubicBezTo>
                  <a:cubicBezTo>
                    <a:pt x="5264" y="218"/>
                    <a:pt x="5173" y="218"/>
                    <a:pt x="5173" y="218"/>
                  </a:cubicBezTo>
                  <a:cubicBezTo>
                    <a:pt x="5173" y="327"/>
                    <a:pt x="5082" y="327"/>
                    <a:pt x="5082" y="545"/>
                  </a:cubicBezTo>
                  <a:cubicBezTo>
                    <a:pt x="5173" y="655"/>
                    <a:pt x="5082" y="655"/>
                    <a:pt x="5173" y="764"/>
                  </a:cubicBezTo>
                  <a:cubicBezTo>
                    <a:pt x="5264" y="764"/>
                    <a:pt x="5264" y="764"/>
                    <a:pt x="5355" y="873"/>
                  </a:cubicBezTo>
                  <a:cubicBezTo>
                    <a:pt x="5445" y="873"/>
                    <a:pt x="5445" y="873"/>
                    <a:pt x="5536" y="873"/>
                  </a:cubicBezTo>
                  <a:cubicBezTo>
                    <a:pt x="5536" y="873"/>
                    <a:pt x="5627" y="873"/>
                    <a:pt x="5718" y="873"/>
                  </a:cubicBezTo>
                  <a:cubicBezTo>
                    <a:pt x="5718" y="873"/>
                    <a:pt x="5808" y="764"/>
                    <a:pt x="5808" y="764"/>
                  </a:cubicBezTo>
                  <a:cubicBezTo>
                    <a:pt x="5808" y="764"/>
                    <a:pt x="5808" y="873"/>
                    <a:pt x="5808" y="873"/>
                  </a:cubicBezTo>
                  <a:cubicBezTo>
                    <a:pt x="5808" y="873"/>
                    <a:pt x="5718" y="873"/>
                    <a:pt x="5808" y="982"/>
                  </a:cubicBezTo>
                  <a:cubicBezTo>
                    <a:pt x="5808" y="982"/>
                    <a:pt x="5808" y="982"/>
                    <a:pt x="5808" y="982"/>
                  </a:cubicBezTo>
                  <a:cubicBezTo>
                    <a:pt x="5899" y="1091"/>
                    <a:pt x="5899" y="1091"/>
                    <a:pt x="5899" y="1091"/>
                  </a:cubicBezTo>
                  <a:cubicBezTo>
                    <a:pt x="5899" y="1091"/>
                    <a:pt x="5899" y="1091"/>
                    <a:pt x="5899" y="1091"/>
                  </a:cubicBezTo>
                  <a:cubicBezTo>
                    <a:pt x="5899" y="1091"/>
                    <a:pt x="5899" y="1200"/>
                    <a:pt x="5899" y="1200"/>
                  </a:cubicBezTo>
                  <a:cubicBezTo>
                    <a:pt x="5899" y="1309"/>
                    <a:pt x="5899" y="1309"/>
                    <a:pt x="5990" y="1309"/>
                  </a:cubicBezTo>
                  <a:cubicBezTo>
                    <a:pt x="6081" y="1418"/>
                    <a:pt x="6081" y="1309"/>
                    <a:pt x="6081" y="1309"/>
                  </a:cubicBezTo>
                  <a:cubicBezTo>
                    <a:pt x="6081" y="1309"/>
                    <a:pt x="6262" y="1527"/>
                    <a:pt x="6171" y="1527"/>
                  </a:cubicBezTo>
                  <a:cubicBezTo>
                    <a:pt x="6171" y="1527"/>
                    <a:pt x="6081" y="1418"/>
                    <a:pt x="6171" y="1527"/>
                  </a:cubicBezTo>
                  <a:cubicBezTo>
                    <a:pt x="6262" y="1636"/>
                    <a:pt x="6353" y="1636"/>
                    <a:pt x="6353" y="1636"/>
                  </a:cubicBezTo>
                  <a:cubicBezTo>
                    <a:pt x="6353" y="1636"/>
                    <a:pt x="6262" y="1745"/>
                    <a:pt x="6081" y="1636"/>
                  </a:cubicBezTo>
                  <a:cubicBezTo>
                    <a:pt x="5990" y="1636"/>
                    <a:pt x="5990" y="1636"/>
                    <a:pt x="5990" y="1636"/>
                  </a:cubicBezTo>
                  <a:cubicBezTo>
                    <a:pt x="5990" y="1636"/>
                    <a:pt x="5899" y="1527"/>
                    <a:pt x="5899" y="1527"/>
                  </a:cubicBezTo>
                  <a:cubicBezTo>
                    <a:pt x="5808" y="1418"/>
                    <a:pt x="5808" y="1309"/>
                    <a:pt x="5808" y="1309"/>
                  </a:cubicBezTo>
                  <a:cubicBezTo>
                    <a:pt x="5808" y="1309"/>
                    <a:pt x="5718" y="1200"/>
                    <a:pt x="5627" y="1200"/>
                  </a:cubicBezTo>
                  <a:cubicBezTo>
                    <a:pt x="5536" y="1091"/>
                    <a:pt x="5445" y="1200"/>
                    <a:pt x="5355" y="1200"/>
                  </a:cubicBezTo>
                  <a:cubicBezTo>
                    <a:pt x="5355" y="1200"/>
                    <a:pt x="5264" y="1309"/>
                    <a:pt x="5173" y="1309"/>
                  </a:cubicBezTo>
                  <a:cubicBezTo>
                    <a:pt x="5173" y="1309"/>
                    <a:pt x="5173" y="1418"/>
                    <a:pt x="5173" y="1527"/>
                  </a:cubicBezTo>
                  <a:cubicBezTo>
                    <a:pt x="5264" y="1636"/>
                    <a:pt x="5445" y="2073"/>
                    <a:pt x="5445" y="2073"/>
                  </a:cubicBezTo>
                  <a:cubicBezTo>
                    <a:pt x="5445" y="2073"/>
                    <a:pt x="5627" y="2291"/>
                    <a:pt x="5627" y="2291"/>
                  </a:cubicBezTo>
                  <a:cubicBezTo>
                    <a:pt x="5627" y="2291"/>
                    <a:pt x="5718" y="2509"/>
                    <a:pt x="5718" y="2509"/>
                  </a:cubicBezTo>
                  <a:cubicBezTo>
                    <a:pt x="5718" y="2509"/>
                    <a:pt x="5718" y="2509"/>
                    <a:pt x="5808" y="2618"/>
                  </a:cubicBezTo>
                  <a:cubicBezTo>
                    <a:pt x="5899" y="2618"/>
                    <a:pt x="5808" y="2618"/>
                    <a:pt x="5808" y="2618"/>
                  </a:cubicBezTo>
                  <a:cubicBezTo>
                    <a:pt x="5808" y="2727"/>
                    <a:pt x="5718" y="2836"/>
                    <a:pt x="5718" y="2945"/>
                  </a:cubicBezTo>
                  <a:cubicBezTo>
                    <a:pt x="5718" y="2945"/>
                    <a:pt x="5718" y="2836"/>
                    <a:pt x="5718" y="2945"/>
                  </a:cubicBezTo>
                  <a:cubicBezTo>
                    <a:pt x="5718" y="3164"/>
                    <a:pt x="5718" y="3382"/>
                    <a:pt x="5718" y="3382"/>
                  </a:cubicBezTo>
                  <a:cubicBezTo>
                    <a:pt x="5627" y="3600"/>
                    <a:pt x="5627" y="3600"/>
                    <a:pt x="5627" y="3600"/>
                  </a:cubicBezTo>
                  <a:cubicBezTo>
                    <a:pt x="5536" y="3709"/>
                    <a:pt x="5536" y="3709"/>
                    <a:pt x="5536" y="3709"/>
                  </a:cubicBezTo>
                  <a:cubicBezTo>
                    <a:pt x="5536" y="3709"/>
                    <a:pt x="5536" y="3709"/>
                    <a:pt x="5536" y="3709"/>
                  </a:cubicBezTo>
                  <a:cubicBezTo>
                    <a:pt x="5445" y="3709"/>
                    <a:pt x="5536" y="3600"/>
                    <a:pt x="5536" y="3600"/>
                  </a:cubicBezTo>
                  <a:cubicBezTo>
                    <a:pt x="5536" y="3491"/>
                    <a:pt x="5536" y="3491"/>
                    <a:pt x="5536" y="3491"/>
                  </a:cubicBezTo>
                  <a:cubicBezTo>
                    <a:pt x="5627" y="3273"/>
                    <a:pt x="5627" y="3273"/>
                    <a:pt x="5627" y="3273"/>
                  </a:cubicBezTo>
                  <a:cubicBezTo>
                    <a:pt x="5627" y="3273"/>
                    <a:pt x="5536" y="3164"/>
                    <a:pt x="5445" y="3164"/>
                  </a:cubicBezTo>
                  <a:cubicBezTo>
                    <a:pt x="5445" y="3055"/>
                    <a:pt x="5445" y="3164"/>
                    <a:pt x="5355" y="3164"/>
                  </a:cubicBezTo>
                  <a:cubicBezTo>
                    <a:pt x="5355" y="3164"/>
                    <a:pt x="5264" y="3382"/>
                    <a:pt x="5264" y="3382"/>
                  </a:cubicBezTo>
                  <a:cubicBezTo>
                    <a:pt x="5264" y="3382"/>
                    <a:pt x="5173" y="3382"/>
                    <a:pt x="5264" y="3273"/>
                  </a:cubicBezTo>
                  <a:cubicBezTo>
                    <a:pt x="5264" y="3273"/>
                    <a:pt x="5264" y="3055"/>
                    <a:pt x="5355" y="3055"/>
                  </a:cubicBezTo>
                  <a:cubicBezTo>
                    <a:pt x="5355" y="3055"/>
                    <a:pt x="5355" y="3055"/>
                    <a:pt x="5355" y="3055"/>
                  </a:cubicBezTo>
                  <a:cubicBezTo>
                    <a:pt x="5355" y="2945"/>
                    <a:pt x="5445" y="2945"/>
                    <a:pt x="5445" y="2836"/>
                  </a:cubicBezTo>
                  <a:cubicBezTo>
                    <a:pt x="5445" y="2727"/>
                    <a:pt x="5445" y="2727"/>
                    <a:pt x="5445" y="2618"/>
                  </a:cubicBezTo>
                  <a:cubicBezTo>
                    <a:pt x="5355" y="2618"/>
                    <a:pt x="5355" y="2509"/>
                    <a:pt x="5355" y="2400"/>
                  </a:cubicBezTo>
                  <a:cubicBezTo>
                    <a:pt x="5264" y="2400"/>
                    <a:pt x="5173" y="2509"/>
                    <a:pt x="5173" y="2509"/>
                  </a:cubicBezTo>
                  <a:cubicBezTo>
                    <a:pt x="5173" y="2618"/>
                    <a:pt x="5173" y="2618"/>
                    <a:pt x="5173" y="2618"/>
                  </a:cubicBezTo>
                  <a:cubicBezTo>
                    <a:pt x="5082" y="2727"/>
                    <a:pt x="5082" y="2727"/>
                    <a:pt x="4992" y="2836"/>
                  </a:cubicBezTo>
                  <a:cubicBezTo>
                    <a:pt x="4901" y="2945"/>
                    <a:pt x="4901" y="2945"/>
                    <a:pt x="4901" y="2945"/>
                  </a:cubicBezTo>
                  <a:cubicBezTo>
                    <a:pt x="4901" y="2945"/>
                    <a:pt x="4992" y="2727"/>
                    <a:pt x="4992" y="2727"/>
                  </a:cubicBezTo>
                  <a:cubicBezTo>
                    <a:pt x="4992" y="2727"/>
                    <a:pt x="5082" y="2618"/>
                    <a:pt x="4992" y="2618"/>
                  </a:cubicBezTo>
                  <a:cubicBezTo>
                    <a:pt x="4992" y="2618"/>
                    <a:pt x="4992" y="2618"/>
                    <a:pt x="4992" y="2509"/>
                  </a:cubicBezTo>
                  <a:cubicBezTo>
                    <a:pt x="4992" y="2509"/>
                    <a:pt x="4992" y="2400"/>
                    <a:pt x="4992" y="2400"/>
                  </a:cubicBezTo>
                  <a:cubicBezTo>
                    <a:pt x="4992" y="2400"/>
                    <a:pt x="5082" y="2400"/>
                    <a:pt x="4992" y="2400"/>
                  </a:cubicBezTo>
                  <a:cubicBezTo>
                    <a:pt x="4901" y="2400"/>
                    <a:pt x="4901" y="2400"/>
                    <a:pt x="4901" y="2400"/>
                  </a:cubicBezTo>
                  <a:cubicBezTo>
                    <a:pt x="4901" y="2400"/>
                    <a:pt x="4810" y="2400"/>
                    <a:pt x="4810" y="2400"/>
                  </a:cubicBezTo>
                  <a:cubicBezTo>
                    <a:pt x="4810" y="2291"/>
                    <a:pt x="4901" y="2291"/>
                    <a:pt x="4901" y="2291"/>
                  </a:cubicBezTo>
                  <a:cubicBezTo>
                    <a:pt x="4901" y="2182"/>
                    <a:pt x="4992" y="2073"/>
                    <a:pt x="4992" y="2073"/>
                  </a:cubicBezTo>
                  <a:cubicBezTo>
                    <a:pt x="4992" y="2073"/>
                    <a:pt x="4901" y="1964"/>
                    <a:pt x="4901" y="1964"/>
                  </a:cubicBezTo>
                  <a:cubicBezTo>
                    <a:pt x="4810" y="1855"/>
                    <a:pt x="4810" y="1745"/>
                    <a:pt x="4810" y="1745"/>
                  </a:cubicBezTo>
                  <a:cubicBezTo>
                    <a:pt x="4810" y="1745"/>
                    <a:pt x="4810" y="1964"/>
                    <a:pt x="4810" y="1636"/>
                  </a:cubicBezTo>
                  <a:cubicBezTo>
                    <a:pt x="4719" y="1309"/>
                    <a:pt x="4719" y="1309"/>
                    <a:pt x="4719" y="1309"/>
                  </a:cubicBezTo>
                  <a:cubicBezTo>
                    <a:pt x="4629" y="1200"/>
                    <a:pt x="4629" y="1200"/>
                    <a:pt x="4629" y="1200"/>
                  </a:cubicBezTo>
                  <a:cubicBezTo>
                    <a:pt x="4629" y="1200"/>
                    <a:pt x="4629" y="1091"/>
                    <a:pt x="4538" y="1091"/>
                  </a:cubicBezTo>
                  <a:cubicBezTo>
                    <a:pt x="4538" y="982"/>
                    <a:pt x="4356" y="873"/>
                    <a:pt x="4356" y="873"/>
                  </a:cubicBezTo>
                  <a:cubicBezTo>
                    <a:pt x="4356" y="764"/>
                    <a:pt x="4356" y="764"/>
                    <a:pt x="4356" y="764"/>
                  </a:cubicBezTo>
                  <a:cubicBezTo>
                    <a:pt x="4356" y="764"/>
                    <a:pt x="4356" y="655"/>
                    <a:pt x="4356" y="655"/>
                  </a:cubicBezTo>
                  <a:cubicBezTo>
                    <a:pt x="4266" y="655"/>
                    <a:pt x="4175" y="545"/>
                    <a:pt x="4175" y="655"/>
                  </a:cubicBezTo>
                  <a:cubicBezTo>
                    <a:pt x="4175" y="764"/>
                    <a:pt x="4175" y="764"/>
                    <a:pt x="4175" y="873"/>
                  </a:cubicBezTo>
                  <a:cubicBezTo>
                    <a:pt x="4084" y="873"/>
                    <a:pt x="3903" y="873"/>
                    <a:pt x="3903" y="873"/>
                  </a:cubicBezTo>
                  <a:cubicBezTo>
                    <a:pt x="3903" y="873"/>
                    <a:pt x="3903" y="982"/>
                    <a:pt x="3903" y="982"/>
                  </a:cubicBezTo>
                  <a:cubicBezTo>
                    <a:pt x="3721" y="1091"/>
                    <a:pt x="3721" y="1091"/>
                    <a:pt x="3721" y="1091"/>
                  </a:cubicBezTo>
                  <a:cubicBezTo>
                    <a:pt x="3721" y="1091"/>
                    <a:pt x="3721" y="982"/>
                    <a:pt x="3721" y="1091"/>
                  </a:cubicBezTo>
                  <a:cubicBezTo>
                    <a:pt x="3812" y="1200"/>
                    <a:pt x="3812" y="1309"/>
                    <a:pt x="3812" y="1418"/>
                  </a:cubicBezTo>
                  <a:cubicBezTo>
                    <a:pt x="3812" y="1418"/>
                    <a:pt x="3993" y="1527"/>
                    <a:pt x="3903" y="1527"/>
                  </a:cubicBezTo>
                  <a:cubicBezTo>
                    <a:pt x="3903" y="1527"/>
                    <a:pt x="3721" y="1527"/>
                    <a:pt x="3721" y="1527"/>
                  </a:cubicBezTo>
                  <a:cubicBezTo>
                    <a:pt x="3721" y="1527"/>
                    <a:pt x="3630" y="1418"/>
                    <a:pt x="3630" y="1309"/>
                  </a:cubicBezTo>
                  <a:cubicBezTo>
                    <a:pt x="3630" y="1309"/>
                    <a:pt x="3539" y="1200"/>
                    <a:pt x="3449" y="1200"/>
                  </a:cubicBezTo>
                  <a:cubicBezTo>
                    <a:pt x="3449" y="1200"/>
                    <a:pt x="3358" y="1200"/>
                    <a:pt x="3267" y="1309"/>
                  </a:cubicBezTo>
                  <a:cubicBezTo>
                    <a:pt x="3267" y="1418"/>
                    <a:pt x="3267" y="1309"/>
                    <a:pt x="3267" y="1527"/>
                  </a:cubicBezTo>
                  <a:cubicBezTo>
                    <a:pt x="3267" y="1745"/>
                    <a:pt x="3267" y="1964"/>
                    <a:pt x="3267" y="1964"/>
                  </a:cubicBezTo>
                  <a:cubicBezTo>
                    <a:pt x="3267" y="1964"/>
                    <a:pt x="3358" y="2073"/>
                    <a:pt x="3449" y="2182"/>
                  </a:cubicBezTo>
                  <a:cubicBezTo>
                    <a:pt x="3449" y="2182"/>
                    <a:pt x="3539" y="2509"/>
                    <a:pt x="3539" y="2509"/>
                  </a:cubicBezTo>
                  <a:cubicBezTo>
                    <a:pt x="3539" y="2618"/>
                    <a:pt x="3630" y="2727"/>
                    <a:pt x="3630" y="2727"/>
                  </a:cubicBezTo>
                  <a:cubicBezTo>
                    <a:pt x="3630" y="2727"/>
                    <a:pt x="3176" y="2509"/>
                    <a:pt x="3176" y="2400"/>
                  </a:cubicBezTo>
                  <a:cubicBezTo>
                    <a:pt x="3176" y="2291"/>
                    <a:pt x="3176" y="2073"/>
                    <a:pt x="3086" y="2073"/>
                  </a:cubicBezTo>
                  <a:cubicBezTo>
                    <a:pt x="3086" y="2073"/>
                    <a:pt x="3086" y="1964"/>
                    <a:pt x="2995" y="2073"/>
                  </a:cubicBezTo>
                  <a:cubicBezTo>
                    <a:pt x="2904" y="2073"/>
                    <a:pt x="2904" y="2073"/>
                    <a:pt x="2813" y="2073"/>
                  </a:cubicBezTo>
                  <a:cubicBezTo>
                    <a:pt x="2813" y="2182"/>
                    <a:pt x="2813" y="2291"/>
                    <a:pt x="2813" y="2291"/>
                  </a:cubicBezTo>
                  <a:cubicBezTo>
                    <a:pt x="2813" y="2291"/>
                    <a:pt x="2813" y="2400"/>
                    <a:pt x="2813" y="2509"/>
                  </a:cubicBezTo>
                  <a:cubicBezTo>
                    <a:pt x="2904" y="2727"/>
                    <a:pt x="2904" y="2727"/>
                    <a:pt x="2904" y="2836"/>
                  </a:cubicBezTo>
                  <a:cubicBezTo>
                    <a:pt x="2995" y="2945"/>
                    <a:pt x="3086" y="2945"/>
                    <a:pt x="3086" y="3055"/>
                  </a:cubicBezTo>
                  <a:cubicBezTo>
                    <a:pt x="3086" y="3055"/>
                    <a:pt x="3176" y="3164"/>
                    <a:pt x="3176" y="3164"/>
                  </a:cubicBezTo>
                  <a:cubicBezTo>
                    <a:pt x="3176" y="3164"/>
                    <a:pt x="3086" y="3382"/>
                    <a:pt x="3086" y="3382"/>
                  </a:cubicBezTo>
                  <a:cubicBezTo>
                    <a:pt x="3086" y="3491"/>
                    <a:pt x="2995" y="3600"/>
                    <a:pt x="2995" y="3600"/>
                  </a:cubicBezTo>
                  <a:cubicBezTo>
                    <a:pt x="2995" y="3600"/>
                    <a:pt x="3176" y="3709"/>
                    <a:pt x="3176" y="3709"/>
                  </a:cubicBezTo>
                  <a:cubicBezTo>
                    <a:pt x="3176" y="3709"/>
                    <a:pt x="3267" y="3818"/>
                    <a:pt x="3176" y="3927"/>
                  </a:cubicBezTo>
                  <a:cubicBezTo>
                    <a:pt x="3086" y="3927"/>
                    <a:pt x="3086" y="3927"/>
                    <a:pt x="2995" y="3927"/>
                  </a:cubicBezTo>
                  <a:cubicBezTo>
                    <a:pt x="2995" y="3818"/>
                    <a:pt x="2904" y="3927"/>
                    <a:pt x="2904" y="3709"/>
                  </a:cubicBezTo>
                  <a:cubicBezTo>
                    <a:pt x="2995" y="3600"/>
                    <a:pt x="2995" y="3491"/>
                    <a:pt x="2995" y="3491"/>
                  </a:cubicBezTo>
                  <a:cubicBezTo>
                    <a:pt x="2904" y="3491"/>
                    <a:pt x="2813" y="3273"/>
                    <a:pt x="2813" y="3273"/>
                  </a:cubicBezTo>
                  <a:cubicBezTo>
                    <a:pt x="2813" y="3273"/>
                    <a:pt x="2995" y="3600"/>
                    <a:pt x="2723" y="3055"/>
                  </a:cubicBezTo>
                  <a:cubicBezTo>
                    <a:pt x="2541" y="2618"/>
                    <a:pt x="2541" y="2618"/>
                    <a:pt x="2541" y="2618"/>
                  </a:cubicBezTo>
                  <a:cubicBezTo>
                    <a:pt x="2541" y="2400"/>
                    <a:pt x="2541" y="2400"/>
                    <a:pt x="2541" y="2400"/>
                  </a:cubicBezTo>
                  <a:cubicBezTo>
                    <a:pt x="2541" y="2400"/>
                    <a:pt x="2450" y="2400"/>
                    <a:pt x="2450" y="2400"/>
                  </a:cubicBezTo>
                  <a:cubicBezTo>
                    <a:pt x="2450" y="2400"/>
                    <a:pt x="2360" y="2291"/>
                    <a:pt x="2360" y="2291"/>
                  </a:cubicBezTo>
                  <a:cubicBezTo>
                    <a:pt x="2360" y="2291"/>
                    <a:pt x="2178" y="2291"/>
                    <a:pt x="2178" y="2291"/>
                  </a:cubicBezTo>
                  <a:cubicBezTo>
                    <a:pt x="2178" y="2400"/>
                    <a:pt x="2178" y="2400"/>
                    <a:pt x="2178" y="2509"/>
                  </a:cubicBezTo>
                  <a:cubicBezTo>
                    <a:pt x="2087" y="2509"/>
                    <a:pt x="2087" y="2727"/>
                    <a:pt x="2087" y="2727"/>
                  </a:cubicBezTo>
                  <a:cubicBezTo>
                    <a:pt x="1997" y="2727"/>
                    <a:pt x="1997" y="2945"/>
                    <a:pt x="1997" y="2945"/>
                  </a:cubicBezTo>
                  <a:cubicBezTo>
                    <a:pt x="1997" y="2945"/>
                    <a:pt x="2087" y="2945"/>
                    <a:pt x="2087" y="3055"/>
                  </a:cubicBezTo>
                  <a:cubicBezTo>
                    <a:pt x="2178" y="3164"/>
                    <a:pt x="2178" y="3273"/>
                    <a:pt x="2178" y="3273"/>
                  </a:cubicBezTo>
                  <a:cubicBezTo>
                    <a:pt x="2178" y="3273"/>
                    <a:pt x="2087" y="3164"/>
                    <a:pt x="2087" y="3164"/>
                  </a:cubicBezTo>
                  <a:cubicBezTo>
                    <a:pt x="1997" y="3164"/>
                    <a:pt x="1997" y="3164"/>
                    <a:pt x="1997" y="3164"/>
                  </a:cubicBezTo>
                  <a:cubicBezTo>
                    <a:pt x="1906" y="3273"/>
                    <a:pt x="1906" y="3273"/>
                    <a:pt x="1906" y="3273"/>
                  </a:cubicBezTo>
                  <a:cubicBezTo>
                    <a:pt x="1906" y="3273"/>
                    <a:pt x="1906" y="3273"/>
                    <a:pt x="1906" y="3273"/>
                  </a:cubicBezTo>
                  <a:cubicBezTo>
                    <a:pt x="1906" y="3273"/>
                    <a:pt x="1906" y="3491"/>
                    <a:pt x="1906" y="3491"/>
                  </a:cubicBezTo>
                  <a:cubicBezTo>
                    <a:pt x="1906" y="3491"/>
                    <a:pt x="1997" y="3600"/>
                    <a:pt x="1997" y="3600"/>
                  </a:cubicBezTo>
                  <a:cubicBezTo>
                    <a:pt x="1997" y="3600"/>
                    <a:pt x="1997" y="3709"/>
                    <a:pt x="1997" y="3709"/>
                  </a:cubicBezTo>
                  <a:cubicBezTo>
                    <a:pt x="1997" y="3709"/>
                    <a:pt x="2087" y="3818"/>
                    <a:pt x="2087" y="3818"/>
                  </a:cubicBezTo>
                  <a:cubicBezTo>
                    <a:pt x="2087" y="3927"/>
                    <a:pt x="2087" y="3927"/>
                    <a:pt x="2087" y="3927"/>
                  </a:cubicBezTo>
                  <a:cubicBezTo>
                    <a:pt x="2087" y="3927"/>
                    <a:pt x="2087" y="3927"/>
                    <a:pt x="2087" y="3927"/>
                  </a:cubicBezTo>
                  <a:cubicBezTo>
                    <a:pt x="1997" y="3927"/>
                    <a:pt x="2087" y="4036"/>
                    <a:pt x="1997" y="3927"/>
                  </a:cubicBezTo>
                  <a:cubicBezTo>
                    <a:pt x="1906" y="3818"/>
                    <a:pt x="1906" y="3927"/>
                    <a:pt x="1815" y="3818"/>
                  </a:cubicBezTo>
                  <a:cubicBezTo>
                    <a:pt x="1815" y="3600"/>
                    <a:pt x="1815" y="3600"/>
                    <a:pt x="1815" y="3600"/>
                  </a:cubicBezTo>
                  <a:cubicBezTo>
                    <a:pt x="1815" y="3600"/>
                    <a:pt x="1906" y="3491"/>
                    <a:pt x="1724" y="3382"/>
                  </a:cubicBezTo>
                  <a:cubicBezTo>
                    <a:pt x="1634" y="3164"/>
                    <a:pt x="1634" y="3055"/>
                    <a:pt x="1634" y="3055"/>
                  </a:cubicBezTo>
                  <a:cubicBezTo>
                    <a:pt x="1634" y="3055"/>
                    <a:pt x="1543" y="2945"/>
                    <a:pt x="1452" y="2945"/>
                  </a:cubicBezTo>
                  <a:cubicBezTo>
                    <a:pt x="1452" y="3055"/>
                    <a:pt x="1452" y="3055"/>
                    <a:pt x="1361" y="3055"/>
                  </a:cubicBezTo>
                  <a:cubicBezTo>
                    <a:pt x="1271" y="3164"/>
                    <a:pt x="1271" y="3164"/>
                    <a:pt x="1180" y="3164"/>
                  </a:cubicBezTo>
                  <a:cubicBezTo>
                    <a:pt x="1180" y="3164"/>
                    <a:pt x="998" y="3164"/>
                    <a:pt x="998" y="3164"/>
                  </a:cubicBezTo>
                  <a:cubicBezTo>
                    <a:pt x="998" y="3164"/>
                    <a:pt x="998" y="3164"/>
                    <a:pt x="817" y="3273"/>
                  </a:cubicBezTo>
                  <a:cubicBezTo>
                    <a:pt x="726" y="3491"/>
                    <a:pt x="635" y="3491"/>
                    <a:pt x="726" y="3491"/>
                  </a:cubicBezTo>
                  <a:cubicBezTo>
                    <a:pt x="817" y="3600"/>
                    <a:pt x="998" y="3600"/>
                    <a:pt x="998" y="3600"/>
                  </a:cubicBezTo>
                  <a:cubicBezTo>
                    <a:pt x="998" y="3600"/>
                    <a:pt x="1089" y="3600"/>
                    <a:pt x="1180" y="3709"/>
                  </a:cubicBezTo>
                  <a:cubicBezTo>
                    <a:pt x="1271" y="3709"/>
                    <a:pt x="1452" y="3927"/>
                    <a:pt x="1452" y="3927"/>
                  </a:cubicBezTo>
                  <a:cubicBezTo>
                    <a:pt x="1634" y="4255"/>
                    <a:pt x="1634" y="4255"/>
                    <a:pt x="1634" y="4255"/>
                  </a:cubicBezTo>
                  <a:cubicBezTo>
                    <a:pt x="1634" y="4255"/>
                    <a:pt x="1634" y="4364"/>
                    <a:pt x="1634" y="4364"/>
                  </a:cubicBezTo>
                  <a:cubicBezTo>
                    <a:pt x="1634" y="4364"/>
                    <a:pt x="1634" y="4364"/>
                    <a:pt x="1634" y="4473"/>
                  </a:cubicBezTo>
                  <a:cubicBezTo>
                    <a:pt x="1634" y="4473"/>
                    <a:pt x="1634" y="4582"/>
                    <a:pt x="1634" y="4582"/>
                  </a:cubicBezTo>
                  <a:cubicBezTo>
                    <a:pt x="1634" y="4582"/>
                    <a:pt x="1724" y="4691"/>
                    <a:pt x="1815" y="4800"/>
                  </a:cubicBezTo>
                  <a:cubicBezTo>
                    <a:pt x="1906" y="4800"/>
                    <a:pt x="1906" y="4800"/>
                    <a:pt x="1997" y="4800"/>
                  </a:cubicBezTo>
                  <a:cubicBezTo>
                    <a:pt x="2087" y="4800"/>
                    <a:pt x="1997" y="4800"/>
                    <a:pt x="2087" y="4800"/>
                  </a:cubicBezTo>
                  <a:cubicBezTo>
                    <a:pt x="2269" y="4691"/>
                    <a:pt x="2269" y="4691"/>
                    <a:pt x="2269" y="4691"/>
                  </a:cubicBezTo>
                  <a:cubicBezTo>
                    <a:pt x="2269" y="4691"/>
                    <a:pt x="2269" y="4691"/>
                    <a:pt x="2360" y="4691"/>
                  </a:cubicBezTo>
                  <a:cubicBezTo>
                    <a:pt x="2541" y="4691"/>
                    <a:pt x="2450" y="4800"/>
                    <a:pt x="2541" y="4800"/>
                  </a:cubicBezTo>
                  <a:cubicBezTo>
                    <a:pt x="2541" y="4691"/>
                    <a:pt x="2723" y="4691"/>
                    <a:pt x="2723" y="4691"/>
                  </a:cubicBezTo>
                  <a:cubicBezTo>
                    <a:pt x="2813" y="4691"/>
                    <a:pt x="2813" y="4582"/>
                    <a:pt x="2904" y="4691"/>
                  </a:cubicBezTo>
                  <a:cubicBezTo>
                    <a:pt x="2904" y="4800"/>
                    <a:pt x="2904" y="4800"/>
                    <a:pt x="2904" y="4909"/>
                  </a:cubicBezTo>
                  <a:cubicBezTo>
                    <a:pt x="2995" y="4909"/>
                    <a:pt x="3086" y="5018"/>
                    <a:pt x="3086" y="5018"/>
                  </a:cubicBezTo>
                  <a:cubicBezTo>
                    <a:pt x="3267" y="5018"/>
                    <a:pt x="3267" y="5018"/>
                    <a:pt x="3267" y="5018"/>
                  </a:cubicBezTo>
                  <a:cubicBezTo>
                    <a:pt x="3267" y="5018"/>
                    <a:pt x="3267" y="4909"/>
                    <a:pt x="3358" y="4909"/>
                  </a:cubicBezTo>
                  <a:cubicBezTo>
                    <a:pt x="3358" y="4800"/>
                    <a:pt x="3449" y="4691"/>
                    <a:pt x="3449" y="4691"/>
                  </a:cubicBezTo>
                  <a:cubicBezTo>
                    <a:pt x="3449" y="4691"/>
                    <a:pt x="3358" y="4691"/>
                    <a:pt x="3449" y="4800"/>
                  </a:cubicBezTo>
                  <a:cubicBezTo>
                    <a:pt x="3539" y="4800"/>
                    <a:pt x="3539" y="4800"/>
                    <a:pt x="3630" y="4909"/>
                  </a:cubicBezTo>
                  <a:cubicBezTo>
                    <a:pt x="3630" y="4909"/>
                    <a:pt x="3812" y="4800"/>
                    <a:pt x="3812" y="4800"/>
                  </a:cubicBezTo>
                  <a:cubicBezTo>
                    <a:pt x="3903" y="4800"/>
                    <a:pt x="3903" y="4800"/>
                    <a:pt x="3903" y="4800"/>
                  </a:cubicBezTo>
                  <a:cubicBezTo>
                    <a:pt x="3903" y="4800"/>
                    <a:pt x="3812" y="4909"/>
                    <a:pt x="3903" y="4909"/>
                  </a:cubicBezTo>
                  <a:cubicBezTo>
                    <a:pt x="3903" y="4909"/>
                    <a:pt x="3812" y="4909"/>
                    <a:pt x="3903" y="4909"/>
                  </a:cubicBezTo>
                  <a:cubicBezTo>
                    <a:pt x="3993" y="4909"/>
                    <a:pt x="4084" y="4800"/>
                    <a:pt x="4084" y="4800"/>
                  </a:cubicBezTo>
                  <a:cubicBezTo>
                    <a:pt x="4084" y="4800"/>
                    <a:pt x="3993" y="4909"/>
                    <a:pt x="3993" y="5018"/>
                  </a:cubicBezTo>
                  <a:cubicBezTo>
                    <a:pt x="3993" y="5018"/>
                    <a:pt x="3993" y="5127"/>
                    <a:pt x="3993" y="5127"/>
                  </a:cubicBezTo>
                  <a:cubicBezTo>
                    <a:pt x="3993" y="5127"/>
                    <a:pt x="3993" y="5236"/>
                    <a:pt x="4084" y="5345"/>
                  </a:cubicBezTo>
                  <a:cubicBezTo>
                    <a:pt x="4175" y="5345"/>
                    <a:pt x="4266" y="5345"/>
                    <a:pt x="4266" y="5345"/>
                  </a:cubicBezTo>
                  <a:cubicBezTo>
                    <a:pt x="4266" y="5345"/>
                    <a:pt x="4447" y="5345"/>
                    <a:pt x="4447" y="5345"/>
                  </a:cubicBezTo>
                  <a:cubicBezTo>
                    <a:pt x="4447" y="5455"/>
                    <a:pt x="4447" y="5345"/>
                    <a:pt x="4447" y="5455"/>
                  </a:cubicBezTo>
                  <a:cubicBezTo>
                    <a:pt x="4447" y="5455"/>
                    <a:pt x="4538" y="5345"/>
                    <a:pt x="4538" y="5345"/>
                  </a:cubicBezTo>
                  <a:cubicBezTo>
                    <a:pt x="4629" y="5345"/>
                    <a:pt x="4719" y="5345"/>
                    <a:pt x="4719" y="5345"/>
                  </a:cubicBezTo>
                  <a:cubicBezTo>
                    <a:pt x="4719" y="5455"/>
                    <a:pt x="4629" y="5564"/>
                    <a:pt x="4629" y="5564"/>
                  </a:cubicBezTo>
                  <a:cubicBezTo>
                    <a:pt x="4629" y="5564"/>
                    <a:pt x="4629" y="5564"/>
                    <a:pt x="4629" y="5673"/>
                  </a:cubicBezTo>
                  <a:cubicBezTo>
                    <a:pt x="4629" y="5673"/>
                    <a:pt x="4810" y="5673"/>
                    <a:pt x="4810" y="5673"/>
                  </a:cubicBezTo>
                  <a:cubicBezTo>
                    <a:pt x="4810" y="5673"/>
                    <a:pt x="4810" y="5564"/>
                    <a:pt x="4901" y="5673"/>
                  </a:cubicBezTo>
                  <a:cubicBezTo>
                    <a:pt x="4901" y="5782"/>
                    <a:pt x="4901" y="5782"/>
                    <a:pt x="4901" y="5782"/>
                  </a:cubicBezTo>
                  <a:cubicBezTo>
                    <a:pt x="4810" y="5782"/>
                    <a:pt x="4810" y="5673"/>
                    <a:pt x="4810" y="5891"/>
                  </a:cubicBezTo>
                  <a:cubicBezTo>
                    <a:pt x="4719" y="6000"/>
                    <a:pt x="4810" y="6109"/>
                    <a:pt x="4810" y="6109"/>
                  </a:cubicBezTo>
                  <a:cubicBezTo>
                    <a:pt x="4901" y="6327"/>
                    <a:pt x="4901" y="6327"/>
                    <a:pt x="4901" y="6327"/>
                  </a:cubicBezTo>
                  <a:cubicBezTo>
                    <a:pt x="4901" y="6327"/>
                    <a:pt x="4992" y="6327"/>
                    <a:pt x="5082" y="6327"/>
                  </a:cubicBezTo>
                  <a:cubicBezTo>
                    <a:pt x="5082" y="6327"/>
                    <a:pt x="5082" y="6327"/>
                    <a:pt x="5082" y="6327"/>
                  </a:cubicBezTo>
                  <a:cubicBezTo>
                    <a:pt x="5173" y="6218"/>
                    <a:pt x="5173" y="6218"/>
                    <a:pt x="5264" y="6218"/>
                  </a:cubicBezTo>
                  <a:cubicBezTo>
                    <a:pt x="5264" y="6218"/>
                    <a:pt x="5355" y="6327"/>
                    <a:pt x="5355" y="6327"/>
                  </a:cubicBezTo>
                  <a:cubicBezTo>
                    <a:pt x="5355" y="6436"/>
                    <a:pt x="5355" y="6436"/>
                    <a:pt x="5355" y="6436"/>
                  </a:cubicBezTo>
                  <a:cubicBezTo>
                    <a:pt x="5355" y="6436"/>
                    <a:pt x="5355" y="6545"/>
                    <a:pt x="5355" y="6545"/>
                  </a:cubicBezTo>
                  <a:cubicBezTo>
                    <a:pt x="5445" y="6655"/>
                    <a:pt x="5536" y="6655"/>
                    <a:pt x="5536" y="6655"/>
                  </a:cubicBezTo>
                  <a:cubicBezTo>
                    <a:pt x="5536" y="6655"/>
                    <a:pt x="5536" y="6655"/>
                    <a:pt x="5536" y="6764"/>
                  </a:cubicBezTo>
                  <a:cubicBezTo>
                    <a:pt x="5627" y="6873"/>
                    <a:pt x="5808" y="6982"/>
                    <a:pt x="5808" y="6982"/>
                  </a:cubicBezTo>
                  <a:cubicBezTo>
                    <a:pt x="5808" y="6982"/>
                    <a:pt x="5536" y="6873"/>
                    <a:pt x="5536" y="6873"/>
                  </a:cubicBezTo>
                  <a:cubicBezTo>
                    <a:pt x="5445" y="6873"/>
                    <a:pt x="5264" y="6873"/>
                    <a:pt x="5264" y="6873"/>
                  </a:cubicBezTo>
                  <a:cubicBezTo>
                    <a:pt x="5173" y="6873"/>
                    <a:pt x="4992" y="6873"/>
                    <a:pt x="4992" y="6873"/>
                  </a:cubicBezTo>
                  <a:cubicBezTo>
                    <a:pt x="4719" y="6982"/>
                    <a:pt x="4719" y="6982"/>
                    <a:pt x="4719" y="6982"/>
                  </a:cubicBezTo>
                  <a:cubicBezTo>
                    <a:pt x="4719" y="6982"/>
                    <a:pt x="4538" y="7091"/>
                    <a:pt x="4447" y="7091"/>
                  </a:cubicBezTo>
                  <a:cubicBezTo>
                    <a:pt x="4447" y="7091"/>
                    <a:pt x="4356" y="7091"/>
                    <a:pt x="4266" y="7091"/>
                  </a:cubicBezTo>
                  <a:cubicBezTo>
                    <a:pt x="4266" y="7200"/>
                    <a:pt x="4175" y="7200"/>
                    <a:pt x="4084" y="7200"/>
                  </a:cubicBezTo>
                  <a:cubicBezTo>
                    <a:pt x="4084" y="7200"/>
                    <a:pt x="3903" y="7200"/>
                    <a:pt x="3812" y="7200"/>
                  </a:cubicBezTo>
                  <a:cubicBezTo>
                    <a:pt x="3812" y="7200"/>
                    <a:pt x="3721" y="7200"/>
                    <a:pt x="3721" y="7200"/>
                  </a:cubicBezTo>
                  <a:cubicBezTo>
                    <a:pt x="3449" y="7309"/>
                    <a:pt x="3449" y="7309"/>
                    <a:pt x="3449" y="7309"/>
                  </a:cubicBezTo>
                  <a:cubicBezTo>
                    <a:pt x="3539" y="7418"/>
                    <a:pt x="3539" y="7418"/>
                    <a:pt x="3539" y="7418"/>
                  </a:cubicBezTo>
                  <a:cubicBezTo>
                    <a:pt x="3721" y="7527"/>
                    <a:pt x="3721" y="7527"/>
                    <a:pt x="3721" y="7527"/>
                  </a:cubicBezTo>
                  <a:cubicBezTo>
                    <a:pt x="3721" y="7527"/>
                    <a:pt x="3721" y="7527"/>
                    <a:pt x="3721" y="7527"/>
                  </a:cubicBezTo>
                  <a:cubicBezTo>
                    <a:pt x="3812" y="7527"/>
                    <a:pt x="3903" y="7636"/>
                    <a:pt x="3903" y="7636"/>
                  </a:cubicBezTo>
                  <a:cubicBezTo>
                    <a:pt x="3903" y="7636"/>
                    <a:pt x="3993" y="7745"/>
                    <a:pt x="4084" y="7855"/>
                  </a:cubicBezTo>
                  <a:cubicBezTo>
                    <a:pt x="4084" y="7855"/>
                    <a:pt x="4175" y="7964"/>
                    <a:pt x="4175" y="7964"/>
                  </a:cubicBezTo>
                  <a:lnTo>
                    <a:pt x="4356" y="8073"/>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0" name="Shape 2253">
              <a:extLst>
                <a:ext uri="{FF2B5EF4-FFF2-40B4-BE49-F238E27FC236}">
                  <a16:creationId xmlns:a16="http://schemas.microsoft.com/office/drawing/2014/main" id="{D5F87E9E-365F-F763-00BD-255D78DE150C}"/>
                </a:ext>
              </a:extLst>
            </p:cNvPr>
            <p:cNvSpPr/>
            <p:nvPr/>
          </p:nvSpPr>
          <p:spPr>
            <a:xfrm>
              <a:off x="4237240" y="4137397"/>
              <a:ext cx="1446688" cy="1178290"/>
            </a:xfrm>
            <a:custGeom>
              <a:avLst/>
              <a:gdLst/>
              <a:ahLst/>
              <a:cxnLst>
                <a:cxn ang="0">
                  <a:pos x="wd2" y="hd2"/>
                </a:cxn>
                <a:cxn ang="5400000">
                  <a:pos x="wd2" y="hd2"/>
                </a:cxn>
                <a:cxn ang="10800000">
                  <a:pos x="wd2" y="hd2"/>
                </a:cxn>
                <a:cxn ang="16200000">
                  <a:pos x="wd2" y="hd2"/>
                </a:cxn>
              </a:cxnLst>
              <a:rect l="0" t="0" r="r" b="b"/>
              <a:pathLst>
                <a:path w="21528" h="21542" extrusionOk="0">
                  <a:moveTo>
                    <a:pt x="9511" y="1626"/>
                  </a:moveTo>
                  <a:cubicBezTo>
                    <a:pt x="9634" y="1626"/>
                    <a:pt x="10186" y="1114"/>
                    <a:pt x="10186" y="1114"/>
                  </a:cubicBezTo>
                  <a:cubicBezTo>
                    <a:pt x="10186" y="1114"/>
                    <a:pt x="10493" y="1260"/>
                    <a:pt x="10677" y="1187"/>
                  </a:cubicBezTo>
                  <a:cubicBezTo>
                    <a:pt x="10861" y="1187"/>
                    <a:pt x="11475" y="1114"/>
                    <a:pt x="11475" y="1114"/>
                  </a:cubicBezTo>
                  <a:cubicBezTo>
                    <a:pt x="11475" y="1114"/>
                    <a:pt x="11782" y="1114"/>
                    <a:pt x="11905" y="1114"/>
                  </a:cubicBezTo>
                  <a:cubicBezTo>
                    <a:pt x="12027" y="1114"/>
                    <a:pt x="12580" y="1040"/>
                    <a:pt x="12702" y="1040"/>
                  </a:cubicBezTo>
                  <a:cubicBezTo>
                    <a:pt x="12825" y="1040"/>
                    <a:pt x="13193" y="967"/>
                    <a:pt x="13255" y="894"/>
                  </a:cubicBezTo>
                  <a:cubicBezTo>
                    <a:pt x="13377" y="894"/>
                    <a:pt x="14114" y="821"/>
                    <a:pt x="14175" y="821"/>
                  </a:cubicBezTo>
                  <a:cubicBezTo>
                    <a:pt x="14298" y="821"/>
                    <a:pt x="15464" y="674"/>
                    <a:pt x="15464" y="674"/>
                  </a:cubicBezTo>
                  <a:cubicBezTo>
                    <a:pt x="15955" y="308"/>
                    <a:pt x="15955" y="308"/>
                    <a:pt x="15955" y="308"/>
                  </a:cubicBezTo>
                  <a:cubicBezTo>
                    <a:pt x="16507" y="162"/>
                    <a:pt x="16507" y="162"/>
                    <a:pt x="16507" y="162"/>
                  </a:cubicBezTo>
                  <a:cubicBezTo>
                    <a:pt x="16507" y="162"/>
                    <a:pt x="16691" y="-58"/>
                    <a:pt x="16691" y="15"/>
                  </a:cubicBezTo>
                  <a:cubicBezTo>
                    <a:pt x="16752" y="162"/>
                    <a:pt x="16875" y="381"/>
                    <a:pt x="16875" y="381"/>
                  </a:cubicBezTo>
                  <a:cubicBezTo>
                    <a:pt x="16875" y="381"/>
                    <a:pt x="17550" y="381"/>
                    <a:pt x="17550" y="381"/>
                  </a:cubicBezTo>
                  <a:cubicBezTo>
                    <a:pt x="17550" y="455"/>
                    <a:pt x="17734" y="894"/>
                    <a:pt x="17734" y="894"/>
                  </a:cubicBezTo>
                  <a:cubicBezTo>
                    <a:pt x="17918" y="1114"/>
                    <a:pt x="17918" y="1114"/>
                    <a:pt x="17918" y="1114"/>
                  </a:cubicBezTo>
                  <a:cubicBezTo>
                    <a:pt x="17918" y="1114"/>
                    <a:pt x="17980" y="1480"/>
                    <a:pt x="17980" y="1699"/>
                  </a:cubicBezTo>
                  <a:cubicBezTo>
                    <a:pt x="18041" y="1846"/>
                    <a:pt x="18470" y="2724"/>
                    <a:pt x="18470" y="2724"/>
                  </a:cubicBezTo>
                  <a:cubicBezTo>
                    <a:pt x="18777" y="3530"/>
                    <a:pt x="18777" y="3530"/>
                    <a:pt x="18777" y="3530"/>
                  </a:cubicBezTo>
                  <a:cubicBezTo>
                    <a:pt x="19268" y="4335"/>
                    <a:pt x="19268" y="4335"/>
                    <a:pt x="19268" y="4335"/>
                  </a:cubicBezTo>
                  <a:cubicBezTo>
                    <a:pt x="19330" y="4921"/>
                    <a:pt x="19330" y="4921"/>
                    <a:pt x="19330" y="4921"/>
                  </a:cubicBezTo>
                  <a:cubicBezTo>
                    <a:pt x="19330" y="4921"/>
                    <a:pt x="19514" y="5141"/>
                    <a:pt x="19514" y="5287"/>
                  </a:cubicBezTo>
                  <a:cubicBezTo>
                    <a:pt x="19514" y="5360"/>
                    <a:pt x="19514" y="5580"/>
                    <a:pt x="19514" y="5653"/>
                  </a:cubicBezTo>
                  <a:cubicBezTo>
                    <a:pt x="19575" y="5653"/>
                    <a:pt x="19636" y="6019"/>
                    <a:pt x="19575" y="6019"/>
                  </a:cubicBezTo>
                  <a:cubicBezTo>
                    <a:pt x="19514" y="6093"/>
                    <a:pt x="19268" y="6532"/>
                    <a:pt x="19268" y="6532"/>
                  </a:cubicBezTo>
                  <a:cubicBezTo>
                    <a:pt x="19023" y="6678"/>
                    <a:pt x="19023" y="6678"/>
                    <a:pt x="19023" y="6678"/>
                  </a:cubicBezTo>
                  <a:cubicBezTo>
                    <a:pt x="18716" y="7191"/>
                    <a:pt x="18716" y="7191"/>
                    <a:pt x="18716" y="7191"/>
                  </a:cubicBezTo>
                  <a:cubicBezTo>
                    <a:pt x="18532" y="7850"/>
                    <a:pt x="18532" y="7850"/>
                    <a:pt x="18532" y="7850"/>
                  </a:cubicBezTo>
                  <a:cubicBezTo>
                    <a:pt x="18470" y="8069"/>
                    <a:pt x="18470" y="8069"/>
                    <a:pt x="18470" y="8069"/>
                  </a:cubicBezTo>
                  <a:cubicBezTo>
                    <a:pt x="18470" y="8069"/>
                    <a:pt x="18532" y="8289"/>
                    <a:pt x="18593" y="8289"/>
                  </a:cubicBezTo>
                  <a:cubicBezTo>
                    <a:pt x="18716" y="8289"/>
                    <a:pt x="19145" y="8362"/>
                    <a:pt x="19145" y="8362"/>
                  </a:cubicBezTo>
                  <a:cubicBezTo>
                    <a:pt x="19514" y="8655"/>
                    <a:pt x="19514" y="8655"/>
                    <a:pt x="19514" y="8655"/>
                  </a:cubicBezTo>
                  <a:cubicBezTo>
                    <a:pt x="19514" y="8948"/>
                    <a:pt x="19514" y="8948"/>
                    <a:pt x="19514" y="8948"/>
                  </a:cubicBezTo>
                  <a:cubicBezTo>
                    <a:pt x="19514" y="8948"/>
                    <a:pt x="19575" y="9534"/>
                    <a:pt x="19575" y="9607"/>
                  </a:cubicBezTo>
                  <a:cubicBezTo>
                    <a:pt x="19575" y="9607"/>
                    <a:pt x="19514" y="10120"/>
                    <a:pt x="19514" y="10120"/>
                  </a:cubicBezTo>
                  <a:cubicBezTo>
                    <a:pt x="19514" y="10120"/>
                    <a:pt x="19636" y="10413"/>
                    <a:pt x="19636" y="10486"/>
                  </a:cubicBezTo>
                  <a:cubicBezTo>
                    <a:pt x="19698" y="10559"/>
                    <a:pt x="19820" y="10705"/>
                    <a:pt x="19820" y="10779"/>
                  </a:cubicBezTo>
                  <a:cubicBezTo>
                    <a:pt x="19882" y="10779"/>
                    <a:pt x="19882" y="10852"/>
                    <a:pt x="19882" y="10852"/>
                  </a:cubicBezTo>
                  <a:cubicBezTo>
                    <a:pt x="20005" y="11218"/>
                    <a:pt x="20005" y="11218"/>
                    <a:pt x="20005" y="11218"/>
                  </a:cubicBezTo>
                  <a:cubicBezTo>
                    <a:pt x="20005" y="11511"/>
                    <a:pt x="20005" y="11511"/>
                    <a:pt x="20005" y="11511"/>
                  </a:cubicBezTo>
                  <a:cubicBezTo>
                    <a:pt x="20005" y="11511"/>
                    <a:pt x="20005" y="11730"/>
                    <a:pt x="20127" y="11730"/>
                  </a:cubicBezTo>
                  <a:cubicBezTo>
                    <a:pt x="20250" y="11730"/>
                    <a:pt x="20311" y="11804"/>
                    <a:pt x="20311" y="11950"/>
                  </a:cubicBezTo>
                  <a:cubicBezTo>
                    <a:pt x="20311" y="12097"/>
                    <a:pt x="20618" y="12243"/>
                    <a:pt x="20618" y="12243"/>
                  </a:cubicBezTo>
                  <a:cubicBezTo>
                    <a:pt x="20618" y="12243"/>
                    <a:pt x="20618" y="12536"/>
                    <a:pt x="20680" y="12609"/>
                  </a:cubicBezTo>
                  <a:cubicBezTo>
                    <a:pt x="20802" y="12682"/>
                    <a:pt x="20925" y="12756"/>
                    <a:pt x="21109" y="12756"/>
                  </a:cubicBezTo>
                  <a:cubicBezTo>
                    <a:pt x="21293" y="12829"/>
                    <a:pt x="21232" y="13122"/>
                    <a:pt x="21355" y="13195"/>
                  </a:cubicBezTo>
                  <a:cubicBezTo>
                    <a:pt x="21477" y="13268"/>
                    <a:pt x="21600" y="13415"/>
                    <a:pt x="21477" y="13415"/>
                  </a:cubicBezTo>
                  <a:cubicBezTo>
                    <a:pt x="21416" y="13488"/>
                    <a:pt x="21232" y="13488"/>
                    <a:pt x="21232" y="13488"/>
                  </a:cubicBezTo>
                  <a:cubicBezTo>
                    <a:pt x="21232" y="13488"/>
                    <a:pt x="21170" y="13561"/>
                    <a:pt x="21170" y="13707"/>
                  </a:cubicBezTo>
                  <a:cubicBezTo>
                    <a:pt x="21232" y="13781"/>
                    <a:pt x="21232" y="13781"/>
                    <a:pt x="21232" y="13781"/>
                  </a:cubicBezTo>
                  <a:cubicBezTo>
                    <a:pt x="21477" y="14147"/>
                    <a:pt x="21477" y="14147"/>
                    <a:pt x="21477" y="14147"/>
                  </a:cubicBezTo>
                  <a:cubicBezTo>
                    <a:pt x="21477" y="14586"/>
                    <a:pt x="21477" y="14586"/>
                    <a:pt x="21477" y="14586"/>
                  </a:cubicBezTo>
                  <a:cubicBezTo>
                    <a:pt x="21477" y="14586"/>
                    <a:pt x="21477" y="14733"/>
                    <a:pt x="21477" y="14879"/>
                  </a:cubicBezTo>
                  <a:cubicBezTo>
                    <a:pt x="21477" y="14952"/>
                    <a:pt x="21416" y="15099"/>
                    <a:pt x="21293" y="15099"/>
                  </a:cubicBezTo>
                  <a:cubicBezTo>
                    <a:pt x="21170" y="15099"/>
                    <a:pt x="21170" y="15318"/>
                    <a:pt x="21109" y="15318"/>
                  </a:cubicBezTo>
                  <a:cubicBezTo>
                    <a:pt x="21048" y="15391"/>
                    <a:pt x="20925" y="15172"/>
                    <a:pt x="20864" y="15391"/>
                  </a:cubicBezTo>
                  <a:cubicBezTo>
                    <a:pt x="20802" y="15684"/>
                    <a:pt x="20680" y="15904"/>
                    <a:pt x="20680" y="15977"/>
                  </a:cubicBezTo>
                  <a:cubicBezTo>
                    <a:pt x="20618" y="16050"/>
                    <a:pt x="20434" y="16124"/>
                    <a:pt x="20434" y="16270"/>
                  </a:cubicBezTo>
                  <a:cubicBezTo>
                    <a:pt x="20373" y="16417"/>
                    <a:pt x="20373" y="16270"/>
                    <a:pt x="20250" y="16636"/>
                  </a:cubicBezTo>
                  <a:cubicBezTo>
                    <a:pt x="20127" y="17002"/>
                    <a:pt x="20066" y="17149"/>
                    <a:pt x="20066" y="17149"/>
                  </a:cubicBezTo>
                  <a:cubicBezTo>
                    <a:pt x="19514" y="18027"/>
                    <a:pt x="19514" y="18027"/>
                    <a:pt x="19514" y="18027"/>
                  </a:cubicBezTo>
                  <a:cubicBezTo>
                    <a:pt x="19514" y="18027"/>
                    <a:pt x="19207" y="18613"/>
                    <a:pt x="19207" y="18686"/>
                  </a:cubicBezTo>
                  <a:cubicBezTo>
                    <a:pt x="19207" y="18760"/>
                    <a:pt x="19207" y="19053"/>
                    <a:pt x="19207" y="19053"/>
                  </a:cubicBezTo>
                  <a:cubicBezTo>
                    <a:pt x="19452" y="19345"/>
                    <a:pt x="19452" y="19345"/>
                    <a:pt x="19452" y="19345"/>
                  </a:cubicBezTo>
                  <a:cubicBezTo>
                    <a:pt x="19452" y="19638"/>
                    <a:pt x="19452" y="19638"/>
                    <a:pt x="19452" y="19638"/>
                  </a:cubicBezTo>
                  <a:cubicBezTo>
                    <a:pt x="19452" y="19638"/>
                    <a:pt x="19452" y="19858"/>
                    <a:pt x="19514" y="19931"/>
                  </a:cubicBezTo>
                  <a:cubicBezTo>
                    <a:pt x="19575" y="19931"/>
                    <a:pt x="19575" y="19931"/>
                    <a:pt x="19575" y="19931"/>
                  </a:cubicBezTo>
                  <a:cubicBezTo>
                    <a:pt x="19514" y="20151"/>
                    <a:pt x="19514" y="20151"/>
                    <a:pt x="19514" y="20151"/>
                  </a:cubicBezTo>
                  <a:cubicBezTo>
                    <a:pt x="19514" y="20151"/>
                    <a:pt x="19575" y="20370"/>
                    <a:pt x="19636" y="20370"/>
                  </a:cubicBezTo>
                  <a:cubicBezTo>
                    <a:pt x="19636" y="20370"/>
                    <a:pt x="19759" y="20444"/>
                    <a:pt x="19759" y="20444"/>
                  </a:cubicBezTo>
                  <a:cubicBezTo>
                    <a:pt x="19759" y="20444"/>
                    <a:pt x="19882" y="20590"/>
                    <a:pt x="19882" y="20590"/>
                  </a:cubicBezTo>
                  <a:cubicBezTo>
                    <a:pt x="19943" y="20663"/>
                    <a:pt x="19882" y="20810"/>
                    <a:pt x="19882" y="20810"/>
                  </a:cubicBezTo>
                  <a:cubicBezTo>
                    <a:pt x="19882" y="20810"/>
                    <a:pt x="19882" y="20883"/>
                    <a:pt x="19820" y="20883"/>
                  </a:cubicBezTo>
                  <a:cubicBezTo>
                    <a:pt x="19759" y="20883"/>
                    <a:pt x="19759" y="20883"/>
                    <a:pt x="19636" y="20883"/>
                  </a:cubicBezTo>
                  <a:cubicBezTo>
                    <a:pt x="19575" y="20810"/>
                    <a:pt x="19391" y="20810"/>
                    <a:pt x="19330" y="20810"/>
                  </a:cubicBezTo>
                  <a:cubicBezTo>
                    <a:pt x="19268" y="20810"/>
                    <a:pt x="19268" y="20810"/>
                    <a:pt x="19268" y="20810"/>
                  </a:cubicBezTo>
                  <a:cubicBezTo>
                    <a:pt x="19207" y="20810"/>
                    <a:pt x="19207" y="20810"/>
                    <a:pt x="19145" y="20883"/>
                  </a:cubicBezTo>
                  <a:cubicBezTo>
                    <a:pt x="19145" y="20810"/>
                    <a:pt x="19145" y="20810"/>
                    <a:pt x="19145" y="20810"/>
                  </a:cubicBezTo>
                  <a:cubicBezTo>
                    <a:pt x="19145" y="20737"/>
                    <a:pt x="19145" y="20663"/>
                    <a:pt x="19145" y="20663"/>
                  </a:cubicBezTo>
                  <a:cubicBezTo>
                    <a:pt x="19145" y="20663"/>
                    <a:pt x="18961" y="20663"/>
                    <a:pt x="18961" y="20663"/>
                  </a:cubicBezTo>
                  <a:cubicBezTo>
                    <a:pt x="18900" y="20663"/>
                    <a:pt x="18839" y="20663"/>
                    <a:pt x="18839" y="20663"/>
                  </a:cubicBezTo>
                  <a:cubicBezTo>
                    <a:pt x="18839" y="20663"/>
                    <a:pt x="18716" y="20590"/>
                    <a:pt x="18716" y="20590"/>
                  </a:cubicBezTo>
                  <a:cubicBezTo>
                    <a:pt x="18716" y="20590"/>
                    <a:pt x="18655" y="20590"/>
                    <a:pt x="18655" y="20590"/>
                  </a:cubicBezTo>
                  <a:cubicBezTo>
                    <a:pt x="18655" y="20517"/>
                    <a:pt x="18593" y="20590"/>
                    <a:pt x="18593" y="20590"/>
                  </a:cubicBezTo>
                  <a:cubicBezTo>
                    <a:pt x="18532" y="20590"/>
                    <a:pt x="18532" y="20590"/>
                    <a:pt x="18532" y="20590"/>
                  </a:cubicBezTo>
                  <a:cubicBezTo>
                    <a:pt x="18409" y="20590"/>
                    <a:pt x="18409" y="20590"/>
                    <a:pt x="18409" y="20590"/>
                  </a:cubicBezTo>
                  <a:cubicBezTo>
                    <a:pt x="18409" y="20590"/>
                    <a:pt x="18409" y="20517"/>
                    <a:pt x="18409" y="20517"/>
                  </a:cubicBezTo>
                  <a:cubicBezTo>
                    <a:pt x="18409" y="20444"/>
                    <a:pt x="18348" y="20517"/>
                    <a:pt x="18348" y="20517"/>
                  </a:cubicBezTo>
                  <a:cubicBezTo>
                    <a:pt x="18348" y="20517"/>
                    <a:pt x="18225" y="20517"/>
                    <a:pt x="18225" y="20517"/>
                  </a:cubicBezTo>
                  <a:cubicBezTo>
                    <a:pt x="18225" y="20444"/>
                    <a:pt x="18164" y="20444"/>
                    <a:pt x="18164" y="20444"/>
                  </a:cubicBezTo>
                  <a:cubicBezTo>
                    <a:pt x="18164" y="20444"/>
                    <a:pt x="17980" y="20444"/>
                    <a:pt x="17918" y="20444"/>
                  </a:cubicBezTo>
                  <a:cubicBezTo>
                    <a:pt x="17918" y="20370"/>
                    <a:pt x="17918" y="20370"/>
                    <a:pt x="17918" y="20370"/>
                  </a:cubicBezTo>
                  <a:cubicBezTo>
                    <a:pt x="17918" y="20370"/>
                    <a:pt x="17918" y="20297"/>
                    <a:pt x="17918" y="20224"/>
                  </a:cubicBezTo>
                  <a:cubicBezTo>
                    <a:pt x="17918" y="20224"/>
                    <a:pt x="17857" y="20224"/>
                    <a:pt x="17857" y="20151"/>
                  </a:cubicBezTo>
                  <a:cubicBezTo>
                    <a:pt x="17857" y="20151"/>
                    <a:pt x="17795" y="20078"/>
                    <a:pt x="17795" y="20078"/>
                  </a:cubicBezTo>
                  <a:cubicBezTo>
                    <a:pt x="17795" y="20004"/>
                    <a:pt x="17734" y="20004"/>
                    <a:pt x="17734" y="19931"/>
                  </a:cubicBezTo>
                  <a:cubicBezTo>
                    <a:pt x="17734" y="19931"/>
                    <a:pt x="17673" y="20004"/>
                    <a:pt x="17673" y="20004"/>
                  </a:cubicBezTo>
                  <a:cubicBezTo>
                    <a:pt x="17611" y="20004"/>
                    <a:pt x="17550" y="19931"/>
                    <a:pt x="17550" y="19931"/>
                  </a:cubicBezTo>
                  <a:cubicBezTo>
                    <a:pt x="17489" y="19858"/>
                    <a:pt x="17489" y="19858"/>
                    <a:pt x="17489" y="19858"/>
                  </a:cubicBezTo>
                  <a:cubicBezTo>
                    <a:pt x="17489" y="19858"/>
                    <a:pt x="17427" y="19858"/>
                    <a:pt x="17366" y="19858"/>
                  </a:cubicBezTo>
                  <a:cubicBezTo>
                    <a:pt x="17366" y="19858"/>
                    <a:pt x="17366" y="20004"/>
                    <a:pt x="17366" y="20004"/>
                  </a:cubicBezTo>
                  <a:cubicBezTo>
                    <a:pt x="17366" y="20004"/>
                    <a:pt x="17305" y="20004"/>
                    <a:pt x="17243" y="19931"/>
                  </a:cubicBezTo>
                  <a:cubicBezTo>
                    <a:pt x="17243" y="19931"/>
                    <a:pt x="17182" y="19858"/>
                    <a:pt x="17120" y="19858"/>
                  </a:cubicBezTo>
                  <a:cubicBezTo>
                    <a:pt x="17120" y="19858"/>
                    <a:pt x="17059" y="19858"/>
                    <a:pt x="16998" y="19785"/>
                  </a:cubicBezTo>
                  <a:cubicBezTo>
                    <a:pt x="16998" y="19785"/>
                    <a:pt x="16936" y="19785"/>
                    <a:pt x="16936" y="19785"/>
                  </a:cubicBezTo>
                  <a:cubicBezTo>
                    <a:pt x="16936" y="19785"/>
                    <a:pt x="16691" y="19858"/>
                    <a:pt x="16691" y="19858"/>
                  </a:cubicBezTo>
                  <a:cubicBezTo>
                    <a:pt x="16691" y="19858"/>
                    <a:pt x="16691" y="19931"/>
                    <a:pt x="16630" y="19931"/>
                  </a:cubicBezTo>
                  <a:cubicBezTo>
                    <a:pt x="16630" y="20004"/>
                    <a:pt x="16568" y="19931"/>
                    <a:pt x="16568" y="19931"/>
                  </a:cubicBezTo>
                  <a:cubicBezTo>
                    <a:pt x="16568" y="19931"/>
                    <a:pt x="16507" y="19931"/>
                    <a:pt x="16445" y="19931"/>
                  </a:cubicBezTo>
                  <a:cubicBezTo>
                    <a:pt x="16445" y="19931"/>
                    <a:pt x="16384" y="19931"/>
                    <a:pt x="16384" y="19931"/>
                  </a:cubicBezTo>
                  <a:cubicBezTo>
                    <a:pt x="16384" y="19931"/>
                    <a:pt x="16323" y="19858"/>
                    <a:pt x="16261" y="19858"/>
                  </a:cubicBezTo>
                  <a:cubicBezTo>
                    <a:pt x="16261" y="19858"/>
                    <a:pt x="16200" y="19858"/>
                    <a:pt x="16200" y="19858"/>
                  </a:cubicBezTo>
                  <a:cubicBezTo>
                    <a:pt x="16200" y="19858"/>
                    <a:pt x="16139" y="19931"/>
                    <a:pt x="16139" y="19931"/>
                  </a:cubicBezTo>
                  <a:cubicBezTo>
                    <a:pt x="16077" y="20004"/>
                    <a:pt x="16077" y="20004"/>
                    <a:pt x="16077" y="20004"/>
                  </a:cubicBezTo>
                  <a:cubicBezTo>
                    <a:pt x="16077" y="20078"/>
                    <a:pt x="16077" y="20078"/>
                    <a:pt x="16077" y="20078"/>
                  </a:cubicBezTo>
                  <a:cubicBezTo>
                    <a:pt x="15955" y="20004"/>
                    <a:pt x="15955" y="20004"/>
                    <a:pt x="15955" y="20004"/>
                  </a:cubicBezTo>
                  <a:cubicBezTo>
                    <a:pt x="15955" y="20004"/>
                    <a:pt x="15893" y="20004"/>
                    <a:pt x="15832" y="20004"/>
                  </a:cubicBezTo>
                  <a:cubicBezTo>
                    <a:pt x="15709" y="20078"/>
                    <a:pt x="15770" y="20151"/>
                    <a:pt x="15770" y="20151"/>
                  </a:cubicBezTo>
                  <a:cubicBezTo>
                    <a:pt x="15832" y="20151"/>
                    <a:pt x="15893" y="20297"/>
                    <a:pt x="15893" y="20297"/>
                  </a:cubicBezTo>
                  <a:cubicBezTo>
                    <a:pt x="15893" y="20297"/>
                    <a:pt x="15709" y="20370"/>
                    <a:pt x="15709" y="20370"/>
                  </a:cubicBezTo>
                  <a:cubicBezTo>
                    <a:pt x="15648" y="20444"/>
                    <a:pt x="15648" y="20444"/>
                    <a:pt x="15648" y="20517"/>
                  </a:cubicBezTo>
                  <a:cubicBezTo>
                    <a:pt x="15648" y="20517"/>
                    <a:pt x="15586" y="20590"/>
                    <a:pt x="15586" y="20663"/>
                  </a:cubicBezTo>
                  <a:cubicBezTo>
                    <a:pt x="15586" y="20663"/>
                    <a:pt x="15525" y="20590"/>
                    <a:pt x="15464" y="20590"/>
                  </a:cubicBezTo>
                  <a:cubicBezTo>
                    <a:pt x="15402" y="20590"/>
                    <a:pt x="15402" y="20517"/>
                    <a:pt x="15402" y="20517"/>
                  </a:cubicBezTo>
                  <a:cubicBezTo>
                    <a:pt x="15341" y="20590"/>
                    <a:pt x="15341" y="20590"/>
                    <a:pt x="15341" y="20590"/>
                  </a:cubicBezTo>
                  <a:cubicBezTo>
                    <a:pt x="15280" y="20590"/>
                    <a:pt x="15280" y="20590"/>
                    <a:pt x="15280" y="20590"/>
                  </a:cubicBezTo>
                  <a:cubicBezTo>
                    <a:pt x="15280" y="20590"/>
                    <a:pt x="15218" y="20517"/>
                    <a:pt x="15218" y="20444"/>
                  </a:cubicBezTo>
                  <a:cubicBezTo>
                    <a:pt x="15218" y="20444"/>
                    <a:pt x="15218" y="20444"/>
                    <a:pt x="15218" y="20444"/>
                  </a:cubicBezTo>
                  <a:cubicBezTo>
                    <a:pt x="15157" y="20444"/>
                    <a:pt x="15095" y="20444"/>
                    <a:pt x="15095" y="20370"/>
                  </a:cubicBezTo>
                  <a:cubicBezTo>
                    <a:pt x="15034" y="20224"/>
                    <a:pt x="15034" y="20224"/>
                    <a:pt x="15034" y="20224"/>
                  </a:cubicBezTo>
                  <a:cubicBezTo>
                    <a:pt x="15034" y="20224"/>
                    <a:pt x="14911" y="20297"/>
                    <a:pt x="14911" y="20370"/>
                  </a:cubicBezTo>
                  <a:cubicBezTo>
                    <a:pt x="14850" y="20370"/>
                    <a:pt x="14911" y="20370"/>
                    <a:pt x="14850" y="20297"/>
                  </a:cubicBezTo>
                  <a:cubicBezTo>
                    <a:pt x="14789" y="20297"/>
                    <a:pt x="14789" y="20370"/>
                    <a:pt x="14789" y="20370"/>
                  </a:cubicBezTo>
                  <a:cubicBezTo>
                    <a:pt x="14789" y="20370"/>
                    <a:pt x="14789" y="20370"/>
                    <a:pt x="14789" y="20370"/>
                  </a:cubicBezTo>
                  <a:cubicBezTo>
                    <a:pt x="14789" y="20444"/>
                    <a:pt x="14727" y="20444"/>
                    <a:pt x="14727" y="20444"/>
                  </a:cubicBezTo>
                  <a:cubicBezTo>
                    <a:pt x="14727" y="20517"/>
                    <a:pt x="14666" y="20444"/>
                    <a:pt x="14666" y="20444"/>
                  </a:cubicBezTo>
                  <a:cubicBezTo>
                    <a:pt x="14605" y="20444"/>
                    <a:pt x="14543" y="20444"/>
                    <a:pt x="14543" y="20444"/>
                  </a:cubicBezTo>
                  <a:cubicBezTo>
                    <a:pt x="14543" y="20444"/>
                    <a:pt x="14543" y="20370"/>
                    <a:pt x="14543" y="20370"/>
                  </a:cubicBezTo>
                  <a:cubicBezTo>
                    <a:pt x="14420" y="20444"/>
                    <a:pt x="14420" y="20444"/>
                    <a:pt x="14420" y="20444"/>
                  </a:cubicBezTo>
                  <a:cubicBezTo>
                    <a:pt x="14420" y="20444"/>
                    <a:pt x="14420" y="20517"/>
                    <a:pt x="14420" y="20517"/>
                  </a:cubicBezTo>
                  <a:cubicBezTo>
                    <a:pt x="14420" y="20517"/>
                    <a:pt x="14359" y="20517"/>
                    <a:pt x="14298" y="20590"/>
                  </a:cubicBezTo>
                  <a:cubicBezTo>
                    <a:pt x="14175" y="20590"/>
                    <a:pt x="14236" y="20517"/>
                    <a:pt x="14175" y="20590"/>
                  </a:cubicBezTo>
                  <a:cubicBezTo>
                    <a:pt x="14175" y="20590"/>
                    <a:pt x="14175" y="20590"/>
                    <a:pt x="14175" y="20663"/>
                  </a:cubicBezTo>
                  <a:cubicBezTo>
                    <a:pt x="14175" y="20663"/>
                    <a:pt x="14236" y="20663"/>
                    <a:pt x="14175" y="20737"/>
                  </a:cubicBezTo>
                  <a:cubicBezTo>
                    <a:pt x="14114" y="20810"/>
                    <a:pt x="14114" y="20737"/>
                    <a:pt x="14114" y="20737"/>
                  </a:cubicBezTo>
                  <a:cubicBezTo>
                    <a:pt x="14052" y="20737"/>
                    <a:pt x="13991" y="20810"/>
                    <a:pt x="13991" y="20810"/>
                  </a:cubicBezTo>
                  <a:cubicBezTo>
                    <a:pt x="13991" y="20810"/>
                    <a:pt x="13991" y="20883"/>
                    <a:pt x="13991" y="20883"/>
                  </a:cubicBezTo>
                  <a:cubicBezTo>
                    <a:pt x="13991" y="20883"/>
                    <a:pt x="13930" y="20883"/>
                    <a:pt x="13868" y="20883"/>
                  </a:cubicBezTo>
                  <a:cubicBezTo>
                    <a:pt x="13807" y="20883"/>
                    <a:pt x="13868" y="20956"/>
                    <a:pt x="13868" y="20956"/>
                  </a:cubicBezTo>
                  <a:cubicBezTo>
                    <a:pt x="13868" y="20956"/>
                    <a:pt x="13868" y="21029"/>
                    <a:pt x="13807" y="21103"/>
                  </a:cubicBezTo>
                  <a:cubicBezTo>
                    <a:pt x="13807" y="21103"/>
                    <a:pt x="13807" y="21176"/>
                    <a:pt x="13807" y="21249"/>
                  </a:cubicBezTo>
                  <a:cubicBezTo>
                    <a:pt x="13807" y="21249"/>
                    <a:pt x="13807" y="21249"/>
                    <a:pt x="13807" y="21396"/>
                  </a:cubicBezTo>
                  <a:cubicBezTo>
                    <a:pt x="13807" y="21469"/>
                    <a:pt x="13807" y="21469"/>
                    <a:pt x="13807" y="21469"/>
                  </a:cubicBezTo>
                  <a:cubicBezTo>
                    <a:pt x="13807" y="21469"/>
                    <a:pt x="13745" y="21469"/>
                    <a:pt x="13745" y="21469"/>
                  </a:cubicBezTo>
                  <a:cubicBezTo>
                    <a:pt x="13745" y="21396"/>
                    <a:pt x="13684" y="21469"/>
                    <a:pt x="13684" y="21469"/>
                  </a:cubicBezTo>
                  <a:cubicBezTo>
                    <a:pt x="13684" y="21469"/>
                    <a:pt x="13623" y="21396"/>
                    <a:pt x="13623" y="21322"/>
                  </a:cubicBezTo>
                  <a:cubicBezTo>
                    <a:pt x="13623" y="21322"/>
                    <a:pt x="13561" y="21322"/>
                    <a:pt x="13561" y="21322"/>
                  </a:cubicBezTo>
                  <a:cubicBezTo>
                    <a:pt x="13561" y="21322"/>
                    <a:pt x="13439" y="21396"/>
                    <a:pt x="13439" y="21396"/>
                  </a:cubicBezTo>
                  <a:cubicBezTo>
                    <a:pt x="13439" y="21396"/>
                    <a:pt x="13439" y="21469"/>
                    <a:pt x="13439" y="21469"/>
                  </a:cubicBezTo>
                  <a:cubicBezTo>
                    <a:pt x="13377" y="21469"/>
                    <a:pt x="13255" y="21542"/>
                    <a:pt x="13255" y="21542"/>
                  </a:cubicBezTo>
                  <a:cubicBezTo>
                    <a:pt x="13255" y="21542"/>
                    <a:pt x="13193" y="21542"/>
                    <a:pt x="13193" y="21542"/>
                  </a:cubicBezTo>
                  <a:cubicBezTo>
                    <a:pt x="13132" y="21469"/>
                    <a:pt x="13132" y="21469"/>
                    <a:pt x="13132" y="21469"/>
                  </a:cubicBezTo>
                  <a:cubicBezTo>
                    <a:pt x="13132" y="21396"/>
                    <a:pt x="13132" y="21396"/>
                    <a:pt x="13132" y="21396"/>
                  </a:cubicBezTo>
                  <a:cubicBezTo>
                    <a:pt x="13255" y="21249"/>
                    <a:pt x="13255" y="21249"/>
                    <a:pt x="13255" y="21249"/>
                  </a:cubicBezTo>
                  <a:cubicBezTo>
                    <a:pt x="13193" y="21029"/>
                    <a:pt x="13193" y="21029"/>
                    <a:pt x="13193" y="21029"/>
                  </a:cubicBezTo>
                  <a:cubicBezTo>
                    <a:pt x="13070" y="20883"/>
                    <a:pt x="13070" y="20883"/>
                    <a:pt x="13070" y="20883"/>
                  </a:cubicBezTo>
                  <a:cubicBezTo>
                    <a:pt x="13070" y="20810"/>
                    <a:pt x="13070" y="20810"/>
                    <a:pt x="13070" y="20810"/>
                  </a:cubicBezTo>
                  <a:cubicBezTo>
                    <a:pt x="12886" y="20810"/>
                    <a:pt x="12886" y="20810"/>
                    <a:pt x="12886" y="20810"/>
                  </a:cubicBezTo>
                  <a:cubicBezTo>
                    <a:pt x="12764" y="20737"/>
                    <a:pt x="12764" y="20737"/>
                    <a:pt x="12764" y="20737"/>
                  </a:cubicBezTo>
                  <a:cubicBezTo>
                    <a:pt x="12702" y="20663"/>
                    <a:pt x="12702" y="20663"/>
                    <a:pt x="12702" y="20663"/>
                  </a:cubicBezTo>
                  <a:cubicBezTo>
                    <a:pt x="12518" y="20517"/>
                    <a:pt x="12518" y="20517"/>
                    <a:pt x="12518" y="20517"/>
                  </a:cubicBezTo>
                  <a:cubicBezTo>
                    <a:pt x="12395" y="20078"/>
                    <a:pt x="12395" y="20078"/>
                    <a:pt x="12395" y="20078"/>
                  </a:cubicBezTo>
                  <a:cubicBezTo>
                    <a:pt x="12211" y="20078"/>
                    <a:pt x="12211" y="20078"/>
                    <a:pt x="12211" y="20078"/>
                  </a:cubicBezTo>
                  <a:cubicBezTo>
                    <a:pt x="12211" y="20078"/>
                    <a:pt x="12089" y="20224"/>
                    <a:pt x="12089" y="20297"/>
                  </a:cubicBezTo>
                  <a:cubicBezTo>
                    <a:pt x="12089" y="20370"/>
                    <a:pt x="11966" y="20370"/>
                    <a:pt x="11966" y="20370"/>
                  </a:cubicBezTo>
                  <a:cubicBezTo>
                    <a:pt x="11843" y="20590"/>
                    <a:pt x="11843" y="20590"/>
                    <a:pt x="11843" y="20590"/>
                  </a:cubicBezTo>
                  <a:cubicBezTo>
                    <a:pt x="11843" y="20590"/>
                    <a:pt x="11843" y="20883"/>
                    <a:pt x="11843" y="20956"/>
                  </a:cubicBezTo>
                  <a:cubicBezTo>
                    <a:pt x="11843" y="21029"/>
                    <a:pt x="11720" y="20883"/>
                    <a:pt x="11720" y="20883"/>
                  </a:cubicBezTo>
                  <a:cubicBezTo>
                    <a:pt x="11720" y="20883"/>
                    <a:pt x="11598" y="20956"/>
                    <a:pt x="11536" y="21029"/>
                  </a:cubicBezTo>
                  <a:cubicBezTo>
                    <a:pt x="11475" y="21103"/>
                    <a:pt x="11352" y="21103"/>
                    <a:pt x="11352" y="21103"/>
                  </a:cubicBezTo>
                  <a:cubicBezTo>
                    <a:pt x="11352" y="21103"/>
                    <a:pt x="11291" y="20956"/>
                    <a:pt x="11230" y="20883"/>
                  </a:cubicBezTo>
                  <a:cubicBezTo>
                    <a:pt x="11230" y="20883"/>
                    <a:pt x="11230" y="20810"/>
                    <a:pt x="11230" y="20663"/>
                  </a:cubicBezTo>
                  <a:cubicBezTo>
                    <a:pt x="11230" y="20590"/>
                    <a:pt x="11107" y="20737"/>
                    <a:pt x="11107" y="20737"/>
                  </a:cubicBezTo>
                  <a:cubicBezTo>
                    <a:pt x="11107" y="20737"/>
                    <a:pt x="11107" y="20737"/>
                    <a:pt x="11107" y="20737"/>
                  </a:cubicBezTo>
                  <a:cubicBezTo>
                    <a:pt x="11107" y="20663"/>
                    <a:pt x="11107" y="20663"/>
                    <a:pt x="11107" y="20663"/>
                  </a:cubicBezTo>
                  <a:cubicBezTo>
                    <a:pt x="11045" y="20517"/>
                    <a:pt x="10984" y="20444"/>
                    <a:pt x="10984" y="20444"/>
                  </a:cubicBezTo>
                  <a:cubicBezTo>
                    <a:pt x="10984" y="20444"/>
                    <a:pt x="10923" y="20297"/>
                    <a:pt x="10923" y="20151"/>
                  </a:cubicBezTo>
                  <a:cubicBezTo>
                    <a:pt x="10923" y="20078"/>
                    <a:pt x="10677" y="19931"/>
                    <a:pt x="10677" y="19931"/>
                  </a:cubicBezTo>
                  <a:cubicBezTo>
                    <a:pt x="10677" y="19931"/>
                    <a:pt x="10739" y="20078"/>
                    <a:pt x="10616" y="19931"/>
                  </a:cubicBezTo>
                  <a:cubicBezTo>
                    <a:pt x="10493" y="19711"/>
                    <a:pt x="10370" y="19711"/>
                    <a:pt x="10370" y="19711"/>
                  </a:cubicBezTo>
                  <a:cubicBezTo>
                    <a:pt x="10309" y="19126"/>
                    <a:pt x="10309" y="19126"/>
                    <a:pt x="10309" y="19126"/>
                  </a:cubicBezTo>
                  <a:cubicBezTo>
                    <a:pt x="9818" y="19272"/>
                    <a:pt x="9818" y="19272"/>
                    <a:pt x="9818" y="19272"/>
                  </a:cubicBezTo>
                  <a:cubicBezTo>
                    <a:pt x="9818" y="19272"/>
                    <a:pt x="9511" y="19126"/>
                    <a:pt x="9450" y="19053"/>
                  </a:cubicBezTo>
                  <a:cubicBezTo>
                    <a:pt x="9389" y="18979"/>
                    <a:pt x="9205" y="18906"/>
                    <a:pt x="9205" y="18906"/>
                  </a:cubicBezTo>
                  <a:cubicBezTo>
                    <a:pt x="9020" y="19126"/>
                    <a:pt x="9020" y="19126"/>
                    <a:pt x="9020" y="19126"/>
                  </a:cubicBezTo>
                  <a:cubicBezTo>
                    <a:pt x="8836" y="19126"/>
                    <a:pt x="8836" y="19126"/>
                    <a:pt x="8836" y="19126"/>
                  </a:cubicBezTo>
                  <a:cubicBezTo>
                    <a:pt x="8836" y="19126"/>
                    <a:pt x="8591" y="19053"/>
                    <a:pt x="8530" y="18979"/>
                  </a:cubicBezTo>
                  <a:cubicBezTo>
                    <a:pt x="8407" y="18833"/>
                    <a:pt x="8468" y="18760"/>
                    <a:pt x="8407" y="18760"/>
                  </a:cubicBezTo>
                  <a:cubicBezTo>
                    <a:pt x="8284" y="18760"/>
                    <a:pt x="8223" y="18613"/>
                    <a:pt x="8223" y="18613"/>
                  </a:cubicBezTo>
                  <a:cubicBezTo>
                    <a:pt x="8223" y="18613"/>
                    <a:pt x="8345" y="18394"/>
                    <a:pt x="8407" y="18320"/>
                  </a:cubicBezTo>
                  <a:cubicBezTo>
                    <a:pt x="8407" y="18247"/>
                    <a:pt x="8530" y="18320"/>
                    <a:pt x="8468" y="18101"/>
                  </a:cubicBezTo>
                  <a:cubicBezTo>
                    <a:pt x="8345" y="17954"/>
                    <a:pt x="8284" y="17881"/>
                    <a:pt x="8284" y="17881"/>
                  </a:cubicBezTo>
                  <a:cubicBezTo>
                    <a:pt x="8284" y="17881"/>
                    <a:pt x="8284" y="18027"/>
                    <a:pt x="8161" y="18101"/>
                  </a:cubicBezTo>
                  <a:cubicBezTo>
                    <a:pt x="8039" y="18101"/>
                    <a:pt x="7855" y="18174"/>
                    <a:pt x="7855" y="18174"/>
                  </a:cubicBezTo>
                  <a:cubicBezTo>
                    <a:pt x="7180" y="17808"/>
                    <a:pt x="7180" y="17808"/>
                    <a:pt x="7180" y="17808"/>
                  </a:cubicBezTo>
                  <a:cubicBezTo>
                    <a:pt x="7180" y="17808"/>
                    <a:pt x="6995" y="17735"/>
                    <a:pt x="6934" y="17735"/>
                  </a:cubicBezTo>
                  <a:cubicBezTo>
                    <a:pt x="6873" y="17808"/>
                    <a:pt x="6627" y="17735"/>
                    <a:pt x="6627" y="17735"/>
                  </a:cubicBezTo>
                  <a:cubicBezTo>
                    <a:pt x="6750" y="18027"/>
                    <a:pt x="6750" y="18027"/>
                    <a:pt x="6750" y="18027"/>
                  </a:cubicBezTo>
                  <a:cubicBezTo>
                    <a:pt x="6873" y="18467"/>
                    <a:pt x="6873" y="18467"/>
                    <a:pt x="6873" y="18467"/>
                  </a:cubicBezTo>
                  <a:cubicBezTo>
                    <a:pt x="6505" y="18613"/>
                    <a:pt x="6505" y="18613"/>
                    <a:pt x="6505" y="18613"/>
                  </a:cubicBezTo>
                  <a:cubicBezTo>
                    <a:pt x="6443" y="18979"/>
                    <a:pt x="6443" y="18979"/>
                    <a:pt x="6443" y="18979"/>
                  </a:cubicBezTo>
                  <a:cubicBezTo>
                    <a:pt x="6443" y="18979"/>
                    <a:pt x="6075" y="19272"/>
                    <a:pt x="6075" y="19126"/>
                  </a:cubicBezTo>
                  <a:cubicBezTo>
                    <a:pt x="6014" y="19053"/>
                    <a:pt x="5952" y="18760"/>
                    <a:pt x="5952" y="18760"/>
                  </a:cubicBezTo>
                  <a:cubicBezTo>
                    <a:pt x="5952" y="18760"/>
                    <a:pt x="5891" y="18613"/>
                    <a:pt x="5830" y="18540"/>
                  </a:cubicBezTo>
                  <a:cubicBezTo>
                    <a:pt x="5707" y="18467"/>
                    <a:pt x="5645" y="18394"/>
                    <a:pt x="5645" y="18394"/>
                  </a:cubicBezTo>
                  <a:cubicBezTo>
                    <a:pt x="5461" y="18320"/>
                    <a:pt x="5461" y="18320"/>
                    <a:pt x="5461" y="18320"/>
                  </a:cubicBezTo>
                  <a:cubicBezTo>
                    <a:pt x="5461" y="18320"/>
                    <a:pt x="5400" y="18027"/>
                    <a:pt x="5339" y="18027"/>
                  </a:cubicBezTo>
                  <a:cubicBezTo>
                    <a:pt x="5277" y="18027"/>
                    <a:pt x="5216" y="18027"/>
                    <a:pt x="5216" y="18027"/>
                  </a:cubicBezTo>
                  <a:cubicBezTo>
                    <a:pt x="5216" y="17808"/>
                    <a:pt x="5216" y="17808"/>
                    <a:pt x="5216" y="17808"/>
                  </a:cubicBezTo>
                  <a:cubicBezTo>
                    <a:pt x="5339" y="17588"/>
                    <a:pt x="5339" y="17588"/>
                    <a:pt x="5339" y="17588"/>
                  </a:cubicBezTo>
                  <a:cubicBezTo>
                    <a:pt x="5339" y="17588"/>
                    <a:pt x="5400" y="17661"/>
                    <a:pt x="5400" y="17368"/>
                  </a:cubicBezTo>
                  <a:cubicBezTo>
                    <a:pt x="5461" y="17002"/>
                    <a:pt x="5277" y="17002"/>
                    <a:pt x="5277" y="17002"/>
                  </a:cubicBezTo>
                  <a:cubicBezTo>
                    <a:pt x="5093" y="17076"/>
                    <a:pt x="5093" y="17076"/>
                    <a:pt x="5093" y="17076"/>
                  </a:cubicBezTo>
                  <a:cubicBezTo>
                    <a:pt x="4848" y="17222"/>
                    <a:pt x="4848" y="17222"/>
                    <a:pt x="4848" y="17222"/>
                  </a:cubicBezTo>
                  <a:cubicBezTo>
                    <a:pt x="4725" y="17222"/>
                    <a:pt x="4725" y="17222"/>
                    <a:pt x="4725" y="17222"/>
                  </a:cubicBezTo>
                  <a:cubicBezTo>
                    <a:pt x="4664" y="17222"/>
                    <a:pt x="4541" y="17002"/>
                    <a:pt x="4541" y="17002"/>
                  </a:cubicBezTo>
                  <a:cubicBezTo>
                    <a:pt x="4541" y="17002"/>
                    <a:pt x="4664" y="16783"/>
                    <a:pt x="4480" y="17002"/>
                  </a:cubicBezTo>
                  <a:cubicBezTo>
                    <a:pt x="4295" y="17222"/>
                    <a:pt x="4173" y="16929"/>
                    <a:pt x="4173" y="16929"/>
                  </a:cubicBezTo>
                  <a:cubicBezTo>
                    <a:pt x="4111" y="16856"/>
                    <a:pt x="4111" y="16856"/>
                    <a:pt x="4111" y="16856"/>
                  </a:cubicBezTo>
                  <a:cubicBezTo>
                    <a:pt x="4111" y="16856"/>
                    <a:pt x="4111" y="16856"/>
                    <a:pt x="4050" y="16856"/>
                  </a:cubicBezTo>
                  <a:cubicBezTo>
                    <a:pt x="3989" y="16929"/>
                    <a:pt x="3805" y="16929"/>
                    <a:pt x="3805" y="16856"/>
                  </a:cubicBezTo>
                  <a:cubicBezTo>
                    <a:pt x="3743" y="16709"/>
                    <a:pt x="3620" y="16636"/>
                    <a:pt x="3620" y="16636"/>
                  </a:cubicBezTo>
                  <a:cubicBezTo>
                    <a:pt x="3436" y="16709"/>
                    <a:pt x="3436" y="16709"/>
                    <a:pt x="3436" y="16709"/>
                  </a:cubicBezTo>
                  <a:cubicBezTo>
                    <a:pt x="3436" y="16709"/>
                    <a:pt x="3314" y="16709"/>
                    <a:pt x="3252" y="16709"/>
                  </a:cubicBezTo>
                  <a:cubicBezTo>
                    <a:pt x="3252" y="16636"/>
                    <a:pt x="3252" y="16563"/>
                    <a:pt x="3130" y="16490"/>
                  </a:cubicBezTo>
                  <a:cubicBezTo>
                    <a:pt x="3007" y="16417"/>
                    <a:pt x="2945" y="16197"/>
                    <a:pt x="2945" y="16197"/>
                  </a:cubicBezTo>
                  <a:cubicBezTo>
                    <a:pt x="2945" y="16197"/>
                    <a:pt x="3007" y="16050"/>
                    <a:pt x="2884" y="16050"/>
                  </a:cubicBezTo>
                  <a:cubicBezTo>
                    <a:pt x="2823" y="16050"/>
                    <a:pt x="2700" y="15977"/>
                    <a:pt x="2700" y="15977"/>
                  </a:cubicBezTo>
                  <a:cubicBezTo>
                    <a:pt x="2700" y="15977"/>
                    <a:pt x="2516" y="15831"/>
                    <a:pt x="2516" y="15904"/>
                  </a:cubicBezTo>
                  <a:cubicBezTo>
                    <a:pt x="2455" y="15977"/>
                    <a:pt x="2455" y="16124"/>
                    <a:pt x="2455" y="16197"/>
                  </a:cubicBezTo>
                  <a:cubicBezTo>
                    <a:pt x="2455" y="16197"/>
                    <a:pt x="2516" y="16417"/>
                    <a:pt x="2516" y="16417"/>
                  </a:cubicBezTo>
                  <a:cubicBezTo>
                    <a:pt x="2516" y="16417"/>
                    <a:pt x="2270" y="16563"/>
                    <a:pt x="2209" y="16563"/>
                  </a:cubicBezTo>
                  <a:cubicBezTo>
                    <a:pt x="2148" y="16563"/>
                    <a:pt x="2086" y="16636"/>
                    <a:pt x="2086" y="16490"/>
                  </a:cubicBezTo>
                  <a:cubicBezTo>
                    <a:pt x="2086" y="16417"/>
                    <a:pt x="2209" y="16050"/>
                    <a:pt x="2209" y="16050"/>
                  </a:cubicBezTo>
                  <a:cubicBezTo>
                    <a:pt x="2270" y="15977"/>
                    <a:pt x="2332" y="15904"/>
                    <a:pt x="2332" y="15904"/>
                  </a:cubicBezTo>
                  <a:cubicBezTo>
                    <a:pt x="2332" y="15904"/>
                    <a:pt x="2270" y="15758"/>
                    <a:pt x="2270" y="15684"/>
                  </a:cubicBezTo>
                  <a:cubicBezTo>
                    <a:pt x="2270" y="15611"/>
                    <a:pt x="2209" y="15611"/>
                    <a:pt x="2332" y="15391"/>
                  </a:cubicBezTo>
                  <a:cubicBezTo>
                    <a:pt x="2516" y="15172"/>
                    <a:pt x="2516" y="15025"/>
                    <a:pt x="2516" y="15025"/>
                  </a:cubicBezTo>
                  <a:cubicBezTo>
                    <a:pt x="2516" y="15025"/>
                    <a:pt x="2393" y="14806"/>
                    <a:pt x="2332" y="14733"/>
                  </a:cubicBezTo>
                  <a:cubicBezTo>
                    <a:pt x="2332" y="14733"/>
                    <a:pt x="2148" y="14440"/>
                    <a:pt x="2148" y="14440"/>
                  </a:cubicBezTo>
                  <a:cubicBezTo>
                    <a:pt x="2148" y="14366"/>
                    <a:pt x="2148" y="14220"/>
                    <a:pt x="2148" y="14220"/>
                  </a:cubicBezTo>
                  <a:cubicBezTo>
                    <a:pt x="2148" y="14220"/>
                    <a:pt x="2025" y="14074"/>
                    <a:pt x="1964" y="14074"/>
                  </a:cubicBezTo>
                  <a:cubicBezTo>
                    <a:pt x="1902" y="14074"/>
                    <a:pt x="1718" y="14000"/>
                    <a:pt x="1718" y="14000"/>
                  </a:cubicBezTo>
                  <a:cubicBezTo>
                    <a:pt x="1718" y="13781"/>
                    <a:pt x="1718" y="13781"/>
                    <a:pt x="1718" y="13781"/>
                  </a:cubicBezTo>
                  <a:cubicBezTo>
                    <a:pt x="1718" y="13415"/>
                    <a:pt x="1718" y="13415"/>
                    <a:pt x="1718" y="13415"/>
                  </a:cubicBezTo>
                  <a:cubicBezTo>
                    <a:pt x="1473" y="13048"/>
                    <a:pt x="1473" y="13048"/>
                    <a:pt x="1473" y="13048"/>
                  </a:cubicBezTo>
                  <a:cubicBezTo>
                    <a:pt x="1411" y="12829"/>
                    <a:pt x="1411" y="12829"/>
                    <a:pt x="1411" y="12829"/>
                  </a:cubicBezTo>
                  <a:cubicBezTo>
                    <a:pt x="1411" y="12829"/>
                    <a:pt x="1473" y="12682"/>
                    <a:pt x="1473" y="12536"/>
                  </a:cubicBezTo>
                  <a:cubicBezTo>
                    <a:pt x="1534" y="12463"/>
                    <a:pt x="1595" y="12243"/>
                    <a:pt x="1595" y="12243"/>
                  </a:cubicBezTo>
                  <a:cubicBezTo>
                    <a:pt x="1473" y="11950"/>
                    <a:pt x="1473" y="11950"/>
                    <a:pt x="1473" y="11950"/>
                  </a:cubicBezTo>
                  <a:cubicBezTo>
                    <a:pt x="1473" y="11950"/>
                    <a:pt x="1411" y="11877"/>
                    <a:pt x="1473" y="11804"/>
                  </a:cubicBezTo>
                  <a:cubicBezTo>
                    <a:pt x="1473" y="11730"/>
                    <a:pt x="1411" y="11291"/>
                    <a:pt x="1411" y="11291"/>
                  </a:cubicBezTo>
                  <a:cubicBezTo>
                    <a:pt x="1411" y="11291"/>
                    <a:pt x="1350" y="10852"/>
                    <a:pt x="1289" y="10925"/>
                  </a:cubicBezTo>
                  <a:cubicBezTo>
                    <a:pt x="1166" y="10925"/>
                    <a:pt x="1105" y="10632"/>
                    <a:pt x="1105" y="10632"/>
                  </a:cubicBezTo>
                  <a:cubicBezTo>
                    <a:pt x="1227" y="10120"/>
                    <a:pt x="1227" y="10120"/>
                    <a:pt x="1227" y="10120"/>
                  </a:cubicBezTo>
                  <a:cubicBezTo>
                    <a:pt x="1227" y="10120"/>
                    <a:pt x="1289" y="9754"/>
                    <a:pt x="1105" y="9607"/>
                  </a:cubicBezTo>
                  <a:cubicBezTo>
                    <a:pt x="920" y="9534"/>
                    <a:pt x="552" y="9314"/>
                    <a:pt x="491" y="9241"/>
                  </a:cubicBezTo>
                  <a:cubicBezTo>
                    <a:pt x="491" y="9241"/>
                    <a:pt x="307" y="9021"/>
                    <a:pt x="245" y="8948"/>
                  </a:cubicBezTo>
                  <a:cubicBezTo>
                    <a:pt x="184" y="8948"/>
                    <a:pt x="123" y="8875"/>
                    <a:pt x="123" y="8875"/>
                  </a:cubicBezTo>
                  <a:cubicBezTo>
                    <a:pt x="245" y="8216"/>
                    <a:pt x="245" y="8216"/>
                    <a:pt x="245" y="8216"/>
                  </a:cubicBezTo>
                  <a:cubicBezTo>
                    <a:pt x="552" y="7923"/>
                    <a:pt x="552" y="7923"/>
                    <a:pt x="552" y="7923"/>
                  </a:cubicBezTo>
                  <a:cubicBezTo>
                    <a:pt x="552" y="7337"/>
                    <a:pt x="552" y="7337"/>
                    <a:pt x="552" y="7337"/>
                  </a:cubicBezTo>
                  <a:cubicBezTo>
                    <a:pt x="552" y="6678"/>
                    <a:pt x="552" y="6678"/>
                    <a:pt x="552" y="6678"/>
                  </a:cubicBezTo>
                  <a:cubicBezTo>
                    <a:pt x="552" y="6678"/>
                    <a:pt x="614" y="6605"/>
                    <a:pt x="430" y="6312"/>
                  </a:cubicBezTo>
                  <a:cubicBezTo>
                    <a:pt x="307" y="6093"/>
                    <a:pt x="245" y="5800"/>
                    <a:pt x="245" y="5800"/>
                  </a:cubicBezTo>
                  <a:cubicBezTo>
                    <a:pt x="245" y="5726"/>
                    <a:pt x="184" y="5434"/>
                    <a:pt x="123" y="5360"/>
                  </a:cubicBezTo>
                  <a:cubicBezTo>
                    <a:pt x="123" y="5287"/>
                    <a:pt x="123" y="5214"/>
                    <a:pt x="123" y="5067"/>
                  </a:cubicBezTo>
                  <a:cubicBezTo>
                    <a:pt x="184" y="4994"/>
                    <a:pt x="0" y="4775"/>
                    <a:pt x="0" y="4775"/>
                  </a:cubicBezTo>
                  <a:cubicBezTo>
                    <a:pt x="0" y="4775"/>
                    <a:pt x="61" y="4628"/>
                    <a:pt x="123" y="4628"/>
                  </a:cubicBezTo>
                  <a:cubicBezTo>
                    <a:pt x="184" y="4628"/>
                    <a:pt x="245" y="4555"/>
                    <a:pt x="368" y="4555"/>
                  </a:cubicBezTo>
                  <a:cubicBezTo>
                    <a:pt x="491" y="4555"/>
                    <a:pt x="552" y="4408"/>
                    <a:pt x="675" y="4408"/>
                  </a:cubicBezTo>
                  <a:cubicBezTo>
                    <a:pt x="736" y="4335"/>
                    <a:pt x="736" y="4189"/>
                    <a:pt x="798" y="4189"/>
                  </a:cubicBezTo>
                  <a:cubicBezTo>
                    <a:pt x="920" y="4116"/>
                    <a:pt x="1043" y="4189"/>
                    <a:pt x="1227" y="4042"/>
                  </a:cubicBezTo>
                  <a:cubicBezTo>
                    <a:pt x="1411" y="3969"/>
                    <a:pt x="1411" y="3896"/>
                    <a:pt x="1534" y="3749"/>
                  </a:cubicBezTo>
                  <a:cubicBezTo>
                    <a:pt x="1595" y="3676"/>
                    <a:pt x="2761" y="3237"/>
                    <a:pt x="2761" y="3237"/>
                  </a:cubicBezTo>
                  <a:cubicBezTo>
                    <a:pt x="2761" y="3237"/>
                    <a:pt x="3068" y="3017"/>
                    <a:pt x="3191" y="3017"/>
                  </a:cubicBezTo>
                  <a:cubicBezTo>
                    <a:pt x="3252" y="2944"/>
                    <a:pt x="3252" y="2871"/>
                    <a:pt x="3375" y="2871"/>
                  </a:cubicBezTo>
                  <a:cubicBezTo>
                    <a:pt x="3436" y="2944"/>
                    <a:pt x="3682" y="2944"/>
                    <a:pt x="3682" y="2944"/>
                  </a:cubicBezTo>
                  <a:cubicBezTo>
                    <a:pt x="3682" y="2944"/>
                    <a:pt x="3743" y="2724"/>
                    <a:pt x="3805" y="2651"/>
                  </a:cubicBezTo>
                  <a:cubicBezTo>
                    <a:pt x="3866" y="2505"/>
                    <a:pt x="3927" y="2358"/>
                    <a:pt x="3927" y="2285"/>
                  </a:cubicBezTo>
                  <a:cubicBezTo>
                    <a:pt x="3989" y="2139"/>
                    <a:pt x="4050" y="2065"/>
                    <a:pt x="4111" y="1992"/>
                  </a:cubicBezTo>
                  <a:cubicBezTo>
                    <a:pt x="4173" y="1846"/>
                    <a:pt x="4234" y="1773"/>
                    <a:pt x="4234" y="1773"/>
                  </a:cubicBezTo>
                  <a:cubicBezTo>
                    <a:pt x="4295" y="1773"/>
                    <a:pt x="4664" y="1553"/>
                    <a:pt x="4725" y="1553"/>
                  </a:cubicBezTo>
                  <a:cubicBezTo>
                    <a:pt x="4786" y="1480"/>
                    <a:pt x="5277" y="1260"/>
                    <a:pt x="5277" y="1187"/>
                  </a:cubicBezTo>
                  <a:cubicBezTo>
                    <a:pt x="5277" y="1187"/>
                    <a:pt x="5461" y="894"/>
                    <a:pt x="5461" y="821"/>
                  </a:cubicBezTo>
                  <a:cubicBezTo>
                    <a:pt x="5461" y="747"/>
                    <a:pt x="5707" y="674"/>
                    <a:pt x="5707" y="674"/>
                  </a:cubicBezTo>
                  <a:cubicBezTo>
                    <a:pt x="5768" y="674"/>
                    <a:pt x="5768" y="674"/>
                    <a:pt x="5830" y="601"/>
                  </a:cubicBezTo>
                  <a:cubicBezTo>
                    <a:pt x="5952" y="601"/>
                    <a:pt x="6505" y="308"/>
                    <a:pt x="6505" y="308"/>
                  </a:cubicBezTo>
                  <a:cubicBezTo>
                    <a:pt x="6505" y="308"/>
                    <a:pt x="6995" y="88"/>
                    <a:pt x="6995" y="88"/>
                  </a:cubicBezTo>
                  <a:cubicBezTo>
                    <a:pt x="7057" y="162"/>
                    <a:pt x="7364" y="88"/>
                    <a:pt x="7425" y="88"/>
                  </a:cubicBezTo>
                  <a:cubicBezTo>
                    <a:pt x="7425" y="162"/>
                    <a:pt x="7793" y="88"/>
                    <a:pt x="7793" y="88"/>
                  </a:cubicBezTo>
                  <a:cubicBezTo>
                    <a:pt x="7793" y="88"/>
                    <a:pt x="7916" y="162"/>
                    <a:pt x="7916" y="235"/>
                  </a:cubicBezTo>
                  <a:cubicBezTo>
                    <a:pt x="7916" y="308"/>
                    <a:pt x="7793" y="381"/>
                    <a:pt x="7855" y="455"/>
                  </a:cubicBezTo>
                  <a:cubicBezTo>
                    <a:pt x="7916" y="528"/>
                    <a:pt x="8161" y="747"/>
                    <a:pt x="8161" y="747"/>
                  </a:cubicBezTo>
                  <a:cubicBezTo>
                    <a:pt x="8161" y="747"/>
                    <a:pt x="8100" y="967"/>
                    <a:pt x="8100" y="967"/>
                  </a:cubicBezTo>
                  <a:cubicBezTo>
                    <a:pt x="8100" y="1040"/>
                    <a:pt x="8161" y="1114"/>
                    <a:pt x="8223" y="1260"/>
                  </a:cubicBezTo>
                  <a:cubicBezTo>
                    <a:pt x="8284" y="1333"/>
                    <a:pt x="8407" y="1480"/>
                    <a:pt x="8407" y="1480"/>
                  </a:cubicBezTo>
                  <a:cubicBezTo>
                    <a:pt x="8407" y="1480"/>
                    <a:pt x="8345" y="1553"/>
                    <a:pt x="8591" y="1699"/>
                  </a:cubicBezTo>
                  <a:cubicBezTo>
                    <a:pt x="8836" y="1846"/>
                    <a:pt x="9020" y="1699"/>
                    <a:pt x="9020" y="1699"/>
                  </a:cubicBezTo>
                  <a:cubicBezTo>
                    <a:pt x="9020" y="1699"/>
                    <a:pt x="9205" y="1699"/>
                    <a:pt x="9266" y="1699"/>
                  </a:cubicBezTo>
                  <a:cubicBezTo>
                    <a:pt x="9327" y="1699"/>
                    <a:pt x="9511" y="1626"/>
                    <a:pt x="9511" y="1626"/>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1" name="Shape 2254">
              <a:extLst>
                <a:ext uri="{FF2B5EF4-FFF2-40B4-BE49-F238E27FC236}">
                  <a16:creationId xmlns:a16="http://schemas.microsoft.com/office/drawing/2014/main" id="{9BD07B3A-0594-1973-46EC-14F30A67CBE4}"/>
                </a:ext>
              </a:extLst>
            </p:cNvPr>
            <p:cNvSpPr/>
            <p:nvPr/>
          </p:nvSpPr>
          <p:spPr>
            <a:xfrm>
              <a:off x="913269" y="3849253"/>
              <a:ext cx="679426" cy="749454"/>
            </a:xfrm>
            <a:custGeom>
              <a:avLst/>
              <a:gdLst/>
              <a:ahLst/>
              <a:cxnLst>
                <a:cxn ang="0">
                  <a:pos x="wd2" y="hd2"/>
                </a:cxn>
                <a:cxn ang="5400000">
                  <a:pos x="wd2" y="hd2"/>
                </a:cxn>
                <a:cxn ang="10800000">
                  <a:pos x="wd2" y="hd2"/>
                </a:cxn>
                <a:cxn ang="16200000">
                  <a:pos x="wd2" y="hd2"/>
                </a:cxn>
              </a:cxnLst>
              <a:rect l="0" t="0" r="r" b="b"/>
              <a:pathLst>
                <a:path w="21455" h="21536" extrusionOk="0">
                  <a:moveTo>
                    <a:pt x="17031" y="19927"/>
                  </a:moveTo>
                  <a:cubicBezTo>
                    <a:pt x="16510" y="19927"/>
                    <a:pt x="16510" y="19927"/>
                    <a:pt x="16510" y="19927"/>
                  </a:cubicBezTo>
                  <a:cubicBezTo>
                    <a:pt x="16510" y="19927"/>
                    <a:pt x="16250" y="19583"/>
                    <a:pt x="16120" y="19583"/>
                  </a:cubicBezTo>
                  <a:cubicBezTo>
                    <a:pt x="15990" y="19583"/>
                    <a:pt x="15730" y="19468"/>
                    <a:pt x="15730" y="19468"/>
                  </a:cubicBezTo>
                  <a:cubicBezTo>
                    <a:pt x="15600" y="19698"/>
                    <a:pt x="15600" y="19698"/>
                    <a:pt x="15600" y="19698"/>
                  </a:cubicBezTo>
                  <a:cubicBezTo>
                    <a:pt x="15600" y="19698"/>
                    <a:pt x="15469" y="19813"/>
                    <a:pt x="15339" y="19813"/>
                  </a:cubicBezTo>
                  <a:cubicBezTo>
                    <a:pt x="15339" y="19813"/>
                    <a:pt x="15209" y="19698"/>
                    <a:pt x="15209" y="19698"/>
                  </a:cubicBezTo>
                  <a:cubicBezTo>
                    <a:pt x="15209" y="19468"/>
                    <a:pt x="15209" y="19468"/>
                    <a:pt x="15209" y="19468"/>
                  </a:cubicBezTo>
                  <a:cubicBezTo>
                    <a:pt x="14819" y="19468"/>
                    <a:pt x="14819" y="19468"/>
                    <a:pt x="14819" y="19468"/>
                  </a:cubicBezTo>
                  <a:cubicBezTo>
                    <a:pt x="14819" y="19468"/>
                    <a:pt x="14819" y="19813"/>
                    <a:pt x="14689" y="19813"/>
                  </a:cubicBezTo>
                  <a:cubicBezTo>
                    <a:pt x="14559" y="19698"/>
                    <a:pt x="14428" y="19698"/>
                    <a:pt x="14168" y="19698"/>
                  </a:cubicBezTo>
                  <a:cubicBezTo>
                    <a:pt x="13908" y="19583"/>
                    <a:pt x="13388" y="19698"/>
                    <a:pt x="13388" y="19698"/>
                  </a:cubicBezTo>
                  <a:cubicBezTo>
                    <a:pt x="13127" y="19583"/>
                    <a:pt x="13127" y="19583"/>
                    <a:pt x="13127" y="19583"/>
                  </a:cubicBezTo>
                  <a:cubicBezTo>
                    <a:pt x="12737" y="19583"/>
                    <a:pt x="12737" y="19583"/>
                    <a:pt x="12737" y="19583"/>
                  </a:cubicBezTo>
                  <a:cubicBezTo>
                    <a:pt x="12216" y="19583"/>
                    <a:pt x="12216" y="19583"/>
                    <a:pt x="12216" y="19583"/>
                  </a:cubicBezTo>
                  <a:cubicBezTo>
                    <a:pt x="12086" y="19813"/>
                    <a:pt x="12086" y="19813"/>
                    <a:pt x="12086" y="19813"/>
                  </a:cubicBezTo>
                  <a:cubicBezTo>
                    <a:pt x="12216" y="19927"/>
                    <a:pt x="12216" y="19927"/>
                    <a:pt x="12216" y="19927"/>
                  </a:cubicBezTo>
                  <a:cubicBezTo>
                    <a:pt x="11826" y="20157"/>
                    <a:pt x="11826" y="20157"/>
                    <a:pt x="11826" y="20157"/>
                  </a:cubicBezTo>
                  <a:cubicBezTo>
                    <a:pt x="11306" y="20042"/>
                    <a:pt x="11306" y="20042"/>
                    <a:pt x="11306" y="20042"/>
                  </a:cubicBezTo>
                  <a:cubicBezTo>
                    <a:pt x="11045" y="20272"/>
                    <a:pt x="11045" y="20272"/>
                    <a:pt x="11045" y="20272"/>
                  </a:cubicBezTo>
                  <a:cubicBezTo>
                    <a:pt x="10915" y="20042"/>
                    <a:pt x="10915" y="20042"/>
                    <a:pt x="10915" y="20042"/>
                  </a:cubicBezTo>
                  <a:cubicBezTo>
                    <a:pt x="10135" y="20502"/>
                    <a:pt x="10135" y="20502"/>
                    <a:pt x="10135" y="20502"/>
                  </a:cubicBezTo>
                  <a:cubicBezTo>
                    <a:pt x="10265" y="20732"/>
                    <a:pt x="10265" y="20732"/>
                    <a:pt x="10265" y="20732"/>
                  </a:cubicBezTo>
                  <a:cubicBezTo>
                    <a:pt x="9614" y="20847"/>
                    <a:pt x="9614" y="20847"/>
                    <a:pt x="9614" y="20847"/>
                  </a:cubicBezTo>
                  <a:cubicBezTo>
                    <a:pt x="9224" y="20732"/>
                    <a:pt x="9224" y="20732"/>
                    <a:pt x="9224" y="20732"/>
                  </a:cubicBezTo>
                  <a:cubicBezTo>
                    <a:pt x="9224" y="20732"/>
                    <a:pt x="8963" y="20617"/>
                    <a:pt x="8963" y="20502"/>
                  </a:cubicBezTo>
                  <a:cubicBezTo>
                    <a:pt x="9094" y="20387"/>
                    <a:pt x="9094" y="20272"/>
                    <a:pt x="9094" y="20272"/>
                  </a:cubicBezTo>
                  <a:cubicBezTo>
                    <a:pt x="9094" y="20272"/>
                    <a:pt x="8833" y="20157"/>
                    <a:pt x="8833" y="20272"/>
                  </a:cubicBezTo>
                  <a:cubicBezTo>
                    <a:pt x="8833" y="20502"/>
                    <a:pt x="8703" y="20732"/>
                    <a:pt x="8703" y="20732"/>
                  </a:cubicBezTo>
                  <a:cubicBezTo>
                    <a:pt x="8313" y="20962"/>
                    <a:pt x="8313" y="20962"/>
                    <a:pt x="8313" y="20962"/>
                  </a:cubicBezTo>
                  <a:cubicBezTo>
                    <a:pt x="7792" y="21076"/>
                    <a:pt x="7792" y="21076"/>
                    <a:pt x="7792" y="21076"/>
                  </a:cubicBezTo>
                  <a:cubicBezTo>
                    <a:pt x="7662" y="20962"/>
                    <a:pt x="7662" y="20962"/>
                    <a:pt x="7662" y="20962"/>
                  </a:cubicBezTo>
                  <a:cubicBezTo>
                    <a:pt x="7662" y="21306"/>
                    <a:pt x="7662" y="21306"/>
                    <a:pt x="7662" y="21306"/>
                  </a:cubicBezTo>
                  <a:cubicBezTo>
                    <a:pt x="7012" y="21306"/>
                    <a:pt x="7012" y="21306"/>
                    <a:pt x="7012" y="21306"/>
                  </a:cubicBezTo>
                  <a:cubicBezTo>
                    <a:pt x="6621" y="21306"/>
                    <a:pt x="6621" y="21306"/>
                    <a:pt x="6621" y="21306"/>
                  </a:cubicBezTo>
                  <a:cubicBezTo>
                    <a:pt x="6361" y="21536"/>
                    <a:pt x="6361" y="21536"/>
                    <a:pt x="6361" y="21536"/>
                  </a:cubicBezTo>
                  <a:cubicBezTo>
                    <a:pt x="5971" y="21421"/>
                    <a:pt x="5971" y="21421"/>
                    <a:pt x="5971" y="21421"/>
                  </a:cubicBezTo>
                  <a:cubicBezTo>
                    <a:pt x="5320" y="21536"/>
                    <a:pt x="5320" y="21536"/>
                    <a:pt x="5320" y="21536"/>
                  </a:cubicBezTo>
                  <a:cubicBezTo>
                    <a:pt x="5190" y="21306"/>
                    <a:pt x="5190" y="21306"/>
                    <a:pt x="5190" y="21306"/>
                  </a:cubicBezTo>
                  <a:cubicBezTo>
                    <a:pt x="4279" y="21306"/>
                    <a:pt x="4279" y="21306"/>
                    <a:pt x="4279" y="21306"/>
                  </a:cubicBezTo>
                  <a:cubicBezTo>
                    <a:pt x="3889" y="21421"/>
                    <a:pt x="3889" y="21421"/>
                    <a:pt x="3889" y="21421"/>
                  </a:cubicBezTo>
                  <a:cubicBezTo>
                    <a:pt x="3759" y="21191"/>
                    <a:pt x="3759" y="21191"/>
                    <a:pt x="3759" y="21191"/>
                  </a:cubicBezTo>
                  <a:cubicBezTo>
                    <a:pt x="3628" y="21191"/>
                    <a:pt x="3628" y="21191"/>
                    <a:pt x="3628" y="21191"/>
                  </a:cubicBezTo>
                  <a:cubicBezTo>
                    <a:pt x="3628" y="21191"/>
                    <a:pt x="3368" y="21191"/>
                    <a:pt x="3238" y="21191"/>
                  </a:cubicBezTo>
                  <a:cubicBezTo>
                    <a:pt x="3108" y="21191"/>
                    <a:pt x="2327" y="20962"/>
                    <a:pt x="2327" y="20962"/>
                  </a:cubicBezTo>
                  <a:cubicBezTo>
                    <a:pt x="2067" y="21191"/>
                    <a:pt x="2067" y="21191"/>
                    <a:pt x="2067" y="21191"/>
                  </a:cubicBezTo>
                  <a:cubicBezTo>
                    <a:pt x="2067" y="21191"/>
                    <a:pt x="1677" y="21191"/>
                    <a:pt x="1677" y="21076"/>
                  </a:cubicBezTo>
                  <a:cubicBezTo>
                    <a:pt x="1677" y="21076"/>
                    <a:pt x="1677" y="20962"/>
                    <a:pt x="1807" y="20847"/>
                  </a:cubicBezTo>
                  <a:cubicBezTo>
                    <a:pt x="1937" y="20847"/>
                    <a:pt x="2067" y="20847"/>
                    <a:pt x="2327" y="20732"/>
                  </a:cubicBezTo>
                  <a:cubicBezTo>
                    <a:pt x="2588" y="20732"/>
                    <a:pt x="2718" y="20732"/>
                    <a:pt x="2718" y="20732"/>
                  </a:cubicBezTo>
                  <a:cubicBezTo>
                    <a:pt x="2848" y="20617"/>
                    <a:pt x="2848" y="20617"/>
                    <a:pt x="2848" y="20617"/>
                  </a:cubicBezTo>
                  <a:cubicBezTo>
                    <a:pt x="2848" y="20502"/>
                    <a:pt x="2978" y="20387"/>
                    <a:pt x="2718" y="20502"/>
                  </a:cubicBezTo>
                  <a:cubicBezTo>
                    <a:pt x="2588" y="20502"/>
                    <a:pt x="2588" y="20502"/>
                    <a:pt x="2588" y="20502"/>
                  </a:cubicBezTo>
                  <a:cubicBezTo>
                    <a:pt x="2457" y="20617"/>
                    <a:pt x="2327" y="20617"/>
                    <a:pt x="2197" y="20617"/>
                  </a:cubicBezTo>
                  <a:cubicBezTo>
                    <a:pt x="2197" y="20617"/>
                    <a:pt x="1937" y="20617"/>
                    <a:pt x="1937" y="20617"/>
                  </a:cubicBezTo>
                  <a:cubicBezTo>
                    <a:pt x="1937" y="20617"/>
                    <a:pt x="1807" y="20502"/>
                    <a:pt x="1937" y="20502"/>
                  </a:cubicBezTo>
                  <a:cubicBezTo>
                    <a:pt x="2067" y="20387"/>
                    <a:pt x="2067" y="20387"/>
                    <a:pt x="2197" y="20387"/>
                  </a:cubicBezTo>
                  <a:cubicBezTo>
                    <a:pt x="2457" y="20387"/>
                    <a:pt x="2588" y="20272"/>
                    <a:pt x="2848" y="20272"/>
                  </a:cubicBezTo>
                  <a:cubicBezTo>
                    <a:pt x="3108" y="20272"/>
                    <a:pt x="3238" y="20272"/>
                    <a:pt x="3238" y="20272"/>
                  </a:cubicBezTo>
                  <a:cubicBezTo>
                    <a:pt x="3368" y="20157"/>
                    <a:pt x="3498" y="20157"/>
                    <a:pt x="3498" y="20042"/>
                  </a:cubicBezTo>
                  <a:cubicBezTo>
                    <a:pt x="3498" y="19927"/>
                    <a:pt x="3368" y="19813"/>
                    <a:pt x="3368" y="19813"/>
                  </a:cubicBezTo>
                  <a:cubicBezTo>
                    <a:pt x="3368" y="19813"/>
                    <a:pt x="3238" y="19813"/>
                    <a:pt x="3108" y="19927"/>
                  </a:cubicBezTo>
                  <a:cubicBezTo>
                    <a:pt x="2978" y="19927"/>
                    <a:pt x="2848" y="20042"/>
                    <a:pt x="2718" y="20042"/>
                  </a:cubicBezTo>
                  <a:cubicBezTo>
                    <a:pt x="2718" y="20042"/>
                    <a:pt x="2718" y="20042"/>
                    <a:pt x="2588" y="20042"/>
                  </a:cubicBezTo>
                  <a:cubicBezTo>
                    <a:pt x="2457" y="20042"/>
                    <a:pt x="2197" y="19927"/>
                    <a:pt x="2197" y="19927"/>
                  </a:cubicBezTo>
                  <a:cubicBezTo>
                    <a:pt x="2067" y="19927"/>
                    <a:pt x="1937" y="19927"/>
                    <a:pt x="1807" y="19927"/>
                  </a:cubicBezTo>
                  <a:cubicBezTo>
                    <a:pt x="1677" y="19927"/>
                    <a:pt x="1807" y="19927"/>
                    <a:pt x="1547" y="19927"/>
                  </a:cubicBezTo>
                  <a:cubicBezTo>
                    <a:pt x="1286" y="20042"/>
                    <a:pt x="1416" y="20042"/>
                    <a:pt x="1026" y="20042"/>
                  </a:cubicBezTo>
                  <a:cubicBezTo>
                    <a:pt x="766" y="20042"/>
                    <a:pt x="375" y="19927"/>
                    <a:pt x="375" y="19927"/>
                  </a:cubicBezTo>
                  <a:cubicBezTo>
                    <a:pt x="375" y="19927"/>
                    <a:pt x="115" y="20042"/>
                    <a:pt x="245" y="19927"/>
                  </a:cubicBezTo>
                  <a:cubicBezTo>
                    <a:pt x="506" y="19813"/>
                    <a:pt x="766" y="19813"/>
                    <a:pt x="896" y="19698"/>
                  </a:cubicBezTo>
                  <a:cubicBezTo>
                    <a:pt x="1026" y="19698"/>
                    <a:pt x="1156" y="19698"/>
                    <a:pt x="1026" y="19583"/>
                  </a:cubicBezTo>
                  <a:cubicBezTo>
                    <a:pt x="1026" y="19583"/>
                    <a:pt x="1026" y="19583"/>
                    <a:pt x="1026" y="19583"/>
                  </a:cubicBezTo>
                  <a:cubicBezTo>
                    <a:pt x="1156" y="19583"/>
                    <a:pt x="1416" y="19468"/>
                    <a:pt x="1416" y="19468"/>
                  </a:cubicBezTo>
                  <a:cubicBezTo>
                    <a:pt x="1677" y="19353"/>
                    <a:pt x="1677" y="19353"/>
                    <a:pt x="1677" y="19353"/>
                  </a:cubicBezTo>
                  <a:cubicBezTo>
                    <a:pt x="1677" y="19353"/>
                    <a:pt x="1677" y="19238"/>
                    <a:pt x="1937" y="19238"/>
                  </a:cubicBezTo>
                  <a:cubicBezTo>
                    <a:pt x="2197" y="19238"/>
                    <a:pt x="2197" y="19238"/>
                    <a:pt x="2197" y="19123"/>
                  </a:cubicBezTo>
                  <a:cubicBezTo>
                    <a:pt x="2327" y="19123"/>
                    <a:pt x="2197" y="19123"/>
                    <a:pt x="2327" y="19123"/>
                  </a:cubicBezTo>
                  <a:cubicBezTo>
                    <a:pt x="2588" y="19123"/>
                    <a:pt x="2588" y="19008"/>
                    <a:pt x="2718" y="19008"/>
                  </a:cubicBezTo>
                  <a:cubicBezTo>
                    <a:pt x="2978" y="19008"/>
                    <a:pt x="3108" y="18893"/>
                    <a:pt x="2978" y="18893"/>
                  </a:cubicBezTo>
                  <a:cubicBezTo>
                    <a:pt x="2848" y="18893"/>
                    <a:pt x="2848" y="18893"/>
                    <a:pt x="2588" y="18893"/>
                  </a:cubicBezTo>
                  <a:cubicBezTo>
                    <a:pt x="2457" y="19008"/>
                    <a:pt x="2327" y="18893"/>
                    <a:pt x="2327" y="19008"/>
                  </a:cubicBezTo>
                  <a:cubicBezTo>
                    <a:pt x="2197" y="19008"/>
                    <a:pt x="1937" y="19008"/>
                    <a:pt x="1937" y="19008"/>
                  </a:cubicBezTo>
                  <a:cubicBezTo>
                    <a:pt x="1807" y="18893"/>
                    <a:pt x="1807" y="18893"/>
                    <a:pt x="1677" y="19008"/>
                  </a:cubicBezTo>
                  <a:cubicBezTo>
                    <a:pt x="1547" y="19008"/>
                    <a:pt x="1677" y="19123"/>
                    <a:pt x="1416" y="19123"/>
                  </a:cubicBezTo>
                  <a:cubicBezTo>
                    <a:pt x="1286" y="19123"/>
                    <a:pt x="1156" y="19008"/>
                    <a:pt x="1156" y="19008"/>
                  </a:cubicBezTo>
                  <a:cubicBezTo>
                    <a:pt x="1156" y="19008"/>
                    <a:pt x="766" y="19008"/>
                    <a:pt x="766" y="18893"/>
                  </a:cubicBezTo>
                  <a:cubicBezTo>
                    <a:pt x="766" y="18893"/>
                    <a:pt x="766" y="18664"/>
                    <a:pt x="766" y="18664"/>
                  </a:cubicBezTo>
                  <a:cubicBezTo>
                    <a:pt x="766" y="18549"/>
                    <a:pt x="896" y="18549"/>
                    <a:pt x="896" y="18549"/>
                  </a:cubicBezTo>
                  <a:cubicBezTo>
                    <a:pt x="766" y="18434"/>
                    <a:pt x="766" y="18434"/>
                    <a:pt x="766" y="18434"/>
                  </a:cubicBezTo>
                  <a:cubicBezTo>
                    <a:pt x="766" y="18434"/>
                    <a:pt x="766" y="18434"/>
                    <a:pt x="636" y="18434"/>
                  </a:cubicBezTo>
                  <a:cubicBezTo>
                    <a:pt x="636" y="18434"/>
                    <a:pt x="375" y="18549"/>
                    <a:pt x="375" y="18549"/>
                  </a:cubicBezTo>
                  <a:cubicBezTo>
                    <a:pt x="375" y="18549"/>
                    <a:pt x="375" y="18549"/>
                    <a:pt x="245" y="18549"/>
                  </a:cubicBezTo>
                  <a:cubicBezTo>
                    <a:pt x="245" y="18549"/>
                    <a:pt x="115" y="18549"/>
                    <a:pt x="115" y="18549"/>
                  </a:cubicBezTo>
                  <a:cubicBezTo>
                    <a:pt x="115" y="18549"/>
                    <a:pt x="115" y="18434"/>
                    <a:pt x="115" y="18319"/>
                  </a:cubicBezTo>
                  <a:cubicBezTo>
                    <a:pt x="115" y="18319"/>
                    <a:pt x="115" y="18204"/>
                    <a:pt x="115" y="18204"/>
                  </a:cubicBezTo>
                  <a:cubicBezTo>
                    <a:pt x="115" y="18204"/>
                    <a:pt x="115" y="18204"/>
                    <a:pt x="115" y="18204"/>
                  </a:cubicBezTo>
                  <a:cubicBezTo>
                    <a:pt x="115" y="18089"/>
                    <a:pt x="-145" y="18089"/>
                    <a:pt x="115" y="17974"/>
                  </a:cubicBezTo>
                  <a:cubicBezTo>
                    <a:pt x="375" y="17974"/>
                    <a:pt x="375" y="17974"/>
                    <a:pt x="506" y="17974"/>
                  </a:cubicBezTo>
                  <a:cubicBezTo>
                    <a:pt x="506" y="17974"/>
                    <a:pt x="636" y="17974"/>
                    <a:pt x="636" y="17974"/>
                  </a:cubicBezTo>
                  <a:cubicBezTo>
                    <a:pt x="636" y="17974"/>
                    <a:pt x="766" y="17859"/>
                    <a:pt x="766" y="17859"/>
                  </a:cubicBezTo>
                  <a:cubicBezTo>
                    <a:pt x="636" y="17745"/>
                    <a:pt x="636" y="17745"/>
                    <a:pt x="636" y="17745"/>
                  </a:cubicBezTo>
                  <a:cubicBezTo>
                    <a:pt x="636" y="17630"/>
                    <a:pt x="636" y="17630"/>
                    <a:pt x="766" y="17630"/>
                  </a:cubicBezTo>
                  <a:cubicBezTo>
                    <a:pt x="896" y="17630"/>
                    <a:pt x="896" y="17515"/>
                    <a:pt x="1026" y="17515"/>
                  </a:cubicBezTo>
                  <a:cubicBezTo>
                    <a:pt x="1026" y="17515"/>
                    <a:pt x="1156" y="17515"/>
                    <a:pt x="1286" y="17515"/>
                  </a:cubicBezTo>
                  <a:cubicBezTo>
                    <a:pt x="1286" y="17515"/>
                    <a:pt x="1286" y="17400"/>
                    <a:pt x="1547" y="17400"/>
                  </a:cubicBezTo>
                  <a:cubicBezTo>
                    <a:pt x="1677" y="17400"/>
                    <a:pt x="1807" y="17400"/>
                    <a:pt x="1937" y="17400"/>
                  </a:cubicBezTo>
                  <a:cubicBezTo>
                    <a:pt x="1937" y="17400"/>
                    <a:pt x="2197" y="17400"/>
                    <a:pt x="2197" y="17400"/>
                  </a:cubicBezTo>
                  <a:cubicBezTo>
                    <a:pt x="2197" y="17400"/>
                    <a:pt x="2457" y="17285"/>
                    <a:pt x="2457" y="17285"/>
                  </a:cubicBezTo>
                  <a:cubicBezTo>
                    <a:pt x="2588" y="17170"/>
                    <a:pt x="2588" y="17170"/>
                    <a:pt x="2588" y="17170"/>
                  </a:cubicBezTo>
                  <a:cubicBezTo>
                    <a:pt x="2588" y="17170"/>
                    <a:pt x="2588" y="17170"/>
                    <a:pt x="2718" y="17170"/>
                  </a:cubicBezTo>
                  <a:cubicBezTo>
                    <a:pt x="2848" y="17170"/>
                    <a:pt x="2848" y="17170"/>
                    <a:pt x="2978" y="17170"/>
                  </a:cubicBezTo>
                  <a:cubicBezTo>
                    <a:pt x="2978" y="17170"/>
                    <a:pt x="3108" y="17170"/>
                    <a:pt x="3108" y="17170"/>
                  </a:cubicBezTo>
                  <a:cubicBezTo>
                    <a:pt x="3108" y="17055"/>
                    <a:pt x="3108" y="17055"/>
                    <a:pt x="3108" y="16940"/>
                  </a:cubicBezTo>
                  <a:cubicBezTo>
                    <a:pt x="2978" y="16940"/>
                    <a:pt x="2978" y="16940"/>
                    <a:pt x="2848" y="16940"/>
                  </a:cubicBezTo>
                  <a:cubicBezTo>
                    <a:pt x="2718" y="17055"/>
                    <a:pt x="2588" y="17055"/>
                    <a:pt x="2588" y="16940"/>
                  </a:cubicBezTo>
                  <a:cubicBezTo>
                    <a:pt x="2588" y="16940"/>
                    <a:pt x="2588" y="16940"/>
                    <a:pt x="2457" y="16940"/>
                  </a:cubicBezTo>
                  <a:cubicBezTo>
                    <a:pt x="2327" y="16940"/>
                    <a:pt x="2197" y="16940"/>
                    <a:pt x="2197" y="16940"/>
                  </a:cubicBezTo>
                  <a:cubicBezTo>
                    <a:pt x="2197" y="16940"/>
                    <a:pt x="2067" y="16940"/>
                    <a:pt x="1937" y="16940"/>
                  </a:cubicBezTo>
                  <a:cubicBezTo>
                    <a:pt x="1677" y="16825"/>
                    <a:pt x="1677" y="16825"/>
                    <a:pt x="1547" y="16825"/>
                  </a:cubicBezTo>
                  <a:cubicBezTo>
                    <a:pt x="1416" y="16825"/>
                    <a:pt x="1286" y="16825"/>
                    <a:pt x="1286" y="16825"/>
                  </a:cubicBezTo>
                  <a:cubicBezTo>
                    <a:pt x="1286" y="16825"/>
                    <a:pt x="1547" y="16825"/>
                    <a:pt x="1156" y="16710"/>
                  </a:cubicBezTo>
                  <a:cubicBezTo>
                    <a:pt x="766" y="16596"/>
                    <a:pt x="766" y="16596"/>
                    <a:pt x="766" y="16596"/>
                  </a:cubicBezTo>
                  <a:cubicBezTo>
                    <a:pt x="636" y="16596"/>
                    <a:pt x="636" y="16596"/>
                    <a:pt x="636" y="16596"/>
                  </a:cubicBezTo>
                  <a:cubicBezTo>
                    <a:pt x="506" y="16596"/>
                    <a:pt x="506" y="16710"/>
                    <a:pt x="375" y="16596"/>
                  </a:cubicBezTo>
                  <a:cubicBezTo>
                    <a:pt x="375" y="16596"/>
                    <a:pt x="245" y="16481"/>
                    <a:pt x="245" y="16481"/>
                  </a:cubicBezTo>
                  <a:cubicBezTo>
                    <a:pt x="245" y="16366"/>
                    <a:pt x="245" y="16366"/>
                    <a:pt x="375" y="16251"/>
                  </a:cubicBezTo>
                  <a:cubicBezTo>
                    <a:pt x="375" y="16251"/>
                    <a:pt x="636" y="16136"/>
                    <a:pt x="636" y="16136"/>
                  </a:cubicBezTo>
                  <a:cubicBezTo>
                    <a:pt x="636" y="16251"/>
                    <a:pt x="636" y="16251"/>
                    <a:pt x="636" y="16251"/>
                  </a:cubicBezTo>
                  <a:cubicBezTo>
                    <a:pt x="636" y="16251"/>
                    <a:pt x="636" y="16366"/>
                    <a:pt x="766" y="16251"/>
                  </a:cubicBezTo>
                  <a:cubicBezTo>
                    <a:pt x="766" y="16251"/>
                    <a:pt x="896" y="16021"/>
                    <a:pt x="896" y="16021"/>
                  </a:cubicBezTo>
                  <a:cubicBezTo>
                    <a:pt x="896" y="16021"/>
                    <a:pt x="766" y="16021"/>
                    <a:pt x="896" y="15906"/>
                  </a:cubicBezTo>
                  <a:cubicBezTo>
                    <a:pt x="1026" y="15906"/>
                    <a:pt x="1026" y="15906"/>
                    <a:pt x="1156" y="15906"/>
                  </a:cubicBezTo>
                  <a:cubicBezTo>
                    <a:pt x="1156" y="15906"/>
                    <a:pt x="1416" y="15906"/>
                    <a:pt x="1547" y="15906"/>
                  </a:cubicBezTo>
                  <a:cubicBezTo>
                    <a:pt x="1547" y="15791"/>
                    <a:pt x="1807" y="15791"/>
                    <a:pt x="1807" y="15791"/>
                  </a:cubicBezTo>
                  <a:cubicBezTo>
                    <a:pt x="1807" y="15791"/>
                    <a:pt x="1937" y="15906"/>
                    <a:pt x="1807" y="16021"/>
                  </a:cubicBezTo>
                  <a:cubicBezTo>
                    <a:pt x="1807" y="16021"/>
                    <a:pt x="1677" y="16021"/>
                    <a:pt x="1807" y="16136"/>
                  </a:cubicBezTo>
                  <a:cubicBezTo>
                    <a:pt x="1937" y="16136"/>
                    <a:pt x="2067" y="16136"/>
                    <a:pt x="2067" y="16136"/>
                  </a:cubicBezTo>
                  <a:cubicBezTo>
                    <a:pt x="2067" y="16136"/>
                    <a:pt x="2197" y="16021"/>
                    <a:pt x="2197" y="16021"/>
                  </a:cubicBezTo>
                  <a:cubicBezTo>
                    <a:pt x="2327" y="16021"/>
                    <a:pt x="2197" y="15906"/>
                    <a:pt x="2327" y="15906"/>
                  </a:cubicBezTo>
                  <a:cubicBezTo>
                    <a:pt x="2457" y="16021"/>
                    <a:pt x="2457" y="16136"/>
                    <a:pt x="2457" y="16136"/>
                  </a:cubicBezTo>
                  <a:cubicBezTo>
                    <a:pt x="2457" y="16136"/>
                    <a:pt x="2457" y="16136"/>
                    <a:pt x="2457" y="16251"/>
                  </a:cubicBezTo>
                  <a:cubicBezTo>
                    <a:pt x="2588" y="16251"/>
                    <a:pt x="2718" y="16251"/>
                    <a:pt x="2718" y="16366"/>
                  </a:cubicBezTo>
                  <a:cubicBezTo>
                    <a:pt x="2718" y="16366"/>
                    <a:pt x="2588" y="16366"/>
                    <a:pt x="2848" y="16481"/>
                  </a:cubicBezTo>
                  <a:cubicBezTo>
                    <a:pt x="2978" y="16481"/>
                    <a:pt x="3108" y="16481"/>
                    <a:pt x="3108" y="16481"/>
                  </a:cubicBezTo>
                  <a:cubicBezTo>
                    <a:pt x="3108" y="16481"/>
                    <a:pt x="3238" y="16481"/>
                    <a:pt x="3238" y="16366"/>
                  </a:cubicBezTo>
                  <a:cubicBezTo>
                    <a:pt x="3108" y="16251"/>
                    <a:pt x="3108" y="16136"/>
                    <a:pt x="3108" y="16136"/>
                  </a:cubicBezTo>
                  <a:cubicBezTo>
                    <a:pt x="3108" y="16136"/>
                    <a:pt x="3238" y="16021"/>
                    <a:pt x="3238" y="16021"/>
                  </a:cubicBezTo>
                  <a:cubicBezTo>
                    <a:pt x="3238" y="15906"/>
                    <a:pt x="3238" y="15676"/>
                    <a:pt x="3238" y="15676"/>
                  </a:cubicBezTo>
                  <a:cubicBezTo>
                    <a:pt x="3238" y="15676"/>
                    <a:pt x="3368" y="15562"/>
                    <a:pt x="3238" y="15562"/>
                  </a:cubicBezTo>
                  <a:cubicBezTo>
                    <a:pt x="3108" y="15562"/>
                    <a:pt x="3108" y="15447"/>
                    <a:pt x="3108" y="15447"/>
                  </a:cubicBezTo>
                  <a:cubicBezTo>
                    <a:pt x="2978" y="15447"/>
                    <a:pt x="2978" y="15332"/>
                    <a:pt x="2978" y="15332"/>
                  </a:cubicBezTo>
                  <a:cubicBezTo>
                    <a:pt x="3368" y="15332"/>
                    <a:pt x="3368" y="15332"/>
                    <a:pt x="3368" y="15332"/>
                  </a:cubicBezTo>
                  <a:cubicBezTo>
                    <a:pt x="3628" y="15332"/>
                    <a:pt x="3628" y="15332"/>
                    <a:pt x="3628" y="15332"/>
                  </a:cubicBezTo>
                  <a:cubicBezTo>
                    <a:pt x="3889" y="15217"/>
                    <a:pt x="3889" y="15217"/>
                    <a:pt x="3889" y="15217"/>
                  </a:cubicBezTo>
                  <a:cubicBezTo>
                    <a:pt x="3889" y="15217"/>
                    <a:pt x="4019" y="15332"/>
                    <a:pt x="4019" y="15217"/>
                  </a:cubicBezTo>
                  <a:cubicBezTo>
                    <a:pt x="4019" y="15217"/>
                    <a:pt x="4149" y="15102"/>
                    <a:pt x="4149" y="15102"/>
                  </a:cubicBezTo>
                  <a:cubicBezTo>
                    <a:pt x="4409" y="15102"/>
                    <a:pt x="4409" y="15102"/>
                    <a:pt x="4409" y="15102"/>
                  </a:cubicBezTo>
                  <a:cubicBezTo>
                    <a:pt x="4409" y="15102"/>
                    <a:pt x="4279" y="14987"/>
                    <a:pt x="4279" y="14987"/>
                  </a:cubicBezTo>
                  <a:cubicBezTo>
                    <a:pt x="4409" y="14987"/>
                    <a:pt x="4409" y="14757"/>
                    <a:pt x="4409" y="14757"/>
                  </a:cubicBezTo>
                  <a:cubicBezTo>
                    <a:pt x="4409" y="14757"/>
                    <a:pt x="4539" y="14642"/>
                    <a:pt x="4669" y="14757"/>
                  </a:cubicBezTo>
                  <a:cubicBezTo>
                    <a:pt x="4669" y="14757"/>
                    <a:pt x="4930" y="14757"/>
                    <a:pt x="5060" y="14872"/>
                  </a:cubicBezTo>
                  <a:cubicBezTo>
                    <a:pt x="5060" y="14872"/>
                    <a:pt x="5190" y="14872"/>
                    <a:pt x="5190" y="14872"/>
                  </a:cubicBezTo>
                  <a:cubicBezTo>
                    <a:pt x="5450" y="14872"/>
                    <a:pt x="5450" y="14872"/>
                    <a:pt x="5450" y="14872"/>
                  </a:cubicBezTo>
                  <a:cubicBezTo>
                    <a:pt x="5450" y="14872"/>
                    <a:pt x="5710" y="14987"/>
                    <a:pt x="5710" y="14987"/>
                  </a:cubicBezTo>
                  <a:cubicBezTo>
                    <a:pt x="5710" y="14987"/>
                    <a:pt x="5971" y="15102"/>
                    <a:pt x="6101" y="15102"/>
                  </a:cubicBezTo>
                  <a:cubicBezTo>
                    <a:pt x="6101" y="15102"/>
                    <a:pt x="6231" y="14987"/>
                    <a:pt x="6231" y="14987"/>
                  </a:cubicBezTo>
                  <a:cubicBezTo>
                    <a:pt x="6231" y="14987"/>
                    <a:pt x="6231" y="14872"/>
                    <a:pt x="6361" y="14987"/>
                  </a:cubicBezTo>
                  <a:cubicBezTo>
                    <a:pt x="6491" y="14987"/>
                    <a:pt x="6621" y="14987"/>
                    <a:pt x="6751" y="14987"/>
                  </a:cubicBezTo>
                  <a:cubicBezTo>
                    <a:pt x="6751" y="14872"/>
                    <a:pt x="6751" y="14872"/>
                    <a:pt x="6882" y="14872"/>
                  </a:cubicBezTo>
                  <a:cubicBezTo>
                    <a:pt x="7012" y="14987"/>
                    <a:pt x="7142" y="14987"/>
                    <a:pt x="7142" y="14987"/>
                  </a:cubicBezTo>
                  <a:cubicBezTo>
                    <a:pt x="7272" y="14987"/>
                    <a:pt x="7532" y="14872"/>
                    <a:pt x="7532" y="14872"/>
                  </a:cubicBezTo>
                  <a:cubicBezTo>
                    <a:pt x="7532" y="14872"/>
                    <a:pt x="7402" y="14757"/>
                    <a:pt x="7532" y="14872"/>
                  </a:cubicBezTo>
                  <a:cubicBezTo>
                    <a:pt x="7662" y="14872"/>
                    <a:pt x="7792" y="14757"/>
                    <a:pt x="7792" y="14757"/>
                  </a:cubicBezTo>
                  <a:cubicBezTo>
                    <a:pt x="7532" y="14642"/>
                    <a:pt x="7532" y="14642"/>
                    <a:pt x="7532" y="14642"/>
                  </a:cubicBezTo>
                  <a:cubicBezTo>
                    <a:pt x="7532" y="14642"/>
                    <a:pt x="7662" y="14413"/>
                    <a:pt x="7662" y="14413"/>
                  </a:cubicBezTo>
                  <a:cubicBezTo>
                    <a:pt x="7662" y="14413"/>
                    <a:pt x="7532" y="14298"/>
                    <a:pt x="7532" y="14298"/>
                  </a:cubicBezTo>
                  <a:cubicBezTo>
                    <a:pt x="7532" y="14298"/>
                    <a:pt x="7402" y="14298"/>
                    <a:pt x="7402" y="14413"/>
                  </a:cubicBezTo>
                  <a:cubicBezTo>
                    <a:pt x="7402" y="14527"/>
                    <a:pt x="7272" y="14642"/>
                    <a:pt x="7142" y="14642"/>
                  </a:cubicBezTo>
                  <a:cubicBezTo>
                    <a:pt x="7142" y="14642"/>
                    <a:pt x="7012" y="14757"/>
                    <a:pt x="6882" y="14757"/>
                  </a:cubicBezTo>
                  <a:cubicBezTo>
                    <a:pt x="6882" y="14757"/>
                    <a:pt x="6751" y="14872"/>
                    <a:pt x="6751" y="14872"/>
                  </a:cubicBezTo>
                  <a:cubicBezTo>
                    <a:pt x="6751" y="14872"/>
                    <a:pt x="6751" y="14987"/>
                    <a:pt x="6491" y="14872"/>
                  </a:cubicBezTo>
                  <a:cubicBezTo>
                    <a:pt x="6361" y="14757"/>
                    <a:pt x="6231" y="14757"/>
                    <a:pt x="6231" y="14757"/>
                  </a:cubicBezTo>
                  <a:cubicBezTo>
                    <a:pt x="6231" y="14757"/>
                    <a:pt x="6231" y="14642"/>
                    <a:pt x="6101" y="14757"/>
                  </a:cubicBezTo>
                  <a:cubicBezTo>
                    <a:pt x="5841" y="14757"/>
                    <a:pt x="5971" y="14872"/>
                    <a:pt x="5841" y="14757"/>
                  </a:cubicBezTo>
                  <a:cubicBezTo>
                    <a:pt x="5710" y="14757"/>
                    <a:pt x="5320" y="14757"/>
                    <a:pt x="5320" y="14642"/>
                  </a:cubicBezTo>
                  <a:cubicBezTo>
                    <a:pt x="5320" y="14642"/>
                    <a:pt x="5190" y="14527"/>
                    <a:pt x="5190" y="14527"/>
                  </a:cubicBezTo>
                  <a:cubicBezTo>
                    <a:pt x="5190" y="14527"/>
                    <a:pt x="5190" y="14298"/>
                    <a:pt x="5190" y="14298"/>
                  </a:cubicBezTo>
                  <a:cubicBezTo>
                    <a:pt x="5060" y="14413"/>
                    <a:pt x="4930" y="14527"/>
                    <a:pt x="4800" y="14527"/>
                  </a:cubicBezTo>
                  <a:cubicBezTo>
                    <a:pt x="4800" y="14527"/>
                    <a:pt x="4539" y="14527"/>
                    <a:pt x="4409" y="14527"/>
                  </a:cubicBezTo>
                  <a:cubicBezTo>
                    <a:pt x="4409" y="14527"/>
                    <a:pt x="4409" y="14527"/>
                    <a:pt x="4279" y="14527"/>
                  </a:cubicBezTo>
                  <a:cubicBezTo>
                    <a:pt x="4149" y="14527"/>
                    <a:pt x="4019" y="14642"/>
                    <a:pt x="3889" y="14642"/>
                  </a:cubicBezTo>
                  <a:cubicBezTo>
                    <a:pt x="3759" y="14642"/>
                    <a:pt x="3759" y="14527"/>
                    <a:pt x="3628" y="14527"/>
                  </a:cubicBezTo>
                  <a:cubicBezTo>
                    <a:pt x="3498" y="14527"/>
                    <a:pt x="3498" y="14527"/>
                    <a:pt x="3498" y="14527"/>
                  </a:cubicBezTo>
                  <a:cubicBezTo>
                    <a:pt x="3498" y="14527"/>
                    <a:pt x="3498" y="14527"/>
                    <a:pt x="3498" y="14527"/>
                  </a:cubicBezTo>
                  <a:cubicBezTo>
                    <a:pt x="3498" y="14527"/>
                    <a:pt x="3498" y="14298"/>
                    <a:pt x="3759" y="14298"/>
                  </a:cubicBezTo>
                  <a:cubicBezTo>
                    <a:pt x="3889" y="14183"/>
                    <a:pt x="3759" y="14183"/>
                    <a:pt x="4019" y="14183"/>
                  </a:cubicBezTo>
                  <a:cubicBezTo>
                    <a:pt x="4279" y="14183"/>
                    <a:pt x="4409" y="14183"/>
                    <a:pt x="4539" y="14068"/>
                  </a:cubicBezTo>
                  <a:cubicBezTo>
                    <a:pt x="4669" y="13953"/>
                    <a:pt x="4669" y="13838"/>
                    <a:pt x="4800" y="13838"/>
                  </a:cubicBezTo>
                  <a:cubicBezTo>
                    <a:pt x="4930" y="13723"/>
                    <a:pt x="4930" y="13608"/>
                    <a:pt x="5060" y="13723"/>
                  </a:cubicBezTo>
                  <a:cubicBezTo>
                    <a:pt x="5320" y="13723"/>
                    <a:pt x="5580" y="13723"/>
                    <a:pt x="5580" y="13723"/>
                  </a:cubicBezTo>
                  <a:cubicBezTo>
                    <a:pt x="5580" y="13723"/>
                    <a:pt x="5580" y="13608"/>
                    <a:pt x="5580" y="13493"/>
                  </a:cubicBezTo>
                  <a:cubicBezTo>
                    <a:pt x="5580" y="13493"/>
                    <a:pt x="5580" y="13493"/>
                    <a:pt x="5580" y="13379"/>
                  </a:cubicBezTo>
                  <a:cubicBezTo>
                    <a:pt x="5710" y="13379"/>
                    <a:pt x="5710" y="13264"/>
                    <a:pt x="5710" y="13264"/>
                  </a:cubicBezTo>
                  <a:cubicBezTo>
                    <a:pt x="5841" y="13264"/>
                    <a:pt x="5841" y="13149"/>
                    <a:pt x="5971" y="13149"/>
                  </a:cubicBezTo>
                  <a:cubicBezTo>
                    <a:pt x="5971" y="13034"/>
                    <a:pt x="6101" y="13034"/>
                    <a:pt x="6101" y="12919"/>
                  </a:cubicBezTo>
                  <a:cubicBezTo>
                    <a:pt x="6231" y="12919"/>
                    <a:pt x="6231" y="12804"/>
                    <a:pt x="6231" y="12804"/>
                  </a:cubicBezTo>
                  <a:cubicBezTo>
                    <a:pt x="6231" y="12804"/>
                    <a:pt x="5841" y="12689"/>
                    <a:pt x="5841" y="12689"/>
                  </a:cubicBezTo>
                  <a:cubicBezTo>
                    <a:pt x="5971" y="12574"/>
                    <a:pt x="5971" y="12574"/>
                    <a:pt x="5971" y="12574"/>
                  </a:cubicBezTo>
                  <a:cubicBezTo>
                    <a:pt x="6491" y="12230"/>
                    <a:pt x="6491" y="12230"/>
                    <a:pt x="6491" y="12230"/>
                  </a:cubicBezTo>
                  <a:cubicBezTo>
                    <a:pt x="6491" y="12230"/>
                    <a:pt x="6621" y="12000"/>
                    <a:pt x="6621" y="12000"/>
                  </a:cubicBezTo>
                  <a:cubicBezTo>
                    <a:pt x="6751" y="12000"/>
                    <a:pt x="6882" y="11885"/>
                    <a:pt x="6882" y="11885"/>
                  </a:cubicBezTo>
                  <a:cubicBezTo>
                    <a:pt x="7012" y="11655"/>
                    <a:pt x="7012" y="11655"/>
                    <a:pt x="7012" y="11655"/>
                  </a:cubicBezTo>
                  <a:cubicBezTo>
                    <a:pt x="7012" y="11655"/>
                    <a:pt x="7012" y="11540"/>
                    <a:pt x="7142" y="11655"/>
                  </a:cubicBezTo>
                  <a:cubicBezTo>
                    <a:pt x="7272" y="11655"/>
                    <a:pt x="7272" y="11770"/>
                    <a:pt x="7402" y="11770"/>
                  </a:cubicBezTo>
                  <a:cubicBezTo>
                    <a:pt x="7532" y="11885"/>
                    <a:pt x="7922" y="11885"/>
                    <a:pt x="7922" y="11885"/>
                  </a:cubicBezTo>
                  <a:cubicBezTo>
                    <a:pt x="7792" y="11655"/>
                    <a:pt x="7792" y="11655"/>
                    <a:pt x="7792" y="11655"/>
                  </a:cubicBezTo>
                  <a:cubicBezTo>
                    <a:pt x="8313" y="11655"/>
                    <a:pt x="8313" y="11655"/>
                    <a:pt x="8313" y="11655"/>
                  </a:cubicBezTo>
                  <a:cubicBezTo>
                    <a:pt x="8313" y="11885"/>
                    <a:pt x="8313" y="11885"/>
                    <a:pt x="8313" y="11885"/>
                  </a:cubicBezTo>
                  <a:cubicBezTo>
                    <a:pt x="8573" y="11770"/>
                    <a:pt x="8573" y="11770"/>
                    <a:pt x="8573" y="11770"/>
                  </a:cubicBezTo>
                  <a:cubicBezTo>
                    <a:pt x="8443" y="11540"/>
                    <a:pt x="8443" y="11540"/>
                    <a:pt x="8443" y="11540"/>
                  </a:cubicBezTo>
                  <a:cubicBezTo>
                    <a:pt x="8443" y="11540"/>
                    <a:pt x="8703" y="11540"/>
                    <a:pt x="8703" y="11540"/>
                  </a:cubicBezTo>
                  <a:cubicBezTo>
                    <a:pt x="8573" y="11540"/>
                    <a:pt x="8313" y="11310"/>
                    <a:pt x="8313" y="11310"/>
                  </a:cubicBezTo>
                  <a:cubicBezTo>
                    <a:pt x="8443" y="11081"/>
                    <a:pt x="8443" y="11081"/>
                    <a:pt x="8443" y="11081"/>
                  </a:cubicBezTo>
                  <a:cubicBezTo>
                    <a:pt x="8183" y="11081"/>
                    <a:pt x="8183" y="11081"/>
                    <a:pt x="8183" y="11081"/>
                  </a:cubicBezTo>
                  <a:cubicBezTo>
                    <a:pt x="8183" y="11081"/>
                    <a:pt x="7662" y="11081"/>
                    <a:pt x="7532" y="11081"/>
                  </a:cubicBezTo>
                  <a:cubicBezTo>
                    <a:pt x="7402" y="10966"/>
                    <a:pt x="7402" y="10966"/>
                    <a:pt x="7272" y="10966"/>
                  </a:cubicBezTo>
                  <a:cubicBezTo>
                    <a:pt x="7142" y="10966"/>
                    <a:pt x="7012" y="10966"/>
                    <a:pt x="6882" y="10966"/>
                  </a:cubicBezTo>
                  <a:cubicBezTo>
                    <a:pt x="6751" y="10966"/>
                    <a:pt x="6621" y="10966"/>
                    <a:pt x="6491" y="10966"/>
                  </a:cubicBezTo>
                  <a:cubicBezTo>
                    <a:pt x="6491" y="10966"/>
                    <a:pt x="6361" y="10966"/>
                    <a:pt x="6231" y="10966"/>
                  </a:cubicBezTo>
                  <a:cubicBezTo>
                    <a:pt x="6231" y="10851"/>
                    <a:pt x="6361" y="10736"/>
                    <a:pt x="6231" y="10736"/>
                  </a:cubicBezTo>
                  <a:cubicBezTo>
                    <a:pt x="6101" y="10736"/>
                    <a:pt x="5971" y="10506"/>
                    <a:pt x="5841" y="10621"/>
                  </a:cubicBezTo>
                  <a:cubicBezTo>
                    <a:pt x="5841" y="10621"/>
                    <a:pt x="5841" y="10621"/>
                    <a:pt x="5710" y="10621"/>
                  </a:cubicBezTo>
                  <a:cubicBezTo>
                    <a:pt x="5710" y="10736"/>
                    <a:pt x="5580" y="10736"/>
                    <a:pt x="5580" y="10736"/>
                  </a:cubicBezTo>
                  <a:cubicBezTo>
                    <a:pt x="5450" y="10621"/>
                    <a:pt x="5450" y="10736"/>
                    <a:pt x="5580" y="10621"/>
                  </a:cubicBezTo>
                  <a:cubicBezTo>
                    <a:pt x="5580" y="10506"/>
                    <a:pt x="5450" y="10276"/>
                    <a:pt x="5580" y="10276"/>
                  </a:cubicBezTo>
                  <a:cubicBezTo>
                    <a:pt x="5710" y="10391"/>
                    <a:pt x="5710" y="10391"/>
                    <a:pt x="5841" y="10391"/>
                  </a:cubicBezTo>
                  <a:cubicBezTo>
                    <a:pt x="5841" y="10391"/>
                    <a:pt x="5971" y="10391"/>
                    <a:pt x="5971" y="10391"/>
                  </a:cubicBezTo>
                  <a:cubicBezTo>
                    <a:pt x="5971" y="10276"/>
                    <a:pt x="6101" y="10047"/>
                    <a:pt x="6101" y="10047"/>
                  </a:cubicBezTo>
                  <a:cubicBezTo>
                    <a:pt x="6101" y="10047"/>
                    <a:pt x="6491" y="10162"/>
                    <a:pt x="6361" y="10047"/>
                  </a:cubicBezTo>
                  <a:cubicBezTo>
                    <a:pt x="6231" y="9932"/>
                    <a:pt x="5971" y="9817"/>
                    <a:pt x="5971" y="9817"/>
                  </a:cubicBezTo>
                  <a:cubicBezTo>
                    <a:pt x="5971" y="9817"/>
                    <a:pt x="5841" y="9817"/>
                    <a:pt x="5841" y="9932"/>
                  </a:cubicBezTo>
                  <a:cubicBezTo>
                    <a:pt x="5710" y="10047"/>
                    <a:pt x="5841" y="10047"/>
                    <a:pt x="5710" y="10162"/>
                  </a:cubicBezTo>
                  <a:cubicBezTo>
                    <a:pt x="5580" y="10162"/>
                    <a:pt x="5580" y="10162"/>
                    <a:pt x="5450" y="10162"/>
                  </a:cubicBezTo>
                  <a:cubicBezTo>
                    <a:pt x="5450" y="10162"/>
                    <a:pt x="5450" y="10162"/>
                    <a:pt x="5320" y="10162"/>
                  </a:cubicBezTo>
                  <a:cubicBezTo>
                    <a:pt x="5320" y="10162"/>
                    <a:pt x="5060" y="10162"/>
                    <a:pt x="5060" y="10047"/>
                  </a:cubicBezTo>
                  <a:cubicBezTo>
                    <a:pt x="5060" y="10047"/>
                    <a:pt x="5060" y="10047"/>
                    <a:pt x="5060" y="9932"/>
                  </a:cubicBezTo>
                  <a:cubicBezTo>
                    <a:pt x="5060" y="9817"/>
                    <a:pt x="5060" y="9702"/>
                    <a:pt x="5320" y="9702"/>
                  </a:cubicBezTo>
                  <a:cubicBezTo>
                    <a:pt x="5450" y="9702"/>
                    <a:pt x="5450" y="9817"/>
                    <a:pt x="5450" y="9702"/>
                  </a:cubicBezTo>
                  <a:cubicBezTo>
                    <a:pt x="5450" y="9702"/>
                    <a:pt x="5450" y="9587"/>
                    <a:pt x="5320" y="9587"/>
                  </a:cubicBezTo>
                  <a:cubicBezTo>
                    <a:pt x="5320" y="9472"/>
                    <a:pt x="5320" y="9472"/>
                    <a:pt x="5190" y="9472"/>
                  </a:cubicBezTo>
                  <a:cubicBezTo>
                    <a:pt x="5060" y="9472"/>
                    <a:pt x="4800" y="9587"/>
                    <a:pt x="4800" y="9587"/>
                  </a:cubicBezTo>
                  <a:cubicBezTo>
                    <a:pt x="4800" y="9587"/>
                    <a:pt x="4930" y="9587"/>
                    <a:pt x="4669" y="9587"/>
                  </a:cubicBezTo>
                  <a:cubicBezTo>
                    <a:pt x="4539" y="9472"/>
                    <a:pt x="4669" y="9472"/>
                    <a:pt x="4539" y="9357"/>
                  </a:cubicBezTo>
                  <a:cubicBezTo>
                    <a:pt x="4539" y="9242"/>
                    <a:pt x="4539" y="9242"/>
                    <a:pt x="4409" y="9242"/>
                  </a:cubicBezTo>
                  <a:cubicBezTo>
                    <a:pt x="4409" y="9242"/>
                    <a:pt x="4409" y="9242"/>
                    <a:pt x="4279" y="9242"/>
                  </a:cubicBezTo>
                  <a:cubicBezTo>
                    <a:pt x="4149" y="9127"/>
                    <a:pt x="4019" y="9127"/>
                    <a:pt x="4019" y="9013"/>
                  </a:cubicBezTo>
                  <a:cubicBezTo>
                    <a:pt x="4019" y="8898"/>
                    <a:pt x="4019" y="8783"/>
                    <a:pt x="4149" y="8898"/>
                  </a:cubicBezTo>
                  <a:cubicBezTo>
                    <a:pt x="4279" y="8898"/>
                    <a:pt x="4149" y="8783"/>
                    <a:pt x="4279" y="8898"/>
                  </a:cubicBezTo>
                  <a:cubicBezTo>
                    <a:pt x="4539" y="9013"/>
                    <a:pt x="4539" y="9013"/>
                    <a:pt x="4539" y="9013"/>
                  </a:cubicBezTo>
                  <a:cubicBezTo>
                    <a:pt x="4539" y="9013"/>
                    <a:pt x="4669" y="9013"/>
                    <a:pt x="4539" y="8898"/>
                  </a:cubicBezTo>
                  <a:cubicBezTo>
                    <a:pt x="4539" y="8783"/>
                    <a:pt x="4409" y="8668"/>
                    <a:pt x="4409" y="8668"/>
                  </a:cubicBezTo>
                  <a:cubicBezTo>
                    <a:pt x="4409" y="8668"/>
                    <a:pt x="4279" y="8668"/>
                    <a:pt x="4279" y="8553"/>
                  </a:cubicBezTo>
                  <a:cubicBezTo>
                    <a:pt x="4279" y="8438"/>
                    <a:pt x="4279" y="8438"/>
                    <a:pt x="4149" y="8323"/>
                  </a:cubicBezTo>
                  <a:cubicBezTo>
                    <a:pt x="4149" y="8323"/>
                    <a:pt x="4279" y="8323"/>
                    <a:pt x="4279" y="8323"/>
                  </a:cubicBezTo>
                  <a:cubicBezTo>
                    <a:pt x="4409" y="8323"/>
                    <a:pt x="4279" y="8323"/>
                    <a:pt x="4409" y="8323"/>
                  </a:cubicBezTo>
                  <a:cubicBezTo>
                    <a:pt x="4669" y="8323"/>
                    <a:pt x="4539" y="8323"/>
                    <a:pt x="4669" y="8323"/>
                  </a:cubicBezTo>
                  <a:cubicBezTo>
                    <a:pt x="4669" y="8323"/>
                    <a:pt x="4800" y="8323"/>
                    <a:pt x="4800" y="8323"/>
                  </a:cubicBezTo>
                  <a:cubicBezTo>
                    <a:pt x="4800" y="8438"/>
                    <a:pt x="4930" y="8208"/>
                    <a:pt x="4930" y="8208"/>
                  </a:cubicBezTo>
                  <a:cubicBezTo>
                    <a:pt x="4930" y="8208"/>
                    <a:pt x="4800" y="8093"/>
                    <a:pt x="4930" y="8093"/>
                  </a:cubicBezTo>
                  <a:cubicBezTo>
                    <a:pt x="5060" y="8093"/>
                    <a:pt x="5060" y="8208"/>
                    <a:pt x="5190" y="8208"/>
                  </a:cubicBezTo>
                  <a:cubicBezTo>
                    <a:pt x="5450" y="8208"/>
                    <a:pt x="5450" y="8323"/>
                    <a:pt x="5580" y="8323"/>
                  </a:cubicBezTo>
                  <a:cubicBezTo>
                    <a:pt x="5580" y="8208"/>
                    <a:pt x="5710" y="8323"/>
                    <a:pt x="5710" y="8208"/>
                  </a:cubicBezTo>
                  <a:cubicBezTo>
                    <a:pt x="5580" y="8093"/>
                    <a:pt x="5580" y="8208"/>
                    <a:pt x="5580" y="8093"/>
                  </a:cubicBezTo>
                  <a:cubicBezTo>
                    <a:pt x="5450" y="7979"/>
                    <a:pt x="5450" y="8093"/>
                    <a:pt x="5450" y="7864"/>
                  </a:cubicBezTo>
                  <a:cubicBezTo>
                    <a:pt x="5580" y="7749"/>
                    <a:pt x="5580" y="7634"/>
                    <a:pt x="5580" y="7634"/>
                  </a:cubicBezTo>
                  <a:cubicBezTo>
                    <a:pt x="5580" y="7519"/>
                    <a:pt x="5580" y="7519"/>
                    <a:pt x="5580" y="7519"/>
                  </a:cubicBezTo>
                  <a:cubicBezTo>
                    <a:pt x="5841" y="7289"/>
                    <a:pt x="5841" y="7289"/>
                    <a:pt x="5841" y="7289"/>
                  </a:cubicBezTo>
                  <a:cubicBezTo>
                    <a:pt x="5841" y="7289"/>
                    <a:pt x="5971" y="7289"/>
                    <a:pt x="6101" y="7289"/>
                  </a:cubicBezTo>
                  <a:cubicBezTo>
                    <a:pt x="6361" y="7289"/>
                    <a:pt x="6491" y="7404"/>
                    <a:pt x="6621" y="7404"/>
                  </a:cubicBezTo>
                  <a:cubicBezTo>
                    <a:pt x="6882" y="7404"/>
                    <a:pt x="7012" y="7404"/>
                    <a:pt x="7012" y="7404"/>
                  </a:cubicBezTo>
                  <a:cubicBezTo>
                    <a:pt x="6882" y="7289"/>
                    <a:pt x="6882" y="7289"/>
                    <a:pt x="6882" y="7289"/>
                  </a:cubicBezTo>
                  <a:cubicBezTo>
                    <a:pt x="6882" y="7289"/>
                    <a:pt x="6882" y="7289"/>
                    <a:pt x="6882" y="7174"/>
                  </a:cubicBezTo>
                  <a:cubicBezTo>
                    <a:pt x="7012" y="7174"/>
                    <a:pt x="7012" y="7174"/>
                    <a:pt x="7142" y="7174"/>
                  </a:cubicBezTo>
                  <a:cubicBezTo>
                    <a:pt x="7142" y="7174"/>
                    <a:pt x="7272" y="6945"/>
                    <a:pt x="7272" y="6945"/>
                  </a:cubicBezTo>
                  <a:cubicBezTo>
                    <a:pt x="7142" y="6830"/>
                    <a:pt x="7142" y="6830"/>
                    <a:pt x="7012" y="6715"/>
                  </a:cubicBezTo>
                  <a:cubicBezTo>
                    <a:pt x="6751" y="6715"/>
                    <a:pt x="6361" y="6715"/>
                    <a:pt x="6361" y="6715"/>
                  </a:cubicBezTo>
                  <a:cubicBezTo>
                    <a:pt x="6361" y="6715"/>
                    <a:pt x="6231" y="6715"/>
                    <a:pt x="6101" y="6715"/>
                  </a:cubicBezTo>
                  <a:cubicBezTo>
                    <a:pt x="5971" y="6715"/>
                    <a:pt x="5710" y="6715"/>
                    <a:pt x="5710" y="6600"/>
                  </a:cubicBezTo>
                  <a:cubicBezTo>
                    <a:pt x="5580" y="6600"/>
                    <a:pt x="5580" y="6600"/>
                    <a:pt x="5580" y="6370"/>
                  </a:cubicBezTo>
                  <a:cubicBezTo>
                    <a:pt x="5580" y="6255"/>
                    <a:pt x="5450" y="6255"/>
                    <a:pt x="5450" y="6255"/>
                  </a:cubicBezTo>
                  <a:cubicBezTo>
                    <a:pt x="5580" y="6025"/>
                    <a:pt x="5580" y="6025"/>
                    <a:pt x="5580" y="6025"/>
                  </a:cubicBezTo>
                  <a:cubicBezTo>
                    <a:pt x="5580" y="6025"/>
                    <a:pt x="5450" y="5910"/>
                    <a:pt x="5450" y="5910"/>
                  </a:cubicBezTo>
                  <a:cubicBezTo>
                    <a:pt x="5320" y="5910"/>
                    <a:pt x="5320" y="5910"/>
                    <a:pt x="5320" y="5910"/>
                  </a:cubicBezTo>
                  <a:cubicBezTo>
                    <a:pt x="5190" y="5910"/>
                    <a:pt x="5320" y="5910"/>
                    <a:pt x="5060" y="5796"/>
                  </a:cubicBezTo>
                  <a:cubicBezTo>
                    <a:pt x="4800" y="5796"/>
                    <a:pt x="4669" y="5681"/>
                    <a:pt x="4669" y="5681"/>
                  </a:cubicBezTo>
                  <a:cubicBezTo>
                    <a:pt x="4669" y="5566"/>
                    <a:pt x="4669" y="5566"/>
                    <a:pt x="4930" y="5566"/>
                  </a:cubicBezTo>
                  <a:cubicBezTo>
                    <a:pt x="5060" y="5566"/>
                    <a:pt x="5190" y="5566"/>
                    <a:pt x="5320" y="5566"/>
                  </a:cubicBezTo>
                  <a:cubicBezTo>
                    <a:pt x="5450" y="5681"/>
                    <a:pt x="5710" y="5566"/>
                    <a:pt x="5710" y="5566"/>
                  </a:cubicBezTo>
                  <a:cubicBezTo>
                    <a:pt x="5710" y="5566"/>
                    <a:pt x="5580" y="5566"/>
                    <a:pt x="5841" y="5681"/>
                  </a:cubicBezTo>
                  <a:cubicBezTo>
                    <a:pt x="6101" y="5796"/>
                    <a:pt x="5971" y="5796"/>
                    <a:pt x="6101" y="5796"/>
                  </a:cubicBezTo>
                  <a:cubicBezTo>
                    <a:pt x="6231" y="5796"/>
                    <a:pt x="6361" y="5681"/>
                    <a:pt x="6231" y="5681"/>
                  </a:cubicBezTo>
                  <a:cubicBezTo>
                    <a:pt x="6231" y="5566"/>
                    <a:pt x="6361" y="5566"/>
                    <a:pt x="6231" y="5566"/>
                  </a:cubicBezTo>
                  <a:cubicBezTo>
                    <a:pt x="6101" y="5451"/>
                    <a:pt x="6101" y="5451"/>
                    <a:pt x="6101" y="5451"/>
                  </a:cubicBezTo>
                  <a:cubicBezTo>
                    <a:pt x="6101" y="5451"/>
                    <a:pt x="6101" y="5451"/>
                    <a:pt x="6101" y="5336"/>
                  </a:cubicBezTo>
                  <a:cubicBezTo>
                    <a:pt x="6101" y="5221"/>
                    <a:pt x="6231" y="5106"/>
                    <a:pt x="6231" y="5106"/>
                  </a:cubicBezTo>
                  <a:cubicBezTo>
                    <a:pt x="6361" y="5106"/>
                    <a:pt x="6361" y="5106"/>
                    <a:pt x="6361" y="4991"/>
                  </a:cubicBezTo>
                  <a:cubicBezTo>
                    <a:pt x="6361" y="4991"/>
                    <a:pt x="6361" y="4876"/>
                    <a:pt x="6361" y="4876"/>
                  </a:cubicBezTo>
                  <a:cubicBezTo>
                    <a:pt x="6361" y="4762"/>
                    <a:pt x="6491" y="4647"/>
                    <a:pt x="6491" y="4647"/>
                  </a:cubicBezTo>
                  <a:cubicBezTo>
                    <a:pt x="6491" y="4647"/>
                    <a:pt x="6361" y="4532"/>
                    <a:pt x="6361" y="4532"/>
                  </a:cubicBezTo>
                  <a:cubicBezTo>
                    <a:pt x="6361" y="4532"/>
                    <a:pt x="6101" y="4532"/>
                    <a:pt x="6101" y="4647"/>
                  </a:cubicBezTo>
                  <a:cubicBezTo>
                    <a:pt x="6101" y="4647"/>
                    <a:pt x="6101" y="4647"/>
                    <a:pt x="6101" y="4762"/>
                  </a:cubicBezTo>
                  <a:cubicBezTo>
                    <a:pt x="5971" y="4762"/>
                    <a:pt x="5971" y="4762"/>
                    <a:pt x="5841" y="4762"/>
                  </a:cubicBezTo>
                  <a:cubicBezTo>
                    <a:pt x="5841" y="4876"/>
                    <a:pt x="5841" y="4876"/>
                    <a:pt x="5841" y="4876"/>
                  </a:cubicBezTo>
                  <a:cubicBezTo>
                    <a:pt x="5841" y="4991"/>
                    <a:pt x="5710" y="5106"/>
                    <a:pt x="5710" y="5106"/>
                  </a:cubicBezTo>
                  <a:cubicBezTo>
                    <a:pt x="5710" y="5106"/>
                    <a:pt x="5580" y="4876"/>
                    <a:pt x="5580" y="4762"/>
                  </a:cubicBezTo>
                  <a:cubicBezTo>
                    <a:pt x="5580" y="4762"/>
                    <a:pt x="5710" y="4647"/>
                    <a:pt x="5841" y="4647"/>
                  </a:cubicBezTo>
                  <a:cubicBezTo>
                    <a:pt x="5971" y="4647"/>
                    <a:pt x="5971" y="4647"/>
                    <a:pt x="5971" y="4532"/>
                  </a:cubicBezTo>
                  <a:cubicBezTo>
                    <a:pt x="5971" y="4532"/>
                    <a:pt x="5971" y="4532"/>
                    <a:pt x="5971" y="4417"/>
                  </a:cubicBezTo>
                  <a:cubicBezTo>
                    <a:pt x="5971" y="4302"/>
                    <a:pt x="5971" y="4302"/>
                    <a:pt x="5971" y="4302"/>
                  </a:cubicBezTo>
                  <a:cubicBezTo>
                    <a:pt x="6101" y="4187"/>
                    <a:pt x="6231" y="4072"/>
                    <a:pt x="6361" y="4072"/>
                  </a:cubicBezTo>
                  <a:cubicBezTo>
                    <a:pt x="6361" y="4072"/>
                    <a:pt x="6231" y="3842"/>
                    <a:pt x="6491" y="4072"/>
                  </a:cubicBezTo>
                  <a:cubicBezTo>
                    <a:pt x="6621" y="4187"/>
                    <a:pt x="6621" y="4187"/>
                    <a:pt x="6751" y="4302"/>
                  </a:cubicBezTo>
                  <a:cubicBezTo>
                    <a:pt x="6882" y="4302"/>
                    <a:pt x="7142" y="4417"/>
                    <a:pt x="7142" y="4302"/>
                  </a:cubicBezTo>
                  <a:cubicBezTo>
                    <a:pt x="7142" y="4302"/>
                    <a:pt x="7142" y="4187"/>
                    <a:pt x="7142" y="4072"/>
                  </a:cubicBezTo>
                  <a:cubicBezTo>
                    <a:pt x="7142" y="4072"/>
                    <a:pt x="7012" y="4072"/>
                    <a:pt x="7142" y="3957"/>
                  </a:cubicBezTo>
                  <a:cubicBezTo>
                    <a:pt x="7142" y="3957"/>
                    <a:pt x="7142" y="3957"/>
                    <a:pt x="7272" y="3957"/>
                  </a:cubicBezTo>
                  <a:cubicBezTo>
                    <a:pt x="7532" y="4072"/>
                    <a:pt x="7402" y="4072"/>
                    <a:pt x="7532" y="4187"/>
                  </a:cubicBezTo>
                  <a:cubicBezTo>
                    <a:pt x="7792" y="4302"/>
                    <a:pt x="7792" y="4302"/>
                    <a:pt x="7792" y="4302"/>
                  </a:cubicBezTo>
                  <a:cubicBezTo>
                    <a:pt x="7922" y="4302"/>
                    <a:pt x="7922" y="4302"/>
                    <a:pt x="8053" y="4302"/>
                  </a:cubicBezTo>
                  <a:cubicBezTo>
                    <a:pt x="8183" y="4302"/>
                    <a:pt x="8053" y="4187"/>
                    <a:pt x="8313" y="4417"/>
                  </a:cubicBezTo>
                  <a:cubicBezTo>
                    <a:pt x="8443" y="4532"/>
                    <a:pt x="8443" y="4532"/>
                    <a:pt x="8573" y="4532"/>
                  </a:cubicBezTo>
                  <a:cubicBezTo>
                    <a:pt x="8703" y="4647"/>
                    <a:pt x="8963" y="4532"/>
                    <a:pt x="8963" y="4532"/>
                  </a:cubicBezTo>
                  <a:cubicBezTo>
                    <a:pt x="8963" y="4532"/>
                    <a:pt x="8963" y="4417"/>
                    <a:pt x="9094" y="4647"/>
                  </a:cubicBezTo>
                  <a:cubicBezTo>
                    <a:pt x="9224" y="4876"/>
                    <a:pt x="9354" y="4876"/>
                    <a:pt x="9354" y="4876"/>
                  </a:cubicBezTo>
                  <a:cubicBezTo>
                    <a:pt x="9354" y="4991"/>
                    <a:pt x="9484" y="5106"/>
                    <a:pt x="9484" y="5106"/>
                  </a:cubicBezTo>
                  <a:cubicBezTo>
                    <a:pt x="9484" y="5106"/>
                    <a:pt x="9484" y="5106"/>
                    <a:pt x="9484" y="5221"/>
                  </a:cubicBezTo>
                  <a:cubicBezTo>
                    <a:pt x="9484" y="5221"/>
                    <a:pt x="9484" y="5336"/>
                    <a:pt x="9614" y="5336"/>
                  </a:cubicBezTo>
                  <a:cubicBezTo>
                    <a:pt x="9614" y="5336"/>
                    <a:pt x="9744" y="5336"/>
                    <a:pt x="9744" y="5336"/>
                  </a:cubicBezTo>
                  <a:cubicBezTo>
                    <a:pt x="9744" y="5336"/>
                    <a:pt x="9874" y="5221"/>
                    <a:pt x="9874" y="5221"/>
                  </a:cubicBezTo>
                  <a:cubicBezTo>
                    <a:pt x="9874" y="5221"/>
                    <a:pt x="10135" y="5106"/>
                    <a:pt x="10135" y="5106"/>
                  </a:cubicBezTo>
                  <a:cubicBezTo>
                    <a:pt x="10135" y="5106"/>
                    <a:pt x="10135" y="4991"/>
                    <a:pt x="10395" y="5106"/>
                  </a:cubicBezTo>
                  <a:cubicBezTo>
                    <a:pt x="10525" y="5106"/>
                    <a:pt x="10785" y="5221"/>
                    <a:pt x="10785" y="5221"/>
                  </a:cubicBezTo>
                  <a:cubicBezTo>
                    <a:pt x="10785" y="5221"/>
                    <a:pt x="10785" y="5336"/>
                    <a:pt x="10785" y="5336"/>
                  </a:cubicBezTo>
                  <a:cubicBezTo>
                    <a:pt x="10915" y="5336"/>
                    <a:pt x="11306" y="5336"/>
                    <a:pt x="11306" y="5336"/>
                  </a:cubicBezTo>
                  <a:cubicBezTo>
                    <a:pt x="11436" y="5451"/>
                    <a:pt x="11436" y="5451"/>
                    <a:pt x="11436" y="5451"/>
                  </a:cubicBezTo>
                  <a:cubicBezTo>
                    <a:pt x="11436" y="5451"/>
                    <a:pt x="11566" y="5566"/>
                    <a:pt x="11566" y="5566"/>
                  </a:cubicBezTo>
                  <a:cubicBezTo>
                    <a:pt x="11566" y="5681"/>
                    <a:pt x="11696" y="5910"/>
                    <a:pt x="11696" y="5910"/>
                  </a:cubicBezTo>
                  <a:cubicBezTo>
                    <a:pt x="12086" y="6025"/>
                    <a:pt x="12086" y="6025"/>
                    <a:pt x="12086" y="6025"/>
                  </a:cubicBezTo>
                  <a:cubicBezTo>
                    <a:pt x="11826" y="5681"/>
                    <a:pt x="11826" y="5681"/>
                    <a:pt x="11826" y="5681"/>
                  </a:cubicBezTo>
                  <a:cubicBezTo>
                    <a:pt x="11826" y="5681"/>
                    <a:pt x="11566" y="5451"/>
                    <a:pt x="11826" y="5451"/>
                  </a:cubicBezTo>
                  <a:cubicBezTo>
                    <a:pt x="12086" y="5451"/>
                    <a:pt x="12216" y="5336"/>
                    <a:pt x="12216" y="5336"/>
                  </a:cubicBezTo>
                  <a:cubicBezTo>
                    <a:pt x="12216" y="5221"/>
                    <a:pt x="12216" y="5221"/>
                    <a:pt x="12216" y="5221"/>
                  </a:cubicBezTo>
                  <a:cubicBezTo>
                    <a:pt x="11826" y="5221"/>
                    <a:pt x="11826" y="5221"/>
                    <a:pt x="11826" y="5221"/>
                  </a:cubicBezTo>
                  <a:cubicBezTo>
                    <a:pt x="11826" y="5221"/>
                    <a:pt x="11826" y="4991"/>
                    <a:pt x="11826" y="4991"/>
                  </a:cubicBezTo>
                  <a:cubicBezTo>
                    <a:pt x="11956" y="4991"/>
                    <a:pt x="12086" y="4762"/>
                    <a:pt x="12347" y="4762"/>
                  </a:cubicBezTo>
                  <a:cubicBezTo>
                    <a:pt x="12607" y="4762"/>
                    <a:pt x="12867" y="4647"/>
                    <a:pt x="12867" y="4647"/>
                  </a:cubicBezTo>
                  <a:cubicBezTo>
                    <a:pt x="12867" y="4647"/>
                    <a:pt x="12867" y="4532"/>
                    <a:pt x="13127" y="4532"/>
                  </a:cubicBezTo>
                  <a:cubicBezTo>
                    <a:pt x="13388" y="4532"/>
                    <a:pt x="13518" y="4532"/>
                    <a:pt x="13648" y="4532"/>
                  </a:cubicBezTo>
                  <a:cubicBezTo>
                    <a:pt x="13778" y="4532"/>
                    <a:pt x="13778" y="4532"/>
                    <a:pt x="13778" y="4417"/>
                  </a:cubicBezTo>
                  <a:cubicBezTo>
                    <a:pt x="13778" y="4302"/>
                    <a:pt x="13648" y="4302"/>
                    <a:pt x="13908" y="4187"/>
                  </a:cubicBezTo>
                  <a:cubicBezTo>
                    <a:pt x="14038" y="4187"/>
                    <a:pt x="14168" y="4072"/>
                    <a:pt x="14168" y="4072"/>
                  </a:cubicBezTo>
                  <a:cubicBezTo>
                    <a:pt x="14298" y="3613"/>
                    <a:pt x="14298" y="3613"/>
                    <a:pt x="14298" y="3613"/>
                  </a:cubicBezTo>
                  <a:cubicBezTo>
                    <a:pt x="13778" y="3842"/>
                    <a:pt x="13778" y="3842"/>
                    <a:pt x="13778" y="3842"/>
                  </a:cubicBezTo>
                  <a:cubicBezTo>
                    <a:pt x="13778" y="3842"/>
                    <a:pt x="13778" y="3613"/>
                    <a:pt x="13648" y="3613"/>
                  </a:cubicBezTo>
                  <a:cubicBezTo>
                    <a:pt x="13518" y="3613"/>
                    <a:pt x="13127" y="3842"/>
                    <a:pt x="13127" y="3842"/>
                  </a:cubicBezTo>
                  <a:cubicBezTo>
                    <a:pt x="13127" y="3842"/>
                    <a:pt x="13127" y="3727"/>
                    <a:pt x="12997" y="3727"/>
                  </a:cubicBezTo>
                  <a:cubicBezTo>
                    <a:pt x="12997" y="3613"/>
                    <a:pt x="12997" y="3613"/>
                    <a:pt x="12867" y="3613"/>
                  </a:cubicBezTo>
                  <a:cubicBezTo>
                    <a:pt x="12737" y="3613"/>
                    <a:pt x="12867" y="3613"/>
                    <a:pt x="12607" y="3498"/>
                  </a:cubicBezTo>
                  <a:cubicBezTo>
                    <a:pt x="12347" y="3383"/>
                    <a:pt x="12216" y="3153"/>
                    <a:pt x="12216" y="3153"/>
                  </a:cubicBezTo>
                  <a:cubicBezTo>
                    <a:pt x="12216" y="3153"/>
                    <a:pt x="12347" y="3153"/>
                    <a:pt x="12086" y="3153"/>
                  </a:cubicBezTo>
                  <a:cubicBezTo>
                    <a:pt x="11956" y="3038"/>
                    <a:pt x="11956" y="3038"/>
                    <a:pt x="11956" y="3038"/>
                  </a:cubicBezTo>
                  <a:cubicBezTo>
                    <a:pt x="11826" y="2923"/>
                    <a:pt x="11826" y="2923"/>
                    <a:pt x="12086" y="2808"/>
                  </a:cubicBezTo>
                  <a:cubicBezTo>
                    <a:pt x="12216" y="2693"/>
                    <a:pt x="12086" y="2693"/>
                    <a:pt x="12347" y="2579"/>
                  </a:cubicBezTo>
                  <a:cubicBezTo>
                    <a:pt x="12477" y="2464"/>
                    <a:pt x="12347" y="2349"/>
                    <a:pt x="12607" y="2464"/>
                  </a:cubicBezTo>
                  <a:cubicBezTo>
                    <a:pt x="12997" y="2579"/>
                    <a:pt x="12997" y="2579"/>
                    <a:pt x="13127" y="2693"/>
                  </a:cubicBezTo>
                  <a:cubicBezTo>
                    <a:pt x="13257" y="2693"/>
                    <a:pt x="13778" y="2693"/>
                    <a:pt x="13518" y="2579"/>
                  </a:cubicBezTo>
                  <a:cubicBezTo>
                    <a:pt x="13388" y="2464"/>
                    <a:pt x="13127" y="2349"/>
                    <a:pt x="13127" y="2234"/>
                  </a:cubicBezTo>
                  <a:cubicBezTo>
                    <a:pt x="13127" y="2234"/>
                    <a:pt x="12867" y="2234"/>
                    <a:pt x="13127" y="2234"/>
                  </a:cubicBezTo>
                  <a:cubicBezTo>
                    <a:pt x="13257" y="2234"/>
                    <a:pt x="13388" y="2119"/>
                    <a:pt x="13518" y="2234"/>
                  </a:cubicBezTo>
                  <a:cubicBezTo>
                    <a:pt x="13518" y="2234"/>
                    <a:pt x="13257" y="2234"/>
                    <a:pt x="13648" y="2234"/>
                  </a:cubicBezTo>
                  <a:cubicBezTo>
                    <a:pt x="14038" y="2234"/>
                    <a:pt x="14168" y="2234"/>
                    <a:pt x="13908" y="2119"/>
                  </a:cubicBezTo>
                  <a:cubicBezTo>
                    <a:pt x="13778" y="2004"/>
                    <a:pt x="13778" y="2004"/>
                    <a:pt x="13648" y="1889"/>
                  </a:cubicBezTo>
                  <a:cubicBezTo>
                    <a:pt x="13648" y="1774"/>
                    <a:pt x="13518" y="1774"/>
                    <a:pt x="13648" y="1774"/>
                  </a:cubicBezTo>
                  <a:cubicBezTo>
                    <a:pt x="13648" y="1659"/>
                    <a:pt x="13648" y="1774"/>
                    <a:pt x="13778" y="1659"/>
                  </a:cubicBezTo>
                  <a:cubicBezTo>
                    <a:pt x="13778" y="1545"/>
                    <a:pt x="13778" y="1430"/>
                    <a:pt x="13778" y="1430"/>
                  </a:cubicBezTo>
                  <a:cubicBezTo>
                    <a:pt x="13778" y="1430"/>
                    <a:pt x="13648" y="1430"/>
                    <a:pt x="13778" y="1315"/>
                  </a:cubicBezTo>
                  <a:cubicBezTo>
                    <a:pt x="14038" y="1085"/>
                    <a:pt x="14038" y="1085"/>
                    <a:pt x="14168" y="1085"/>
                  </a:cubicBezTo>
                  <a:cubicBezTo>
                    <a:pt x="14168" y="1085"/>
                    <a:pt x="14298" y="970"/>
                    <a:pt x="14428" y="970"/>
                  </a:cubicBezTo>
                  <a:cubicBezTo>
                    <a:pt x="14428" y="855"/>
                    <a:pt x="14559" y="625"/>
                    <a:pt x="14559" y="625"/>
                  </a:cubicBezTo>
                  <a:cubicBezTo>
                    <a:pt x="14949" y="625"/>
                    <a:pt x="14949" y="625"/>
                    <a:pt x="14949" y="625"/>
                  </a:cubicBezTo>
                  <a:cubicBezTo>
                    <a:pt x="14949" y="625"/>
                    <a:pt x="15079" y="625"/>
                    <a:pt x="15079" y="625"/>
                  </a:cubicBezTo>
                  <a:cubicBezTo>
                    <a:pt x="15079" y="740"/>
                    <a:pt x="15079" y="510"/>
                    <a:pt x="15079" y="510"/>
                  </a:cubicBezTo>
                  <a:cubicBezTo>
                    <a:pt x="15079" y="510"/>
                    <a:pt x="15209" y="510"/>
                    <a:pt x="15209" y="510"/>
                  </a:cubicBezTo>
                  <a:cubicBezTo>
                    <a:pt x="15339" y="625"/>
                    <a:pt x="15339" y="625"/>
                    <a:pt x="15339" y="625"/>
                  </a:cubicBezTo>
                  <a:cubicBezTo>
                    <a:pt x="15469" y="740"/>
                    <a:pt x="15600" y="625"/>
                    <a:pt x="15600" y="625"/>
                  </a:cubicBezTo>
                  <a:cubicBezTo>
                    <a:pt x="15600" y="625"/>
                    <a:pt x="15730" y="510"/>
                    <a:pt x="15860" y="510"/>
                  </a:cubicBezTo>
                  <a:cubicBezTo>
                    <a:pt x="15990" y="510"/>
                    <a:pt x="16120" y="510"/>
                    <a:pt x="16120" y="510"/>
                  </a:cubicBezTo>
                  <a:cubicBezTo>
                    <a:pt x="16120" y="625"/>
                    <a:pt x="16120" y="625"/>
                    <a:pt x="16120" y="740"/>
                  </a:cubicBezTo>
                  <a:cubicBezTo>
                    <a:pt x="16250" y="740"/>
                    <a:pt x="16380" y="855"/>
                    <a:pt x="16380" y="855"/>
                  </a:cubicBezTo>
                  <a:cubicBezTo>
                    <a:pt x="16380" y="855"/>
                    <a:pt x="16641" y="855"/>
                    <a:pt x="16641" y="740"/>
                  </a:cubicBezTo>
                  <a:cubicBezTo>
                    <a:pt x="16641" y="740"/>
                    <a:pt x="16510" y="740"/>
                    <a:pt x="16771" y="625"/>
                  </a:cubicBezTo>
                  <a:cubicBezTo>
                    <a:pt x="17031" y="396"/>
                    <a:pt x="17161" y="396"/>
                    <a:pt x="17161" y="396"/>
                  </a:cubicBezTo>
                  <a:cubicBezTo>
                    <a:pt x="17161" y="396"/>
                    <a:pt x="17161" y="281"/>
                    <a:pt x="17291" y="281"/>
                  </a:cubicBezTo>
                  <a:cubicBezTo>
                    <a:pt x="17421" y="396"/>
                    <a:pt x="17421" y="281"/>
                    <a:pt x="17421" y="396"/>
                  </a:cubicBezTo>
                  <a:cubicBezTo>
                    <a:pt x="17421" y="396"/>
                    <a:pt x="17551" y="510"/>
                    <a:pt x="17551" y="510"/>
                  </a:cubicBezTo>
                  <a:cubicBezTo>
                    <a:pt x="17551" y="510"/>
                    <a:pt x="17551" y="855"/>
                    <a:pt x="17551" y="855"/>
                  </a:cubicBezTo>
                  <a:cubicBezTo>
                    <a:pt x="17551" y="970"/>
                    <a:pt x="17551" y="970"/>
                    <a:pt x="17551" y="970"/>
                  </a:cubicBezTo>
                  <a:cubicBezTo>
                    <a:pt x="17551" y="970"/>
                    <a:pt x="17551" y="1085"/>
                    <a:pt x="17551" y="1085"/>
                  </a:cubicBezTo>
                  <a:cubicBezTo>
                    <a:pt x="17551" y="1200"/>
                    <a:pt x="17682" y="1430"/>
                    <a:pt x="17682" y="1430"/>
                  </a:cubicBezTo>
                  <a:cubicBezTo>
                    <a:pt x="17682" y="1430"/>
                    <a:pt x="17682" y="1430"/>
                    <a:pt x="17682" y="1430"/>
                  </a:cubicBezTo>
                  <a:cubicBezTo>
                    <a:pt x="17551" y="1545"/>
                    <a:pt x="17551" y="1430"/>
                    <a:pt x="17551" y="1545"/>
                  </a:cubicBezTo>
                  <a:cubicBezTo>
                    <a:pt x="17421" y="1659"/>
                    <a:pt x="17551" y="1659"/>
                    <a:pt x="17421" y="1774"/>
                  </a:cubicBezTo>
                  <a:cubicBezTo>
                    <a:pt x="17421" y="1774"/>
                    <a:pt x="17291" y="1774"/>
                    <a:pt x="17291" y="1774"/>
                  </a:cubicBezTo>
                  <a:cubicBezTo>
                    <a:pt x="17291" y="1774"/>
                    <a:pt x="17421" y="1889"/>
                    <a:pt x="17421" y="1889"/>
                  </a:cubicBezTo>
                  <a:cubicBezTo>
                    <a:pt x="17421" y="1889"/>
                    <a:pt x="17421" y="1889"/>
                    <a:pt x="17551" y="1889"/>
                  </a:cubicBezTo>
                  <a:cubicBezTo>
                    <a:pt x="17551" y="1889"/>
                    <a:pt x="17551" y="1774"/>
                    <a:pt x="17682" y="1774"/>
                  </a:cubicBezTo>
                  <a:cubicBezTo>
                    <a:pt x="17682" y="1889"/>
                    <a:pt x="17682" y="1659"/>
                    <a:pt x="17682" y="1659"/>
                  </a:cubicBezTo>
                  <a:cubicBezTo>
                    <a:pt x="17682" y="1659"/>
                    <a:pt x="17682" y="1659"/>
                    <a:pt x="17812" y="1545"/>
                  </a:cubicBezTo>
                  <a:cubicBezTo>
                    <a:pt x="17812" y="1545"/>
                    <a:pt x="17942" y="1430"/>
                    <a:pt x="17942" y="1315"/>
                  </a:cubicBezTo>
                  <a:cubicBezTo>
                    <a:pt x="17942" y="1315"/>
                    <a:pt x="17812" y="1200"/>
                    <a:pt x="17812" y="1200"/>
                  </a:cubicBezTo>
                  <a:cubicBezTo>
                    <a:pt x="17812" y="1200"/>
                    <a:pt x="17682" y="970"/>
                    <a:pt x="17682" y="855"/>
                  </a:cubicBezTo>
                  <a:cubicBezTo>
                    <a:pt x="17682" y="855"/>
                    <a:pt x="17682" y="855"/>
                    <a:pt x="17682" y="740"/>
                  </a:cubicBezTo>
                  <a:cubicBezTo>
                    <a:pt x="17812" y="740"/>
                    <a:pt x="17812" y="625"/>
                    <a:pt x="17812" y="625"/>
                  </a:cubicBezTo>
                  <a:cubicBezTo>
                    <a:pt x="17942" y="510"/>
                    <a:pt x="18072" y="396"/>
                    <a:pt x="18072" y="396"/>
                  </a:cubicBezTo>
                  <a:cubicBezTo>
                    <a:pt x="18072" y="396"/>
                    <a:pt x="18332" y="396"/>
                    <a:pt x="18462" y="396"/>
                  </a:cubicBezTo>
                  <a:cubicBezTo>
                    <a:pt x="18462" y="396"/>
                    <a:pt x="18332" y="281"/>
                    <a:pt x="18592" y="396"/>
                  </a:cubicBezTo>
                  <a:cubicBezTo>
                    <a:pt x="18722" y="510"/>
                    <a:pt x="18722" y="510"/>
                    <a:pt x="18722" y="510"/>
                  </a:cubicBezTo>
                  <a:cubicBezTo>
                    <a:pt x="18722" y="625"/>
                    <a:pt x="18592" y="625"/>
                    <a:pt x="18853" y="625"/>
                  </a:cubicBezTo>
                  <a:cubicBezTo>
                    <a:pt x="18983" y="625"/>
                    <a:pt x="19113" y="625"/>
                    <a:pt x="18983" y="625"/>
                  </a:cubicBezTo>
                  <a:cubicBezTo>
                    <a:pt x="18853" y="510"/>
                    <a:pt x="18853" y="396"/>
                    <a:pt x="18722" y="396"/>
                  </a:cubicBezTo>
                  <a:cubicBezTo>
                    <a:pt x="18722" y="396"/>
                    <a:pt x="18592" y="281"/>
                    <a:pt x="18592" y="281"/>
                  </a:cubicBezTo>
                  <a:cubicBezTo>
                    <a:pt x="18592" y="166"/>
                    <a:pt x="18592" y="-64"/>
                    <a:pt x="18722" y="51"/>
                  </a:cubicBezTo>
                  <a:cubicBezTo>
                    <a:pt x="18853" y="51"/>
                    <a:pt x="18722" y="-64"/>
                    <a:pt x="18853" y="51"/>
                  </a:cubicBezTo>
                  <a:cubicBezTo>
                    <a:pt x="19113" y="281"/>
                    <a:pt x="19243" y="396"/>
                    <a:pt x="19243" y="396"/>
                  </a:cubicBezTo>
                  <a:cubicBezTo>
                    <a:pt x="19243" y="510"/>
                    <a:pt x="19373" y="510"/>
                    <a:pt x="19373" y="510"/>
                  </a:cubicBezTo>
                  <a:cubicBezTo>
                    <a:pt x="19373" y="625"/>
                    <a:pt x="19373" y="625"/>
                    <a:pt x="19373" y="625"/>
                  </a:cubicBezTo>
                  <a:cubicBezTo>
                    <a:pt x="19503" y="740"/>
                    <a:pt x="19633" y="855"/>
                    <a:pt x="19633" y="855"/>
                  </a:cubicBezTo>
                  <a:cubicBezTo>
                    <a:pt x="19633" y="855"/>
                    <a:pt x="19633" y="855"/>
                    <a:pt x="19763" y="855"/>
                  </a:cubicBezTo>
                  <a:cubicBezTo>
                    <a:pt x="19763" y="970"/>
                    <a:pt x="20024" y="1085"/>
                    <a:pt x="20024" y="1085"/>
                  </a:cubicBezTo>
                  <a:cubicBezTo>
                    <a:pt x="20024" y="1085"/>
                    <a:pt x="20154" y="1200"/>
                    <a:pt x="20154" y="1200"/>
                  </a:cubicBezTo>
                  <a:cubicBezTo>
                    <a:pt x="20024" y="1315"/>
                    <a:pt x="20024" y="1430"/>
                    <a:pt x="20024" y="1430"/>
                  </a:cubicBezTo>
                  <a:cubicBezTo>
                    <a:pt x="19763" y="1774"/>
                    <a:pt x="19763" y="1774"/>
                    <a:pt x="19763" y="1774"/>
                  </a:cubicBezTo>
                  <a:cubicBezTo>
                    <a:pt x="19633" y="2004"/>
                    <a:pt x="19633" y="2004"/>
                    <a:pt x="19633" y="2004"/>
                  </a:cubicBezTo>
                  <a:cubicBezTo>
                    <a:pt x="19633" y="2119"/>
                    <a:pt x="19633" y="2119"/>
                    <a:pt x="19633" y="2119"/>
                  </a:cubicBezTo>
                  <a:cubicBezTo>
                    <a:pt x="19503" y="2234"/>
                    <a:pt x="19503" y="2349"/>
                    <a:pt x="19503" y="2349"/>
                  </a:cubicBezTo>
                  <a:cubicBezTo>
                    <a:pt x="19503" y="2349"/>
                    <a:pt x="19373" y="2464"/>
                    <a:pt x="19113" y="2464"/>
                  </a:cubicBezTo>
                  <a:cubicBezTo>
                    <a:pt x="18853" y="2349"/>
                    <a:pt x="18592" y="2579"/>
                    <a:pt x="18592" y="2579"/>
                  </a:cubicBezTo>
                  <a:cubicBezTo>
                    <a:pt x="18592" y="2579"/>
                    <a:pt x="17942" y="2464"/>
                    <a:pt x="17812" y="2464"/>
                  </a:cubicBezTo>
                  <a:cubicBezTo>
                    <a:pt x="17682" y="2464"/>
                    <a:pt x="17682" y="2923"/>
                    <a:pt x="17682" y="3038"/>
                  </a:cubicBezTo>
                  <a:cubicBezTo>
                    <a:pt x="17682" y="3153"/>
                    <a:pt x="17421" y="3268"/>
                    <a:pt x="17031" y="3268"/>
                  </a:cubicBezTo>
                  <a:cubicBezTo>
                    <a:pt x="16641" y="3383"/>
                    <a:pt x="16901" y="3383"/>
                    <a:pt x="16771" y="3727"/>
                  </a:cubicBezTo>
                  <a:cubicBezTo>
                    <a:pt x="16641" y="4187"/>
                    <a:pt x="16510" y="3842"/>
                    <a:pt x="16250" y="3727"/>
                  </a:cubicBezTo>
                  <a:cubicBezTo>
                    <a:pt x="15990" y="3727"/>
                    <a:pt x="15990" y="3727"/>
                    <a:pt x="15600" y="3727"/>
                  </a:cubicBezTo>
                  <a:cubicBezTo>
                    <a:pt x="15209" y="3842"/>
                    <a:pt x="15469" y="4072"/>
                    <a:pt x="15469" y="4072"/>
                  </a:cubicBezTo>
                  <a:cubicBezTo>
                    <a:pt x="15469" y="4072"/>
                    <a:pt x="15730" y="4302"/>
                    <a:pt x="15860" y="4302"/>
                  </a:cubicBezTo>
                  <a:cubicBezTo>
                    <a:pt x="16120" y="4417"/>
                    <a:pt x="15860" y="4647"/>
                    <a:pt x="15860" y="4647"/>
                  </a:cubicBezTo>
                  <a:cubicBezTo>
                    <a:pt x="15860" y="4647"/>
                    <a:pt x="15730" y="4876"/>
                    <a:pt x="15600" y="4876"/>
                  </a:cubicBezTo>
                  <a:cubicBezTo>
                    <a:pt x="15469" y="4762"/>
                    <a:pt x="14819" y="4762"/>
                    <a:pt x="14819" y="4762"/>
                  </a:cubicBezTo>
                  <a:cubicBezTo>
                    <a:pt x="14168" y="5106"/>
                    <a:pt x="14168" y="5106"/>
                    <a:pt x="14168" y="5106"/>
                  </a:cubicBezTo>
                  <a:cubicBezTo>
                    <a:pt x="14168" y="5106"/>
                    <a:pt x="14298" y="5566"/>
                    <a:pt x="14689" y="6025"/>
                  </a:cubicBezTo>
                  <a:cubicBezTo>
                    <a:pt x="15079" y="6485"/>
                    <a:pt x="14689" y="6140"/>
                    <a:pt x="14689" y="6140"/>
                  </a:cubicBezTo>
                  <a:cubicBezTo>
                    <a:pt x="14689" y="6140"/>
                    <a:pt x="14819" y="6485"/>
                    <a:pt x="14819" y="6715"/>
                  </a:cubicBezTo>
                  <a:cubicBezTo>
                    <a:pt x="14819" y="6945"/>
                    <a:pt x="14819" y="6830"/>
                    <a:pt x="14949" y="6830"/>
                  </a:cubicBezTo>
                  <a:cubicBezTo>
                    <a:pt x="15079" y="6830"/>
                    <a:pt x="15339" y="6830"/>
                    <a:pt x="15339" y="6830"/>
                  </a:cubicBezTo>
                  <a:cubicBezTo>
                    <a:pt x="15339" y="6830"/>
                    <a:pt x="15860" y="7519"/>
                    <a:pt x="15860" y="7519"/>
                  </a:cubicBezTo>
                  <a:cubicBezTo>
                    <a:pt x="15990" y="7519"/>
                    <a:pt x="16641" y="7404"/>
                    <a:pt x="16641" y="7404"/>
                  </a:cubicBezTo>
                  <a:cubicBezTo>
                    <a:pt x="16641" y="7404"/>
                    <a:pt x="17161" y="7289"/>
                    <a:pt x="17421" y="7289"/>
                  </a:cubicBezTo>
                  <a:cubicBezTo>
                    <a:pt x="17682" y="7174"/>
                    <a:pt x="17421" y="6945"/>
                    <a:pt x="17421" y="6945"/>
                  </a:cubicBezTo>
                  <a:cubicBezTo>
                    <a:pt x="17682" y="6370"/>
                    <a:pt x="17682" y="6370"/>
                    <a:pt x="17682" y="6370"/>
                  </a:cubicBezTo>
                  <a:cubicBezTo>
                    <a:pt x="18462" y="6255"/>
                    <a:pt x="18462" y="6255"/>
                    <a:pt x="18462" y="6255"/>
                  </a:cubicBezTo>
                  <a:cubicBezTo>
                    <a:pt x="18853" y="6945"/>
                    <a:pt x="18853" y="6945"/>
                    <a:pt x="18853" y="6945"/>
                  </a:cubicBezTo>
                  <a:cubicBezTo>
                    <a:pt x="18722" y="7404"/>
                    <a:pt x="18722" y="7404"/>
                    <a:pt x="18722" y="7404"/>
                  </a:cubicBezTo>
                  <a:cubicBezTo>
                    <a:pt x="19373" y="7979"/>
                    <a:pt x="19373" y="7979"/>
                    <a:pt x="19373" y="7979"/>
                  </a:cubicBezTo>
                  <a:cubicBezTo>
                    <a:pt x="19503" y="8553"/>
                    <a:pt x="19503" y="8553"/>
                    <a:pt x="19503" y="8553"/>
                  </a:cubicBezTo>
                  <a:cubicBezTo>
                    <a:pt x="19503" y="8553"/>
                    <a:pt x="20154" y="8668"/>
                    <a:pt x="20284" y="8783"/>
                  </a:cubicBezTo>
                  <a:cubicBezTo>
                    <a:pt x="20414" y="8783"/>
                    <a:pt x="20804" y="8668"/>
                    <a:pt x="20804" y="8668"/>
                  </a:cubicBezTo>
                  <a:cubicBezTo>
                    <a:pt x="21325" y="9242"/>
                    <a:pt x="21325" y="9242"/>
                    <a:pt x="21325" y="9242"/>
                  </a:cubicBezTo>
                  <a:cubicBezTo>
                    <a:pt x="21455" y="9127"/>
                    <a:pt x="21455" y="9127"/>
                    <a:pt x="21455" y="9127"/>
                  </a:cubicBezTo>
                  <a:cubicBezTo>
                    <a:pt x="21455" y="9242"/>
                    <a:pt x="21455" y="9242"/>
                    <a:pt x="21455" y="9242"/>
                  </a:cubicBezTo>
                  <a:cubicBezTo>
                    <a:pt x="21455" y="9242"/>
                    <a:pt x="21455" y="9472"/>
                    <a:pt x="21325" y="9472"/>
                  </a:cubicBezTo>
                  <a:cubicBezTo>
                    <a:pt x="21065" y="9357"/>
                    <a:pt x="20935" y="9357"/>
                    <a:pt x="20935" y="9357"/>
                  </a:cubicBezTo>
                  <a:cubicBezTo>
                    <a:pt x="20544" y="9127"/>
                    <a:pt x="20544" y="9127"/>
                    <a:pt x="20544" y="9127"/>
                  </a:cubicBezTo>
                  <a:cubicBezTo>
                    <a:pt x="20414" y="9242"/>
                    <a:pt x="20414" y="9242"/>
                    <a:pt x="20414" y="9242"/>
                  </a:cubicBezTo>
                  <a:cubicBezTo>
                    <a:pt x="20024" y="9702"/>
                    <a:pt x="20024" y="9702"/>
                    <a:pt x="20024" y="9702"/>
                  </a:cubicBezTo>
                  <a:cubicBezTo>
                    <a:pt x="20284" y="9817"/>
                    <a:pt x="20284" y="9817"/>
                    <a:pt x="20284" y="9817"/>
                  </a:cubicBezTo>
                  <a:cubicBezTo>
                    <a:pt x="20544" y="10047"/>
                    <a:pt x="20544" y="10047"/>
                    <a:pt x="20544" y="10047"/>
                  </a:cubicBezTo>
                  <a:cubicBezTo>
                    <a:pt x="20544" y="10391"/>
                    <a:pt x="20544" y="10391"/>
                    <a:pt x="20544" y="10391"/>
                  </a:cubicBezTo>
                  <a:cubicBezTo>
                    <a:pt x="20544" y="10851"/>
                    <a:pt x="20544" y="10851"/>
                    <a:pt x="20544" y="10851"/>
                  </a:cubicBezTo>
                  <a:cubicBezTo>
                    <a:pt x="20284" y="11196"/>
                    <a:pt x="20284" y="11196"/>
                    <a:pt x="20284" y="11196"/>
                  </a:cubicBezTo>
                  <a:cubicBezTo>
                    <a:pt x="20284" y="11196"/>
                    <a:pt x="20414" y="11425"/>
                    <a:pt x="20414" y="11540"/>
                  </a:cubicBezTo>
                  <a:cubicBezTo>
                    <a:pt x="20414" y="11540"/>
                    <a:pt x="20674" y="11770"/>
                    <a:pt x="20674" y="11770"/>
                  </a:cubicBezTo>
                  <a:cubicBezTo>
                    <a:pt x="20935" y="12000"/>
                    <a:pt x="20935" y="12000"/>
                    <a:pt x="20935" y="12000"/>
                  </a:cubicBezTo>
                  <a:cubicBezTo>
                    <a:pt x="20674" y="12574"/>
                    <a:pt x="20674" y="12574"/>
                    <a:pt x="20674" y="12574"/>
                  </a:cubicBezTo>
                  <a:cubicBezTo>
                    <a:pt x="20414" y="12804"/>
                    <a:pt x="20414" y="12804"/>
                    <a:pt x="20414" y="12804"/>
                  </a:cubicBezTo>
                  <a:cubicBezTo>
                    <a:pt x="20414" y="13034"/>
                    <a:pt x="20414" y="13034"/>
                    <a:pt x="20414" y="13034"/>
                  </a:cubicBezTo>
                  <a:cubicBezTo>
                    <a:pt x="20414" y="13034"/>
                    <a:pt x="20674" y="13149"/>
                    <a:pt x="20544" y="13149"/>
                  </a:cubicBezTo>
                  <a:cubicBezTo>
                    <a:pt x="20414" y="13149"/>
                    <a:pt x="20154" y="13149"/>
                    <a:pt x="20154" y="13149"/>
                  </a:cubicBezTo>
                  <a:cubicBezTo>
                    <a:pt x="20154" y="13149"/>
                    <a:pt x="20154" y="13264"/>
                    <a:pt x="20154" y="13379"/>
                  </a:cubicBezTo>
                  <a:cubicBezTo>
                    <a:pt x="20154" y="13379"/>
                    <a:pt x="20284" y="13608"/>
                    <a:pt x="20284" y="13608"/>
                  </a:cubicBezTo>
                  <a:cubicBezTo>
                    <a:pt x="20284" y="13608"/>
                    <a:pt x="20414" y="13608"/>
                    <a:pt x="20414" y="13723"/>
                  </a:cubicBezTo>
                  <a:cubicBezTo>
                    <a:pt x="20414" y="13838"/>
                    <a:pt x="20284" y="14068"/>
                    <a:pt x="20284" y="14068"/>
                  </a:cubicBezTo>
                  <a:cubicBezTo>
                    <a:pt x="20284" y="14068"/>
                    <a:pt x="20154" y="14527"/>
                    <a:pt x="20154" y="14527"/>
                  </a:cubicBezTo>
                  <a:cubicBezTo>
                    <a:pt x="20284" y="14527"/>
                    <a:pt x="20284" y="14757"/>
                    <a:pt x="20284" y="14757"/>
                  </a:cubicBezTo>
                  <a:cubicBezTo>
                    <a:pt x="20284" y="15217"/>
                    <a:pt x="20284" y="15217"/>
                    <a:pt x="20284" y="15217"/>
                  </a:cubicBezTo>
                  <a:cubicBezTo>
                    <a:pt x="20154" y="15562"/>
                    <a:pt x="20154" y="15562"/>
                    <a:pt x="20154" y="15562"/>
                  </a:cubicBezTo>
                  <a:cubicBezTo>
                    <a:pt x="20284" y="15791"/>
                    <a:pt x="20284" y="15791"/>
                    <a:pt x="20284" y="15791"/>
                  </a:cubicBezTo>
                  <a:cubicBezTo>
                    <a:pt x="19894" y="16021"/>
                    <a:pt x="19894" y="16021"/>
                    <a:pt x="19894" y="16021"/>
                  </a:cubicBezTo>
                  <a:cubicBezTo>
                    <a:pt x="19763" y="16251"/>
                    <a:pt x="19763" y="16251"/>
                    <a:pt x="19763" y="16251"/>
                  </a:cubicBezTo>
                  <a:cubicBezTo>
                    <a:pt x="19763" y="16251"/>
                    <a:pt x="19503" y="16366"/>
                    <a:pt x="19503" y="16481"/>
                  </a:cubicBezTo>
                  <a:cubicBezTo>
                    <a:pt x="19503" y="16481"/>
                    <a:pt x="19373" y="16596"/>
                    <a:pt x="19373" y="16710"/>
                  </a:cubicBezTo>
                  <a:cubicBezTo>
                    <a:pt x="19373" y="16825"/>
                    <a:pt x="19243" y="16940"/>
                    <a:pt x="19243" y="16940"/>
                  </a:cubicBezTo>
                  <a:cubicBezTo>
                    <a:pt x="19113" y="17055"/>
                    <a:pt x="18853" y="17285"/>
                    <a:pt x="18853" y="17285"/>
                  </a:cubicBezTo>
                  <a:cubicBezTo>
                    <a:pt x="18722" y="17515"/>
                    <a:pt x="18722" y="17515"/>
                    <a:pt x="18722" y="17515"/>
                  </a:cubicBezTo>
                  <a:cubicBezTo>
                    <a:pt x="18722" y="17515"/>
                    <a:pt x="18853" y="17745"/>
                    <a:pt x="18853" y="17745"/>
                  </a:cubicBezTo>
                  <a:cubicBezTo>
                    <a:pt x="18853" y="17859"/>
                    <a:pt x="18853" y="17859"/>
                    <a:pt x="18853" y="17859"/>
                  </a:cubicBezTo>
                  <a:cubicBezTo>
                    <a:pt x="18592" y="18089"/>
                    <a:pt x="18592" y="18089"/>
                    <a:pt x="18592" y="18089"/>
                  </a:cubicBezTo>
                  <a:cubicBezTo>
                    <a:pt x="17942" y="18549"/>
                    <a:pt x="17942" y="18549"/>
                    <a:pt x="17942" y="18549"/>
                  </a:cubicBezTo>
                  <a:cubicBezTo>
                    <a:pt x="17942" y="18549"/>
                    <a:pt x="17942" y="18664"/>
                    <a:pt x="17812" y="18779"/>
                  </a:cubicBezTo>
                  <a:cubicBezTo>
                    <a:pt x="17812" y="19008"/>
                    <a:pt x="17682" y="19008"/>
                    <a:pt x="17682" y="19008"/>
                  </a:cubicBezTo>
                  <a:cubicBezTo>
                    <a:pt x="17682" y="19008"/>
                    <a:pt x="17551" y="19008"/>
                    <a:pt x="17421" y="19008"/>
                  </a:cubicBezTo>
                  <a:cubicBezTo>
                    <a:pt x="17421" y="19008"/>
                    <a:pt x="17291" y="18893"/>
                    <a:pt x="17291" y="18893"/>
                  </a:cubicBezTo>
                  <a:cubicBezTo>
                    <a:pt x="17291" y="19123"/>
                    <a:pt x="17291" y="19123"/>
                    <a:pt x="17291" y="19123"/>
                  </a:cubicBezTo>
                  <a:cubicBezTo>
                    <a:pt x="17291" y="19123"/>
                    <a:pt x="17291" y="19238"/>
                    <a:pt x="17421" y="19238"/>
                  </a:cubicBezTo>
                  <a:cubicBezTo>
                    <a:pt x="17551" y="19353"/>
                    <a:pt x="17551" y="19468"/>
                    <a:pt x="17682" y="19468"/>
                  </a:cubicBezTo>
                  <a:cubicBezTo>
                    <a:pt x="17682" y="19583"/>
                    <a:pt x="17812" y="19698"/>
                    <a:pt x="17812" y="19698"/>
                  </a:cubicBezTo>
                  <a:cubicBezTo>
                    <a:pt x="17551" y="19927"/>
                    <a:pt x="17551" y="19927"/>
                    <a:pt x="17551" y="19927"/>
                  </a:cubicBezTo>
                  <a:cubicBezTo>
                    <a:pt x="17551" y="20042"/>
                    <a:pt x="17551" y="20042"/>
                    <a:pt x="17551" y="20042"/>
                  </a:cubicBezTo>
                  <a:cubicBezTo>
                    <a:pt x="17291" y="20042"/>
                    <a:pt x="17291" y="20042"/>
                    <a:pt x="17291" y="20042"/>
                  </a:cubicBezTo>
                  <a:cubicBezTo>
                    <a:pt x="17161" y="19927"/>
                    <a:pt x="17161" y="19927"/>
                    <a:pt x="17161" y="19927"/>
                  </a:cubicBezTo>
                  <a:cubicBezTo>
                    <a:pt x="17161" y="19927"/>
                    <a:pt x="17031" y="19927"/>
                    <a:pt x="17031" y="19927"/>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2" name="Shape 2255">
              <a:extLst>
                <a:ext uri="{FF2B5EF4-FFF2-40B4-BE49-F238E27FC236}">
                  <a16:creationId xmlns:a16="http://schemas.microsoft.com/office/drawing/2014/main" id="{198B4D85-2102-A8FC-C186-72CBCF0C9999}"/>
                </a:ext>
              </a:extLst>
            </p:cNvPr>
            <p:cNvSpPr/>
            <p:nvPr/>
          </p:nvSpPr>
          <p:spPr>
            <a:xfrm>
              <a:off x="248548" y="6591606"/>
              <a:ext cx="733713" cy="1110166"/>
            </a:xfrm>
            <a:custGeom>
              <a:avLst/>
              <a:gdLst/>
              <a:ahLst/>
              <a:cxnLst>
                <a:cxn ang="0">
                  <a:pos x="wd2" y="hd2"/>
                </a:cxn>
                <a:cxn ang="5400000">
                  <a:pos x="wd2" y="hd2"/>
                </a:cxn>
                <a:cxn ang="10800000">
                  <a:pos x="wd2" y="hd2"/>
                </a:cxn>
                <a:cxn ang="16200000">
                  <a:pos x="wd2" y="hd2"/>
                </a:cxn>
              </a:cxnLst>
              <a:rect l="0" t="0" r="r" b="b"/>
              <a:pathLst>
                <a:path w="21600" h="21600" extrusionOk="0">
                  <a:moveTo>
                    <a:pt x="8980" y="699"/>
                  </a:moveTo>
                  <a:cubicBezTo>
                    <a:pt x="8980" y="699"/>
                    <a:pt x="9465" y="466"/>
                    <a:pt x="9465" y="466"/>
                  </a:cubicBezTo>
                  <a:cubicBezTo>
                    <a:pt x="9465" y="466"/>
                    <a:pt x="9587" y="388"/>
                    <a:pt x="9587" y="388"/>
                  </a:cubicBezTo>
                  <a:cubicBezTo>
                    <a:pt x="9708" y="388"/>
                    <a:pt x="9829" y="388"/>
                    <a:pt x="9951" y="388"/>
                  </a:cubicBezTo>
                  <a:cubicBezTo>
                    <a:pt x="9951" y="388"/>
                    <a:pt x="10072" y="311"/>
                    <a:pt x="10072" y="311"/>
                  </a:cubicBezTo>
                  <a:cubicBezTo>
                    <a:pt x="10193" y="233"/>
                    <a:pt x="10193" y="233"/>
                    <a:pt x="10193" y="233"/>
                  </a:cubicBezTo>
                  <a:cubicBezTo>
                    <a:pt x="10436" y="155"/>
                    <a:pt x="10436" y="155"/>
                    <a:pt x="10436" y="155"/>
                  </a:cubicBezTo>
                  <a:cubicBezTo>
                    <a:pt x="10679" y="155"/>
                    <a:pt x="10679" y="155"/>
                    <a:pt x="10679" y="155"/>
                  </a:cubicBezTo>
                  <a:cubicBezTo>
                    <a:pt x="10679" y="155"/>
                    <a:pt x="10800" y="155"/>
                    <a:pt x="10800" y="155"/>
                  </a:cubicBezTo>
                  <a:cubicBezTo>
                    <a:pt x="10800" y="155"/>
                    <a:pt x="11285" y="78"/>
                    <a:pt x="11285" y="78"/>
                  </a:cubicBezTo>
                  <a:cubicBezTo>
                    <a:pt x="11285" y="78"/>
                    <a:pt x="11407" y="155"/>
                    <a:pt x="11528" y="155"/>
                  </a:cubicBezTo>
                  <a:cubicBezTo>
                    <a:pt x="11528" y="155"/>
                    <a:pt x="11771" y="155"/>
                    <a:pt x="11771" y="155"/>
                  </a:cubicBezTo>
                  <a:cubicBezTo>
                    <a:pt x="11892" y="155"/>
                    <a:pt x="12135" y="78"/>
                    <a:pt x="12135" y="78"/>
                  </a:cubicBezTo>
                  <a:cubicBezTo>
                    <a:pt x="12620" y="0"/>
                    <a:pt x="12620" y="0"/>
                    <a:pt x="12620" y="0"/>
                  </a:cubicBezTo>
                  <a:cubicBezTo>
                    <a:pt x="12742" y="155"/>
                    <a:pt x="12742" y="155"/>
                    <a:pt x="12742" y="155"/>
                  </a:cubicBezTo>
                  <a:cubicBezTo>
                    <a:pt x="12742" y="155"/>
                    <a:pt x="12742" y="311"/>
                    <a:pt x="12742" y="311"/>
                  </a:cubicBezTo>
                  <a:cubicBezTo>
                    <a:pt x="12742" y="311"/>
                    <a:pt x="12742" y="388"/>
                    <a:pt x="12863" y="388"/>
                  </a:cubicBezTo>
                  <a:cubicBezTo>
                    <a:pt x="12984" y="388"/>
                    <a:pt x="12984" y="388"/>
                    <a:pt x="12984" y="388"/>
                  </a:cubicBezTo>
                  <a:cubicBezTo>
                    <a:pt x="12984" y="466"/>
                    <a:pt x="12984" y="699"/>
                    <a:pt x="12984" y="699"/>
                  </a:cubicBezTo>
                  <a:cubicBezTo>
                    <a:pt x="12620" y="777"/>
                    <a:pt x="12620" y="777"/>
                    <a:pt x="12620" y="777"/>
                  </a:cubicBezTo>
                  <a:cubicBezTo>
                    <a:pt x="12620" y="777"/>
                    <a:pt x="12499" y="777"/>
                    <a:pt x="12499" y="855"/>
                  </a:cubicBezTo>
                  <a:cubicBezTo>
                    <a:pt x="12499" y="855"/>
                    <a:pt x="12256" y="932"/>
                    <a:pt x="12256" y="932"/>
                  </a:cubicBezTo>
                  <a:cubicBezTo>
                    <a:pt x="12256" y="1010"/>
                    <a:pt x="12135" y="1010"/>
                    <a:pt x="12256" y="1088"/>
                  </a:cubicBezTo>
                  <a:cubicBezTo>
                    <a:pt x="12256" y="1165"/>
                    <a:pt x="12378" y="1243"/>
                    <a:pt x="12378" y="1243"/>
                  </a:cubicBezTo>
                  <a:cubicBezTo>
                    <a:pt x="12378" y="1399"/>
                    <a:pt x="12378" y="1399"/>
                    <a:pt x="12378" y="1399"/>
                  </a:cubicBezTo>
                  <a:cubicBezTo>
                    <a:pt x="12378" y="1399"/>
                    <a:pt x="12378" y="1476"/>
                    <a:pt x="12499" y="1476"/>
                  </a:cubicBezTo>
                  <a:cubicBezTo>
                    <a:pt x="12499" y="1554"/>
                    <a:pt x="12620" y="1476"/>
                    <a:pt x="12742" y="1476"/>
                  </a:cubicBezTo>
                  <a:cubicBezTo>
                    <a:pt x="12984" y="1476"/>
                    <a:pt x="13106" y="1399"/>
                    <a:pt x="13227" y="1399"/>
                  </a:cubicBezTo>
                  <a:cubicBezTo>
                    <a:pt x="13227" y="1399"/>
                    <a:pt x="13348" y="1399"/>
                    <a:pt x="13348" y="1399"/>
                  </a:cubicBezTo>
                  <a:cubicBezTo>
                    <a:pt x="13470" y="1321"/>
                    <a:pt x="13712" y="1243"/>
                    <a:pt x="13712" y="1243"/>
                  </a:cubicBezTo>
                  <a:cubicBezTo>
                    <a:pt x="13712" y="1243"/>
                    <a:pt x="13712" y="1088"/>
                    <a:pt x="13834" y="1165"/>
                  </a:cubicBezTo>
                  <a:cubicBezTo>
                    <a:pt x="13834" y="1165"/>
                    <a:pt x="13834" y="1321"/>
                    <a:pt x="13834" y="1321"/>
                  </a:cubicBezTo>
                  <a:cubicBezTo>
                    <a:pt x="13834" y="1321"/>
                    <a:pt x="13712" y="1476"/>
                    <a:pt x="13712" y="1476"/>
                  </a:cubicBezTo>
                  <a:cubicBezTo>
                    <a:pt x="13834" y="1554"/>
                    <a:pt x="13955" y="1476"/>
                    <a:pt x="13955" y="1476"/>
                  </a:cubicBezTo>
                  <a:cubicBezTo>
                    <a:pt x="14076" y="1399"/>
                    <a:pt x="14198" y="1399"/>
                    <a:pt x="14198" y="1399"/>
                  </a:cubicBezTo>
                  <a:cubicBezTo>
                    <a:pt x="14440" y="1399"/>
                    <a:pt x="14440" y="1399"/>
                    <a:pt x="14440" y="1399"/>
                  </a:cubicBezTo>
                  <a:cubicBezTo>
                    <a:pt x="14440" y="1399"/>
                    <a:pt x="14683" y="1399"/>
                    <a:pt x="14683" y="1399"/>
                  </a:cubicBezTo>
                  <a:cubicBezTo>
                    <a:pt x="14683" y="1399"/>
                    <a:pt x="14804" y="1476"/>
                    <a:pt x="14926" y="1476"/>
                  </a:cubicBezTo>
                  <a:cubicBezTo>
                    <a:pt x="14926" y="1554"/>
                    <a:pt x="15290" y="1632"/>
                    <a:pt x="15290" y="1632"/>
                  </a:cubicBezTo>
                  <a:cubicBezTo>
                    <a:pt x="15169" y="1787"/>
                    <a:pt x="15169" y="1787"/>
                    <a:pt x="15169" y="1787"/>
                  </a:cubicBezTo>
                  <a:cubicBezTo>
                    <a:pt x="15169" y="1787"/>
                    <a:pt x="15047" y="1942"/>
                    <a:pt x="15169" y="1942"/>
                  </a:cubicBezTo>
                  <a:cubicBezTo>
                    <a:pt x="15169" y="1942"/>
                    <a:pt x="15290" y="1865"/>
                    <a:pt x="15290" y="1865"/>
                  </a:cubicBezTo>
                  <a:cubicBezTo>
                    <a:pt x="15411" y="1865"/>
                    <a:pt x="15533" y="1787"/>
                    <a:pt x="15533" y="1787"/>
                  </a:cubicBezTo>
                  <a:cubicBezTo>
                    <a:pt x="15533" y="1787"/>
                    <a:pt x="15533" y="1709"/>
                    <a:pt x="15533" y="1709"/>
                  </a:cubicBezTo>
                  <a:cubicBezTo>
                    <a:pt x="15533" y="1787"/>
                    <a:pt x="15775" y="1865"/>
                    <a:pt x="15775" y="1865"/>
                  </a:cubicBezTo>
                  <a:cubicBezTo>
                    <a:pt x="15775" y="1865"/>
                    <a:pt x="15897" y="2020"/>
                    <a:pt x="15897" y="2020"/>
                  </a:cubicBezTo>
                  <a:cubicBezTo>
                    <a:pt x="15897" y="2020"/>
                    <a:pt x="16139" y="1942"/>
                    <a:pt x="16139" y="1942"/>
                  </a:cubicBezTo>
                  <a:cubicBezTo>
                    <a:pt x="16139" y="1942"/>
                    <a:pt x="16139" y="1942"/>
                    <a:pt x="16261" y="1942"/>
                  </a:cubicBezTo>
                  <a:cubicBezTo>
                    <a:pt x="16382" y="1942"/>
                    <a:pt x="16382" y="1942"/>
                    <a:pt x="16382" y="1942"/>
                  </a:cubicBezTo>
                  <a:cubicBezTo>
                    <a:pt x="16503" y="2020"/>
                    <a:pt x="16867" y="2020"/>
                    <a:pt x="16867" y="2020"/>
                  </a:cubicBezTo>
                  <a:cubicBezTo>
                    <a:pt x="17231" y="1865"/>
                    <a:pt x="17231" y="1865"/>
                    <a:pt x="17231" y="1865"/>
                  </a:cubicBezTo>
                  <a:cubicBezTo>
                    <a:pt x="17353" y="1632"/>
                    <a:pt x="17353" y="1632"/>
                    <a:pt x="17353" y="1632"/>
                  </a:cubicBezTo>
                  <a:cubicBezTo>
                    <a:pt x="17353" y="1554"/>
                    <a:pt x="17353" y="1554"/>
                    <a:pt x="17353" y="1554"/>
                  </a:cubicBezTo>
                  <a:cubicBezTo>
                    <a:pt x="17353" y="1554"/>
                    <a:pt x="17596" y="1476"/>
                    <a:pt x="17596" y="1476"/>
                  </a:cubicBezTo>
                  <a:cubicBezTo>
                    <a:pt x="17596" y="1476"/>
                    <a:pt x="17717" y="1476"/>
                    <a:pt x="17717" y="1554"/>
                  </a:cubicBezTo>
                  <a:cubicBezTo>
                    <a:pt x="17717" y="1554"/>
                    <a:pt x="17960" y="1709"/>
                    <a:pt x="17960" y="1709"/>
                  </a:cubicBezTo>
                  <a:cubicBezTo>
                    <a:pt x="17960" y="1709"/>
                    <a:pt x="18202" y="1709"/>
                    <a:pt x="18202" y="1709"/>
                  </a:cubicBezTo>
                  <a:cubicBezTo>
                    <a:pt x="18324" y="1709"/>
                    <a:pt x="18324" y="1632"/>
                    <a:pt x="18445" y="1709"/>
                  </a:cubicBezTo>
                  <a:cubicBezTo>
                    <a:pt x="18445" y="1787"/>
                    <a:pt x="18445" y="1865"/>
                    <a:pt x="18566" y="1865"/>
                  </a:cubicBezTo>
                  <a:cubicBezTo>
                    <a:pt x="18566" y="1865"/>
                    <a:pt x="18688" y="1865"/>
                    <a:pt x="18688" y="1865"/>
                  </a:cubicBezTo>
                  <a:cubicBezTo>
                    <a:pt x="18809" y="1942"/>
                    <a:pt x="19052" y="1942"/>
                    <a:pt x="19052" y="1942"/>
                  </a:cubicBezTo>
                  <a:cubicBezTo>
                    <a:pt x="19173" y="1787"/>
                    <a:pt x="19173" y="1787"/>
                    <a:pt x="19173" y="1787"/>
                  </a:cubicBezTo>
                  <a:cubicBezTo>
                    <a:pt x="19173" y="1787"/>
                    <a:pt x="19173" y="1709"/>
                    <a:pt x="19294" y="1787"/>
                  </a:cubicBezTo>
                  <a:cubicBezTo>
                    <a:pt x="19416" y="1787"/>
                    <a:pt x="19416" y="1942"/>
                    <a:pt x="19416" y="1942"/>
                  </a:cubicBezTo>
                  <a:cubicBezTo>
                    <a:pt x="19416" y="1942"/>
                    <a:pt x="19537" y="2020"/>
                    <a:pt x="19537" y="2020"/>
                  </a:cubicBezTo>
                  <a:cubicBezTo>
                    <a:pt x="19537" y="2020"/>
                    <a:pt x="19901" y="2098"/>
                    <a:pt x="19901" y="2098"/>
                  </a:cubicBezTo>
                  <a:cubicBezTo>
                    <a:pt x="19901" y="2098"/>
                    <a:pt x="20144" y="2020"/>
                    <a:pt x="20144" y="2020"/>
                  </a:cubicBezTo>
                  <a:cubicBezTo>
                    <a:pt x="20265" y="2020"/>
                    <a:pt x="20265" y="2176"/>
                    <a:pt x="20265" y="2176"/>
                  </a:cubicBezTo>
                  <a:cubicBezTo>
                    <a:pt x="20265" y="2176"/>
                    <a:pt x="20265" y="2253"/>
                    <a:pt x="20265" y="2253"/>
                  </a:cubicBezTo>
                  <a:cubicBezTo>
                    <a:pt x="20144" y="2331"/>
                    <a:pt x="20144" y="2331"/>
                    <a:pt x="20265" y="2331"/>
                  </a:cubicBezTo>
                  <a:cubicBezTo>
                    <a:pt x="20265" y="2409"/>
                    <a:pt x="20387" y="2486"/>
                    <a:pt x="20387" y="2486"/>
                  </a:cubicBezTo>
                  <a:cubicBezTo>
                    <a:pt x="20387" y="2486"/>
                    <a:pt x="20265" y="2642"/>
                    <a:pt x="20265" y="2642"/>
                  </a:cubicBezTo>
                  <a:cubicBezTo>
                    <a:pt x="20265" y="2719"/>
                    <a:pt x="20144" y="2797"/>
                    <a:pt x="20144" y="2797"/>
                  </a:cubicBezTo>
                  <a:cubicBezTo>
                    <a:pt x="20022" y="2875"/>
                    <a:pt x="20022" y="2875"/>
                    <a:pt x="20022" y="2875"/>
                  </a:cubicBezTo>
                  <a:cubicBezTo>
                    <a:pt x="20022" y="2953"/>
                    <a:pt x="20022" y="2953"/>
                    <a:pt x="20022" y="2953"/>
                  </a:cubicBezTo>
                  <a:cubicBezTo>
                    <a:pt x="20022" y="3030"/>
                    <a:pt x="20022" y="3030"/>
                    <a:pt x="20022" y="3030"/>
                  </a:cubicBezTo>
                  <a:cubicBezTo>
                    <a:pt x="20022" y="3030"/>
                    <a:pt x="20022" y="3108"/>
                    <a:pt x="20022" y="3108"/>
                  </a:cubicBezTo>
                  <a:cubicBezTo>
                    <a:pt x="19901" y="3108"/>
                    <a:pt x="20022" y="3263"/>
                    <a:pt x="20022" y="3263"/>
                  </a:cubicBezTo>
                  <a:cubicBezTo>
                    <a:pt x="20144" y="3341"/>
                    <a:pt x="20144" y="3341"/>
                    <a:pt x="20144" y="3341"/>
                  </a:cubicBezTo>
                  <a:cubicBezTo>
                    <a:pt x="20144" y="3341"/>
                    <a:pt x="20387" y="3263"/>
                    <a:pt x="20387" y="3263"/>
                  </a:cubicBezTo>
                  <a:cubicBezTo>
                    <a:pt x="20387" y="3263"/>
                    <a:pt x="20751" y="3341"/>
                    <a:pt x="20751" y="3341"/>
                  </a:cubicBezTo>
                  <a:cubicBezTo>
                    <a:pt x="20751" y="3341"/>
                    <a:pt x="20993" y="3419"/>
                    <a:pt x="20993" y="3496"/>
                  </a:cubicBezTo>
                  <a:cubicBezTo>
                    <a:pt x="21115" y="3496"/>
                    <a:pt x="21357" y="3652"/>
                    <a:pt x="21357" y="3652"/>
                  </a:cubicBezTo>
                  <a:cubicBezTo>
                    <a:pt x="21600" y="3885"/>
                    <a:pt x="21600" y="3885"/>
                    <a:pt x="21600" y="3885"/>
                  </a:cubicBezTo>
                  <a:cubicBezTo>
                    <a:pt x="21357" y="4040"/>
                    <a:pt x="21357" y="4040"/>
                    <a:pt x="21357" y="4040"/>
                  </a:cubicBezTo>
                  <a:cubicBezTo>
                    <a:pt x="21115" y="4273"/>
                    <a:pt x="21115" y="4273"/>
                    <a:pt x="21115" y="4273"/>
                  </a:cubicBezTo>
                  <a:cubicBezTo>
                    <a:pt x="20872" y="4351"/>
                    <a:pt x="20872" y="4351"/>
                    <a:pt x="20872" y="4351"/>
                  </a:cubicBezTo>
                  <a:cubicBezTo>
                    <a:pt x="20872" y="4351"/>
                    <a:pt x="20751" y="4506"/>
                    <a:pt x="20751" y="4506"/>
                  </a:cubicBezTo>
                  <a:cubicBezTo>
                    <a:pt x="20751" y="4506"/>
                    <a:pt x="20508" y="4584"/>
                    <a:pt x="20508" y="4584"/>
                  </a:cubicBezTo>
                  <a:cubicBezTo>
                    <a:pt x="20387" y="4584"/>
                    <a:pt x="20387" y="4584"/>
                    <a:pt x="20387" y="4584"/>
                  </a:cubicBezTo>
                  <a:cubicBezTo>
                    <a:pt x="20022" y="4817"/>
                    <a:pt x="20022" y="4817"/>
                    <a:pt x="20022" y="4817"/>
                  </a:cubicBezTo>
                  <a:cubicBezTo>
                    <a:pt x="19780" y="4895"/>
                    <a:pt x="19780" y="4895"/>
                    <a:pt x="19780" y="4895"/>
                  </a:cubicBezTo>
                  <a:cubicBezTo>
                    <a:pt x="19537" y="4973"/>
                    <a:pt x="19537" y="4973"/>
                    <a:pt x="19537" y="4973"/>
                  </a:cubicBezTo>
                  <a:cubicBezTo>
                    <a:pt x="19416" y="4973"/>
                    <a:pt x="19416" y="4973"/>
                    <a:pt x="19416" y="4973"/>
                  </a:cubicBezTo>
                  <a:cubicBezTo>
                    <a:pt x="19173" y="5128"/>
                    <a:pt x="19173" y="5128"/>
                    <a:pt x="19173" y="5128"/>
                  </a:cubicBezTo>
                  <a:cubicBezTo>
                    <a:pt x="18930" y="5050"/>
                    <a:pt x="18930" y="5050"/>
                    <a:pt x="18930" y="5050"/>
                  </a:cubicBezTo>
                  <a:cubicBezTo>
                    <a:pt x="18566" y="5128"/>
                    <a:pt x="18566" y="5128"/>
                    <a:pt x="18566" y="5128"/>
                  </a:cubicBezTo>
                  <a:cubicBezTo>
                    <a:pt x="18566" y="5206"/>
                    <a:pt x="18566" y="5206"/>
                    <a:pt x="18566" y="5206"/>
                  </a:cubicBezTo>
                  <a:cubicBezTo>
                    <a:pt x="18081" y="5361"/>
                    <a:pt x="18081" y="5361"/>
                    <a:pt x="18081" y="5361"/>
                  </a:cubicBezTo>
                  <a:cubicBezTo>
                    <a:pt x="17960" y="5594"/>
                    <a:pt x="17960" y="5594"/>
                    <a:pt x="17960" y="5594"/>
                  </a:cubicBezTo>
                  <a:cubicBezTo>
                    <a:pt x="17960" y="5594"/>
                    <a:pt x="17717" y="5594"/>
                    <a:pt x="17717" y="5672"/>
                  </a:cubicBezTo>
                  <a:cubicBezTo>
                    <a:pt x="17596" y="5672"/>
                    <a:pt x="17474" y="5750"/>
                    <a:pt x="17474" y="5750"/>
                  </a:cubicBezTo>
                  <a:cubicBezTo>
                    <a:pt x="17231" y="5672"/>
                    <a:pt x="17231" y="5672"/>
                    <a:pt x="17231" y="5672"/>
                  </a:cubicBezTo>
                  <a:cubicBezTo>
                    <a:pt x="17110" y="5750"/>
                    <a:pt x="17110" y="5750"/>
                    <a:pt x="17110" y="5750"/>
                  </a:cubicBezTo>
                  <a:cubicBezTo>
                    <a:pt x="17110" y="5905"/>
                    <a:pt x="17110" y="5905"/>
                    <a:pt x="17110" y="5905"/>
                  </a:cubicBezTo>
                  <a:cubicBezTo>
                    <a:pt x="17231" y="5905"/>
                    <a:pt x="17231" y="5905"/>
                    <a:pt x="17231" y="5905"/>
                  </a:cubicBezTo>
                  <a:cubicBezTo>
                    <a:pt x="17231" y="5905"/>
                    <a:pt x="17231" y="6060"/>
                    <a:pt x="17231" y="6060"/>
                  </a:cubicBezTo>
                  <a:cubicBezTo>
                    <a:pt x="17231" y="6138"/>
                    <a:pt x="17231" y="6294"/>
                    <a:pt x="17231" y="6294"/>
                  </a:cubicBezTo>
                  <a:cubicBezTo>
                    <a:pt x="17474" y="6371"/>
                    <a:pt x="17474" y="6371"/>
                    <a:pt x="17474" y="6371"/>
                  </a:cubicBezTo>
                  <a:cubicBezTo>
                    <a:pt x="17474" y="6371"/>
                    <a:pt x="17474" y="6604"/>
                    <a:pt x="17353" y="6604"/>
                  </a:cubicBezTo>
                  <a:cubicBezTo>
                    <a:pt x="17353" y="6604"/>
                    <a:pt x="17110" y="6682"/>
                    <a:pt x="17110" y="6682"/>
                  </a:cubicBezTo>
                  <a:cubicBezTo>
                    <a:pt x="17110" y="6760"/>
                    <a:pt x="17110" y="6760"/>
                    <a:pt x="17110" y="6760"/>
                  </a:cubicBezTo>
                  <a:cubicBezTo>
                    <a:pt x="17231" y="6915"/>
                    <a:pt x="17231" y="6915"/>
                    <a:pt x="17231" y="6915"/>
                  </a:cubicBezTo>
                  <a:cubicBezTo>
                    <a:pt x="17231" y="6915"/>
                    <a:pt x="17231" y="7148"/>
                    <a:pt x="17110" y="7148"/>
                  </a:cubicBezTo>
                  <a:cubicBezTo>
                    <a:pt x="17110" y="7226"/>
                    <a:pt x="16989" y="7381"/>
                    <a:pt x="16989" y="7381"/>
                  </a:cubicBezTo>
                  <a:cubicBezTo>
                    <a:pt x="16867" y="7459"/>
                    <a:pt x="16867" y="7459"/>
                    <a:pt x="16867" y="7459"/>
                  </a:cubicBezTo>
                  <a:cubicBezTo>
                    <a:pt x="16746" y="7614"/>
                    <a:pt x="16746" y="7614"/>
                    <a:pt x="16746" y="7614"/>
                  </a:cubicBezTo>
                  <a:cubicBezTo>
                    <a:pt x="16867" y="7692"/>
                    <a:pt x="16867" y="7692"/>
                    <a:pt x="16867" y="7692"/>
                  </a:cubicBezTo>
                  <a:cubicBezTo>
                    <a:pt x="16867" y="7925"/>
                    <a:pt x="16867" y="7925"/>
                    <a:pt x="16867" y="7925"/>
                  </a:cubicBezTo>
                  <a:cubicBezTo>
                    <a:pt x="16625" y="8003"/>
                    <a:pt x="16625" y="8003"/>
                    <a:pt x="16625" y="8003"/>
                  </a:cubicBezTo>
                  <a:cubicBezTo>
                    <a:pt x="16503" y="8236"/>
                    <a:pt x="16503" y="8236"/>
                    <a:pt x="16503" y="8236"/>
                  </a:cubicBezTo>
                  <a:cubicBezTo>
                    <a:pt x="16625" y="8314"/>
                    <a:pt x="16625" y="8314"/>
                    <a:pt x="16625" y="8314"/>
                  </a:cubicBezTo>
                  <a:cubicBezTo>
                    <a:pt x="16746" y="8469"/>
                    <a:pt x="16746" y="8469"/>
                    <a:pt x="16746" y="8469"/>
                  </a:cubicBezTo>
                  <a:cubicBezTo>
                    <a:pt x="16625" y="8624"/>
                    <a:pt x="16625" y="8624"/>
                    <a:pt x="16625" y="8624"/>
                  </a:cubicBezTo>
                  <a:cubicBezTo>
                    <a:pt x="16503" y="8702"/>
                    <a:pt x="16503" y="8702"/>
                    <a:pt x="16503" y="8702"/>
                  </a:cubicBezTo>
                  <a:cubicBezTo>
                    <a:pt x="16382" y="8702"/>
                    <a:pt x="16382" y="8702"/>
                    <a:pt x="16382" y="8702"/>
                  </a:cubicBezTo>
                  <a:cubicBezTo>
                    <a:pt x="16139" y="8858"/>
                    <a:pt x="16139" y="8858"/>
                    <a:pt x="16139" y="8858"/>
                  </a:cubicBezTo>
                  <a:cubicBezTo>
                    <a:pt x="15897" y="8858"/>
                    <a:pt x="15897" y="8858"/>
                    <a:pt x="15897" y="8858"/>
                  </a:cubicBezTo>
                  <a:cubicBezTo>
                    <a:pt x="15775" y="8858"/>
                    <a:pt x="15775" y="8858"/>
                    <a:pt x="15775" y="8858"/>
                  </a:cubicBezTo>
                  <a:cubicBezTo>
                    <a:pt x="15533" y="9013"/>
                    <a:pt x="15533" y="9013"/>
                    <a:pt x="15533" y="9013"/>
                  </a:cubicBezTo>
                  <a:cubicBezTo>
                    <a:pt x="15411" y="9013"/>
                    <a:pt x="15411" y="9013"/>
                    <a:pt x="15411" y="9013"/>
                  </a:cubicBezTo>
                  <a:cubicBezTo>
                    <a:pt x="15290" y="9091"/>
                    <a:pt x="15290" y="9091"/>
                    <a:pt x="15290" y="9091"/>
                  </a:cubicBezTo>
                  <a:cubicBezTo>
                    <a:pt x="15290" y="9246"/>
                    <a:pt x="15290" y="9246"/>
                    <a:pt x="15290" y="9246"/>
                  </a:cubicBezTo>
                  <a:cubicBezTo>
                    <a:pt x="15290" y="9246"/>
                    <a:pt x="15290" y="9324"/>
                    <a:pt x="15290" y="9324"/>
                  </a:cubicBezTo>
                  <a:cubicBezTo>
                    <a:pt x="15411" y="9324"/>
                    <a:pt x="15411" y="9401"/>
                    <a:pt x="15411" y="9401"/>
                  </a:cubicBezTo>
                  <a:cubicBezTo>
                    <a:pt x="15533" y="9557"/>
                    <a:pt x="15533" y="9557"/>
                    <a:pt x="15533" y="9557"/>
                  </a:cubicBezTo>
                  <a:cubicBezTo>
                    <a:pt x="15654" y="9712"/>
                    <a:pt x="15654" y="9712"/>
                    <a:pt x="15654" y="9712"/>
                  </a:cubicBezTo>
                  <a:cubicBezTo>
                    <a:pt x="15775" y="9945"/>
                    <a:pt x="15775" y="9945"/>
                    <a:pt x="15775" y="9945"/>
                  </a:cubicBezTo>
                  <a:cubicBezTo>
                    <a:pt x="15775" y="9945"/>
                    <a:pt x="15654" y="10101"/>
                    <a:pt x="15654" y="10101"/>
                  </a:cubicBezTo>
                  <a:cubicBezTo>
                    <a:pt x="15654" y="10101"/>
                    <a:pt x="15533" y="10256"/>
                    <a:pt x="15533" y="10256"/>
                  </a:cubicBezTo>
                  <a:cubicBezTo>
                    <a:pt x="15411" y="10412"/>
                    <a:pt x="15411" y="10412"/>
                    <a:pt x="15411" y="10412"/>
                  </a:cubicBezTo>
                  <a:cubicBezTo>
                    <a:pt x="15290" y="10567"/>
                    <a:pt x="15290" y="10567"/>
                    <a:pt x="15290" y="10567"/>
                  </a:cubicBezTo>
                  <a:cubicBezTo>
                    <a:pt x="15169" y="10645"/>
                    <a:pt x="15169" y="10645"/>
                    <a:pt x="15169" y="10645"/>
                  </a:cubicBezTo>
                  <a:cubicBezTo>
                    <a:pt x="14926" y="10645"/>
                    <a:pt x="14926" y="10645"/>
                    <a:pt x="14926" y="10645"/>
                  </a:cubicBezTo>
                  <a:cubicBezTo>
                    <a:pt x="14926" y="10722"/>
                    <a:pt x="14926" y="10722"/>
                    <a:pt x="14926" y="10722"/>
                  </a:cubicBezTo>
                  <a:cubicBezTo>
                    <a:pt x="14804" y="10878"/>
                    <a:pt x="14804" y="10878"/>
                    <a:pt x="14804" y="10878"/>
                  </a:cubicBezTo>
                  <a:cubicBezTo>
                    <a:pt x="14804" y="10955"/>
                    <a:pt x="14804" y="10955"/>
                    <a:pt x="14804" y="10955"/>
                  </a:cubicBezTo>
                  <a:cubicBezTo>
                    <a:pt x="14683" y="10955"/>
                    <a:pt x="14683" y="10955"/>
                    <a:pt x="14683" y="10955"/>
                  </a:cubicBezTo>
                  <a:cubicBezTo>
                    <a:pt x="14683" y="11111"/>
                    <a:pt x="14683" y="11111"/>
                    <a:pt x="14683" y="11111"/>
                  </a:cubicBezTo>
                  <a:cubicBezTo>
                    <a:pt x="14562" y="11188"/>
                    <a:pt x="14562" y="11188"/>
                    <a:pt x="14562" y="11188"/>
                  </a:cubicBezTo>
                  <a:cubicBezTo>
                    <a:pt x="14562" y="11188"/>
                    <a:pt x="14440" y="11188"/>
                    <a:pt x="14440" y="11188"/>
                  </a:cubicBezTo>
                  <a:cubicBezTo>
                    <a:pt x="14319" y="11188"/>
                    <a:pt x="14198" y="11266"/>
                    <a:pt x="14198" y="11266"/>
                  </a:cubicBezTo>
                  <a:cubicBezTo>
                    <a:pt x="14198" y="11266"/>
                    <a:pt x="13955" y="11266"/>
                    <a:pt x="13955" y="11188"/>
                  </a:cubicBezTo>
                  <a:cubicBezTo>
                    <a:pt x="13955" y="11188"/>
                    <a:pt x="13834" y="11266"/>
                    <a:pt x="13712" y="11188"/>
                  </a:cubicBezTo>
                  <a:cubicBezTo>
                    <a:pt x="13712" y="11188"/>
                    <a:pt x="13591" y="11111"/>
                    <a:pt x="13591" y="11111"/>
                  </a:cubicBezTo>
                  <a:cubicBezTo>
                    <a:pt x="13470" y="11111"/>
                    <a:pt x="13470" y="11111"/>
                    <a:pt x="13470" y="11111"/>
                  </a:cubicBezTo>
                  <a:cubicBezTo>
                    <a:pt x="13227" y="11111"/>
                    <a:pt x="13227" y="11111"/>
                    <a:pt x="13227" y="11111"/>
                  </a:cubicBezTo>
                  <a:cubicBezTo>
                    <a:pt x="12863" y="11111"/>
                    <a:pt x="12863" y="11111"/>
                    <a:pt x="12863" y="11111"/>
                  </a:cubicBezTo>
                  <a:cubicBezTo>
                    <a:pt x="12620" y="11111"/>
                    <a:pt x="12620" y="11111"/>
                    <a:pt x="12620" y="11111"/>
                  </a:cubicBezTo>
                  <a:cubicBezTo>
                    <a:pt x="12620" y="11033"/>
                    <a:pt x="12620" y="11033"/>
                    <a:pt x="12620" y="11033"/>
                  </a:cubicBezTo>
                  <a:cubicBezTo>
                    <a:pt x="12499" y="11111"/>
                    <a:pt x="12499" y="11111"/>
                    <a:pt x="12499" y="11111"/>
                  </a:cubicBezTo>
                  <a:cubicBezTo>
                    <a:pt x="12378" y="10955"/>
                    <a:pt x="12378" y="10955"/>
                    <a:pt x="12378" y="10955"/>
                  </a:cubicBezTo>
                  <a:cubicBezTo>
                    <a:pt x="12135" y="10955"/>
                    <a:pt x="12135" y="10955"/>
                    <a:pt x="12135" y="10955"/>
                  </a:cubicBezTo>
                  <a:cubicBezTo>
                    <a:pt x="11892" y="10955"/>
                    <a:pt x="11892" y="10955"/>
                    <a:pt x="11892" y="10955"/>
                  </a:cubicBezTo>
                  <a:cubicBezTo>
                    <a:pt x="11892" y="10955"/>
                    <a:pt x="11892" y="11033"/>
                    <a:pt x="12013" y="11111"/>
                  </a:cubicBezTo>
                  <a:cubicBezTo>
                    <a:pt x="12013" y="11111"/>
                    <a:pt x="12135" y="11266"/>
                    <a:pt x="12135" y="11266"/>
                  </a:cubicBezTo>
                  <a:cubicBezTo>
                    <a:pt x="12135" y="11266"/>
                    <a:pt x="12135" y="11422"/>
                    <a:pt x="12135" y="11422"/>
                  </a:cubicBezTo>
                  <a:cubicBezTo>
                    <a:pt x="12135" y="11422"/>
                    <a:pt x="12378" y="11577"/>
                    <a:pt x="12378" y="11577"/>
                  </a:cubicBezTo>
                  <a:cubicBezTo>
                    <a:pt x="12378" y="11655"/>
                    <a:pt x="12378" y="11655"/>
                    <a:pt x="12378" y="11655"/>
                  </a:cubicBezTo>
                  <a:cubicBezTo>
                    <a:pt x="12378" y="11655"/>
                    <a:pt x="12499" y="11810"/>
                    <a:pt x="12499" y="11810"/>
                  </a:cubicBezTo>
                  <a:cubicBezTo>
                    <a:pt x="12499" y="11810"/>
                    <a:pt x="12742" y="11888"/>
                    <a:pt x="12742" y="11888"/>
                  </a:cubicBezTo>
                  <a:cubicBezTo>
                    <a:pt x="12742" y="12043"/>
                    <a:pt x="12742" y="12043"/>
                    <a:pt x="12742" y="12043"/>
                  </a:cubicBezTo>
                  <a:cubicBezTo>
                    <a:pt x="12620" y="12121"/>
                    <a:pt x="12620" y="12121"/>
                    <a:pt x="12620" y="12121"/>
                  </a:cubicBezTo>
                  <a:cubicBezTo>
                    <a:pt x="12499" y="12199"/>
                    <a:pt x="12499" y="12199"/>
                    <a:pt x="12499" y="12199"/>
                  </a:cubicBezTo>
                  <a:cubicBezTo>
                    <a:pt x="12620" y="12354"/>
                    <a:pt x="12620" y="12354"/>
                    <a:pt x="12620" y="12354"/>
                  </a:cubicBezTo>
                  <a:cubicBezTo>
                    <a:pt x="12620" y="12509"/>
                    <a:pt x="12620" y="12509"/>
                    <a:pt x="12620" y="12509"/>
                  </a:cubicBezTo>
                  <a:cubicBezTo>
                    <a:pt x="12742" y="12587"/>
                    <a:pt x="12742" y="12587"/>
                    <a:pt x="12742" y="12587"/>
                  </a:cubicBezTo>
                  <a:cubicBezTo>
                    <a:pt x="12742" y="12665"/>
                    <a:pt x="12742" y="12665"/>
                    <a:pt x="12742" y="12665"/>
                  </a:cubicBezTo>
                  <a:cubicBezTo>
                    <a:pt x="12620" y="12742"/>
                    <a:pt x="12620" y="12742"/>
                    <a:pt x="12620" y="12742"/>
                  </a:cubicBezTo>
                  <a:cubicBezTo>
                    <a:pt x="12620" y="12898"/>
                    <a:pt x="12620" y="12898"/>
                    <a:pt x="12620" y="12898"/>
                  </a:cubicBezTo>
                  <a:cubicBezTo>
                    <a:pt x="12742" y="13053"/>
                    <a:pt x="12742" y="13053"/>
                    <a:pt x="12742" y="13053"/>
                  </a:cubicBezTo>
                  <a:cubicBezTo>
                    <a:pt x="12863" y="13209"/>
                    <a:pt x="12863" y="13209"/>
                    <a:pt x="12863" y="13209"/>
                  </a:cubicBezTo>
                  <a:cubicBezTo>
                    <a:pt x="13106" y="13209"/>
                    <a:pt x="13106" y="13209"/>
                    <a:pt x="13106" y="13209"/>
                  </a:cubicBezTo>
                  <a:cubicBezTo>
                    <a:pt x="13106" y="13364"/>
                    <a:pt x="13106" y="13364"/>
                    <a:pt x="13106" y="13364"/>
                  </a:cubicBezTo>
                  <a:cubicBezTo>
                    <a:pt x="12984" y="13442"/>
                    <a:pt x="12984" y="13442"/>
                    <a:pt x="12984" y="13442"/>
                  </a:cubicBezTo>
                  <a:cubicBezTo>
                    <a:pt x="12984" y="13442"/>
                    <a:pt x="12984" y="13519"/>
                    <a:pt x="12984" y="13519"/>
                  </a:cubicBezTo>
                  <a:cubicBezTo>
                    <a:pt x="13106" y="13519"/>
                    <a:pt x="13227" y="13597"/>
                    <a:pt x="13227" y="13597"/>
                  </a:cubicBezTo>
                  <a:cubicBezTo>
                    <a:pt x="13470" y="13519"/>
                    <a:pt x="13470" y="13519"/>
                    <a:pt x="13470" y="13519"/>
                  </a:cubicBezTo>
                  <a:cubicBezTo>
                    <a:pt x="13470" y="13519"/>
                    <a:pt x="13591" y="13519"/>
                    <a:pt x="13591" y="13519"/>
                  </a:cubicBezTo>
                  <a:cubicBezTo>
                    <a:pt x="13591" y="13597"/>
                    <a:pt x="13712" y="13753"/>
                    <a:pt x="13712" y="13753"/>
                  </a:cubicBezTo>
                  <a:cubicBezTo>
                    <a:pt x="13834" y="13830"/>
                    <a:pt x="13834" y="13830"/>
                    <a:pt x="13834" y="13830"/>
                  </a:cubicBezTo>
                  <a:cubicBezTo>
                    <a:pt x="13834" y="13986"/>
                    <a:pt x="13834" y="13986"/>
                    <a:pt x="13834" y="13986"/>
                  </a:cubicBezTo>
                  <a:cubicBezTo>
                    <a:pt x="13591" y="14141"/>
                    <a:pt x="13591" y="14141"/>
                    <a:pt x="13591" y="14141"/>
                  </a:cubicBezTo>
                  <a:cubicBezTo>
                    <a:pt x="13348" y="14296"/>
                    <a:pt x="13348" y="14296"/>
                    <a:pt x="13348" y="14296"/>
                  </a:cubicBezTo>
                  <a:cubicBezTo>
                    <a:pt x="13227" y="14374"/>
                    <a:pt x="13227" y="14374"/>
                    <a:pt x="13227" y="14374"/>
                  </a:cubicBezTo>
                  <a:cubicBezTo>
                    <a:pt x="13227" y="14529"/>
                    <a:pt x="13227" y="14529"/>
                    <a:pt x="13227" y="14529"/>
                  </a:cubicBezTo>
                  <a:cubicBezTo>
                    <a:pt x="13106" y="14607"/>
                    <a:pt x="13106" y="14607"/>
                    <a:pt x="13106" y="14607"/>
                  </a:cubicBezTo>
                  <a:cubicBezTo>
                    <a:pt x="12863" y="14685"/>
                    <a:pt x="12863" y="14685"/>
                    <a:pt x="12863" y="14685"/>
                  </a:cubicBezTo>
                  <a:cubicBezTo>
                    <a:pt x="12620" y="14763"/>
                    <a:pt x="12620" y="14763"/>
                    <a:pt x="12620" y="14763"/>
                  </a:cubicBezTo>
                  <a:cubicBezTo>
                    <a:pt x="12499" y="14763"/>
                    <a:pt x="12499" y="14763"/>
                    <a:pt x="12499" y="14763"/>
                  </a:cubicBezTo>
                  <a:cubicBezTo>
                    <a:pt x="12378" y="14840"/>
                    <a:pt x="12378" y="14840"/>
                    <a:pt x="12378" y="14840"/>
                  </a:cubicBezTo>
                  <a:cubicBezTo>
                    <a:pt x="12013" y="14918"/>
                    <a:pt x="12013" y="14918"/>
                    <a:pt x="12013" y="14918"/>
                  </a:cubicBezTo>
                  <a:cubicBezTo>
                    <a:pt x="11892" y="14918"/>
                    <a:pt x="11892" y="14918"/>
                    <a:pt x="11892" y="14918"/>
                  </a:cubicBezTo>
                  <a:cubicBezTo>
                    <a:pt x="11649" y="15229"/>
                    <a:pt x="11649" y="15229"/>
                    <a:pt x="11649" y="15229"/>
                  </a:cubicBezTo>
                  <a:cubicBezTo>
                    <a:pt x="11649" y="15229"/>
                    <a:pt x="11649" y="15384"/>
                    <a:pt x="11649" y="15384"/>
                  </a:cubicBezTo>
                  <a:cubicBezTo>
                    <a:pt x="11649" y="15384"/>
                    <a:pt x="11771" y="15462"/>
                    <a:pt x="11771" y="15462"/>
                  </a:cubicBezTo>
                  <a:cubicBezTo>
                    <a:pt x="11771" y="15462"/>
                    <a:pt x="11528" y="15617"/>
                    <a:pt x="11528" y="15617"/>
                  </a:cubicBezTo>
                  <a:cubicBezTo>
                    <a:pt x="11528" y="15617"/>
                    <a:pt x="11285" y="15695"/>
                    <a:pt x="11285" y="15695"/>
                  </a:cubicBezTo>
                  <a:cubicBezTo>
                    <a:pt x="11164" y="15850"/>
                    <a:pt x="11164" y="15850"/>
                    <a:pt x="11164" y="15850"/>
                  </a:cubicBezTo>
                  <a:cubicBezTo>
                    <a:pt x="11285" y="15928"/>
                    <a:pt x="11285" y="15928"/>
                    <a:pt x="11285" y="15928"/>
                  </a:cubicBezTo>
                  <a:cubicBezTo>
                    <a:pt x="11043" y="15928"/>
                    <a:pt x="11043" y="15928"/>
                    <a:pt x="11043" y="15928"/>
                  </a:cubicBezTo>
                  <a:cubicBezTo>
                    <a:pt x="11164" y="16083"/>
                    <a:pt x="11164" y="16083"/>
                    <a:pt x="11164" y="16083"/>
                  </a:cubicBezTo>
                  <a:cubicBezTo>
                    <a:pt x="11043" y="16161"/>
                    <a:pt x="11043" y="16161"/>
                    <a:pt x="11043" y="16161"/>
                  </a:cubicBezTo>
                  <a:cubicBezTo>
                    <a:pt x="11164" y="16239"/>
                    <a:pt x="11164" y="16239"/>
                    <a:pt x="11164" y="16239"/>
                  </a:cubicBezTo>
                  <a:cubicBezTo>
                    <a:pt x="11164" y="16239"/>
                    <a:pt x="11285" y="16472"/>
                    <a:pt x="11285" y="16472"/>
                  </a:cubicBezTo>
                  <a:cubicBezTo>
                    <a:pt x="11285" y="16550"/>
                    <a:pt x="11407" y="16627"/>
                    <a:pt x="11407" y="16627"/>
                  </a:cubicBezTo>
                  <a:cubicBezTo>
                    <a:pt x="11407" y="16627"/>
                    <a:pt x="11528" y="16705"/>
                    <a:pt x="11528" y="16705"/>
                  </a:cubicBezTo>
                  <a:cubicBezTo>
                    <a:pt x="11528" y="16783"/>
                    <a:pt x="11528" y="16860"/>
                    <a:pt x="11528" y="16938"/>
                  </a:cubicBezTo>
                  <a:cubicBezTo>
                    <a:pt x="11528" y="17016"/>
                    <a:pt x="11649" y="17171"/>
                    <a:pt x="11649" y="17171"/>
                  </a:cubicBezTo>
                  <a:cubicBezTo>
                    <a:pt x="11771" y="17327"/>
                    <a:pt x="11771" y="17327"/>
                    <a:pt x="11771" y="17327"/>
                  </a:cubicBezTo>
                  <a:cubicBezTo>
                    <a:pt x="11771" y="17327"/>
                    <a:pt x="11771" y="17404"/>
                    <a:pt x="11771" y="17404"/>
                  </a:cubicBezTo>
                  <a:cubicBezTo>
                    <a:pt x="11892" y="17404"/>
                    <a:pt x="12135" y="17404"/>
                    <a:pt x="12135" y="17404"/>
                  </a:cubicBezTo>
                  <a:cubicBezTo>
                    <a:pt x="12135" y="17404"/>
                    <a:pt x="12378" y="17404"/>
                    <a:pt x="12378" y="17404"/>
                  </a:cubicBezTo>
                  <a:cubicBezTo>
                    <a:pt x="12378" y="17404"/>
                    <a:pt x="12499" y="17327"/>
                    <a:pt x="12620" y="17404"/>
                  </a:cubicBezTo>
                  <a:cubicBezTo>
                    <a:pt x="12620" y="17404"/>
                    <a:pt x="12620" y="17482"/>
                    <a:pt x="12620" y="17482"/>
                  </a:cubicBezTo>
                  <a:cubicBezTo>
                    <a:pt x="12620" y="17482"/>
                    <a:pt x="12620" y="17560"/>
                    <a:pt x="12620" y="17560"/>
                  </a:cubicBezTo>
                  <a:cubicBezTo>
                    <a:pt x="12135" y="17871"/>
                    <a:pt x="12135" y="17871"/>
                    <a:pt x="12135" y="17871"/>
                  </a:cubicBezTo>
                  <a:cubicBezTo>
                    <a:pt x="12135" y="18104"/>
                    <a:pt x="12135" y="18104"/>
                    <a:pt x="12135" y="18104"/>
                  </a:cubicBezTo>
                  <a:cubicBezTo>
                    <a:pt x="12135" y="18104"/>
                    <a:pt x="12013" y="18104"/>
                    <a:pt x="12013" y="18104"/>
                  </a:cubicBezTo>
                  <a:cubicBezTo>
                    <a:pt x="11892" y="18104"/>
                    <a:pt x="11771" y="18104"/>
                    <a:pt x="11771" y="18104"/>
                  </a:cubicBezTo>
                  <a:cubicBezTo>
                    <a:pt x="11528" y="17948"/>
                    <a:pt x="11528" y="17948"/>
                    <a:pt x="11528" y="17948"/>
                  </a:cubicBezTo>
                  <a:cubicBezTo>
                    <a:pt x="11285" y="18026"/>
                    <a:pt x="11285" y="18026"/>
                    <a:pt x="11285" y="18026"/>
                  </a:cubicBezTo>
                  <a:cubicBezTo>
                    <a:pt x="11285" y="18104"/>
                    <a:pt x="11285" y="18104"/>
                    <a:pt x="11285" y="18104"/>
                  </a:cubicBezTo>
                  <a:cubicBezTo>
                    <a:pt x="11285" y="18104"/>
                    <a:pt x="11043" y="18104"/>
                    <a:pt x="11043" y="18104"/>
                  </a:cubicBezTo>
                  <a:cubicBezTo>
                    <a:pt x="11043" y="18104"/>
                    <a:pt x="10679" y="18104"/>
                    <a:pt x="10679" y="18104"/>
                  </a:cubicBezTo>
                  <a:cubicBezTo>
                    <a:pt x="10557" y="18181"/>
                    <a:pt x="10557" y="18181"/>
                    <a:pt x="10557" y="18181"/>
                  </a:cubicBezTo>
                  <a:cubicBezTo>
                    <a:pt x="10436" y="18492"/>
                    <a:pt x="10436" y="18492"/>
                    <a:pt x="10436" y="18492"/>
                  </a:cubicBezTo>
                  <a:cubicBezTo>
                    <a:pt x="10193" y="18647"/>
                    <a:pt x="10193" y="18647"/>
                    <a:pt x="10193" y="18647"/>
                  </a:cubicBezTo>
                  <a:cubicBezTo>
                    <a:pt x="9951" y="18725"/>
                    <a:pt x="9951" y="18725"/>
                    <a:pt x="9951" y="18725"/>
                  </a:cubicBezTo>
                  <a:cubicBezTo>
                    <a:pt x="9708" y="18881"/>
                    <a:pt x="9708" y="18881"/>
                    <a:pt x="9708" y="18881"/>
                  </a:cubicBezTo>
                  <a:cubicBezTo>
                    <a:pt x="9344" y="18958"/>
                    <a:pt x="9344" y="18958"/>
                    <a:pt x="9344" y="18958"/>
                  </a:cubicBezTo>
                  <a:cubicBezTo>
                    <a:pt x="9344" y="18958"/>
                    <a:pt x="9222" y="19036"/>
                    <a:pt x="9222" y="19036"/>
                  </a:cubicBezTo>
                  <a:cubicBezTo>
                    <a:pt x="9222" y="19114"/>
                    <a:pt x="9101" y="19347"/>
                    <a:pt x="9101" y="19347"/>
                  </a:cubicBezTo>
                  <a:cubicBezTo>
                    <a:pt x="9101" y="19347"/>
                    <a:pt x="8858" y="19424"/>
                    <a:pt x="8858" y="19502"/>
                  </a:cubicBezTo>
                  <a:cubicBezTo>
                    <a:pt x="8858" y="19502"/>
                    <a:pt x="8616" y="19580"/>
                    <a:pt x="8616" y="19580"/>
                  </a:cubicBezTo>
                  <a:cubicBezTo>
                    <a:pt x="8616" y="19580"/>
                    <a:pt x="8616" y="19735"/>
                    <a:pt x="8616" y="19735"/>
                  </a:cubicBezTo>
                  <a:cubicBezTo>
                    <a:pt x="8616" y="19735"/>
                    <a:pt x="8737" y="19891"/>
                    <a:pt x="8737" y="19891"/>
                  </a:cubicBezTo>
                  <a:cubicBezTo>
                    <a:pt x="8737" y="20124"/>
                    <a:pt x="8737" y="20124"/>
                    <a:pt x="8737" y="20124"/>
                  </a:cubicBezTo>
                  <a:cubicBezTo>
                    <a:pt x="8737" y="20279"/>
                    <a:pt x="8737" y="20279"/>
                    <a:pt x="8737" y="20279"/>
                  </a:cubicBezTo>
                  <a:cubicBezTo>
                    <a:pt x="8858" y="20435"/>
                    <a:pt x="8858" y="20435"/>
                    <a:pt x="8858" y="20435"/>
                  </a:cubicBezTo>
                  <a:cubicBezTo>
                    <a:pt x="8737" y="20590"/>
                    <a:pt x="8737" y="20590"/>
                    <a:pt x="8737" y="20590"/>
                  </a:cubicBezTo>
                  <a:cubicBezTo>
                    <a:pt x="8616" y="20823"/>
                    <a:pt x="8616" y="20823"/>
                    <a:pt x="8616" y="20823"/>
                  </a:cubicBezTo>
                  <a:cubicBezTo>
                    <a:pt x="8616" y="20901"/>
                    <a:pt x="8616" y="20901"/>
                    <a:pt x="8616" y="20901"/>
                  </a:cubicBezTo>
                  <a:cubicBezTo>
                    <a:pt x="8616" y="21056"/>
                    <a:pt x="8616" y="21056"/>
                    <a:pt x="8616" y="21056"/>
                  </a:cubicBezTo>
                  <a:cubicBezTo>
                    <a:pt x="8616" y="21367"/>
                    <a:pt x="8616" y="21367"/>
                    <a:pt x="8616" y="21367"/>
                  </a:cubicBezTo>
                  <a:cubicBezTo>
                    <a:pt x="8252" y="21289"/>
                    <a:pt x="8252" y="21289"/>
                    <a:pt x="8252" y="21289"/>
                  </a:cubicBezTo>
                  <a:cubicBezTo>
                    <a:pt x="7888" y="21289"/>
                    <a:pt x="7888" y="21289"/>
                    <a:pt x="7888" y="21289"/>
                  </a:cubicBezTo>
                  <a:cubicBezTo>
                    <a:pt x="7524" y="21367"/>
                    <a:pt x="7524" y="21367"/>
                    <a:pt x="7524" y="21367"/>
                  </a:cubicBezTo>
                  <a:cubicBezTo>
                    <a:pt x="7038" y="21522"/>
                    <a:pt x="7038" y="21522"/>
                    <a:pt x="7038" y="21522"/>
                  </a:cubicBezTo>
                  <a:cubicBezTo>
                    <a:pt x="6310" y="21600"/>
                    <a:pt x="6310" y="21600"/>
                    <a:pt x="6310" y="21600"/>
                  </a:cubicBezTo>
                  <a:cubicBezTo>
                    <a:pt x="5703" y="21600"/>
                    <a:pt x="5703" y="21600"/>
                    <a:pt x="5703" y="21600"/>
                  </a:cubicBezTo>
                  <a:cubicBezTo>
                    <a:pt x="5339" y="21522"/>
                    <a:pt x="5339" y="21522"/>
                    <a:pt x="5339" y="21522"/>
                  </a:cubicBezTo>
                  <a:cubicBezTo>
                    <a:pt x="5097" y="21445"/>
                    <a:pt x="5097" y="21445"/>
                    <a:pt x="5097" y="21445"/>
                  </a:cubicBezTo>
                  <a:cubicBezTo>
                    <a:pt x="4854" y="21289"/>
                    <a:pt x="4854" y="21289"/>
                    <a:pt x="4854" y="21289"/>
                  </a:cubicBezTo>
                  <a:cubicBezTo>
                    <a:pt x="4490" y="21056"/>
                    <a:pt x="4490" y="21056"/>
                    <a:pt x="4490" y="21056"/>
                  </a:cubicBezTo>
                  <a:cubicBezTo>
                    <a:pt x="4126" y="21056"/>
                    <a:pt x="4126" y="21056"/>
                    <a:pt x="4126" y="21056"/>
                  </a:cubicBezTo>
                  <a:cubicBezTo>
                    <a:pt x="3883" y="20978"/>
                    <a:pt x="3883" y="20978"/>
                    <a:pt x="3883" y="20978"/>
                  </a:cubicBezTo>
                  <a:cubicBezTo>
                    <a:pt x="3640" y="20901"/>
                    <a:pt x="3640" y="20901"/>
                    <a:pt x="3640" y="20901"/>
                  </a:cubicBezTo>
                  <a:cubicBezTo>
                    <a:pt x="3398" y="20823"/>
                    <a:pt x="3398" y="20823"/>
                    <a:pt x="3398" y="20823"/>
                  </a:cubicBezTo>
                  <a:cubicBezTo>
                    <a:pt x="3155" y="20823"/>
                    <a:pt x="3155" y="20823"/>
                    <a:pt x="3155" y="20823"/>
                  </a:cubicBezTo>
                  <a:cubicBezTo>
                    <a:pt x="2670" y="20668"/>
                    <a:pt x="2670" y="20668"/>
                    <a:pt x="2670" y="20668"/>
                  </a:cubicBezTo>
                  <a:cubicBezTo>
                    <a:pt x="2184" y="20512"/>
                    <a:pt x="2184" y="20512"/>
                    <a:pt x="2184" y="20512"/>
                  </a:cubicBezTo>
                  <a:cubicBezTo>
                    <a:pt x="1942" y="20590"/>
                    <a:pt x="1942" y="20590"/>
                    <a:pt x="1942" y="20590"/>
                  </a:cubicBezTo>
                  <a:cubicBezTo>
                    <a:pt x="1942" y="20668"/>
                    <a:pt x="1942" y="20668"/>
                    <a:pt x="1942" y="20668"/>
                  </a:cubicBezTo>
                  <a:cubicBezTo>
                    <a:pt x="1578" y="20590"/>
                    <a:pt x="1578" y="20590"/>
                    <a:pt x="1578" y="20590"/>
                  </a:cubicBezTo>
                  <a:cubicBezTo>
                    <a:pt x="1335" y="20590"/>
                    <a:pt x="1335" y="20590"/>
                    <a:pt x="1335" y="20590"/>
                  </a:cubicBezTo>
                  <a:cubicBezTo>
                    <a:pt x="1092" y="20590"/>
                    <a:pt x="1092" y="20590"/>
                    <a:pt x="1092" y="20590"/>
                  </a:cubicBezTo>
                  <a:cubicBezTo>
                    <a:pt x="607" y="20668"/>
                    <a:pt x="607" y="20668"/>
                    <a:pt x="607" y="20668"/>
                  </a:cubicBezTo>
                  <a:cubicBezTo>
                    <a:pt x="243" y="20745"/>
                    <a:pt x="243" y="20745"/>
                    <a:pt x="243" y="20745"/>
                  </a:cubicBezTo>
                  <a:cubicBezTo>
                    <a:pt x="0" y="20668"/>
                    <a:pt x="0" y="20668"/>
                    <a:pt x="0" y="20668"/>
                  </a:cubicBezTo>
                  <a:cubicBezTo>
                    <a:pt x="243" y="20512"/>
                    <a:pt x="243" y="20512"/>
                    <a:pt x="243" y="20512"/>
                  </a:cubicBezTo>
                  <a:cubicBezTo>
                    <a:pt x="485" y="20279"/>
                    <a:pt x="485" y="20279"/>
                    <a:pt x="485" y="20279"/>
                  </a:cubicBezTo>
                  <a:cubicBezTo>
                    <a:pt x="728" y="20201"/>
                    <a:pt x="728" y="20201"/>
                    <a:pt x="728" y="20201"/>
                  </a:cubicBezTo>
                  <a:cubicBezTo>
                    <a:pt x="849" y="19968"/>
                    <a:pt x="849" y="19968"/>
                    <a:pt x="849" y="19968"/>
                  </a:cubicBezTo>
                  <a:cubicBezTo>
                    <a:pt x="1213" y="19813"/>
                    <a:pt x="1213" y="19813"/>
                    <a:pt x="1213" y="19813"/>
                  </a:cubicBezTo>
                  <a:cubicBezTo>
                    <a:pt x="1213" y="19580"/>
                    <a:pt x="1213" y="19580"/>
                    <a:pt x="1213" y="19580"/>
                  </a:cubicBezTo>
                  <a:cubicBezTo>
                    <a:pt x="1456" y="19269"/>
                    <a:pt x="1456" y="19269"/>
                    <a:pt x="1456" y="19269"/>
                  </a:cubicBezTo>
                  <a:cubicBezTo>
                    <a:pt x="1456" y="19269"/>
                    <a:pt x="1699" y="19269"/>
                    <a:pt x="1699" y="19191"/>
                  </a:cubicBezTo>
                  <a:cubicBezTo>
                    <a:pt x="1820" y="19036"/>
                    <a:pt x="1820" y="18958"/>
                    <a:pt x="1942" y="18881"/>
                  </a:cubicBezTo>
                  <a:cubicBezTo>
                    <a:pt x="1942" y="18803"/>
                    <a:pt x="2063" y="18803"/>
                    <a:pt x="2063" y="18725"/>
                  </a:cubicBezTo>
                  <a:cubicBezTo>
                    <a:pt x="2063" y="18647"/>
                    <a:pt x="1942" y="18414"/>
                    <a:pt x="1942" y="18414"/>
                  </a:cubicBezTo>
                  <a:cubicBezTo>
                    <a:pt x="1942" y="18414"/>
                    <a:pt x="2184" y="18104"/>
                    <a:pt x="2184" y="18104"/>
                  </a:cubicBezTo>
                  <a:cubicBezTo>
                    <a:pt x="2306" y="18026"/>
                    <a:pt x="2306" y="17715"/>
                    <a:pt x="2306" y="17715"/>
                  </a:cubicBezTo>
                  <a:cubicBezTo>
                    <a:pt x="2306" y="17715"/>
                    <a:pt x="2427" y="17560"/>
                    <a:pt x="2548" y="17482"/>
                  </a:cubicBezTo>
                  <a:cubicBezTo>
                    <a:pt x="2548" y="17404"/>
                    <a:pt x="2548" y="17171"/>
                    <a:pt x="2548" y="17171"/>
                  </a:cubicBezTo>
                  <a:cubicBezTo>
                    <a:pt x="2306" y="16938"/>
                    <a:pt x="2306" y="16938"/>
                    <a:pt x="2306" y="16938"/>
                  </a:cubicBezTo>
                  <a:cubicBezTo>
                    <a:pt x="2548" y="16627"/>
                    <a:pt x="2548" y="16627"/>
                    <a:pt x="2548" y="16627"/>
                  </a:cubicBezTo>
                  <a:cubicBezTo>
                    <a:pt x="2912" y="16239"/>
                    <a:pt x="2912" y="16239"/>
                    <a:pt x="2912" y="16239"/>
                  </a:cubicBezTo>
                  <a:cubicBezTo>
                    <a:pt x="3276" y="15850"/>
                    <a:pt x="3276" y="15850"/>
                    <a:pt x="3276" y="15850"/>
                  </a:cubicBezTo>
                  <a:cubicBezTo>
                    <a:pt x="3398" y="15462"/>
                    <a:pt x="3398" y="15462"/>
                    <a:pt x="3398" y="15462"/>
                  </a:cubicBezTo>
                  <a:cubicBezTo>
                    <a:pt x="3398" y="15462"/>
                    <a:pt x="3398" y="15306"/>
                    <a:pt x="3398" y="15229"/>
                  </a:cubicBezTo>
                  <a:cubicBezTo>
                    <a:pt x="3398" y="15229"/>
                    <a:pt x="3398" y="15073"/>
                    <a:pt x="3398" y="15073"/>
                  </a:cubicBezTo>
                  <a:cubicBezTo>
                    <a:pt x="3398" y="15073"/>
                    <a:pt x="3398" y="14918"/>
                    <a:pt x="3398" y="14918"/>
                  </a:cubicBezTo>
                  <a:cubicBezTo>
                    <a:pt x="3398" y="14918"/>
                    <a:pt x="3276" y="14763"/>
                    <a:pt x="3276" y="14763"/>
                  </a:cubicBezTo>
                  <a:cubicBezTo>
                    <a:pt x="3155" y="14529"/>
                    <a:pt x="3155" y="14529"/>
                    <a:pt x="3155" y="14529"/>
                  </a:cubicBezTo>
                  <a:cubicBezTo>
                    <a:pt x="3034" y="14607"/>
                    <a:pt x="3034" y="14607"/>
                    <a:pt x="3034" y="14607"/>
                  </a:cubicBezTo>
                  <a:cubicBezTo>
                    <a:pt x="3034" y="14607"/>
                    <a:pt x="2912" y="14685"/>
                    <a:pt x="2791" y="14607"/>
                  </a:cubicBezTo>
                  <a:cubicBezTo>
                    <a:pt x="2791" y="14607"/>
                    <a:pt x="2306" y="14607"/>
                    <a:pt x="2306" y="14607"/>
                  </a:cubicBezTo>
                  <a:cubicBezTo>
                    <a:pt x="2063" y="14685"/>
                    <a:pt x="2063" y="14685"/>
                    <a:pt x="2063" y="14685"/>
                  </a:cubicBezTo>
                  <a:cubicBezTo>
                    <a:pt x="1699" y="14607"/>
                    <a:pt x="1699" y="14607"/>
                    <a:pt x="1699" y="14607"/>
                  </a:cubicBezTo>
                  <a:cubicBezTo>
                    <a:pt x="1699" y="14607"/>
                    <a:pt x="1578" y="14685"/>
                    <a:pt x="1456" y="14685"/>
                  </a:cubicBezTo>
                  <a:cubicBezTo>
                    <a:pt x="1456" y="14685"/>
                    <a:pt x="1335" y="14685"/>
                    <a:pt x="1335" y="14607"/>
                  </a:cubicBezTo>
                  <a:cubicBezTo>
                    <a:pt x="1335" y="14607"/>
                    <a:pt x="1699" y="14374"/>
                    <a:pt x="1699" y="14374"/>
                  </a:cubicBezTo>
                  <a:cubicBezTo>
                    <a:pt x="1699" y="14374"/>
                    <a:pt x="1699" y="14374"/>
                    <a:pt x="1699" y="14296"/>
                  </a:cubicBezTo>
                  <a:cubicBezTo>
                    <a:pt x="1699" y="14219"/>
                    <a:pt x="1699" y="14063"/>
                    <a:pt x="1699" y="14063"/>
                  </a:cubicBezTo>
                  <a:cubicBezTo>
                    <a:pt x="1699" y="13986"/>
                    <a:pt x="1578" y="13753"/>
                    <a:pt x="1578" y="13753"/>
                  </a:cubicBezTo>
                  <a:cubicBezTo>
                    <a:pt x="1578" y="13753"/>
                    <a:pt x="1456" y="13675"/>
                    <a:pt x="1578" y="13597"/>
                  </a:cubicBezTo>
                  <a:cubicBezTo>
                    <a:pt x="1578" y="13519"/>
                    <a:pt x="1699" y="13519"/>
                    <a:pt x="1699" y="13519"/>
                  </a:cubicBezTo>
                  <a:cubicBezTo>
                    <a:pt x="1456" y="13442"/>
                    <a:pt x="1456" y="13442"/>
                    <a:pt x="1456" y="13442"/>
                  </a:cubicBezTo>
                  <a:cubicBezTo>
                    <a:pt x="1456" y="13442"/>
                    <a:pt x="1456" y="13442"/>
                    <a:pt x="1335" y="13442"/>
                  </a:cubicBezTo>
                  <a:cubicBezTo>
                    <a:pt x="1213" y="13519"/>
                    <a:pt x="1092" y="13519"/>
                    <a:pt x="1092" y="13519"/>
                  </a:cubicBezTo>
                  <a:cubicBezTo>
                    <a:pt x="971" y="13364"/>
                    <a:pt x="971" y="13364"/>
                    <a:pt x="971" y="13364"/>
                  </a:cubicBezTo>
                  <a:cubicBezTo>
                    <a:pt x="971" y="13364"/>
                    <a:pt x="849" y="13442"/>
                    <a:pt x="849" y="13364"/>
                  </a:cubicBezTo>
                  <a:cubicBezTo>
                    <a:pt x="728" y="13364"/>
                    <a:pt x="485" y="13286"/>
                    <a:pt x="485" y="13286"/>
                  </a:cubicBezTo>
                  <a:cubicBezTo>
                    <a:pt x="485" y="13286"/>
                    <a:pt x="485" y="13131"/>
                    <a:pt x="485" y="13131"/>
                  </a:cubicBezTo>
                  <a:cubicBezTo>
                    <a:pt x="607" y="13053"/>
                    <a:pt x="607" y="13053"/>
                    <a:pt x="607" y="12976"/>
                  </a:cubicBezTo>
                  <a:cubicBezTo>
                    <a:pt x="607" y="12898"/>
                    <a:pt x="607" y="12820"/>
                    <a:pt x="728" y="12742"/>
                  </a:cubicBezTo>
                  <a:cubicBezTo>
                    <a:pt x="728" y="12665"/>
                    <a:pt x="849" y="12587"/>
                    <a:pt x="971" y="12587"/>
                  </a:cubicBezTo>
                  <a:cubicBezTo>
                    <a:pt x="1092" y="12509"/>
                    <a:pt x="1092" y="12509"/>
                    <a:pt x="1092" y="12509"/>
                  </a:cubicBezTo>
                  <a:cubicBezTo>
                    <a:pt x="1335" y="12199"/>
                    <a:pt x="1335" y="12199"/>
                    <a:pt x="1335" y="12199"/>
                  </a:cubicBezTo>
                  <a:cubicBezTo>
                    <a:pt x="1335" y="12199"/>
                    <a:pt x="1335" y="12043"/>
                    <a:pt x="1335" y="12043"/>
                  </a:cubicBezTo>
                  <a:cubicBezTo>
                    <a:pt x="1335" y="12043"/>
                    <a:pt x="1456" y="11888"/>
                    <a:pt x="1456" y="11810"/>
                  </a:cubicBezTo>
                  <a:cubicBezTo>
                    <a:pt x="1456" y="11810"/>
                    <a:pt x="1578" y="11655"/>
                    <a:pt x="1578" y="11655"/>
                  </a:cubicBezTo>
                  <a:cubicBezTo>
                    <a:pt x="1578" y="11655"/>
                    <a:pt x="1699" y="11577"/>
                    <a:pt x="1699" y="11499"/>
                  </a:cubicBezTo>
                  <a:cubicBezTo>
                    <a:pt x="1820" y="11499"/>
                    <a:pt x="2063" y="11344"/>
                    <a:pt x="2063" y="11344"/>
                  </a:cubicBezTo>
                  <a:cubicBezTo>
                    <a:pt x="2063" y="11344"/>
                    <a:pt x="2184" y="11111"/>
                    <a:pt x="2184" y="11111"/>
                  </a:cubicBezTo>
                  <a:cubicBezTo>
                    <a:pt x="2184" y="11111"/>
                    <a:pt x="2306" y="10878"/>
                    <a:pt x="2306" y="10878"/>
                  </a:cubicBezTo>
                  <a:cubicBezTo>
                    <a:pt x="2184" y="10722"/>
                    <a:pt x="2184" y="10722"/>
                    <a:pt x="2184" y="10722"/>
                  </a:cubicBezTo>
                  <a:cubicBezTo>
                    <a:pt x="2063" y="10645"/>
                    <a:pt x="2063" y="10645"/>
                    <a:pt x="2063" y="10645"/>
                  </a:cubicBezTo>
                  <a:cubicBezTo>
                    <a:pt x="2306" y="10567"/>
                    <a:pt x="2306" y="10567"/>
                    <a:pt x="2306" y="10567"/>
                  </a:cubicBezTo>
                  <a:cubicBezTo>
                    <a:pt x="2306" y="10567"/>
                    <a:pt x="2306" y="10567"/>
                    <a:pt x="2427" y="10567"/>
                  </a:cubicBezTo>
                  <a:cubicBezTo>
                    <a:pt x="2548" y="10567"/>
                    <a:pt x="2670" y="10489"/>
                    <a:pt x="2670" y="10489"/>
                  </a:cubicBezTo>
                  <a:cubicBezTo>
                    <a:pt x="2791" y="10489"/>
                    <a:pt x="3034" y="10412"/>
                    <a:pt x="3034" y="10412"/>
                  </a:cubicBezTo>
                  <a:cubicBezTo>
                    <a:pt x="3034" y="10334"/>
                    <a:pt x="3155" y="10334"/>
                    <a:pt x="3155" y="10334"/>
                  </a:cubicBezTo>
                  <a:cubicBezTo>
                    <a:pt x="3276" y="10334"/>
                    <a:pt x="3519" y="10256"/>
                    <a:pt x="3519" y="10256"/>
                  </a:cubicBezTo>
                  <a:cubicBezTo>
                    <a:pt x="3519" y="10256"/>
                    <a:pt x="3640" y="10178"/>
                    <a:pt x="3640" y="10178"/>
                  </a:cubicBezTo>
                  <a:cubicBezTo>
                    <a:pt x="3640" y="10101"/>
                    <a:pt x="3640" y="10101"/>
                    <a:pt x="3640" y="10101"/>
                  </a:cubicBezTo>
                  <a:cubicBezTo>
                    <a:pt x="3883" y="10023"/>
                    <a:pt x="3883" y="10023"/>
                    <a:pt x="3883" y="10023"/>
                  </a:cubicBezTo>
                  <a:cubicBezTo>
                    <a:pt x="3883" y="10023"/>
                    <a:pt x="4004" y="9945"/>
                    <a:pt x="4004" y="9868"/>
                  </a:cubicBezTo>
                  <a:cubicBezTo>
                    <a:pt x="4004" y="9868"/>
                    <a:pt x="4126" y="9712"/>
                    <a:pt x="4126" y="9712"/>
                  </a:cubicBezTo>
                  <a:cubicBezTo>
                    <a:pt x="4126" y="9635"/>
                    <a:pt x="4490" y="9401"/>
                    <a:pt x="4490" y="9401"/>
                  </a:cubicBezTo>
                  <a:cubicBezTo>
                    <a:pt x="4975" y="8858"/>
                    <a:pt x="4975" y="8858"/>
                    <a:pt x="4975" y="8858"/>
                  </a:cubicBezTo>
                  <a:cubicBezTo>
                    <a:pt x="6067" y="7770"/>
                    <a:pt x="6067" y="7770"/>
                    <a:pt x="6067" y="7770"/>
                  </a:cubicBezTo>
                  <a:cubicBezTo>
                    <a:pt x="5946" y="7614"/>
                    <a:pt x="5946" y="7614"/>
                    <a:pt x="5946" y="7614"/>
                  </a:cubicBezTo>
                  <a:cubicBezTo>
                    <a:pt x="6310" y="7226"/>
                    <a:pt x="6310" y="7226"/>
                    <a:pt x="6310" y="7226"/>
                  </a:cubicBezTo>
                  <a:cubicBezTo>
                    <a:pt x="6917" y="6604"/>
                    <a:pt x="6917" y="6604"/>
                    <a:pt x="6917" y="6604"/>
                  </a:cubicBezTo>
                  <a:cubicBezTo>
                    <a:pt x="7524" y="5750"/>
                    <a:pt x="7524" y="5750"/>
                    <a:pt x="7524" y="5750"/>
                  </a:cubicBezTo>
                  <a:cubicBezTo>
                    <a:pt x="7888" y="5283"/>
                    <a:pt x="7888" y="5283"/>
                    <a:pt x="7888" y="5283"/>
                  </a:cubicBezTo>
                  <a:cubicBezTo>
                    <a:pt x="8373" y="4740"/>
                    <a:pt x="8373" y="4740"/>
                    <a:pt x="8373" y="4740"/>
                  </a:cubicBezTo>
                  <a:cubicBezTo>
                    <a:pt x="8616" y="4273"/>
                    <a:pt x="8616" y="4273"/>
                    <a:pt x="8616" y="4273"/>
                  </a:cubicBezTo>
                  <a:cubicBezTo>
                    <a:pt x="8616" y="3729"/>
                    <a:pt x="8616" y="3729"/>
                    <a:pt x="8616" y="3729"/>
                  </a:cubicBezTo>
                  <a:cubicBezTo>
                    <a:pt x="8616" y="3341"/>
                    <a:pt x="8616" y="3341"/>
                    <a:pt x="8616" y="3341"/>
                  </a:cubicBezTo>
                  <a:cubicBezTo>
                    <a:pt x="8616" y="3030"/>
                    <a:pt x="8616" y="3030"/>
                    <a:pt x="8616" y="3030"/>
                  </a:cubicBezTo>
                  <a:cubicBezTo>
                    <a:pt x="8616" y="2875"/>
                    <a:pt x="8616" y="2875"/>
                    <a:pt x="8616" y="2875"/>
                  </a:cubicBezTo>
                  <a:cubicBezTo>
                    <a:pt x="8616" y="2719"/>
                    <a:pt x="8616" y="2719"/>
                    <a:pt x="8616" y="2719"/>
                  </a:cubicBezTo>
                  <a:cubicBezTo>
                    <a:pt x="8494" y="2486"/>
                    <a:pt x="8494" y="2486"/>
                    <a:pt x="8494" y="2486"/>
                  </a:cubicBezTo>
                  <a:cubicBezTo>
                    <a:pt x="8737" y="2331"/>
                    <a:pt x="8737" y="2331"/>
                    <a:pt x="8737" y="2331"/>
                  </a:cubicBezTo>
                  <a:cubicBezTo>
                    <a:pt x="8737" y="2176"/>
                    <a:pt x="8737" y="2176"/>
                    <a:pt x="8737" y="2176"/>
                  </a:cubicBezTo>
                  <a:cubicBezTo>
                    <a:pt x="8737" y="2020"/>
                    <a:pt x="8737" y="2020"/>
                    <a:pt x="8737" y="2020"/>
                  </a:cubicBezTo>
                  <a:cubicBezTo>
                    <a:pt x="8737" y="1865"/>
                    <a:pt x="8737" y="1865"/>
                    <a:pt x="8737" y="1865"/>
                  </a:cubicBezTo>
                  <a:cubicBezTo>
                    <a:pt x="8858" y="1709"/>
                    <a:pt x="8858" y="1709"/>
                    <a:pt x="8858" y="1709"/>
                  </a:cubicBezTo>
                  <a:cubicBezTo>
                    <a:pt x="8737" y="1476"/>
                    <a:pt x="8737" y="1476"/>
                    <a:pt x="8737" y="1476"/>
                  </a:cubicBezTo>
                  <a:cubicBezTo>
                    <a:pt x="8858" y="1321"/>
                    <a:pt x="8858" y="1321"/>
                    <a:pt x="8858" y="1321"/>
                  </a:cubicBezTo>
                  <a:cubicBezTo>
                    <a:pt x="8737" y="1243"/>
                    <a:pt x="8737" y="1243"/>
                    <a:pt x="8737" y="1243"/>
                  </a:cubicBezTo>
                  <a:cubicBezTo>
                    <a:pt x="8858" y="1010"/>
                    <a:pt x="8858" y="1010"/>
                    <a:pt x="8858" y="1010"/>
                  </a:cubicBezTo>
                  <a:cubicBezTo>
                    <a:pt x="8858" y="855"/>
                    <a:pt x="8858" y="855"/>
                    <a:pt x="8858" y="855"/>
                  </a:cubicBezTo>
                  <a:lnTo>
                    <a:pt x="8980" y="699"/>
                  </a:ln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3" name="Shape 2256">
              <a:extLst>
                <a:ext uri="{FF2B5EF4-FFF2-40B4-BE49-F238E27FC236}">
                  <a16:creationId xmlns:a16="http://schemas.microsoft.com/office/drawing/2014/main" id="{037566E8-5B17-B45C-3D7E-EC08B0B9BF06}"/>
                </a:ext>
              </a:extLst>
            </p:cNvPr>
            <p:cNvSpPr/>
            <p:nvPr/>
          </p:nvSpPr>
          <p:spPr>
            <a:xfrm>
              <a:off x="3119769" y="4192031"/>
              <a:ext cx="1286482" cy="1649414"/>
            </a:xfrm>
            <a:custGeom>
              <a:avLst/>
              <a:gdLst/>
              <a:ahLst/>
              <a:cxnLst>
                <a:cxn ang="0">
                  <a:pos x="wd2" y="hd2"/>
                </a:cxn>
                <a:cxn ang="5400000">
                  <a:pos x="wd2" y="hd2"/>
                </a:cxn>
                <a:cxn ang="10800000">
                  <a:pos x="wd2" y="hd2"/>
                </a:cxn>
                <a:cxn ang="16200000">
                  <a:pos x="wd2" y="hd2"/>
                </a:cxn>
              </a:cxnLst>
              <a:rect l="0" t="0" r="r" b="b"/>
              <a:pathLst>
                <a:path w="21600" h="21569" extrusionOk="0">
                  <a:moveTo>
                    <a:pt x="19038" y="16998"/>
                  </a:moveTo>
                  <a:cubicBezTo>
                    <a:pt x="19038" y="16998"/>
                    <a:pt x="19038" y="16998"/>
                    <a:pt x="19038" y="16998"/>
                  </a:cubicBezTo>
                  <a:cubicBezTo>
                    <a:pt x="19038" y="17154"/>
                    <a:pt x="19038" y="17154"/>
                    <a:pt x="19038" y="17154"/>
                  </a:cubicBezTo>
                  <a:cubicBezTo>
                    <a:pt x="19108" y="17416"/>
                    <a:pt x="19108" y="17416"/>
                    <a:pt x="19108" y="17416"/>
                  </a:cubicBezTo>
                  <a:cubicBezTo>
                    <a:pt x="19108" y="17573"/>
                    <a:pt x="19108" y="17573"/>
                    <a:pt x="19108" y="17573"/>
                  </a:cubicBezTo>
                  <a:cubicBezTo>
                    <a:pt x="19108" y="17573"/>
                    <a:pt x="19038" y="17677"/>
                    <a:pt x="18969" y="17677"/>
                  </a:cubicBezTo>
                  <a:cubicBezTo>
                    <a:pt x="18969" y="17677"/>
                    <a:pt x="18900" y="17730"/>
                    <a:pt x="18831" y="17730"/>
                  </a:cubicBezTo>
                  <a:cubicBezTo>
                    <a:pt x="18762" y="17677"/>
                    <a:pt x="18692" y="17625"/>
                    <a:pt x="18692" y="17625"/>
                  </a:cubicBezTo>
                  <a:cubicBezTo>
                    <a:pt x="18277" y="17625"/>
                    <a:pt x="18277" y="17625"/>
                    <a:pt x="18277" y="17625"/>
                  </a:cubicBezTo>
                  <a:cubicBezTo>
                    <a:pt x="18277" y="17625"/>
                    <a:pt x="18277" y="17730"/>
                    <a:pt x="18277" y="17782"/>
                  </a:cubicBezTo>
                  <a:cubicBezTo>
                    <a:pt x="18208" y="17887"/>
                    <a:pt x="18208" y="17887"/>
                    <a:pt x="18208" y="17887"/>
                  </a:cubicBezTo>
                  <a:cubicBezTo>
                    <a:pt x="18208" y="18148"/>
                    <a:pt x="18208" y="18148"/>
                    <a:pt x="18208" y="18148"/>
                  </a:cubicBezTo>
                  <a:cubicBezTo>
                    <a:pt x="17862" y="18410"/>
                    <a:pt x="17862" y="18410"/>
                    <a:pt x="17862" y="18410"/>
                  </a:cubicBezTo>
                  <a:cubicBezTo>
                    <a:pt x="17792" y="18410"/>
                    <a:pt x="17792" y="18410"/>
                    <a:pt x="17792" y="18410"/>
                  </a:cubicBezTo>
                  <a:cubicBezTo>
                    <a:pt x="17792" y="18410"/>
                    <a:pt x="17723" y="18462"/>
                    <a:pt x="17723" y="18462"/>
                  </a:cubicBezTo>
                  <a:cubicBezTo>
                    <a:pt x="17723" y="18462"/>
                    <a:pt x="17377" y="18567"/>
                    <a:pt x="17377" y="18567"/>
                  </a:cubicBezTo>
                  <a:cubicBezTo>
                    <a:pt x="17238" y="18671"/>
                    <a:pt x="17238" y="18671"/>
                    <a:pt x="17238" y="18671"/>
                  </a:cubicBezTo>
                  <a:cubicBezTo>
                    <a:pt x="17169" y="18671"/>
                    <a:pt x="17169" y="18671"/>
                    <a:pt x="17169" y="18671"/>
                  </a:cubicBezTo>
                  <a:cubicBezTo>
                    <a:pt x="17169" y="18671"/>
                    <a:pt x="16962" y="18776"/>
                    <a:pt x="16823" y="18880"/>
                  </a:cubicBezTo>
                  <a:cubicBezTo>
                    <a:pt x="16615" y="18985"/>
                    <a:pt x="16615" y="18985"/>
                    <a:pt x="16615" y="18985"/>
                  </a:cubicBezTo>
                  <a:cubicBezTo>
                    <a:pt x="16615" y="18985"/>
                    <a:pt x="16615" y="18985"/>
                    <a:pt x="16615" y="18985"/>
                  </a:cubicBezTo>
                  <a:cubicBezTo>
                    <a:pt x="16615" y="18985"/>
                    <a:pt x="16615" y="18985"/>
                    <a:pt x="16615" y="18985"/>
                  </a:cubicBezTo>
                  <a:cubicBezTo>
                    <a:pt x="16754" y="19246"/>
                    <a:pt x="16754" y="19246"/>
                    <a:pt x="16754" y="19246"/>
                  </a:cubicBezTo>
                  <a:cubicBezTo>
                    <a:pt x="16962" y="19403"/>
                    <a:pt x="16962" y="19403"/>
                    <a:pt x="16962" y="19403"/>
                  </a:cubicBezTo>
                  <a:cubicBezTo>
                    <a:pt x="17169" y="19665"/>
                    <a:pt x="17169" y="19665"/>
                    <a:pt x="17169" y="19665"/>
                  </a:cubicBezTo>
                  <a:cubicBezTo>
                    <a:pt x="17169" y="19822"/>
                    <a:pt x="17169" y="19822"/>
                    <a:pt x="17169" y="19822"/>
                  </a:cubicBezTo>
                  <a:cubicBezTo>
                    <a:pt x="17169" y="19822"/>
                    <a:pt x="17031" y="19926"/>
                    <a:pt x="17031" y="19926"/>
                  </a:cubicBezTo>
                  <a:cubicBezTo>
                    <a:pt x="17031" y="19979"/>
                    <a:pt x="16962" y="20083"/>
                    <a:pt x="17031" y="20083"/>
                  </a:cubicBezTo>
                  <a:cubicBezTo>
                    <a:pt x="17100" y="20083"/>
                    <a:pt x="17377" y="20136"/>
                    <a:pt x="17377" y="20136"/>
                  </a:cubicBezTo>
                  <a:cubicBezTo>
                    <a:pt x="17377" y="20136"/>
                    <a:pt x="17446" y="20136"/>
                    <a:pt x="17446" y="20136"/>
                  </a:cubicBezTo>
                  <a:cubicBezTo>
                    <a:pt x="17515" y="20136"/>
                    <a:pt x="17515" y="20188"/>
                    <a:pt x="17515" y="20188"/>
                  </a:cubicBezTo>
                  <a:cubicBezTo>
                    <a:pt x="17515" y="20397"/>
                    <a:pt x="17515" y="20397"/>
                    <a:pt x="17515" y="20397"/>
                  </a:cubicBezTo>
                  <a:cubicBezTo>
                    <a:pt x="17515" y="20397"/>
                    <a:pt x="17515" y="20449"/>
                    <a:pt x="17515" y="20659"/>
                  </a:cubicBezTo>
                  <a:cubicBezTo>
                    <a:pt x="17515" y="20868"/>
                    <a:pt x="17446" y="20815"/>
                    <a:pt x="17446" y="20815"/>
                  </a:cubicBezTo>
                  <a:cubicBezTo>
                    <a:pt x="17446" y="20815"/>
                    <a:pt x="17100" y="20711"/>
                    <a:pt x="17100" y="20711"/>
                  </a:cubicBezTo>
                  <a:cubicBezTo>
                    <a:pt x="17100" y="20711"/>
                    <a:pt x="16962" y="20606"/>
                    <a:pt x="16962" y="20606"/>
                  </a:cubicBezTo>
                  <a:cubicBezTo>
                    <a:pt x="16892" y="20554"/>
                    <a:pt x="16892" y="20502"/>
                    <a:pt x="16892" y="20449"/>
                  </a:cubicBezTo>
                  <a:cubicBezTo>
                    <a:pt x="16892" y="20397"/>
                    <a:pt x="16962" y="20292"/>
                    <a:pt x="16962" y="20292"/>
                  </a:cubicBezTo>
                  <a:cubicBezTo>
                    <a:pt x="16962" y="20292"/>
                    <a:pt x="16685" y="20240"/>
                    <a:pt x="16685" y="20240"/>
                  </a:cubicBezTo>
                  <a:cubicBezTo>
                    <a:pt x="16685" y="20240"/>
                    <a:pt x="16477" y="20240"/>
                    <a:pt x="16408" y="20240"/>
                  </a:cubicBezTo>
                  <a:cubicBezTo>
                    <a:pt x="16338" y="20240"/>
                    <a:pt x="16269" y="20345"/>
                    <a:pt x="16269" y="20345"/>
                  </a:cubicBezTo>
                  <a:cubicBezTo>
                    <a:pt x="16200" y="20397"/>
                    <a:pt x="16131" y="20345"/>
                    <a:pt x="16062" y="20345"/>
                  </a:cubicBezTo>
                  <a:cubicBezTo>
                    <a:pt x="16062" y="20345"/>
                    <a:pt x="15992" y="20240"/>
                    <a:pt x="15992" y="20240"/>
                  </a:cubicBezTo>
                  <a:cubicBezTo>
                    <a:pt x="15923" y="20240"/>
                    <a:pt x="15646" y="20188"/>
                    <a:pt x="15577" y="20188"/>
                  </a:cubicBezTo>
                  <a:cubicBezTo>
                    <a:pt x="15577" y="20188"/>
                    <a:pt x="15438" y="20188"/>
                    <a:pt x="15300" y="20188"/>
                  </a:cubicBezTo>
                  <a:cubicBezTo>
                    <a:pt x="15231" y="20240"/>
                    <a:pt x="15300" y="20240"/>
                    <a:pt x="15369" y="20397"/>
                  </a:cubicBezTo>
                  <a:cubicBezTo>
                    <a:pt x="15369" y="20554"/>
                    <a:pt x="15300" y="20449"/>
                    <a:pt x="15231" y="20449"/>
                  </a:cubicBezTo>
                  <a:cubicBezTo>
                    <a:pt x="15162" y="20449"/>
                    <a:pt x="15162" y="20449"/>
                    <a:pt x="15023" y="20449"/>
                  </a:cubicBezTo>
                  <a:cubicBezTo>
                    <a:pt x="14885" y="20449"/>
                    <a:pt x="14815" y="20449"/>
                    <a:pt x="14677" y="20449"/>
                  </a:cubicBezTo>
                  <a:cubicBezTo>
                    <a:pt x="14608" y="20502"/>
                    <a:pt x="14608" y="20502"/>
                    <a:pt x="14608" y="20554"/>
                  </a:cubicBezTo>
                  <a:cubicBezTo>
                    <a:pt x="14538" y="20606"/>
                    <a:pt x="14400" y="20606"/>
                    <a:pt x="14331" y="20606"/>
                  </a:cubicBezTo>
                  <a:cubicBezTo>
                    <a:pt x="14262" y="20606"/>
                    <a:pt x="13985" y="20606"/>
                    <a:pt x="13985" y="20606"/>
                  </a:cubicBezTo>
                  <a:cubicBezTo>
                    <a:pt x="13915" y="20606"/>
                    <a:pt x="13846" y="20711"/>
                    <a:pt x="13777" y="20763"/>
                  </a:cubicBezTo>
                  <a:cubicBezTo>
                    <a:pt x="13777" y="20763"/>
                    <a:pt x="13500" y="20763"/>
                    <a:pt x="13500" y="20763"/>
                  </a:cubicBezTo>
                  <a:cubicBezTo>
                    <a:pt x="13431" y="20815"/>
                    <a:pt x="13431" y="20815"/>
                    <a:pt x="13362" y="20868"/>
                  </a:cubicBezTo>
                  <a:cubicBezTo>
                    <a:pt x="13223" y="20920"/>
                    <a:pt x="13223" y="20920"/>
                    <a:pt x="13154" y="21025"/>
                  </a:cubicBezTo>
                  <a:cubicBezTo>
                    <a:pt x="13015" y="21129"/>
                    <a:pt x="13085" y="21077"/>
                    <a:pt x="12808" y="21025"/>
                  </a:cubicBezTo>
                  <a:cubicBezTo>
                    <a:pt x="12600" y="21025"/>
                    <a:pt x="12738" y="21077"/>
                    <a:pt x="12669" y="21077"/>
                  </a:cubicBezTo>
                  <a:cubicBezTo>
                    <a:pt x="12600" y="21077"/>
                    <a:pt x="12531" y="21129"/>
                    <a:pt x="12462" y="21182"/>
                  </a:cubicBezTo>
                  <a:cubicBezTo>
                    <a:pt x="12462" y="21234"/>
                    <a:pt x="12323" y="21129"/>
                    <a:pt x="12254" y="21129"/>
                  </a:cubicBezTo>
                  <a:cubicBezTo>
                    <a:pt x="12185" y="21182"/>
                    <a:pt x="12185" y="21077"/>
                    <a:pt x="12185" y="20920"/>
                  </a:cubicBezTo>
                  <a:cubicBezTo>
                    <a:pt x="12115" y="20815"/>
                    <a:pt x="11977" y="20815"/>
                    <a:pt x="11977" y="20815"/>
                  </a:cubicBezTo>
                  <a:cubicBezTo>
                    <a:pt x="11977" y="20815"/>
                    <a:pt x="11838" y="20815"/>
                    <a:pt x="11838" y="20763"/>
                  </a:cubicBezTo>
                  <a:cubicBezTo>
                    <a:pt x="11838" y="20711"/>
                    <a:pt x="11562" y="20711"/>
                    <a:pt x="11492" y="20711"/>
                  </a:cubicBezTo>
                  <a:cubicBezTo>
                    <a:pt x="11492" y="20711"/>
                    <a:pt x="11285" y="20711"/>
                    <a:pt x="11285" y="20711"/>
                  </a:cubicBezTo>
                  <a:cubicBezTo>
                    <a:pt x="11285" y="20711"/>
                    <a:pt x="11077" y="20711"/>
                    <a:pt x="11077" y="20763"/>
                  </a:cubicBezTo>
                  <a:cubicBezTo>
                    <a:pt x="11077" y="20763"/>
                    <a:pt x="11008" y="20763"/>
                    <a:pt x="10869" y="20815"/>
                  </a:cubicBezTo>
                  <a:cubicBezTo>
                    <a:pt x="10662" y="20868"/>
                    <a:pt x="10800" y="20815"/>
                    <a:pt x="10800" y="20920"/>
                  </a:cubicBezTo>
                  <a:cubicBezTo>
                    <a:pt x="10869" y="20972"/>
                    <a:pt x="10869" y="21025"/>
                    <a:pt x="10869" y="21025"/>
                  </a:cubicBezTo>
                  <a:cubicBezTo>
                    <a:pt x="10938" y="21077"/>
                    <a:pt x="10869" y="21025"/>
                    <a:pt x="10869" y="21129"/>
                  </a:cubicBezTo>
                  <a:cubicBezTo>
                    <a:pt x="10800" y="21234"/>
                    <a:pt x="10800" y="21182"/>
                    <a:pt x="10800" y="21286"/>
                  </a:cubicBezTo>
                  <a:cubicBezTo>
                    <a:pt x="10731" y="21338"/>
                    <a:pt x="10731" y="21286"/>
                    <a:pt x="10662" y="21443"/>
                  </a:cubicBezTo>
                  <a:cubicBezTo>
                    <a:pt x="10592" y="21548"/>
                    <a:pt x="10662" y="21443"/>
                    <a:pt x="10592" y="21548"/>
                  </a:cubicBezTo>
                  <a:cubicBezTo>
                    <a:pt x="10523" y="21600"/>
                    <a:pt x="10385" y="21548"/>
                    <a:pt x="10246" y="21495"/>
                  </a:cubicBezTo>
                  <a:cubicBezTo>
                    <a:pt x="10177" y="21495"/>
                    <a:pt x="10246" y="21443"/>
                    <a:pt x="10246" y="21338"/>
                  </a:cubicBezTo>
                  <a:cubicBezTo>
                    <a:pt x="10315" y="21234"/>
                    <a:pt x="10246" y="21286"/>
                    <a:pt x="10246" y="21234"/>
                  </a:cubicBezTo>
                  <a:cubicBezTo>
                    <a:pt x="10246" y="21182"/>
                    <a:pt x="10177" y="21234"/>
                    <a:pt x="10038" y="21286"/>
                  </a:cubicBezTo>
                  <a:cubicBezTo>
                    <a:pt x="9969" y="21286"/>
                    <a:pt x="9969" y="21182"/>
                    <a:pt x="10038" y="21077"/>
                  </a:cubicBezTo>
                  <a:cubicBezTo>
                    <a:pt x="10038" y="20972"/>
                    <a:pt x="9969" y="21025"/>
                    <a:pt x="9969" y="20972"/>
                  </a:cubicBezTo>
                  <a:cubicBezTo>
                    <a:pt x="9969" y="20972"/>
                    <a:pt x="9900" y="20920"/>
                    <a:pt x="9831" y="20920"/>
                  </a:cubicBezTo>
                  <a:cubicBezTo>
                    <a:pt x="9762" y="20920"/>
                    <a:pt x="9692" y="20868"/>
                    <a:pt x="9692" y="20868"/>
                  </a:cubicBezTo>
                  <a:cubicBezTo>
                    <a:pt x="9623" y="20815"/>
                    <a:pt x="9485" y="20711"/>
                    <a:pt x="9415" y="20659"/>
                  </a:cubicBezTo>
                  <a:cubicBezTo>
                    <a:pt x="9277" y="20606"/>
                    <a:pt x="9138" y="20659"/>
                    <a:pt x="9138" y="20659"/>
                  </a:cubicBezTo>
                  <a:cubicBezTo>
                    <a:pt x="9138" y="20659"/>
                    <a:pt x="9000" y="20763"/>
                    <a:pt x="8862" y="20868"/>
                  </a:cubicBezTo>
                  <a:cubicBezTo>
                    <a:pt x="8862" y="20868"/>
                    <a:pt x="8862" y="20920"/>
                    <a:pt x="8862" y="20920"/>
                  </a:cubicBezTo>
                  <a:cubicBezTo>
                    <a:pt x="8792" y="20920"/>
                    <a:pt x="8792" y="20920"/>
                    <a:pt x="8792" y="20868"/>
                  </a:cubicBezTo>
                  <a:cubicBezTo>
                    <a:pt x="8792" y="20868"/>
                    <a:pt x="8723" y="20815"/>
                    <a:pt x="8723" y="20815"/>
                  </a:cubicBezTo>
                  <a:cubicBezTo>
                    <a:pt x="8723" y="20815"/>
                    <a:pt x="8723" y="20711"/>
                    <a:pt x="8654" y="20711"/>
                  </a:cubicBezTo>
                  <a:cubicBezTo>
                    <a:pt x="8654" y="20711"/>
                    <a:pt x="8585" y="20711"/>
                    <a:pt x="8515" y="20659"/>
                  </a:cubicBezTo>
                  <a:cubicBezTo>
                    <a:pt x="8446" y="20659"/>
                    <a:pt x="8377" y="20606"/>
                    <a:pt x="8377" y="20606"/>
                  </a:cubicBezTo>
                  <a:cubicBezTo>
                    <a:pt x="8308" y="20606"/>
                    <a:pt x="8169" y="20502"/>
                    <a:pt x="8169" y="20502"/>
                  </a:cubicBezTo>
                  <a:cubicBezTo>
                    <a:pt x="8169" y="20502"/>
                    <a:pt x="8169" y="20502"/>
                    <a:pt x="8100" y="20502"/>
                  </a:cubicBezTo>
                  <a:cubicBezTo>
                    <a:pt x="8100" y="20502"/>
                    <a:pt x="8031" y="20449"/>
                    <a:pt x="8031" y="20449"/>
                  </a:cubicBezTo>
                  <a:cubicBezTo>
                    <a:pt x="7962" y="20449"/>
                    <a:pt x="7962" y="20449"/>
                    <a:pt x="7962" y="20449"/>
                  </a:cubicBezTo>
                  <a:cubicBezTo>
                    <a:pt x="7962" y="20449"/>
                    <a:pt x="7962" y="20449"/>
                    <a:pt x="7962" y="20449"/>
                  </a:cubicBezTo>
                  <a:cubicBezTo>
                    <a:pt x="7892" y="20449"/>
                    <a:pt x="7892" y="20449"/>
                    <a:pt x="7823" y="20397"/>
                  </a:cubicBezTo>
                  <a:cubicBezTo>
                    <a:pt x="7685" y="20397"/>
                    <a:pt x="7754" y="20397"/>
                    <a:pt x="7615" y="20397"/>
                  </a:cubicBezTo>
                  <a:cubicBezTo>
                    <a:pt x="7546" y="20397"/>
                    <a:pt x="7477" y="20397"/>
                    <a:pt x="7477" y="20397"/>
                  </a:cubicBezTo>
                  <a:cubicBezTo>
                    <a:pt x="7477" y="20397"/>
                    <a:pt x="7408" y="20345"/>
                    <a:pt x="7269" y="20345"/>
                  </a:cubicBezTo>
                  <a:cubicBezTo>
                    <a:pt x="7200" y="20397"/>
                    <a:pt x="7062" y="20449"/>
                    <a:pt x="6992" y="20449"/>
                  </a:cubicBezTo>
                  <a:cubicBezTo>
                    <a:pt x="6992" y="20449"/>
                    <a:pt x="6923" y="20397"/>
                    <a:pt x="6923" y="20397"/>
                  </a:cubicBezTo>
                  <a:cubicBezTo>
                    <a:pt x="6923" y="20397"/>
                    <a:pt x="6923" y="20345"/>
                    <a:pt x="6923" y="20345"/>
                  </a:cubicBezTo>
                  <a:cubicBezTo>
                    <a:pt x="6923" y="20345"/>
                    <a:pt x="6854" y="20292"/>
                    <a:pt x="6785" y="20240"/>
                  </a:cubicBezTo>
                  <a:cubicBezTo>
                    <a:pt x="6785" y="20240"/>
                    <a:pt x="6715" y="20240"/>
                    <a:pt x="6715" y="20240"/>
                  </a:cubicBezTo>
                  <a:cubicBezTo>
                    <a:pt x="6715" y="20240"/>
                    <a:pt x="6715" y="20240"/>
                    <a:pt x="6715" y="20292"/>
                  </a:cubicBezTo>
                  <a:cubicBezTo>
                    <a:pt x="6715" y="20345"/>
                    <a:pt x="6854" y="20345"/>
                    <a:pt x="6715" y="20345"/>
                  </a:cubicBezTo>
                  <a:cubicBezTo>
                    <a:pt x="6646" y="20292"/>
                    <a:pt x="6577" y="20292"/>
                    <a:pt x="6577" y="20292"/>
                  </a:cubicBezTo>
                  <a:cubicBezTo>
                    <a:pt x="6369" y="20345"/>
                    <a:pt x="6369" y="20345"/>
                    <a:pt x="6369" y="20345"/>
                  </a:cubicBezTo>
                  <a:cubicBezTo>
                    <a:pt x="6438" y="20292"/>
                    <a:pt x="6438" y="20292"/>
                    <a:pt x="6438" y="20292"/>
                  </a:cubicBezTo>
                  <a:cubicBezTo>
                    <a:pt x="6438" y="20292"/>
                    <a:pt x="6508" y="20292"/>
                    <a:pt x="6508" y="20292"/>
                  </a:cubicBezTo>
                  <a:cubicBezTo>
                    <a:pt x="6508" y="20240"/>
                    <a:pt x="6508" y="20240"/>
                    <a:pt x="6508" y="20240"/>
                  </a:cubicBezTo>
                  <a:cubicBezTo>
                    <a:pt x="6508" y="20240"/>
                    <a:pt x="6508" y="20188"/>
                    <a:pt x="6508" y="20188"/>
                  </a:cubicBezTo>
                  <a:cubicBezTo>
                    <a:pt x="6577" y="20188"/>
                    <a:pt x="6646" y="20136"/>
                    <a:pt x="6577" y="20136"/>
                  </a:cubicBezTo>
                  <a:cubicBezTo>
                    <a:pt x="6508" y="20136"/>
                    <a:pt x="6438" y="20136"/>
                    <a:pt x="6438" y="20136"/>
                  </a:cubicBezTo>
                  <a:cubicBezTo>
                    <a:pt x="6438" y="20083"/>
                    <a:pt x="6438" y="20083"/>
                    <a:pt x="6438" y="20083"/>
                  </a:cubicBezTo>
                  <a:cubicBezTo>
                    <a:pt x="6438" y="20083"/>
                    <a:pt x="6369" y="20031"/>
                    <a:pt x="6369" y="20031"/>
                  </a:cubicBezTo>
                  <a:cubicBezTo>
                    <a:pt x="6369" y="20083"/>
                    <a:pt x="6369" y="20136"/>
                    <a:pt x="6369" y="20136"/>
                  </a:cubicBezTo>
                  <a:cubicBezTo>
                    <a:pt x="6300" y="20136"/>
                    <a:pt x="6300" y="20136"/>
                    <a:pt x="6300" y="20083"/>
                  </a:cubicBezTo>
                  <a:cubicBezTo>
                    <a:pt x="6300" y="20031"/>
                    <a:pt x="6300" y="20031"/>
                    <a:pt x="6300" y="20031"/>
                  </a:cubicBezTo>
                  <a:cubicBezTo>
                    <a:pt x="6231" y="20031"/>
                    <a:pt x="6162" y="20031"/>
                    <a:pt x="6162" y="20031"/>
                  </a:cubicBezTo>
                  <a:cubicBezTo>
                    <a:pt x="6162" y="20031"/>
                    <a:pt x="6231" y="20083"/>
                    <a:pt x="6092" y="20083"/>
                  </a:cubicBezTo>
                  <a:cubicBezTo>
                    <a:pt x="6023" y="20083"/>
                    <a:pt x="5954" y="20136"/>
                    <a:pt x="5885" y="20136"/>
                  </a:cubicBezTo>
                  <a:cubicBezTo>
                    <a:pt x="5815" y="20188"/>
                    <a:pt x="5815" y="20240"/>
                    <a:pt x="5815" y="20240"/>
                  </a:cubicBezTo>
                  <a:cubicBezTo>
                    <a:pt x="5815" y="20292"/>
                    <a:pt x="5677" y="20292"/>
                    <a:pt x="5677" y="20345"/>
                  </a:cubicBezTo>
                  <a:cubicBezTo>
                    <a:pt x="5746" y="20345"/>
                    <a:pt x="5677" y="20345"/>
                    <a:pt x="5815" y="20397"/>
                  </a:cubicBezTo>
                  <a:cubicBezTo>
                    <a:pt x="5885" y="20397"/>
                    <a:pt x="5885" y="20397"/>
                    <a:pt x="5954" y="20397"/>
                  </a:cubicBezTo>
                  <a:cubicBezTo>
                    <a:pt x="6023" y="20449"/>
                    <a:pt x="6092" y="20397"/>
                    <a:pt x="6092" y="20397"/>
                  </a:cubicBezTo>
                  <a:cubicBezTo>
                    <a:pt x="6092" y="20397"/>
                    <a:pt x="6092" y="20397"/>
                    <a:pt x="6162" y="20449"/>
                  </a:cubicBezTo>
                  <a:cubicBezTo>
                    <a:pt x="6162" y="20449"/>
                    <a:pt x="6231" y="20397"/>
                    <a:pt x="6231" y="20449"/>
                  </a:cubicBezTo>
                  <a:cubicBezTo>
                    <a:pt x="6231" y="20502"/>
                    <a:pt x="6300" y="20554"/>
                    <a:pt x="6231" y="20554"/>
                  </a:cubicBezTo>
                  <a:cubicBezTo>
                    <a:pt x="6162" y="20554"/>
                    <a:pt x="6092" y="20606"/>
                    <a:pt x="6092" y="20554"/>
                  </a:cubicBezTo>
                  <a:cubicBezTo>
                    <a:pt x="6092" y="20554"/>
                    <a:pt x="6092" y="20502"/>
                    <a:pt x="6023" y="20502"/>
                  </a:cubicBezTo>
                  <a:cubicBezTo>
                    <a:pt x="6023" y="20502"/>
                    <a:pt x="5954" y="20502"/>
                    <a:pt x="5954" y="20502"/>
                  </a:cubicBezTo>
                  <a:cubicBezTo>
                    <a:pt x="5885" y="20606"/>
                    <a:pt x="5885" y="20606"/>
                    <a:pt x="5885" y="20606"/>
                  </a:cubicBezTo>
                  <a:cubicBezTo>
                    <a:pt x="5885" y="20606"/>
                    <a:pt x="5885" y="20659"/>
                    <a:pt x="5815" y="20659"/>
                  </a:cubicBezTo>
                  <a:cubicBezTo>
                    <a:pt x="5746" y="20659"/>
                    <a:pt x="5815" y="20659"/>
                    <a:pt x="5677" y="20659"/>
                  </a:cubicBezTo>
                  <a:cubicBezTo>
                    <a:pt x="5538" y="20659"/>
                    <a:pt x="5538" y="20606"/>
                    <a:pt x="5469" y="20606"/>
                  </a:cubicBezTo>
                  <a:cubicBezTo>
                    <a:pt x="5469" y="20606"/>
                    <a:pt x="5469" y="20606"/>
                    <a:pt x="5400" y="20606"/>
                  </a:cubicBezTo>
                  <a:cubicBezTo>
                    <a:pt x="5400" y="20606"/>
                    <a:pt x="5262" y="20502"/>
                    <a:pt x="5192" y="20606"/>
                  </a:cubicBezTo>
                  <a:cubicBezTo>
                    <a:pt x="5123" y="20659"/>
                    <a:pt x="5054" y="20711"/>
                    <a:pt x="5054" y="20711"/>
                  </a:cubicBezTo>
                  <a:cubicBezTo>
                    <a:pt x="4846" y="20711"/>
                    <a:pt x="4846" y="20711"/>
                    <a:pt x="4846" y="20711"/>
                  </a:cubicBezTo>
                  <a:cubicBezTo>
                    <a:pt x="4846" y="20711"/>
                    <a:pt x="4777" y="20711"/>
                    <a:pt x="4708" y="20711"/>
                  </a:cubicBezTo>
                  <a:cubicBezTo>
                    <a:pt x="4638" y="20711"/>
                    <a:pt x="4569" y="20711"/>
                    <a:pt x="4569" y="20711"/>
                  </a:cubicBezTo>
                  <a:cubicBezTo>
                    <a:pt x="4500" y="20763"/>
                    <a:pt x="4431" y="20606"/>
                    <a:pt x="4431" y="20606"/>
                  </a:cubicBezTo>
                  <a:cubicBezTo>
                    <a:pt x="4431" y="20606"/>
                    <a:pt x="4500" y="20502"/>
                    <a:pt x="4292" y="20606"/>
                  </a:cubicBezTo>
                  <a:cubicBezTo>
                    <a:pt x="4085" y="20711"/>
                    <a:pt x="4015" y="20711"/>
                    <a:pt x="4015" y="20711"/>
                  </a:cubicBezTo>
                  <a:cubicBezTo>
                    <a:pt x="4015" y="20711"/>
                    <a:pt x="3946" y="20711"/>
                    <a:pt x="3946" y="20763"/>
                  </a:cubicBezTo>
                  <a:cubicBezTo>
                    <a:pt x="3946" y="20711"/>
                    <a:pt x="3946" y="20711"/>
                    <a:pt x="3946" y="20711"/>
                  </a:cubicBezTo>
                  <a:cubicBezTo>
                    <a:pt x="3946" y="20711"/>
                    <a:pt x="3946" y="20711"/>
                    <a:pt x="3946" y="20711"/>
                  </a:cubicBezTo>
                  <a:cubicBezTo>
                    <a:pt x="3946" y="20711"/>
                    <a:pt x="3946" y="20711"/>
                    <a:pt x="3946" y="20711"/>
                  </a:cubicBezTo>
                  <a:cubicBezTo>
                    <a:pt x="3946" y="20711"/>
                    <a:pt x="3946" y="20711"/>
                    <a:pt x="3946" y="20711"/>
                  </a:cubicBezTo>
                  <a:cubicBezTo>
                    <a:pt x="3946" y="20711"/>
                    <a:pt x="3946" y="20711"/>
                    <a:pt x="3946" y="20711"/>
                  </a:cubicBezTo>
                  <a:cubicBezTo>
                    <a:pt x="3946" y="20711"/>
                    <a:pt x="3946" y="20711"/>
                    <a:pt x="3946" y="20711"/>
                  </a:cubicBezTo>
                  <a:cubicBezTo>
                    <a:pt x="3877" y="20711"/>
                    <a:pt x="3877" y="20711"/>
                    <a:pt x="3877" y="20659"/>
                  </a:cubicBezTo>
                  <a:cubicBezTo>
                    <a:pt x="3877" y="20659"/>
                    <a:pt x="3877" y="20659"/>
                    <a:pt x="3877" y="20659"/>
                  </a:cubicBezTo>
                  <a:cubicBezTo>
                    <a:pt x="3877" y="20659"/>
                    <a:pt x="3808" y="20659"/>
                    <a:pt x="3808" y="20606"/>
                  </a:cubicBezTo>
                  <a:cubicBezTo>
                    <a:pt x="3669" y="20502"/>
                    <a:pt x="3462" y="20292"/>
                    <a:pt x="3462" y="20292"/>
                  </a:cubicBezTo>
                  <a:cubicBezTo>
                    <a:pt x="3600" y="20083"/>
                    <a:pt x="3600" y="20083"/>
                    <a:pt x="3600" y="20083"/>
                  </a:cubicBezTo>
                  <a:cubicBezTo>
                    <a:pt x="3600" y="20083"/>
                    <a:pt x="3669" y="19717"/>
                    <a:pt x="3669" y="19613"/>
                  </a:cubicBezTo>
                  <a:cubicBezTo>
                    <a:pt x="3669" y="19560"/>
                    <a:pt x="3669" y="19246"/>
                    <a:pt x="3669" y="19246"/>
                  </a:cubicBezTo>
                  <a:cubicBezTo>
                    <a:pt x="3669" y="19246"/>
                    <a:pt x="3392" y="19194"/>
                    <a:pt x="3600" y="19037"/>
                  </a:cubicBezTo>
                  <a:cubicBezTo>
                    <a:pt x="3808" y="18828"/>
                    <a:pt x="4015" y="18567"/>
                    <a:pt x="4015" y="18567"/>
                  </a:cubicBezTo>
                  <a:cubicBezTo>
                    <a:pt x="4015" y="18044"/>
                    <a:pt x="4015" y="18044"/>
                    <a:pt x="4015" y="18044"/>
                  </a:cubicBezTo>
                  <a:cubicBezTo>
                    <a:pt x="4015" y="18044"/>
                    <a:pt x="3808" y="17887"/>
                    <a:pt x="4085" y="17782"/>
                  </a:cubicBezTo>
                  <a:cubicBezTo>
                    <a:pt x="4362" y="17625"/>
                    <a:pt x="4846" y="17154"/>
                    <a:pt x="4846" y="17154"/>
                  </a:cubicBezTo>
                  <a:cubicBezTo>
                    <a:pt x="5331" y="16736"/>
                    <a:pt x="5331" y="16736"/>
                    <a:pt x="5331" y="16736"/>
                  </a:cubicBezTo>
                  <a:cubicBezTo>
                    <a:pt x="4500" y="16579"/>
                    <a:pt x="4500" y="16579"/>
                    <a:pt x="4500" y="16579"/>
                  </a:cubicBezTo>
                  <a:cubicBezTo>
                    <a:pt x="4015" y="16527"/>
                    <a:pt x="4015" y="16527"/>
                    <a:pt x="4015" y="16527"/>
                  </a:cubicBezTo>
                  <a:cubicBezTo>
                    <a:pt x="3669" y="16370"/>
                    <a:pt x="3669" y="16370"/>
                    <a:pt x="3669" y="16370"/>
                  </a:cubicBezTo>
                  <a:cubicBezTo>
                    <a:pt x="3462" y="16108"/>
                    <a:pt x="3462" y="16108"/>
                    <a:pt x="3462" y="16108"/>
                  </a:cubicBezTo>
                  <a:cubicBezTo>
                    <a:pt x="3254" y="16213"/>
                    <a:pt x="3254" y="16213"/>
                    <a:pt x="3254" y="16213"/>
                  </a:cubicBezTo>
                  <a:cubicBezTo>
                    <a:pt x="3046" y="16318"/>
                    <a:pt x="3046" y="16318"/>
                    <a:pt x="3046" y="16318"/>
                  </a:cubicBezTo>
                  <a:cubicBezTo>
                    <a:pt x="2562" y="16265"/>
                    <a:pt x="2562" y="16265"/>
                    <a:pt x="2562" y="16265"/>
                  </a:cubicBezTo>
                  <a:cubicBezTo>
                    <a:pt x="2215" y="16004"/>
                    <a:pt x="2215" y="16004"/>
                    <a:pt x="2215" y="16004"/>
                  </a:cubicBezTo>
                  <a:cubicBezTo>
                    <a:pt x="1938" y="16161"/>
                    <a:pt x="1938" y="16161"/>
                    <a:pt x="1938" y="16161"/>
                  </a:cubicBezTo>
                  <a:cubicBezTo>
                    <a:pt x="1662" y="16004"/>
                    <a:pt x="1662" y="16004"/>
                    <a:pt x="1662" y="16004"/>
                  </a:cubicBezTo>
                  <a:cubicBezTo>
                    <a:pt x="1454" y="15742"/>
                    <a:pt x="1454" y="15742"/>
                    <a:pt x="1454" y="15742"/>
                  </a:cubicBezTo>
                  <a:cubicBezTo>
                    <a:pt x="1385" y="15533"/>
                    <a:pt x="1385" y="15533"/>
                    <a:pt x="1385" y="15533"/>
                  </a:cubicBezTo>
                  <a:cubicBezTo>
                    <a:pt x="1038" y="15272"/>
                    <a:pt x="1038" y="15272"/>
                    <a:pt x="1038" y="15272"/>
                  </a:cubicBezTo>
                  <a:cubicBezTo>
                    <a:pt x="900" y="15272"/>
                    <a:pt x="900" y="15272"/>
                    <a:pt x="900" y="15272"/>
                  </a:cubicBezTo>
                  <a:cubicBezTo>
                    <a:pt x="900" y="15219"/>
                    <a:pt x="900" y="15219"/>
                    <a:pt x="900" y="15219"/>
                  </a:cubicBezTo>
                  <a:cubicBezTo>
                    <a:pt x="831" y="14906"/>
                    <a:pt x="831" y="14906"/>
                    <a:pt x="831" y="14906"/>
                  </a:cubicBezTo>
                  <a:cubicBezTo>
                    <a:pt x="1038" y="14801"/>
                    <a:pt x="1038" y="14801"/>
                    <a:pt x="1038" y="14801"/>
                  </a:cubicBezTo>
                  <a:cubicBezTo>
                    <a:pt x="1177" y="14644"/>
                    <a:pt x="1177" y="14644"/>
                    <a:pt x="1177" y="14644"/>
                  </a:cubicBezTo>
                  <a:cubicBezTo>
                    <a:pt x="1315" y="14487"/>
                    <a:pt x="1315" y="14487"/>
                    <a:pt x="1315" y="14487"/>
                  </a:cubicBezTo>
                  <a:cubicBezTo>
                    <a:pt x="1246" y="14278"/>
                    <a:pt x="1246" y="14278"/>
                    <a:pt x="1246" y="14278"/>
                  </a:cubicBezTo>
                  <a:cubicBezTo>
                    <a:pt x="1246" y="14278"/>
                    <a:pt x="969" y="14278"/>
                    <a:pt x="900" y="14226"/>
                  </a:cubicBezTo>
                  <a:cubicBezTo>
                    <a:pt x="831" y="14226"/>
                    <a:pt x="623" y="14121"/>
                    <a:pt x="623" y="14121"/>
                  </a:cubicBezTo>
                  <a:cubicBezTo>
                    <a:pt x="554" y="13860"/>
                    <a:pt x="554" y="13860"/>
                    <a:pt x="554" y="13860"/>
                  </a:cubicBezTo>
                  <a:cubicBezTo>
                    <a:pt x="415" y="13703"/>
                    <a:pt x="415" y="13703"/>
                    <a:pt x="415" y="13703"/>
                  </a:cubicBezTo>
                  <a:cubicBezTo>
                    <a:pt x="346" y="13441"/>
                    <a:pt x="346" y="13441"/>
                    <a:pt x="346" y="13441"/>
                  </a:cubicBezTo>
                  <a:cubicBezTo>
                    <a:pt x="415" y="13180"/>
                    <a:pt x="415" y="13180"/>
                    <a:pt x="415" y="13180"/>
                  </a:cubicBezTo>
                  <a:cubicBezTo>
                    <a:pt x="415" y="13180"/>
                    <a:pt x="415" y="13180"/>
                    <a:pt x="415" y="13180"/>
                  </a:cubicBezTo>
                  <a:cubicBezTo>
                    <a:pt x="415" y="13180"/>
                    <a:pt x="415" y="13180"/>
                    <a:pt x="415" y="13180"/>
                  </a:cubicBezTo>
                  <a:cubicBezTo>
                    <a:pt x="485" y="13180"/>
                    <a:pt x="485" y="13180"/>
                    <a:pt x="485" y="13180"/>
                  </a:cubicBezTo>
                  <a:cubicBezTo>
                    <a:pt x="554" y="13075"/>
                    <a:pt x="554" y="13075"/>
                    <a:pt x="554" y="13075"/>
                  </a:cubicBezTo>
                  <a:cubicBezTo>
                    <a:pt x="554" y="13023"/>
                    <a:pt x="554" y="13023"/>
                    <a:pt x="554" y="13023"/>
                  </a:cubicBezTo>
                  <a:cubicBezTo>
                    <a:pt x="554" y="13023"/>
                    <a:pt x="623" y="12970"/>
                    <a:pt x="692" y="12970"/>
                  </a:cubicBezTo>
                  <a:cubicBezTo>
                    <a:pt x="692" y="12970"/>
                    <a:pt x="762" y="12970"/>
                    <a:pt x="762" y="12970"/>
                  </a:cubicBezTo>
                  <a:cubicBezTo>
                    <a:pt x="831" y="12970"/>
                    <a:pt x="831" y="12814"/>
                    <a:pt x="831" y="12814"/>
                  </a:cubicBezTo>
                  <a:cubicBezTo>
                    <a:pt x="969" y="12814"/>
                    <a:pt x="969" y="12814"/>
                    <a:pt x="969" y="12814"/>
                  </a:cubicBezTo>
                  <a:cubicBezTo>
                    <a:pt x="969" y="12814"/>
                    <a:pt x="1038" y="12761"/>
                    <a:pt x="1038" y="12761"/>
                  </a:cubicBezTo>
                  <a:cubicBezTo>
                    <a:pt x="1038" y="12709"/>
                    <a:pt x="1038" y="12657"/>
                    <a:pt x="1038" y="12657"/>
                  </a:cubicBezTo>
                  <a:cubicBezTo>
                    <a:pt x="1038" y="12657"/>
                    <a:pt x="1108" y="12552"/>
                    <a:pt x="1108" y="12500"/>
                  </a:cubicBezTo>
                  <a:cubicBezTo>
                    <a:pt x="1108" y="12447"/>
                    <a:pt x="1038" y="12395"/>
                    <a:pt x="1038" y="12395"/>
                  </a:cubicBezTo>
                  <a:cubicBezTo>
                    <a:pt x="1038" y="12395"/>
                    <a:pt x="969" y="12291"/>
                    <a:pt x="900" y="12291"/>
                  </a:cubicBezTo>
                  <a:cubicBezTo>
                    <a:pt x="900" y="12291"/>
                    <a:pt x="762" y="12291"/>
                    <a:pt x="762" y="12291"/>
                  </a:cubicBezTo>
                  <a:cubicBezTo>
                    <a:pt x="692" y="12291"/>
                    <a:pt x="623" y="12186"/>
                    <a:pt x="623" y="12186"/>
                  </a:cubicBezTo>
                  <a:cubicBezTo>
                    <a:pt x="623" y="12186"/>
                    <a:pt x="692" y="12134"/>
                    <a:pt x="692" y="12081"/>
                  </a:cubicBezTo>
                  <a:cubicBezTo>
                    <a:pt x="762" y="12081"/>
                    <a:pt x="762" y="11924"/>
                    <a:pt x="762" y="11924"/>
                  </a:cubicBezTo>
                  <a:cubicBezTo>
                    <a:pt x="762" y="11924"/>
                    <a:pt x="692" y="11872"/>
                    <a:pt x="623" y="11872"/>
                  </a:cubicBezTo>
                  <a:cubicBezTo>
                    <a:pt x="623" y="11872"/>
                    <a:pt x="485" y="11872"/>
                    <a:pt x="485" y="11872"/>
                  </a:cubicBezTo>
                  <a:cubicBezTo>
                    <a:pt x="485" y="11715"/>
                    <a:pt x="485" y="11715"/>
                    <a:pt x="485" y="11715"/>
                  </a:cubicBezTo>
                  <a:cubicBezTo>
                    <a:pt x="485" y="11715"/>
                    <a:pt x="346" y="11663"/>
                    <a:pt x="277" y="11663"/>
                  </a:cubicBezTo>
                  <a:cubicBezTo>
                    <a:pt x="277" y="11663"/>
                    <a:pt x="277" y="11611"/>
                    <a:pt x="208" y="11611"/>
                  </a:cubicBezTo>
                  <a:cubicBezTo>
                    <a:pt x="277" y="11611"/>
                    <a:pt x="277" y="11611"/>
                    <a:pt x="277" y="11611"/>
                  </a:cubicBezTo>
                  <a:cubicBezTo>
                    <a:pt x="277" y="11611"/>
                    <a:pt x="277" y="11611"/>
                    <a:pt x="277" y="11611"/>
                  </a:cubicBezTo>
                  <a:cubicBezTo>
                    <a:pt x="277" y="11558"/>
                    <a:pt x="208" y="11506"/>
                    <a:pt x="208" y="11454"/>
                  </a:cubicBezTo>
                  <a:cubicBezTo>
                    <a:pt x="208" y="11454"/>
                    <a:pt x="277" y="11454"/>
                    <a:pt x="277" y="11454"/>
                  </a:cubicBezTo>
                  <a:cubicBezTo>
                    <a:pt x="277" y="11454"/>
                    <a:pt x="277" y="11401"/>
                    <a:pt x="346" y="11349"/>
                  </a:cubicBezTo>
                  <a:cubicBezTo>
                    <a:pt x="346" y="11349"/>
                    <a:pt x="346" y="11349"/>
                    <a:pt x="415" y="11349"/>
                  </a:cubicBezTo>
                  <a:cubicBezTo>
                    <a:pt x="415" y="11349"/>
                    <a:pt x="415" y="11297"/>
                    <a:pt x="485" y="11297"/>
                  </a:cubicBezTo>
                  <a:cubicBezTo>
                    <a:pt x="485" y="11245"/>
                    <a:pt x="485" y="11140"/>
                    <a:pt x="485" y="11140"/>
                  </a:cubicBezTo>
                  <a:cubicBezTo>
                    <a:pt x="485" y="11140"/>
                    <a:pt x="485" y="11140"/>
                    <a:pt x="415" y="11088"/>
                  </a:cubicBezTo>
                  <a:cubicBezTo>
                    <a:pt x="346" y="11088"/>
                    <a:pt x="346" y="11088"/>
                    <a:pt x="346" y="11035"/>
                  </a:cubicBezTo>
                  <a:cubicBezTo>
                    <a:pt x="277" y="11035"/>
                    <a:pt x="346" y="10983"/>
                    <a:pt x="346" y="10983"/>
                  </a:cubicBezTo>
                  <a:cubicBezTo>
                    <a:pt x="346" y="10983"/>
                    <a:pt x="208" y="10931"/>
                    <a:pt x="208" y="10931"/>
                  </a:cubicBezTo>
                  <a:cubicBezTo>
                    <a:pt x="208" y="10931"/>
                    <a:pt x="69" y="10931"/>
                    <a:pt x="69" y="10931"/>
                  </a:cubicBezTo>
                  <a:cubicBezTo>
                    <a:pt x="69" y="10931"/>
                    <a:pt x="69" y="10931"/>
                    <a:pt x="69" y="10931"/>
                  </a:cubicBezTo>
                  <a:cubicBezTo>
                    <a:pt x="69" y="10826"/>
                    <a:pt x="69" y="10826"/>
                    <a:pt x="69" y="10826"/>
                  </a:cubicBezTo>
                  <a:cubicBezTo>
                    <a:pt x="0" y="10722"/>
                    <a:pt x="0" y="10722"/>
                    <a:pt x="0" y="10722"/>
                  </a:cubicBezTo>
                  <a:cubicBezTo>
                    <a:pt x="69" y="10669"/>
                    <a:pt x="69" y="10669"/>
                    <a:pt x="69" y="10669"/>
                  </a:cubicBezTo>
                  <a:cubicBezTo>
                    <a:pt x="208" y="10774"/>
                    <a:pt x="208" y="10774"/>
                    <a:pt x="208" y="10774"/>
                  </a:cubicBezTo>
                  <a:cubicBezTo>
                    <a:pt x="208" y="10774"/>
                    <a:pt x="208" y="10722"/>
                    <a:pt x="208" y="10669"/>
                  </a:cubicBezTo>
                  <a:cubicBezTo>
                    <a:pt x="277" y="10669"/>
                    <a:pt x="346" y="10565"/>
                    <a:pt x="346" y="10565"/>
                  </a:cubicBezTo>
                  <a:cubicBezTo>
                    <a:pt x="485" y="10565"/>
                    <a:pt x="485" y="10565"/>
                    <a:pt x="485" y="10565"/>
                  </a:cubicBezTo>
                  <a:cubicBezTo>
                    <a:pt x="485" y="10565"/>
                    <a:pt x="762" y="10565"/>
                    <a:pt x="762" y="10565"/>
                  </a:cubicBezTo>
                  <a:cubicBezTo>
                    <a:pt x="831" y="10512"/>
                    <a:pt x="692" y="10408"/>
                    <a:pt x="692" y="10408"/>
                  </a:cubicBezTo>
                  <a:cubicBezTo>
                    <a:pt x="692" y="10408"/>
                    <a:pt x="554" y="10512"/>
                    <a:pt x="554" y="10512"/>
                  </a:cubicBezTo>
                  <a:cubicBezTo>
                    <a:pt x="485" y="10512"/>
                    <a:pt x="485" y="10355"/>
                    <a:pt x="485" y="10355"/>
                  </a:cubicBezTo>
                  <a:cubicBezTo>
                    <a:pt x="485" y="10251"/>
                    <a:pt x="485" y="10251"/>
                    <a:pt x="485" y="10251"/>
                  </a:cubicBezTo>
                  <a:cubicBezTo>
                    <a:pt x="623" y="10199"/>
                    <a:pt x="623" y="10199"/>
                    <a:pt x="623" y="10199"/>
                  </a:cubicBezTo>
                  <a:cubicBezTo>
                    <a:pt x="692" y="10094"/>
                    <a:pt x="692" y="10094"/>
                    <a:pt x="692" y="10094"/>
                  </a:cubicBezTo>
                  <a:cubicBezTo>
                    <a:pt x="692" y="10094"/>
                    <a:pt x="831" y="9989"/>
                    <a:pt x="831" y="9989"/>
                  </a:cubicBezTo>
                  <a:cubicBezTo>
                    <a:pt x="900" y="9937"/>
                    <a:pt x="831" y="9832"/>
                    <a:pt x="831" y="9832"/>
                  </a:cubicBezTo>
                  <a:cubicBezTo>
                    <a:pt x="900" y="9676"/>
                    <a:pt x="900" y="9676"/>
                    <a:pt x="900" y="9676"/>
                  </a:cubicBezTo>
                  <a:cubicBezTo>
                    <a:pt x="762" y="9519"/>
                    <a:pt x="762" y="9519"/>
                    <a:pt x="762" y="9519"/>
                  </a:cubicBezTo>
                  <a:cubicBezTo>
                    <a:pt x="762" y="9362"/>
                    <a:pt x="762" y="9362"/>
                    <a:pt x="762" y="9362"/>
                  </a:cubicBezTo>
                  <a:cubicBezTo>
                    <a:pt x="623" y="9205"/>
                    <a:pt x="623" y="9205"/>
                    <a:pt x="623" y="9205"/>
                  </a:cubicBezTo>
                  <a:cubicBezTo>
                    <a:pt x="623" y="9153"/>
                    <a:pt x="623" y="9153"/>
                    <a:pt x="623" y="9153"/>
                  </a:cubicBezTo>
                  <a:cubicBezTo>
                    <a:pt x="554" y="9048"/>
                    <a:pt x="554" y="9048"/>
                    <a:pt x="554" y="9048"/>
                  </a:cubicBezTo>
                  <a:cubicBezTo>
                    <a:pt x="554" y="8943"/>
                    <a:pt x="554" y="8943"/>
                    <a:pt x="554" y="8943"/>
                  </a:cubicBezTo>
                  <a:cubicBezTo>
                    <a:pt x="554" y="8943"/>
                    <a:pt x="415" y="8839"/>
                    <a:pt x="346" y="8839"/>
                  </a:cubicBezTo>
                  <a:cubicBezTo>
                    <a:pt x="277" y="8839"/>
                    <a:pt x="346" y="8786"/>
                    <a:pt x="346" y="8786"/>
                  </a:cubicBezTo>
                  <a:cubicBezTo>
                    <a:pt x="346" y="8682"/>
                    <a:pt x="346" y="8682"/>
                    <a:pt x="346" y="8682"/>
                  </a:cubicBezTo>
                  <a:cubicBezTo>
                    <a:pt x="346" y="8525"/>
                    <a:pt x="346" y="8525"/>
                    <a:pt x="346" y="8525"/>
                  </a:cubicBezTo>
                  <a:cubicBezTo>
                    <a:pt x="692" y="8577"/>
                    <a:pt x="692" y="8577"/>
                    <a:pt x="692" y="8577"/>
                  </a:cubicBezTo>
                  <a:cubicBezTo>
                    <a:pt x="831" y="8577"/>
                    <a:pt x="831" y="8577"/>
                    <a:pt x="831" y="8577"/>
                  </a:cubicBezTo>
                  <a:cubicBezTo>
                    <a:pt x="623" y="8473"/>
                    <a:pt x="623" y="8473"/>
                    <a:pt x="623" y="8473"/>
                  </a:cubicBezTo>
                  <a:cubicBezTo>
                    <a:pt x="831" y="8420"/>
                    <a:pt x="831" y="8420"/>
                    <a:pt x="831" y="8420"/>
                  </a:cubicBezTo>
                  <a:cubicBezTo>
                    <a:pt x="969" y="8525"/>
                    <a:pt x="969" y="8525"/>
                    <a:pt x="969" y="8525"/>
                  </a:cubicBezTo>
                  <a:cubicBezTo>
                    <a:pt x="1177" y="8577"/>
                    <a:pt x="1177" y="8577"/>
                    <a:pt x="1177" y="8577"/>
                  </a:cubicBezTo>
                  <a:cubicBezTo>
                    <a:pt x="1246" y="8682"/>
                    <a:pt x="1246" y="8682"/>
                    <a:pt x="1246" y="8682"/>
                  </a:cubicBezTo>
                  <a:cubicBezTo>
                    <a:pt x="1315" y="8577"/>
                    <a:pt x="1315" y="8577"/>
                    <a:pt x="1315" y="8577"/>
                  </a:cubicBezTo>
                  <a:cubicBezTo>
                    <a:pt x="1523" y="8577"/>
                    <a:pt x="1523" y="8577"/>
                    <a:pt x="1523" y="8577"/>
                  </a:cubicBezTo>
                  <a:cubicBezTo>
                    <a:pt x="1592" y="8577"/>
                    <a:pt x="1592" y="8577"/>
                    <a:pt x="1592" y="8577"/>
                  </a:cubicBezTo>
                  <a:cubicBezTo>
                    <a:pt x="1800" y="8525"/>
                    <a:pt x="1800" y="8525"/>
                    <a:pt x="1800" y="8525"/>
                  </a:cubicBezTo>
                  <a:cubicBezTo>
                    <a:pt x="2008" y="8525"/>
                    <a:pt x="2008" y="8525"/>
                    <a:pt x="2008" y="8525"/>
                  </a:cubicBezTo>
                  <a:cubicBezTo>
                    <a:pt x="2077" y="8420"/>
                    <a:pt x="2077" y="8420"/>
                    <a:pt x="2077" y="8420"/>
                  </a:cubicBezTo>
                  <a:cubicBezTo>
                    <a:pt x="2215" y="8368"/>
                    <a:pt x="2215" y="8368"/>
                    <a:pt x="2215" y="8368"/>
                  </a:cubicBezTo>
                  <a:cubicBezTo>
                    <a:pt x="2285" y="8316"/>
                    <a:pt x="2285" y="8316"/>
                    <a:pt x="2285" y="8316"/>
                  </a:cubicBezTo>
                  <a:cubicBezTo>
                    <a:pt x="2077" y="8211"/>
                    <a:pt x="2077" y="8211"/>
                    <a:pt x="2077" y="8211"/>
                  </a:cubicBezTo>
                  <a:cubicBezTo>
                    <a:pt x="1938" y="8054"/>
                    <a:pt x="1938" y="8054"/>
                    <a:pt x="1938" y="8054"/>
                  </a:cubicBezTo>
                  <a:cubicBezTo>
                    <a:pt x="2077" y="8054"/>
                    <a:pt x="2077" y="8054"/>
                    <a:pt x="2077" y="8054"/>
                  </a:cubicBezTo>
                  <a:cubicBezTo>
                    <a:pt x="2077" y="7897"/>
                    <a:pt x="2077" y="7897"/>
                    <a:pt x="2077" y="7897"/>
                  </a:cubicBezTo>
                  <a:cubicBezTo>
                    <a:pt x="2077" y="7897"/>
                    <a:pt x="2354" y="7950"/>
                    <a:pt x="2354" y="7950"/>
                  </a:cubicBezTo>
                  <a:cubicBezTo>
                    <a:pt x="2354" y="7897"/>
                    <a:pt x="2354" y="7897"/>
                    <a:pt x="2423" y="7845"/>
                  </a:cubicBezTo>
                  <a:cubicBezTo>
                    <a:pt x="2492" y="7845"/>
                    <a:pt x="2631" y="7793"/>
                    <a:pt x="2631" y="7793"/>
                  </a:cubicBezTo>
                  <a:cubicBezTo>
                    <a:pt x="2700" y="7688"/>
                    <a:pt x="2700" y="7688"/>
                    <a:pt x="2700" y="7688"/>
                  </a:cubicBezTo>
                  <a:cubicBezTo>
                    <a:pt x="2700" y="7688"/>
                    <a:pt x="2838" y="7636"/>
                    <a:pt x="2838" y="7636"/>
                  </a:cubicBezTo>
                  <a:cubicBezTo>
                    <a:pt x="2908" y="7636"/>
                    <a:pt x="2838" y="7584"/>
                    <a:pt x="2838" y="7531"/>
                  </a:cubicBezTo>
                  <a:cubicBezTo>
                    <a:pt x="2838" y="7479"/>
                    <a:pt x="2838" y="7374"/>
                    <a:pt x="2838" y="7374"/>
                  </a:cubicBezTo>
                  <a:cubicBezTo>
                    <a:pt x="2908" y="7270"/>
                    <a:pt x="2908" y="7270"/>
                    <a:pt x="2908" y="7270"/>
                  </a:cubicBezTo>
                  <a:cubicBezTo>
                    <a:pt x="2769" y="7061"/>
                    <a:pt x="2769" y="7061"/>
                    <a:pt x="2769" y="7061"/>
                  </a:cubicBezTo>
                  <a:cubicBezTo>
                    <a:pt x="2562" y="7113"/>
                    <a:pt x="2562" y="7113"/>
                    <a:pt x="2562" y="7113"/>
                  </a:cubicBezTo>
                  <a:cubicBezTo>
                    <a:pt x="2423" y="7008"/>
                    <a:pt x="2423" y="7008"/>
                    <a:pt x="2423" y="7008"/>
                  </a:cubicBezTo>
                  <a:cubicBezTo>
                    <a:pt x="2423" y="7008"/>
                    <a:pt x="2215" y="7008"/>
                    <a:pt x="2215" y="6956"/>
                  </a:cubicBezTo>
                  <a:cubicBezTo>
                    <a:pt x="2146" y="6904"/>
                    <a:pt x="2077" y="6799"/>
                    <a:pt x="2077" y="6799"/>
                  </a:cubicBezTo>
                  <a:cubicBezTo>
                    <a:pt x="2077" y="6694"/>
                    <a:pt x="2077" y="6694"/>
                    <a:pt x="2077" y="6694"/>
                  </a:cubicBezTo>
                  <a:cubicBezTo>
                    <a:pt x="2285" y="6694"/>
                    <a:pt x="2285" y="6694"/>
                    <a:pt x="2285" y="6694"/>
                  </a:cubicBezTo>
                  <a:cubicBezTo>
                    <a:pt x="2146" y="6642"/>
                    <a:pt x="2146" y="6642"/>
                    <a:pt x="2146" y="6642"/>
                  </a:cubicBezTo>
                  <a:cubicBezTo>
                    <a:pt x="2146" y="6485"/>
                    <a:pt x="2146" y="6485"/>
                    <a:pt x="2146" y="6485"/>
                  </a:cubicBezTo>
                  <a:cubicBezTo>
                    <a:pt x="2423" y="6433"/>
                    <a:pt x="2423" y="6433"/>
                    <a:pt x="2423" y="6433"/>
                  </a:cubicBezTo>
                  <a:cubicBezTo>
                    <a:pt x="2423" y="6433"/>
                    <a:pt x="2769" y="6538"/>
                    <a:pt x="2838" y="6538"/>
                  </a:cubicBezTo>
                  <a:cubicBezTo>
                    <a:pt x="2908" y="6590"/>
                    <a:pt x="2908" y="6381"/>
                    <a:pt x="2908" y="6381"/>
                  </a:cubicBezTo>
                  <a:cubicBezTo>
                    <a:pt x="2977" y="6119"/>
                    <a:pt x="2977" y="6119"/>
                    <a:pt x="2977" y="6119"/>
                  </a:cubicBezTo>
                  <a:cubicBezTo>
                    <a:pt x="2977" y="6119"/>
                    <a:pt x="2908" y="5910"/>
                    <a:pt x="2977" y="5858"/>
                  </a:cubicBezTo>
                  <a:cubicBezTo>
                    <a:pt x="3046" y="5858"/>
                    <a:pt x="3254" y="5544"/>
                    <a:pt x="3254" y="5544"/>
                  </a:cubicBezTo>
                  <a:cubicBezTo>
                    <a:pt x="3254" y="5544"/>
                    <a:pt x="3254" y="5230"/>
                    <a:pt x="3254" y="5178"/>
                  </a:cubicBezTo>
                  <a:cubicBezTo>
                    <a:pt x="3254" y="5125"/>
                    <a:pt x="3254" y="4916"/>
                    <a:pt x="3254" y="4916"/>
                  </a:cubicBezTo>
                  <a:cubicBezTo>
                    <a:pt x="3254" y="4864"/>
                    <a:pt x="3254" y="4864"/>
                    <a:pt x="3254" y="4864"/>
                  </a:cubicBezTo>
                  <a:cubicBezTo>
                    <a:pt x="3254" y="4864"/>
                    <a:pt x="3046" y="4812"/>
                    <a:pt x="2977" y="4812"/>
                  </a:cubicBezTo>
                  <a:cubicBezTo>
                    <a:pt x="2977" y="4759"/>
                    <a:pt x="3046" y="4655"/>
                    <a:pt x="3046" y="4655"/>
                  </a:cubicBezTo>
                  <a:cubicBezTo>
                    <a:pt x="2700" y="4602"/>
                    <a:pt x="2700" y="4602"/>
                    <a:pt x="2700" y="4602"/>
                  </a:cubicBezTo>
                  <a:cubicBezTo>
                    <a:pt x="2769" y="4446"/>
                    <a:pt x="2838" y="4184"/>
                    <a:pt x="2908" y="4184"/>
                  </a:cubicBezTo>
                  <a:cubicBezTo>
                    <a:pt x="2977" y="4132"/>
                    <a:pt x="3115" y="4027"/>
                    <a:pt x="3115" y="4027"/>
                  </a:cubicBezTo>
                  <a:cubicBezTo>
                    <a:pt x="3115" y="3818"/>
                    <a:pt x="3115" y="3818"/>
                    <a:pt x="3115" y="3818"/>
                  </a:cubicBezTo>
                  <a:cubicBezTo>
                    <a:pt x="2977" y="3661"/>
                    <a:pt x="2977" y="3661"/>
                    <a:pt x="2977" y="3661"/>
                  </a:cubicBezTo>
                  <a:cubicBezTo>
                    <a:pt x="3115" y="3504"/>
                    <a:pt x="3115" y="3504"/>
                    <a:pt x="3115" y="3504"/>
                  </a:cubicBezTo>
                  <a:cubicBezTo>
                    <a:pt x="3115" y="3504"/>
                    <a:pt x="3392" y="3400"/>
                    <a:pt x="3392" y="3400"/>
                  </a:cubicBezTo>
                  <a:cubicBezTo>
                    <a:pt x="3462" y="3400"/>
                    <a:pt x="3877" y="3400"/>
                    <a:pt x="3877" y="3400"/>
                  </a:cubicBezTo>
                  <a:cubicBezTo>
                    <a:pt x="4154" y="3295"/>
                    <a:pt x="4154" y="3295"/>
                    <a:pt x="4154" y="3295"/>
                  </a:cubicBezTo>
                  <a:cubicBezTo>
                    <a:pt x="4569" y="3295"/>
                    <a:pt x="4569" y="3295"/>
                    <a:pt x="4569" y="3295"/>
                  </a:cubicBezTo>
                  <a:cubicBezTo>
                    <a:pt x="4846" y="3243"/>
                    <a:pt x="4846" y="3243"/>
                    <a:pt x="4846" y="3243"/>
                  </a:cubicBezTo>
                  <a:cubicBezTo>
                    <a:pt x="5054" y="3347"/>
                    <a:pt x="5054" y="3347"/>
                    <a:pt x="5054" y="3347"/>
                  </a:cubicBezTo>
                  <a:cubicBezTo>
                    <a:pt x="5054" y="3347"/>
                    <a:pt x="5192" y="3452"/>
                    <a:pt x="5192" y="3504"/>
                  </a:cubicBezTo>
                  <a:cubicBezTo>
                    <a:pt x="5192" y="3504"/>
                    <a:pt x="5331" y="3609"/>
                    <a:pt x="5331" y="3661"/>
                  </a:cubicBezTo>
                  <a:cubicBezTo>
                    <a:pt x="5262" y="3661"/>
                    <a:pt x="5400" y="3818"/>
                    <a:pt x="5400" y="3818"/>
                  </a:cubicBezTo>
                  <a:cubicBezTo>
                    <a:pt x="5400" y="3818"/>
                    <a:pt x="5331" y="3923"/>
                    <a:pt x="5331" y="3975"/>
                  </a:cubicBezTo>
                  <a:cubicBezTo>
                    <a:pt x="5331" y="3975"/>
                    <a:pt x="5400" y="4184"/>
                    <a:pt x="5400" y="4184"/>
                  </a:cubicBezTo>
                  <a:cubicBezTo>
                    <a:pt x="5400" y="4236"/>
                    <a:pt x="5538" y="4289"/>
                    <a:pt x="5538" y="4289"/>
                  </a:cubicBezTo>
                  <a:cubicBezTo>
                    <a:pt x="5677" y="4236"/>
                    <a:pt x="5677" y="4236"/>
                    <a:pt x="5677" y="4236"/>
                  </a:cubicBezTo>
                  <a:cubicBezTo>
                    <a:pt x="5746" y="4132"/>
                    <a:pt x="5746" y="4132"/>
                    <a:pt x="5746" y="4132"/>
                  </a:cubicBezTo>
                  <a:cubicBezTo>
                    <a:pt x="5608" y="3975"/>
                    <a:pt x="5608" y="3975"/>
                    <a:pt x="5608" y="3975"/>
                  </a:cubicBezTo>
                  <a:cubicBezTo>
                    <a:pt x="5538" y="3975"/>
                    <a:pt x="5538" y="3975"/>
                    <a:pt x="5538" y="3975"/>
                  </a:cubicBezTo>
                  <a:cubicBezTo>
                    <a:pt x="5608" y="3766"/>
                    <a:pt x="5608" y="3766"/>
                    <a:pt x="5608" y="3766"/>
                  </a:cubicBezTo>
                  <a:cubicBezTo>
                    <a:pt x="5608" y="3766"/>
                    <a:pt x="5746" y="3713"/>
                    <a:pt x="5815" y="3766"/>
                  </a:cubicBezTo>
                  <a:cubicBezTo>
                    <a:pt x="5885" y="3766"/>
                    <a:pt x="6092" y="3923"/>
                    <a:pt x="6092" y="3923"/>
                  </a:cubicBezTo>
                  <a:cubicBezTo>
                    <a:pt x="6231" y="3975"/>
                    <a:pt x="6231" y="3975"/>
                    <a:pt x="6231" y="3975"/>
                  </a:cubicBezTo>
                  <a:cubicBezTo>
                    <a:pt x="6231" y="3975"/>
                    <a:pt x="6438" y="3870"/>
                    <a:pt x="6438" y="3870"/>
                  </a:cubicBezTo>
                  <a:cubicBezTo>
                    <a:pt x="6438" y="3870"/>
                    <a:pt x="6231" y="3661"/>
                    <a:pt x="6231" y="3661"/>
                  </a:cubicBezTo>
                  <a:cubicBezTo>
                    <a:pt x="6300" y="3400"/>
                    <a:pt x="6300" y="3400"/>
                    <a:pt x="6300" y="3400"/>
                  </a:cubicBezTo>
                  <a:cubicBezTo>
                    <a:pt x="6369" y="3190"/>
                    <a:pt x="6369" y="3190"/>
                    <a:pt x="6369" y="3190"/>
                  </a:cubicBezTo>
                  <a:cubicBezTo>
                    <a:pt x="6646" y="3033"/>
                    <a:pt x="6646" y="3033"/>
                    <a:pt x="6646" y="3033"/>
                  </a:cubicBezTo>
                  <a:cubicBezTo>
                    <a:pt x="6854" y="3138"/>
                    <a:pt x="6854" y="3138"/>
                    <a:pt x="6854" y="3138"/>
                  </a:cubicBezTo>
                  <a:cubicBezTo>
                    <a:pt x="7200" y="3138"/>
                    <a:pt x="7200" y="3138"/>
                    <a:pt x="7200" y="3138"/>
                  </a:cubicBezTo>
                  <a:cubicBezTo>
                    <a:pt x="7546" y="3138"/>
                    <a:pt x="7546" y="3138"/>
                    <a:pt x="7546" y="3138"/>
                  </a:cubicBezTo>
                  <a:cubicBezTo>
                    <a:pt x="7754" y="3086"/>
                    <a:pt x="7754" y="3086"/>
                    <a:pt x="7754" y="3086"/>
                  </a:cubicBezTo>
                  <a:cubicBezTo>
                    <a:pt x="8031" y="3086"/>
                    <a:pt x="8031" y="3086"/>
                    <a:pt x="8031" y="3086"/>
                  </a:cubicBezTo>
                  <a:cubicBezTo>
                    <a:pt x="8031" y="3086"/>
                    <a:pt x="7892" y="2981"/>
                    <a:pt x="7892" y="2981"/>
                  </a:cubicBezTo>
                  <a:cubicBezTo>
                    <a:pt x="7823" y="2981"/>
                    <a:pt x="7685" y="2877"/>
                    <a:pt x="7685" y="2877"/>
                  </a:cubicBezTo>
                  <a:cubicBezTo>
                    <a:pt x="7685" y="2877"/>
                    <a:pt x="7615" y="2981"/>
                    <a:pt x="7615" y="2981"/>
                  </a:cubicBezTo>
                  <a:cubicBezTo>
                    <a:pt x="7546" y="3033"/>
                    <a:pt x="7338" y="3033"/>
                    <a:pt x="7338" y="2981"/>
                  </a:cubicBezTo>
                  <a:cubicBezTo>
                    <a:pt x="7269" y="2981"/>
                    <a:pt x="7200" y="2824"/>
                    <a:pt x="7200" y="2824"/>
                  </a:cubicBezTo>
                  <a:cubicBezTo>
                    <a:pt x="7200" y="2667"/>
                    <a:pt x="7200" y="2667"/>
                    <a:pt x="7200" y="2667"/>
                  </a:cubicBezTo>
                  <a:cubicBezTo>
                    <a:pt x="7338" y="2615"/>
                    <a:pt x="7338" y="2615"/>
                    <a:pt x="7338" y="2615"/>
                  </a:cubicBezTo>
                  <a:cubicBezTo>
                    <a:pt x="7131" y="2458"/>
                    <a:pt x="7131" y="2458"/>
                    <a:pt x="7131" y="2458"/>
                  </a:cubicBezTo>
                  <a:cubicBezTo>
                    <a:pt x="7131" y="2458"/>
                    <a:pt x="7131" y="2301"/>
                    <a:pt x="7200" y="2249"/>
                  </a:cubicBezTo>
                  <a:cubicBezTo>
                    <a:pt x="7269" y="2249"/>
                    <a:pt x="7269" y="2144"/>
                    <a:pt x="7269" y="2144"/>
                  </a:cubicBezTo>
                  <a:cubicBezTo>
                    <a:pt x="7062" y="2144"/>
                    <a:pt x="7062" y="2144"/>
                    <a:pt x="7062" y="2144"/>
                  </a:cubicBezTo>
                  <a:cubicBezTo>
                    <a:pt x="7062" y="2144"/>
                    <a:pt x="6992" y="2144"/>
                    <a:pt x="6992" y="2040"/>
                  </a:cubicBezTo>
                  <a:cubicBezTo>
                    <a:pt x="7062" y="1935"/>
                    <a:pt x="7062" y="1883"/>
                    <a:pt x="7062" y="1883"/>
                  </a:cubicBezTo>
                  <a:cubicBezTo>
                    <a:pt x="6785" y="1883"/>
                    <a:pt x="6785" y="1883"/>
                    <a:pt x="6785" y="1883"/>
                  </a:cubicBezTo>
                  <a:cubicBezTo>
                    <a:pt x="6646" y="1883"/>
                    <a:pt x="6646" y="1883"/>
                    <a:pt x="6646" y="1883"/>
                  </a:cubicBezTo>
                  <a:cubicBezTo>
                    <a:pt x="6438" y="1726"/>
                    <a:pt x="6438" y="1726"/>
                    <a:pt x="6438" y="1726"/>
                  </a:cubicBezTo>
                  <a:cubicBezTo>
                    <a:pt x="6508" y="1569"/>
                    <a:pt x="6508" y="1569"/>
                    <a:pt x="6508" y="1569"/>
                  </a:cubicBezTo>
                  <a:cubicBezTo>
                    <a:pt x="6923" y="1517"/>
                    <a:pt x="6923" y="1517"/>
                    <a:pt x="6923" y="1517"/>
                  </a:cubicBezTo>
                  <a:cubicBezTo>
                    <a:pt x="7408" y="1360"/>
                    <a:pt x="7408" y="1360"/>
                    <a:pt x="7408" y="1360"/>
                  </a:cubicBezTo>
                  <a:cubicBezTo>
                    <a:pt x="7338" y="1255"/>
                    <a:pt x="7338" y="1255"/>
                    <a:pt x="7338" y="1255"/>
                  </a:cubicBezTo>
                  <a:cubicBezTo>
                    <a:pt x="7200" y="1308"/>
                    <a:pt x="7200" y="1308"/>
                    <a:pt x="7200" y="1308"/>
                  </a:cubicBezTo>
                  <a:cubicBezTo>
                    <a:pt x="7200" y="1308"/>
                    <a:pt x="7131" y="1360"/>
                    <a:pt x="7131" y="1360"/>
                  </a:cubicBezTo>
                  <a:cubicBezTo>
                    <a:pt x="7062" y="1360"/>
                    <a:pt x="6923" y="1360"/>
                    <a:pt x="6923" y="1360"/>
                  </a:cubicBezTo>
                  <a:cubicBezTo>
                    <a:pt x="6923" y="1255"/>
                    <a:pt x="6923" y="1255"/>
                    <a:pt x="6923" y="1255"/>
                  </a:cubicBezTo>
                  <a:cubicBezTo>
                    <a:pt x="7131" y="1255"/>
                    <a:pt x="7131" y="1255"/>
                    <a:pt x="7131" y="1255"/>
                  </a:cubicBezTo>
                  <a:cubicBezTo>
                    <a:pt x="7269" y="1203"/>
                    <a:pt x="7269" y="1203"/>
                    <a:pt x="7269" y="1203"/>
                  </a:cubicBezTo>
                  <a:cubicBezTo>
                    <a:pt x="7131" y="1151"/>
                    <a:pt x="7131" y="1151"/>
                    <a:pt x="7131" y="1151"/>
                  </a:cubicBezTo>
                  <a:cubicBezTo>
                    <a:pt x="6923" y="941"/>
                    <a:pt x="6923" y="941"/>
                    <a:pt x="6923" y="941"/>
                  </a:cubicBezTo>
                  <a:cubicBezTo>
                    <a:pt x="6854" y="785"/>
                    <a:pt x="6854" y="785"/>
                    <a:pt x="6854" y="785"/>
                  </a:cubicBezTo>
                  <a:cubicBezTo>
                    <a:pt x="6715" y="732"/>
                    <a:pt x="6715" y="732"/>
                    <a:pt x="6715" y="732"/>
                  </a:cubicBezTo>
                  <a:cubicBezTo>
                    <a:pt x="6577" y="628"/>
                    <a:pt x="6577" y="628"/>
                    <a:pt x="6577" y="628"/>
                  </a:cubicBezTo>
                  <a:cubicBezTo>
                    <a:pt x="6577" y="471"/>
                    <a:pt x="6577" y="471"/>
                    <a:pt x="6577" y="471"/>
                  </a:cubicBezTo>
                  <a:cubicBezTo>
                    <a:pt x="6508" y="52"/>
                    <a:pt x="6508" y="52"/>
                    <a:pt x="6508" y="52"/>
                  </a:cubicBezTo>
                  <a:cubicBezTo>
                    <a:pt x="6715" y="52"/>
                    <a:pt x="6715" y="52"/>
                    <a:pt x="6715" y="52"/>
                  </a:cubicBezTo>
                  <a:cubicBezTo>
                    <a:pt x="6854" y="0"/>
                    <a:pt x="6854" y="0"/>
                    <a:pt x="6854" y="0"/>
                  </a:cubicBezTo>
                  <a:cubicBezTo>
                    <a:pt x="6854" y="0"/>
                    <a:pt x="7200" y="105"/>
                    <a:pt x="7269" y="105"/>
                  </a:cubicBezTo>
                  <a:cubicBezTo>
                    <a:pt x="7338" y="105"/>
                    <a:pt x="7477" y="157"/>
                    <a:pt x="7477" y="157"/>
                  </a:cubicBezTo>
                  <a:cubicBezTo>
                    <a:pt x="7754" y="262"/>
                    <a:pt x="7754" y="262"/>
                    <a:pt x="7754" y="262"/>
                  </a:cubicBezTo>
                  <a:cubicBezTo>
                    <a:pt x="7962" y="314"/>
                    <a:pt x="7962" y="314"/>
                    <a:pt x="7962" y="314"/>
                  </a:cubicBezTo>
                  <a:cubicBezTo>
                    <a:pt x="7962" y="314"/>
                    <a:pt x="8031" y="314"/>
                    <a:pt x="8031" y="314"/>
                  </a:cubicBezTo>
                  <a:cubicBezTo>
                    <a:pt x="8100" y="314"/>
                    <a:pt x="8238" y="262"/>
                    <a:pt x="8238" y="262"/>
                  </a:cubicBezTo>
                  <a:cubicBezTo>
                    <a:pt x="8238" y="262"/>
                    <a:pt x="8446" y="157"/>
                    <a:pt x="8515" y="157"/>
                  </a:cubicBezTo>
                  <a:cubicBezTo>
                    <a:pt x="8515" y="105"/>
                    <a:pt x="8585" y="105"/>
                    <a:pt x="8585" y="105"/>
                  </a:cubicBezTo>
                  <a:cubicBezTo>
                    <a:pt x="8723" y="314"/>
                    <a:pt x="8723" y="314"/>
                    <a:pt x="8723" y="314"/>
                  </a:cubicBezTo>
                  <a:cubicBezTo>
                    <a:pt x="8862" y="209"/>
                    <a:pt x="8862" y="209"/>
                    <a:pt x="8862" y="209"/>
                  </a:cubicBezTo>
                  <a:cubicBezTo>
                    <a:pt x="8931" y="105"/>
                    <a:pt x="8931" y="105"/>
                    <a:pt x="8931" y="105"/>
                  </a:cubicBezTo>
                  <a:cubicBezTo>
                    <a:pt x="9485" y="575"/>
                    <a:pt x="9485" y="575"/>
                    <a:pt x="9485" y="575"/>
                  </a:cubicBezTo>
                  <a:cubicBezTo>
                    <a:pt x="9554" y="785"/>
                    <a:pt x="9554" y="785"/>
                    <a:pt x="9554" y="785"/>
                  </a:cubicBezTo>
                  <a:cubicBezTo>
                    <a:pt x="9554" y="785"/>
                    <a:pt x="9554" y="941"/>
                    <a:pt x="9554" y="941"/>
                  </a:cubicBezTo>
                  <a:cubicBezTo>
                    <a:pt x="9485" y="941"/>
                    <a:pt x="9415" y="1151"/>
                    <a:pt x="9415" y="1151"/>
                  </a:cubicBezTo>
                  <a:cubicBezTo>
                    <a:pt x="9415" y="1308"/>
                    <a:pt x="9415" y="1308"/>
                    <a:pt x="9415" y="1308"/>
                  </a:cubicBezTo>
                  <a:cubicBezTo>
                    <a:pt x="9554" y="1360"/>
                    <a:pt x="9554" y="1360"/>
                    <a:pt x="9554" y="1360"/>
                  </a:cubicBezTo>
                  <a:cubicBezTo>
                    <a:pt x="9762" y="1360"/>
                    <a:pt x="9762" y="1360"/>
                    <a:pt x="9762" y="1360"/>
                  </a:cubicBezTo>
                  <a:cubicBezTo>
                    <a:pt x="9900" y="1464"/>
                    <a:pt x="9900" y="1464"/>
                    <a:pt x="9900" y="1464"/>
                  </a:cubicBezTo>
                  <a:cubicBezTo>
                    <a:pt x="9969" y="1517"/>
                    <a:pt x="9969" y="1517"/>
                    <a:pt x="9969" y="1517"/>
                  </a:cubicBezTo>
                  <a:cubicBezTo>
                    <a:pt x="10177" y="1517"/>
                    <a:pt x="10177" y="1517"/>
                    <a:pt x="10177" y="1517"/>
                  </a:cubicBezTo>
                  <a:cubicBezTo>
                    <a:pt x="10246" y="1464"/>
                    <a:pt x="10246" y="1464"/>
                    <a:pt x="10246" y="1464"/>
                  </a:cubicBezTo>
                  <a:cubicBezTo>
                    <a:pt x="10523" y="1517"/>
                    <a:pt x="10523" y="1517"/>
                    <a:pt x="10523" y="1517"/>
                  </a:cubicBezTo>
                  <a:cubicBezTo>
                    <a:pt x="10731" y="1621"/>
                    <a:pt x="10731" y="1621"/>
                    <a:pt x="10731" y="1621"/>
                  </a:cubicBezTo>
                  <a:cubicBezTo>
                    <a:pt x="10938" y="1726"/>
                    <a:pt x="10938" y="1726"/>
                    <a:pt x="10938" y="1726"/>
                  </a:cubicBezTo>
                  <a:cubicBezTo>
                    <a:pt x="11285" y="1831"/>
                    <a:pt x="11285" y="1831"/>
                    <a:pt x="11285" y="1831"/>
                  </a:cubicBezTo>
                  <a:cubicBezTo>
                    <a:pt x="11354" y="1674"/>
                    <a:pt x="11354" y="1674"/>
                    <a:pt x="11354" y="1674"/>
                  </a:cubicBezTo>
                  <a:cubicBezTo>
                    <a:pt x="11423" y="1621"/>
                    <a:pt x="11423" y="1621"/>
                    <a:pt x="11423" y="1621"/>
                  </a:cubicBezTo>
                  <a:cubicBezTo>
                    <a:pt x="11631" y="1621"/>
                    <a:pt x="11631" y="1621"/>
                    <a:pt x="11631" y="1621"/>
                  </a:cubicBezTo>
                  <a:cubicBezTo>
                    <a:pt x="11769" y="1569"/>
                    <a:pt x="11769" y="1569"/>
                    <a:pt x="11769" y="1569"/>
                  </a:cubicBezTo>
                  <a:cubicBezTo>
                    <a:pt x="11838" y="1517"/>
                    <a:pt x="11838" y="1517"/>
                    <a:pt x="11838" y="1517"/>
                  </a:cubicBezTo>
                  <a:cubicBezTo>
                    <a:pt x="11631" y="1360"/>
                    <a:pt x="11631" y="1360"/>
                    <a:pt x="11631" y="1360"/>
                  </a:cubicBezTo>
                  <a:cubicBezTo>
                    <a:pt x="11631" y="1203"/>
                    <a:pt x="11631" y="1203"/>
                    <a:pt x="11631" y="1203"/>
                  </a:cubicBezTo>
                  <a:cubicBezTo>
                    <a:pt x="11631" y="1203"/>
                    <a:pt x="11769" y="1098"/>
                    <a:pt x="11769" y="1098"/>
                  </a:cubicBezTo>
                  <a:cubicBezTo>
                    <a:pt x="11838" y="1098"/>
                    <a:pt x="12115" y="1151"/>
                    <a:pt x="12115" y="1151"/>
                  </a:cubicBezTo>
                  <a:cubicBezTo>
                    <a:pt x="12185" y="1308"/>
                    <a:pt x="12185" y="1308"/>
                    <a:pt x="12185" y="1308"/>
                  </a:cubicBezTo>
                  <a:cubicBezTo>
                    <a:pt x="12254" y="1464"/>
                    <a:pt x="12254" y="1464"/>
                    <a:pt x="12254" y="1464"/>
                  </a:cubicBezTo>
                  <a:cubicBezTo>
                    <a:pt x="11977" y="1517"/>
                    <a:pt x="11977" y="1517"/>
                    <a:pt x="11977" y="1517"/>
                  </a:cubicBezTo>
                  <a:cubicBezTo>
                    <a:pt x="11908" y="1621"/>
                    <a:pt x="11908" y="1621"/>
                    <a:pt x="11908" y="1621"/>
                  </a:cubicBezTo>
                  <a:cubicBezTo>
                    <a:pt x="11908" y="1831"/>
                    <a:pt x="11908" y="1831"/>
                    <a:pt x="11908" y="1831"/>
                  </a:cubicBezTo>
                  <a:cubicBezTo>
                    <a:pt x="11908" y="2040"/>
                    <a:pt x="11908" y="2040"/>
                    <a:pt x="11908" y="2040"/>
                  </a:cubicBezTo>
                  <a:cubicBezTo>
                    <a:pt x="11908" y="2040"/>
                    <a:pt x="11908" y="2144"/>
                    <a:pt x="11838" y="2144"/>
                  </a:cubicBezTo>
                  <a:cubicBezTo>
                    <a:pt x="11769" y="2197"/>
                    <a:pt x="11631" y="2197"/>
                    <a:pt x="11631" y="2197"/>
                  </a:cubicBezTo>
                  <a:cubicBezTo>
                    <a:pt x="11631" y="2301"/>
                    <a:pt x="11631" y="2301"/>
                    <a:pt x="11631" y="2301"/>
                  </a:cubicBezTo>
                  <a:cubicBezTo>
                    <a:pt x="11423" y="2406"/>
                    <a:pt x="11423" y="2406"/>
                    <a:pt x="11423" y="2406"/>
                  </a:cubicBezTo>
                  <a:cubicBezTo>
                    <a:pt x="11215" y="2406"/>
                    <a:pt x="11215" y="2406"/>
                    <a:pt x="11215" y="2406"/>
                  </a:cubicBezTo>
                  <a:cubicBezTo>
                    <a:pt x="11146" y="2458"/>
                    <a:pt x="11146" y="2458"/>
                    <a:pt x="11146" y="2458"/>
                  </a:cubicBezTo>
                  <a:cubicBezTo>
                    <a:pt x="11215" y="2615"/>
                    <a:pt x="11215" y="2615"/>
                    <a:pt x="11215" y="2615"/>
                  </a:cubicBezTo>
                  <a:cubicBezTo>
                    <a:pt x="11354" y="2720"/>
                    <a:pt x="11354" y="2720"/>
                    <a:pt x="11354" y="2720"/>
                  </a:cubicBezTo>
                  <a:cubicBezTo>
                    <a:pt x="11562" y="2772"/>
                    <a:pt x="11562" y="2772"/>
                    <a:pt x="11562" y="2772"/>
                  </a:cubicBezTo>
                  <a:cubicBezTo>
                    <a:pt x="11700" y="2720"/>
                    <a:pt x="11700" y="2720"/>
                    <a:pt x="11700" y="2720"/>
                  </a:cubicBezTo>
                  <a:cubicBezTo>
                    <a:pt x="11769" y="2615"/>
                    <a:pt x="11769" y="2615"/>
                    <a:pt x="11769" y="2615"/>
                  </a:cubicBezTo>
                  <a:cubicBezTo>
                    <a:pt x="11977" y="2563"/>
                    <a:pt x="11977" y="2563"/>
                    <a:pt x="11977" y="2563"/>
                  </a:cubicBezTo>
                  <a:cubicBezTo>
                    <a:pt x="12254" y="2667"/>
                    <a:pt x="12254" y="2667"/>
                    <a:pt x="12254" y="2667"/>
                  </a:cubicBezTo>
                  <a:cubicBezTo>
                    <a:pt x="12323" y="2772"/>
                    <a:pt x="12323" y="2772"/>
                    <a:pt x="12323" y="2772"/>
                  </a:cubicBezTo>
                  <a:cubicBezTo>
                    <a:pt x="12323" y="2772"/>
                    <a:pt x="12600" y="2772"/>
                    <a:pt x="12600" y="2772"/>
                  </a:cubicBezTo>
                  <a:cubicBezTo>
                    <a:pt x="12600" y="2772"/>
                    <a:pt x="12669" y="2615"/>
                    <a:pt x="12669" y="2615"/>
                  </a:cubicBezTo>
                  <a:cubicBezTo>
                    <a:pt x="12669" y="2615"/>
                    <a:pt x="12738" y="2510"/>
                    <a:pt x="12808" y="2510"/>
                  </a:cubicBezTo>
                  <a:cubicBezTo>
                    <a:pt x="12877" y="2510"/>
                    <a:pt x="12946" y="2406"/>
                    <a:pt x="13015" y="2406"/>
                  </a:cubicBezTo>
                  <a:cubicBezTo>
                    <a:pt x="13015" y="2354"/>
                    <a:pt x="13085" y="2249"/>
                    <a:pt x="13085" y="2249"/>
                  </a:cubicBezTo>
                  <a:cubicBezTo>
                    <a:pt x="13085" y="2249"/>
                    <a:pt x="13223" y="2197"/>
                    <a:pt x="13292" y="2197"/>
                  </a:cubicBezTo>
                  <a:cubicBezTo>
                    <a:pt x="13362" y="2197"/>
                    <a:pt x="13777" y="2144"/>
                    <a:pt x="13777" y="2144"/>
                  </a:cubicBezTo>
                  <a:cubicBezTo>
                    <a:pt x="13777" y="2144"/>
                    <a:pt x="14054" y="2092"/>
                    <a:pt x="14123" y="2040"/>
                  </a:cubicBezTo>
                  <a:cubicBezTo>
                    <a:pt x="14123" y="2040"/>
                    <a:pt x="14400" y="1883"/>
                    <a:pt x="14400" y="1883"/>
                  </a:cubicBezTo>
                  <a:cubicBezTo>
                    <a:pt x="14469" y="1726"/>
                    <a:pt x="14469" y="1726"/>
                    <a:pt x="14469" y="1726"/>
                  </a:cubicBezTo>
                  <a:cubicBezTo>
                    <a:pt x="14677" y="1569"/>
                    <a:pt x="14677" y="1569"/>
                    <a:pt x="14677" y="1569"/>
                  </a:cubicBezTo>
                  <a:cubicBezTo>
                    <a:pt x="14677" y="1569"/>
                    <a:pt x="14746" y="1569"/>
                    <a:pt x="14746" y="1517"/>
                  </a:cubicBezTo>
                  <a:cubicBezTo>
                    <a:pt x="14746" y="1464"/>
                    <a:pt x="14815" y="1308"/>
                    <a:pt x="14815" y="1308"/>
                  </a:cubicBezTo>
                  <a:cubicBezTo>
                    <a:pt x="14954" y="1255"/>
                    <a:pt x="14954" y="1255"/>
                    <a:pt x="14954" y="1255"/>
                  </a:cubicBezTo>
                  <a:cubicBezTo>
                    <a:pt x="14954" y="1255"/>
                    <a:pt x="15092" y="1308"/>
                    <a:pt x="15092" y="1360"/>
                  </a:cubicBezTo>
                  <a:cubicBezTo>
                    <a:pt x="15092" y="1360"/>
                    <a:pt x="15023" y="1464"/>
                    <a:pt x="15023" y="1464"/>
                  </a:cubicBezTo>
                  <a:cubicBezTo>
                    <a:pt x="15023" y="1464"/>
                    <a:pt x="14885" y="1517"/>
                    <a:pt x="14815" y="1569"/>
                  </a:cubicBezTo>
                  <a:cubicBezTo>
                    <a:pt x="14815" y="1569"/>
                    <a:pt x="14815" y="1674"/>
                    <a:pt x="14815" y="1674"/>
                  </a:cubicBezTo>
                  <a:cubicBezTo>
                    <a:pt x="14954" y="1569"/>
                    <a:pt x="14954" y="1569"/>
                    <a:pt x="14954" y="1569"/>
                  </a:cubicBezTo>
                  <a:cubicBezTo>
                    <a:pt x="14954" y="1569"/>
                    <a:pt x="15023" y="1517"/>
                    <a:pt x="15023" y="1517"/>
                  </a:cubicBezTo>
                  <a:cubicBezTo>
                    <a:pt x="15023" y="1517"/>
                    <a:pt x="15300" y="1464"/>
                    <a:pt x="15300" y="1464"/>
                  </a:cubicBezTo>
                  <a:cubicBezTo>
                    <a:pt x="15300" y="1464"/>
                    <a:pt x="15438" y="1517"/>
                    <a:pt x="15438" y="1517"/>
                  </a:cubicBezTo>
                  <a:cubicBezTo>
                    <a:pt x="15438" y="1517"/>
                    <a:pt x="15577" y="1569"/>
                    <a:pt x="15577" y="1569"/>
                  </a:cubicBezTo>
                  <a:cubicBezTo>
                    <a:pt x="15854" y="1517"/>
                    <a:pt x="15854" y="1517"/>
                    <a:pt x="15854" y="1517"/>
                  </a:cubicBezTo>
                  <a:cubicBezTo>
                    <a:pt x="15854" y="1412"/>
                    <a:pt x="15854" y="1412"/>
                    <a:pt x="15854" y="1412"/>
                  </a:cubicBezTo>
                  <a:cubicBezTo>
                    <a:pt x="15854" y="1412"/>
                    <a:pt x="15854" y="1360"/>
                    <a:pt x="15923" y="1360"/>
                  </a:cubicBezTo>
                  <a:cubicBezTo>
                    <a:pt x="15992" y="1308"/>
                    <a:pt x="16131" y="1255"/>
                    <a:pt x="16131" y="1255"/>
                  </a:cubicBezTo>
                  <a:cubicBezTo>
                    <a:pt x="16131" y="1255"/>
                    <a:pt x="16131" y="1151"/>
                    <a:pt x="16131" y="1098"/>
                  </a:cubicBezTo>
                  <a:cubicBezTo>
                    <a:pt x="16131" y="1098"/>
                    <a:pt x="16200" y="994"/>
                    <a:pt x="16200" y="994"/>
                  </a:cubicBezTo>
                  <a:cubicBezTo>
                    <a:pt x="16200" y="994"/>
                    <a:pt x="16200" y="994"/>
                    <a:pt x="16200" y="994"/>
                  </a:cubicBezTo>
                  <a:cubicBezTo>
                    <a:pt x="16200" y="994"/>
                    <a:pt x="16338" y="941"/>
                    <a:pt x="16338" y="941"/>
                  </a:cubicBezTo>
                  <a:cubicBezTo>
                    <a:pt x="16338" y="941"/>
                    <a:pt x="16408" y="785"/>
                    <a:pt x="16408" y="785"/>
                  </a:cubicBezTo>
                  <a:cubicBezTo>
                    <a:pt x="16408" y="785"/>
                    <a:pt x="16408" y="732"/>
                    <a:pt x="16477" y="732"/>
                  </a:cubicBezTo>
                  <a:cubicBezTo>
                    <a:pt x="16477" y="732"/>
                    <a:pt x="16615" y="628"/>
                    <a:pt x="16615" y="628"/>
                  </a:cubicBezTo>
                  <a:cubicBezTo>
                    <a:pt x="16685" y="575"/>
                    <a:pt x="16685" y="575"/>
                    <a:pt x="16754" y="575"/>
                  </a:cubicBezTo>
                  <a:cubicBezTo>
                    <a:pt x="16754" y="575"/>
                    <a:pt x="16823" y="680"/>
                    <a:pt x="16823" y="680"/>
                  </a:cubicBezTo>
                  <a:cubicBezTo>
                    <a:pt x="16823" y="680"/>
                    <a:pt x="16823" y="732"/>
                    <a:pt x="16754" y="785"/>
                  </a:cubicBezTo>
                  <a:cubicBezTo>
                    <a:pt x="16685" y="785"/>
                    <a:pt x="16615" y="837"/>
                    <a:pt x="16615" y="837"/>
                  </a:cubicBezTo>
                  <a:cubicBezTo>
                    <a:pt x="16615" y="837"/>
                    <a:pt x="16754" y="941"/>
                    <a:pt x="16754" y="941"/>
                  </a:cubicBezTo>
                  <a:cubicBezTo>
                    <a:pt x="16754" y="941"/>
                    <a:pt x="16823" y="994"/>
                    <a:pt x="16823" y="994"/>
                  </a:cubicBezTo>
                  <a:cubicBezTo>
                    <a:pt x="16823" y="1046"/>
                    <a:pt x="16754" y="1098"/>
                    <a:pt x="16754" y="1098"/>
                  </a:cubicBezTo>
                  <a:cubicBezTo>
                    <a:pt x="16823" y="1098"/>
                    <a:pt x="17031" y="1046"/>
                    <a:pt x="17031" y="1046"/>
                  </a:cubicBezTo>
                  <a:cubicBezTo>
                    <a:pt x="17031" y="1046"/>
                    <a:pt x="17031" y="941"/>
                    <a:pt x="17031" y="941"/>
                  </a:cubicBezTo>
                  <a:cubicBezTo>
                    <a:pt x="17031" y="941"/>
                    <a:pt x="17169" y="837"/>
                    <a:pt x="17169" y="837"/>
                  </a:cubicBezTo>
                  <a:cubicBezTo>
                    <a:pt x="17238" y="837"/>
                    <a:pt x="17377" y="889"/>
                    <a:pt x="17377" y="889"/>
                  </a:cubicBezTo>
                  <a:cubicBezTo>
                    <a:pt x="17377" y="889"/>
                    <a:pt x="17377" y="941"/>
                    <a:pt x="17377" y="994"/>
                  </a:cubicBezTo>
                  <a:cubicBezTo>
                    <a:pt x="17308" y="994"/>
                    <a:pt x="17169" y="1098"/>
                    <a:pt x="17169" y="1098"/>
                  </a:cubicBezTo>
                  <a:cubicBezTo>
                    <a:pt x="17169" y="1151"/>
                    <a:pt x="17100" y="1151"/>
                    <a:pt x="17169" y="1151"/>
                  </a:cubicBezTo>
                  <a:cubicBezTo>
                    <a:pt x="17169" y="1203"/>
                    <a:pt x="17308" y="1308"/>
                    <a:pt x="17308" y="1308"/>
                  </a:cubicBezTo>
                  <a:cubicBezTo>
                    <a:pt x="17515" y="1412"/>
                    <a:pt x="17515" y="1412"/>
                    <a:pt x="17515" y="1412"/>
                  </a:cubicBezTo>
                  <a:cubicBezTo>
                    <a:pt x="17515" y="1412"/>
                    <a:pt x="17515" y="1464"/>
                    <a:pt x="17515" y="1517"/>
                  </a:cubicBezTo>
                  <a:cubicBezTo>
                    <a:pt x="17515" y="1517"/>
                    <a:pt x="17169" y="1517"/>
                    <a:pt x="17169" y="1517"/>
                  </a:cubicBezTo>
                  <a:cubicBezTo>
                    <a:pt x="17169" y="1517"/>
                    <a:pt x="17169" y="1517"/>
                    <a:pt x="17100" y="1569"/>
                  </a:cubicBezTo>
                  <a:cubicBezTo>
                    <a:pt x="17100" y="1569"/>
                    <a:pt x="17031" y="1621"/>
                    <a:pt x="16892" y="1674"/>
                  </a:cubicBezTo>
                  <a:cubicBezTo>
                    <a:pt x="16754" y="1674"/>
                    <a:pt x="16754" y="1674"/>
                    <a:pt x="16754" y="1726"/>
                  </a:cubicBezTo>
                  <a:cubicBezTo>
                    <a:pt x="16754" y="1778"/>
                    <a:pt x="16685" y="1831"/>
                    <a:pt x="16754" y="1883"/>
                  </a:cubicBezTo>
                  <a:cubicBezTo>
                    <a:pt x="16823" y="1935"/>
                    <a:pt x="16962" y="1987"/>
                    <a:pt x="16962" y="1987"/>
                  </a:cubicBezTo>
                  <a:cubicBezTo>
                    <a:pt x="16962" y="1987"/>
                    <a:pt x="17308" y="2092"/>
                    <a:pt x="17308" y="2040"/>
                  </a:cubicBezTo>
                  <a:cubicBezTo>
                    <a:pt x="17308" y="2040"/>
                    <a:pt x="17792" y="2040"/>
                    <a:pt x="17792" y="2040"/>
                  </a:cubicBezTo>
                  <a:cubicBezTo>
                    <a:pt x="18000" y="2040"/>
                    <a:pt x="18000" y="2040"/>
                    <a:pt x="18000" y="2040"/>
                  </a:cubicBezTo>
                  <a:cubicBezTo>
                    <a:pt x="18000" y="2040"/>
                    <a:pt x="18069" y="2144"/>
                    <a:pt x="18138" y="2197"/>
                  </a:cubicBezTo>
                  <a:cubicBezTo>
                    <a:pt x="18138" y="2197"/>
                    <a:pt x="18415" y="2354"/>
                    <a:pt x="18415" y="2354"/>
                  </a:cubicBezTo>
                  <a:cubicBezTo>
                    <a:pt x="18554" y="2354"/>
                    <a:pt x="18554" y="2354"/>
                    <a:pt x="18554" y="2354"/>
                  </a:cubicBezTo>
                  <a:cubicBezTo>
                    <a:pt x="18623" y="2563"/>
                    <a:pt x="18623" y="2563"/>
                    <a:pt x="18623" y="2563"/>
                  </a:cubicBezTo>
                  <a:cubicBezTo>
                    <a:pt x="18554" y="2720"/>
                    <a:pt x="18554" y="2720"/>
                    <a:pt x="18554" y="2720"/>
                  </a:cubicBezTo>
                  <a:cubicBezTo>
                    <a:pt x="18346" y="2772"/>
                    <a:pt x="18346" y="2772"/>
                    <a:pt x="18346" y="2772"/>
                  </a:cubicBezTo>
                  <a:cubicBezTo>
                    <a:pt x="18069" y="2929"/>
                    <a:pt x="18069" y="2929"/>
                    <a:pt x="18069" y="2929"/>
                  </a:cubicBezTo>
                  <a:cubicBezTo>
                    <a:pt x="17931" y="2877"/>
                    <a:pt x="17931" y="2877"/>
                    <a:pt x="17931" y="2877"/>
                  </a:cubicBezTo>
                  <a:cubicBezTo>
                    <a:pt x="17931" y="2877"/>
                    <a:pt x="18069" y="2981"/>
                    <a:pt x="18138" y="2981"/>
                  </a:cubicBezTo>
                  <a:cubicBezTo>
                    <a:pt x="18208" y="2981"/>
                    <a:pt x="18277" y="3033"/>
                    <a:pt x="18277" y="3033"/>
                  </a:cubicBezTo>
                  <a:cubicBezTo>
                    <a:pt x="18346" y="3033"/>
                    <a:pt x="18623" y="3033"/>
                    <a:pt x="18900" y="3033"/>
                  </a:cubicBezTo>
                  <a:cubicBezTo>
                    <a:pt x="18900" y="3086"/>
                    <a:pt x="18900" y="3086"/>
                    <a:pt x="18900" y="3138"/>
                  </a:cubicBezTo>
                  <a:cubicBezTo>
                    <a:pt x="18969" y="3190"/>
                    <a:pt x="19038" y="3400"/>
                    <a:pt x="19038" y="3452"/>
                  </a:cubicBezTo>
                  <a:cubicBezTo>
                    <a:pt x="19038" y="3452"/>
                    <a:pt x="19108" y="3661"/>
                    <a:pt x="19246" y="3818"/>
                  </a:cubicBezTo>
                  <a:cubicBezTo>
                    <a:pt x="19454" y="4027"/>
                    <a:pt x="19385" y="4079"/>
                    <a:pt x="19385" y="4079"/>
                  </a:cubicBezTo>
                  <a:cubicBezTo>
                    <a:pt x="19385" y="4550"/>
                    <a:pt x="19385" y="4550"/>
                    <a:pt x="19385" y="4550"/>
                  </a:cubicBezTo>
                  <a:cubicBezTo>
                    <a:pt x="19385" y="4969"/>
                    <a:pt x="19385" y="4969"/>
                    <a:pt x="19385" y="4969"/>
                  </a:cubicBezTo>
                  <a:cubicBezTo>
                    <a:pt x="19038" y="5178"/>
                    <a:pt x="19038" y="5178"/>
                    <a:pt x="19038" y="5178"/>
                  </a:cubicBezTo>
                  <a:cubicBezTo>
                    <a:pt x="18900" y="5648"/>
                    <a:pt x="18900" y="5648"/>
                    <a:pt x="18900" y="5648"/>
                  </a:cubicBezTo>
                  <a:cubicBezTo>
                    <a:pt x="18900" y="5648"/>
                    <a:pt x="18969" y="5701"/>
                    <a:pt x="19038" y="5701"/>
                  </a:cubicBezTo>
                  <a:cubicBezTo>
                    <a:pt x="19108" y="5753"/>
                    <a:pt x="19315" y="5910"/>
                    <a:pt x="19315" y="5910"/>
                  </a:cubicBezTo>
                  <a:cubicBezTo>
                    <a:pt x="19385" y="5962"/>
                    <a:pt x="19800" y="6119"/>
                    <a:pt x="20008" y="6171"/>
                  </a:cubicBezTo>
                  <a:cubicBezTo>
                    <a:pt x="20215" y="6276"/>
                    <a:pt x="20146" y="6538"/>
                    <a:pt x="20146" y="6538"/>
                  </a:cubicBezTo>
                  <a:cubicBezTo>
                    <a:pt x="20008" y="6904"/>
                    <a:pt x="20008" y="6904"/>
                    <a:pt x="20008" y="6904"/>
                  </a:cubicBezTo>
                  <a:cubicBezTo>
                    <a:pt x="20008" y="6904"/>
                    <a:pt x="20077" y="7113"/>
                    <a:pt x="20215" y="7113"/>
                  </a:cubicBezTo>
                  <a:cubicBezTo>
                    <a:pt x="20285" y="7061"/>
                    <a:pt x="20354" y="7374"/>
                    <a:pt x="20354" y="7374"/>
                  </a:cubicBezTo>
                  <a:cubicBezTo>
                    <a:pt x="20354" y="7374"/>
                    <a:pt x="20423" y="7688"/>
                    <a:pt x="20423" y="7740"/>
                  </a:cubicBezTo>
                  <a:cubicBezTo>
                    <a:pt x="20354" y="7793"/>
                    <a:pt x="20423" y="7845"/>
                    <a:pt x="20423" y="7845"/>
                  </a:cubicBezTo>
                  <a:cubicBezTo>
                    <a:pt x="20562" y="8054"/>
                    <a:pt x="20562" y="8054"/>
                    <a:pt x="20562" y="8054"/>
                  </a:cubicBezTo>
                  <a:cubicBezTo>
                    <a:pt x="20562" y="8054"/>
                    <a:pt x="20492" y="8211"/>
                    <a:pt x="20423" y="8263"/>
                  </a:cubicBezTo>
                  <a:cubicBezTo>
                    <a:pt x="20423" y="8368"/>
                    <a:pt x="20354" y="8473"/>
                    <a:pt x="20354" y="8473"/>
                  </a:cubicBezTo>
                  <a:cubicBezTo>
                    <a:pt x="20423" y="8630"/>
                    <a:pt x="20423" y="8630"/>
                    <a:pt x="20423" y="8630"/>
                  </a:cubicBezTo>
                  <a:cubicBezTo>
                    <a:pt x="20700" y="8891"/>
                    <a:pt x="20700" y="8891"/>
                    <a:pt x="20700" y="8891"/>
                  </a:cubicBezTo>
                  <a:cubicBezTo>
                    <a:pt x="20700" y="9153"/>
                    <a:pt x="20700" y="9153"/>
                    <a:pt x="20700" y="9153"/>
                  </a:cubicBezTo>
                  <a:cubicBezTo>
                    <a:pt x="20700" y="9309"/>
                    <a:pt x="20700" y="9309"/>
                    <a:pt x="20700" y="9309"/>
                  </a:cubicBezTo>
                  <a:cubicBezTo>
                    <a:pt x="20700" y="9309"/>
                    <a:pt x="20908" y="9362"/>
                    <a:pt x="20977" y="9362"/>
                  </a:cubicBezTo>
                  <a:cubicBezTo>
                    <a:pt x="21046" y="9362"/>
                    <a:pt x="21185" y="9466"/>
                    <a:pt x="21185" y="9466"/>
                  </a:cubicBezTo>
                  <a:cubicBezTo>
                    <a:pt x="21185" y="9466"/>
                    <a:pt x="21185" y="9571"/>
                    <a:pt x="21185" y="9623"/>
                  </a:cubicBezTo>
                  <a:cubicBezTo>
                    <a:pt x="21185" y="9623"/>
                    <a:pt x="21392" y="9832"/>
                    <a:pt x="21392" y="9832"/>
                  </a:cubicBezTo>
                  <a:cubicBezTo>
                    <a:pt x="21462" y="9885"/>
                    <a:pt x="21600" y="10042"/>
                    <a:pt x="21600" y="10042"/>
                  </a:cubicBezTo>
                  <a:cubicBezTo>
                    <a:pt x="21600" y="10042"/>
                    <a:pt x="21600" y="10146"/>
                    <a:pt x="21392" y="10303"/>
                  </a:cubicBezTo>
                  <a:cubicBezTo>
                    <a:pt x="21254" y="10460"/>
                    <a:pt x="21323" y="10460"/>
                    <a:pt x="21323" y="10512"/>
                  </a:cubicBezTo>
                  <a:cubicBezTo>
                    <a:pt x="21323" y="10565"/>
                    <a:pt x="21392" y="10669"/>
                    <a:pt x="21392" y="10669"/>
                  </a:cubicBezTo>
                  <a:cubicBezTo>
                    <a:pt x="21392" y="10669"/>
                    <a:pt x="21323" y="10722"/>
                    <a:pt x="21254" y="10774"/>
                  </a:cubicBezTo>
                  <a:cubicBezTo>
                    <a:pt x="21254" y="10774"/>
                    <a:pt x="21185" y="10878"/>
                    <a:pt x="21185" y="10983"/>
                  </a:cubicBezTo>
                  <a:cubicBezTo>
                    <a:pt x="20908" y="11140"/>
                    <a:pt x="20908" y="11140"/>
                    <a:pt x="20908" y="11140"/>
                  </a:cubicBezTo>
                  <a:cubicBezTo>
                    <a:pt x="20908" y="11140"/>
                    <a:pt x="20908" y="11140"/>
                    <a:pt x="20838" y="11192"/>
                  </a:cubicBezTo>
                  <a:cubicBezTo>
                    <a:pt x="20838" y="11140"/>
                    <a:pt x="20769" y="11140"/>
                    <a:pt x="20700" y="11140"/>
                  </a:cubicBezTo>
                  <a:cubicBezTo>
                    <a:pt x="20631" y="11088"/>
                    <a:pt x="20562" y="11035"/>
                    <a:pt x="20562" y="11035"/>
                  </a:cubicBezTo>
                  <a:cubicBezTo>
                    <a:pt x="20562" y="11035"/>
                    <a:pt x="20562" y="10931"/>
                    <a:pt x="20562" y="10826"/>
                  </a:cubicBezTo>
                  <a:cubicBezTo>
                    <a:pt x="20562" y="10722"/>
                    <a:pt x="20562" y="10774"/>
                    <a:pt x="20562" y="10722"/>
                  </a:cubicBezTo>
                  <a:cubicBezTo>
                    <a:pt x="20492" y="10669"/>
                    <a:pt x="20354" y="10617"/>
                    <a:pt x="20215" y="10565"/>
                  </a:cubicBezTo>
                  <a:cubicBezTo>
                    <a:pt x="20077" y="10565"/>
                    <a:pt x="19800" y="10565"/>
                    <a:pt x="19731" y="10617"/>
                  </a:cubicBezTo>
                  <a:cubicBezTo>
                    <a:pt x="19731" y="10617"/>
                    <a:pt x="19731" y="10826"/>
                    <a:pt x="19731" y="10826"/>
                  </a:cubicBezTo>
                  <a:cubicBezTo>
                    <a:pt x="19869" y="10983"/>
                    <a:pt x="19869" y="10983"/>
                    <a:pt x="19869" y="10983"/>
                  </a:cubicBezTo>
                  <a:cubicBezTo>
                    <a:pt x="19800" y="11088"/>
                    <a:pt x="19800" y="11088"/>
                    <a:pt x="19800" y="11088"/>
                  </a:cubicBezTo>
                  <a:cubicBezTo>
                    <a:pt x="19800" y="11088"/>
                    <a:pt x="19177" y="11192"/>
                    <a:pt x="18969" y="11192"/>
                  </a:cubicBezTo>
                  <a:cubicBezTo>
                    <a:pt x="18762" y="11192"/>
                    <a:pt x="18831" y="11297"/>
                    <a:pt x="18831" y="11297"/>
                  </a:cubicBezTo>
                  <a:cubicBezTo>
                    <a:pt x="18692" y="11506"/>
                    <a:pt x="18692" y="11506"/>
                    <a:pt x="18692" y="11506"/>
                  </a:cubicBezTo>
                  <a:cubicBezTo>
                    <a:pt x="18554" y="11611"/>
                    <a:pt x="18554" y="11611"/>
                    <a:pt x="18554" y="11611"/>
                  </a:cubicBezTo>
                  <a:cubicBezTo>
                    <a:pt x="18138" y="11715"/>
                    <a:pt x="18138" y="11715"/>
                    <a:pt x="18138" y="11715"/>
                  </a:cubicBezTo>
                  <a:cubicBezTo>
                    <a:pt x="18138" y="11715"/>
                    <a:pt x="17723" y="11977"/>
                    <a:pt x="17654" y="11977"/>
                  </a:cubicBezTo>
                  <a:cubicBezTo>
                    <a:pt x="17377" y="12134"/>
                    <a:pt x="17377" y="12134"/>
                    <a:pt x="17377" y="12134"/>
                  </a:cubicBezTo>
                  <a:cubicBezTo>
                    <a:pt x="17377" y="12134"/>
                    <a:pt x="17308" y="12134"/>
                    <a:pt x="17100" y="12238"/>
                  </a:cubicBezTo>
                  <a:cubicBezTo>
                    <a:pt x="16823" y="12291"/>
                    <a:pt x="16962" y="12395"/>
                    <a:pt x="16892" y="12447"/>
                  </a:cubicBezTo>
                  <a:cubicBezTo>
                    <a:pt x="16892" y="12552"/>
                    <a:pt x="16823" y="12552"/>
                    <a:pt x="16685" y="12604"/>
                  </a:cubicBezTo>
                  <a:cubicBezTo>
                    <a:pt x="16615" y="12604"/>
                    <a:pt x="16408" y="12552"/>
                    <a:pt x="16269" y="12552"/>
                  </a:cubicBezTo>
                  <a:cubicBezTo>
                    <a:pt x="16200" y="12552"/>
                    <a:pt x="15992" y="12657"/>
                    <a:pt x="15854" y="12657"/>
                  </a:cubicBezTo>
                  <a:cubicBezTo>
                    <a:pt x="15646" y="12657"/>
                    <a:pt x="15646" y="12657"/>
                    <a:pt x="15646" y="12657"/>
                  </a:cubicBezTo>
                  <a:cubicBezTo>
                    <a:pt x="15369" y="12918"/>
                    <a:pt x="15369" y="12918"/>
                    <a:pt x="15369" y="12918"/>
                  </a:cubicBezTo>
                  <a:cubicBezTo>
                    <a:pt x="15162" y="13232"/>
                    <a:pt x="15162" y="13232"/>
                    <a:pt x="15162" y="13232"/>
                  </a:cubicBezTo>
                  <a:cubicBezTo>
                    <a:pt x="15092" y="13075"/>
                    <a:pt x="15092" y="13075"/>
                    <a:pt x="15092" y="13075"/>
                  </a:cubicBezTo>
                  <a:cubicBezTo>
                    <a:pt x="15023" y="12866"/>
                    <a:pt x="15023" y="12866"/>
                    <a:pt x="15023" y="12866"/>
                  </a:cubicBezTo>
                  <a:cubicBezTo>
                    <a:pt x="14677" y="12866"/>
                    <a:pt x="14677" y="12866"/>
                    <a:pt x="14677" y="12866"/>
                  </a:cubicBezTo>
                  <a:cubicBezTo>
                    <a:pt x="14746" y="13023"/>
                    <a:pt x="14746" y="13023"/>
                    <a:pt x="14746" y="13023"/>
                  </a:cubicBezTo>
                  <a:cubicBezTo>
                    <a:pt x="14746" y="13023"/>
                    <a:pt x="14885" y="13389"/>
                    <a:pt x="14954" y="13441"/>
                  </a:cubicBezTo>
                  <a:cubicBezTo>
                    <a:pt x="15023" y="13493"/>
                    <a:pt x="15092" y="13493"/>
                    <a:pt x="15231" y="13546"/>
                  </a:cubicBezTo>
                  <a:cubicBezTo>
                    <a:pt x="15438" y="13650"/>
                    <a:pt x="15438" y="13650"/>
                    <a:pt x="15646" y="13755"/>
                  </a:cubicBezTo>
                  <a:cubicBezTo>
                    <a:pt x="15854" y="13860"/>
                    <a:pt x="15785" y="13964"/>
                    <a:pt x="15785" y="14016"/>
                  </a:cubicBezTo>
                  <a:cubicBezTo>
                    <a:pt x="15785" y="14121"/>
                    <a:pt x="15785" y="14121"/>
                    <a:pt x="15646" y="14226"/>
                  </a:cubicBezTo>
                  <a:cubicBezTo>
                    <a:pt x="15508" y="14383"/>
                    <a:pt x="15646" y="14487"/>
                    <a:pt x="15646" y="14487"/>
                  </a:cubicBezTo>
                  <a:cubicBezTo>
                    <a:pt x="15646" y="14487"/>
                    <a:pt x="15715" y="14592"/>
                    <a:pt x="15854" y="14696"/>
                  </a:cubicBezTo>
                  <a:cubicBezTo>
                    <a:pt x="15992" y="14801"/>
                    <a:pt x="15923" y="14853"/>
                    <a:pt x="15992" y="15010"/>
                  </a:cubicBezTo>
                  <a:cubicBezTo>
                    <a:pt x="15992" y="15167"/>
                    <a:pt x="15992" y="15115"/>
                    <a:pt x="16131" y="15272"/>
                  </a:cubicBezTo>
                  <a:cubicBezTo>
                    <a:pt x="16269" y="15376"/>
                    <a:pt x="16200" y="15324"/>
                    <a:pt x="16338" y="15429"/>
                  </a:cubicBezTo>
                  <a:cubicBezTo>
                    <a:pt x="16477" y="15533"/>
                    <a:pt x="16477" y="15585"/>
                    <a:pt x="16477" y="15585"/>
                  </a:cubicBezTo>
                  <a:cubicBezTo>
                    <a:pt x="16477" y="15585"/>
                    <a:pt x="16892" y="15481"/>
                    <a:pt x="17031" y="15585"/>
                  </a:cubicBezTo>
                  <a:cubicBezTo>
                    <a:pt x="17169" y="15690"/>
                    <a:pt x="17100" y="15638"/>
                    <a:pt x="17377" y="15795"/>
                  </a:cubicBezTo>
                  <a:cubicBezTo>
                    <a:pt x="17585" y="16004"/>
                    <a:pt x="17377" y="15899"/>
                    <a:pt x="17446" y="16056"/>
                  </a:cubicBezTo>
                  <a:cubicBezTo>
                    <a:pt x="17515" y="16161"/>
                    <a:pt x="17585" y="16108"/>
                    <a:pt x="17585" y="16108"/>
                  </a:cubicBezTo>
                  <a:cubicBezTo>
                    <a:pt x="17585" y="16108"/>
                    <a:pt x="17654" y="16161"/>
                    <a:pt x="17792" y="16161"/>
                  </a:cubicBezTo>
                  <a:cubicBezTo>
                    <a:pt x="17931" y="16161"/>
                    <a:pt x="17931" y="16265"/>
                    <a:pt x="17931" y="16370"/>
                  </a:cubicBezTo>
                  <a:cubicBezTo>
                    <a:pt x="18000" y="16475"/>
                    <a:pt x="18000" y="16475"/>
                    <a:pt x="18138" y="16579"/>
                  </a:cubicBezTo>
                  <a:cubicBezTo>
                    <a:pt x="18208" y="16631"/>
                    <a:pt x="18277" y="16579"/>
                    <a:pt x="18485" y="16527"/>
                  </a:cubicBezTo>
                  <a:cubicBezTo>
                    <a:pt x="18623" y="16527"/>
                    <a:pt x="18554" y="16631"/>
                    <a:pt x="18554" y="16684"/>
                  </a:cubicBezTo>
                  <a:cubicBezTo>
                    <a:pt x="18554" y="16736"/>
                    <a:pt x="18692" y="16736"/>
                    <a:pt x="18831" y="16788"/>
                  </a:cubicBezTo>
                  <a:cubicBezTo>
                    <a:pt x="18969" y="16841"/>
                    <a:pt x="18900" y="16841"/>
                    <a:pt x="19038" y="16945"/>
                  </a:cubicBezTo>
                  <a:cubicBezTo>
                    <a:pt x="19038" y="16945"/>
                    <a:pt x="19038" y="16945"/>
                    <a:pt x="19038" y="16998"/>
                  </a:cubicBezTo>
                  <a:close/>
                  <a:moveTo>
                    <a:pt x="3808" y="20606"/>
                  </a:moveTo>
                  <a:cubicBezTo>
                    <a:pt x="3808" y="20606"/>
                    <a:pt x="3808" y="20606"/>
                    <a:pt x="3808" y="20606"/>
                  </a:cubicBezTo>
                  <a:cubicBezTo>
                    <a:pt x="3808" y="20606"/>
                    <a:pt x="3808" y="20606"/>
                    <a:pt x="3808" y="20606"/>
                  </a:cubicBezTo>
                  <a:cubicBezTo>
                    <a:pt x="3808" y="20606"/>
                    <a:pt x="3808" y="20606"/>
                    <a:pt x="3808" y="20606"/>
                  </a:cubicBezTo>
                  <a:close/>
                  <a:moveTo>
                    <a:pt x="8862" y="20920"/>
                  </a:moveTo>
                  <a:cubicBezTo>
                    <a:pt x="8862" y="20920"/>
                    <a:pt x="8862" y="20920"/>
                    <a:pt x="8862" y="20920"/>
                  </a:cubicBezTo>
                  <a:cubicBezTo>
                    <a:pt x="8862" y="20920"/>
                    <a:pt x="8862" y="20920"/>
                    <a:pt x="8862" y="20920"/>
                  </a:cubicBezTo>
                  <a:cubicBezTo>
                    <a:pt x="8862" y="20920"/>
                    <a:pt x="8862" y="20920"/>
                    <a:pt x="8862" y="20920"/>
                  </a:cubicBezTo>
                  <a:cubicBezTo>
                    <a:pt x="8862" y="20920"/>
                    <a:pt x="8862" y="20920"/>
                    <a:pt x="8862" y="20920"/>
                  </a:cubicBezTo>
                  <a:close/>
                  <a:moveTo>
                    <a:pt x="21600" y="10669"/>
                  </a:moveTo>
                  <a:cubicBezTo>
                    <a:pt x="21600" y="10669"/>
                    <a:pt x="21600" y="10669"/>
                    <a:pt x="21600" y="10669"/>
                  </a:cubicBezTo>
                  <a:cubicBezTo>
                    <a:pt x="21600" y="10669"/>
                    <a:pt x="21600" y="10669"/>
                    <a:pt x="21600" y="10669"/>
                  </a:cubicBezTo>
                  <a:cubicBezTo>
                    <a:pt x="21600" y="10669"/>
                    <a:pt x="21600" y="10669"/>
                    <a:pt x="21600" y="10669"/>
                  </a:cubicBez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4" name="Shape 2257">
              <a:extLst>
                <a:ext uri="{FF2B5EF4-FFF2-40B4-BE49-F238E27FC236}">
                  <a16:creationId xmlns:a16="http://schemas.microsoft.com/office/drawing/2014/main" id="{061BB646-78F2-A8DF-41A4-6B07880BF652}"/>
                </a:ext>
              </a:extLst>
            </p:cNvPr>
            <p:cNvSpPr/>
            <p:nvPr/>
          </p:nvSpPr>
          <p:spPr>
            <a:xfrm>
              <a:off x="3180894" y="5870770"/>
              <a:ext cx="2024690" cy="2241239"/>
            </a:xfrm>
            <a:custGeom>
              <a:avLst/>
              <a:gdLst/>
              <a:ahLst/>
              <a:cxnLst>
                <a:cxn ang="0">
                  <a:pos x="wd2" y="hd2"/>
                </a:cxn>
                <a:cxn ang="5400000">
                  <a:pos x="wd2" y="hd2"/>
                </a:cxn>
                <a:cxn ang="10800000">
                  <a:pos x="wd2" y="hd2"/>
                </a:cxn>
                <a:cxn ang="16200000">
                  <a:pos x="wd2" y="hd2"/>
                </a:cxn>
              </a:cxnLst>
              <a:rect l="0" t="0" r="r" b="b"/>
              <a:pathLst>
                <a:path w="21563" h="21579" extrusionOk="0">
                  <a:moveTo>
                    <a:pt x="16470" y="18327"/>
                  </a:moveTo>
                  <a:cubicBezTo>
                    <a:pt x="16514" y="18597"/>
                    <a:pt x="16514" y="18597"/>
                    <a:pt x="16514" y="18597"/>
                  </a:cubicBezTo>
                  <a:cubicBezTo>
                    <a:pt x="16514" y="18597"/>
                    <a:pt x="16251" y="18982"/>
                    <a:pt x="16251" y="19020"/>
                  </a:cubicBezTo>
                  <a:cubicBezTo>
                    <a:pt x="16251" y="19059"/>
                    <a:pt x="16163" y="19213"/>
                    <a:pt x="16075" y="19328"/>
                  </a:cubicBezTo>
                  <a:cubicBezTo>
                    <a:pt x="16031" y="19405"/>
                    <a:pt x="15768" y="19713"/>
                    <a:pt x="15768" y="19713"/>
                  </a:cubicBezTo>
                  <a:cubicBezTo>
                    <a:pt x="15768" y="19713"/>
                    <a:pt x="15768" y="19829"/>
                    <a:pt x="15856" y="19906"/>
                  </a:cubicBezTo>
                  <a:cubicBezTo>
                    <a:pt x="15900" y="19983"/>
                    <a:pt x="16031" y="20098"/>
                    <a:pt x="16031" y="20214"/>
                  </a:cubicBezTo>
                  <a:cubicBezTo>
                    <a:pt x="16031" y="20291"/>
                    <a:pt x="16251" y="20406"/>
                    <a:pt x="16251" y="20406"/>
                  </a:cubicBezTo>
                  <a:cubicBezTo>
                    <a:pt x="16295" y="20637"/>
                    <a:pt x="16295" y="20637"/>
                    <a:pt x="16295" y="20637"/>
                  </a:cubicBezTo>
                  <a:cubicBezTo>
                    <a:pt x="16295" y="20637"/>
                    <a:pt x="16426" y="20753"/>
                    <a:pt x="16426" y="20791"/>
                  </a:cubicBezTo>
                  <a:cubicBezTo>
                    <a:pt x="16383" y="20830"/>
                    <a:pt x="16163" y="21022"/>
                    <a:pt x="16163" y="21022"/>
                  </a:cubicBezTo>
                  <a:cubicBezTo>
                    <a:pt x="16119" y="21253"/>
                    <a:pt x="16119" y="21253"/>
                    <a:pt x="16119" y="21253"/>
                  </a:cubicBezTo>
                  <a:cubicBezTo>
                    <a:pt x="16119" y="21369"/>
                    <a:pt x="16119" y="21369"/>
                    <a:pt x="16119" y="21369"/>
                  </a:cubicBezTo>
                  <a:cubicBezTo>
                    <a:pt x="16119" y="21369"/>
                    <a:pt x="16163" y="21369"/>
                    <a:pt x="16119" y="21484"/>
                  </a:cubicBezTo>
                  <a:cubicBezTo>
                    <a:pt x="16075" y="21561"/>
                    <a:pt x="16075" y="21561"/>
                    <a:pt x="16031" y="21561"/>
                  </a:cubicBezTo>
                  <a:cubicBezTo>
                    <a:pt x="15987" y="21600"/>
                    <a:pt x="15548" y="21561"/>
                    <a:pt x="15548" y="21561"/>
                  </a:cubicBezTo>
                  <a:cubicBezTo>
                    <a:pt x="15109" y="21484"/>
                    <a:pt x="15109" y="21484"/>
                    <a:pt x="15109" y="21484"/>
                  </a:cubicBezTo>
                  <a:cubicBezTo>
                    <a:pt x="15109" y="21484"/>
                    <a:pt x="14890" y="21446"/>
                    <a:pt x="14802" y="21407"/>
                  </a:cubicBezTo>
                  <a:cubicBezTo>
                    <a:pt x="14758" y="21369"/>
                    <a:pt x="14670" y="21330"/>
                    <a:pt x="14670" y="21330"/>
                  </a:cubicBezTo>
                  <a:cubicBezTo>
                    <a:pt x="14539" y="20984"/>
                    <a:pt x="14539" y="20984"/>
                    <a:pt x="14539" y="20984"/>
                  </a:cubicBezTo>
                  <a:cubicBezTo>
                    <a:pt x="14187" y="20945"/>
                    <a:pt x="14187" y="20945"/>
                    <a:pt x="14187" y="20945"/>
                  </a:cubicBezTo>
                  <a:cubicBezTo>
                    <a:pt x="13309" y="20830"/>
                    <a:pt x="13309" y="20830"/>
                    <a:pt x="13309" y="20830"/>
                  </a:cubicBezTo>
                  <a:cubicBezTo>
                    <a:pt x="13309" y="20830"/>
                    <a:pt x="13002" y="20599"/>
                    <a:pt x="12958" y="20560"/>
                  </a:cubicBezTo>
                  <a:cubicBezTo>
                    <a:pt x="12870" y="20522"/>
                    <a:pt x="12783" y="20406"/>
                    <a:pt x="12783" y="20406"/>
                  </a:cubicBezTo>
                  <a:cubicBezTo>
                    <a:pt x="12607" y="20368"/>
                    <a:pt x="12607" y="20368"/>
                    <a:pt x="12607" y="20368"/>
                  </a:cubicBezTo>
                  <a:cubicBezTo>
                    <a:pt x="12256" y="20060"/>
                    <a:pt x="12256" y="20060"/>
                    <a:pt x="12256" y="20060"/>
                  </a:cubicBezTo>
                  <a:cubicBezTo>
                    <a:pt x="11904" y="20060"/>
                    <a:pt x="11904" y="20060"/>
                    <a:pt x="11904" y="20060"/>
                  </a:cubicBezTo>
                  <a:cubicBezTo>
                    <a:pt x="11641" y="19906"/>
                    <a:pt x="11641" y="19906"/>
                    <a:pt x="11641" y="19906"/>
                  </a:cubicBezTo>
                  <a:cubicBezTo>
                    <a:pt x="11334" y="19906"/>
                    <a:pt x="11334" y="19906"/>
                    <a:pt x="11334" y="19906"/>
                  </a:cubicBezTo>
                  <a:cubicBezTo>
                    <a:pt x="11334" y="19906"/>
                    <a:pt x="11114" y="19867"/>
                    <a:pt x="11114" y="19829"/>
                  </a:cubicBezTo>
                  <a:cubicBezTo>
                    <a:pt x="11070" y="19752"/>
                    <a:pt x="10807" y="19636"/>
                    <a:pt x="10807" y="19636"/>
                  </a:cubicBezTo>
                  <a:cubicBezTo>
                    <a:pt x="10807" y="19636"/>
                    <a:pt x="10807" y="19405"/>
                    <a:pt x="10807" y="19367"/>
                  </a:cubicBezTo>
                  <a:cubicBezTo>
                    <a:pt x="10807" y="19328"/>
                    <a:pt x="10851" y="18943"/>
                    <a:pt x="10851" y="18943"/>
                  </a:cubicBezTo>
                  <a:cubicBezTo>
                    <a:pt x="11026" y="18751"/>
                    <a:pt x="11026" y="18751"/>
                    <a:pt x="11026" y="18751"/>
                  </a:cubicBezTo>
                  <a:cubicBezTo>
                    <a:pt x="11290" y="18674"/>
                    <a:pt x="11290" y="18674"/>
                    <a:pt x="11290" y="18674"/>
                  </a:cubicBezTo>
                  <a:cubicBezTo>
                    <a:pt x="11378" y="18828"/>
                    <a:pt x="11378" y="18828"/>
                    <a:pt x="11378" y="18828"/>
                  </a:cubicBezTo>
                  <a:cubicBezTo>
                    <a:pt x="11685" y="18943"/>
                    <a:pt x="11685" y="18943"/>
                    <a:pt x="11685" y="18943"/>
                  </a:cubicBezTo>
                  <a:cubicBezTo>
                    <a:pt x="11861" y="18828"/>
                    <a:pt x="11861" y="18828"/>
                    <a:pt x="11861" y="18828"/>
                  </a:cubicBezTo>
                  <a:cubicBezTo>
                    <a:pt x="11948" y="18597"/>
                    <a:pt x="11948" y="18597"/>
                    <a:pt x="11948" y="18597"/>
                  </a:cubicBezTo>
                  <a:cubicBezTo>
                    <a:pt x="12212" y="18520"/>
                    <a:pt x="12212" y="18520"/>
                    <a:pt x="12212" y="18520"/>
                  </a:cubicBezTo>
                  <a:cubicBezTo>
                    <a:pt x="12519" y="18635"/>
                    <a:pt x="12519" y="18635"/>
                    <a:pt x="12519" y="18635"/>
                  </a:cubicBezTo>
                  <a:cubicBezTo>
                    <a:pt x="12739" y="18828"/>
                    <a:pt x="12739" y="18828"/>
                    <a:pt x="12739" y="18828"/>
                  </a:cubicBezTo>
                  <a:cubicBezTo>
                    <a:pt x="13178" y="18943"/>
                    <a:pt x="13178" y="18943"/>
                    <a:pt x="13178" y="18943"/>
                  </a:cubicBezTo>
                  <a:cubicBezTo>
                    <a:pt x="13573" y="18866"/>
                    <a:pt x="13573" y="18866"/>
                    <a:pt x="13573" y="18866"/>
                  </a:cubicBezTo>
                  <a:cubicBezTo>
                    <a:pt x="13924" y="18828"/>
                    <a:pt x="13924" y="18828"/>
                    <a:pt x="13924" y="18828"/>
                  </a:cubicBezTo>
                  <a:cubicBezTo>
                    <a:pt x="13924" y="18828"/>
                    <a:pt x="14100" y="18828"/>
                    <a:pt x="14187" y="18828"/>
                  </a:cubicBezTo>
                  <a:cubicBezTo>
                    <a:pt x="14231" y="18789"/>
                    <a:pt x="14495" y="18712"/>
                    <a:pt x="14495" y="18712"/>
                  </a:cubicBezTo>
                  <a:cubicBezTo>
                    <a:pt x="14934" y="18597"/>
                    <a:pt x="14934" y="18597"/>
                    <a:pt x="14934" y="18597"/>
                  </a:cubicBezTo>
                  <a:cubicBezTo>
                    <a:pt x="15197" y="18289"/>
                    <a:pt x="15197" y="18289"/>
                    <a:pt x="15197" y="18289"/>
                  </a:cubicBezTo>
                  <a:cubicBezTo>
                    <a:pt x="15548" y="18404"/>
                    <a:pt x="15548" y="18404"/>
                    <a:pt x="15548" y="18404"/>
                  </a:cubicBezTo>
                  <a:cubicBezTo>
                    <a:pt x="15856" y="18443"/>
                    <a:pt x="15856" y="18443"/>
                    <a:pt x="15856" y="18443"/>
                  </a:cubicBezTo>
                  <a:cubicBezTo>
                    <a:pt x="15987" y="18250"/>
                    <a:pt x="15987" y="18250"/>
                    <a:pt x="15987" y="18250"/>
                  </a:cubicBezTo>
                  <a:cubicBezTo>
                    <a:pt x="16295" y="18096"/>
                    <a:pt x="16295" y="18096"/>
                    <a:pt x="16295" y="18096"/>
                  </a:cubicBezTo>
                  <a:cubicBezTo>
                    <a:pt x="16470" y="18327"/>
                    <a:pt x="16470" y="18327"/>
                    <a:pt x="16470" y="18327"/>
                  </a:cubicBezTo>
                  <a:close/>
                  <a:moveTo>
                    <a:pt x="16997" y="18058"/>
                  </a:moveTo>
                  <a:cubicBezTo>
                    <a:pt x="16997" y="18058"/>
                    <a:pt x="16997" y="18058"/>
                    <a:pt x="16997" y="18058"/>
                  </a:cubicBezTo>
                  <a:cubicBezTo>
                    <a:pt x="16822" y="18212"/>
                    <a:pt x="16822" y="18212"/>
                    <a:pt x="16822" y="18212"/>
                  </a:cubicBezTo>
                  <a:cubicBezTo>
                    <a:pt x="16646" y="18327"/>
                    <a:pt x="16646" y="18327"/>
                    <a:pt x="16646" y="18327"/>
                  </a:cubicBezTo>
                  <a:cubicBezTo>
                    <a:pt x="16646" y="18327"/>
                    <a:pt x="16690" y="18481"/>
                    <a:pt x="16690" y="18558"/>
                  </a:cubicBezTo>
                  <a:cubicBezTo>
                    <a:pt x="16734" y="18635"/>
                    <a:pt x="16865" y="18828"/>
                    <a:pt x="16865" y="18828"/>
                  </a:cubicBezTo>
                  <a:cubicBezTo>
                    <a:pt x="17304" y="18828"/>
                    <a:pt x="17304" y="18828"/>
                    <a:pt x="17304" y="18828"/>
                  </a:cubicBezTo>
                  <a:cubicBezTo>
                    <a:pt x="17612" y="18674"/>
                    <a:pt x="17612" y="18674"/>
                    <a:pt x="17612" y="18674"/>
                  </a:cubicBezTo>
                  <a:cubicBezTo>
                    <a:pt x="17656" y="18404"/>
                    <a:pt x="17656" y="18404"/>
                    <a:pt x="17656" y="18404"/>
                  </a:cubicBezTo>
                  <a:cubicBezTo>
                    <a:pt x="17787" y="18135"/>
                    <a:pt x="17787" y="18135"/>
                    <a:pt x="17787" y="18135"/>
                  </a:cubicBezTo>
                  <a:cubicBezTo>
                    <a:pt x="18051" y="17981"/>
                    <a:pt x="18051" y="17981"/>
                    <a:pt x="18051" y="17981"/>
                  </a:cubicBezTo>
                  <a:cubicBezTo>
                    <a:pt x="18270" y="17788"/>
                    <a:pt x="18270" y="17788"/>
                    <a:pt x="18270" y="17788"/>
                  </a:cubicBezTo>
                  <a:cubicBezTo>
                    <a:pt x="18402" y="17596"/>
                    <a:pt x="18402" y="17596"/>
                    <a:pt x="18402" y="17596"/>
                  </a:cubicBezTo>
                  <a:cubicBezTo>
                    <a:pt x="18446" y="17095"/>
                    <a:pt x="18446" y="17095"/>
                    <a:pt x="18446" y="17095"/>
                  </a:cubicBezTo>
                  <a:cubicBezTo>
                    <a:pt x="18578" y="16710"/>
                    <a:pt x="18578" y="16710"/>
                    <a:pt x="18578" y="16710"/>
                  </a:cubicBezTo>
                  <a:cubicBezTo>
                    <a:pt x="19280" y="16479"/>
                    <a:pt x="19280" y="16479"/>
                    <a:pt x="19280" y="16479"/>
                  </a:cubicBezTo>
                  <a:cubicBezTo>
                    <a:pt x="19412" y="16402"/>
                    <a:pt x="19412" y="16402"/>
                    <a:pt x="19412" y="16402"/>
                  </a:cubicBezTo>
                  <a:cubicBezTo>
                    <a:pt x="19412" y="16402"/>
                    <a:pt x="19412" y="16325"/>
                    <a:pt x="19368" y="16248"/>
                  </a:cubicBezTo>
                  <a:cubicBezTo>
                    <a:pt x="19368" y="16210"/>
                    <a:pt x="19236" y="16094"/>
                    <a:pt x="19236" y="16094"/>
                  </a:cubicBezTo>
                  <a:cubicBezTo>
                    <a:pt x="19236" y="16094"/>
                    <a:pt x="19280" y="15979"/>
                    <a:pt x="19280" y="15940"/>
                  </a:cubicBezTo>
                  <a:cubicBezTo>
                    <a:pt x="19280" y="15902"/>
                    <a:pt x="19236" y="15632"/>
                    <a:pt x="19236" y="15632"/>
                  </a:cubicBezTo>
                  <a:cubicBezTo>
                    <a:pt x="19148" y="15363"/>
                    <a:pt x="19148" y="15363"/>
                    <a:pt x="19148" y="15363"/>
                  </a:cubicBezTo>
                  <a:cubicBezTo>
                    <a:pt x="19148" y="15363"/>
                    <a:pt x="19061" y="15363"/>
                    <a:pt x="18929" y="15286"/>
                  </a:cubicBezTo>
                  <a:cubicBezTo>
                    <a:pt x="18797" y="15247"/>
                    <a:pt x="18578" y="15132"/>
                    <a:pt x="18578" y="15132"/>
                  </a:cubicBezTo>
                  <a:cubicBezTo>
                    <a:pt x="18358" y="15055"/>
                    <a:pt x="18358" y="15055"/>
                    <a:pt x="18358" y="15055"/>
                  </a:cubicBezTo>
                  <a:cubicBezTo>
                    <a:pt x="18095" y="15016"/>
                    <a:pt x="18095" y="15016"/>
                    <a:pt x="18095" y="15016"/>
                  </a:cubicBezTo>
                  <a:cubicBezTo>
                    <a:pt x="18007" y="14824"/>
                    <a:pt x="18007" y="14824"/>
                    <a:pt x="18007" y="14824"/>
                  </a:cubicBezTo>
                  <a:cubicBezTo>
                    <a:pt x="18183" y="14284"/>
                    <a:pt x="18183" y="14284"/>
                    <a:pt x="18183" y="14284"/>
                  </a:cubicBezTo>
                  <a:cubicBezTo>
                    <a:pt x="18051" y="14015"/>
                    <a:pt x="18051" y="14015"/>
                    <a:pt x="18051" y="14015"/>
                  </a:cubicBezTo>
                  <a:cubicBezTo>
                    <a:pt x="18446" y="13630"/>
                    <a:pt x="18446" y="13630"/>
                    <a:pt x="18446" y="13630"/>
                  </a:cubicBezTo>
                  <a:cubicBezTo>
                    <a:pt x="18622" y="13360"/>
                    <a:pt x="18622" y="13360"/>
                    <a:pt x="18622" y="13360"/>
                  </a:cubicBezTo>
                  <a:cubicBezTo>
                    <a:pt x="18841" y="13206"/>
                    <a:pt x="18841" y="13206"/>
                    <a:pt x="18841" y="13206"/>
                  </a:cubicBezTo>
                  <a:cubicBezTo>
                    <a:pt x="19192" y="13283"/>
                    <a:pt x="19192" y="13283"/>
                    <a:pt x="19192" y="13283"/>
                  </a:cubicBezTo>
                  <a:cubicBezTo>
                    <a:pt x="19324" y="13437"/>
                    <a:pt x="19324" y="13437"/>
                    <a:pt x="19324" y="13437"/>
                  </a:cubicBezTo>
                  <a:cubicBezTo>
                    <a:pt x="19543" y="13476"/>
                    <a:pt x="19543" y="13476"/>
                    <a:pt x="19543" y="13476"/>
                  </a:cubicBezTo>
                  <a:cubicBezTo>
                    <a:pt x="19939" y="13476"/>
                    <a:pt x="19939" y="13476"/>
                    <a:pt x="19939" y="13476"/>
                  </a:cubicBezTo>
                  <a:cubicBezTo>
                    <a:pt x="20378" y="13553"/>
                    <a:pt x="20378" y="13553"/>
                    <a:pt x="20378" y="13553"/>
                  </a:cubicBezTo>
                  <a:cubicBezTo>
                    <a:pt x="20553" y="13784"/>
                    <a:pt x="20553" y="13784"/>
                    <a:pt x="20553" y="13784"/>
                  </a:cubicBezTo>
                  <a:cubicBezTo>
                    <a:pt x="20729" y="14053"/>
                    <a:pt x="20729" y="14053"/>
                    <a:pt x="20729" y="14053"/>
                  </a:cubicBezTo>
                  <a:cubicBezTo>
                    <a:pt x="20729" y="14053"/>
                    <a:pt x="20817" y="14169"/>
                    <a:pt x="20861" y="14207"/>
                  </a:cubicBezTo>
                  <a:cubicBezTo>
                    <a:pt x="20861" y="14207"/>
                    <a:pt x="21036" y="14323"/>
                    <a:pt x="21080" y="14323"/>
                  </a:cubicBezTo>
                  <a:cubicBezTo>
                    <a:pt x="21124" y="14361"/>
                    <a:pt x="21387" y="14400"/>
                    <a:pt x="21387" y="14400"/>
                  </a:cubicBezTo>
                  <a:cubicBezTo>
                    <a:pt x="21387" y="14400"/>
                    <a:pt x="21387" y="14130"/>
                    <a:pt x="21431" y="14053"/>
                  </a:cubicBezTo>
                  <a:cubicBezTo>
                    <a:pt x="21475" y="14015"/>
                    <a:pt x="21563" y="13861"/>
                    <a:pt x="21563" y="13822"/>
                  </a:cubicBezTo>
                  <a:cubicBezTo>
                    <a:pt x="21563" y="13784"/>
                    <a:pt x="21475" y="13514"/>
                    <a:pt x="21475" y="13514"/>
                  </a:cubicBezTo>
                  <a:cubicBezTo>
                    <a:pt x="21168" y="13206"/>
                    <a:pt x="21168" y="13206"/>
                    <a:pt x="21168" y="13206"/>
                  </a:cubicBezTo>
                  <a:cubicBezTo>
                    <a:pt x="20861" y="13014"/>
                    <a:pt x="20861" y="13014"/>
                    <a:pt x="20861" y="13014"/>
                  </a:cubicBezTo>
                  <a:cubicBezTo>
                    <a:pt x="20114" y="12590"/>
                    <a:pt x="20114" y="12590"/>
                    <a:pt x="20114" y="12590"/>
                  </a:cubicBezTo>
                  <a:cubicBezTo>
                    <a:pt x="19061" y="12282"/>
                    <a:pt x="19061" y="12282"/>
                    <a:pt x="19061" y="12282"/>
                  </a:cubicBezTo>
                  <a:cubicBezTo>
                    <a:pt x="18358" y="11897"/>
                    <a:pt x="18358" y="11897"/>
                    <a:pt x="18358" y="11897"/>
                  </a:cubicBezTo>
                  <a:cubicBezTo>
                    <a:pt x="17787" y="11782"/>
                    <a:pt x="17787" y="11782"/>
                    <a:pt x="17787" y="11782"/>
                  </a:cubicBezTo>
                  <a:cubicBezTo>
                    <a:pt x="17787" y="11782"/>
                    <a:pt x="17173" y="11512"/>
                    <a:pt x="17129" y="11512"/>
                  </a:cubicBezTo>
                  <a:cubicBezTo>
                    <a:pt x="17085" y="11512"/>
                    <a:pt x="16953" y="11474"/>
                    <a:pt x="16953" y="11474"/>
                  </a:cubicBezTo>
                  <a:cubicBezTo>
                    <a:pt x="16953" y="11474"/>
                    <a:pt x="16602" y="11397"/>
                    <a:pt x="16602" y="11358"/>
                  </a:cubicBezTo>
                  <a:cubicBezTo>
                    <a:pt x="16558" y="11320"/>
                    <a:pt x="16514" y="11204"/>
                    <a:pt x="16470" y="11166"/>
                  </a:cubicBezTo>
                  <a:cubicBezTo>
                    <a:pt x="16470" y="11127"/>
                    <a:pt x="16514" y="11012"/>
                    <a:pt x="16514" y="11012"/>
                  </a:cubicBezTo>
                  <a:cubicBezTo>
                    <a:pt x="16690" y="10858"/>
                    <a:pt x="16690" y="10858"/>
                    <a:pt x="16690" y="10858"/>
                  </a:cubicBezTo>
                  <a:cubicBezTo>
                    <a:pt x="16690" y="10858"/>
                    <a:pt x="16865" y="10704"/>
                    <a:pt x="16865" y="10665"/>
                  </a:cubicBezTo>
                  <a:cubicBezTo>
                    <a:pt x="16865" y="10627"/>
                    <a:pt x="16909" y="10396"/>
                    <a:pt x="16909" y="10396"/>
                  </a:cubicBezTo>
                  <a:cubicBezTo>
                    <a:pt x="16690" y="10319"/>
                    <a:pt x="16690" y="10319"/>
                    <a:pt x="16690" y="10319"/>
                  </a:cubicBezTo>
                  <a:cubicBezTo>
                    <a:pt x="16163" y="10357"/>
                    <a:pt x="16163" y="10357"/>
                    <a:pt x="16163" y="10357"/>
                  </a:cubicBezTo>
                  <a:cubicBezTo>
                    <a:pt x="15329" y="10434"/>
                    <a:pt x="15329" y="10434"/>
                    <a:pt x="15329" y="10434"/>
                  </a:cubicBezTo>
                  <a:cubicBezTo>
                    <a:pt x="14890" y="10434"/>
                    <a:pt x="14890" y="10434"/>
                    <a:pt x="14890" y="10434"/>
                  </a:cubicBezTo>
                  <a:cubicBezTo>
                    <a:pt x="14319" y="10126"/>
                    <a:pt x="14319" y="10126"/>
                    <a:pt x="14319" y="10126"/>
                  </a:cubicBezTo>
                  <a:cubicBezTo>
                    <a:pt x="13836" y="9780"/>
                    <a:pt x="13836" y="9780"/>
                    <a:pt x="13836" y="9780"/>
                  </a:cubicBezTo>
                  <a:cubicBezTo>
                    <a:pt x="13529" y="9626"/>
                    <a:pt x="13529" y="9626"/>
                    <a:pt x="13529" y="9626"/>
                  </a:cubicBezTo>
                  <a:cubicBezTo>
                    <a:pt x="13090" y="9202"/>
                    <a:pt x="13090" y="9202"/>
                    <a:pt x="13090" y="9202"/>
                  </a:cubicBezTo>
                  <a:cubicBezTo>
                    <a:pt x="12870" y="8933"/>
                    <a:pt x="12870" y="8933"/>
                    <a:pt x="12870" y="8933"/>
                  </a:cubicBezTo>
                  <a:cubicBezTo>
                    <a:pt x="12870" y="8933"/>
                    <a:pt x="12739" y="8548"/>
                    <a:pt x="12695" y="8394"/>
                  </a:cubicBezTo>
                  <a:cubicBezTo>
                    <a:pt x="12651" y="8278"/>
                    <a:pt x="12300" y="7855"/>
                    <a:pt x="12300" y="7855"/>
                  </a:cubicBezTo>
                  <a:cubicBezTo>
                    <a:pt x="12300" y="7855"/>
                    <a:pt x="12124" y="7508"/>
                    <a:pt x="12124" y="7470"/>
                  </a:cubicBezTo>
                  <a:cubicBezTo>
                    <a:pt x="12124" y="7431"/>
                    <a:pt x="12036" y="7161"/>
                    <a:pt x="12036" y="7161"/>
                  </a:cubicBezTo>
                  <a:cubicBezTo>
                    <a:pt x="11465" y="6930"/>
                    <a:pt x="11465" y="6930"/>
                    <a:pt x="11465" y="6930"/>
                  </a:cubicBezTo>
                  <a:cubicBezTo>
                    <a:pt x="10719" y="6545"/>
                    <a:pt x="10719" y="6545"/>
                    <a:pt x="10719" y="6545"/>
                  </a:cubicBezTo>
                  <a:cubicBezTo>
                    <a:pt x="10104" y="6199"/>
                    <a:pt x="10104" y="6199"/>
                    <a:pt x="10104" y="6199"/>
                  </a:cubicBezTo>
                  <a:cubicBezTo>
                    <a:pt x="9797" y="5814"/>
                    <a:pt x="9797" y="5814"/>
                    <a:pt x="9797" y="5814"/>
                  </a:cubicBezTo>
                  <a:cubicBezTo>
                    <a:pt x="9534" y="5198"/>
                    <a:pt x="9534" y="5198"/>
                    <a:pt x="9534" y="5198"/>
                  </a:cubicBezTo>
                  <a:cubicBezTo>
                    <a:pt x="9490" y="4697"/>
                    <a:pt x="9490" y="4697"/>
                    <a:pt x="9490" y="4697"/>
                  </a:cubicBezTo>
                  <a:cubicBezTo>
                    <a:pt x="9797" y="4582"/>
                    <a:pt x="9797" y="4582"/>
                    <a:pt x="9797" y="4582"/>
                  </a:cubicBezTo>
                  <a:cubicBezTo>
                    <a:pt x="9797" y="4351"/>
                    <a:pt x="9797" y="4351"/>
                    <a:pt x="9797" y="4351"/>
                  </a:cubicBezTo>
                  <a:cubicBezTo>
                    <a:pt x="9534" y="4197"/>
                    <a:pt x="9534" y="4197"/>
                    <a:pt x="9534" y="4197"/>
                  </a:cubicBezTo>
                  <a:cubicBezTo>
                    <a:pt x="9534" y="3966"/>
                    <a:pt x="9534" y="3966"/>
                    <a:pt x="9534" y="3966"/>
                  </a:cubicBezTo>
                  <a:cubicBezTo>
                    <a:pt x="9402" y="3889"/>
                    <a:pt x="9402" y="3889"/>
                    <a:pt x="9402" y="3889"/>
                  </a:cubicBezTo>
                  <a:cubicBezTo>
                    <a:pt x="9226" y="3696"/>
                    <a:pt x="9226" y="3696"/>
                    <a:pt x="9226" y="3696"/>
                  </a:cubicBezTo>
                  <a:cubicBezTo>
                    <a:pt x="9578" y="3542"/>
                    <a:pt x="9578" y="3542"/>
                    <a:pt x="9578" y="3542"/>
                  </a:cubicBezTo>
                  <a:cubicBezTo>
                    <a:pt x="9578" y="3542"/>
                    <a:pt x="9709" y="3388"/>
                    <a:pt x="9885" y="3388"/>
                  </a:cubicBezTo>
                  <a:cubicBezTo>
                    <a:pt x="10061" y="3388"/>
                    <a:pt x="10192" y="3234"/>
                    <a:pt x="10192" y="3234"/>
                  </a:cubicBezTo>
                  <a:cubicBezTo>
                    <a:pt x="10192" y="3234"/>
                    <a:pt x="10324" y="3119"/>
                    <a:pt x="10368" y="3119"/>
                  </a:cubicBezTo>
                  <a:cubicBezTo>
                    <a:pt x="10456" y="3119"/>
                    <a:pt x="10543" y="3080"/>
                    <a:pt x="10631" y="3042"/>
                  </a:cubicBezTo>
                  <a:cubicBezTo>
                    <a:pt x="10675" y="3042"/>
                    <a:pt x="10807" y="3003"/>
                    <a:pt x="10807" y="3003"/>
                  </a:cubicBezTo>
                  <a:cubicBezTo>
                    <a:pt x="10807" y="2965"/>
                    <a:pt x="10851" y="2695"/>
                    <a:pt x="10895" y="2695"/>
                  </a:cubicBezTo>
                  <a:cubicBezTo>
                    <a:pt x="10939" y="2695"/>
                    <a:pt x="11026" y="2849"/>
                    <a:pt x="11158" y="2849"/>
                  </a:cubicBezTo>
                  <a:cubicBezTo>
                    <a:pt x="11202" y="2849"/>
                    <a:pt x="11290" y="2926"/>
                    <a:pt x="11334" y="2888"/>
                  </a:cubicBezTo>
                  <a:cubicBezTo>
                    <a:pt x="11422" y="2849"/>
                    <a:pt x="11465" y="2734"/>
                    <a:pt x="11465" y="2734"/>
                  </a:cubicBezTo>
                  <a:cubicBezTo>
                    <a:pt x="11509" y="2695"/>
                    <a:pt x="11553" y="2657"/>
                    <a:pt x="11685" y="2618"/>
                  </a:cubicBezTo>
                  <a:cubicBezTo>
                    <a:pt x="11685" y="2618"/>
                    <a:pt x="11685" y="2618"/>
                    <a:pt x="11685" y="2618"/>
                  </a:cubicBezTo>
                  <a:cubicBezTo>
                    <a:pt x="11685" y="2618"/>
                    <a:pt x="11597" y="2580"/>
                    <a:pt x="11597" y="2580"/>
                  </a:cubicBezTo>
                  <a:cubicBezTo>
                    <a:pt x="11597" y="2541"/>
                    <a:pt x="11597" y="2541"/>
                    <a:pt x="11641" y="2503"/>
                  </a:cubicBezTo>
                  <a:cubicBezTo>
                    <a:pt x="11641" y="2464"/>
                    <a:pt x="11641" y="2464"/>
                    <a:pt x="11685" y="2426"/>
                  </a:cubicBezTo>
                  <a:cubicBezTo>
                    <a:pt x="11685" y="2426"/>
                    <a:pt x="11685" y="2349"/>
                    <a:pt x="11685" y="2349"/>
                  </a:cubicBezTo>
                  <a:cubicBezTo>
                    <a:pt x="11685" y="2349"/>
                    <a:pt x="11729" y="2310"/>
                    <a:pt x="11685" y="2310"/>
                  </a:cubicBezTo>
                  <a:cubicBezTo>
                    <a:pt x="11685" y="2272"/>
                    <a:pt x="11641" y="2233"/>
                    <a:pt x="11641" y="2233"/>
                  </a:cubicBezTo>
                  <a:cubicBezTo>
                    <a:pt x="11641" y="2233"/>
                    <a:pt x="11641" y="2233"/>
                    <a:pt x="11597" y="2233"/>
                  </a:cubicBezTo>
                  <a:cubicBezTo>
                    <a:pt x="11597" y="2272"/>
                    <a:pt x="11597" y="2272"/>
                    <a:pt x="11597" y="2272"/>
                  </a:cubicBezTo>
                  <a:cubicBezTo>
                    <a:pt x="11509" y="2310"/>
                    <a:pt x="11509" y="2310"/>
                    <a:pt x="11509" y="2310"/>
                  </a:cubicBezTo>
                  <a:cubicBezTo>
                    <a:pt x="11509" y="2310"/>
                    <a:pt x="11465" y="2233"/>
                    <a:pt x="11465" y="2233"/>
                  </a:cubicBezTo>
                  <a:cubicBezTo>
                    <a:pt x="11422" y="2233"/>
                    <a:pt x="11422" y="2233"/>
                    <a:pt x="11422" y="2195"/>
                  </a:cubicBezTo>
                  <a:cubicBezTo>
                    <a:pt x="11422" y="2195"/>
                    <a:pt x="11465" y="2156"/>
                    <a:pt x="11465" y="2156"/>
                  </a:cubicBezTo>
                  <a:cubicBezTo>
                    <a:pt x="11465" y="2156"/>
                    <a:pt x="11422" y="2118"/>
                    <a:pt x="11422" y="2118"/>
                  </a:cubicBezTo>
                  <a:cubicBezTo>
                    <a:pt x="11422" y="2118"/>
                    <a:pt x="11465" y="2041"/>
                    <a:pt x="11509" y="2041"/>
                  </a:cubicBezTo>
                  <a:cubicBezTo>
                    <a:pt x="11553" y="2002"/>
                    <a:pt x="11641" y="1925"/>
                    <a:pt x="11641" y="1925"/>
                  </a:cubicBezTo>
                  <a:cubicBezTo>
                    <a:pt x="11685" y="1848"/>
                    <a:pt x="11685" y="1848"/>
                    <a:pt x="11685" y="1848"/>
                  </a:cubicBezTo>
                  <a:cubicBezTo>
                    <a:pt x="11641" y="1810"/>
                    <a:pt x="11641" y="1810"/>
                    <a:pt x="11641" y="1810"/>
                  </a:cubicBezTo>
                  <a:cubicBezTo>
                    <a:pt x="11641" y="1810"/>
                    <a:pt x="11597" y="1848"/>
                    <a:pt x="11597" y="1848"/>
                  </a:cubicBezTo>
                  <a:cubicBezTo>
                    <a:pt x="11509" y="1810"/>
                    <a:pt x="11509" y="1810"/>
                    <a:pt x="11509" y="1810"/>
                  </a:cubicBezTo>
                  <a:cubicBezTo>
                    <a:pt x="11422" y="1771"/>
                    <a:pt x="11422" y="1771"/>
                    <a:pt x="11422" y="1771"/>
                  </a:cubicBezTo>
                  <a:cubicBezTo>
                    <a:pt x="11290" y="1771"/>
                    <a:pt x="11290" y="1771"/>
                    <a:pt x="11290" y="1771"/>
                  </a:cubicBezTo>
                  <a:cubicBezTo>
                    <a:pt x="11202" y="1694"/>
                    <a:pt x="11202" y="1694"/>
                    <a:pt x="11202" y="1694"/>
                  </a:cubicBezTo>
                  <a:cubicBezTo>
                    <a:pt x="11246" y="1617"/>
                    <a:pt x="11246" y="1617"/>
                    <a:pt x="11246" y="1617"/>
                  </a:cubicBezTo>
                  <a:cubicBezTo>
                    <a:pt x="11246" y="1540"/>
                    <a:pt x="11246" y="1540"/>
                    <a:pt x="11246" y="1540"/>
                  </a:cubicBezTo>
                  <a:cubicBezTo>
                    <a:pt x="11246" y="1540"/>
                    <a:pt x="11334" y="1463"/>
                    <a:pt x="11334" y="1463"/>
                  </a:cubicBezTo>
                  <a:cubicBezTo>
                    <a:pt x="11378" y="1425"/>
                    <a:pt x="11465" y="1386"/>
                    <a:pt x="11465" y="1386"/>
                  </a:cubicBezTo>
                  <a:cubicBezTo>
                    <a:pt x="11509" y="1309"/>
                    <a:pt x="11509" y="1309"/>
                    <a:pt x="11509" y="1309"/>
                  </a:cubicBezTo>
                  <a:cubicBezTo>
                    <a:pt x="11509" y="1309"/>
                    <a:pt x="11553" y="1271"/>
                    <a:pt x="11597" y="1271"/>
                  </a:cubicBezTo>
                  <a:cubicBezTo>
                    <a:pt x="11641" y="1271"/>
                    <a:pt x="11641" y="1309"/>
                    <a:pt x="11641" y="1271"/>
                  </a:cubicBezTo>
                  <a:cubicBezTo>
                    <a:pt x="11685" y="1271"/>
                    <a:pt x="11685" y="1194"/>
                    <a:pt x="11685" y="1155"/>
                  </a:cubicBezTo>
                  <a:cubicBezTo>
                    <a:pt x="11685" y="1040"/>
                    <a:pt x="11685" y="1040"/>
                    <a:pt x="11685" y="1040"/>
                  </a:cubicBezTo>
                  <a:cubicBezTo>
                    <a:pt x="11465" y="1078"/>
                    <a:pt x="11465" y="1078"/>
                    <a:pt x="11465" y="1078"/>
                  </a:cubicBezTo>
                  <a:cubicBezTo>
                    <a:pt x="11465" y="1078"/>
                    <a:pt x="11246" y="1040"/>
                    <a:pt x="11114" y="1040"/>
                  </a:cubicBezTo>
                  <a:cubicBezTo>
                    <a:pt x="10939" y="1040"/>
                    <a:pt x="10587" y="963"/>
                    <a:pt x="10587" y="963"/>
                  </a:cubicBezTo>
                  <a:cubicBezTo>
                    <a:pt x="10148" y="847"/>
                    <a:pt x="10148" y="847"/>
                    <a:pt x="10148" y="847"/>
                  </a:cubicBezTo>
                  <a:cubicBezTo>
                    <a:pt x="9885" y="847"/>
                    <a:pt x="9885" y="847"/>
                    <a:pt x="9885" y="847"/>
                  </a:cubicBezTo>
                  <a:cubicBezTo>
                    <a:pt x="9490" y="809"/>
                    <a:pt x="9490" y="809"/>
                    <a:pt x="9490" y="809"/>
                  </a:cubicBezTo>
                  <a:cubicBezTo>
                    <a:pt x="9490" y="809"/>
                    <a:pt x="9446" y="732"/>
                    <a:pt x="9402" y="693"/>
                  </a:cubicBezTo>
                  <a:cubicBezTo>
                    <a:pt x="9402" y="655"/>
                    <a:pt x="9270" y="578"/>
                    <a:pt x="9270" y="578"/>
                  </a:cubicBezTo>
                  <a:cubicBezTo>
                    <a:pt x="9270" y="501"/>
                    <a:pt x="9270" y="501"/>
                    <a:pt x="9270" y="501"/>
                  </a:cubicBezTo>
                  <a:cubicBezTo>
                    <a:pt x="9183" y="308"/>
                    <a:pt x="9183" y="308"/>
                    <a:pt x="9183" y="308"/>
                  </a:cubicBezTo>
                  <a:cubicBezTo>
                    <a:pt x="9095" y="154"/>
                    <a:pt x="9095" y="154"/>
                    <a:pt x="9095" y="154"/>
                  </a:cubicBezTo>
                  <a:cubicBezTo>
                    <a:pt x="9183" y="39"/>
                    <a:pt x="9183" y="39"/>
                    <a:pt x="9183" y="39"/>
                  </a:cubicBezTo>
                  <a:cubicBezTo>
                    <a:pt x="9095" y="0"/>
                    <a:pt x="9095" y="0"/>
                    <a:pt x="9095" y="0"/>
                  </a:cubicBezTo>
                  <a:cubicBezTo>
                    <a:pt x="9095" y="0"/>
                    <a:pt x="8919" y="39"/>
                    <a:pt x="8831" y="39"/>
                  </a:cubicBezTo>
                  <a:cubicBezTo>
                    <a:pt x="8787" y="77"/>
                    <a:pt x="8524" y="116"/>
                    <a:pt x="8524" y="116"/>
                  </a:cubicBezTo>
                  <a:cubicBezTo>
                    <a:pt x="8436" y="154"/>
                    <a:pt x="8436" y="154"/>
                    <a:pt x="8436" y="154"/>
                  </a:cubicBezTo>
                  <a:cubicBezTo>
                    <a:pt x="8085" y="154"/>
                    <a:pt x="8085" y="154"/>
                    <a:pt x="8085" y="154"/>
                  </a:cubicBezTo>
                  <a:cubicBezTo>
                    <a:pt x="7734" y="193"/>
                    <a:pt x="7734" y="193"/>
                    <a:pt x="7734" y="193"/>
                  </a:cubicBezTo>
                  <a:cubicBezTo>
                    <a:pt x="7602" y="270"/>
                    <a:pt x="7602" y="270"/>
                    <a:pt x="7602" y="270"/>
                  </a:cubicBezTo>
                  <a:cubicBezTo>
                    <a:pt x="7339" y="385"/>
                    <a:pt x="7339" y="385"/>
                    <a:pt x="7339" y="385"/>
                  </a:cubicBezTo>
                  <a:cubicBezTo>
                    <a:pt x="7339" y="539"/>
                    <a:pt x="7339" y="539"/>
                    <a:pt x="7339" y="539"/>
                  </a:cubicBezTo>
                  <a:cubicBezTo>
                    <a:pt x="7207" y="693"/>
                    <a:pt x="7207" y="693"/>
                    <a:pt x="7207" y="693"/>
                  </a:cubicBezTo>
                  <a:cubicBezTo>
                    <a:pt x="6987" y="693"/>
                    <a:pt x="6987" y="693"/>
                    <a:pt x="6987" y="693"/>
                  </a:cubicBezTo>
                  <a:cubicBezTo>
                    <a:pt x="6768" y="539"/>
                    <a:pt x="6768" y="539"/>
                    <a:pt x="6768" y="539"/>
                  </a:cubicBezTo>
                  <a:cubicBezTo>
                    <a:pt x="6680" y="616"/>
                    <a:pt x="6680" y="616"/>
                    <a:pt x="6680" y="616"/>
                  </a:cubicBezTo>
                  <a:cubicBezTo>
                    <a:pt x="6461" y="578"/>
                    <a:pt x="6461" y="578"/>
                    <a:pt x="6461" y="578"/>
                  </a:cubicBezTo>
                  <a:cubicBezTo>
                    <a:pt x="6417" y="578"/>
                    <a:pt x="6417" y="578"/>
                    <a:pt x="6417" y="578"/>
                  </a:cubicBezTo>
                  <a:cubicBezTo>
                    <a:pt x="6373" y="578"/>
                    <a:pt x="6373" y="578"/>
                    <a:pt x="6373" y="578"/>
                  </a:cubicBezTo>
                  <a:cubicBezTo>
                    <a:pt x="6373" y="578"/>
                    <a:pt x="6329" y="616"/>
                    <a:pt x="6329" y="616"/>
                  </a:cubicBezTo>
                  <a:cubicBezTo>
                    <a:pt x="6373" y="693"/>
                    <a:pt x="6373" y="693"/>
                    <a:pt x="6373" y="693"/>
                  </a:cubicBezTo>
                  <a:cubicBezTo>
                    <a:pt x="6329" y="732"/>
                    <a:pt x="6329" y="732"/>
                    <a:pt x="6329" y="732"/>
                  </a:cubicBezTo>
                  <a:cubicBezTo>
                    <a:pt x="6373" y="809"/>
                    <a:pt x="6373" y="809"/>
                    <a:pt x="6373" y="809"/>
                  </a:cubicBezTo>
                  <a:cubicBezTo>
                    <a:pt x="6373" y="809"/>
                    <a:pt x="6329" y="847"/>
                    <a:pt x="6285" y="886"/>
                  </a:cubicBezTo>
                  <a:cubicBezTo>
                    <a:pt x="6241" y="886"/>
                    <a:pt x="6329" y="963"/>
                    <a:pt x="6329" y="963"/>
                  </a:cubicBezTo>
                  <a:cubicBezTo>
                    <a:pt x="6329" y="963"/>
                    <a:pt x="6373" y="963"/>
                    <a:pt x="6461" y="1001"/>
                  </a:cubicBezTo>
                  <a:cubicBezTo>
                    <a:pt x="6504" y="1040"/>
                    <a:pt x="6461" y="1040"/>
                    <a:pt x="6461" y="1040"/>
                  </a:cubicBezTo>
                  <a:cubicBezTo>
                    <a:pt x="6461" y="1078"/>
                    <a:pt x="6461" y="1117"/>
                    <a:pt x="6417" y="1117"/>
                  </a:cubicBezTo>
                  <a:cubicBezTo>
                    <a:pt x="6417" y="1155"/>
                    <a:pt x="6417" y="1155"/>
                    <a:pt x="6417" y="1155"/>
                  </a:cubicBezTo>
                  <a:cubicBezTo>
                    <a:pt x="6373" y="1155"/>
                    <a:pt x="6373" y="1155"/>
                    <a:pt x="6373" y="1155"/>
                  </a:cubicBezTo>
                  <a:cubicBezTo>
                    <a:pt x="6373" y="1155"/>
                    <a:pt x="6241" y="1194"/>
                    <a:pt x="6241" y="1155"/>
                  </a:cubicBezTo>
                  <a:cubicBezTo>
                    <a:pt x="6197" y="1155"/>
                    <a:pt x="6241" y="1155"/>
                    <a:pt x="6241" y="1155"/>
                  </a:cubicBezTo>
                  <a:cubicBezTo>
                    <a:pt x="6197" y="1155"/>
                    <a:pt x="6197" y="1155"/>
                    <a:pt x="6197" y="1155"/>
                  </a:cubicBezTo>
                  <a:cubicBezTo>
                    <a:pt x="6197" y="1155"/>
                    <a:pt x="6065" y="1078"/>
                    <a:pt x="6065" y="1078"/>
                  </a:cubicBezTo>
                  <a:cubicBezTo>
                    <a:pt x="6065" y="1040"/>
                    <a:pt x="6065" y="1040"/>
                    <a:pt x="6065" y="1040"/>
                  </a:cubicBezTo>
                  <a:cubicBezTo>
                    <a:pt x="6065" y="1040"/>
                    <a:pt x="6022" y="1001"/>
                    <a:pt x="6022" y="1001"/>
                  </a:cubicBezTo>
                  <a:cubicBezTo>
                    <a:pt x="5978" y="1001"/>
                    <a:pt x="5978" y="1040"/>
                    <a:pt x="5978" y="1040"/>
                  </a:cubicBezTo>
                  <a:cubicBezTo>
                    <a:pt x="5934" y="1040"/>
                    <a:pt x="5890" y="1040"/>
                    <a:pt x="5846" y="1040"/>
                  </a:cubicBezTo>
                  <a:cubicBezTo>
                    <a:pt x="5846" y="1040"/>
                    <a:pt x="5846" y="1078"/>
                    <a:pt x="5802" y="1078"/>
                  </a:cubicBezTo>
                  <a:cubicBezTo>
                    <a:pt x="5802" y="1117"/>
                    <a:pt x="5802" y="1117"/>
                    <a:pt x="5802" y="1155"/>
                  </a:cubicBezTo>
                  <a:cubicBezTo>
                    <a:pt x="5758" y="1155"/>
                    <a:pt x="5758" y="1194"/>
                    <a:pt x="5758" y="1194"/>
                  </a:cubicBezTo>
                  <a:cubicBezTo>
                    <a:pt x="5758" y="1232"/>
                    <a:pt x="5758" y="1232"/>
                    <a:pt x="5758" y="1232"/>
                  </a:cubicBezTo>
                  <a:cubicBezTo>
                    <a:pt x="5714" y="1309"/>
                    <a:pt x="5714" y="1309"/>
                    <a:pt x="5714" y="1309"/>
                  </a:cubicBezTo>
                  <a:cubicBezTo>
                    <a:pt x="5758" y="1309"/>
                    <a:pt x="5758" y="1309"/>
                    <a:pt x="5758" y="1309"/>
                  </a:cubicBezTo>
                  <a:cubicBezTo>
                    <a:pt x="5758" y="1309"/>
                    <a:pt x="5758" y="1386"/>
                    <a:pt x="5758" y="1386"/>
                  </a:cubicBezTo>
                  <a:cubicBezTo>
                    <a:pt x="5758" y="1425"/>
                    <a:pt x="5758" y="1425"/>
                    <a:pt x="5758" y="1425"/>
                  </a:cubicBezTo>
                  <a:cubicBezTo>
                    <a:pt x="5802" y="1463"/>
                    <a:pt x="5846" y="1425"/>
                    <a:pt x="5846" y="1425"/>
                  </a:cubicBezTo>
                  <a:cubicBezTo>
                    <a:pt x="5846" y="1425"/>
                    <a:pt x="5890" y="1463"/>
                    <a:pt x="5890" y="1502"/>
                  </a:cubicBezTo>
                  <a:cubicBezTo>
                    <a:pt x="5934" y="1502"/>
                    <a:pt x="5890" y="1540"/>
                    <a:pt x="5890" y="1540"/>
                  </a:cubicBezTo>
                  <a:cubicBezTo>
                    <a:pt x="5890" y="1540"/>
                    <a:pt x="5846" y="1579"/>
                    <a:pt x="5846" y="1579"/>
                  </a:cubicBezTo>
                  <a:cubicBezTo>
                    <a:pt x="5802" y="1579"/>
                    <a:pt x="5802" y="1579"/>
                    <a:pt x="5846" y="1617"/>
                  </a:cubicBezTo>
                  <a:cubicBezTo>
                    <a:pt x="5846" y="1656"/>
                    <a:pt x="5890" y="1656"/>
                    <a:pt x="5890" y="1656"/>
                  </a:cubicBezTo>
                  <a:cubicBezTo>
                    <a:pt x="5934" y="1656"/>
                    <a:pt x="5934" y="1771"/>
                    <a:pt x="5934" y="1771"/>
                  </a:cubicBezTo>
                  <a:cubicBezTo>
                    <a:pt x="5934" y="1810"/>
                    <a:pt x="5890" y="1848"/>
                    <a:pt x="5890" y="1848"/>
                  </a:cubicBezTo>
                  <a:cubicBezTo>
                    <a:pt x="5890" y="1848"/>
                    <a:pt x="5890" y="1848"/>
                    <a:pt x="5890" y="1848"/>
                  </a:cubicBezTo>
                  <a:cubicBezTo>
                    <a:pt x="5846" y="1848"/>
                    <a:pt x="5846" y="1848"/>
                    <a:pt x="5846" y="1887"/>
                  </a:cubicBezTo>
                  <a:cubicBezTo>
                    <a:pt x="5846" y="1887"/>
                    <a:pt x="5758" y="1887"/>
                    <a:pt x="5758" y="1887"/>
                  </a:cubicBezTo>
                  <a:cubicBezTo>
                    <a:pt x="5758" y="1887"/>
                    <a:pt x="5802" y="1810"/>
                    <a:pt x="5758" y="1810"/>
                  </a:cubicBezTo>
                  <a:cubicBezTo>
                    <a:pt x="5758" y="1771"/>
                    <a:pt x="5714" y="1771"/>
                    <a:pt x="5670" y="1733"/>
                  </a:cubicBezTo>
                  <a:cubicBezTo>
                    <a:pt x="5626" y="1656"/>
                    <a:pt x="5670" y="1656"/>
                    <a:pt x="5670" y="1656"/>
                  </a:cubicBezTo>
                  <a:cubicBezTo>
                    <a:pt x="5670" y="1656"/>
                    <a:pt x="5670" y="1656"/>
                    <a:pt x="5626" y="1617"/>
                  </a:cubicBezTo>
                  <a:cubicBezTo>
                    <a:pt x="5626" y="1579"/>
                    <a:pt x="5626" y="1540"/>
                    <a:pt x="5626" y="1540"/>
                  </a:cubicBezTo>
                  <a:cubicBezTo>
                    <a:pt x="5626" y="1540"/>
                    <a:pt x="5539" y="1540"/>
                    <a:pt x="5495" y="1540"/>
                  </a:cubicBezTo>
                  <a:cubicBezTo>
                    <a:pt x="5407" y="1540"/>
                    <a:pt x="5451" y="1579"/>
                    <a:pt x="5451" y="1579"/>
                  </a:cubicBezTo>
                  <a:cubicBezTo>
                    <a:pt x="5363" y="1579"/>
                    <a:pt x="5363" y="1579"/>
                    <a:pt x="5363" y="1579"/>
                  </a:cubicBezTo>
                  <a:cubicBezTo>
                    <a:pt x="5363" y="1579"/>
                    <a:pt x="5319" y="1617"/>
                    <a:pt x="5319" y="1617"/>
                  </a:cubicBezTo>
                  <a:cubicBezTo>
                    <a:pt x="5275" y="1656"/>
                    <a:pt x="5275" y="1617"/>
                    <a:pt x="5231" y="1617"/>
                  </a:cubicBezTo>
                  <a:cubicBezTo>
                    <a:pt x="5231" y="1617"/>
                    <a:pt x="5187" y="1617"/>
                    <a:pt x="5187" y="1617"/>
                  </a:cubicBezTo>
                  <a:cubicBezTo>
                    <a:pt x="5187" y="1617"/>
                    <a:pt x="5143" y="1656"/>
                    <a:pt x="5187" y="1694"/>
                  </a:cubicBezTo>
                  <a:cubicBezTo>
                    <a:pt x="5187" y="1733"/>
                    <a:pt x="5187" y="1733"/>
                    <a:pt x="5143" y="1733"/>
                  </a:cubicBezTo>
                  <a:cubicBezTo>
                    <a:pt x="5143" y="1771"/>
                    <a:pt x="5056" y="1733"/>
                    <a:pt x="4968" y="1733"/>
                  </a:cubicBezTo>
                  <a:cubicBezTo>
                    <a:pt x="4836" y="1733"/>
                    <a:pt x="4924" y="1694"/>
                    <a:pt x="4880" y="1694"/>
                  </a:cubicBezTo>
                  <a:cubicBezTo>
                    <a:pt x="4880" y="1656"/>
                    <a:pt x="4792" y="1656"/>
                    <a:pt x="4792" y="1617"/>
                  </a:cubicBezTo>
                  <a:cubicBezTo>
                    <a:pt x="4792" y="1540"/>
                    <a:pt x="4792" y="1540"/>
                    <a:pt x="4792" y="1502"/>
                  </a:cubicBezTo>
                  <a:cubicBezTo>
                    <a:pt x="4792" y="1463"/>
                    <a:pt x="4748" y="1425"/>
                    <a:pt x="4748" y="1425"/>
                  </a:cubicBezTo>
                  <a:cubicBezTo>
                    <a:pt x="4704" y="1386"/>
                    <a:pt x="4748" y="1348"/>
                    <a:pt x="4792" y="1348"/>
                  </a:cubicBezTo>
                  <a:cubicBezTo>
                    <a:pt x="4792" y="1309"/>
                    <a:pt x="4748" y="1309"/>
                    <a:pt x="4748" y="1309"/>
                  </a:cubicBezTo>
                  <a:cubicBezTo>
                    <a:pt x="4661" y="1348"/>
                    <a:pt x="4661" y="1348"/>
                    <a:pt x="4661" y="1348"/>
                  </a:cubicBezTo>
                  <a:cubicBezTo>
                    <a:pt x="4617" y="1348"/>
                    <a:pt x="4617" y="1348"/>
                    <a:pt x="4617" y="1348"/>
                  </a:cubicBezTo>
                  <a:cubicBezTo>
                    <a:pt x="4617" y="1348"/>
                    <a:pt x="4573" y="1309"/>
                    <a:pt x="4529" y="1309"/>
                  </a:cubicBezTo>
                  <a:cubicBezTo>
                    <a:pt x="4529" y="1271"/>
                    <a:pt x="4485" y="1309"/>
                    <a:pt x="4485" y="1309"/>
                  </a:cubicBezTo>
                  <a:cubicBezTo>
                    <a:pt x="4397" y="1386"/>
                    <a:pt x="4397" y="1386"/>
                    <a:pt x="4397" y="1386"/>
                  </a:cubicBezTo>
                  <a:cubicBezTo>
                    <a:pt x="4397" y="1425"/>
                    <a:pt x="4397" y="1425"/>
                    <a:pt x="4397" y="1425"/>
                  </a:cubicBezTo>
                  <a:cubicBezTo>
                    <a:pt x="4441" y="1502"/>
                    <a:pt x="4441" y="1502"/>
                    <a:pt x="4441" y="1502"/>
                  </a:cubicBezTo>
                  <a:cubicBezTo>
                    <a:pt x="4441" y="1579"/>
                    <a:pt x="4441" y="1579"/>
                    <a:pt x="4441" y="1579"/>
                  </a:cubicBezTo>
                  <a:cubicBezTo>
                    <a:pt x="4441" y="1579"/>
                    <a:pt x="4441" y="1617"/>
                    <a:pt x="4441" y="1656"/>
                  </a:cubicBezTo>
                  <a:cubicBezTo>
                    <a:pt x="4441" y="1656"/>
                    <a:pt x="4441" y="1694"/>
                    <a:pt x="4441" y="1694"/>
                  </a:cubicBezTo>
                  <a:cubicBezTo>
                    <a:pt x="4441" y="1733"/>
                    <a:pt x="4441" y="1733"/>
                    <a:pt x="4441" y="1733"/>
                  </a:cubicBezTo>
                  <a:cubicBezTo>
                    <a:pt x="4441" y="1733"/>
                    <a:pt x="4397" y="1771"/>
                    <a:pt x="4397" y="1810"/>
                  </a:cubicBezTo>
                  <a:cubicBezTo>
                    <a:pt x="4397" y="1810"/>
                    <a:pt x="4397" y="1848"/>
                    <a:pt x="4397" y="1887"/>
                  </a:cubicBezTo>
                  <a:cubicBezTo>
                    <a:pt x="4353" y="1925"/>
                    <a:pt x="4353" y="1925"/>
                    <a:pt x="4353" y="1925"/>
                  </a:cubicBezTo>
                  <a:cubicBezTo>
                    <a:pt x="4353" y="1925"/>
                    <a:pt x="4309" y="1964"/>
                    <a:pt x="4309" y="2002"/>
                  </a:cubicBezTo>
                  <a:cubicBezTo>
                    <a:pt x="4309" y="2002"/>
                    <a:pt x="4222" y="2002"/>
                    <a:pt x="4222" y="2002"/>
                  </a:cubicBezTo>
                  <a:cubicBezTo>
                    <a:pt x="4222" y="2002"/>
                    <a:pt x="4178" y="2079"/>
                    <a:pt x="4134" y="2079"/>
                  </a:cubicBezTo>
                  <a:cubicBezTo>
                    <a:pt x="4134" y="2079"/>
                    <a:pt x="4134" y="2156"/>
                    <a:pt x="4134" y="2195"/>
                  </a:cubicBezTo>
                  <a:cubicBezTo>
                    <a:pt x="4134" y="2195"/>
                    <a:pt x="4134" y="2233"/>
                    <a:pt x="4134" y="2233"/>
                  </a:cubicBezTo>
                  <a:cubicBezTo>
                    <a:pt x="4046" y="2272"/>
                    <a:pt x="4046" y="2272"/>
                    <a:pt x="4046" y="2272"/>
                  </a:cubicBezTo>
                  <a:cubicBezTo>
                    <a:pt x="4046" y="2272"/>
                    <a:pt x="4090" y="2349"/>
                    <a:pt x="4090" y="2349"/>
                  </a:cubicBezTo>
                  <a:cubicBezTo>
                    <a:pt x="4090" y="2387"/>
                    <a:pt x="4046" y="2387"/>
                    <a:pt x="4046" y="2387"/>
                  </a:cubicBezTo>
                  <a:cubicBezTo>
                    <a:pt x="4002" y="2426"/>
                    <a:pt x="4046" y="2426"/>
                    <a:pt x="4046" y="2464"/>
                  </a:cubicBezTo>
                  <a:cubicBezTo>
                    <a:pt x="4002" y="2503"/>
                    <a:pt x="4046" y="2503"/>
                    <a:pt x="4046" y="2503"/>
                  </a:cubicBezTo>
                  <a:cubicBezTo>
                    <a:pt x="4046" y="2541"/>
                    <a:pt x="4178" y="2580"/>
                    <a:pt x="4178" y="2580"/>
                  </a:cubicBezTo>
                  <a:cubicBezTo>
                    <a:pt x="4178" y="2580"/>
                    <a:pt x="4178" y="2580"/>
                    <a:pt x="4134" y="2618"/>
                  </a:cubicBezTo>
                  <a:cubicBezTo>
                    <a:pt x="4046" y="2657"/>
                    <a:pt x="4090" y="2734"/>
                    <a:pt x="4090" y="2734"/>
                  </a:cubicBezTo>
                  <a:cubicBezTo>
                    <a:pt x="4046" y="2772"/>
                    <a:pt x="4046" y="2772"/>
                    <a:pt x="4046" y="2772"/>
                  </a:cubicBezTo>
                  <a:cubicBezTo>
                    <a:pt x="4046" y="2772"/>
                    <a:pt x="4002" y="2734"/>
                    <a:pt x="3958" y="2734"/>
                  </a:cubicBezTo>
                  <a:cubicBezTo>
                    <a:pt x="3958" y="2734"/>
                    <a:pt x="3958" y="2734"/>
                    <a:pt x="3870" y="2734"/>
                  </a:cubicBezTo>
                  <a:cubicBezTo>
                    <a:pt x="3783" y="2734"/>
                    <a:pt x="3870" y="2695"/>
                    <a:pt x="3870" y="2695"/>
                  </a:cubicBezTo>
                  <a:cubicBezTo>
                    <a:pt x="3870" y="2695"/>
                    <a:pt x="3870" y="2618"/>
                    <a:pt x="3870" y="2580"/>
                  </a:cubicBezTo>
                  <a:cubicBezTo>
                    <a:pt x="3870" y="2580"/>
                    <a:pt x="3870" y="2580"/>
                    <a:pt x="3870" y="2580"/>
                  </a:cubicBezTo>
                  <a:cubicBezTo>
                    <a:pt x="3870" y="2580"/>
                    <a:pt x="3870" y="2541"/>
                    <a:pt x="3826" y="2503"/>
                  </a:cubicBezTo>
                  <a:cubicBezTo>
                    <a:pt x="3826" y="2464"/>
                    <a:pt x="3783" y="2464"/>
                    <a:pt x="3783" y="2464"/>
                  </a:cubicBezTo>
                  <a:cubicBezTo>
                    <a:pt x="3651" y="2387"/>
                    <a:pt x="3651" y="2387"/>
                    <a:pt x="3651" y="2387"/>
                  </a:cubicBezTo>
                  <a:cubicBezTo>
                    <a:pt x="3651" y="2387"/>
                    <a:pt x="3695" y="2310"/>
                    <a:pt x="3739" y="2272"/>
                  </a:cubicBezTo>
                  <a:cubicBezTo>
                    <a:pt x="3739" y="2272"/>
                    <a:pt x="3739" y="2272"/>
                    <a:pt x="3739" y="2272"/>
                  </a:cubicBezTo>
                  <a:cubicBezTo>
                    <a:pt x="3739" y="2272"/>
                    <a:pt x="3739" y="2272"/>
                    <a:pt x="3783" y="2233"/>
                  </a:cubicBezTo>
                  <a:cubicBezTo>
                    <a:pt x="3783" y="2195"/>
                    <a:pt x="3739" y="2195"/>
                    <a:pt x="3739" y="2195"/>
                  </a:cubicBezTo>
                  <a:cubicBezTo>
                    <a:pt x="3695" y="2195"/>
                    <a:pt x="3695" y="2195"/>
                    <a:pt x="3695" y="2195"/>
                  </a:cubicBezTo>
                  <a:cubicBezTo>
                    <a:pt x="3651" y="2156"/>
                    <a:pt x="3651" y="2156"/>
                    <a:pt x="3651" y="2156"/>
                  </a:cubicBezTo>
                  <a:cubicBezTo>
                    <a:pt x="3651" y="2156"/>
                    <a:pt x="3563" y="2195"/>
                    <a:pt x="3563" y="2156"/>
                  </a:cubicBezTo>
                  <a:cubicBezTo>
                    <a:pt x="3519" y="2156"/>
                    <a:pt x="3431" y="2156"/>
                    <a:pt x="3431" y="2118"/>
                  </a:cubicBezTo>
                  <a:cubicBezTo>
                    <a:pt x="3431" y="2118"/>
                    <a:pt x="3387" y="2118"/>
                    <a:pt x="3343" y="2118"/>
                  </a:cubicBezTo>
                  <a:cubicBezTo>
                    <a:pt x="3343" y="2118"/>
                    <a:pt x="3300" y="2118"/>
                    <a:pt x="3300" y="2118"/>
                  </a:cubicBezTo>
                  <a:cubicBezTo>
                    <a:pt x="3256" y="2079"/>
                    <a:pt x="3212" y="2041"/>
                    <a:pt x="3212" y="2041"/>
                  </a:cubicBezTo>
                  <a:cubicBezTo>
                    <a:pt x="3212" y="2002"/>
                    <a:pt x="3168" y="1964"/>
                    <a:pt x="3168" y="1964"/>
                  </a:cubicBezTo>
                  <a:cubicBezTo>
                    <a:pt x="3124" y="1964"/>
                    <a:pt x="3124" y="1964"/>
                    <a:pt x="3124" y="1964"/>
                  </a:cubicBezTo>
                  <a:cubicBezTo>
                    <a:pt x="3124" y="1964"/>
                    <a:pt x="3080" y="1887"/>
                    <a:pt x="3036" y="1887"/>
                  </a:cubicBezTo>
                  <a:cubicBezTo>
                    <a:pt x="3036" y="1887"/>
                    <a:pt x="3036" y="1848"/>
                    <a:pt x="3036" y="1848"/>
                  </a:cubicBezTo>
                  <a:cubicBezTo>
                    <a:pt x="2992" y="1810"/>
                    <a:pt x="2992" y="1810"/>
                    <a:pt x="2992" y="1810"/>
                  </a:cubicBezTo>
                  <a:cubicBezTo>
                    <a:pt x="2992" y="1810"/>
                    <a:pt x="2992" y="1771"/>
                    <a:pt x="2992" y="1733"/>
                  </a:cubicBezTo>
                  <a:cubicBezTo>
                    <a:pt x="2992" y="1733"/>
                    <a:pt x="3036" y="1656"/>
                    <a:pt x="3036" y="1656"/>
                  </a:cubicBezTo>
                  <a:cubicBezTo>
                    <a:pt x="3036" y="1656"/>
                    <a:pt x="2992" y="1579"/>
                    <a:pt x="2992" y="1540"/>
                  </a:cubicBezTo>
                  <a:cubicBezTo>
                    <a:pt x="2992" y="1502"/>
                    <a:pt x="3036" y="1425"/>
                    <a:pt x="3036" y="1425"/>
                  </a:cubicBezTo>
                  <a:cubicBezTo>
                    <a:pt x="3036" y="1425"/>
                    <a:pt x="2861" y="1463"/>
                    <a:pt x="2817" y="1502"/>
                  </a:cubicBezTo>
                  <a:cubicBezTo>
                    <a:pt x="2773" y="1502"/>
                    <a:pt x="2773" y="1540"/>
                    <a:pt x="2773" y="1540"/>
                  </a:cubicBezTo>
                  <a:cubicBezTo>
                    <a:pt x="2773" y="1540"/>
                    <a:pt x="2773" y="1579"/>
                    <a:pt x="2773" y="1617"/>
                  </a:cubicBezTo>
                  <a:cubicBezTo>
                    <a:pt x="2729" y="1617"/>
                    <a:pt x="2729" y="1617"/>
                    <a:pt x="2729" y="1617"/>
                  </a:cubicBezTo>
                  <a:cubicBezTo>
                    <a:pt x="2729" y="1617"/>
                    <a:pt x="2641" y="1694"/>
                    <a:pt x="2597" y="1694"/>
                  </a:cubicBezTo>
                  <a:cubicBezTo>
                    <a:pt x="2597" y="1733"/>
                    <a:pt x="2597" y="1733"/>
                    <a:pt x="2553" y="1733"/>
                  </a:cubicBezTo>
                  <a:cubicBezTo>
                    <a:pt x="2509" y="1733"/>
                    <a:pt x="2465" y="1771"/>
                    <a:pt x="2465" y="1771"/>
                  </a:cubicBezTo>
                  <a:cubicBezTo>
                    <a:pt x="2422" y="1810"/>
                    <a:pt x="2422" y="1810"/>
                    <a:pt x="2422" y="1810"/>
                  </a:cubicBezTo>
                  <a:cubicBezTo>
                    <a:pt x="2465" y="1848"/>
                    <a:pt x="2465" y="1848"/>
                    <a:pt x="2465" y="1848"/>
                  </a:cubicBezTo>
                  <a:cubicBezTo>
                    <a:pt x="2509" y="1964"/>
                    <a:pt x="2509" y="1964"/>
                    <a:pt x="2509" y="1964"/>
                  </a:cubicBezTo>
                  <a:cubicBezTo>
                    <a:pt x="2465" y="2041"/>
                    <a:pt x="2465" y="2041"/>
                    <a:pt x="2465" y="2041"/>
                  </a:cubicBezTo>
                  <a:cubicBezTo>
                    <a:pt x="2465" y="2041"/>
                    <a:pt x="2465" y="2041"/>
                    <a:pt x="2465" y="2079"/>
                  </a:cubicBezTo>
                  <a:cubicBezTo>
                    <a:pt x="2422" y="2156"/>
                    <a:pt x="2422" y="2156"/>
                    <a:pt x="2422" y="2156"/>
                  </a:cubicBezTo>
                  <a:cubicBezTo>
                    <a:pt x="2378" y="2195"/>
                    <a:pt x="2378" y="2195"/>
                    <a:pt x="2378" y="2195"/>
                  </a:cubicBezTo>
                  <a:cubicBezTo>
                    <a:pt x="2334" y="2233"/>
                    <a:pt x="2334" y="2233"/>
                    <a:pt x="2334" y="2233"/>
                  </a:cubicBezTo>
                  <a:cubicBezTo>
                    <a:pt x="2334" y="2233"/>
                    <a:pt x="2334" y="2272"/>
                    <a:pt x="2334" y="2310"/>
                  </a:cubicBezTo>
                  <a:cubicBezTo>
                    <a:pt x="2334" y="2310"/>
                    <a:pt x="2334" y="2349"/>
                    <a:pt x="2290" y="2387"/>
                  </a:cubicBezTo>
                  <a:cubicBezTo>
                    <a:pt x="2246" y="2426"/>
                    <a:pt x="2246" y="2426"/>
                    <a:pt x="2246" y="2426"/>
                  </a:cubicBezTo>
                  <a:cubicBezTo>
                    <a:pt x="2246" y="2426"/>
                    <a:pt x="2202" y="2426"/>
                    <a:pt x="2158" y="2426"/>
                  </a:cubicBezTo>
                  <a:cubicBezTo>
                    <a:pt x="2114" y="2426"/>
                    <a:pt x="2114" y="2464"/>
                    <a:pt x="2070" y="2464"/>
                  </a:cubicBezTo>
                  <a:cubicBezTo>
                    <a:pt x="1983" y="2464"/>
                    <a:pt x="2026" y="2503"/>
                    <a:pt x="2026" y="2541"/>
                  </a:cubicBezTo>
                  <a:cubicBezTo>
                    <a:pt x="2026" y="2541"/>
                    <a:pt x="2026" y="2541"/>
                    <a:pt x="2026" y="2580"/>
                  </a:cubicBezTo>
                  <a:cubicBezTo>
                    <a:pt x="1983" y="2580"/>
                    <a:pt x="1895" y="2580"/>
                    <a:pt x="1895" y="2541"/>
                  </a:cubicBezTo>
                  <a:cubicBezTo>
                    <a:pt x="1851" y="2541"/>
                    <a:pt x="1851" y="2541"/>
                    <a:pt x="1807" y="2541"/>
                  </a:cubicBezTo>
                  <a:cubicBezTo>
                    <a:pt x="1807" y="2580"/>
                    <a:pt x="1763" y="2503"/>
                    <a:pt x="1763" y="2503"/>
                  </a:cubicBezTo>
                  <a:cubicBezTo>
                    <a:pt x="1763" y="2503"/>
                    <a:pt x="1719" y="2464"/>
                    <a:pt x="1719" y="2464"/>
                  </a:cubicBezTo>
                  <a:cubicBezTo>
                    <a:pt x="1719" y="2426"/>
                    <a:pt x="1631" y="2464"/>
                    <a:pt x="1631" y="2464"/>
                  </a:cubicBezTo>
                  <a:cubicBezTo>
                    <a:pt x="1587" y="2426"/>
                    <a:pt x="1500" y="2426"/>
                    <a:pt x="1500" y="2426"/>
                  </a:cubicBezTo>
                  <a:cubicBezTo>
                    <a:pt x="1456" y="2426"/>
                    <a:pt x="1500" y="2464"/>
                    <a:pt x="1500" y="2464"/>
                  </a:cubicBezTo>
                  <a:cubicBezTo>
                    <a:pt x="1500" y="2464"/>
                    <a:pt x="1456" y="2464"/>
                    <a:pt x="1412" y="2464"/>
                  </a:cubicBezTo>
                  <a:cubicBezTo>
                    <a:pt x="1368" y="2464"/>
                    <a:pt x="1368" y="2503"/>
                    <a:pt x="1368" y="2503"/>
                  </a:cubicBezTo>
                  <a:cubicBezTo>
                    <a:pt x="1368" y="2580"/>
                    <a:pt x="1368" y="2580"/>
                    <a:pt x="1368" y="2580"/>
                  </a:cubicBezTo>
                  <a:cubicBezTo>
                    <a:pt x="1368" y="2580"/>
                    <a:pt x="1236" y="2580"/>
                    <a:pt x="1192" y="2580"/>
                  </a:cubicBezTo>
                  <a:cubicBezTo>
                    <a:pt x="1148" y="2580"/>
                    <a:pt x="1104" y="2541"/>
                    <a:pt x="1061" y="2541"/>
                  </a:cubicBezTo>
                  <a:cubicBezTo>
                    <a:pt x="1017" y="2541"/>
                    <a:pt x="973" y="2580"/>
                    <a:pt x="973" y="2580"/>
                  </a:cubicBezTo>
                  <a:cubicBezTo>
                    <a:pt x="973" y="2580"/>
                    <a:pt x="885" y="2618"/>
                    <a:pt x="885" y="2618"/>
                  </a:cubicBezTo>
                  <a:cubicBezTo>
                    <a:pt x="885" y="2618"/>
                    <a:pt x="841" y="2657"/>
                    <a:pt x="797" y="2657"/>
                  </a:cubicBezTo>
                  <a:cubicBezTo>
                    <a:pt x="753" y="2657"/>
                    <a:pt x="753" y="2618"/>
                    <a:pt x="753" y="2618"/>
                  </a:cubicBezTo>
                  <a:cubicBezTo>
                    <a:pt x="753" y="2618"/>
                    <a:pt x="665" y="2541"/>
                    <a:pt x="665" y="2541"/>
                  </a:cubicBezTo>
                  <a:cubicBezTo>
                    <a:pt x="665" y="2541"/>
                    <a:pt x="665" y="2541"/>
                    <a:pt x="665" y="2541"/>
                  </a:cubicBezTo>
                  <a:cubicBezTo>
                    <a:pt x="490" y="2618"/>
                    <a:pt x="490" y="2618"/>
                    <a:pt x="490" y="2618"/>
                  </a:cubicBezTo>
                  <a:cubicBezTo>
                    <a:pt x="270" y="2772"/>
                    <a:pt x="270" y="2772"/>
                    <a:pt x="270" y="2772"/>
                  </a:cubicBezTo>
                  <a:cubicBezTo>
                    <a:pt x="270" y="2965"/>
                    <a:pt x="270" y="2965"/>
                    <a:pt x="270" y="2965"/>
                  </a:cubicBezTo>
                  <a:cubicBezTo>
                    <a:pt x="446" y="3042"/>
                    <a:pt x="358" y="3119"/>
                    <a:pt x="753" y="3273"/>
                  </a:cubicBezTo>
                  <a:cubicBezTo>
                    <a:pt x="797" y="3273"/>
                    <a:pt x="885" y="3465"/>
                    <a:pt x="885" y="3465"/>
                  </a:cubicBezTo>
                  <a:cubicBezTo>
                    <a:pt x="885" y="3504"/>
                    <a:pt x="797" y="3812"/>
                    <a:pt x="753" y="3850"/>
                  </a:cubicBezTo>
                  <a:cubicBezTo>
                    <a:pt x="665" y="3889"/>
                    <a:pt x="578" y="4043"/>
                    <a:pt x="578" y="4043"/>
                  </a:cubicBezTo>
                  <a:cubicBezTo>
                    <a:pt x="578" y="4043"/>
                    <a:pt x="402" y="4197"/>
                    <a:pt x="358" y="4197"/>
                  </a:cubicBezTo>
                  <a:cubicBezTo>
                    <a:pt x="314" y="4197"/>
                    <a:pt x="183" y="4235"/>
                    <a:pt x="139" y="4235"/>
                  </a:cubicBezTo>
                  <a:cubicBezTo>
                    <a:pt x="139" y="4235"/>
                    <a:pt x="-37" y="4235"/>
                    <a:pt x="7" y="4274"/>
                  </a:cubicBezTo>
                  <a:cubicBezTo>
                    <a:pt x="7" y="4274"/>
                    <a:pt x="7" y="4351"/>
                    <a:pt x="7" y="4351"/>
                  </a:cubicBezTo>
                  <a:cubicBezTo>
                    <a:pt x="51" y="4389"/>
                    <a:pt x="183" y="4543"/>
                    <a:pt x="183" y="4543"/>
                  </a:cubicBezTo>
                  <a:cubicBezTo>
                    <a:pt x="402" y="4659"/>
                    <a:pt x="402" y="4659"/>
                    <a:pt x="402" y="4659"/>
                  </a:cubicBezTo>
                  <a:cubicBezTo>
                    <a:pt x="534" y="4774"/>
                    <a:pt x="534" y="4774"/>
                    <a:pt x="534" y="4774"/>
                  </a:cubicBezTo>
                  <a:cubicBezTo>
                    <a:pt x="578" y="5159"/>
                    <a:pt x="578" y="5159"/>
                    <a:pt x="578" y="5159"/>
                  </a:cubicBezTo>
                  <a:cubicBezTo>
                    <a:pt x="402" y="5390"/>
                    <a:pt x="402" y="5390"/>
                    <a:pt x="402" y="5390"/>
                  </a:cubicBezTo>
                  <a:cubicBezTo>
                    <a:pt x="226" y="5583"/>
                    <a:pt x="314" y="5467"/>
                    <a:pt x="358" y="5737"/>
                  </a:cubicBezTo>
                  <a:cubicBezTo>
                    <a:pt x="490" y="5737"/>
                    <a:pt x="490" y="5737"/>
                    <a:pt x="490" y="5737"/>
                  </a:cubicBezTo>
                  <a:cubicBezTo>
                    <a:pt x="709" y="6045"/>
                    <a:pt x="709" y="6045"/>
                    <a:pt x="709" y="6045"/>
                  </a:cubicBezTo>
                  <a:cubicBezTo>
                    <a:pt x="1148" y="6199"/>
                    <a:pt x="1148" y="6199"/>
                    <a:pt x="1148" y="6199"/>
                  </a:cubicBezTo>
                  <a:cubicBezTo>
                    <a:pt x="1543" y="6199"/>
                    <a:pt x="1543" y="6199"/>
                    <a:pt x="1543" y="6199"/>
                  </a:cubicBezTo>
                  <a:cubicBezTo>
                    <a:pt x="1719" y="6314"/>
                    <a:pt x="1719" y="6314"/>
                    <a:pt x="1719" y="6314"/>
                  </a:cubicBezTo>
                  <a:cubicBezTo>
                    <a:pt x="1587" y="6738"/>
                    <a:pt x="1587" y="6738"/>
                    <a:pt x="1587" y="6738"/>
                  </a:cubicBezTo>
                  <a:cubicBezTo>
                    <a:pt x="1324" y="6930"/>
                    <a:pt x="1324" y="6930"/>
                    <a:pt x="1324" y="6930"/>
                  </a:cubicBezTo>
                  <a:cubicBezTo>
                    <a:pt x="1324" y="6930"/>
                    <a:pt x="1324" y="6930"/>
                    <a:pt x="1280" y="6930"/>
                  </a:cubicBezTo>
                  <a:cubicBezTo>
                    <a:pt x="1280" y="6930"/>
                    <a:pt x="1324" y="6969"/>
                    <a:pt x="1456" y="7007"/>
                  </a:cubicBezTo>
                  <a:cubicBezTo>
                    <a:pt x="1543" y="7007"/>
                    <a:pt x="1543" y="7084"/>
                    <a:pt x="1675" y="7046"/>
                  </a:cubicBezTo>
                  <a:cubicBezTo>
                    <a:pt x="1807" y="7007"/>
                    <a:pt x="1983" y="6969"/>
                    <a:pt x="2026" y="6930"/>
                  </a:cubicBezTo>
                  <a:cubicBezTo>
                    <a:pt x="2070" y="6853"/>
                    <a:pt x="2158" y="6815"/>
                    <a:pt x="2202" y="6776"/>
                  </a:cubicBezTo>
                  <a:cubicBezTo>
                    <a:pt x="2246" y="6699"/>
                    <a:pt x="2509" y="6430"/>
                    <a:pt x="2553" y="6430"/>
                  </a:cubicBezTo>
                  <a:cubicBezTo>
                    <a:pt x="2553" y="6430"/>
                    <a:pt x="2817" y="6122"/>
                    <a:pt x="2861" y="6083"/>
                  </a:cubicBezTo>
                  <a:cubicBezTo>
                    <a:pt x="2904" y="6045"/>
                    <a:pt x="3256" y="5814"/>
                    <a:pt x="3256" y="5814"/>
                  </a:cubicBezTo>
                  <a:cubicBezTo>
                    <a:pt x="3739" y="5660"/>
                    <a:pt x="3739" y="5660"/>
                    <a:pt x="3739" y="5660"/>
                  </a:cubicBezTo>
                  <a:cubicBezTo>
                    <a:pt x="3739" y="5660"/>
                    <a:pt x="3958" y="5852"/>
                    <a:pt x="4002" y="5891"/>
                  </a:cubicBezTo>
                  <a:cubicBezTo>
                    <a:pt x="4046" y="5891"/>
                    <a:pt x="4529" y="6083"/>
                    <a:pt x="4529" y="6083"/>
                  </a:cubicBezTo>
                  <a:cubicBezTo>
                    <a:pt x="4529" y="6083"/>
                    <a:pt x="4836" y="6199"/>
                    <a:pt x="4880" y="6237"/>
                  </a:cubicBezTo>
                  <a:cubicBezTo>
                    <a:pt x="4880" y="6276"/>
                    <a:pt x="5143" y="6468"/>
                    <a:pt x="5143" y="6468"/>
                  </a:cubicBezTo>
                  <a:cubicBezTo>
                    <a:pt x="5319" y="6545"/>
                    <a:pt x="5319" y="6545"/>
                    <a:pt x="5319" y="6545"/>
                  </a:cubicBezTo>
                  <a:cubicBezTo>
                    <a:pt x="5451" y="6430"/>
                    <a:pt x="5451" y="6430"/>
                    <a:pt x="5451" y="6430"/>
                  </a:cubicBezTo>
                  <a:cubicBezTo>
                    <a:pt x="5626" y="6507"/>
                    <a:pt x="5626" y="6507"/>
                    <a:pt x="5626" y="6507"/>
                  </a:cubicBezTo>
                  <a:cubicBezTo>
                    <a:pt x="5934" y="6661"/>
                    <a:pt x="5934" y="6661"/>
                    <a:pt x="5934" y="6661"/>
                  </a:cubicBezTo>
                  <a:cubicBezTo>
                    <a:pt x="6065" y="6892"/>
                    <a:pt x="6065" y="6892"/>
                    <a:pt x="6065" y="6892"/>
                  </a:cubicBezTo>
                  <a:cubicBezTo>
                    <a:pt x="6065" y="6892"/>
                    <a:pt x="6153" y="7200"/>
                    <a:pt x="6153" y="7316"/>
                  </a:cubicBezTo>
                  <a:cubicBezTo>
                    <a:pt x="6153" y="7431"/>
                    <a:pt x="6197" y="7624"/>
                    <a:pt x="6197" y="7624"/>
                  </a:cubicBezTo>
                  <a:cubicBezTo>
                    <a:pt x="6592" y="7778"/>
                    <a:pt x="6592" y="7778"/>
                    <a:pt x="6592" y="7778"/>
                  </a:cubicBezTo>
                  <a:cubicBezTo>
                    <a:pt x="6592" y="7778"/>
                    <a:pt x="6592" y="8124"/>
                    <a:pt x="6592" y="8163"/>
                  </a:cubicBezTo>
                  <a:cubicBezTo>
                    <a:pt x="6592" y="8240"/>
                    <a:pt x="6636" y="8355"/>
                    <a:pt x="6636" y="8471"/>
                  </a:cubicBezTo>
                  <a:cubicBezTo>
                    <a:pt x="6636" y="8586"/>
                    <a:pt x="6636" y="8702"/>
                    <a:pt x="6636" y="8702"/>
                  </a:cubicBezTo>
                  <a:cubicBezTo>
                    <a:pt x="6812" y="8817"/>
                    <a:pt x="6812" y="8817"/>
                    <a:pt x="6812" y="8817"/>
                  </a:cubicBezTo>
                  <a:cubicBezTo>
                    <a:pt x="7031" y="8933"/>
                    <a:pt x="7031" y="8933"/>
                    <a:pt x="7031" y="8933"/>
                  </a:cubicBezTo>
                  <a:cubicBezTo>
                    <a:pt x="7075" y="9125"/>
                    <a:pt x="7075" y="9125"/>
                    <a:pt x="7075" y="9125"/>
                  </a:cubicBezTo>
                  <a:cubicBezTo>
                    <a:pt x="7426" y="9241"/>
                    <a:pt x="7426" y="9241"/>
                    <a:pt x="7426" y="9241"/>
                  </a:cubicBezTo>
                  <a:cubicBezTo>
                    <a:pt x="7514" y="9472"/>
                    <a:pt x="7514" y="9472"/>
                    <a:pt x="7514" y="9472"/>
                  </a:cubicBezTo>
                  <a:cubicBezTo>
                    <a:pt x="7734" y="9664"/>
                    <a:pt x="7734" y="9664"/>
                    <a:pt x="7734" y="9664"/>
                  </a:cubicBezTo>
                  <a:cubicBezTo>
                    <a:pt x="7734" y="9818"/>
                    <a:pt x="7734" y="9818"/>
                    <a:pt x="7734" y="9818"/>
                  </a:cubicBezTo>
                  <a:cubicBezTo>
                    <a:pt x="7734" y="9818"/>
                    <a:pt x="7734" y="9895"/>
                    <a:pt x="7822" y="9895"/>
                  </a:cubicBezTo>
                  <a:cubicBezTo>
                    <a:pt x="7909" y="9895"/>
                    <a:pt x="8217" y="9857"/>
                    <a:pt x="8217" y="9857"/>
                  </a:cubicBezTo>
                  <a:cubicBezTo>
                    <a:pt x="8524" y="10088"/>
                    <a:pt x="8524" y="10088"/>
                    <a:pt x="8524" y="10088"/>
                  </a:cubicBezTo>
                  <a:cubicBezTo>
                    <a:pt x="8875" y="10357"/>
                    <a:pt x="8875" y="10357"/>
                    <a:pt x="8875" y="10357"/>
                  </a:cubicBezTo>
                  <a:cubicBezTo>
                    <a:pt x="9051" y="10627"/>
                    <a:pt x="9051" y="10627"/>
                    <a:pt x="9051" y="10627"/>
                  </a:cubicBezTo>
                  <a:cubicBezTo>
                    <a:pt x="9314" y="10704"/>
                    <a:pt x="9314" y="10704"/>
                    <a:pt x="9314" y="10704"/>
                  </a:cubicBezTo>
                  <a:cubicBezTo>
                    <a:pt x="9665" y="10896"/>
                    <a:pt x="9665" y="10896"/>
                    <a:pt x="9665" y="10896"/>
                  </a:cubicBezTo>
                  <a:cubicBezTo>
                    <a:pt x="9797" y="11166"/>
                    <a:pt x="9797" y="11166"/>
                    <a:pt x="9797" y="11166"/>
                  </a:cubicBezTo>
                  <a:cubicBezTo>
                    <a:pt x="10104" y="11435"/>
                    <a:pt x="10104" y="11435"/>
                    <a:pt x="10104" y="11435"/>
                  </a:cubicBezTo>
                  <a:cubicBezTo>
                    <a:pt x="10280" y="11512"/>
                    <a:pt x="10280" y="11512"/>
                    <a:pt x="10280" y="11512"/>
                  </a:cubicBezTo>
                  <a:cubicBezTo>
                    <a:pt x="10368" y="11666"/>
                    <a:pt x="10368" y="11666"/>
                    <a:pt x="10368" y="11666"/>
                  </a:cubicBezTo>
                  <a:cubicBezTo>
                    <a:pt x="10543" y="11743"/>
                    <a:pt x="10543" y="11743"/>
                    <a:pt x="10543" y="11743"/>
                  </a:cubicBezTo>
                  <a:cubicBezTo>
                    <a:pt x="10719" y="11782"/>
                    <a:pt x="10719" y="11782"/>
                    <a:pt x="10719" y="11782"/>
                  </a:cubicBezTo>
                  <a:cubicBezTo>
                    <a:pt x="10983" y="11820"/>
                    <a:pt x="10983" y="11820"/>
                    <a:pt x="10983" y="11820"/>
                  </a:cubicBezTo>
                  <a:cubicBezTo>
                    <a:pt x="11158" y="11974"/>
                    <a:pt x="11158" y="11974"/>
                    <a:pt x="11158" y="11974"/>
                  </a:cubicBezTo>
                  <a:cubicBezTo>
                    <a:pt x="11158" y="11974"/>
                    <a:pt x="11246" y="12051"/>
                    <a:pt x="11246" y="12090"/>
                  </a:cubicBezTo>
                  <a:cubicBezTo>
                    <a:pt x="11246" y="12167"/>
                    <a:pt x="11158" y="12205"/>
                    <a:pt x="11290" y="12205"/>
                  </a:cubicBezTo>
                  <a:cubicBezTo>
                    <a:pt x="11422" y="12205"/>
                    <a:pt x="11553" y="12167"/>
                    <a:pt x="11553" y="12167"/>
                  </a:cubicBezTo>
                  <a:cubicBezTo>
                    <a:pt x="11817" y="12128"/>
                    <a:pt x="11817" y="12128"/>
                    <a:pt x="11817" y="12128"/>
                  </a:cubicBezTo>
                  <a:cubicBezTo>
                    <a:pt x="11992" y="12128"/>
                    <a:pt x="11992" y="12128"/>
                    <a:pt x="11992" y="12128"/>
                  </a:cubicBezTo>
                  <a:cubicBezTo>
                    <a:pt x="12168" y="12128"/>
                    <a:pt x="12168" y="12128"/>
                    <a:pt x="12168" y="12128"/>
                  </a:cubicBezTo>
                  <a:cubicBezTo>
                    <a:pt x="12475" y="12090"/>
                    <a:pt x="12475" y="12090"/>
                    <a:pt x="12475" y="12090"/>
                  </a:cubicBezTo>
                  <a:cubicBezTo>
                    <a:pt x="12651" y="12205"/>
                    <a:pt x="12651" y="12205"/>
                    <a:pt x="12651" y="12205"/>
                  </a:cubicBezTo>
                  <a:cubicBezTo>
                    <a:pt x="13134" y="12706"/>
                    <a:pt x="13134" y="12706"/>
                    <a:pt x="13134" y="12706"/>
                  </a:cubicBezTo>
                  <a:cubicBezTo>
                    <a:pt x="13134" y="12706"/>
                    <a:pt x="13265" y="12898"/>
                    <a:pt x="13265" y="12975"/>
                  </a:cubicBezTo>
                  <a:cubicBezTo>
                    <a:pt x="13265" y="13014"/>
                    <a:pt x="13441" y="12975"/>
                    <a:pt x="13485" y="12975"/>
                  </a:cubicBezTo>
                  <a:cubicBezTo>
                    <a:pt x="13529" y="12975"/>
                    <a:pt x="13880" y="12975"/>
                    <a:pt x="13880" y="12975"/>
                  </a:cubicBezTo>
                  <a:cubicBezTo>
                    <a:pt x="14143" y="13129"/>
                    <a:pt x="14143" y="13129"/>
                    <a:pt x="14143" y="13129"/>
                  </a:cubicBezTo>
                  <a:cubicBezTo>
                    <a:pt x="13968" y="13322"/>
                    <a:pt x="13968" y="13322"/>
                    <a:pt x="13968" y="13322"/>
                  </a:cubicBezTo>
                  <a:cubicBezTo>
                    <a:pt x="14231" y="13437"/>
                    <a:pt x="14231" y="13437"/>
                    <a:pt x="14231" y="13437"/>
                  </a:cubicBezTo>
                  <a:cubicBezTo>
                    <a:pt x="14363" y="13283"/>
                    <a:pt x="14363" y="13283"/>
                    <a:pt x="14363" y="13283"/>
                  </a:cubicBezTo>
                  <a:cubicBezTo>
                    <a:pt x="14626" y="13322"/>
                    <a:pt x="14626" y="13322"/>
                    <a:pt x="14626" y="13322"/>
                  </a:cubicBezTo>
                  <a:cubicBezTo>
                    <a:pt x="14846" y="13476"/>
                    <a:pt x="14846" y="13476"/>
                    <a:pt x="14846" y="13476"/>
                  </a:cubicBezTo>
                  <a:cubicBezTo>
                    <a:pt x="14890" y="13591"/>
                    <a:pt x="14890" y="13591"/>
                    <a:pt x="14890" y="13591"/>
                  </a:cubicBezTo>
                  <a:cubicBezTo>
                    <a:pt x="15022" y="13668"/>
                    <a:pt x="15022" y="13668"/>
                    <a:pt x="15022" y="13668"/>
                  </a:cubicBezTo>
                  <a:cubicBezTo>
                    <a:pt x="14978" y="13861"/>
                    <a:pt x="14978" y="13861"/>
                    <a:pt x="14978" y="13861"/>
                  </a:cubicBezTo>
                  <a:cubicBezTo>
                    <a:pt x="14978" y="13976"/>
                    <a:pt x="14978" y="13976"/>
                    <a:pt x="14978" y="13976"/>
                  </a:cubicBezTo>
                  <a:cubicBezTo>
                    <a:pt x="15065" y="14130"/>
                    <a:pt x="15065" y="14130"/>
                    <a:pt x="15065" y="14130"/>
                  </a:cubicBezTo>
                  <a:cubicBezTo>
                    <a:pt x="15285" y="14207"/>
                    <a:pt x="15285" y="14207"/>
                    <a:pt x="15285" y="14207"/>
                  </a:cubicBezTo>
                  <a:cubicBezTo>
                    <a:pt x="15504" y="14323"/>
                    <a:pt x="15504" y="14323"/>
                    <a:pt x="15504" y="14323"/>
                  </a:cubicBezTo>
                  <a:cubicBezTo>
                    <a:pt x="15636" y="14400"/>
                    <a:pt x="15636" y="14400"/>
                    <a:pt x="15636" y="14400"/>
                  </a:cubicBezTo>
                  <a:cubicBezTo>
                    <a:pt x="15812" y="14400"/>
                    <a:pt x="15812" y="14400"/>
                    <a:pt x="15812" y="14400"/>
                  </a:cubicBezTo>
                  <a:cubicBezTo>
                    <a:pt x="16075" y="14361"/>
                    <a:pt x="16075" y="14361"/>
                    <a:pt x="16075" y="14361"/>
                  </a:cubicBezTo>
                  <a:cubicBezTo>
                    <a:pt x="16383" y="14400"/>
                    <a:pt x="16383" y="14400"/>
                    <a:pt x="16383" y="14400"/>
                  </a:cubicBezTo>
                  <a:cubicBezTo>
                    <a:pt x="16646" y="14785"/>
                    <a:pt x="16646" y="14785"/>
                    <a:pt x="16646" y="14785"/>
                  </a:cubicBezTo>
                  <a:cubicBezTo>
                    <a:pt x="16778" y="15132"/>
                    <a:pt x="16778" y="15132"/>
                    <a:pt x="16778" y="15132"/>
                  </a:cubicBezTo>
                  <a:cubicBezTo>
                    <a:pt x="16953" y="15440"/>
                    <a:pt x="16953" y="15440"/>
                    <a:pt x="16953" y="15440"/>
                  </a:cubicBezTo>
                  <a:cubicBezTo>
                    <a:pt x="17085" y="15632"/>
                    <a:pt x="17085" y="15632"/>
                    <a:pt x="17085" y="15632"/>
                  </a:cubicBezTo>
                  <a:cubicBezTo>
                    <a:pt x="17173" y="15940"/>
                    <a:pt x="17173" y="15940"/>
                    <a:pt x="17173" y="15940"/>
                  </a:cubicBezTo>
                  <a:cubicBezTo>
                    <a:pt x="17304" y="16094"/>
                    <a:pt x="17304" y="16094"/>
                    <a:pt x="17304" y="16094"/>
                  </a:cubicBezTo>
                  <a:cubicBezTo>
                    <a:pt x="17524" y="16479"/>
                    <a:pt x="17524" y="16479"/>
                    <a:pt x="17524" y="16479"/>
                  </a:cubicBezTo>
                  <a:cubicBezTo>
                    <a:pt x="17612" y="16633"/>
                    <a:pt x="17612" y="16633"/>
                    <a:pt x="17612" y="16633"/>
                  </a:cubicBezTo>
                  <a:cubicBezTo>
                    <a:pt x="17524" y="16826"/>
                    <a:pt x="17524" y="16826"/>
                    <a:pt x="17524" y="16826"/>
                  </a:cubicBezTo>
                  <a:cubicBezTo>
                    <a:pt x="17524" y="16826"/>
                    <a:pt x="17436" y="17018"/>
                    <a:pt x="17392" y="17018"/>
                  </a:cubicBezTo>
                  <a:cubicBezTo>
                    <a:pt x="17392" y="17057"/>
                    <a:pt x="17261" y="17095"/>
                    <a:pt x="17217" y="17095"/>
                  </a:cubicBezTo>
                  <a:cubicBezTo>
                    <a:pt x="17173" y="17134"/>
                    <a:pt x="17129" y="17134"/>
                    <a:pt x="17085" y="17172"/>
                  </a:cubicBezTo>
                  <a:cubicBezTo>
                    <a:pt x="17041" y="17211"/>
                    <a:pt x="16997" y="17326"/>
                    <a:pt x="16997" y="17326"/>
                  </a:cubicBezTo>
                  <a:cubicBezTo>
                    <a:pt x="17129" y="17557"/>
                    <a:pt x="17129" y="17557"/>
                    <a:pt x="17129" y="17557"/>
                  </a:cubicBezTo>
                  <a:cubicBezTo>
                    <a:pt x="17085" y="17827"/>
                    <a:pt x="17085" y="17827"/>
                    <a:pt x="17085" y="17827"/>
                  </a:cubicBezTo>
                  <a:cubicBezTo>
                    <a:pt x="16997" y="18058"/>
                    <a:pt x="16997" y="18058"/>
                    <a:pt x="16997" y="18058"/>
                  </a:cubicBezTo>
                  <a:close/>
                  <a:moveTo>
                    <a:pt x="2465" y="13283"/>
                  </a:moveTo>
                  <a:cubicBezTo>
                    <a:pt x="2465" y="13283"/>
                    <a:pt x="2465" y="13283"/>
                    <a:pt x="2465" y="13283"/>
                  </a:cubicBezTo>
                  <a:cubicBezTo>
                    <a:pt x="2597" y="12898"/>
                    <a:pt x="2597" y="12898"/>
                    <a:pt x="2597" y="12898"/>
                  </a:cubicBezTo>
                  <a:cubicBezTo>
                    <a:pt x="2773" y="12744"/>
                    <a:pt x="2773" y="12744"/>
                    <a:pt x="2773" y="12744"/>
                  </a:cubicBezTo>
                  <a:cubicBezTo>
                    <a:pt x="2729" y="12937"/>
                    <a:pt x="2729" y="12937"/>
                    <a:pt x="2729" y="12937"/>
                  </a:cubicBezTo>
                  <a:cubicBezTo>
                    <a:pt x="2685" y="13168"/>
                    <a:pt x="2685" y="13168"/>
                    <a:pt x="2685" y="13168"/>
                  </a:cubicBezTo>
                  <a:cubicBezTo>
                    <a:pt x="2685" y="13168"/>
                    <a:pt x="3036" y="13283"/>
                    <a:pt x="3080" y="13283"/>
                  </a:cubicBezTo>
                  <a:cubicBezTo>
                    <a:pt x="3124" y="13283"/>
                    <a:pt x="3168" y="13206"/>
                    <a:pt x="3256" y="13168"/>
                  </a:cubicBezTo>
                  <a:cubicBezTo>
                    <a:pt x="3300" y="13129"/>
                    <a:pt x="3607" y="13129"/>
                    <a:pt x="3607" y="13129"/>
                  </a:cubicBezTo>
                  <a:cubicBezTo>
                    <a:pt x="3607" y="13129"/>
                    <a:pt x="3651" y="13014"/>
                    <a:pt x="3695" y="12937"/>
                  </a:cubicBezTo>
                  <a:cubicBezTo>
                    <a:pt x="3739" y="12860"/>
                    <a:pt x="3958" y="12667"/>
                    <a:pt x="4002" y="12629"/>
                  </a:cubicBezTo>
                  <a:cubicBezTo>
                    <a:pt x="4046" y="12629"/>
                    <a:pt x="4134" y="12552"/>
                    <a:pt x="4178" y="12552"/>
                  </a:cubicBezTo>
                  <a:cubicBezTo>
                    <a:pt x="4222" y="12513"/>
                    <a:pt x="4441" y="12436"/>
                    <a:pt x="4441" y="12436"/>
                  </a:cubicBezTo>
                  <a:cubicBezTo>
                    <a:pt x="5012" y="12629"/>
                    <a:pt x="5012" y="12629"/>
                    <a:pt x="5012" y="12629"/>
                  </a:cubicBezTo>
                  <a:cubicBezTo>
                    <a:pt x="5100" y="12937"/>
                    <a:pt x="5100" y="12937"/>
                    <a:pt x="5100" y="12937"/>
                  </a:cubicBezTo>
                  <a:cubicBezTo>
                    <a:pt x="5407" y="13437"/>
                    <a:pt x="5407" y="13437"/>
                    <a:pt x="5407" y="13437"/>
                  </a:cubicBezTo>
                  <a:cubicBezTo>
                    <a:pt x="5495" y="13668"/>
                    <a:pt x="5495" y="13668"/>
                    <a:pt x="5495" y="13668"/>
                  </a:cubicBezTo>
                  <a:cubicBezTo>
                    <a:pt x="5495" y="13668"/>
                    <a:pt x="5626" y="13784"/>
                    <a:pt x="5583" y="13899"/>
                  </a:cubicBezTo>
                  <a:cubicBezTo>
                    <a:pt x="5539" y="14053"/>
                    <a:pt x="5275" y="14439"/>
                    <a:pt x="5275" y="14439"/>
                  </a:cubicBezTo>
                  <a:cubicBezTo>
                    <a:pt x="5275" y="14670"/>
                    <a:pt x="5275" y="14670"/>
                    <a:pt x="5275" y="14670"/>
                  </a:cubicBezTo>
                  <a:cubicBezTo>
                    <a:pt x="5451" y="14978"/>
                    <a:pt x="5451" y="14978"/>
                    <a:pt x="5451" y="14978"/>
                  </a:cubicBezTo>
                  <a:cubicBezTo>
                    <a:pt x="5187" y="15555"/>
                    <a:pt x="5187" y="15555"/>
                    <a:pt x="5187" y="15555"/>
                  </a:cubicBezTo>
                  <a:cubicBezTo>
                    <a:pt x="5319" y="15979"/>
                    <a:pt x="5319" y="15979"/>
                    <a:pt x="5319" y="15979"/>
                  </a:cubicBezTo>
                  <a:cubicBezTo>
                    <a:pt x="5231" y="16556"/>
                    <a:pt x="5231" y="16556"/>
                    <a:pt x="5231" y="16556"/>
                  </a:cubicBezTo>
                  <a:cubicBezTo>
                    <a:pt x="5187" y="16864"/>
                    <a:pt x="5187" y="16864"/>
                    <a:pt x="5187" y="16864"/>
                  </a:cubicBezTo>
                  <a:cubicBezTo>
                    <a:pt x="5187" y="16864"/>
                    <a:pt x="5012" y="17018"/>
                    <a:pt x="4924" y="16980"/>
                  </a:cubicBezTo>
                  <a:cubicBezTo>
                    <a:pt x="4836" y="16941"/>
                    <a:pt x="4397" y="16672"/>
                    <a:pt x="4397" y="16672"/>
                  </a:cubicBezTo>
                  <a:cubicBezTo>
                    <a:pt x="4222" y="16633"/>
                    <a:pt x="4222" y="16633"/>
                    <a:pt x="4222" y="16633"/>
                  </a:cubicBezTo>
                  <a:cubicBezTo>
                    <a:pt x="4090" y="16903"/>
                    <a:pt x="4090" y="16903"/>
                    <a:pt x="4090" y="16903"/>
                  </a:cubicBezTo>
                  <a:cubicBezTo>
                    <a:pt x="4134" y="17095"/>
                    <a:pt x="4134" y="17095"/>
                    <a:pt x="4134" y="17095"/>
                  </a:cubicBezTo>
                  <a:cubicBezTo>
                    <a:pt x="3914" y="17442"/>
                    <a:pt x="3914" y="17442"/>
                    <a:pt x="3914" y="17442"/>
                  </a:cubicBezTo>
                  <a:cubicBezTo>
                    <a:pt x="3695" y="17442"/>
                    <a:pt x="3695" y="17442"/>
                    <a:pt x="3695" y="17442"/>
                  </a:cubicBezTo>
                  <a:cubicBezTo>
                    <a:pt x="3431" y="17365"/>
                    <a:pt x="3431" y="17365"/>
                    <a:pt x="3431" y="17365"/>
                  </a:cubicBezTo>
                  <a:cubicBezTo>
                    <a:pt x="3168" y="17057"/>
                    <a:pt x="3168" y="17057"/>
                    <a:pt x="3168" y="17057"/>
                  </a:cubicBezTo>
                  <a:cubicBezTo>
                    <a:pt x="3168" y="17057"/>
                    <a:pt x="3168" y="17134"/>
                    <a:pt x="3080" y="17172"/>
                  </a:cubicBezTo>
                  <a:cubicBezTo>
                    <a:pt x="2992" y="17172"/>
                    <a:pt x="2861" y="17134"/>
                    <a:pt x="2861" y="17134"/>
                  </a:cubicBezTo>
                  <a:cubicBezTo>
                    <a:pt x="2948" y="16903"/>
                    <a:pt x="2948" y="16903"/>
                    <a:pt x="2948" y="16903"/>
                  </a:cubicBezTo>
                  <a:cubicBezTo>
                    <a:pt x="2861" y="16633"/>
                    <a:pt x="2861" y="16633"/>
                    <a:pt x="2861" y="16633"/>
                  </a:cubicBezTo>
                  <a:cubicBezTo>
                    <a:pt x="2948" y="16364"/>
                    <a:pt x="2948" y="16364"/>
                    <a:pt x="2948" y="16364"/>
                  </a:cubicBezTo>
                  <a:cubicBezTo>
                    <a:pt x="2948" y="15979"/>
                    <a:pt x="2948" y="15979"/>
                    <a:pt x="2948" y="15979"/>
                  </a:cubicBezTo>
                  <a:cubicBezTo>
                    <a:pt x="3036" y="15825"/>
                    <a:pt x="3036" y="15825"/>
                    <a:pt x="3036" y="15825"/>
                  </a:cubicBezTo>
                  <a:cubicBezTo>
                    <a:pt x="3080" y="15632"/>
                    <a:pt x="3080" y="15632"/>
                    <a:pt x="3080" y="15632"/>
                  </a:cubicBezTo>
                  <a:cubicBezTo>
                    <a:pt x="3212" y="15401"/>
                    <a:pt x="3212" y="15401"/>
                    <a:pt x="3212" y="15401"/>
                  </a:cubicBezTo>
                  <a:cubicBezTo>
                    <a:pt x="3168" y="15209"/>
                    <a:pt x="3168" y="15209"/>
                    <a:pt x="3168" y="15209"/>
                  </a:cubicBezTo>
                  <a:cubicBezTo>
                    <a:pt x="3080" y="15247"/>
                    <a:pt x="3080" y="15247"/>
                    <a:pt x="3080" y="15247"/>
                  </a:cubicBezTo>
                  <a:cubicBezTo>
                    <a:pt x="2817" y="15016"/>
                    <a:pt x="2817" y="15016"/>
                    <a:pt x="2817" y="15016"/>
                  </a:cubicBezTo>
                  <a:cubicBezTo>
                    <a:pt x="2817" y="15016"/>
                    <a:pt x="2904" y="14939"/>
                    <a:pt x="2992" y="14862"/>
                  </a:cubicBezTo>
                  <a:cubicBezTo>
                    <a:pt x="3080" y="14785"/>
                    <a:pt x="3080" y="14747"/>
                    <a:pt x="3080" y="14670"/>
                  </a:cubicBezTo>
                  <a:cubicBezTo>
                    <a:pt x="3080" y="14593"/>
                    <a:pt x="3036" y="14400"/>
                    <a:pt x="2992" y="14400"/>
                  </a:cubicBezTo>
                  <a:cubicBezTo>
                    <a:pt x="2948" y="14361"/>
                    <a:pt x="2861" y="14284"/>
                    <a:pt x="2861" y="14284"/>
                  </a:cubicBezTo>
                  <a:cubicBezTo>
                    <a:pt x="2861" y="14053"/>
                    <a:pt x="2861" y="14053"/>
                    <a:pt x="2861" y="14053"/>
                  </a:cubicBezTo>
                  <a:cubicBezTo>
                    <a:pt x="2861" y="14053"/>
                    <a:pt x="2817" y="13938"/>
                    <a:pt x="2773" y="13938"/>
                  </a:cubicBezTo>
                  <a:cubicBezTo>
                    <a:pt x="2685" y="13899"/>
                    <a:pt x="2465" y="13784"/>
                    <a:pt x="2465" y="13784"/>
                  </a:cubicBezTo>
                  <a:cubicBezTo>
                    <a:pt x="2509" y="13514"/>
                    <a:pt x="2509" y="13514"/>
                    <a:pt x="2509" y="13514"/>
                  </a:cubicBezTo>
                  <a:cubicBezTo>
                    <a:pt x="2422" y="13437"/>
                    <a:pt x="2422" y="13437"/>
                    <a:pt x="2422" y="13437"/>
                  </a:cubicBezTo>
                  <a:lnTo>
                    <a:pt x="2465" y="13283"/>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5" name="Shape 2258">
              <a:extLst>
                <a:ext uri="{FF2B5EF4-FFF2-40B4-BE49-F238E27FC236}">
                  <a16:creationId xmlns:a16="http://schemas.microsoft.com/office/drawing/2014/main" id="{3AE8E41C-56F3-FAEB-3B27-BAF3B6A0484E}"/>
                </a:ext>
              </a:extLst>
            </p:cNvPr>
            <p:cNvSpPr/>
            <p:nvPr/>
          </p:nvSpPr>
          <p:spPr>
            <a:xfrm>
              <a:off x="5289094" y="5323396"/>
              <a:ext cx="1521112" cy="1056553"/>
            </a:xfrm>
            <a:custGeom>
              <a:avLst/>
              <a:gdLst/>
              <a:ahLst/>
              <a:cxnLst>
                <a:cxn ang="0">
                  <a:pos x="wd2" y="hd2"/>
                </a:cxn>
                <a:cxn ang="5400000">
                  <a:pos x="wd2" y="hd2"/>
                </a:cxn>
                <a:cxn ang="10800000">
                  <a:pos x="wd2" y="hd2"/>
                </a:cxn>
                <a:cxn ang="16200000">
                  <a:pos x="wd2" y="hd2"/>
                </a:cxn>
              </a:cxnLst>
              <a:rect l="0" t="0" r="r" b="b"/>
              <a:pathLst>
                <a:path w="21600" h="21451" extrusionOk="0">
                  <a:moveTo>
                    <a:pt x="4039" y="4953"/>
                  </a:moveTo>
                  <a:cubicBezTo>
                    <a:pt x="4039" y="4953"/>
                    <a:pt x="4039" y="4953"/>
                    <a:pt x="4039" y="4953"/>
                  </a:cubicBezTo>
                  <a:cubicBezTo>
                    <a:pt x="3863" y="5035"/>
                    <a:pt x="3863" y="5035"/>
                    <a:pt x="3863" y="5035"/>
                  </a:cubicBezTo>
                  <a:cubicBezTo>
                    <a:pt x="3746" y="5197"/>
                    <a:pt x="3746" y="5197"/>
                    <a:pt x="3746" y="5197"/>
                  </a:cubicBezTo>
                  <a:cubicBezTo>
                    <a:pt x="3629" y="5684"/>
                    <a:pt x="3629" y="5684"/>
                    <a:pt x="3629" y="5684"/>
                  </a:cubicBezTo>
                  <a:cubicBezTo>
                    <a:pt x="3629" y="5684"/>
                    <a:pt x="3629" y="5684"/>
                    <a:pt x="3629" y="5684"/>
                  </a:cubicBezTo>
                  <a:cubicBezTo>
                    <a:pt x="3454" y="5928"/>
                    <a:pt x="3454" y="5928"/>
                    <a:pt x="3454" y="5928"/>
                  </a:cubicBezTo>
                  <a:cubicBezTo>
                    <a:pt x="3454" y="5928"/>
                    <a:pt x="3454" y="5928"/>
                    <a:pt x="3454" y="5928"/>
                  </a:cubicBezTo>
                  <a:cubicBezTo>
                    <a:pt x="3395" y="6334"/>
                    <a:pt x="3395" y="6334"/>
                    <a:pt x="3395" y="6334"/>
                  </a:cubicBezTo>
                  <a:cubicBezTo>
                    <a:pt x="3395" y="6334"/>
                    <a:pt x="3454" y="6659"/>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454" y="6740"/>
                    <a:pt x="3454" y="6740"/>
                    <a:pt x="3454" y="6740"/>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95" y="6821"/>
                    <a:pt x="3395" y="6821"/>
                    <a:pt x="3395" y="6821"/>
                  </a:cubicBezTo>
                  <a:cubicBezTo>
                    <a:pt x="3337"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821"/>
                    <a:pt x="3278" y="6821"/>
                    <a:pt x="3278" y="6821"/>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78" y="6902"/>
                    <a:pt x="3278" y="6902"/>
                    <a:pt x="3278" y="6902"/>
                  </a:cubicBezTo>
                  <a:cubicBezTo>
                    <a:pt x="3220" y="7552"/>
                    <a:pt x="3220" y="7552"/>
                    <a:pt x="3220" y="7552"/>
                  </a:cubicBezTo>
                  <a:cubicBezTo>
                    <a:pt x="2985" y="7877"/>
                    <a:pt x="2985" y="7877"/>
                    <a:pt x="2985" y="7877"/>
                  </a:cubicBezTo>
                  <a:cubicBezTo>
                    <a:pt x="2927" y="8283"/>
                    <a:pt x="2927" y="8283"/>
                    <a:pt x="2927" y="8283"/>
                  </a:cubicBezTo>
                  <a:cubicBezTo>
                    <a:pt x="2927" y="8526"/>
                    <a:pt x="2927" y="8526"/>
                    <a:pt x="2927" y="8526"/>
                  </a:cubicBezTo>
                  <a:cubicBezTo>
                    <a:pt x="2927" y="8526"/>
                    <a:pt x="2927" y="8526"/>
                    <a:pt x="2927" y="8526"/>
                  </a:cubicBezTo>
                  <a:cubicBezTo>
                    <a:pt x="2927" y="8526"/>
                    <a:pt x="2927" y="8526"/>
                    <a:pt x="2927" y="8526"/>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08"/>
                    <a:pt x="2927" y="8608"/>
                    <a:pt x="2927" y="8608"/>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689"/>
                    <a:pt x="2927" y="8689"/>
                    <a:pt x="2927" y="8689"/>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770"/>
                    <a:pt x="2927" y="8770"/>
                    <a:pt x="2927" y="8770"/>
                  </a:cubicBezTo>
                  <a:cubicBezTo>
                    <a:pt x="2927" y="8851"/>
                    <a:pt x="2927" y="8851"/>
                    <a:pt x="2868" y="8851"/>
                  </a:cubicBezTo>
                  <a:cubicBezTo>
                    <a:pt x="2751" y="8932"/>
                    <a:pt x="2693" y="9095"/>
                    <a:pt x="2693" y="9095"/>
                  </a:cubicBezTo>
                  <a:cubicBezTo>
                    <a:pt x="2693" y="9663"/>
                    <a:pt x="2693" y="9663"/>
                    <a:pt x="2693" y="9663"/>
                  </a:cubicBezTo>
                  <a:cubicBezTo>
                    <a:pt x="2634" y="9826"/>
                    <a:pt x="2634" y="9826"/>
                    <a:pt x="2634" y="9826"/>
                  </a:cubicBezTo>
                  <a:cubicBezTo>
                    <a:pt x="2517" y="10069"/>
                    <a:pt x="2517" y="10069"/>
                    <a:pt x="2517" y="10069"/>
                  </a:cubicBezTo>
                  <a:cubicBezTo>
                    <a:pt x="2576" y="10394"/>
                    <a:pt x="2576" y="10394"/>
                    <a:pt x="2576" y="10394"/>
                  </a:cubicBezTo>
                  <a:cubicBezTo>
                    <a:pt x="2576" y="10394"/>
                    <a:pt x="2576" y="10394"/>
                    <a:pt x="2576" y="10394"/>
                  </a:cubicBezTo>
                  <a:cubicBezTo>
                    <a:pt x="2459" y="10638"/>
                    <a:pt x="2459" y="10638"/>
                    <a:pt x="2459" y="10638"/>
                  </a:cubicBezTo>
                  <a:cubicBezTo>
                    <a:pt x="2517" y="11044"/>
                    <a:pt x="2517" y="11044"/>
                    <a:pt x="2517" y="11044"/>
                  </a:cubicBezTo>
                  <a:cubicBezTo>
                    <a:pt x="2400" y="11287"/>
                    <a:pt x="2400" y="11287"/>
                    <a:pt x="2400" y="11287"/>
                  </a:cubicBezTo>
                  <a:cubicBezTo>
                    <a:pt x="2341" y="11368"/>
                    <a:pt x="2341" y="11368"/>
                    <a:pt x="2341" y="11368"/>
                  </a:cubicBezTo>
                  <a:cubicBezTo>
                    <a:pt x="2283" y="11612"/>
                    <a:pt x="2283" y="11612"/>
                    <a:pt x="2283" y="11612"/>
                  </a:cubicBezTo>
                  <a:cubicBezTo>
                    <a:pt x="2166" y="12018"/>
                    <a:pt x="2166" y="12018"/>
                    <a:pt x="2166" y="12018"/>
                  </a:cubicBezTo>
                  <a:cubicBezTo>
                    <a:pt x="1698" y="12586"/>
                    <a:pt x="1698" y="12586"/>
                    <a:pt x="1698" y="12586"/>
                  </a:cubicBezTo>
                  <a:cubicBezTo>
                    <a:pt x="1522" y="12505"/>
                    <a:pt x="1522" y="12505"/>
                    <a:pt x="1522" y="12505"/>
                  </a:cubicBezTo>
                  <a:cubicBezTo>
                    <a:pt x="1405" y="12586"/>
                    <a:pt x="1405" y="12586"/>
                    <a:pt x="1405" y="12586"/>
                  </a:cubicBezTo>
                  <a:cubicBezTo>
                    <a:pt x="1288" y="12749"/>
                    <a:pt x="1288" y="12749"/>
                    <a:pt x="1288" y="12749"/>
                  </a:cubicBezTo>
                  <a:cubicBezTo>
                    <a:pt x="1288" y="12749"/>
                    <a:pt x="1346" y="12749"/>
                    <a:pt x="1229" y="12911"/>
                  </a:cubicBezTo>
                  <a:cubicBezTo>
                    <a:pt x="1112" y="12992"/>
                    <a:pt x="878" y="13074"/>
                    <a:pt x="878" y="13074"/>
                  </a:cubicBezTo>
                  <a:cubicBezTo>
                    <a:pt x="761" y="13074"/>
                    <a:pt x="761" y="13074"/>
                    <a:pt x="761" y="13074"/>
                  </a:cubicBezTo>
                  <a:cubicBezTo>
                    <a:pt x="351" y="13074"/>
                    <a:pt x="351" y="13074"/>
                    <a:pt x="351" y="13074"/>
                  </a:cubicBezTo>
                  <a:cubicBezTo>
                    <a:pt x="351" y="13074"/>
                    <a:pt x="351" y="13074"/>
                    <a:pt x="351" y="13074"/>
                  </a:cubicBezTo>
                  <a:cubicBezTo>
                    <a:pt x="351" y="13074"/>
                    <a:pt x="351" y="13074"/>
                    <a:pt x="351" y="13074"/>
                  </a:cubicBezTo>
                  <a:cubicBezTo>
                    <a:pt x="351" y="13074"/>
                    <a:pt x="293" y="12992"/>
                    <a:pt x="234" y="13074"/>
                  </a:cubicBezTo>
                  <a:cubicBezTo>
                    <a:pt x="234" y="13074"/>
                    <a:pt x="176" y="13074"/>
                    <a:pt x="176" y="13074"/>
                  </a:cubicBezTo>
                  <a:cubicBezTo>
                    <a:pt x="176" y="13074"/>
                    <a:pt x="176" y="13074"/>
                    <a:pt x="176"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117" y="13074"/>
                    <a:pt x="117" y="13074"/>
                    <a:pt x="117" y="13074"/>
                  </a:cubicBezTo>
                  <a:cubicBezTo>
                    <a:pt x="59" y="13074"/>
                    <a:pt x="59" y="13074"/>
                    <a:pt x="59" y="13074"/>
                  </a:cubicBezTo>
                  <a:cubicBezTo>
                    <a:pt x="59" y="13074"/>
                    <a:pt x="59" y="13074"/>
                    <a:pt x="59" y="13074"/>
                  </a:cubicBezTo>
                  <a:cubicBezTo>
                    <a:pt x="59" y="13074"/>
                    <a:pt x="59" y="13074"/>
                    <a:pt x="59" y="13074"/>
                  </a:cubicBezTo>
                  <a:cubicBezTo>
                    <a:pt x="59" y="13074"/>
                    <a:pt x="59" y="13074"/>
                    <a:pt x="59" y="13074"/>
                  </a:cubicBezTo>
                  <a:cubicBezTo>
                    <a:pt x="59" y="13074"/>
                    <a:pt x="59" y="13074"/>
                    <a:pt x="59" y="13074"/>
                  </a:cubicBezTo>
                  <a:cubicBezTo>
                    <a:pt x="59" y="13074"/>
                    <a:pt x="59" y="13074"/>
                    <a:pt x="59"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0" y="13074"/>
                    <a:pt x="0" y="13074"/>
                  </a:cubicBezTo>
                  <a:cubicBezTo>
                    <a:pt x="0" y="13074"/>
                    <a:pt x="59" y="13155"/>
                    <a:pt x="117" y="13155"/>
                  </a:cubicBezTo>
                  <a:cubicBezTo>
                    <a:pt x="234" y="13236"/>
                    <a:pt x="293" y="13480"/>
                    <a:pt x="351" y="13480"/>
                  </a:cubicBezTo>
                  <a:cubicBezTo>
                    <a:pt x="468" y="13561"/>
                    <a:pt x="585" y="13561"/>
                    <a:pt x="644" y="13561"/>
                  </a:cubicBezTo>
                  <a:cubicBezTo>
                    <a:pt x="702" y="13642"/>
                    <a:pt x="820" y="13723"/>
                    <a:pt x="820" y="13723"/>
                  </a:cubicBezTo>
                  <a:cubicBezTo>
                    <a:pt x="820" y="13723"/>
                    <a:pt x="1112" y="14129"/>
                    <a:pt x="1171" y="14129"/>
                  </a:cubicBezTo>
                  <a:cubicBezTo>
                    <a:pt x="1229" y="14129"/>
                    <a:pt x="1229" y="14129"/>
                    <a:pt x="1288" y="14292"/>
                  </a:cubicBezTo>
                  <a:cubicBezTo>
                    <a:pt x="1346" y="14373"/>
                    <a:pt x="1522" y="14292"/>
                    <a:pt x="1522" y="14292"/>
                  </a:cubicBezTo>
                  <a:cubicBezTo>
                    <a:pt x="1522" y="14292"/>
                    <a:pt x="1580" y="14535"/>
                    <a:pt x="1522" y="14617"/>
                  </a:cubicBezTo>
                  <a:cubicBezTo>
                    <a:pt x="1522" y="14698"/>
                    <a:pt x="1522" y="14941"/>
                    <a:pt x="1522" y="14941"/>
                  </a:cubicBezTo>
                  <a:cubicBezTo>
                    <a:pt x="1522" y="14941"/>
                    <a:pt x="1522" y="15023"/>
                    <a:pt x="1522" y="15104"/>
                  </a:cubicBezTo>
                  <a:cubicBezTo>
                    <a:pt x="1580" y="15266"/>
                    <a:pt x="1639" y="15266"/>
                    <a:pt x="1639" y="15429"/>
                  </a:cubicBezTo>
                  <a:cubicBezTo>
                    <a:pt x="1698" y="15510"/>
                    <a:pt x="1639" y="15510"/>
                    <a:pt x="1698" y="15591"/>
                  </a:cubicBezTo>
                  <a:cubicBezTo>
                    <a:pt x="1756" y="15672"/>
                    <a:pt x="1815" y="15835"/>
                    <a:pt x="1873" y="15835"/>
                  </a:cubicBezTo>
                  <a:cubicBezTo>
                    <a:pt x="1932" y="15835"/>
                    <a:pt x="1990" y="15835"/>
                    <a:pt x="2166" y="15916"/>
                  </a:cubicBezTo>
                  <a:cubicBezTo>
                    <a:pt x="2341" y="16078"/>
                    <a:pt x="2400" y="16078"/>
                    <a:pt x="2459" y="16159"/>
                  </a:cubicBezTo>
                  <a:cubicBezTo>
                    <a:pt x="2576" y="16241"/>
                    <a:pt x="2517" y="16159"/>
                    <a:pt x="2693" y="16241"/>
                  </a:cubicBezTo>
                  <a:cubicBezTo>
                    <a:pt x="2927" y="16322"/>
                    <a:pt x="2868" y="16241"/>
                    <a:pt x="2927" y="16322"/>
                  </a:cubicBezTo>
                  <a:cubicBezTo>
                    <a:pt x="2985" y="16322"/>
                    <a:pt x="2927" y="16241"/>
                    <a:pt x="3044" y="16322"/>
                  </a:cubicBezTo>
                  <a:cubicBezTo>
                    <a:pt x="3220" y="16322"/>
                    <a:pt x="3337" y="16403"/>
                    <a:pt x="3337" y="16403"/>
                  </a:cubicBezTo>
                  <a:cubicBezTo>
                    <a:pt x="3337" y="16565"/>
                    <a:pt x="3337" y="16565"/>
                    <a:pt x="3337" y="16565"/>
                  </a:cubicBezTo>
                  <a:cubicBezTo>
                    <a:pt x="3220" y="16890"/>
                    <a:pt x="3220" y="16890"/>
                    <a:pt x="3220" y="16890"/>
                  </a:cubicBezTo>
                  <a:cubicBezTo>
                    <a:pt x="3220" y="17134"/>
                    <a:pt x="3220" y="17134"/>
                    <a:pt x="3220" y="17134"/>
                  </a:cubicBezTo>
                  <a:cubicBezTo>
                    <a:pt x="3220" y="17134"/>
                    <a:pt x="3102" y="17134"/>
                    <a:pt x="3220" y="17215"/>
                  </a:cubicBezTo>
                  <a:cubicBezTo>
                    <a:pt x="3337" y="17296"/>
                    <a:pt x="3571" y="17377"/>
                    <a:pt x="3571" y="17377"/>
                  </a:cubicBezTo>
                  <a:cubicBezTo>
                    <a:pt x="3746" y="17540"/>
                    <a:pt x="3746" y="17540"/>
                    <a:pt x="3746" y="17540"/>
                  </a:cubicBezTo>
                  <a:cubicBezTo>
                    <a:pt x="3746" y="17540"/>
                    <a:pt x="3629" y="17783"/>
                    <a:pt x="3571" y="17865"/>
                  </a:cubicBezTo>
                  <a:cubicBezTo>
                    <a:pt x="3512" y="17865"/>
                    <a:pt x="3337" y="17865"/>
                    <a:pt x="3337" y="17865"/>
                  </a:cubicBezTo>
                  <a:cubicBezTo>
                    <a:pt x="3337" y="17865"/>
                    <a:pt x="3278" y="18108"/>
                    <a:pt x="3395" y="18108"/>
                  </a:cubicBezTo>
                  <a:cubicBezTo>
                    <a:pt x="3454" y="18189"/>
                    <a:pt x="3571" y="18189"/>
                    <a:pt x="3629" y="18189"/>
                  </a:cubicBezTo>
                  <a:cubicBezTo>
                    <a:pt x="3688" y="18189"/>
                    <a:pt x="3805" y="18271"/>
                    <a:pt x="3805" y="18271"/>
                  </a:cubicBezTo>
                  <a:cubicBezTo>
                    <a:pt x="3805" y="18271"/>
                    <a:pt x="3863" y="18271"/>
                    <a:pt x="3922" y="18352"/>
                  </a:cubicBezTo>
                  <a:cubicBezTo>
                    <a:pt x="3922" y="18514"/>
                    <a:pt x="3980" y="18595"/>
                    <a:pt x="4039" y="18595"/>
                  </a:cubicBezTo>
                  <a:cubicBezTo>
                    <a:pt x="4098" y="18595"/>
                    <a:pt x="4215" y="18595"/>
                    <a:pt x="4273" y="18595"/>
                  </a:cubicBezTo>
                  <a:cubicBezTo>
                    <a:pt x="4332" y="18595"/>
                    <a:pt x="4332" y="18514"/>
                    <a:pt x="4390" y="18514"/>
                  </a:cubicBezTo>
                  <a:cubicBezTo>
                    <a:pt x="4449" y="18595"/>
                    <a:pt x="4800" y="18514"/>
                    <a:pt x="4800" y="18514"/>
                  </a:cubicBezTo>
                  <a:cubicBezTo>
                    <a:pt x="4800" y="18514"/>
                    <a:pt x="4800" y="18514"/>
                    <a:pt x="4859" y="18677"/>
                  </a:cubicBezTo>
                  <a:cubicBezTo>
                    <a:pt x="4976" y="18920"/>
                    <a:pt x="5151" y="19002"/>
                    <a:pt x="5151" y="19002"/>
                  </a:cubicBezTo>
                  <a:cubicBezTo>
                    <a:pt x="5151" y="19002"/>
                    <a:pt x="5210" y="19083"/>
                    <a:pt x="5210" y="19002"/>
                  </a:cubicBezTo>
                  <a:cubicBezTo>
                    <a:pt x="5210" y="18920"/>
                    <a:pt x="5268" y="18839"/>
                    <a:pt x="5268" y="18839"/>
                  </a:cubicBezTo>
                  <a:cubicBezTo>
                    <a:pt x="5268" y="18839"/>
                    <a:pt x="5385" y="18595"/>
                    <a:pt x="5385" y="18514"/>
                  </a:cubicBezTo>
                  <a:cubicBezTo>
                    <a:pt x="5444" y="18433"/>
                    <a:pt x="5502" y="18189"/>
                    <a:pt x="5561" y="18189"/>
                  </a:cubicBezTo>
                  <a:cubicBezTo>
                    <a:pt x="5620" y="18108"/>
                    <a:pt x="5795" y="17946"/>
                    <a:pt x="5795" y="17946"/>
                  </a:cubicBezTo>
                  <a:cubicBezTo>
                    <a:pt x="5795" y="17946"/>
                    <a:pt x="5795" y="17865"/>
                    <a:pt x="5912" y="17946"/>
                  </a:cubicBezTo>
                  <a:cubicBezTo>
                    <a:pt x="5971" y="18108"/>
                    <a:pt x="6146" y="18271"/>
                    <a:pt x="6146" y="18271"/>
                  </a:cubicBezTo>
                  <a:cubicBezTo>
                    <a:pt x="6439" y="18271"/>
                    <a:pt x="6439" y="18271"/>
                    <a:pt x="6439" y="18271"/>
                  </a:cubicBezTo>
                  <a:cubicBezTo>
                    <a:pt x="6439" y="18271"/>
                    <a:pt x="6615" y="18352"/>
                    <a:pt x="6615" y="18433"/>
                  </a:cubicBezTo>
                  <a:cubicBezTo>
                    <a:pt x="6615" y="18514"/>
                    <a:pt x="6556" y="18514"/>
                    <a:pt x="6439" y="18595"/>
                  </a:cubicBezTo>
                  <a:cubicBezTo>
                    <a:pt x="6380" y="18595"/>
                    <a:pt x="6205" y="18352"/>
                    <a:pt x="6205" y="18433"/>
                  </a:cubicBezTo>
                  <a:cubicBezTo>
                    <a:pt x="6146" y="18514"/>
                    <a:pt x="6146" y="18677"/>
                    <a:pt x="6146" y="18677"/>
                  </a:cubicBezTo>
                  <a:cubicBezTo>
                    <a:pt x="5912" y="18839"/>
                    <a:pt x="5912" y="18839"/>
                    <a:pt x="5912" y="18839"/>
                  </a:cubicBezTo>
                  <a:cubicBezTo>
                    <a:pt x="5971" y="19002"/>
                    <a:pt x="5971" y="19002"/>
                    <a:pt x="5971" y="19002"/>
                  </a:cubicBezTo>
                  <a:cubicBezTo>
                    <a:pt x="5971" y="19002"/>
                    <a:pt x="6263" y="19164"/>
                    <a:pt x="6263" y="19245"/>
                  </a:cubicBezTo>
                  <a:cubicBezTo>
                    <a:pt x="6263" y="19326"/>
                    <a:pt x="6263" y="19489"/>
                    <a:pt x="6263" y="19489"/>
                  </a:cubicBezTo>
                  <a:cubicBezTo>
                    <a:pt x="6439" y="19570"/>
                    <a:pt x="6439" y="19570"/>
                    <a:pt x="6439" y="19570"/>
                  </a:cubicBezTo>
                  <a:cubicBezTo>
                    <a:pt x="6556" y="19489"/>
                    <a:pt x="6556" y="19489"/>
                    <a:pt x="6556" y="19489"/>
                  </a:cubicBezTo>
                  <a:cubicBezTo>
                    <a:pt x="6556" y="19814"/>
                    <a:pt x="6556" y="19814"/>
                    <a:pt x="6556" y="19814"/>
                  </a:cubicBezTo>
                  <a:cubicBezTo>
                    <a:pt x="6556" y="20138"/>
                    <a:pt x="6556" y="20138"/>
                    <a:pt x="6556" y="20138"/>
                  </a:cubicBezTo>
                  <a:cubicBezTo>
                    <a:pt x="6556" y="20138"/>
                    <a:pt x="6556" y="20138"/>
                    <a:pt x="6556" y="20138"/>
                  </a:cubicBezTo>
                  <a:cubicBezTo>
                    <a:pt x="6556" y="20138"/>
                    <a:pt x="6556" y="20138"/>
                    <a:pt x="6556" y="20138"/>
                  </a:cubicBezTo>
                  <a:cubicBezTo>
                    <a:pt x="6966" y="19976"/>
                    <a:pt x="7317" y="20301"/>
                    <a:pt x="7493" y="20301"/>
                  </a:cubicBezTo>
                  <a:cubicBezTo>
                    <a:pt x="7844" y="20382"/>
                    <a:pt x="7083" y="20950"/>
                    <a:pt x="7200" y="20950"/>
                  </a:cubicBezTo>
                  <a:cubicBezTo>
                    <a:pt x="7317" y="20869"/>
                    <a:pt x="7200" y="21356"/>
                    <a:pt x="7376" y="21438"/>
                  </a:cubicBezTo>
                  <a:cubicBezTo>
                    <a:pt x="7668" y="21519"/>
                    <a:pt x="7902" y="21194"/>
                    <a:pt x="8254" y="21194"/>
                  </a:cubicBezTo>
                  <a:cubicBezTo>
                    <a:pt x="8546" y="21113"/>
                    <a:pt x="8898" y="21356"/>
                    <a:pt x="9015" y="21194"/>
                  </a:cubicBezTo>
                  <a:cubicBezTo>
                    <a:pt x="9249" y="20788"/>
                    <a:pt x="10185" y="21600"/>
                    <a:pt x="10654" y="21194"/>
                  </a:cubicBezTo>
                  <a:cubicBezTo>
                    <a:pt x="10946" y="20869"/>
                    <a:pt x="12117" y="20707"/>
                    <a:pt x="12527" y="20707"/>
                  </a:cubicBezTo>
                  <a:cubicBezTo>
                    <a:pt x="13580" y="20626"/>
                    <a:pt x="13639" y="20626"/>
                    <a:pt x="14107" y="20220"/>
                  </a:cubicBezTo>
                  <a:cubicBezTo>
                    <a:pt x="14107" y="20220"/>
                    <a:pt x="14400" y="19326"/>
                    <a:pt x="14576" y="18920"/>
                  </a:cubicBezTo>
                  <a:cubicBezTo>
                    <a:pt x="14693" y="18595"/>
                    <a:pt x="15044" y="18433"/>
                    <a:pt x="15395" y="18108"/>
                  </a:cubicBezTo>
                  <a:cubicBezTo>
                    <a:pt x="15688" y="17783"/>
                    <a:pt x="16449" y="17459"/>
                    <a:pt x="16624" y="17377"/>
                  </a:cubicBezTo>
                  <a:cubicBezTo>
                    <a:pt x="16800" y="17377"/>
                    <a:pt x="18029" y="17459"/>
                    <a:pt x="18029" y="17459"/>
                  </a:cubicBezTo>
                  <a:cubicBezTo>
                    <a:pt x="18673" y="17215"/>
                    <a:pt x="18673" y="17215"/>
                    <a:pt x="18673" y="17215"/>
                  </a:cubicBezTo>
                  <a:cubicBezTo>
                    <a:pt x="18673" y="17215"/>
                    <a:pt x="18790" y="17865"/>
                    <a:pt x="18966" y="17946"/>
                  </a:cubicBezTo>
                  <a:cubicBezTo>
                    <a:pt x="19727" y="18108"/>
                    <a:pt x="20195" y="18027"/>
                    <a:pt x="20254" y="17459"/>
                  </a:cubicBezTo>
                  <a:cubicBezTo>
                    <a:pt x="20312" y="17053"/>
                    <a:pt x="20020" y="16322"/>
                    <a:pt x="19961" y="15753"/>
                  </a:cubicBezTo>
                  <a:cubicBezTo>
                    <a:pt x="19902" y="15104"/>
                    <a:pt x="20137" y="14454"/>
                    <a:pt x="20137" y="13886"/>
                  </a:cubicBezTo>
                  <a:cubicBezTo>
                    <a:pt x="20137" y="13805"/>
                    <a:pt x="20020" y="13642"/>
                    <a:pt x="20371" y="12992"/>
                  </a:cubicBezTo>
                  <a:cubicBezTo>
                    <a:pt x="20663" y="12343"/>
                    <a:pt x="21483" y="12668"/>
                    <a:pt x="21600" y="12262"/>
                  </a:cubicBezTo>
                  <a:cubicBezTo>
                    <a:pt x="21249" y="9988"/>
                    <a:pt x="21249" y="9988"/>
                    <a:pt x="21249" y="9988"/>
                  </a:cubicBezTo>
                  <a:cubicBezTo>
                    <a:pt x="21190" y="9988"/>
                    <a:pt x="21190" y="9988"/>
                    <a:pt x="21190" y="9988"/>
                  </a:cubicBezTo>
                  <a:cubicBezTo>
                    <a:pt x="21132" y="9988"/>
                    <a:pt x="21132" y="9988"/>
                    <a:pt x="21132" y="9988"/>
                  </a:cubicBezTo>
                  <a:cubicBezTo>
                    <a:pt x="21015" y="9907"/>
                    <a:pt x="21015" y="9907"/>
                    <a:pt x="21015" y="9907"/>
                  </a:cubicBezTo>
                  <a:cubicBezTo>
                    <a:pt x="20898" y="9907"/>
                    <a:pt x="20898" y="9907"/>
                    <a:pt x="20898" y="9907"/>
                  </a:cubicBezTo>
                  <a:cubicBezTo>
                    <a:pt x="20780" y="9826"/>
                    <a:pt x="20780" y="9826"/>
                    <a:pt x="20780" y="9826"/>
                  </a:cubicBezTo>
                  <a:cubicBezTo>
                    <a:pt x="20663" y="9744"/>
                    <a:pt x="20663" y="9744"/>
                    <a:pt x="20663" y="9744"/>
                  </a:cubicBezTo>
                  <a:cubicBezTo>
                    <a:pt x="20546" y="9744"/>
                    <a:pt x="20546" y="9744"/>
                    <a:pt x="20546" y="9744"/>
                  </a:cubicBezTo>
                  <a:cubicBezTo>
                    <a:pt x="20546" y="9744"/>
                    <a:pt x="20546" y="9744"/>
                    <a:pt x="20546" y="9744"/>
                  </a:cubicBezTo>
                  <a:cubicBezTo>
                    <a:pt x="20488" y="9744"/>
                    <a:pt x="20488" y="9744"/>
                    <a:pt x="20488" y="9744"/>
                  </a:cubicBezTo>
                  <a:cubicBezTo>
                    <a:pt x="20078" y="9663"/>
                    <a:pt x="19551" y="10962"/>
                    <a:pt x="19551" y="10962"/>
                  </a:cubicBezTo>
                  <a:cubicBezTo>
                    <a:pt x="19317" y="11531"/>
                    <a:pt x="19317" y="11531"/>
                    <a:pt x="19317" y="11531"/>
                  </a:cubicBezTo>
                  <a:cubicBezTo>
                    <a:pt x="18732" y="11368"/>
                    <a:pt x="18146" y="11287"/>
                    <a:pt x="17737" y="10638"/>
                  </a:cubicBezTo>
                  <a:cubicBezTo>
                    <a:pt x="17737" y="10394"/>
                    <a:pt x="17737" y="10394"/>
                    <a:pt x="17737" y="10394"/>
                  </a:cubicBezTo>
                  <a:cubicBezTo>
                    <a:pt x="17737" y="10394"/>
                    <a:pt x="17737" y="10394"/>
                    <a:pt x="17737" y="10394"/>
                  </a:cubicBezTo>
                  <a:cubicBezTo>
                    <a:pt x="17737" y="10394"/>
                    <a:pt x="17737" y="10394"/>
                    <a:pt x="17737" y="10394"/>
                  </a:cubicBezTo>
                  <a:cubicBezTo>
                    <a:pt x="17678" y="10313"/>
                    <a:pt x="17678" y="10313"/>
                    <a:pt x="17678" y="10313"/>
                  </a:cubicBezTo>
                  <a:cubicBezTo>
                    <a:pt x="17678" y="10313"/>
                    <a:pt x="17620" y="10313"/>
                    <a:pt x="17620" y="10313"/>
                  </a:cubicBezTo>
                  <a:cubicBezTo>
                    <a:pt x="17561" y="10313"/>
                    <a:pt x="17502" y="10232"/>
                    <a:pt x="17502" y="10232"/>
                  </a:cubicBezTo>
                  <a:cubicBezTo>
                    <a:pt x="17561" y="10069"/>
                    <a:pt x="17561" y="10069"/>
                    <a:pt x="17561" y="10069"/>
                  </a:cubicBezTo>
                  <a:cubicBezTo>
                    <a:pt x="17561" y="10069"/>
                    <a:pt x="17620" y="9988"/>
                    <a:pt x="17620" y="9988"/>
                  </a:cubicBezTo>
                  <a:cubicBezTo>
                    <a:pt x="17678" y="9988"/>
                    <a:pt x="17620" y="9988"/>
                    <a:pt x="17620" y="9907"/>
                  </a:cubicBezTo>
                  <a:cubicBezTo>
                    <a:pt x="17620" y="9907"/>
                    <a:pt x="17620" y="9744"/>
                    <a:pt x="17620" y="9663"/>
                  </a:cubicBezTo>
                  <a:cubicBezTo>
                    <a:pt x="17561" y="9582"/>
                    <a:pt x="17561" y="9582"/>
                    <a:pt x="17561" y="9582"/>
                  </a:cubicBezTo>
                  <a:cubicBezTo>
                    <a:pt x="17561" y="9582"/>
                    <a:pt x="17502" y="9420"/>
                    <a:pt x="17444" y="9338"/>
                  </a:cubicBezTo>
                  <a:cubicBezTo>
                    <a:pt x="17385" y="9338"/>
                    <a:pt x="17444" y="9257"/>
                    <a:pt x="17444" y="9257"/>
                  </a:cubicBezTo>
                  <a:cubicBezTo>
                    <a:pt x="17385" y="9176"/>
                    <a:pt x="17444" y="9176"/>
                    <a:pt x="17444" y="9095"/>
                  </a:cubicBezTo>
                  <a:cubicBezTo>
                    <a:pt x="17444" y="9095"/>
                    <a:pt x="17385" y="8932"/>
                    <a:pt x="17385" y="8932"/>
                  </a:cubicBezTo>
                  <a:cubicBezTo>
                    <a:pt x="17385" y="8932"/>
                    <a:pt x="17268" y="8689"/>
                    <a:pt x="17210" y="8526"/>
                  </a:cubicBezTo>
                  <a:cubicBezTo>
                    <a:pt x="17210" y="8445"/>
                    <a:pt x="17210" y="8364"/>
                    <a:pt x="17210" y="8364"/>
                  </a:cubicBezTo>
                  <a:cubicBezTo>
                    <a:pt x="17268" y="8283"/>
                    <a:pt x="17151" y="8202"/>
                    <a:pt x="17151" y="8202"/>
                  </a:cubicBezTo>
                  <a:cubicBezTo>
                    <a:pt x="17151" y="8202"/>
                    <a:pt x="17151" y="8039"/>
                    <a:pt x="17151" y="8039"/>
                  </a:cubicBezTo>
                  <a:cubicBezTo>
                    <a:pt x="17151" y="8039"/>
                    <a:pt x="17151" y="7877"/>
                    <a:pt x="17151" y="7877"/>
                  </a:cubicBezTo>
                  <a:cubicBezTo>
                    <a:pt x="17210" y="7795"/>
                    <a:pt x="17151" y="7714"/>
                    <a:pt x="17151" y="7633"/>
                  </a:cubicBezTo>
                  <a:cubicBezTo>
                    <a:pt x="17151" y="7633"/>
                    <a:pt x="17034" y="7552"/>
                    <a:pt x="17034" y="7552"/>
                  </a:cubicBezTo>
                  <a:cubicBezTo>
                    <a:pt x="17093" y="7389"/>
                    <a:pt x="17093" y="7389"/>
                    <a:pt x="17093" y="7389"/>
                  </a:cubicBezTo>
                  <a:cubicBezTo>
                    <a:pt x="17093" y="7308"/>
                    <a:pt x="17093" y="7308"/>
                    <a:pt x="17093" y="7308"/>
                  </a:cubicBezTo>
                  <a:cubicBezTo>
                    <a:pt x="17093" y="7308"/>
                    <a:pt x="17151" y="7146"/>
                    <a:pt x="17151" y="7146"/>
                  </a:cubicBezTo>
                  <a:cubicBezTo>
                    <a:pt x="17210" y="7065"/>
                    <a:pt x="17151" y="6983"/>
                    <a:pt x="17093" y="6983"/>
                  </a:cubicBezTo>
                  <a:cubicBezTo>
                    <a:pt x="17034" y="6983"/>
                    <a:pt x="17093" y="6902"/>
                    <a:pt x="17093" y="6902"/>
                  </a:cubicBezTo>
                  <a:cubicBezTo>
                    <a:pt x="17151" y="6740"/>
                    <a:pt x="17151" y="6740"/>
                    <a:pt x="17151" y="6740"/>
                  </a:cubicBezTo>
                  <a:cubicBezTo>
                    <a:pt x="17093" y="6496"/>
                    <a:pt x="17093" y="6496"/>
                    <a:pt x="17093" y="6496"/>
                  </a:cubicBezTo>
                  <a:cubicBezTo>
                    <a:pt x="17093" y="6415"/>
                    <a:pt x="17093" y="6415"/>
                    <a:pt x="17093" y="6415"/>
                  </a:cubicBezTo>
                  <a:cubicBezTo>
                    <a:pt x="17093" y="6415"/>
                    <a:pt x="17034" y="6253"/>
                    <a:pt x="17034" y="6253"/>
                  </a:cubicBezTo>
                  <a:cubicBezTo>
                    <a:pt x="17034" y="6171"/>
                    <a:pt x="16976" y="6009"/>
                    <a:pt x="16976" y="6009"/>
                  </a:cubicBezTo>
                  <a:cubicBezTo>
                    <a:pt x="16976" y="6009"/>
                    <a:pt x="16976" y="5928"/>
                    <a:pt x="16976" y="5928"/>
                  </a:cubicBezTo>
                  <a:cubicBezTo>
                    <a:pt x="16976" y="5847"/>
                    <a:pt x="16976" y="5847"/>
                    <a:pt x="16976" y="5847"/>
                  </a:cubicBezTo>
                  <a:cubicBezTo>
                    <a:pt x="16976" y="5765"/>
                    <a:pt x="16917" y="5684"/>
                    <a:pt x="16859" y="5603"/>
                  </a:cubicBezTo>
                  <a:cubicBezTo>
                    <a:pt x="16800" y="5441"/>
                    <a:pt x="16800" y="5441"/>
                    <a:pt x="16800" y="5441"/>
                  </a:cubicBezTo>
                  <a:cubicBezTo>
                    <a:pt x="16800" y="5441"/>
                    <a:pt x="16683" y="5278"/>
                    <a:pt x="16624" y="5197"/>
                  </a:cubicBezTo>
                  <a:cubicBezTo>
                    <a:pt x="16624" y="5035"/>
                    <a:pt x="16624" y="5035"/>
                    <a:pt x="16566" y="4953"/>
                  </a:cubicBezTo>
                  <a:cubicBezTo>
                    <a:pt x="16566" y="4791"/>
                    <a:pt x="16449" y="4629"/>
                    <a:pt x="16390" y="4629"/>
                  </a:cubicBezTo>
                  <a:cubicBezTo>
                    <a:pt x="16390" y="4629"/>
                    <a:pt x="16332" y="4385"/>
                    <a:pt x="16332" y="4304"/>
                  </a:cubicBezTo>
                  <a:cubicBezTo>
                    <a:pt x="16273" y="4304"/>
                    <a:pt x="16156" y="4223"/>
                    <a:pt x="16156" y="4223"/>
                  </a:cubicBezTo>
                  <a:cubicBezTo>
                    <a:pt x="16098" y="4223"/>
                    <a:pt x="15980" y="4141"/>
                    <a:pt x="15980" y="4141"/>
                  </a:cubicBezTo>
                  <a:cubicBezTo>
                    <a:pt x="15805" y="4060"/>
                    <a:pt x="15805" y="4060"/>
                    <a:pt x="15805" y="4060"/>
                  </a:cubicBezTo>
                  <a:cubicBezTo>
                    <a:pt x="15629" y="3817"/>
                    <a:pt x="15629" y="3817"/>
                    <a:pt x="15629" y="3817"/>
                  </a:cubicBezTo>
                  <a:cubicBezTo>
                    <a:pt x="15629" y="3817"/>
                    <a:pt x="15571" y="3817"/>
                    <a:pt x="15512" y="3735"/>
                  </a:cubicBezTo>
                  <a:cubicBezTo>
                    <a:pt x="15512" y="3735"/>
                    <a:pt x="15454" y="3573"/>
                    <a:pt x="15454" y="3573"/>
                  </a:cubicBezTo>
                  <a:cubicBezTo>
                    <a:pt x="15395" y="3411"/>
                    <a:pt x="15395" y="3411"/>
                    <a:pt x="15395" y="3411"/>
                  </a:cubicBezTo>
                  <a:cubicBezTo>
                    <a:pt x="15044" y="3248"/>
                    <a:pt x="15044" y="3248"/>
                    <a:pt x="15044" y="3248"/>
                  </a:cubicBezTo>
                  <a:cubicBezTo>
                    <a:pt x="15044" y="3248"/>
                    <a:pt x="14985" y="3086"/>
                    <a:pt x="14985" y="3086"/>
                  </a:cubicBezTo>
                  <a:cubicBezTo>
                    <a:pt x="14985" y="3005"/>
                    <a:pt x="14927" y="3005"/>
                    <a:pt x="14927" y="2923"/>
                  </a:cubicBezTo>
                  <a:cubicBezTo>
                    <a:pt x="14927" y="2842"/>
                    <a:pt x="14868" y="2842"/>
                    <a:pt x="14868" y="2761"/>
                  </a:cubicBezTo>
                  <a:cubicBezTo>
                    <a:pt x="14868" y="2680"/>
                    <a:pt x="14810" y="2680"/>
                    <a:pt x="14810" y="2680"/>
                  </a:cubicBezTo>
                  <a:cubicBezTo>
                    <a:pt x="14751" y="2680"/>
                    <a:pt x="14693" y="2680"/>
                    <a:pt x="14693" y="2680"/>
                  </a:cubicBezTo>
                  <a:cubicBezTo>
                    <a:pt x="14693" y="2680"/>
                    <a:pt x="14634" y="2598"/>
                    <a:pt x="14634" y="2598"/>
                  </a:cubicBezTo>
                  <a:cubicBezTo>
                    <a:pt x="14634" y="2598"/>
                    <a:pt x="14517" y="2436"/>
                    <a:pt x="14459" y="2436"/>
                  </a:cubicBezTo>
                  <a:cubicBezTo>
                    <a:pt x="14459" y="2355"/>
                    <a:pt x="14459" y="2355"/>
                    <a:pt x="14459" y="2355"/>
                  </a:cubicBezTo>
                  <a:cubicBezTo>
                    <a:pt x="14459" y="2355"/>
                    <a:pt x="14459" y="2355"/>
                    <a:pt x="14400" y="2355"/>
                  </a:cubicBezTo>
                  <a:cubicBezTo>
                    <a:pt x="14341" y="2355"/>
                    <a:pt x="14341" y="2355"/>
                    <a:pt x="14341" y="2274"/>
                  </a:cubicBezTo>
                  <a:cubicBezTo>
                    <a:pt x="14283" y="2274"/>
                    <a:pt x="14283" y="2111"/>
                    <a:pt x="14224" y="2111"/>
                  </a:cubicBezTo>
                  <a:cubicBezTo>
                    <a:pt x="14224" y="2111"/>
                    <a:pt x="14224" y="2111"/>
                    <a:pt x="14166" y="2111"/>
                  </a:cubicBezTo>
                  <a:cubicBezTo>
                    <a:pt x="14107" y="2111"/>
                    <a:pt x="14049" y="1949"/>
                    <a:pt x="14049" y="1949"/>
                  </a:cubicBezTo>
                  <a:cubicBezTo>
                    <a:pt x="13990" y="1949"/>
                    <a:pt x="14049" y="1868"/>
                    <a:pt x="14049" y="1786"/>
                  </a:cubicBezTo>
                  <a:cubicBezTo>
                    <a:pt x="14049" y="1705"/>
                    <a:pt x="13990" y="1705"/>
                    <a:pt x="13990" y="1705"/>
                  </a:cubicBezTo>
                  <a:cubicBezTo>
                    <a:pt x="13990" y="1705"/>
                    <a:pt x="13990" y="1705"/>
                    <a:pt x="13990" y="1705"/>
                  </a:cubicBezTo>
                  <a:cubicBezTo>
                    <a:pt x="13990" y="1705"/>
                    <a:pt x="13932" y="1705"/>
                    <a:pt x="13932" y="1624"/>
                  </a:cubicBezTo>
                  <a:cubicBezTo>
                    <a:pt x="13932" y="1624"/>
                    <a:pt x="13873" y="1543"/>
                    <a:pt x="13873" y="1462"/>
                  </a:cubicBezTo>
                  <a:cubicBezTo>
                    <a:pt x="13873" y="1380"/>
                    <a:pt x="13873" y="1380"/>
                    <a:pt x="13873" y="1380"/>
                  </a:cubicBezTo>
                  <a:cubicBezTo>
                    <a:pt x="13873" y="1380"/>
                    <a:pt x="13815" y="1299"/>
                    <a:pt x="13815" y="1299"/>
                  </a:cubicBezTo>
                  <a:cubicBezTo>
                    <a:pt x="13756" y="1218"/>
                    <a:pt x="13756" y="1218"/>
                    <a:pt x="13756" y="1218"/>
                  </a:cubicBezTo>
                  <a:cubicBezTo>
                    <a:pt x="13756" y="1137"/>
                    <a:pt x="13756" y="1137"/>
                    <a:pt x="13756" y="1137"/>
                  </a:cubicBezTo>
                  <a:cubicBezTo>
                    <a:pt x="13698" y="1137"/>
                    <a:pt x="13698" y="1137"/>
                    <a:pt x="13698" y="1137"/>
                  </a:cubicBezTo>
                  <a:cubicBezTo>
                    <a:pt x="13639" y="1137"/>
                    <a:pt x="13639" y="1056"/>
                    <a:pt x="13639" y="974"/>
                  </a:cubicBezTo>
                  <a:cubicBezTo>
                    <a:pt x="13639" y="974"/>
                    <a:pt x="13639" y="974"/>
                    <a:pt x="13639" y="974"/>
                  </a:cubicBezTo>
                  <a:cubicBezTo>
                    <a:pt x="13580" y="893"/>
                    <a:pt x="13580" y="893"/>
                    <a:pt x="13580" y="893"/>
                  </a:cubicBezTo>
                  <a:cubicBezTo>
                    <a:pt x="13522" y="812"/>
                    <a:pt x="13522" y="812"/>
                    <a:pt x="13522" y="812"/>
                  </a:cubicBezTo>
                  <a:cubicBezTo>
                    <a:pt x="13463" y="731"/>
                    <a:pt x="13463" y="731"/>
                    <a:pt x="13463" y="731"/>
                  </a:cubicBezTo>
                  <a:cubicBezTo>
                    <a:pt x="13463" y="731"/>
                    <a:pt x="13405" y="650"/>
                    <a:pt x="13405" y="650"/>
                  </a:cubicBezTo>
                  <a:cubicBezTo>
                    <a:pt x="13346" y="568"/>
                    <a:pt x="13288" y="487"/>
                    <a:pt x="13288" y="487"/>
                  </a:cubicBezTo>
                  <a:cubicBezTo>
                    <a:pt x="13288" y="487"/>
                    <a:pt x="13288" y="406"/>
                    <a:pt x="13288" y="406"/>
                  </a:cubicBezTo>
                  <a:cubicBezTo>
                    <a:pt x="13288" y="406"/>
                    <a:pt x="13229" y="406"/>
                    <a:pt x="13229" y="406"/>
                  </a:cubicBezTo>
                  <a:cubicBezTo>
                    <a:pt x="13112" y="406"/>
                    <a:pt x="13112" y="406"/>
                    <a:pt x="13112" y="406"/>
                  </a:cubicBezTo>
                  <a:cubicBezTo>
                    <a:pt x="13112" y="244"/>
                    <a:pt x="13112" y="244"/>
                    <a:pt x="13112" y="244"/>
                  </a:cubicBezTo>
                  <a:cubicBezTo>
                    <a:pt x="13112" y="244"/>
                    <a:pt x="13112" y="244"/>
                    <a:pt x="13054" y="244"/>
                  </a:cubicBezTo>
                  <a:cubicBezTo>
                    <a:pt x="12995" y="244"/>
                    <a:pt x="12995" y="162"/>
                    <a:pt x="12995" y="162"/>
                  </a:cubicBezTo>
                  <a:cubicBezTo>
                    <a:pt x="12995" y="81"/>
                    <a:pt x="12995" y="81"/>
                    <a:pt x="12995" y="81"/>
                  </a:cubicBezTo>
                  <a:cubicBezTo>
                    <a:pt x="12820" y="162"/>
                    <a:pt x="12820" y="162"/>
                    <a:pt x="12820" y="162"/>
                  </a:cubicBezTo>
                  <a:cubicBezTo>
                    <a:pt x="12820" y="162"/>
                    <a:pt x="12820" y="162"/>
                    <a:pt x="12820" y="162"/>
                  </a:cubicBezTo>
                  <a:cubicBezTo>
                    <a:pt x="12820" y="162"/>
                    <a:pt x="12702" y="81"/>
                    <a:pt x="12702" y="81"/>
                  </a:cubicBezTo>
                  <a:cubicBezTo>
                    <a:pt x="12702" y="0"/>
                    <a:pt x="12644" y="0"/>
                    <a:pt x="12644" y="0"/>
                  </a:cubicBezTo>
                  <a:cubicBezTo>
                    <a:pt x="12585" y="81"/>
                    <a:pt x="12585" y="81"/>
                    <a:pt x="12585" y="81"/>
                  </a:cubicBezTo>
                  <a:cubicBezTo>
                    <a:pt x="12468" y="81"/>
                    <a:pt x="12468" y="81"/>
                    <a:pt x="12468" y="81"/>
                  </a:cubicBezTo>
                  <a:cubicBezTo>
                    <a:pt x="12410" y="81"/>
                    <a:pt x="12410" y="81"/>
                    <a:pt x="12410" y="81"/>
                  </a:cubicBezTo>
                  <a:cubicBezTo>
                    <a:pt x="12351" y="0"/>
                    <a:pt x="12351" y="0"/>
                    <a:pt x="12351" y="0"/>
                  </a:cubicBezTo>
                  <a:cubicBezTo>
                    <a:pt x="12176" y="81"/>
                    <a:pt x="12117" y="81"/>
                    <a:pt x="12117" y="81"/>
                  </a:cubicBezTo>
                  <a:cubicBezTo>
                    <a:pt x="11941" y="162"/>
                    <a:pt x="11649" y="406"/>
                    <a:pt x="11649" y="568"/>
                  </a:cubicBezTo>
                  <a:cubicBezTo>
                    <a:pt x="11590" y="731"/>
                    <a:pt x="11649" y="1137"/>
                    <a:pt x="11532" y="1218"/>
                  </a:cubicBezTo>
                  <a:cubicBezTo>
                    <a:pt x="11356" y="1218"/>
                    <a:pt x="11180" y="1624"/>
                    <a:pt x="11122" y="1624"/>
                  </a:cubicBezTo>
                  <a:cubicBezTo>
                    <a:pt x="10595" y="2030"/>
                    <a:pt x="10595" y="2030"/>
                    <a:pt x="10595" y="2030"/>
                  </a:cubicBezTo>
                  <a:cubicBezTo>
                    <a:pt x="10595" y="2030"/>
                    <a:pt x="10185" y="2274"/>
                    <a:pt x="9951" y="2274"/>
                  </a:cubicBezTo>
                  <a:cubicBezTo>
                    <a:pt x="9717" y="2355"/>
                    <a:pt x="9541" y="2598"/>
                    <a:pt x="9541" y="2598"/>
                  </a:cubicBezTo>
                  <a:cubicBezTo>
                    <a:pt x="9249" y="3167"/>
                    <a:pt x="9249" y="3167"/>
                    <a:pt x="9249" y="3167"/>
                  </a:cubicBezTo>
                  <a:cubicBezTo>
                    <a:pt x="8780" y="3248"/>
                    <a:pt x="8780" y="3248"/>
                    <a:pt x="8780" y="3248"/>
                  </a:cubicBezTo>
                  <a:cubicBezTo>
                    <a:pt x="8546" y="2923"/>
                    <a:pt x="8546" y="2923"/>
                    <a:pt x="8546" y="2923"/>
                  </a:cubicBezTo>
                  <a:cubicBezTo>
                    <a:pt x="8312" y="3005"/>
                    <a:pt x="8312" y="3005"/>
                    <a:pt x="8312" y="3005"/>
                  </a:cubicBezTo>
                  <a:cubicBezTo>
                    <a:pt x="8254" y="2923"/>
                    <a:pt x="8254" y="2923"/>
                    <a:pt x="8254" y="2923"/>
                  </a:cubicBezTo>
                  <a:cubicBezTo>
                    <a:pt x="8137" y="3005"/>
                    <a:pt x="8137" y="3005"/>
                    <a:pt x="8137" y="3005"/>
                  </a:cubicBezTo>
                  <a:cubicBezTo>
                    <a:pt x="7434" y="2923"/>
                    <a:pt x="7434" y="2923"/>
                    <a:pt x="7434" y="2923"/>
                  </a:cubicBezTo>
                  <a:cubicBezTo>
                    <a:pt x="7083" y="3167"/>
                    <a:pt x="7083" y="3167"/>
                    <a:pt x="7083" y="3167"/>
                  </a:cubicBezTo>
                  <a:cubicBezTo>
                    <a:pt x="6439" y="3086"/>
                    <a:pt x="6439" y="3086"/>
                    <a:pt x="6439" y="3086"/>
                  </a:cubicBezTo>
                  <a:cubicBezTo>
                    <a:pt x="6439" y="3086"/>
                    <a:pt x="5971" y="3167"/>
                    <a:pt x="5854" y="3167"/>
                  </a:cubicBezTo>
                  <a:cubicBezTo>
                    <a:pt x="5678" y="3167"/>
                    <a:pt x="5678" y="3167"/>
                    <a:pt x="5678" y="3167"/>
                  </a:cubicBezTo>
                  <a:cubicBezTo>
                    <a:pt x="5561" y="3086"/>
                    <a:pt x="5444" y="2923"/>
                    <a:pt x="5444" y="2923"/>
                  </a:cubicBezTo>
                  <a:cubicBezTo>
                    <a:pt x="5444" y="2923"/>
                    <a:pt x="5210" y="3005"/>
                    <a:pt x="5151" y="3086"/>
                  </a:cubicBezTo>
                  <a:cubicBezTo>
                    <a:pt x="5093" y="3167"/>
                    <a:pt x="4859" y="3573"/>
                    <a:pt x="4859" y="3573"/>
                  </a:cubicBezTo>
                  <a:cubicBezTo>
                    <a:pt x="4859" y="3654"/>
                    <a:pt x="4859" y="3654"/>
                    <a:pt x="4859" y="3654"/>
                  </a:cubicBezTo>
                  <a:cubicBezTo>
                    <a:pt x="4976" y="4060"/>
                    <a:pt x="4976" y="4060"/>
                    <a:pt x="4976" y="4060"/>
                  </a:cubicBezTo>
                  <a:cubicBezTo>
                    <a:pt x="4741" y="4304"/>
                    <a:pt x="4741" y="4304"/>
                    <a:pt x="4741" y="4304"/>
                  </a:cubicBezTo>
                  <a:cubicBezTo>
                    <a:pt x="4741" y="4304"/>
                    <a:pt x="4741" y="4304"/>
                    <a:pt x="4741" y="4304"/>
                  </a:cubicBezTo>
                  <a:cubicBezTo>
                    <a:pt x="4741" y="4304"/>
                    <a:pt x="4741" y="4304"/>
                    <a:pt x="4741" y="4304"/>
                  </a:cubicBezTo>
                  <a:cubicBezTo>
                    <a:pt x="4741" y="4304"/>
                    <a:pt x="4741" y="4304"/>
                    <a:pt x="4741" y="4304"/>
                  </a:cubicBezTo>
                  <a:cubicBezTo>
                    <a:pt x="4741" y="4304"/>
                    <a:pt x="4741" y="4304"/>
                    <a:pt x="4741" y="4304"/>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385"/>
                    <a:pt x="4741" y="4385"/>
                    <a:pt x="4741" y="4385"/>
                  </a:cubicBezTo>
                  <a:cubicBezTo>
                    <a:pt x="4741" y="4466"/>
                    <a:pt x="4683" y="4466"/>
                    <a:pt x="4624" y="4466"/>
                  </a:cubicBezTo>
                  <a:cubicBezTo>
                    <a:pt x="4624" y="4547"/>
                    <a:pt x="4566"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507" y="4547"/>
                    <a:pt x="4507" y="4547"/>
                    <a:pt x="4507" y="4547"/>
                  </a:cubicBezTo>
                  <a:cubicBezTo>
                    <a:pt x="4449" y="4629"/>
                    <a:pt x="4449" y="4629"/>
                    <a:pt x="4449" y="4629"/>
                  </a:cubicBezTo>
                  <a:cubicBezTo>
                    <a:pt x="4273" y="4872"/>
                    <a:pt x="4273" y="4872"/>
                    <a:pt x="4273" y="4872"/>
                  </a:cubicBezTo>
                  <a:cubicBezTo>
                    <a:pt x="4039" y="4953"/>
                    <a:pt x="4039" y="4953"/>
                    <a:pt x="4039" y="4953"/>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6" name="Shape 2259">
              <a:extLst>
                <a:ext uri="{FF2B5EF4-FFF2-40B4-BE49-F238E27FC236}">
                  <a16:creationId xmlns:a16="http://schemas.microsoft.com/office/drawing/2014/main" id="{DA65EDAD-4144-131B-3AA2-80DB4C19DF8A}"/>
                </a:ext>
              </a:extLst>
            </p:cNvPr>
            <p:cNvSpPr/>
            <p:nvPr/>
          </p:nvSpPr>
          <p:spPr>
            <a:xfrm>
              <a:off x="5489919" y="4189233"/>
              <a:ext cx="2523129" cy="1700813"/>
            </a:xfrm>
            <a:custGeom>
              <a:avLst/>
              <a:gdLst/>
              <a:ahLst/>
              <a:cxnLst>
                <a:cxn ang="0">
                  <a:pos x="wd2" y="hd2"/>
                </a:cxn>
                <a:cxn ang="5400000">
                  <a:pos x="wd2" y="hd2"/>
                </a:cxn>
                <a:cxn ang="10800000">
                  <a:pos x="wd2" y="hd2"/>
                </a:cxn>
                <a:cxn ang="16200000">
                  <a:pos x="wd2" y="hd2"/>
                </a:cxn>
              </a:cxnLst>
              <a:rect l="0" t="0" r="r" b="b"/>
              <a:pathLst>
                <a:path w="21514" h="21513" extrusionOk="0">
                  <a:moveTo>
                    <a:pt x="4960" y="15342"/>
                  </a:moveTo>
                  <a:cubicBezTo>
                    <a:pt x="4995" y="15342"/>
                    <a:pt x="5101" y="15089"/>
                    <a:pt x="5207" y="15089"/>
                  </a:cubicBezTo>
                  <a:cubicBezTo>
                    <a:pt x="5277" y="15038"/>
                    <a:pt x="5242" y="14785"/>
                    <a:pt x="5277" y="14684"/>
                  </a:cubicBezTo>
                  <a:cubicBezTo>
                    <a:pt x="5312" y="14583"/>
                    <a:pt x="5488" y="14380"/>
                    <a:pt x="5593" y="14330"/>
                  </a:cubicBezTo>
                  <a:cubicBezTo>
                    <a:pt x="5629" y="14330"/>
                    <a:pt x="5629" y="14330"/>
                    <a:pt x="5629" y="14330"/>
                  </a:cubicBezTo>
                  <a:cubicBezTo>
                    <a:pt x="5629" y="14229"/>
                    <a:pt x="5629" y="14229"/>
                    <a:pt x="5629" y="14229"/>
                  </a:cubicBezTo>
                  <a:cubicBezTo>
                    <a:pt x="5629" y="14229"/>
                    <a:pt x="5734" y="14178"/>
                    <a:pt x="5734" y="14128"/>
                  </a:cubicBezTo>
                  <a:cubicBezTo>
                    <a:pt x="5769" y="14128"/>
                    <a:pt x="5769" y="14178"/>
                    <a:pt x="5769" y="14178"/>
                  </a:cubicBezTo>
                  <a:cubicBezTo>
                    <a:pt x="5769" y="14178"/>
                    <a:pt x="5805" y="14229"/>
                    <a:pt x="5840" y="14229"/>
                  </a:cubicBezTo>
                  <a:cubicBezTo>
                    <a:pt x="5840" y="14229"/>
                    <a:pt x="5875" y="14178"/>
                    <a:pt x="5875" y="14178"/>
                  </a:cubicBezTo>
                  <a:cubicBezTo>
                    <a:pt x="5875" y="14128"/>
                    <a:pt x="5875" y="14077"/>
                    <a:pt x="5875" y="14077"/>
                  </a:cubicBezTo>
                  <a:cubicBezTo>
                    <a:pt x="5840" y="14026"/>
                    <a:pt x="5840" y="13976"/>
                    <a:pt x="5840" y="13976"/>
                  </a:cubicBezTo>
                  <a:cubicBezTo>
                    <a:pt x="5840" y="13976"/>
                    <a:pt x="5840" y="13976"/>
                    <a:pt x="5840" y="13976"/>
                  </a:cubicBezTo>
                  <a:cubicBezTo>
                    <a:pt x="5840" y="13976"/>
                    <a:pt x="5875" y="13976"/>
                    <a:pt x="5875" y="13976"/>
                  </a:cubicBezTo>
                  <a:cubicBezTo>
                    <a:pt x="5875" y="13976"/>
                    <a:pt x="5910" y="13925"/>
                    <a:pt x="5910" y="13925"/>
                  </a:cubicBezTo>
                  <a:cubicBezTo>
                    <a:pt x="5980" y="13976"/>
                    <a:pt x="5980" y="13976"/>
                    <a:pt x="5980" y="13976"/>
                  </a:cubicBezTo>
                  <a:cubicBezTo>
                    <a:pt x="5980" y="13976"/>
                    <a:pt x="6016" y="13976"/>
                    <a:pt x="6016" y="13976"/>
                  </a:cubicBezTo>
                  <a:cubicBezTo>
                    <a:pt x="6051" y="14026"/>
                    <a:pt x="6086" y="13925"/>
                    <a:pt x="6086" y="13925"/>
                  </a:cubicBezTo>
                  <a:cubicBezTo>
                    <a:pt x="6121" y="13875"/>
                    <a:pt x="6121" y="13875"/>
                    <a:pt x="6121" y="13875"/>
                  </a:cubicBezTo>
                  <a:cubicBezTo>
                    <a:pt x="6121" y="13875"/>
                    <a:pt x="6121" y="13875"/>
                    <a:pt x="6121" y="13824"/>
                  </a:cubicBezTo>
                  <a:cubicBezTo>
                    <a:pt x="6121" y="13824"/>
                    <a:pt x="6156" y="13824"/>
                    <a:pt x="6192" y="13824"/>
                  </a:cubicBezTo>
                  <a:cubicBezTo>
                    <a:pt x="6192" y="13824"/>
                    <a:pt x="6262" y="13824"/>
                    <a:pt x="6297" y="13824"/>
                  </a:cubicBezTo>
                  <a:cubicBezTo>
                    <a:pt x="6332" y="13824"/>
                    <a:pt x="6332" y="13824"/>
                    <a:pt x="6332" y="13824"/>
                  </a:cubicBezTo>
                  <a:cubicBezTo>
                    <a:pt x="6403" y="13773"/>
                    <a:pt x="6403" y="13773"/>
                    <a:pt x="6403" y="13773"/>
                  </a:cubicBezTo>
                  <a:cubicBezTo>
                    <a:pt x="6403" y="13773"/>
                    <a:pt x="6438" y="13723"/>
                    <a:pt x="6438" y="13723"/>
                  </a:cubicBezTo>
                  <a:cubicBezTo>
                    <a:pt x="6438" y="13672"/>
                    <a:pt x="6438" y="13622"/>
                    <a:pt x="6438" y="13622"/>
                  </a:cubicBezTo>
                  <a:cubicBezTo>
                    <a:pt x="6438" y="13571"/>
                    <a:pt x="6508" y="13571"/>
                    <a:pt x="6508" y="13571"/>
                  </a:cubicBezTo>
                  <a:cubicBezTo>
                    <a:pt x="6508" y="13571"/>
                    <a:pt x="6508" y="13571"/>
                    <a:pt x="6508" y="13571"/>
                  </a:cubicBezTo>
                  <a:cubicBezTo>
                    <a:pt x="6543" y="13571"/>
                    <a:pt x="6543" y="13622"/>
                    <a:pt x="6543" y="13622"/>
                  </a:cubicBezTo>
                  <a:cubicBezTo>
                    <a:pt x="6543" y="13622"/>
                    <a:pt x="6579" y="13571"/>
                    <a:pt x="6579" y="13571"/>
                  </a:cubicBezTo>
                  <a:cubicBezTo>
                    <a:pt x="6579" y="13520"/>
                    <a:pt x="6614" y="13520"/>
                    <a:pt x="6614" y="13520"/>
                  </a:cubicBezTo>
                  <a:cubicBezTo>
                    <a:pt x="6614" y="13520"/>
                    <a:pt x="6684" y="13470"/>
                    <a:pt x="6684" y="13419"/>
                  </a:cubicBezTo>
                  <a:cubicBezTo>
                    <a:pt x="6719" y="13369"/>
                    <a:pt x="6719" y="13419"/>
                    <a:pt x="6719" y="13318"/>
                  </a:cubicBezTo>
                  <a:cubicBezTo>
                    <a:pt x="6719" y="13268"/>
                    <a:pt x="6754" y="13318"/>
                    <a:pt x="6754" y="13369"/>
                  </a:cubicBezTo>
                  <a:cubicBezTo>
                    <a:pt x="6754" y="13369"/>
                    <a:pt x="6754" y="13369"/>
                    <a:pt x="6790" y="13419"/>
                  </a:cubicBezTo>
                  <a:cubicBezTo>
                    <a:pt x="6790" y="13419"/>
                    <a:pt x="6790" y="13419"/>
                    <a:pt x="6860" y="13419"/>
                  </a:cubicBezTo>
                  <a:cubicBezTo>
                    <a:pt x="6895" y="13470"/>
                    <a:pt x="6895" y="13369"/>
                    <a:pt x="6965" y="13369"/>
                  </a:cubicBezTo>
                  <a:cubicBezTo>
                    <a:pt x="7036" y="13369"/>
                    <a:pt x="7001" y="13369"/>
                    <a:pt x="7036" y="13419"/>
                  </a:cubicBezTo>
                  <a:cubicBezTo>
                    <a:pt x="7071" y="13419"/>
                    <a:pt x="7071" y="13419"/>
                    <a:pt x="7106" y="13419"/>
                  </a:cubicBezTo>
                  <a:cubicBezTo>
                    <a:pt x="7141" y="13470"/>
                    <a:pt x="7141" y="13470"/>
                    <a:pt x="7141" y="13470"/>
                  </a:cubicBezTo>
                  <a:cubicBezTo>
                    <a:pt x="7141" y="13470"/>
                    <a:pt x="7177" y="13470"/>
                    <a:pt x="7212" y="13520"/>
                  </a:cubicBezTo>
                  <a:cubicBezTo>
                    <a:pt x="721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282" y="13571"/>
                    <a:pt x="7282" y="13571"/>
                    <a:pt x="7282"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17" y="13571"/>
                    <a:pt x="7317" y="13571"/>
                    <a:pt x="7317"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52" y="13571"/>
                    <a:pt x="7352" y="13571"/>
                    <a:pt x="7352"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388" y="13571"/>
                    <a:pt x="7388" y="13571"/>
                    <a:pt x="7388"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23" y="13571"/>
                    <a:pt x="7423" y="13571"/>
                    <a:pt x="7423" y="13571"/>
                  </a:cubicBezTo>
                  <a:cubicBezTo>
                    <a:pt x="7458" y="13622"/>
                    <a:pt x="7458" y="13622"/>
                    <a:pt x="7458" y="13622"/>
                  </a:cubicBezTo>
                  <a:cubicBezTo>
                    <a:pt x="7458" y="13622"/>
                    <a:pt x="7458" y="13723"/>
                    <a:pt x="7493" y="13723"/>
                  </a:cubicBezTo>
                  <a:cubicBezTo>
                    <a:pt x="7493" y="13773"/>
                    <a:pt x="7493" y="13773"/>
                    <a:pt x="7528" y="13773"/>
                  </a:cubicBezTo>
                  <a:cubicBezTo>
                    <a:pt x="7528" y="13773"/>
                    <a:pt x="7564" y="13672"/>
                    <a:pt x="7564" y="13622"/>
                  </a:cubicBezTo>
                  <a:cubicBezTo>
                    <a:pt x="7564" y="13622"/>
                    <a:pt x="7599" y="13672"/>
                    <a:pt x="7599" y="13672"/>
                  </a:cubicBezTo>
                  <a:cubicBezTo>
                    <a:pt x="7599" y="13672"/>
                    <a:pt x="7599" y="13773"/>
                    <a:pt x="7634" y="13773"/>
                  </a:cubicBezTo>
                  <a:cubicBezTo>
                    <a:pt x="7634" y="13723"/>
                    <a:pt x="7669" y="13723"/>
                    <a:pt x="7669" y="13723"/>
                  </a:cubicBezTo>
                  <a:cubicBezTo>
                    <a:pt x="7704" y="13723"/>
                    <a:pt x="7669" y="13672"/>
                    <a:pt x="7669" y="13672"/>
                  </a:cubicBezTo>
                  <a:cubicBezTo>
                    <a:pt x="7669" y="13672"/>
                    <a:pt x="7704" y="13622"/>
                    <a:pt x="7704" y="13622"/>
                  </a:cubicBezTo>
                  <a:cubicBezTo>
                    <a:pt x="7739" y="13622"/>
                    <a:pt x="7810" y="13622"/>
                    <a:pt x="7810" y="13622"/>
                  </a:cubicBezTo>
                  <a:cubicBezTo>
                    <a:pt x="7845" y="13622"/>
                    <a:pt x="7845" y="13723"/>
                    <a:pt x="7845" y="13723"/>
                  </a:cubicBezTo>
                  <a:cubicBezTo>
                    <a:pt x="7845" y="13723"/>
                    <a:pt x="7810" y="13824"/>
                    <a:pt x="7810" y="13824"/>
                  </a:cubicBezTo>
                  <a:cubicBezTo>
                    <a:pt x="7810" y="13824"/>
                    <a:pt x="7775" y="13875"/>
                    <a:pt x="7775" y="13925"/>
                  </a:cubicBezTo>
                  <a:cubicBezTo>
                    <a:pt x="7775" y="13925"/>
                    <a:pt x="7775" y="13925"/>
                    <a:pt x="7810" y="13875"/>
                  </a:cubicBezTo>
                  <a:cubicBezTo>
                    <a:pt x="7880" y="13875"/>
                    <a:pt x="7845" y="13824"/>
                    <a:pt x="7845" y="13824"/>
                  </a:cubicBezTo>
                  <a:cubicBezTo>
                    <a:pt x="7880" y="13723"/>
                    <a:pt x="7880" y="13723"/>
                    <a:pt x="7880" y="13723"/>
                  </a:cubicBezTo>
                  <a:cubicBezTo>
                    <a:pt x="7880" y="13723"/>
                    <a:pt x="7950" y="13773"/>
                    <a:pt x="7950" y="13824"/>
                  </a:cubicBezTo>
                  <a:cubicBezTo>
                    <a:pt x="7950" y="13824"/>
                    <a:pt x="7950" y="13875"/>
                    <a:pt x="7950" y="13875"/>
                  </a:cubicBezTo>
                  <a:cubicBezTo>
                    <a:pt x="7950" y="13925"/>
                    <a:pt x="7986" y="13925"/>
                    <a:pt x="7986" y="13976"/>
                  </a:cubicBezTo>
                  <a:cubicBezTo>
                    <a:pt x="8021" y="14026"/>
                    <a:pt x="7986" y="13976"/>
                    <a:pt x="7986" y="13976"/>
                  </a:cubicBezTo>
                  <a:cubicBezTo>
                    <a:pt x="7986" y="13925"/>
                    <a:pt x="8021" y="13824"/>
                    <a:pt x="8021" y="13824"/>
                  </a:cubicBezTo>
                  <a:cubicBezTo>
                    <a:pt x="8056" y="13723"/>
                    <a:pt x="8056" y="13723"/>
                    <a:pt x="8056" y="13723"/>
                  </a:cubicBezTo>
                  <a:cubicBezTo>
                    <a:pt x="8056" y="13723"/>
                    <a:pt x="8197" y="13723"/>
                    <a:pt x="8337" y="13723"/>
                  </a:cubicBezTo>
                  <a:cubicBezTo>
                    <a:pt x="8478" y="13723"/>
                    <a:pt x="8373" y="13672"/>
                    <a:pt x="8373" y="13672"/>
                  </a:cubicBezTo>
                  <a:cubicBezTo>
                    <a:pt x="8443" y="13672"/>
                    <a:pt x="8443" y="13672"/>
                    <a:pt x="8443" y="13672"/>
                  </a:cubicBezTo>
                  <a:cubicBezTo>
                    <a:pt x="8478" y="13875"/>
                    <a:pt x="8478" y="13875"/>
                    <a:pt x="8478" y="13875"/>
                  </a:cubicBezTo>
                  <a:cubicBezTo>
                    <a:pt x="8478" y="13875"/>
                    <a:pt x="8549" y="13976"/>
                    <a:pt x="8584" y="13976"/>
                  </a:cubicBezTo>
                  <a:cubicBezTo>
                    <a:pt x="8619" y="14026"/>
                    <a:pt x="8619" y="14026"/>
                    <a:pt x="8689" y="14077"/>
                  </a:cubicBezTo>
                  <a:cubicBezTo>
                    <a:pt x="8795" y="14077"/>
                    <a:pt x="8760" y="14077"/>
                    <a:pt x="8760" y="14077"/>
                  </a:cubicBezTo>
                  <a:cubicBezTo>
                    <a:pt x="8795" y="14077"/>
                    <a:pt x="8795" y="13976"/>
                    <a:pt x="8830" y="13925"/>
                  </a:cubicBezTo>
                  <a:cubicBezTo>
                    <a:pt x="8830" y="13875"/>
                    <a:pt x="8865" y="13875"/>
                    <a:pt x="8865" y="13875"/>
                  </a:cubicBezTo>
                  <a:cubicBezTo>
                    <a:pt x="8865" y="13875"/>
                    <a:pt x="8936" y="13976"/>
                    <a:pt x="8936" y="13976"/>
                  </a:cubicBezTo>
                  <a:cubicBezTo>
                    <a:pt x="8971" y="14026"/>
                    <a:pt x="8971" y="14077"/>
                    <a:pt x="8971" y="14077"/>
                  </a:cubicBezTo>
                  <a:cubicBezTo>
                    <a:pt x="9076" y="14128"/>
                    <a:pt x="9076" y="14128"/>
                    <a:pt x="9076" y="14128"/>
                  </a:cubicBezTo>
                  <a:cubicBezTo>
                    <a:pt x="9076" y="14178"/>
                    <a:pt x="9076" y="14178"/>
                    <a:pt x="9076" y="14178"/>
                  </a:cubicBezTo>
                  <a:cubicBezTo>
                    <a:pt x="9076" y="14330"/>
                    <a:pt x="9076" y="14330"/>
                    <a:pt x="9076" y="14330"/>
                  </a:cubicBezTo>
                  <a:cubicBezTo>
                    <a:pt x="9147" y="14380"/>
                    <a:pt x="9147" y="14380"/>
                    <a:pt x="9147" y="14380"/>
                  </a:cubicBezTo>
                  <a:cubicBezTo>
                    <a:pt x="9111" y="14482"/>
                    <a:pt x="9111" y="14482"/>
                    <a:pt x="9111" y="14482"/>
                  </a:cubicBezTo>
                  <a:cubicBezTo>
                    <a:pt x="9111" y="14482"/>
                    <a:pt x="9147" y="14583"/>
                    <a:pt x="9147" y="14633"/>
                  </a:cubicBezTo>
                  <a:cubicBezTo>
                    <a:pt x="9147" y="14633"/>
                    <a:pt x="9182" y="14735"/>
                    <a:pt x="9182" y="14735"/>
                  </a:cubicBezTo>
                  <a:cubicBezTo>
                    <a:pt x="9182" y="14886"/>
                    <a:pt x="9182" y="14886"/>
                    <a:pt x="9182" y="14886"/>
                  </a:cubicBezTo>
                  <a:cubicBezTo>
                    <a:pt x="9147" y="14987"/>
                    <a:pt x="9147" y="14987"/>
                    <a:pt x="9147" y="14987"/>
                  </a:cubicBezTo>
                  <a:cubicBezTo>
                    <a:pt x="9182" y="15038"/>
                    <a:pt x="9182" y="15038"/>
                    <a:pt x="9182" y="15038"/>
                  </a:cubicBezTo>
                  <a:cubicBezTo>
                    <a:pt x="9182" y="15038"/>
                    <a:pt x="9182" y="15190"/>
                    <a:pt x="9217" y="15240"/>
                  </a:cubicBezTo>
                  <a:cubicBezTo>
                    <a:pt x="9252" y="15342"/>
                    <a:pt x="9287" y="15190"/>
                    <a:pt x="9287" y="15190"/>
                  </a:cubicBezTo>
                  <a:cubicBezTo>
                    <a:pt x="9358" y="15190"/>
                    <a:pt x="9358" y="15190"/>
                    <a:pt x="9358" y="15190"/>
                  </a:cubicBezTo>
                  <a:cubicBezTo>
                    <a:pt x="9428" y="15342"/>
                    <a:pt x="9428" y="15342"/>
                    <a:pt x="9428" y="15342"/>
                  </a:cubicBezTo>
                  <a:cubicBezTo>
                    <a:pt x="9463" y="15342"/>
                    <a:pt x="9463" y="15342"/>
                    <a:pt x="9463" y="15342"/>
                  </a:cubicBezTo>
                  <a:cubicBezTo>
                    <a:pt x="9534" y="15392"/>
                    <a:pt x="9534" y="15392"/>
                    <a:pt x="9534" y="15392"/>
                  </a:cubicBezTo>
                  <a:cubicBezTo>
                    <a:pt x="9569" y="15544"/>
                    <a:pt x="9569" y="15544"/>
                    <a:pt x="9569" y="15544"/>
                  </a:cubicBezTo>
                  <a:cubicBezTo>
                    <a:pt x="9639" y="15493"/>
                    <a:pt x="9639" y="15493"/>
                    <a:pt x="9639" y="15493"/>
                  </a:cubicBezTo>
                  <a:cubicBezTo>
                    <a:pt x="9674" y="15342"/>
                    <a:pt x="9674" y="15342"/>
                    <a:pt x="9674" y="15342"/>
                  </a:cubicBezTo>
                  <a:cubicBezTo>
                    <a:pt x="9745" y="15392"/>
                    <a:pt x="9745" y="15392"/>
                    <a:pt x="9745" y="15392"/>
                  </a:cubicBezTo>
                  <a:cubicBezTo>
                    <a:pt x="9815" y="15392"/>
                    <a:pt x="9815" y="15392"/>
                    <a:pt x="9815" y="15392"/>
                  </a:cubicBezTo>
                  <a:cubicBezTo>
                    <a:pt x="9815" y="15594"/>
                    <a:pt x="9815" y="15594"/>
                    <a:pt x="9815" y="15594"/>
                  </a:cubicBezTo>
                  <a:cubicBezTo>
                    <a:pt x="9815" y="15594"/>
                    <a:pt x="9850" y="15645"/>
                    <a:pt x="9850" y="15696"/>
                  </a:cubicBezTo>
                  <a:cubicBezTo>
                    <a:pt x="9850" y="15696"/>
                    <a:pt x="9850" y="15797"/>
                    <a:pt x="9850" y="15797"/>
                  </a:cubicBezTo>
                  <a:cubicBezTo>
                    <a:pt x="9885" y="15898"/>
                    <a:pt x="9885" y="15898"/>
                    <a:pt x="9885" y="15898"/>
                  </a:cubicBezTo>
                  <a:cubicBezTo>
                    <a:pt x="9780" y="15949"/>
                    <a:pt x="9780" y="15949"/>
                    <a:pt x="9780" y="15949"/>
                  </a:cubicBezTo>
                  <a:cubicBezTo>
                    <a:pt x="9850" y="15999"/>
                    <a:pt x="9850" y="15999"/>
                    <a:pt x="9850" y="15999"/>
                  </a:cubicBezTo>
                  <a:cubicBezTo>
                    <a:pt x="9850" y="15999"/>
                    <a:pt x="9921" y="15999"/>
                    <a:pt x="9956" y="15999"/>
                  </a:cubicBezTo>
                  <a:cubicBezTo>
                    <a:pt x="9991" y="15999"/>
                    <a:pt x="9991" y="16151"/>
                    <a:pt x="9991" y="16151"/>
                  </a:cubicBezTo>
                  <a:cubicBezTo>
                    <a:pt x="9991" y="16151"/>
                    <a:pt x="9991" y="16202"/>
                    <a:pt x="9956" y="16252"/>
                  </a:cubicBezTo>
                  <a:cubicBezTo>
                    <a:pt x="9956" y="16252"/>
                    <a:pt x="9956" y="16303"/>
                    <a:pt x="9956" y="16353"/>
                  </a:cubicBezTo>
                  <a:cubicBezTo>
                    <a:pt x="9991" y="16353"/>
                    <a:pt x="10061" y="16404"/>
                    <a:pt x="10096" y="16404"/>
                  </a:cubicBezTo>
                  <a:cubicBezTo>
                    <a:pt x="10167" y="16404"/>
                    <a:pt x="10167" y="16404"/>
                    <a:pt x="10167" y="16404"/>
                  </a:cubicBezTo>
                  <a:cubicBezTo>
                    <a:pt x="10237" y="16404"/>
                    <a:pt x="10237" y="16404"/>
                    <a:pt x="10237" y="16404"/>
                  </a:cubicBezTo>
                  <a:cubicBezTo>
                    <a:pt x="10237" y="16404"/>
                    <a:pt x="10272" y="16454"/>
                    <a:pt x="10307" y="16454"/>
                  </a:cubicBezTo>
                  <a:cubicBezTo>
                    <a:pt x="10307" y="16404"/>
                    <a:pt x="10378" y="16404"/>
                    <a:pt x="10378" y="16404"/>
                  </a:cubicBezTo>
                  <a:cubicBezTo>
                    <a:pt x="10448" y="16505"/>
                    <a:pt x="10448" y="16505"/>
                    <a:pt x="10448" y="16505"/>
                  </a:cubicBezTo>
                  <a:cubicBezTo>
                    <a:pt x="10519" y="16454"/>
                    <a:pt x="10519" y="16454"/>
                    <a:pt x="10519" y="16454"/>
                  </a:cubicBezTo>
                  <a:cubicBezTo>
                    <a:pt x="10519" y="16556"/>
                    <a:pt x="10519" y="16556"/>
                    <a:pt x="10519" y="16556"/>
                  </a:cubicBezTo>
                  <a:cubicBezTo>
                    <a:pt x="10519" y="16556"/>
                    <a:pt x="10589" y="16758"/>
                    <a:pt x="10589" y="16758"/>
                  </a:cubicBezTo>
                  <a:cubicBezTo>
                    <a:pt x="10624" y="16809"/>
                    <a:pt x="10624" y="16910"/>
                    <a:pt x="10624" y="16960"/>
                  </a:cubicBezTo>
                  <a:cubicBezTo>
                    <a:pt x="10624" y="17011"/>
                    <a:pt x="10659" y="17112"/>
                    <a:pt x="10659" y="17112"/>
                  </a:cubicBezTo>
                  <a:cubicBezTo>
                    <a:pt x="10659" y="17112"/>
                    <a:pt x="10624" y="17112"/>
                    <a:pt x="10589" y="17163"/>
                  </a:cubicBezTo>
                  <a:cubicBezTo>
                    <a:pt x="10554" y="17213"/>
                    <a:pt x="10624" y="17264"/>
                    <a:pt x="10624" y="17264"/>
                  </a:cubicBezTo>
                  <a:cubicBezTo>
                    <a:pt x="10694" y="17264"/>
                    <a:pt x="10694" y="17264"/>
                    <a:pt x="10694" y="17264"/>
                  </a:cubicBezTo>
                  <a:cubicBezTo>
                    <a:pt x="10694" y="17264"/>
                    <a:pt x="10765" y="17365"/>
                    <a:pt x="10765" y="17416"/>
                  </a:cubicBezTo>
                  <a:cubicBezTo>
                    <a:pt x="10800" y="17466"/>
                    <a:pt x="10870" y="17416"/>
                    <a:pt x="10906" y="17416"/>
                  </a:cubicBezTo>
                  <a:cubicBezTo>
                    <a:pt x="10941" y="17365"/>
                    <a:pt x="11011" y="17416"/>
                    <a:pt x="11011" y="17466"/>
                  </a:cubicBezTo>
                  <a:cubicBezTo>
                    <a:pt x="11011" y="17466"/>
                    <a:pt x="10906" y="17517"/>
                    <a:pt x="10870" y="17517"/>
                  </a:cubicBezTo>
                  <a:cubicBezTo>
                    <a:pt x="10835" y="17567"/>
                    <a:pt x="10730" y="17567"/>
                    <a:pt x="10730" y="17567"/>
                  </a:cubicBezTo>
                  <a:cubicBezTo>
                    <a:pt x="10694" y="17719"/>
                    <a:pt x="10694" y="17719"/>
                    <a:pt x="10694" y="17719"/>
                  </a:cubicBezTo>
                  <a:cubicBezTo>
                    <a:pt x="10624" y="17770"/>
                    <a:pt x="10624" y="17770"/>
                    <a:pt x="10624" y="17770"/>
                  </a:cubicBezTo>
                  <a:cubicBezTo>
                    <a:pt x="10589" y="17618"/>
                    <a:pt x="10589" y="17618"/>
                    <a:pt x="10589" y="17618"/>
                  </a:cubicBezTo>
                  <a:cubicBezTo>
                    <a:pt x="10448" y="17466"/>
                    <a:pt x="10448" y="17466"/>
                    <a:pt x="10448" y="17466"/>
                  </a:cubicBezTo>
                  <a:cubicBezTo>
                    <a:pt x="10448" y="17618"/>
                    <a:pt x="10448" y="17618"/>
                    <a:pt x="10448" y="17618"/>
                  </a:cubicBezTo>
                  <a:cubicBezTo>
                    <a:pt x="10378" y="17669"/>
                    <a:pt x="10378" y="17669"/>
                    <a:pt x="10378" y="17669"/>
                  </a:cubicBezTo>
                  <a:cubicBezTo>
                    <a:pt x="10378" y="17669"/>
                    <a:pt x="10378" y="17719"/>
                    <a:pt x="10378" y="17770"/>
                  </a:cubicBezTo>
                  <a:cubicBezTo>
                    <a:pt x="10378" y="17820"/>
                    <a:pt x="10343" y="17820"/>
                    <a:pt x="10343" y="17820"/>
                  </a:cubicBezTo>
                  <a:cubicBezTo>
                    <a:pt x="10272" y="17770"/>
                    <a:pt x="10272" y="17770"/>
                    <a:pt x="10272" y="17770"/>
                  </a:cubicBezTo>
                  <a:cubicBezTo>
                    <a:pt x="10272" y="17770"/>
                    <a:pt x="10202" y="17770"/>
                    <a:pt x="10167" y="17770"/>
                  </a:cubicBezTo>
                  <a:cubicBezTo>
                    <a:pt x="10132" y="17770"/>
                    <a:pt x="10132" y="17669"/>
                    <a:pt x="10132" y="17669"/>
                  </a:cubicBezTo>
                  <a:cubicBezTo>
                    <a:pt x="10096" y="17719"/>
                    <a:pt x="10096" y="17719"/>
                    <a:pt x="10096" y="17719"/>
                  </a:cubicBezTo>
                  <a:cubicBezTo>
                    <a:pt x="10096" y="17719"/>
                    <a:pt x="10096" y="17770"/>
                    <a:pt x="10061" y="17820"/>
                  </a:cubicBezTo>
                  <a:cubicBezTo>
                    <a:pt x="10061" y="17871"/>
                    <a:pt x="10061" y="17820"/>
                    <a:pt x="9991" y="17820"/>
                  </a:cubicBezTo>
                  <a:cubicBezTo>
                    <a:pt x="9956" y="17871"/>
                    <a:pt x="9956" y="17770"/>
                    <a:pt x="9921" y="17719"/>
                  </a:cubicBezTo>
                  <a:cubicBezTo>
                    <a:pt x="9921" y="17618"/>
                    <a:pt x="9921" y="17719"/>
                    <a:pt x="9885" y="17719"/>
                  </a:cubicBezTo>
                  <a:cubicBezTo>
                    <a:pt x="9850" y="17719"/>
                    <a:pt x="9921" y="17871"/>
                    <a:pt x="9921" y="17871"/>
                  </a:cubicBezTo>
                  <a:cubicBezTo>
                    <a:pt x="9885" y="17921"/>
                    <a:pt x="9885" y="17921"/>
                    <a:pt x="9885" y="17921"/>
                  </a:cubicBezTo>
                  <a:cubicBezTo>
                    <a:pt x="9885" y="17921"/>
                    <a:pt x="9885" y="18023"/>
                    <a:pt x="9815" y="18073"/>
                  </a:cubicBezTo>
                  <a:cubicBezTo>
                    <a:pt x="9780" y="18073"/>
                    <a:pt x="9815" y="17972"/>
                    <a:pt x="9815" y="17972"/>
                  </a:cubicBezTo>
                  <a:cubicBezTo>
                    <a:pt x="9815" y="17770"/>
                    <a:pt x="9815" y="17770"/>
                    <a:pt x="9815" y="17770"/>
                  </a:cubicBezTo>
                  <a:cubicBezTo>
                    <a:pt x="9745" y="17517"/>
                    <a:pt x="9745" y="17517"/>
                    <a:pt x="9745" y="17517"/>
                  </a:cubicBezTo>
                  <a:cubicBezTo>
                    <a:pt x="9745" y="17517"/>
                    <a:pt x="9604" y="17719"/>
                    <a:pt x="9569" y="17719"/>
                  </a:cubicBezTo>
                  <a:cubicBezTo>
                    <a:pt x="9569" y="17770"/>
                    <a:pt x="9498" y="17972"/>
                    <a:pt x="9463" y="17972"/>
                  </a:cubicBezTo>
                  <a:cubicBezTo>
                    <a:pt x="9463" y="18023"/>
                    <a:pt x="9463" y="18124"/>
                    <a:pt x="9463" y="18124"/>
                  </a:cubicBezTo>
                  <a:cubicBezTo>
                    <a:pt x="9534" y="18276"/>
                    <a:pt x="9534" y="18276"/>
                    <a:pt x="9534" y="18276"/>
                  </a:cubicBezTo>
                  <a:cubicBezTo>
                    <a:pt x="9534" y="18427"/>
                    <a:pt x="9534" y="18427"/>
                    <a:pt x="9534" y="18427"/>
                  </a:cubicBezTo>
                  <a:cubicBezTo>
                    <a:pt x="9604" y="18528"/>
                    <a:pt x="9604" y="18528"/>
                    <a:pt x="9604" y="18528"/>
                  </a:cubicBezTo>
                  <a:cubicBezTo>
                    <a:pt x="9604" y="18528"/>
                    <a:pt x="9674" y="18528"/>
                    <a:pt x="9709" y="18579"/>
                  </a:cubicBezTo>
                  <a:cubicBezTo>
                    <a:pt x="9745" y="18579"/>
                    <a:pt x="9709" y="18680"/>
                    <a:pt x="9709" y="18680"/>
                  </a:cubicBezTo>
                  <a:cubicBezTo>
                    <a:pt x="9674" y="18883"/>
                    <a:pt x="9674" y="18883"/>
                    <a:pt x="9674" y="18883"/>
                  </a:cubicBezTo>
                  <a:cubicBezTo>
                    <a:pt x="9674" y="18883"/>
                    <a:pt x="9709" y="18933"/>
                    <a:pt x="9745" y="18984"/>
                  </a:cubicBezTo>
                  <a:cubicBezTo>
                    <a:pt x="9745" y="19034"/>
                    <a:pt x="9674" y="19135"/>
                    <a:pt x="9674" y="19135"/>
                  </a:cubicBezTo>
                  <a:cubicBezTo>
                    <a:pt x="9639" y="19135"/>
                    <a:pt x="9534" y="19287"/>
                    <a:pt x="9534" y="19287"/>
                  </a:cubicBezTo>
                  <a:cubicBezTo>
                    <a:pt x="9534" y="19287"/>
                    <a:pt x="9498" y="19338"/>
                    <a:pt x="9463" y="19338"/>
                  </a:cubicBezTo>
                  <a:cubicBezTo>
                    <a:pt x="9428" y="19338"/>
                    <a:pt x="9498" y="19490"/>
                    <a:pt x="9498" y="19490"/>
                  </a:cubicBezTo>
                  <a:cubicBezTo>
                    <a:pt x="9534" y="19641"/>
                    <a:pt x="9534" y="19641"/>
                    <a:pt x="9534" y="19641"/>
                  </a:cubicBezTo>
                  <a:cubicBezTo>
                    <a:pt x="9534" y="19641"/>
                    <a:pt x="9498" y="19692"/>
                    <a:pt x="9498" y="19692"/>
                  </a:cubicBezTo>
                  <a:cubicBezTo>
                    <a:pt x="9463" y="19743"/>
                    <a:pt x="9463" y="19844"/>
                    <a:pt x="9463" y="19844"/>
                  </a:cubicBezTo>
                  <a:cubicBezTo>
                    <a:pt x="9393" y="19844"/>
                    <a:pt x="9393" y="19844"/>
                    <a:pt x="9393" y="19844"/>
                  </a:cubicBezTo>
                  <a:cubicBezTo>
                    <a:pt x="9358" y="19945"/>
                    <a:pt x="9358" y="19945"/>
                    <a:pt x="9358" y="19945"/>
                  </a:cubicBezTo>
                  <a:cubicBezTo>
                    <a:pt x="9358" y="19945"/>
                    <a:pt x="9358" y="20097"/>
                    <a:pt x="9322" y="20097"/>
                  </a:cubicBezTo>
                  <a:cubicBezTo>
                    <a:pt x="9287" y="20097"/>
                    <a:pt x="9322" y="20198"/>
                    <a:pt x="9322" y="20198"/>
                  </a:cubicBezTo>
                  <a:cubicBezTo>
                    <a:pt x="9287" y="20299"/>
                    <a:pt x="9287" y="20299"/>
                    <a:pt x="9287" y="20299"/>
                  </a:cubicBezTo>
                  <a:cubicBezTo>
                    <a:pt x="9428" y="20400"/>
                    <a:pt x="9428" y="20400"/>
                    <a:pt x="9428" y="20400"/>
                  </a:cubicBezTo>
                  <a:cubicBezTo>
                    <a:pt x="9393" y="20501"/>
                    <a:pt x="9393" y="20501"/>
                    <a:pt x="9393" y="20501"/>
                  </a:cubicBezTo>
                  <a:cubicBezTo>
                    <a:pt x="9393" y="20602"/>
                    <a:pt x="9393" y="20602"/>
                    <a:pt x="9393" y="20602"/>
                  </a:cubicBezTo>
                  <a:cubicBezTo>
                    <a:pt x="9428" y="20602"/>
                    <a:pt x="9428" y="20602"/>
                    <a:pt x="9428" y="20602"/>
                  </a:cubicBezTo>
                  <a:cubicBezTo>
                    <a:pt x="9428" y="20602"/>
                    <a:pt x="9358" y="20653"/>
                    <a:pt x="9322" y="20653"/>
                  </a:cubicBezTo>
                  <a:cubicBezTo>
                    <a:pt x="9287" y="20704"/>
                    <a:pt x="9252" y="20653"/>
                    <a:pt x="9217" y="20704"/>
                  </a:cubicBezTo>
                  <a:cubicBezTo>
                    <a:pt x="9182" y="20704"/>
                    <a:pt x="9076" y="20754"/>
                    <a:pt x="9076" y="20754"/>
                  </a:cubicBezTo>
                  <a:cubicBezTo>
                    <a:pt x="9041" y="20957"/>
                    <a:pt x="9041" y="20957"/>
                    <a:pt x="9041" y="20957"/>
                  </a:cubicBezTo>
                  <a:cubicBezTo>
                    <a:pt x="8971" y="20957"/>
                    <a:pt x="8971" y="20957"/>
                    <a:pt x="8971" y="20957"/>
                  </a:cubicBezTo>
                  <a:cubicBezTo>
                    <a:pt x="8971" y="20855"/>
                    <a:pt x="8971" y="20855"/>
                    <a:pt x="8971" y="20855"/>
                  </a:cubicBezTo>
                  <a:cubicBezTo>
                    <a:pt x="8936" y="20805"/>
                    <a:pt x="8936" y="20805"/>
                    <a:pt x="8936" y="20805"/>
                  </a:cubicBezTo>
                  <a:cubicBezTo>
                    <a:pt x="8936" y="20906"/>
                    <a:pt x="8936" y="20957"/>
                    <a:pt x="8936" y="20957"/>
                  </a:cubicBezTo>
                  <a:cubicBezTo>
                    <a:pt x="9287" y="21311"/>
                    <a:pt x="9287" y="21311"/>
                    <a:pt x="9287" y="21311"/>
                  </a:cubicBezTo>
                  <a:cubicBezTo>
                    <a:pt x="9885" y="21513"/>
                    <a:pt x="9885" y="21513"/>
                    <a:pt x="9885" y="21513"/>
                  </a:cubicBezTo>
                  <a:cubicBezTo>
                    <a:pt x="10026" y="21159"/>
                    <a:pt x="10026" y="21159"/>
                    <a:pt x="10026" y="21159"/>
                  </a:cubicBezTo>
                  <a:cubicBezTo>
                    <a:pt x="10026" y="21159"/>
                    <a:pt x="10343" y="20350"/>
                    <a:pt x="10589" y="20400"/>
                  </a:cubicBezTo>
                  <a:cubicBezTo>
                    <a:pt x="10765" y="20451"/>
                    <a:pt x="11011" y="20552"/>
                    <a:pt x="11046" y="20552"/>
                  </a:cubicBezTo>
                  <a:cubicBezTo>
                    <a:pt x="11011" y="20248"/>
                    <a:pt x="10624" y="19743"/>
                    <a:pt x="10694" y="19641"/>
                  </a:cubicBezTo>
                  <a:cubicBezTo>
                    <a:pt x="10765" y="19490"/>
                    <a:pt x="10941" y="19135"/>
                    <a:pt x="11046" y="18933"/>
                  </a:cubicBezTo>
                  <a:cubicBezTo>
                    <a:pt x="11117" y="18731"/>
                    <a:pt x="11468" y="18579"/>
                    <a:pt x="11468" y="18579"/>
                  </a:cubicBezTo>
                  <a:cubicBezTo>
                    <a:pt x="11750" y="17820"/>
                    <a:pt x="11750" y="17820"/>
                    <a:pt x="11750" y="17820"/>
                  </a:cubicBezTo>
                  <a:cubicBezTo>
                    <a:pt x="11679" y="16657"/>
                    <a:pt x="11609" y="16353"/>
                    <a:pt x="12453" y="16202"/>
                  </a:cubicBezTo>
                  <a:cubicBezTo>
                    <a:pt x="12594" y="16151"/>
                    <a:pt x="12770" y="15999"/>
                    <a:pt x="12770" y="15999"/>
                  </a:cubicBezTo>
                  <a:cubicBezTo>
                    <a:pt x="13051" y="15847"/>
                    <a:pt x="13051" y="15847"/>
                    <a:pt x="13051" y="15847"/>
                  </a:cubicBezTo>
                  <a:cubicBezTo>
                    <a:pt x="13579" y="15746"/>
                    <a:pt x="13579" y="15746"/>
                    <a:pt x="13579" y="15746"/>
                  </a:cubicBezTo>
                  <a:cubicBezTo>
                    <a:pt x="13157" y="16100"/>
                    <a:pt x="13157" y="16100"/>
                    <a:pt x="13157" y="16100"/>
                  </a:cubicBezTo>
                  <a:cubicBezTo>
                    <a:pt x="12840" y="16606"/>
                    <a:pt x="12840" y="16606"/>
                    <a:pt x="12840" y="16606"/>
                  </a:cubicBezTo>
                  <a:cubicBezTo>
                    <a:pt x="13263" y="16758"/>
                    <a:pt x="13263" y="16758"/>
                    <a:pt x="13263" y="16758"/>
                  </a:cubicBezTo>
                  <a:cubicBezTo>
                    <a:pt x="13263" y="16758"/>
                    <a:pt x="13263" y="17213"/>
                    <a:pt x="13474" y="17112"/>
                  </a:cubicBezTo>
                  <a:cubicBezTo>
                    <a:pt x="13650" y="17011"/>
                    <a:pt x="14072" y="16758"/>
                    <a:pt x="14142" y="16758"/>
                  </a:cubicBezTo>
                  <a:cubicBezTo>
                    <a:pt x="14212" y="16707"/>
                    <a:pt x="14599" y="16556"/>
                    <a:pt x="14705" y="16556"/>
                  </a:cubicBezTo>
                  <a:cubicBezTo>
                    <a:pt x="14810" y="16556"/>
                    <a:pt x="15373" y="16454"/>
                    <a:pt x="15373" y="16454"/>
                  </a:cubicBezTo>
                  <a:cubicBezTo>
                    <a:pt x="15444" y="16910"/>
                    <a:pt x="15444" y="16910"/>
                    <a:pt x="15444" y="16910"/>
                  </a:cubicBezTo>
                  <a:cubicBezTo>
                    <a:pt x="15197" y="17365"/>
                    <a:pt x="15197" y="17365"/>
                    <a:pt x="15197" y="17365"/>
                  </a:cubicBezTo>
                  <a:cubicBezTo>
                    <a:pt x="14881" y="17820"/>
                    <a:pt x="14881" y="17820"/>
                    <a:pt x="14881" y="17820"/>
                  </a:cubicBezTo>
                  <a:cubicBezTo>
                    <a:pt x="14388" y="18478"/>
                    <a:pt x="14388" y="18478"/>
                    <a:pt x="14388" y="18478"/>
                  </a:cubicBezTo>
                  <a:cubicBezTo>
                    <a:pt x="14388" y="18478"/>
                    <a:pt x="14248" y="18832"/>
                    <a:pt x="14318" y="18883"/>
                  </a:cubicBezTo>
                  <a:cubicBezTo>
                    <a:pt x="14388" y="18933"/>
                    <a:pt x="14916" y="18832"/>
                    <a:pt x="14916" y="18832"/>
                  </a:cubicBezTo>
                  <a:cubicBezTo>
                    <a:pt x="15514" y="18883"/>
                    <a:pt x="15514" y="18883"/>
                    <a:pt x="15514" y="18883"/>
                  </a:cubicBezTo>
                  <a:cubicBezTo>
                    <a:pt x="15514" y="18883"/>
                    <a:pt x="15620" y="18933"/>
                    <a:pt x="15690" y="19237"/>
                  </a:cubicBezTo>
                  <a:cubicBezTo>
                    <a:pt x="15795" y="19591"/>
                    <a:pt x="15866" y="19743"/>
                    <a:pt x="15901" y="19844"/>
                  </a:cubicBezTo>
                  <a:cubicBezTo>
                    <a:pt x="15971" y="19995"/>
                    <a:pt x="16112" y="20299"/>
                    <a:pt x="16112" y="20299"/>
                  </a:cubicBezTo>
                  <a:cubicBezTo>
                    <a:pt x="16112" y="20299"/>
                    <a:pt x="15971" y="20501"/>
                    <a:pt x="16147" y="20451"/>
                  </a:cubicBezTo>
                  <a:cubicBezTo>
                    <a:pt x="16358" y="20451"/>
                    <a:pt x="16499" y="20400"/>
                    <a:pt x="16499" y="20400"/>
                  </a:cubicBezTo>
                  <a:cubicBezTo>
                    <a:pt x="16499" y="20400"/>
                    <a:pt x="16534" y="20097"/>
                    <a:pt x="16605" y="19995"/>
                  </a:cubicBezTo>
                  <a:cubicBezTo>
                    <a:pt x="16710" y="19945"/>
                    <a:pt x="16816" y="19793"/>
                    <a:pt x="16816" y="19793"/>
                  </a:cubicBezTo>
                  <a:cubicBezTo>
                    <a:pt x="16816" y="19793"/>
                    <a:pt x="16780" y="19490"/>
                    <a:pt x="16886" y="19388"/>
                  </a:cubicBezTo>
                  <a:cubicBezTo>
                    <a:pt x="16992" y="19338"/>
                    <a:pt x="17132" y="19287"/>
                    <a:pt x="17273" y="19237"/>
                  </a:cubicBezTo>
                  <a:cubicBezTo>
                    <a:pt x="17414" y="19135"/>
                    <a:pt x="17554" y="18781"/>
                    <a:pt x="17554" y="18781"/>
                  </a:cubicBezTo>
                  <a:cubicBezTo>
                    <a:pt x="17730" y="18579"/>
                    <a:pt x="17730" y="18579"/>
                    <a:pt x="17730" y="18579"/>
                  </a:cubicBezTo>
                  <a:cubicBezTo>
                    <a:pt x="18152" y="18377"/>
                    <a:pt x="18152" y="18377"/>
                    <a:pt x="18152" y="18377"/>
                  </a:cubicBezTo>
                  <a:cubicBezTo>
                    <a:pt x="18117" y="17871"/>
                    <a:pt x="18117" y="17871"/>
                    <a:pt x="18117" y="17871"/>
                  </a:cubicBezTo>
                  <a:cubicBezTo>
                    <a:pt x="18117" y="17871"/>
                    <a:pt x="18152" y="17770"/>
                    <a:pt x="18258" y="17770"/>
                  </a:cubicBezTo>
                  <a:cubicBezTo>
                    <a:pt x="18328" y="17719"/>
                    <a:pt x="19067" y="17365"/>
                    <a:pt x="19067" y="17365"/>
                  </a:cubicBezTo>
                  <a:cubicBezTo>
                    <a:pt x="19278" y="16859"/>
                    <a:pt x="19278" y="16859"/>
                    <a:pt x="19278" y="16859"/>
                  </a:cubicBezTo>
                  <a:cubicBezTo>
                    <a:pt x="19278" y="16353"/>
                    <a:pt x="19278" y="16353"/>
                    <a:pt x="19278" y="16353"/>
                  </a:cubicBezTo>
                  <a:cubicBezTo>
                    <a:pt x="19278" y="16353"/>
                    <a:pt x="19349" y="16050"/>
                    <a:pt x="19208" y="16050"/>
                  </a:cubicBezTo>
                  <a:cubicBezTo>
                    <a:pt x="19067" y="16050"/>
                    <a:pt x="18715" y="16556"/>
                    <a:pt x="18715" y="16556"/>
                  </a:cubicBezTo>
                  <a:cubicBezTo>
                    <a:pt x="18328" y="16606"/>
                    <a:pt x="18328" y="16606"/>
                    <a:pt x="18328" y="16606"/>
                  </a:cubicBezTo>
                  <a:cubicBezTo>
                    <a:pt x="18328" y="16606"/>
                    <a:pt x="18152" y="17061"/>
                    <a:pt x="18082" y="17061"/>
                  </a:cubicBezTo>
                  <a:cubicBezTo>
                    <a:pt x="18012" y="17112"/>
                    <a:pt x="17801" y="17213"/>
                    <a:pt x="17730" y="17163"/>
                  </a:cubicBezTo>
                  <a:cubicBezTo>
                    <a:pt x="17660" y="17163"/>
                    <a:pt x="17765" y="17719"/>
                    <a:pt x="17519" y="17061"/>
                  </a:cubicBezTo>
                  <a:cubicBezTo>
                    <a:pt x="17273" y="16404"/>
                    <a:pt x="17167" y="16404"/>
                    <a:pt x="17167" y="16404"/>
                  </a:cubicBezTo>
                  <a:cubicBezTo>
                    <a:pt x="16921" y="16404"/>
                    <a:pt x="16921" y="16404"/>
                    <a:pt x="16921" y="16404"/>
                  </a:cubicBezTo>
                  <a:cubicBezTo>
                    <a:pt x="16921" y="16404"/>
                    <a:pt x="16710" y="16556"/>
                    <a:pt x="16675" y="16454"/>
                  </a:cubicBezTo>
                  <a:cubicBezTo>
                    <a:pt x="16675" y="16353"/>
                    <a:pt x="16569" y="16050"/>
                    <a:pt x="16569" y="16050"/>
                  </a:cubicBezTo>
                  <a:cubicBezTo>
                    <a:pt x="16218" y="16050"/>
                    <a:pt x="16218" y="16050"/>
                    <a:pt x="16218" y="16050"/>
                  </a:cubicBezTo>
                  <a:cubicBezTo>
                    <a:pt x="16077" y="16151"/>
                    <a:pt x="16077" y="16151"/>
                    <a:pt x="16077" y="16151"/>
                  </a:cubicBezTo>
                  <a:cubicBezTo>
                    <a:pt x="15549" y="16100"/>
                    <a:pt x="15549" y="16100"/>
                    <a:pt x="15549" y="16100"/>
                  </a:cubicBezTo>
                  <a:cubicBezTo>
                    <a:pt x="15338" y="15898"/>
                    <a:pt x="15338" y="15898"/>
                    <a:pt x="15338" y="15898"/>
                  </a:cubicBezTo>
                  <a:cubicBezTo>
                    <a:pt x="15620" y="15696"/>
                    <a:pt x="15620" y="15696"/>
                    <a:pt x="15620" y="15696"/>
                  </a:cubicBezTo>
                  <a:cubicBezTo>
                    <a:pt x="15620" y="15696"/>
                    <a:pt x="15725" y="15847"/>
                    <a:pt x="15760" y="15847"/>
                  </a:cubicBezTo>
                  <a:cubicBezTo>
                    <a:pt x="15831" y="15797"/>
                    <a:pt x="15760" y="15645"/>
                    <a:pt x="15831" y="15594"/>
                  </a:cubicBezTo>
                  <a:cubicBezTo>
                    <a:pt x="15936" y="15544"/>
                    <a:pt x="16042" y="15392"/>
                    <a:pt x="16147" y="15493"/>
                  </a:cubicBezTo>
                  <a:cubicBezTo>
                    <a:pt x="16253" y="15544"/>
                    <a:pt x="16147" y="15847"/>
                    <a:pt x="16323" y="15645"/>
                  </a:cubicBezTo>
                  <a:cubicBezTo>
                    <a:pt x="16499" y="15443"/>
                    <a:pt x="16675" y="15493"/>
                    <a:pt x="16675" y="15493"/>
                  </a:cubicBezTo>
                  <a:cubicBezTo>
                    <a:pt x="16886" y="14987"/>
                    <a:pt x="16886" y="14987"/>
                    <a:pt x="16886" y="14987"/>
                  </a:cubicBezTo>
                  <a:cubicBezTo>
                    <a:pt x="17027" y="14532"/>
                    <a:pt x="17027" y="14532"/>
                    <a:pt x="17027" y="14532"/>
                  </a:cubicBezTo>
                  <a:cubicBezTo>
                    <a:pt x="17027" y="14532"/>
                    <a:pt x="17097" y="14583"/>
                    <a:pt x="17167" y="14633"/>
                  </a:cubicBezTo>
                  <a:cubicBezTo>
                    <a:pt x="17273" y="14633"/>
                    <a:pt x="17519" y="14026"/>
                    <a:pt x="17519" y="14026"/>
                  </a:cubicBezTo>
                  <a:cubicBezTo>
                    <a:pt x="17519" y="14026"/>
                    <a:pt x="17554" y="13419"/>
                    <a:pt x="17625" y="13419"/>
                  </a:cubicBezTo>
                  <a:cubicBezTo>
                    <a:pt x="17695" y="13369"/>
                    <a:pt x="18223" y="13116"/>
                    <a:pt x="18223" y="13116"/>
                  </a:cubicBezTo>
                  <a:cubicBezTo>
                    <a:pt x="18575" y="12812"/>
                    <a:pt x="18575" y="12812"/>
                    <a:pt x="18575" y="12812"/>
                  </a:cubicBezTo>
                  <a:cubicBezTo>
                    <a:pt x="18575" y="12812"/>
                    <a:pt x="18750" y="12458"/>
                    <a:pt x="18821" y="12408"/>
                  </a:cubicBezTo>
                  <a:cubicBezTo>
                    <a:pt x="18891" y="12408"/>
                    <a:pt x="18962" y="12205"/>
                    <a:pt x="19032" y="11952"/>
                  </a:cubicBezTo>
                  <a:cubicBezTo>
                    <a:pt x="19137" y="11750"/>
                    <a:pt x="19208" y="11598"/>
                    <a:pt x="19208" y="11598"/>
                  </a:cubicBezTo>
                  <a:cubicBezTo>
                    <a:pt x="19208" y="11598"/>
                    <a:pt x="19630" y="11446"/>
                    <a:pt x="19595" y="11396"/>
                  </a:cubicBezTo>
                  <a:cubicBezTo>
                    <a:pt x="19595" y="11295"/>
                    <a:pt x="19419" y="11092"/>
                    <a:pt x="19630" y="11092"/>
                  </a:cubicBezTo>
                  <a:cubicBezTo>
                    <a:pt x="19841" y="11092"/>
                    <a:pt x="19841" y="11092"/>
                    <a:pt x="19947" y="10991"/>
                  </a:cubicBezTo>
                  <a:cubicBezTo>
                    <a:pt x="20017" y="10941"/>
                    <a:pt x="19982" y="10890"/>
                    <a:pt x="20017" y="10738"/>
                  </a:cubicBezTo>
                  <a:cubicBezTo>
                    <a:pt x="20087" y="10637"/>
                    <a:pt x="20122" y="10485"/>
                    <a:pt x="20122" y="10384"/>
                  </a:cubicBezTo>
                  <a:cubicBezTo>
                    <a:pt x="20087" y="10283"/>
                    <a:pt x="19911" y="9878"/>
                    <a:pt x="19911" y="9777"/>
                  </a:cubicBezTo>
                  <a:cubicBezTo>
                    <a:pt x="19876" y="9625"/>
                    <a:pt x="19911" y="9322"/>
                    <a:pt x="19911" y="9322"/>
                  </a:cubicBezTo>
                  <a:cubicBezTo>
                    <a:pt x="19911" y="9322"/>
                    <a:pt x="20017" y="9271"/>
                    <a:pt x="20122" y="9221"/>
                  </a:cubicBezTo>
                  <a:cubicBezTo>
                    <a:pt x="20193" y="9120"/>
                    <a:pt x="20334" y="8765"/>
                    <a:pt x="20334" y="8765"/>
                  </a:cubicBezTo>
                  <a:cubicBezTo>
                    <a:pt x="20369" y="8513"/>
                    <a:pt x="20369" y="8513"/>
                    <a:pt x="20369" y="8513"/>
                  </a:cubicBezTo>
                  <a:cubicBezTo>
                    <a:pt x="20369" y="8513"/>
                    <a:pt x="20509" y="8361"/>
                    <a:pt x="20545" y="8361"/>
                  </a:cubicBezTo>
                  <a:cubicBezTo>
                    <a:pt x="20615" y="8310"/>
                    <a:pt x="21178" y="8007"/>
                    <a:pt x="21213" y="8007"/>
                  </a:cubicBezTo>
                  <a:cubicBezTo>
                    <a:pt x="21248" y="8007"/>
                    <a:pt x="21600" y="8057"/>
                    <a:pt x="21494" y="7804"/>
                  </a:cubicBezTo>
                  <a:cubicBezTo>
                    <a:pt x="21389" y="7602"/>
                    <a:pt x="21354" y="7501"/>
                    <a:pt x="21319" y="7349"/>
                  </a:cubicBezTo>
                  <a:cubicBezTo>
                    <a:pt x="21283" y="7197"/>
                    <a:pt x="21283" y="6843"/>
                    <a:pt x="21283" y="6793"/>
                  </a:cubicBezTo>
                  <a:cubicBezTo>
                    <a:pt x="21319" y="6742"/>
                    <a:pt x="21600" y="6590"/>
                    <a:pt x="21283" y="6540"/>
                  </a:cubicBezTo>
                  <a:cubicBezTo>
                    <a:pt x="20967" y="6489"/>
                    <a:pt x="21213" y="6337"/>
                    <a:pt x="21143" y="6236"/>
                  </a:cubicBezTo>
                  <a:cubicBezTo>
                    <a:pt x="21037" y="6135"/>
                    <a:pt x="20826" y="5933"/>
                    <a:pt x="20826" y="5933"/>
                  </a:cubicBezTo>
                  <a:cubicBezTo>
                    <a:pt x="20721" y="5933"/>
                    <a:pt x="20721" y="5933"/>
                    <a:pt x="20721" y="5933"/>
                  </a:cubicBezTo>
                  <a:cubicBezTo>
                    <a:pt x="20756" y="5427"/>
                    <a:pt x="20756" y="5427"/>
                    <a:pt x="20756" y="5427"/>
                  </a:cubicBezTo>
                  <a:cubicBezTo>
                    <a:pt x="20756" y="5427"/>
                    <a:pt x="20861" y="5224"/>
                    <a:pt x="20896" y="5224"/>
                  </a:cubicBezTo>
                  <a:cubicBezTo>
                    <a:pt x="20932" y="5174"/>
                    <a:pt x="20967" y="4972"/>
                    <a:pt x="20896" y="4972"/>
                  </a:cubicBezTo>
                  <a:cubicBezTo>
                    <a:pt x="20826" y="5022"/>
                    <a:pt x="20615" y="5073"/>
                    <a:pt x="20615" y="5073"/>
                  </a:cubicBezTo>
                  <a:cubicBezTo>
                    <a:pt x="20615" y="5073"/>
                    <a:pt x="20439" y="5073"/>
                    <a:pt x="20474" y="4972"/>
                  </a:cubicBezTo>
                  <a:cubicBezTo>
                    <a:pt x="20474" y="4820"/>
                    <a:pt x="20545" y="4820"/>
                    <a:pt x="20650" y="4668"/>
                  </a:cubicBezTo>
                  <a:cubicBezTo>
                    <a:pt x="20756" y="4516"/>
                    <a:pt x="20791" y="4415"/>
                    <a:pt x="20791" y="4415"/>
                  </a:cubicBezTo>
                  <a:cubicBezTo>
                    <a:pt x="20756" y="4112"/>
                    <a:pt x="20756" y="4112"/>
                    <a:pt x="20756" y="4112"/>
                  </a:cubicBezTo>
                  <a:cubicBezTo>
                    <a:pt x="20756" y="4112"/>
                    <a:pt x="20756" y="3909"/>
                    <a:pt x="20721" y="3909"/>
                  </a:cubicBezTo>
                  <a:cubicBezTo>
                    <a:pt x="20721" y="3859"/>
                    <a:pt x="20509" y="3252"/>
                    <a:pt x="20509" y="3252"/>
                  </a:cubicBezTo>
                  <a:cubicBezTo>
                    <a:pt x="20509" y="3252"/>
                    <a:pt x="20298" y="3150"/>
                    <a:pt x="20263" y="3252"/>
                  </a:cubicBezTo>
                  <a:cubicBezTo>
                    <a:pt x="20263" y="3353"/>
                    <a:pt x="20193" y="3555"/>
                    <a:pt x="20193" y="3555"/>
                  </a:cubicBezTo>
                  <a:cubicBezTo>
                    <a:pt x="19947" y="3555"/>
                    <a:pt x="19947" y="3555"/>
                    <a:pt x="19947" y="3555"/>
                  </a:cubicBezTo>
                  <a:cubicBezTo>
                    <a:pt x="19806" y="3403"/>
                    <a:pt x="19806" y="3403"/>
                    <a:pt x="19806" y="3403"/>
                  </a:cubicBezTo>
                  <a:cubicBezTo>
                    <a:pt x="19524" y="3302"/>
                    <a:pt x="19524" y="3302"/>
                    <a:pt x="19524" y="3302"/>
                  </a:cubicBezTo>
                  <a:cubicBezTo>
                    <a:pt x="19524" y="3302"/>
                    <a:pt x="19489" y="3353"/>
                    <a:pt x="19454" y="3403"/>
                  </a:cubicBezTo>
                  <a:cubicBezTo>
                    <a:pt x="19454" y="3454"/>
                    <a:pt x="19173" y="3201"/>
                    <a:pt x="19173" y="3201"/>
                  </a:cubicBezTo>
                  <a:cubicBezTo>
                    <a:pt x="19173" y="3201"/>
                    <a:pt x="19067" y="3403"/>
                    <a:pt x="19032" y="3454"/>
                  </a:cubicBezTo>
                  <a:cubicBezTo>
                    <a:pt x="19032" y="3454"/>
                    <a:pt x="18750" y="3353"/>
                    <a:pt x="18750" y="3353"/>
                  </a:cubicBezTo>
                  <a:cubicBezTo>
                    <a:pt x="18469" y="3403"/>
                    <a:pt x="18469" y="3403"/>
                    <a:pt x="18469" y="3403"/>
                  </a:cubicBezTo>
                  <a:cubicBezTo>
                    <a:pt x="18223" y="3454"/>
                    <a:pt x="18223" y="3454"/>
                    <a:pt x="18223" y="3454"/>
                  </a:cubicBezTo>
                  <a:cubicBezTo>
                    <a:pt x="18012" y="3302"/>
                    <a:pt x="18012" y="3302"/>
                    <a:pt x="18012" y="3302"/>
                  </a:cubicBezTo>
                  <a:cubicBezTo>
                    <a:pt x="17941" y="3454"/>
                    <a:pt x="17941" y="3454"/>
                    <a:pt x="17941" y="3454"/>
                  </a:cubicBezTo>
                  <a:cubicBezTo>
                    <a:pt x="17977" y="3707"/>
                    <a:pt x="17977" y="3707"/>
                    <a:pt x="17977" y="3707"/>
                  </a:cubicBezTo>
                  <a:cubicBezTo>
                    <a:pt x="17801" y="3859"/>
                    <a:pt x="17801" y="3859"/>
                    <a:pt x="17801" y="3859"/>
                  </a:cubicBezTo>
                  <a:cubicBezTo>
                    <a:pt x="17590" y="3656"/>
                    <a:pt x="17590" y="3656"/>
                    <a:pt x="17590" y="3656"/>
                  </a:cubicBezTo>
                  <a:cubicBezTo>
                    <a:pt x="17414" y="3606"/>
                    <a:pt x="17414" y="3606"/>
                    <a:pt x="17414" y="3606"/>
                  </a:cubicBezTo>
                  <a:cubicBezTo>
                    <a:pt x="17167" y="3252"/>
                    <a:pt x="17167" y="3252"/>
                    <a:pt x="17167" y="3252"/>
                  </a:cubicBezTo>
                  <a:cubicBezTo>
                    <a:pt x="16956" y="3150"/>
                    <a:pt x="16956" y="3150"/>
                    <a:pt x="16956" y="3150"/>
                  </a:cubicBezTo>
                  <a:cubicBezTo>
                    <a:pt x="16745" y="2999"/>
                    <a:pt x="16745" y="2999"/>
                    <a:pt x="16745" y="2999"/>
                  </a:cubicBezTo>
                  <a:cubicBezTo>
                    <a:pt x="16745" y="2999"/>
                    <a:pt x="16640" y="3403"/>
                    <a:pt x="16605" y="3454"/>
                  </a:cubicBezTo>
                  <a:cubicBezTo>
                    <a:pt x="16569" y="3454"/>
                    <a:pt x="16393" y="3555"/>
                    <a:pt x="16358" y="3555"/>
                  </a:cubicBezTo>
                  <a:cubicBezTo>
                    <a:pt x="16288" y="3606"/>
                    <a:pt x="16253" y="3859"/>
                    <a:pt x="16253" y="3859"/>
                  </a:cubicBezTo>
                  <a:cubicBezTo>
                    <a:pt x="16077" y="4010"/>
                    <a:pt x="16077" y="4010"/>
                    <a:pt x="16077" y="4010"/>
                  </a:cubicBezTo>
                  <a:cubicBezTo>
                    <a:pt x="16077" y="4010"/>
                    <a:pt x="15971" y="3909"/>
                    <a:pt x="15901" y="3909"/>
                  </a:cubicBezTo>
                  <a:cubicBezTo>
                    <a:pt x="15866" y="3909"/>
                    <a:pt x="15831" y="3960"/>
                    <a:pt x="15831" y="3960"/>
                  </a:cubicBezTo>
                  <a:cubicBezTo>
                    <a:pt x="15760" y="4112"/>
                    <a:pt x="15760" y="4112"/>
                    <a:pt x="15760" y="4112"/>
                  </a:cubicBezTo>
                  <a:cubicBezTo>
                    <a:pt x="15760" y="4112"/>
                    <a:pt x="15725" y="4112"/>
                    <a:pt x="15620" y="4010"/>
                  </a:cubicBezTo>
                  <a:cubicBezTo>
                    <a:pt x="15549" y="3960"/>
                    <a:pt x="15444" y="3859"/>
                    <a:pt x="15444" y="3859"/>
                  </a:cubicBezTo>
                  <a:cubicBezTo>
                    <a:pt x="15338" y="3808"/>
                    <a:pt x="15338" y="3808"/>
                    <a:pt x="15338" y="3808"/>
                  </a:cubicBezTo>
                  <a:cubicBezTo>
                    <a:pt x="15338" y="3808"/>
                    <a:pt x="15021" y="4010"/>
                    <a:pt x="14986" y="4061"/>
                  </a:cubicBezTo>
                  <a:cubicBezTo>
                    <a:pt x="14986" y="4112"/>
                    <a:pt x="14916" y="4263"/>
                    <a:pt x="14916" y="4263"/>
                  </a:cubicBezTo>
                  <a:cubicBezTo>
                    <a:pt x="14740" y="4061"/>
                    <a:pt x="14740" y="4061"/>
                    <a:pt x="14740" y="4061"/>
                  </a:cubicBezTo>
                  <a:cubicBezTo>
                    <a:pt x="14529" y="3859"/>
                    <a:pt x="14529" y="3859"/>
                    <a:pt x="14529" y="3859"/>
                  </a:cubicBezTo>
                  <a:cubicBezTo>
                    <a:pt x="14494" y="3505"/>
                    <a:pt x="14494" y="3505"/>
                    <a:pt x="14494" y="3505"/>
                  </a:cubicBezTo>
                  <a:cubicBezTo>
                    <a:pt x="14107" y="2999"/>
                    <a:pt x="14107" y="2999"/>
                    <a:pt x="14107" y="2999"/>
                  </a:cubicBezTo>
                  <a:cubicBezTo>
                    <a:pt x="14036" y="2493"/>
                    <a:pt x="14036" y="2493"/>
                    <a:pt x="14036" y="2493"/>
                  </a:cubicBezTo>
                  <a:cubicBezTo>
                    <a:pt x="13755" y="2189"/>
                    <a:pt x="13755" y="2189"/>
                    <a:pt x="13755" y="2189"/>
                  </a:cubicBezTo>
                  <a:cubicBezTo>
                    <a:pt x="13579" y="2493"/>
                    <a:pt x="13579" y="2493"/>
                    <a:pt x="13579" y="2493"/>
                  </a:cubicBezTo>
                  <a:cubicBezTo>
                    <a:pt x="13298" y="2442"/>
                    <a:pt x="13298" y="2442"/>
                    <a:pt x="13298" y="2442"/>
                  </a:cubicBezTo>
                  <a:cubicBezTo>
                    <a:pt x="13016" y="2543"/>
                    <a:pt x="13016" y="2543"/>
                    <a:pt x="13016" y="2543"/>
                  </a:cubicBezTo>
                  <a:cubicBezTo>
                    <a:pt x="13016" y="2543"/>
                    <a:pt x="12840" y="2796"/>
                    <a:pt x="12840" y="2695"/>
                  </a:cubicBezTo>
                  <a:cubicBezTo>
                    <a:pt x="12805" y="2594"/>
                    <a:pt x="12876" y="2392"/>
                    <a:pt x="12876" y="2291"/>
                  </a:cubicBezTo>
                  <a:cubicBezTo>
                    <a:pt x="12840" y="2240"/>
                    <a:pt x="12664" y="2392"/>
                    <a:pt x="12700" y="2189"/>
                  </a:cubicBezTo>
                  <a:cubicBezTo>
                    <a:pt x="12735" y="2088"/>
                    <a:pt x="12700" y="1936"/>
                    <a:pt x="12664" y="1886"/>
                  </a:cubicBezTo>
                  <a:cubicBezTo>
                    <a:pt x="12594" y="1785"/>
                    <a:pt x="12383" y="1785"/>
                    <a:pt x="12453" y="1582"/>
                  </a:cubicBezTo>
                  <a:cubicBezTo>
                    <a:pt x="12524" y="1431"/>
                    <a:pt x="12700" y="1329"/>
                    <a:pt x="12700" y="1329"/>
                  </a:cubicBezTo>
                  <a:cubicBezTo>
                    <a:pt x="12700" y="1228"/>
                    <a:pt x="12700" y="1228"/>
                    <a:pt x="12700" y="1228"/>
                  </a:cubicBezTo>
                  <a:cubicBezTo>
                    <a:pt x="12559" y="1026"/>
                    <a:pt x="12559" y="1026"/>
                    <a:pt x="12559" y="1026"/>
                  </a:cubicBezTo>
                  <a:cubicBezTo>
                    <a:pt x="12172" y="773"/>
                    <a:pt x="12172" y="773"/>
                    <a:pt x="12172" y="773"/>
                  </a:cubicBezTo>
                  <a:cubicBezTo>
                    <a:pt x="12172" y="773"/>
                    <a:pt x="12137" y="469"/>
                    <a:pt x="12066" y="469"/>
                  </a:cubicBezTo>
                  <a:cubicBezTo>
                    <a:pt x="12031" y="419"/>
                    <a:pt x="11926" y="267"/>
                    <a:pt x="11926" y="267"/>
                  </a:cubicBezTo>
                  <a:cubicBezTo>
                    <a:pt x="11926" y="267"/>
                    <a:pt x="11820" y="65"/>
                    <a:pt x="11679" y="14"/>
                  </a:cubicBezTo>
                  <a:cubicBezTo>
                    <a:pt x="11539" y="-87"/>
                    <a:pt x="11433" y="368"/>
                    <a:pt x="11433" y="368"/>
                  </a:cubicBezTo>
                  <a:cubicBezTo>
                    <a:pt x="11293" y="166"/>
                    <a:pt x="11293" y="166"/>
                    <a:pt x="11293" y="166"/>
                  </a:cubicBezTo>
                  <a:cubicBezTo>
                    <a:pt x="11011" y="318"/>
                    <a:pt x="11011" y="318"/>
                    <a:pt x="11011" y="318"/>
                  </a:cubicBezTo>
                  <a:cubicBezTo>
                    <a:pt x="10800" y="773"/>
                    <a:pt x="10800" y="773"/>
                    <a:pt x="10800" y="773"/>
                  </a:cubicBezTo>
                  <a:cubicBezTo>
                    <a:pt x="10659" y="824"/>
                    <a:pt x="10659" y="824"/>
                    <a:pt x="10659" y="824"/>
                  </a:cubicBezTo>
                  <a:cubicBezTo>
                    <a:pt x="10448" y="874"/>
                    <a:pt x="10448" y="874"/>
                    <a:pt x="10448" y="874"/>
                  </a:cubicBezTo>
                  <a:cubicBezTo>
                    <a:pt x="10132" y="975"/>
                    <a:pt x="10132" y="975"/>
                    <a:pt x="10132" y="975"/>
                  </a:cubicBezTo>
                  <a:cubicBezTo>
                    <a:pt x="10061" y="1279"/>
                    <a:pt x="10061" y="1279"/>
                    <a:pt x="10061" y="1279"/>
                  </a:cubicBezTo>
                  <a:cubicBezTo>
                    <a:pt x="10096" y="1582"/>
                    <a:pt x="10096" y="1582"/>
                    <a:pt x="10096" y="1582"/>
                  </a:cubicBezTo>
                  <a:cubicBezTo>
                    <a:pt x="9921" y="1785"/>
                    <a:pt x="9921" y="1785"/>
                    <a:pt x="9921" y="1785"/>
                  </a:cubicBezTo>
                  <a:cubicBezTo>
                    <a:pt x="9498" y="1734"/>
                    <a:pt x="9498" y="1734"/>
                    <a:pt x="9498" y="1734"/>
                  </a:cubicBezTo>
                  <a:cubicBezTo>
                    <a:pt x="9217" y="1835"/>
                    <a:pt x="9217" y="1835"/>
                    <a:pt x="9217" y="1835"/>
                  </a:cubicBezTo>
                  <a:cubicBezTo>
                    <a:pt x="9076" y="2139"/>
                    <a:pt x="9076" y="2139"/>
                    <a:pt x="9076" y="2139"/>
                  </a:cubicBezTo>
                  <a:cubicBezTo>
                    <a:pt x="8654" y="2139"/>
                    <a:pt x="8654" y="2139"/>
                    <a:pt x="8654" y="2139"/>
                  </a:cubicBezTo>
                  <a:cubicBezTo>
                    <a:pt x="8584" y="2746"/>
                    <a:pt x="8584" y="2746"/>
                    <a:pt x="8584" y="2746"/>
                  </a:cubicBezTo>
                  <a:cubicBezTo>
                    <a:pt x="8478" y="3150"/>
                    <a:pt x="8478" y="3150"/>
                    <a:pt x="8478" y="3150"/>
                  </a:cubicBezTo>
                  <a:cubicBezTo>
                    <a:pt x="8373" y="3606"/>
                    <a:pt x="8373" y="3606"/>
                    <a:pt x="8373" y="3606"/>
                  </a:cubicBezTo>
                  <a:cubicBezTo>
                    <a:pt x="8443" y="3859"/>
                    <a:pt x="8443" y="3859"/>
                    <a:pt x="8443" y="3859"/>
                  </a:cubicBezTo>
                  <a:cubicBezTo>
                    <a:pt x="8549" y="4213"/>
                    <a:pt x="8549" y="4213"/>
                    <a:pt x="8549" y="4213"/>
                  </a:cubicBezTo>
                  <a:cubicBezTo>
                    <a:pt x="8760" y="4567"/>
                    <a:pt x="8760" y="4567"/>
                    <a:pt x="8760" y="4567"/>
                  </a:cubicBezTo>
                  <a:cubicBezTo>
                    <a:pt x="8760" y="4567"/>
                    <a:pt x="8760" y="4567"/>
                    <a:pt x="8760" y="4567"/>
                  </a:cubicBezTo>
                  <a:cubicBezTo>
                    <a:pt x="8549" y="4668"/>
                    <a:pt x="8549" y="4668"/>
                    <a:pt x="8549" y="4668"/>
                  </a:cubicBezTo>
                  <a:cubicBezTo>
                    <a:pt x="8408" y="4719"/>
                    <a:pt x="8408" y="4719"/>
                    <a:pt x="8408" y="4719"/>
                  </a:cubicBezTo>
                  <a:cubicBezTo>
                    <a:pt x="8267" y="4415"/>
                    <a:pt x="8267" y="4415"/>
                    <a:pt x="8267" y="4415"/>
                  </a:cubicBezTo>
                  <a:cubicBezTo>
                    <a:pt x="8056" y="4314"/>
                    <a:pt x="8056" y="4314"/>
                    <a:pt x="8056" y="4314"/>
                  </a:cubicBezTo>
                  <a:cubicBezTo>
                    <a:pt x="7810" y="4466"/>
                    <a:pt x="7810" y="4466"/>
                    <a:pt x="7810" y="4466"/>
                  </a:cubicBezTo>
                  <a:cubicBezTo>
                    <a:pt x="7564" y="4567"/>
                    <a:pt x="7564" y="4567"/>
                    <a:pt x="7564" y="4567"/>
                  </a:cubicBezTo>
                  <a:cubicBezTo>
                    <a:pt x="7493" y="4567"/>
                    <a:pt x="7493" y="4567"/>
                    <a:pt x="7493" y="4567"/>
                  </a:cubicBezTo>
                  <a:cubicBezTo>
                    <a:pt x="7423" y="4769"/>
                    <a:pt x="7423" y="4769"/>
                    <a:pt x="7423" y="4769"/>
                  </a:cubicBezTo>
                  <a:cubicBezTo>
                    <a:pt x="7212" y="4921"/>
                    <a:pt x="7212" y="4921"/>
                    <a:pt x="7212" y="4921"/>
                  </a:cubicBezTo>
                  <a:cubicBezTo>
                    <a:pt x="7212" y="4921"/>
                    <a:pt x="7141" y="4820"/>
                    <a:pt x="7106" y="4769"/>
                  </a:cubicBezTo>
                  <a:cubicBezTo>
                    <a:pt x="7071" y="4719"/>
                    <a:pt x="6965" y="4617"/>
                    <a:pt x="6965" y="4617"/>
                  </a:cubicBezTo>
                  <a:cubicBezTo>
                    <a:pt x="6965" y="4617"/>
                    <a:pt x="6930" y="4516"/>
                    <a:pt x="6895" y="4466"/>
                  </a:cubicBezTo>
                  <a:cubicBezTo>
                    <a:pt x="6860" y="4466"/>
                    <a:pt x="6649" y="4668"/>
                    <a:pt x="6649" y="4668"/>
                  </a:cubicBezTo>
                  <a:cubicBezTo>
                    <a:pt x="6649" y="4668"/>
                    <a:pt x="6473" y="4820"/>
                    <a:pt x="6473" y="4870"/>
                  </a:cubicBezTo>
                  <a:cubicBezTo>
                    <a:pt x="6508" y="4870"/>
                    <a:pt x="6473" y="5123"/>
                    <a:pt x="6473" y="5123"/>
                  </a:cubicBezTo>
                  <a:cubicBezTo>
                    <a:pt x="6227" y="4820"/>
                    <a:pt x="6227" y="4820"/>
                    <a:pt x="6227" y="4820"/>
                  </a:cubicBezTo>
                  <a:cubicBezTo>
                    <a:pt x="6051" y="5022"/>
                    <a:pt x="6051" y="5022"/>
                    <a:pt x="6051" y="5022"/>
                  </a:cubicBezTo>
                  <a:cubicBezTo>
                    <a:pt x="5910" y="4870"/>
                    <a:pt x="5910" y="4870"/>
                    <a:pt x="5910" y="4870"/>
                  </a:cubicBezTo>
                  <a:cubicBezTo>
                    <a:pt x="5840" y="4820"/>
                    <a:pt x="5840" y="4820"/>
                    <a:pt x="5840" y="4820"/>
                  </a:cubicBezTo>
                  <a:cubicBezTo>
                    <a:pt x="5629" y="5174"/>
                    <a:pt x="5629" y="5174"/>
                    <a:pt x="5629" y="5174"/>
                  </a:cubicBezTo>
                  <a:cubicBezTo>
                    <a:pt x="5488" y="5073"/>
                    <a:pt x="5488" y="5073"/>
                    <a:pt x="5488" y="5073"/>
                  </a:cubicBezTo>
                  <a:cubicBezTo>
                    <a:pt x="5418" y="5427"/>
                    <a:pt x="5418" y="5427"/>
                    <a:pt x="5418" y="5427"/>
                  </a:cubicBezTo>
                  <a:cubicBezTo>
                    <a:pt x="5242" y="5224"/>
                    <a:pt x="5242" y="5224"/>
                    <a:pt x="5242" y="5224"/>
                  </a:cubicBezTo>
                  <a:cubicBezTo>
                    <a:pt x="5242" y="5224"/>
                    <a:pt x="5066" y="5174"/>
                    <a:pt x="5031" y="5174"/>
                  </a:cubicBezTo>
                  <a:cubicBezTo>
                    <a:pt x="4995" y="5174"/>
                    <a:pt x="4890" y="5376"/>
                    <a:pt x="4890" y="5376"/>
                  </a:cubicBezTo>
                  <a:cubicBezTo>
                    <a:pt x="4714" y="5174"/>
                    <a:pt x="4714" y="5174"/>
                    <a:pt x="4714" y="5174"/>
                  </a:cubicBezTo>
                  <a:cubicBezTo>
                    <a:pt x="4573" y="5022"/>
                    <a:pt x="4573" y="5022"/>
                    <a:pt x="4573" y="5022"/>
                  </a:cubicBezTo>
                  <a:cubicBezTo>
                    <a:pt x="4573" y="5022"/>
                    <a:pt x="4186" y="5073"/>
                    <a:pt x="4151" y="5073"/>
                  </a:cubicBezTo>
                  <a:cubicBezTo>
                    <a:pt x="4116" y="5073"/>
                    <a:pt x="3870" y="5022"/>
                    <a:pt x="3870" y="5022"/>
                  </a:cubicBezTo>
                  <a:cubicBezTo>
                    <a:pt x="3553" y="5123"/>
                    <a:pt x="3553" y="5123"/>
                    <a:pt x="3553" y="5123"/>
                  </a:cubicBezTo>
                  <a:cubicBezTo>
                    <a:pt x="3096" y="5123"/>
                    <a:pt x="3096" y="5123"/>
                    <a:pt x="3096" y="5123"/>
                  </a:cubicBezTo>
                  <a:cubicBezTo>
                    <a:pt x="2674" y="5174"/>
                    <a:pt x="2674" y="5174"/>
                    <a:pt x="2674" y="5174"/>
                  </a:cubicBezTo>
                  <a:cubicBezTo>
                    <a:pt x="2357" y="5174"/>
                    <a:pt x="2357" y="5174"/>
                    <a:pt x="2357" y="5174"/>
                  </a:cubicBezTo>
                  <a:cubicBezTo>
                    <a:pt x="2111" y="5427"/>
                    <a:pt x="2111" y="5427"/>
                    <a:pt x="2111" y="5427"/>
                  </a:cubicBezTo>
                  <a:cubicBezTo>
                    <a:pt x="1864" y="5477"/>
                    <a:pt x="1864" y="5477"/>
                    <a:pt x="1864" y="5477"/>
                  </a:cubicBezTo>
                  <a:cubicBezTo>
                    <a:pt x="1583" y="5528"/>
                    <a:pt x="1583" y="5528"/>
                    <a:pt x="1583" y="5528"/>
                  </a:cubicBezTo>
                  <a:cubicBezTo>
                    <a:pt x="1548" y="5528"/>
                    <a:pt x="1548" y="5528"/>
                    <a:pt x="1548" y="5528"/>
                  </a:cubicBezTo>
                  <a:cubicBezTo>
                    <a:pt x="1513" y="5579"/>
                    <a:pt x="1513" y="5579"/>
                    <a:pt x="1513" y="5579"/>
                  </a:cubicBezTo>
                  <a:cubicBezTo>
                    <a:pt x="1407" y="5680"/>
                    <a:pt x="1407" y="5680"/>
                    <a:pt x="1407" y="5680"/>
                  </a:cubicBezTo>
                  <a:cubicBezTo>
                    <a:pt x="1407" y="5730"/>
                    <a:pt x="1407" y="5730"/>
                    <a:pt x="1407" y="5730"/>
                  </a:cubicBezTo>
                  <a:cubicBezTo>
                    <a:pt x="1337" y="5832"/>
                    <a:pt x="1337" y="5832"/>
                    <a:pt x="1337" y="5832"/>
                  </a:cubicBezTo>
                  <a:cubicBezTo>
                    <a:pt x="1302" y="6084"/>
                    <a:pt x="1302" y="6084"/>
                    <a:pt x="1302" y="6084"/>
                  </a:cubicBezTo>
                  <a:cubicBezTo>
                    <a:pt x="1266" y="6186"/>
                    <a:pt x="1196" y="6287"/>
                    <a:pt x="1161" y="6388"/>
                  </a:cubicBezTo>
                  <a:cubicBezTo>
                    <a:pt x="1161" y="6388"/>
                    <a:pt x="1161" y="6388"/>
                    <a:pt x="1161" y="6388"/>
                  </a:cubicBezTo>
                  <a:cubicBezTo>
                    <a:pt x="1161" y="6388"/>
                    <a:pt x="1055" y="6337"/>
                    <a:pt x="1055" y="6439"/>
                  </a:cubicBezTo>
                  <a:cubicBezTo>
                    <a:pt x="1055" y="6489"/>
                    <a:pt x="1055" y="6489"/>
                    <a:pt x="1055" y="6489"/>
                  </a:cubicBezTo>
                  <a:cubicBezTo>
                    <a:pt x="950" y="6540"/>
                    <a:pt x="774" y="6439"/>
                    <a:pt x="774" y="6439"/>
                  </a:cubicBezTo>
                  <a:cubicBezTo>
                    <a:pt x="598" y="6590"/>
                    <a:pt x="598" y="6590"/>
                    <a:pt x="598" y="6590"/>
                  </a:cubicBezTo>
                  <a:cubicBezTo>
                    <a:pt x="598" y="6641"/>
                    <a:pt x="598" y="6691"/>
                    <a:pt x="633" y="6691"/>
                  </a:cubicBezTo>
                  <a:cubicBezTo>
                    <a:pt x="668" y="6742"/>
                    <a:pt x="668" y="6742"/>
                    <a:pt x="668" y="6793"/>
                  </a:cubicBezTo>
                  <a:cubicBezTo>
                    <a:pt x="704" y="6793"/>
                    <a:pt x="704" y="6843"/>
                    <a:pt x="704" y="6843"/>
                  </a:cubicBezTo>
                  <a:cubicBezTo>
                    <a:pt x="774" y="7096"/>
                    <a:pt x="774" y="7096"/>
                    <a:pt x="774" y="7096"/>
                  </a:cubicBezTo>
                  <a:cubicBezTo>
                    <a:pt x="774" y="7298"/>
                    <a:pt x="774" y="7298"/>
                    <a:pt x="774" y="7298"/>
                  </a:cubicBezTo>
                  <a:cubicBezTo>
                    <a:pt x="774" y="7298"/>
                    <a:pt x="774" y="7450"/>
                    <a:pt x="844" y="7450"/>
                  </a:cubicBezTo>
                  <a:cubicBezTo>
                    <a:pt x="915" y="7450"/>
                    <a:pt x="950" y="7501"/>
                    <a:pt x="950" y="7602"/>
                  </a:cubicBezTo>
                  <a:cubicBezTo>
                    <a:pt x="950" y="7703"/>
                    <a:pt x="1126" y="7804"/>
                    <a:pt x="1126" y="7804"/>
                  </a:cubicBezTo>
                  <a:cubicBezTo>
                    <a:pt x="1126" y="7804"/>
                    <a:pt x="1126" y="8007"/>
                    <a:pt x="1161" y="8057"/>
                  </a:cubicBezTo>
                  <a:cubicBezTo>
                    <a:pt x="1231" y="8108"/>
                    <a:pt x="1302" y="8158"/>
                    <a:pt x="1407" y="8158"/>
                  </a:cubicBezTo>
                  <a:cubicBezTo>
                    <a:pt x="1513" y="8209"/>
                    <a:pt x="1478" y="8411"/>
                    <a:pt x="1548" y="8462"/>
                  </a:cubicBezTo>
                  <a:cubicBezTo>
                    <a:pt x="1618" y="8513"/>
                    <a:pt x="1689" y="8614"/>
                    <a:pt x="1618" y="8614"/>
                  </a:cubicBezTo>
                  <a:cubicBezTo>
                    <a:pt x="1583" y="8664"/>
                    <a:pt x="1478" y="8664"/>
                    <a:pt x="1478" y="8664"/>
                  </a:cubicBezTo>
                  <a:cubicBezTo>
                    <a:pt x="1478" y="8664"/>
                    <a:pt x="1442" y="8715"/>
                    <a:pt x="1442" y="8816"/>
                  </a:cubicBezTo>
                  <a:cubicBezTo>
                    <a:pt x="1478" y="8867"/>
                    <a:pt x="1478" y="8867"/>
                    <a:pt x="1478" y="8867"/>
                  </a:cubicBezTo>
                  <a:cubicBezTo>
                    <a:pt x="1618" y="9120"/>
                    <a:pt x="1618" y="9120"/>
                    <a:pt x="1618" y="9120"/>
                  </a:cubicBezTo>
                  <a:cubicBezTo>
                    <a:pt x="1618" y="9423"/>
                    <a:pt x="1618" y="9423"/>
                    <a:pt x="1618" y="9423"/>
                  </a:cubicBezTo>
                  <a:cubicBezTo>
                    <a:pt x="1618" y="9423"/>
                    <a:pt x="1618" y="9524"/>
                    <a:pt x="1618" y="9625"/>
                  </a:cubicBezTo>
                  <a:cubicBezTo>
                    <a:pt x="1618" y="9676"/>
                    <a:pt x="1583" y="9777"/>
                    <a:pt x="1513" y="9777"/>
                  </a:cubicBezTo>
                  <a:cubicBezTo>
                    <a:pt x="1513" y="9777"/>
                    <a:pt x="1513" y="9777"/>
                    <a:pt x="1513" y="9777"/>
                  </a:cubicBezTo>
                  <a:cubicBezTo>
                    <a:pt x="1513" y="9777"/>
                    <a:pt x="1513" y="9777"/>
                    <a:pt x="1513" y="9777"/>
                  </a:cubicBezTo>
                  <a:cubicBezTo>
                    <a:pt x="1478" y="9777"/>
                    <a:pt x="1478" y="9777"/>
                    <a:pt x="1478" y="9777"/>
                  </a:cubicBezTo>
                  <a:cubicBezTo>
                    <a:pt x="1442" y="9828"/>
                    <a:pt x="1442" y="9929"/>
                    <a:pt x="1407" y="9929"/>
                  </a:cubicBezTo>
                  <a:cubicBezTo>
                    <a:pt x="1372" y="9980"/>
                    <a:pt x="1302" y="9828"/>
                    <a:pt x="1266" y="9980"/>
                  </a:cubicBezTo>
                  <a:cubicBezTo>
                    <a:pt x="1231" y="10182"/>
                    <a:pt x="1161" y="10334"/>
                    <a:pt x="1161" y="10384"/>
                  </a:cubicBezTo>
                  <a:cubicBezTo>
                    <a:pt x="1126" y="10435"/>
                    <a:pt x="1020" y="10485"/>
                    <a:pt x="1020" y="10587"/>
                  </a:cubicBezTo>
                  <a:cubicBezTo>
                    <a:pt x="985" y="10688"/>
                    <a:pt x="985" y="10587"/>
                    <a:pt x="915" y="10839"/>
                  </a:cubicBezTo>
                  <a:cubicBezTo>
                    <a:pt x="844" y="11092"/>
                    <a:pt x="809" y="11194"/>
                    <a:pt x="809" y="11194"/>
                  </a:cubicBezTo>
                  <a:cubicBezTo>
                    <a:pt x="493" y="11801"/>
                    <a:pt x="493" y="11801"/>
                    <a:pt x="493" y="11801"/>
                  </a:cubicBezTo>
                  <a:cubicBezTo>
                    <a:pt x="493" y="11801"/>
                    <a:pt x="317" y="12205"/>
                    <a:pt x="317" y="12256"/>
                  </a:cubicBezTo>
                  <a:cubicBezTo>
                    <a:pt x="317" y="12306"/>
                    <a:pt x="317" y="12509"/>
                    <a:pt x="317" y="12509"/>
                  </a:cubicBezTo>
                  <a:cubicBezTo>
                    <a:pt x="457" y="12711"/>
                    <a:pt x="457" y="12711"/>
                    <a:pt x="457" y="12711"/>
                  </a:cubicBezTo>
                  <a:cubicBezTo>
                    <a:pt x="457" y="12913"/>
                    <a:pt x="457" y="12913"/>
                    <a:pt x="457" y="12913"/>
                  </a:cubicBezTo>
                  <a:cubicBezTo>
                    <a:pt x="457" y="12913"/>
                    <a:pt x="457" y="13065"/>
                    <a:pt x="493" y="13116"/>
                  </a:cubicBezTo>
                  <a:cubicBezTo>
                    <a:pt x="528" y="13116"/>
                    <a:pt x="528" y="13116"/>
                    <a:pt x="528" y="13116"/>
                  </a:cubicBezTo>
                  <a:cubicBezTo>
                    <a:pt x="493" y="13268"/>
                    <a:pt x="493" y="13268"/>
                    <a:pt x="493" y="13268"/>
                  </a:cubicBezTo>
                  <a:cubicBezTo>
                    <a:pt x="493" y="13268"/>
                    <a:pt x="528" y="13419"/>
                    <a:pt x="563" y="13419"/>
                  </a:cubicBezTo>
                  <a:cubicBezTo>
                    <a:pt x="563" y="13419"/>
                    <a:pt x="633" y="13470"/>
                    <a:pt x="633" y="13470"/>
                  </a:cubicBezTo>
                  <a:cubicBezTo>
                    <a:pt x="633" y="13470"/>
                    <a:pt x="704" y="13571"/>
                    <a:pt x="704" y="13571"/>
                  </a:cubicBezTo>
                  <a:cubicBezTo>
                    <a:pt x="739" y="13622"/>
                    <a:pt x="704" y="13723"/>
                    <a:pt x="704" y="13723"/>
                  </a:cubicBezTo>
                  <a:cubicBezTo>
                    <a:pt x="704" y="13723"/>
                    <a:pt x="704" y="13773"/>
                    <a:pt x="668" y="13773"/>
                  </a:cubicBezTo>
                  <a:cubicBezTo>
                    <a:pt x="633" y="13773"/>
                    <a:pt x="633" y="13773"/>
                    <a:pt x="563" y="13773"/>
                  </a:cubicBezTo>
                  <a:cubicBezTo>
                    <a:pt x="563" y="13723"/>
                    <a:pt x="563" y="13723"/>
                    <a:pt x="528" y="13723"/>
                  </a:cubicBezTo>
                  <a:cubicBezTo>
                    <a:pt x="457" y="13723"/>
                    <a:pt x="457" y="13723"/>
                    <a:pt x="457" y="13723"/>
                  </a:cubicBezTo>
                  <a:cubicBezTo>
                    <a:pt x="422" y="13723"/>
                    <a:pt x="422" y="13723"/>
                    <a:pt x="387" y="13723"/>
                  </a:cubicBezTo>
                  <a:cubicBezTo>
                    <a:pt x="352" y="13723"/>
                    <a:pt x="352" y="13723"/>
                    <a:pt x="352" y="13723"/>
                  </a:cubicBezTo>
                  <a:cubicBezTo>
                    <a:pt x="317" y="13723"/>
                    <a:pt x="317" y="13723"/>
                    <a:pt x="281" y="13773"/>
                  </a:cubicBezTo>
                  <a:cubicBezTo>
                    <a:pt x="281" y="13824"/>
                    <a:pt x="281" y="13824"/>
                    <a:pt x="281" y="13824"/>
                  </a:cubicBezTo>
                  <a:cubicBezTo>
                    <a:pt x="281" y="13824"/>
                    <a:pt x="246" y="13875"/>
                    <a:pt x="246" y="13925"/>
                  </a:cubicBezTo>
                  <a:cubicBezTo>
                    <a:pt x="211" y="13925"/>
                    <a:pt x="211" y="14026"/>
                    <a:pt x="211" y="14026"/>
                  </a:cubicBezTo>
                  <a:cubicBezTo>
                    <a:pt x="211" y="14026"/>
                    <a:pt x="211" y="14077"/>
                    <a:pt x="211" y="14077"/>
                  </a:cubicBezTo>
                  <a:cubicBezTo>
                    <a:pt x="211" y="14077"/>
                    <a:pt x="211" y="14178"/>
                    <a:pt x="211" y="14178"/>
                  </a:cubicBezTo>
                  <a:cubicBezTo>
                    <a:pt x="176" y="14279"/>
                    <a:pt x="176" y="14279"/>
                    <a:pt x="176" y="14279"/>
                  </a:cubicBezTo>
                  <a:cubicBezTo>
                    <a:pt x="176" y="14279"/>
                    <a:pt x="141" y="14330"/>
                    <a:pt x="176" y="14380"/>
                  </a:cubicBezTo>
                  <a:cubicBezTo>
                    <a:pt x="176" y="14380"/>
                    <a:pt x="176" y="14431"/>
                    <a:pt x="176" y="14431"/>
                  </a:cubicBezTo>
                  <a:cubicBezTo>
                    <a:pt x="211" y="14482"/>
                    <a:pt x="211" y="14482"/>
                    <a:pt x="211" y="14482"/>
                  </a:cubicBezTo>
                  <a:cubicBezTo>
                    <a:pt x="141" y="14583"/>
                    <a:pt x="141" y="14583"/>
                    <a:pt x="141" y="14583"/>
                  </a:cubicBezTo>
                  <a:cubicBezTo>
                    <a:pt x="141" y="14684"/>
                    <a:pt x="141" y="14684"/>
                    <a:pt x="141" y="14684"/>
                  </a:cubicBezTo>
                  <a:cubicBezTo>
                    <a:pt x="141" y="14684"/>
                    <a:pt x="176" y="14735"/>
                    <a:pt x="141" y="14785"/>
                  </a:cubicBezTo>
                  <a:cubicBezTo>
                    <a:pt x="141" y="14785"/>
                    <a:pt x="106" y="14836"/>
                    <a:pt x="106" y="14836"/>
                  </a:cubicBezTo>
                  <a:cubicBezTo>
                    <a:pt x="106" y="14836"/>
                    <a:pt x="35" y="14937"/>
                    <a:pt x="35" y="14937"/>
                  </a:cubicBezTo>
                  <a:cubicBezTo>
                    <a:pt x="35" y="14937"/>
                    <a:pt x="35" y="14987"/>
                    <a:pt x="35" y="14987"/>
                  </a:cubicBezTo>
                  <a:cubicBezTo>
                    <a:pt x="35" y="14987"/>
                    <a:pt x="0" y="15089"/>
                    <a:pt x="0" y="15089"/>
                  </a:cubicBezTo>
                  <a:cubicBezTo>
                    <a:pt x="0" y="15089"/>
                    <a:pt x="0" y="15240"/>
                    <a:pt x="0" y="15240"/>
                  </a:cubicBezTo>
                  <a:cubicBezTo>
                    <a:pt x="0" y="15240"/>
                    <a:pt x="35" y="15291"/>
                    <a:pt x="35" y="15291"/>
                  </a:cubicBezTo>
                  <a:cubicBezTo>
                    <a:pt x="35" y="15291"/>
                    <a:pt x="35" y="15342"/>
                    <a:pt x="35" y="15392"/>
                  </a:cubicBezTo>
                  <a:cubicBezTo>
                    <a:pt x="0" y="15392"/>
                    <a:pt x="35" y="15443"/>
                    <a:pt x="35" y="15493"/>
                  </a:cubicBezTo>
                  <a:cubicBezTo>
                    <a:pt x="35" y="15493"/>
                    <a:pt x="35" y="15544"/>
                    <a:pt x="35" y="15544"/>
                  </a:cubicBezTo>
                  <a:cubicBezTo>
                    <a:pt x="0" y="15645"/>
                    <a:pt x="0" y="15645"/>
                    <a:pt x="0" y="15645"/>
                  </a:cubicBezTo>
                  <a:cubicBezTo>
                    <a:pt x="0" y="15645"/>
                    <a:pt x="0" y="15645"/>
                    <a:pt x="0" y="15645"/>
                  </a:cubicBezTo>
                  <a:cubicBezTo>
                    <a:pt x="0" y="15696"/>
                    <a:pt x="0" y="15696"/>
                    <a:pt x="0" y="15696"/>
                  </a:cubicBezTo>
                  <a:cubicBezTo>
                    <a:pt x="0" y="15797"/>
                    <a:pt x="0" y="15797"/>
                    <a:pt x="0" y="15797"/>
                  </a:cubicBezTo>
                  <a:cubicBezTo>
                    <a:pt x="70" y="15797"/>
                    <a:pt x="70" y="15797"/>
                    <a:pt x="70" y="15797"/>
                  </a:cubicBezTo>
                  <a:cubicBezTo>
                    <a:pt x="106" y="15746"/>
                    <a:pt x="106" y="15746"/>
                    <a:pt x="106" y="15746"/>
                  </a:cubicBezTo>
                  <a:cubicBezTo>
                    <a:pt x="281" y="15645"/>
                    <a:pt x="281" y="15645"/>
                    <a:pt x="281" y="15645"/>
                  </a:cubicBezTo>
                  <a:cubicBezTo>
                    <a:pt x="387" y="15797"/>
                    <a:pt x="387" y="15797"/>
                    <a:pt x="387" y="15797"/>
                  </a:cubicBezTo>
                  <a:cubicBezTo>
                    <a:pt x="493" y="15949"/>
                    <a:pt x="493" y="15949"/>
                    <a:pt x="493" y="15949"/>
                  </a:cubicBezTo>
                  <a:cubicBezTo>
                    <a:pt x="668" y="15949"/>
                    <a:pt x="668" y="15949"/>
                    <a:pt x="668" y="15949"/>
                  </a:cubicBezTo>
                  <a:cubicBezTo>
                    <a:pt x="774" y="16151"/>
                    <a:pt x="774" y="16151"/>
                    <a:pt x="774" y="16151"/>
                  </a:cubicBezTo>
                  <a:cubicBezTo>
                    <a:pt x="879" y="16303"/>
                    <a:pt x="879" y="16303"/>
                    <a:pt x="879" y="16303"/>
                  </a:cubicBezTo>
                  <a:cubicBezTo>
                    <a:pt x="1055" y="16252"/>
                    <a:pt x="1055" y="16252"/>
                    <a:pt x="1055" y="16252"/>
                  </a:cubicBezTo>
                  <a:cubicBezTo>
                    <a:pt x="1231" y="16404"/>
                    <a:pt x="1231" y="16404"/>
                    <a:pt x="1231" y="16404"/>
                  </a:cubicBezTo>
                  <a:cubicBezTo>
                    <a:pt x="1196" y="16556"/>
                    <a:pt x="1196" y="16556"/>
                    <a:pt x="1196" y="16556"/>
                  </a:cubicBezTo>
                  <a:cubicBezTo>
                    <a:pt x="1196" y="16556"/>
                    <a:pt x="1337" y="16303"/>
                    <a:pt x="1372" y="16252"/>
                  </a:cubicBezTo>
                  <a:cubicBezTo>
                    <a:pt x="1407" y="16202"/>
                    <a:pt x="1548" y="16151"/>
                    <a:pt x="1548" y="16151"/>
                  </a:cubicBezTo>
                  <a:cubicBezTo>
                    <a:pt x="1548" y="16151"/>
                    <a:pt x="1618" y="16252"/>
                    <a:pt x="1689" y="16303"/>
                  </a:cubicBezTo>
                  <a:cubicBezTo>
                    <a:pt x="1794" y="16303"/>
                    <a:pt x="1794" y="16303"/>
                    <a:pt x="1794" y="16303"/>
                  </a:cubicBezTo>
                  <a:cubicBezTo>
                    <a:pt x="1864" y="16303"/>
                    <a:pt x="2146" y="16252"/>
                    <a:pt x="2146" y="16252"/>
                  </a:cubicBezTo>
                  <a:cubicBezTo>
                    <a:pt x="2533" y="16303"/>
                    <a:pt x="2533" y="16303"/>
                    <a:pt x="2533" y="16303"/>
                  </a:cubicBezTo>
                  <a:cubicBezTo>
                    <a:pt x="2744" y="16151"/>
                    <a:pt x="2744" y="16151"/>
                    <a:pt x="2744" y="16151"/>
                  </a:cubicBezTo>
                  <a:cubicBezTo>
                    <a:pt x="3166" y="16202"/>
                    <a:pt x="3166" y="16202"/>
                    <a:pt x="3166" y="16202"/>
                  </a:cubicBezTo>
                  <a:cubicBezTo>
                    <a:pt x="3236" y="16151"/>
                    <a:pt x="3236" y="16151"/>
                    <a:pt x="3236" y="16151"/>
                  </a:cubicBezTo>
                  <a:cubicBezTo>
                    <a:pt x="3272" y="16202"/>
                    <a:pt x="3272" y="16202"/>
                    <a:pt x="3272" y="16202"/>
                  </a:cubicBezTo>
                  <a:cubicBezTo>
                    <a:pt x="3412" y="16151"/>
                    <a:pt x="3412" y="16151"/>
                    <a:pt x="3412" y="16151"/>
                  </a:cubicBezTo>
                  <a:cubicBezTo>
                    <a:pt x="3553" y="16353"/>
                    <a:pt x="3553" y="16353"/>
                    <a:pt x="3553" y="16353"/>
                  </a:cubicBezTo>
                  <a:cubicBezTo>
                    <a:pt x="3835" y="16303"/>
                    <a:pt x="3835" y="16303"/>
                    <a:pt x="3835" y="16303"/>
                  </a:cubicBezTo>
                  <a:cubicBezTo>
                    <a:pt x="4010" y="15949"/>
                    <a:pt x="4010" y="15949"/>
                    <a:pt x="4010" y="15949"/>
                  </a:cubicBezTo>
                  <a:cubicBezTo>
                    <a:pt x="4010" y="15949"/>
                    <a:pt x="4116" y="15797"/>
                    <a:pt x="4257" y="15746"/>
                  </a:cubicBezTo>
                  <a:cubicBezTo>
                    <a:pt x="4397" y="15746"/>
                    <a:pt x="4644" y="15594"/>
                    <a:pt x="4644" y="15594"/>
                  </a:cubicBezTo>
                  <a:lnTo>
                    <a:pt x="4960" y="15342"/>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7" name="Shape 2260">
              <a:extLst>
                <a:ext uri="{FF2B5EF4-FFF2-40B4-BE49-F238E27FC236}">
                  <a16:creationId xmlns:a16="http://schemas.microsoft.com/office/drawing/2014/main" id="{2747BB52-3CC7-5C10-60BB-B6455F38990A}"/>
                </a:ext>
              </a:extLst>
            </p:cNvPr>
            <p:cNvSpPr/>
            <p:nvPr/>
          </p:nvSpPr>
          <p:spPr>
            <a:xfrm>
              <a:off x="3795817" y="1034998"/>
              <a:ext cx="1163205" cy="3062297"/>
            </a:xfrm>
            <a:custGeom>
              <a:avLst/>
              <a:gdLst/>
              <a:ahLst/>
              <a:cxnLst>
                <a:cxn ang="0">
                  <a:pos x="wd2" y="hd2"/>
                </a:cxn>
                <a:cxn ang="5400000">
                  <a:pos x="wd2" y="hd2"/>
                </a:cxn>
                <a:cxn ang="10800000">
                  <a:pos x="wd2" y="hd2"/>
                </a:cxn>
                <a:cxn ang="16200000">
                  <a:pos x="wd2" y="hd2"/>
                </a:cxn>
              </a:cxnLst>
              <a:rect l="0" t="0" r="r" b="b"/>
              <a:pathLst>
                <a:path w="21600" h="21584" extrusionOk="0">
                  <a:moveTo>
                    <a:pt x="19532" y="2481"/>
                  </a:moveTo>
                  <a:cubicBezTo>
                    <a:pt x="19532" y="2453"/>
                    <a:pt x="19532" y="2453"/>
                    <a:pt x="19532" y="2453"/>
                  </a:cubicBezTo>
                  <a:cubicBezTo>
                    <a:pt x="19532" y="2453"/>
                    <a:pt x="19379" y="2340"/>
                    <a:pt x="19455" y="2284"/>
                  </a:cubicBezTo>
                  <a:cubicBezTo>
                    <a:pt x="19455" y="2284"/>
                    <a:pt x="19455" y="2284"/>
                    <a:pt x="19455" y="2256"/>
                  </a:cubicBezTo>
                  <a:cubicBezTo>
                    <a:pt x="19455" y="2228"/>
                    <a:pt x="19455" y="2228"/>
                    <a:pt x="19455" y="2228"/>
                  </a:cubicBezTo>
                  <a:cubicBezTo>
                    <a:pt x="19149" y="2256"/>
                    <a:pt x="19149" y="2256"/>
                    <a:pt x="19149" y="2256"/>
                  </a:cubicBezTo>
                  <a:cubicBezTo>
                    <a:pt x="18919" y="2143"/>
                    <a:pt x="18919" y="2143"/>
                    <a:pt x="18919" y="2143"/>
                  </a:cubicBezTo>
                  <a:cubicBezTo>
                    <a:pt x="18996" y="2002"/>
                    <a:pt x="18996" y="2002"/>
                    <a:pt x="18996" y="2002"/>
                  </a:cubicBezTo>
                  <a:cubicBezTo>
                    <a:pt x="18843" y="1664"/>
                    <a:pt x="18843" y="1664"/>
                    <a:pt x="18843" y="1664"/>
                  </a:cubicBezTo>
                  <a:cubicBezTo>
                    <a:pt x="18996" y="1495"/>
                    <a:pt x="18996" y="1495"/>
                    <a:pt x="18996" y="1495"/>
                  </a:cubicBezTo>
                  <a:cubicBezTo>
                    <a:pt x="18536" y="1410"/>
                    <a:pt x="18536" y="1410"/>
                    <a:pt x="18536" y="1410"/>
                  </a:cubicBezTo>
                  <a:cubicBezTo>
                    <a:pt x="18230" y="1241"/>
                    <a:pt x="18230" y="1241"/>
                    <a:pt x="18230" y="1241"/>
                  </a:cubicBezTo>
                  <a:cubicBezTo>
                    <a:pt x="18230" y="1241"/>
                    <a:pt x="18153" y="1297"/>
                    <a:pt x="18077" y="1269"/>
                  </a:cubicBezTo>
                  <a:cubicBezTo>
                    <a:pt x="18000" y="1241"/>
                    <a:pt x="17617" y="1015"/>
                    <a:pt x="17617" y="1015"/>
                  </a:cubicBezTo>
                  <a:cubicBezTo>
                    <a:pt x="16928" y="931"/>
                    <a:pt x="16928" y="931"/>
                    <a:pt x="16928" y="931"/>
                  </a:cubicBezTo>
                  <a:cubicBezTo>
                    <a:pt x="16621" y="874"/>
                    <a:pt x="16621" y="874"/>
                    <a:pt x="16621" y="874"/>
                  </a:cubicBezTo>
                  <a:cubicBezTo>
                    <a:pt x="16238" y="846"/>
                    <a:pt x="16238" y="846"/>
                    <a:pt x="16238" y="846"/>
                  </a:cubicBezTo>
                  <a:cubicBezTo>
                    <a:pt x="16238" y="846"/>
                    <a:pt x="16162" y="902"/>
                    <a:pt x="16085" y="846"/>
                  </a:cubicBezTo>
                  <a:cubicBezTo>
                    <a:pt x="16009" y="790"/>
                    <a:pt x="15855" y="733"/>
                    <a:pt x="15855" y="733"/>
                  </a:cubicBezTo>
                  <a:cubicBezTo>
                    <a:pt x="15549" y="761"/>
                    <a:pt x="15549" y="761"/>
                    <a:pt x="15549" y="761"/>
                  </a:cubicBezTo>
                  <a:cubicBezTo>
                    <a:pt x="15319" y="649"/>
                    <a:pt x="15319" y="649"/>
                    <a:pt x="15319" y="649"/>
                  </a:cubicBezTo>
                  <a:cubicBezTo>
                    <a:pt x="15319" y="649"/>
                    <a:pt x="15243" y="649"/>
                    <a:pt x="15166" y="649"/>
                  </a:cubicBezTo>
                  <a:cubicBezTo>
                    <a:pt x="15089" y="620"/>
                    <a:pt x="14936" y="592"/>
                    <a:pt x="14936" y="592"/>
                  </a:cubicBezTo>
                  <a:cubicBezTo>
                    <a:pt x="14706" y="451"/>
                    <a:pt x="14706" y="451"/>
                    <a:pt x="14706" y="451"/>
                  </a:cubicBezTo>
                  <a:cubicBezTo>
                    <a:pt x="14400" y="395"/>
                    <a:pt x="14400" y="395"/>
                    <a:pt x="14400" y="395"/>
                  </a:cubicBezTo>
                  <a:cubicBezTo>
                    <a:pt x="14017" y="338"/>
                    <a:pt x="14017" y="338"/>
                    <a:pt x="14017" y="338"/>
                  </a:cubicBezTo>
                  <a:cubicBezTo>
                    <a:pt x="14017" y="226"/>
                    <a:pt x="14017" y="226"/>
                    <a:pt x="14017" y="226"/>
                  </a:cubicBezTo>
                  <a:cubicBezTo>
                    <a:pt x="13481" y="113"/>
                    <a:pt x="13481" y="113"/>
                    <a:pt x="13481" y="113"/>
                  </a:cubicBezTo>
                  <a:cubicBezTo>
                    <a:pt x="13481" y="113"/>
                    <a:pt x="13404" y="56"/>
                    <a:pt x="13481" y="56"/>
                  </a:cubicBezTo>
                  <a:cubicBezTo>
                    <a:pt x="13557" y="28"/>
                    <a:pt x="13787" y="28"/>
                    <a:pt x="13940" y="28"/>
                  </a:cubicBezTo>
                  <a:cubicBezTo>
                    <a:pt x="13557" y="0"/>
                    <a:pt x="13557" y="0"/>
                    <a:pt x="13557" y="0"/>
                  </a:cubicBezTo>
                  <a:cubicBezTo>
                    <a:pt x="13098" y="141"/>
                    <a:pt x="13098" y="141"/>
                    <a:pt x="13098" y="141"/>
                  </a:cubicBezTo>
                  <a:cubicBezTo>
                    <a:pt x="12868" y="141"/>
                    <a:pt x="12868" y="141"/>
                    <a:pt x="12868" y="141"/>
                  </a:cubicBezTo>
                  <a:cubicBezTo>
                    <a:pt x="12868" y="141"/>
                    <a:pt x="12715" y="169"/>
                    <a:pt x="12715" y="197"/>
                  </a:cubicBezTo>
                  <a:cubicBezTo>
                    <a:pt x="12791" y="226"/>
                    <a:pt x="12945" y="479"/>
                    <a:pt x="13021" y="536"/>
                  </a:cubicBezTo>
                  <a:cubicBezTo>
                    <a:pt x="13098" y="564"/>
                    <a:pt x="13098" y="761"/>
                    <a:pt x="12791" y="902"/>
                  </a:cubicBezTo>
                  <a:cubicBezTo>
                    <a:pt x="13098" y="1015"/>
                    <a:pt x="13098" y="1015"/>
                    <a:pt x="13098" y="1015"/>
                  </a:cubicBezTo>
                  <a:cubicBezTo>
                    <a:pt x="12791" y="1156"/>
                    <a:pt x="12791" y="1156"/>
                    <a:pt x="12791" y="1156"/>
                  </a:cubicBezTo>
                  <a:cubicBezTo>
                    <a:pt x="12332" y="1184"/>
                    <a:pt x="12332" y="1184"/>
                    <a:pt x="12332" y="1184"/>
                  </a:cubicBezTo>
                  <a:cubicBezTo>
                    <a:pt x="12332" y="1184"/>
                    <a:pt x="11872" y="1156"/>
                    <a:pt x="11796" y="1128"/>
                  </a:cubicBezTo>
                  <a:cubicBezTo>
                    <a:pt x="11719" y="1100"/>
                    <a:pt x="11336" y="1043"/>
                    <a:pt x="11260" y="1043"/>
                  </a:cubicBezTo>
                  <a:cubicBezTo>
                    <a:pt x="11106" y="1072"/>
                    <a:pt x="10034" y="1043"/>
                    <a:pt x="10034" y="1043"/>
                  </a:cubicBezTo>
                  <a:cubicBezTo>
                    <a:pt x="9804" y="1156"/>
                    <a:pt x="9881" y="1748"/>
                    <a:pt x="9957" y="1833"/>
                  </a:cubicBezTo>
                  <a:cubicBezTo>
                    <a:pt x="9804" y="1946"/>
                    <a:pt x="9804" y="1946"/>
                    <a:pt x="9804" y="1946"/>
                  </a:cubicBezTo>
                  <a:cubicBezTo>
                    <a:pt x="9421" y="1946"/>
                    <a:pt x="9421" y="1946"/>
                    <a:pt x="9421" y="1946"/>
                  </a:cubicBezTo>
                  <a:cubicBezTo>
                    <a:pt x="8655" y="1805"/>
                    <a:pt x="8655" y="1805"/>
                    <a:pt x="8655" y="1805"/>
                  </a:cubicBezTo>
                  <a:cubicBezTo>
                    <a:pt x="8349" y="2030"/>
                    <a:pt x="8349" y="2030"/>
                    <a:pt x="8349" y="2030"/>
                  </a:cubicBezTo>
                  <a:cubicBezTo>
                    <a:pt x="8349" y="2030"/>
                    <a:pt x="8043" y="2143"/>
                    <a:pt x="8043" y="2199"/>
                  </a:cubicBezTo>
                  <a:cubicBezTo>
                    <a:pt x="8043" y="2228"/>
                    <a:pt x="7889" y="2340"/>
                    <a:pt x="7889" y="2340"/>
                  </a:cubicBezTo>
                  <a:cubicBezTo>
                    <a:pt x="7889" y="2369"/>
                    <a:pt x="7889" y="2566"/>
                    <a:pt x="7889" y="2566"/>
                  </a:cubicBezTo>
                  <a:cubicBezTo>
                    <a:pt x="7736" y="2679"/>
                    <a:pt x="7736" y="2679"/>
                    <a:pt x="7736" y="2679"/>
                  </a:cubicBezTo>
                  <a:cubicBezTo>
                    <a:pt x="7277" y="2792"/>
                    <a:pt x="7277" y="2792"/>
                    <a:pt x="7277" y="2792"/>
                  </a:cubicBezTo>
                  <a:cubicBezTo>
                    <a:pt x="7277" y="2933"/>
                    <a:pt x="7277" y="2933"/>
                    <a:pt x="7277" y="2933"/>
                  </a:cubicBezTo>
                  <a:cubicBezTo>
                    <a:pt x="7277" y="2933"/>
                    <a:pt x="7506" y="3102"/>
                    <a:pt x="7660" y="3130"/>
                  </a:cubicBezTo>
                  <a:cubicBezTo>
                    <a:pt x="7736" y="3186"/>
                    <a:pt x="7889" y="3412"/>
                    <a:pt x="7889" y="3412"/>
                  </a:cubicBezTo>
                  <a:cubicBezTo>
                    <a:pt x="7889" y="3412"/>
                    <a:pt x="7660" y="3609"/>
                    <a:pt x="7583" y="3666"/>
                  </a:cubicBezTo>
                  <a:cubicBezTo>
                    <a:pt x="7506" y="3722"/>
                    <a:pt x="6894" y="4004"/>
                    <a:pt x="6894" y="4004"/>
                  </a:cubicBezTo>
                  <a:cubicBezTo>
                    <a:pt x="6511" y="4371"/>
                    <a:pt x="6511" y="4371"/>
                    <a:pt x="6511" y="4371"/>
                  </a:cubicBezTo>
                  <a:cubicBezTo>
                    <a:pt x="6511" y="4625"/>
                    <a:pt x="6511" y="4625"/>
                    <a:pt x="6511" y="4625"/>
                  </a:cubicBezTo>
                  <a:cubicBezTo>
                    <a:pt x="6434" y="4766"/>
                    <a:pt x="6434" y="4766"/>
                    <a:pt x="6434" y="4766"/>
                  </a:cubicBezTo>
                  <a:cubicBezTo>
                    <a:pt x="5898" y="4963"/>
                    <a:pt x="5898" y="4963"/>
                    <a:pt x="5898" y="4963"/>
                  </a:cubicBezTo>
                  <a:cubicBezTo>
                    <a:pt x="5209" y="4991"/>
                    <a:pt x="5209" y="4991"/>
                    <a:pt x="5209" y="4991"/>
                  </a:cubicBezTo>
                  <a:cubicBezTo>
                    <a:pt x="4979" y="5076"/>
                    <a:pt x="4979" y="5076"/>
                    <a:pt x="4979" y="5076"/>
                  </a:cubicBezTo>
                  <a:cubicBezTo>
                    <a:pt x="5362" y="5555"/>
                    <a:pt x="5362" y="5555"/>
                    <a:pt x="5362" y="5555"/>
                  </a:cubicBezTo>
                  <a:cubicBezTo>
                    <a:pt x="5209" y="5781"/>
                    <a:pt x="5209" y="5781"/>
                    <a:pt x="5209" y="5781"/>
                  </a:cubicBezTo>
                  <a:cubicBezTo>
                    <a:pt x="5132" y="5978"/>
                    <a:pt x="5132" y="5978"/>
                    <a:pt x="5132" y="5978"/>
                  </a:cubicBezTo>
                  <a:cubicBezTo>
                    <a:pt x="5132" y="5978"/>
                    <a:pt x="4979" y="6147"/>
                    <a:pt x="5055" y="6175"/>
                  </a:cubicBezTo>
                  <a:cubicBezTo>
                    <a:pt x="5132" y="6232"/>
                    <a:pt x="5209" y="6345"/>
                    <a:pt x="5209" y="6345"/>
                  </a:cubicBezTo>
                  <a:cubicBezTo>
                    <a:pt x="4902" y="6429"/>
                    <a:pt x="4902" y="6429"/>
                    <a:pt x="4902" y="6429"/>
                  </a:cubicBezTo>
                  <a:cubicBezTo>
                    <a:pt x="4979" y="6598"/>
                    <a:pt x="4979" y="6598"/>
                    <a:pt x="4979" y="6598"/>
                  </a:cubicBezTo>
                  <a:cubicBezTo>
                    <a:pt x="3830" y="7332"/>
                    <a:pt x="3830" y="7332"/>
                    <a:pt x="3830" y="7332"/>
                  </a:cubicBezTo>
                  <a:cubicBezTo>
                    <a:pt x="3983" y="7473"/>
                    <a:pt x="3983" y="7473"/>
                    <a:pt x="3983" y="7473"/>
                  </a:cubicBezTo>
                  <a:cubicBezTo>
                    <a:pt x="4672" y="7529"/>
                    <a:pt x="4672" y="7529"/>
                    <a:pt x="4672" y="7529"/>
                  </a:cubicBezTo>
                  <a:cubicBezTo>
                    <a:pt x="4749" y="7980"/>
                    <a:pt x="4749" y="7980"/>
                    <a:pt x="4749" y="7980"/>
                  </a:cubicBezTo>
                  <a:cubicBezTo>
                    <a:pt x="4519" y="8178"/>
                    <a:pt x="4519" y="8178"/>
                    <a:pt x="4519" y="8178"/>
                  </a:cubicBezTo>
                  <a:cubicBezTo>
                    <a:pt x="4443" y="8234"/>
                    <a:pt x="4443" y="8234"/>
                    <a:pt x="4443" y="8234"/>
                  </a:cubicBezTo>
                  <a:cubicBezTo>
                    <a:pt x="2604" y="8262"/>
                    <a:pt x="2604" y="8262"/>
                    <a:pt x="2604" y="8262"/>
                  </a:cubicBezTo>
                  <a:cubicBezTo>
                    <a:pt x="1609" y="8742"/>
                    <a:pt x="1609" y="8742"/>
                    <a:pt x="1609" y="8742"/>
                  </a:cubicBezTo>
                  <a:cubicBezTo>
                    <a:pt x="1455" y="9023"/>
                    <a:pt x="1455" y="9023"/>
                    <a:pt x="1455" y="9023"/>
                  </a:cubicBezTo>
                  <a:cubicBezTo>
                    <a:pt x="1379" y="9221"/>
                    <a:pt x="1379" y="9221"/>
                    <a:pt x="1379" y="9221"/>
                  </a:cubicBezTo>
                  <a:cubicBezTo>
                    <a:pt x="1379" y="9221"/>
                    <a:pt x="1149" y="9334"/>
                    <a:pt x="1149" y="9390"/>
                  </a:cubicBezTo>
                  <a:cubicBezTo>
                    <a:pt x="1149" y="9418"/>
                    <a:pt x="1149" y="9587"/>
                    <a:pt x="1149" y="9587"/>
                  </a:cubicBezTo>
                  <a:cubicBezTo>
                    <a:pt x="1455" y="9813"/>
                    <a:pt x="1455" y="9813"/>
                    <a:pt x="1455" y="9813"/>
                  </a:cubicBezTo>
                  <a:cubicBezTo>
                    <a:pt x="1455" y="9982"/>
                    <a:pt x="1455" y="9982"/>
                    <a:pt x="1455" y="9982"/>
                  </a:cubicBezTo>
                  <a:cubicBezTo>
                    <a:pt x="1302" y="10067"/>
                    <a:pt x="1302" y="10067"/>
                    <a:pt x="1302" y="10067"/>
                  </a:cubicBezTo>
                  <a:cubicBezTo>
                    <a:pt x="1379" y="10264"/>
                    <a:pt x="1379" y="10264"/>
                    <a:pt x="1379" y="10264"/>
                  </a:cubicBezTo>
                  <a:cubicBezTo>
                    <a:pt x="1379" y="10264"/>
                    <a:pt x="1455" y="10321"/>
                    <a:pt x="1379" y="10349"/>
                  </a:cubicBezTo>
                  <a:cubicBezTo>
                    <a:pt x="1226" y="10405"/>
                    <a:pt x="1226" y="10462"/>
                    <a:pt x="1302" y="10518"/>
                  </a:cubicBezTo>
                  <a:cubicBezTo>
                    <a:pt x="1302" y="10546"/>
                    <a:pt x="1838" y="10913"/>
                    <a:pt x="1838" y="10913"/>
                  </a:cubicBezTo>
                  <a:cubicBezTo>
                    <a:pt x="1915" y="11787"/>
                    <a:pt x="1915" y="11787"/>
                    <a:pt x="1915" y="11787"/>
                  </a:cubicBezTo>
                  <a:cubicBezTo>
                    <a:pt x="2145" y="12013"/>
                    <a:pt x="2145" y="12013"/>
                    <a:pt x="2145" y="12013"/>
                  </a:cubicBezTo>
                  <a:cubicBezTo>
                    <a:pt x="2681" y="12154"/>
                    <a:pt x="2681" y="12154"/>
                    <a:pt x="2681" y="12154"/>
                  </a:cubicBezTo>
                  <a:cubicBezTo>
                    <a:pt x="3140" y="12295"/>
                    <a:pt x="3140" y="12295"/>
                    <a:pt x="3140" y="12295"/>
                  </a:cubicBezTo>
                  <a:cubicBezTo>
                    <a:pt x="3217" y="12548"/>
                    <a:pt x="3217" y="12548"/>
                    <a:pt x="3217" y="12548"/>
                  </a:cubicBezTo>
                  <a:cubicBezTo>
                    <a:pt x="3217" y="12548"/>
                    <a:pt x="3064" y="12746"/>
                    <a:pt x="3064" y="12774"/>
                  </a:cubicBezTo>
                  <a:cubicBezTo>
                    <a:pt x="3140" y="12802"/>
                    <a:pt x="2681" y="12802"/>
                    <a:pt x="2681" y="12802"/>
                  </a:cubicBezTo>
                  <a:cubicBezTo>
                    <a:pt x="2298" y="12830"/>
                    <a:pt x="2298" y="12830"/>
                    <a:pt x="2298" y="12830"/>
                  </a:cubicBezTo>
                  <a:cubicBezTo>
                    <a:pt x="1915" y="12971"/>
                    <a:pt x="1915" y="12971"/>
                    <a:pt x="1915" y="12971"/>
                  </a:cubicBezTo>
                  <a:cubicBezTo>
                    <a:pt x="2068" y="13140"/>
                    <a:pt x="2068" y="13140"/>
                    <a:pt x="2068" y="13140"/>
                  </a:cubicBezTo>
                  <a:cubicBezTo>
                    <a:pt x="2298" y="13394"/>
                    <a:pt x="2298" y="13394"/>
                    <a:pt x="2298" y="13394"/>
                  </a:cubicBezTo>
                  <a:cubicBezTo>
                    <a:pt x="2757" y="13592"/>
                    <a:pt x="2757" y="13592"/>
                    <a:pt x="2757" y="13592"/>
                  </a:cubicBezTo>
                  <a:cubicBezTo>
                    <a:pt x="2911" y="13761"/>
                    <a:pt x="2911" y="13761"/>
                    <a:pt x="2911" y="13761"/>
                  </a:cubicBezTo>
                  <a:cubicBezTo>
                    <a:pt x="2681" y="13930"/>
                    <a:pt x="2681" y="13930"/>
                    <a:pt x="2681" y="13930"/>
                  </a:cubicBezTo>
                  <a:cubicBezTo>
                    <a:pt x="2528" y="14015"/>
                    <a:pt x="2528" y="14015"/>
                    <a:pt x="2528" y="14015"/>
                  </a:cubicBezTo>
                  <a:cubicBezTo>
                    <a:pt x="2681" y="14156"/>
                    <a:pt x="2681" y="14156"/>
                    <a:pt x="2681" y="14156"/>
                  </a:cubicBezTo>
                  <a:cubicBezTo>
                    <a:pt x="2681" y="14297"/>
                    <a:pt x="2681" y="14297"/>
                    <a:pt x="2681" y="14297"/>
                  </a:cubicBezTo>
                  <a:cubicBezTo>
                    <a:pt x="2681" y="14297"/>
                    <a:pt x="2528" y="14381"/>
                    <a:pt x="2528" y="14409"/>
                  </a:cubicBezTo>
                  <a:cubicBezTo>
                    <a:pt x="2528" y="14438"/>
                    <a:pt x="2221" y="14522"/>
                    <a:pt x="2221" y="14522"/>
                  </a:cubicBezTo>
                  <a:cubicBezTo>
                    <a:pt x="1991" y="14607"/>
                    <a:pt x="1991" y="14607"/>
                    <a:pt x="1991" y="14607"/>
                  </a:cubicBezTo>
                  <a:cubicBezTo>
                    <a:pt x="1762" y="14635"/>
                    <a:pt x="1762" y="14635"/>
                    <a:pt x="1762" y="14635"/>
                  </a:cubicBezTo>
                  <a:cubicBezTo>
                    <a:pt x="1762" y="14635"/>
                    <a:pt x="1609" y="14607"/>
                    <a:pt x="1532" y="14635"/>
                  </a:cubicBezTo>
                  <a:cubicBezTo>
                    <a:pt x="1532" y="14635"/>
                    <a:pt x="1379" y="14691"/>
                    <a:pt x="1379" y="14691"/>
                  </a:cubicBezTo>
                  <a:cubicBezTo>
                    <a:pt x="1379" y="14776"/>
                    <a:pt x="1379" y="14776"/>
                    <a:pt x="1379" y="14776"/>
                  </a:cubicBezTo>
                  <a:cubicBezTo>
                    <a:pt x="1532" y="14832"/>
                    <a:pt x="1532" y="14832"/>
                    <a:pt x="1532" y="14832"/>
                  </a:cubicBezTo>
                  <a:cubicBezTo>
                    <a:pt x="1455" y="14973"/>
                    <a:pt x="1455" y="14973"/>
                    <a:pt x="1455" y="14973"/>
                  </a:cubicBezTo>
                  <a:cubicBezTo>
                    <a:pt x="1226" y="15058"/>
                    <a:pt x="1226" y="15058"/>
                    <a:pt x="1226" y="15058"/>
                  </a:cubicBezTo>
                  <a:cubicBezTo>
                    <a:pt x="996" y="15086"/>
                    <a:pt x="996" y="15086"/>
                    <a:pt x="996" y="15086"/>
                  </a:cubicBezTo>
                  <a:cubicBezTo>
                    <a:pt x="1149" y="15255"/>
                    <a:pt x="1149" y="15255"/>
                    <a:pt x="1149" y="15255"/>
                  </a:cubicBezTo>
                  <a:cubicBezTo>
                    <a:pt x="1455" y="15453"/>
                    <a:pt x="1455" y="15453"/>
                    <a:pt x="1455" y="15453"/>
                  </a:cubicBezTo>
                  <a:cubicBezTo>
                    <a:pt x="1455" y="15622"/>
                    <a:pt x="1455" y="15622"/>
                    <a:pt x="1455" y="15622"/>
                  </a:cubicBezTo>
                  <a:cubicBezTo>
                    <a:pt x="1226" y="15791"/>
                    <a:pt x="1226" y="15791"/>
                    <a:pt x="1226" y="15791"/>
                  </a:cubicBezTo>
                  <a:cubicBezTo>
                    <a:pt x="1149" y="15989"/>
                    <a:pt x="1149" y="15989"/>
                    <a:pt x="1149" y="15989"/>
                  </a:cubicBezTo>
                  <a:cubicBezTo>
                    <a:pt x="1072" y="16158"/>
                    <a:pt x="1072" y="16158"/>
                    <a:pt x="1072" y="16158"/>
                  </a:cubicBezTo>
                  <a:cubicBezTo>
                    <a:pt x="919" y="16186"/>
                    <a:pt x="919" y="16186"/>
                    <a:pt x="919" y="16186"/>
                  </a:cubicBezTo>
                  <a:cubicBezTo>
                    <a:pt x="689" y="16186"/>
                    <a:pt x="689" y="16186"/>
                    <a:pt x="689" y="16186"/>
                  </a:cubicBezTo>
                  <a:cubicBezTo>
                    <a:pt x="689" y="16186"/>
                    <a:pt x="689" y="16017"/>
                    <a:pt x="613" y="15989"/>
                  </a:cubicBezTo>
                  <a:cubicBezTo>
                    <a:pt x="613" y="15989"/>
                    <a:pt x="77" y="15819"/>
                    <a:pt x="77" y="15819"/>
                  </a:cubicBezTo>
                  <a:cubicBezTo>
                    <a:pt x="77" y="15989"/>
                    <a:pt x="77" y="15989"/>
                    <a:pt x="77" y="15989"/>
                  </a:cubicBezTo>
                  <a:cubicBezTo>
                    <a:pt x="0" y="16186"/>
                    <a:pt x="0" y="16186"/>
                    <a:pt x="0" y="16186"/>
                  </a:cubicBezTo>
                  <a:cubicBezTo>
                    <a:pt x="0" y="16186"/>
                    <a:pt x="77" y="16299"/>
                    <a:pt x="153" y="16327"/>
                  </a:cubicBezTo>
                  <a:cubicBezTo>
                    <a:pt x="230" y="16355"/>
                    <a:pt x="306" y="16552"/>
                    <a:pt x="306" y="16552"/>
                  </a:cubicBezTo>
                  <a:cubicBezTo>
                    <a:pt x="230" y="16750"/>
                    <a:pt x="230" y="16750"/>
                    <a:pt x="230" y="16750"/>
                  </a:cubicBezTo>
                  <a:cubicBezTo>
                    <a:pt x="230" y="16750"/>
                    <a:pt x="383" y="16891"/>
                    <a:pt x="383" y="16891"/>
                  </a:cubicBezTo>
                  <a:cubicBezTo>
                    <a:pt x="383" y="16919"/>
                    <a:pt x="460" y="17032"/>
                    <a:pt x="460" y="17032"/>
                  </a:cubicBezTo>
                  <a:cubicBezTo>
                    <a:pt x="766" y="17004"/>
                    <a:pt x="766" y="17004"/>
                    <a:pt x="766" y="17004"/>
                  </a:cubicBezTo>
                  <a:cubicBezTo>
                    <a:pt x="689" y="16919"/>
                    <a:pt x="689" y="16919"/>
                    <a:pt x="689" y="16919"/>
                  </a:cubicBezTo>
                  <a:cubicBezTo>
                    <a:pt x="919" y="17032"/>
                    <a:pt x="919" y="17032"/>
                    <a:pt x="919" y="17032"/>
                  </a:cubicBezTo>
                  <a:cubicBezTo>
                    <a:pt x="919" y="17032"/>
                    <a:pt x="766" y="17060"/>
                    <a:pt x="919" y="17032"/>
                  </a:cubicBezTo>
                  <a:cubicBezTo>
                    <a:pt x="996" y="17032"/>
                    <a:pt x="1149" y="16975"/>
                    <a:pt x="1149" y="16975"/>
                  </a:cubicBezTo>
                  <a:cubicBezTo>
                    <a:pt x="1072" y="17060"/>
                    <a:pt x="1072" y="17060"/>
                    <a:pt x="1072" y="17060"/>
                  </a:cubicBezTo>
                  <a:cubicBezTo>
                    <a:pt x="919" y="17173"/>
                    <a:pt x="919" y="17173"/>
                    <a:pt x="919" y="17173"/>
                  </a:cubicBezTo>
                  <a:cubicBezTo>
                    <a:pt x="996" y="17201"/>
                    <a:pt x="996" y="17201"/>
                    <a:pt x="996" y="17201"/>
                  </a:cubicBezTo>
                  <a:cubicBezTo>
                    <a:pt x="1226" y="17229"/>
                    <a:pt x="1226" y="17229"/>
                    <a:pt x="1226" y="17229"/>
                  </a:cubicBezTo>
                  <a:cubicBezTo>
                    <a:pt x="919" y="17370"/>
                    <a:pt x="919" y="17370"/>
                    <a:pt x="919" y="17370"/>
                  </a:cubicBezTo>
                  <a:cubicBezTo>
                    <a:pt x="919" y="17370"/>
                    <a:pt x="1072" y="17455"/>
                    <a:pt x="1149" y="17483"/>
                  </a:cubicBezTo>
                  <a:cubicBezTo>
                    <a:pt x="1149" y="17483"/>
                    <a:pt x="1455" y="17398"/>
                    <a:pt x="1455" y="17398"/>
                  </a:cubicBezTo>
                  <a:cubicBezTo>
                    <a:pt x="1455" y="17398"/>
                    <a:pt x="1455" y="17427"/>
                    <a:pt x="1455" y="17455"/>
                  </a:cubicBezTo>
                  <a:cubicBezTo>
                    <a:pt x="1455" y="17455"/>
                    <a:pt x="1226" y="17539"/>
                    <a:pt x="1226" y="17596"/>
                  </a:cubicBezTo>
                  <a:cubicBezTo>
                    <a:pt x="1302" y="17624"/>
                    <a:pt x="1685" y="17568"/>
                    <a:pt x="1609" y="17596"/>
                  </a:cubicBezTo>
                  <a:cubicBezTo>
                    <a:pt x="1532" y="17624"/>
                    <a:pt x="1532" y="17680"/>
                    <a:pt x="1532" y="17680"/>
                  </a:cubicBezTo>
                  <a:cubicBezTo>
                    <a:pt x="1532" y="17680"/>
                    <a:pt x="1302" y="17765"/>
                    <a:pt x="1455" y="17793"/>
                  </a:cubicBezTo>
                  <a:cubicBezTo>
                    <a:pt x="1532" y="17821"/>
                    <a:pt x="1762" y="17850"/>
                    <a:pt x="1685" y="17850"/>
                  </a:cubicBezTo>
                  <a:cubicBezTo>
                    <a:pt x="1685" y="17878"/>
                    <a:pt x="1455" y="17934"/>
                    <a:pt x="1455" y="17934"/>
                  </a:cubicBezTo>
                  <a:cubicBezTo>
                    <a:pt x="1455" y="17934"/>
                    <a:pt x="1379" y="17991"/>
                    <a:pt x="1455" y="18019"/>
                  </a:cubicBezTo>
                  <a:cubicBezTo>
                    <a:pt x="1532" y="18047"/>
                    <a:pt x="1762" y="18047"/>
                    <a:pt x="1762" y="18047"/>
                  </a:cubicBezTo>
                  <a:cubicBezTo>
                    <a:pt x="1762" y="18047"/>
                    <a:pt x="1762" y="17991"/>
                    <a:pt x="1762" y="18019"/>
                  </a:cubicBezTo>
                  <a:cubicBezTo>
                    <a:pt x="1762" y="18047"/>
                    <a:pt x="1685" y="18103"/>
                    <a:pt x="1685" y="18103"/>
                  </a:cubicBezTo>
                  <a:cubicBezTo>
                    <a:pt x="1685" y="18103"/>
                    <a:pt x="1609" y="18160"/>
                    <a:pt x="1685" y="18188"/>
                  </a:cubicBezTo>
                  <a:cubicBezTo>
                    <a:pt x="1762" y="18188"/>
                    <a:pt x="1915" y="18188"/>
                    <a:pt x="1915" y="18188"/>
                  </a:cubicBezTo>
                  <a:cubicBezTo>
                    <a:pt x="1915" y="18188"/>
                    <a:pt x="1915" y="18216"/>
                    <a:pt x="1915" y="18273"/>
                  </a:cubicBezTo>
                  <a:cubicBezTo>
                    <a:pt x="1915" y="18301"/>
                    <a:pt x="1915" y="18385"/>
                    <a:pt x="1915" y="18385"/>
                  </a:cubicBezTo>
                  <a:cubicBezTo>
                    <a:pt x="1915" y="18414"/>
                    <a:pt x="1915" y="18470"/>
                    <a:pt x="1915" y="18470"/>
                  </a:cubicBezTo>
                  <a:cubicBezTo>
                    <a:pt x="1915" y="18470"/>
                    <a:pt x="1838" y="18498"/>
                    <a:pt x="2068" y="18498"/>
                  </a:cubicBezTo>
                  <a:cubicBezTo>
                    <a:pt x="2221" y="18498"/>
                    <a:pt x="2221" y="18470"/>
                    <a:pt x="2298" y="18470"/>
                  </a:cubicBezTo>
                  <a:cubicBezTo>
                    <a:pt x="2374" y="18470"/>
                    <a:pt x="2374" y="18498"/>
                    <a:pt x="2451" y="18526"/>
                  </a:cubicBezTo>
                  <a:cubicBezTo>
                    <a:pt x="2451" y="18583"/>
                    <a:pt x="2451" y="18611"/>
                    <a:pt x="2451" y="18639"/>
                  </a:cubicBezTo>
                  <a:cubicBezTo>
                    <a:pt x="2528" y="18667"/>
                    <a:pt x="2834" y="18949"/>
                    <a:pt x="2834" y="18949"/>
                  </a:cubicBezTo>
                  <a:cubicBezTo>
                    <a:pt x="2834" y="18949"/>
                    <a:pt x="2911" y="19062"/>
                    <a:pt x="2987" y="19090"/>
                  </a:cubicBezTo>
                  <a:cubicBezTo>
                    <a:pt x="2987" y="19119"/>
                    <a:pt x="3064" y="19147"/>
                    <a:pt x="3140" y="19175"/>
                  </a:cubicBezTo>
                  <a:cubicBezTo>
                    <a:pt x="3140" y="19175"/>
                    <a:pt x="3294" y="19260"/>
                    <a:pt x="3294" y="19260"/>
                  </a:cubicBezTo>
                  <a:cubicBezTo>
                    <a:pt x="3523" y="19316"/>
                    <a:pt x="3523" y="19316"/>
                    <a:pt x="3523" y="19316"/>
                  </a:cubicBezTo>
                  <a:cubicBezTo>
                    <a:pt x="3830" y="19513"/>
                    <a:pt x="3830" y="19513"/>
                    <a:pt x="3830" y="19513"/>
                  </a:cubicBezTo>
                  <a:cubicBezTo>
                    <a:pt x="3830" y="19513"/>
                    <a:pt x="4060" y="19598"/>
                    <a:pt x="4060" y="19598"/>
                  </a:cubicBezTo>
                  <a:cubicBezTo>
                    <a:pt x="4136" y="19598"/>
                    <a:pt x="4289" y="19542"/>
                    <a:pt x="4289" y="19542"/>
                  </a:cubicBezTo>
                  <a:cubicBezTo>
                    <a:pt x="4289" y="19542"/>
                    <a:pt x="4519" y="19570"/>
                    <a:pt x="4519" y="19598"/>
                  </a:cubicBezTo>
                  <a:cubicBezTo>
                    <a:pt x="4443" y="19598"/>
                    <a:pt x="4366" y="19711"/>
                    <a:pt x="4366" y="19739"/>
                  </a:cubicBezTo>
                  <a:cubicBezTo>
                    <a:pt x="4443" y="19767"/>
                    <a:pt x="4443" y="19824"/>
                    <a:pt x="4443" y="19824"/>
                  </a:cubicBezTo>
                  <a:cubicBezTo>
                    <a:pt x="4289" y="19852"/>
                    <a:pt x="4289" y="19852"/>
                    <a:pt x="4289" y="19852"/>
                  </a:cubicBezTo>
                  <a:cubicBezTo>
                    <a:pt x="4136" y="19880"/>
                    <a:pt x="4136" y="19880"/>
                    <a:pt x="4136" y="19880"/>
                  </a:cubicBezTo>
                  <a:cubicBezTo>
                    <a:pt x="3830" y="19880"/>
                    <a:pt x="3830" y="19880"/>
                    <a:pt x="3830" y="19880"/>
                  </a:cubicBezTo>
                  <a:cubicBezTo>
                    <a:pt x="3753" y="19993"/>
                    <a:pt x="3753" y="19993"/>
                    <a:pt x="3753" y="19993"/>
                  </a:cubicBezTo>
                  <a:cubicBezTo>
                    <a:pt x="4060" y="20049"/>
                    <a:pt x="4060" y="20049"/>
                    <a:pt x="4060" y="20049"/>
                  </a:cubicBezTo>
                  <a:cubicBezTo>
                    <a:pt x="4060" y="20049"/>
                    <a:pt x="4213" y="20105"/>
                    <a:pt x="4289" y="20105"/>
                  </a:cubicBezTo>
                  <a:cubicBezTo>
                    <a:pt x="4289" y="20134"/>
                    <a:pt x="4289" y="20246"/>
                    <a:pt x="4289" y="20246"/>
                  </a:cubicBezTo>
                  <a:cubicBezTo>
                    <a:pt x="4213" y="20246"/>
                    <a:pt x="3906" y="20246"/>
                    <a:pt x="3906" y="20246"/>
                  </a:cubicBezTo>
                  <a:cubicBezTo>
                    <a:pt x="3906" y="20246"/>
                    <a:pt x="3753" y="20331"/>
                    <a:pt x="3753" y="20331"/>
                  </a:cubicBezTo>
                  <a:cubicBezTo>
                    <a:pt x="3753" y="20359"/>
                    <a:pt x="3677" y="20359"/>
                    <a:pt x="3830" y="20444"/>
                  </a:cubicBezTo>
                  <a:cubicBezTo>
                    <a:pt x="3906" y="20500"/>
                    <a:pt x="4289" y="20669"/>
                    <a:pt x="4289" y="20669"/>
                  </a:cubicBezTo>
                  <a:cubicBezTo>
                    <a:pt x="4289" y="20669"/>
                    <a:pt x="4596" y="20839"/>
                    <a:pt x="4596" y="20839"/>
                  </a:cubicBezTo>
                  <a:cubicBezTo>
                    <a:pt x="4596" y="20867"/>
                    <a:pt x="4826" y="20980"/>
                    <a:pt x="4826" y="20980"/>
                  </a:cubicBezTo>
                  <a:cubicBezTo>
                    <a:pt x="4902" y="20980"/>
                    <a:pt x="4902" y="21092"/>
                    <a:pt x="4902" y="21092"/>
                  </a:cubicBezTo>
                  <a:cubicBezTo>
                    <a:pt x="4826" y="21149"/>
                    <a:pt x="4826" y="21149"/>
                    <a:pt x="4826" y="21149"/>
                  </a:cubicBezTo>
                  <a:cubicBezTo>
                    <a:pt x="4749" y="21233"/>
                    <a:pt x="4749" y="21233"/>
                    <a:pt x="4749" y="21233"/>
                  </a:cubicBezTo>
                  <a:cubicBezTo>
                    <a:pt x="4672" y="21318"/>
                    <a:pt x="4672" y="21318"/>
                    <a:pt x="4672" y="21318"/>
                  </a:cubicBezTo>
                  <a:cubicBezTo>
                    <a:pt x="4749" y="21374"/>
                    <a:pt x="4749" y="21374"/>
                    <a:pt x="4749" y="21374"/>
                  </a:cubicBezTo>
                  <a:cubicBezTo>
                    <a:pt x="4672" y="21431"/>
                    <a:pt x="4672" y="21431"/>
                    <a:pt x="4672" y="21431"/>
                  </a:cubicBezTo>
                  <a:cubicBezTo>
                    <a:pt x="4519" y="21515"/>
                    <a:pt x="4519" y="21515"/>
                    <a:pt x="4519" y="21515"/>
                  </a:cubicBezTo>
                  <a:cubicBezTo>
                    <a:pt x="4902" y="21544"/>
                    <a:pt x="4902" y="21544"/>
                    <a:pt x="4902" y="21544"/>
                  </a:cubicBezTo>
                  <a:cubicBezTo>
                    <a:pt x="5362" y="21515"/>
                    <a:pt x="5362" y="21515"/>
                    <a:pt x="5362" y="21515"/>
                  </a:cubicBezTo>
                  <a:cubicBezTo>
                    <a:pt x="5362" y="21515"/>
                    <a:pt x="5438" y="21572"/>
                    <a:pt x="5438" y="21572"/>
                  </a:cubicBezTo>
                  <a:cubicBezTo>
                    <a:pt x="5515" y="21600"/>
                    <a:pt x="5898" y="21572"/>
                    <a:pt x="5898" y="21572"/>
                  </a:cubicBezTo>
                  <a:cubicBezTo>
                    <a:pt x="6204" y="21515"/>
                    <a:pt x="6204" y="21515"/>
                    <a:pt x="6204" y="21515"/>
                  </a:cubicBezTo>
                  <a:cubicBezTo>
                    <a:pt x="6434" y="21459"/>
                    <a:pt x="6434" y="21459"/>
                    <a:pt x="6434" y="21459"/>
                  </a:cubicBezTo>
                  <a:cubicBezTo>
                    <a:pt x="6434" y="21403"/>
                    <a:pt x="6434" y="21403"/>
                    <a:pt x="6434" y="21403"/>
                  </a:cubicBezTo>
                  <a:cubicBezTo>
                    <a:pt x="6434" y="21403"/>
                    <a:pt x="6587" y="21318"/>
                    <a:pt x="6587" y="21318"/>
                  </a:cubicBezTo>
                  <a:cubicBezTo>
                    <a:pt x="6664" y="21318"/>
                    <a:pt x="6894" y="21346"/>
                    <a:pt x="6894" y="21346"/>
                  </a:cubicBezTo>
                  <a:cubicBezTo>
                    <a:pt x="6894" y="21346"/>
                    <a:pt x="7123" y="21346"/>
                    <a:pt x="7123" y="21374"/>
                  </a:cubicBezTo>
                  <a:cubicBezTo>
                    <a:pt x="7123" y="21403"/>
                    <a:pt x="7277" y="21431"/>
                    <a:pt x="7277" y="21431"/>
                  </a:cubicBezTo>
                  <a:cubicBezTo>
                    <a:pt x="7506" y="21431"/>
                    <a:pt x="7506" y="21431"/>
                    <a:pt x="7506" y="21431"/>
                  </a:cubicBezTo>
                  <a:cubicBezTo>
                    <a:pt x="7736" y="21403"/>
                    <a:pt x="7736" y="21403"/>
                    <a:pt x="7736" y="21403"/>
                  </a:cubicBezTo>
                  <a:cubicBezTo>
                    <a:pt x="8043" y="21374"/>
                    <a:pt x="8043" y="21374"/>
                    <a:pt x="8043" y="21374"/>
                  </a:cubicBezTo>
                  <a:cubicBezTo>
                    <a:pt x="8043" y="21374"/>
                    <a:pt x="7966" y="21318"/>
                    <a:pt x="8043" y="21318"/>
                  </a:cubicBezTo>
                  <a:cubicBezTo>
                    <a:pt x="8119" y="21318"/>
                    <a:pt x="8349" y="21318"/>
                    <a:pt x="8349" y="21318"/>
                  </a:cubicBezTo>
                  <a:cubicBezTo>
                    <a:pt x="8349" y="21318"/>
                    <a:pt x="8426" y="21374"/>
                    <a:pt x="8502" y="21374"/>
                  </a:cubicBezTo>
                  <a:cubicBezTo>
                    <a:pt x="8502" y="21374"/>
                    <a:pt x="8655" y="21318"/>
                    <a:pt x="8579" y="21290"/>
                  </a:cubicBezTo>
                  <a:cubicBezTo>
                    <a:pt x="8502" y="21262"/>
                    <a:pt x="8196" y="21205"/>
                    <a:pt x="8196" y="21205"/>
                  </a:cubicBezTo>
                  <a:cubicBezTo>
                    <a:pt x="8196" y="21205"/>
                    <a:pt x="8043" y="21121"/>
                    <a:pt x="8043" y="21092"/>
                  </a:cubicBezTo>
                  <a:cubicBezTo>
                    <a:pt x="7966" y="21064"/>
                    <a:pt x="7966" y="20980"/>
                    <a:pt x="7889" y="20951"/>
                  </a:cubicBezTo>
                  <a:cubicBezTo>
                    <a:pt x="7813" y="20951"/>
                    <a:pt x="7736" y="20923"/>
                    <a:pt x="7736" y="20867"/>
                  </a:cubicBezTo>
                  <a:cubicBezTo>
                    <a:pt x="7813" y="20782"/>
                    <a:pt x="7813" y="20754"/>
                    <a:pt x="7813" y="20754"/>
                  </a:cubicBezTo>
                  <a:cubicBezTo>
                    <a:pt x="7813" y="20726"/>
                    <a:pt x="7813" y="20613"/>
                    <a:pt x="7813" y="20613"/>
                  </a:cubicBezTo>
                  <a:cubicBezTo>
                    <a:pt x="7813" y="20613"/>
                    <a:pt x="7736" y="20557"/>
                    <a:pt x="7966" y="20500"/>
                  </a:cubicBezTo>
                  <a:cubicBezTo>
                    <a:pt x="8196" y="20444"/>
                    <a:pt x="8196" y="20387"/>
                    <a:pt x="8272" y="20416"/>
                  </a:cubicBezTo>
                  <a:cubicBezTo>
                    <a:pt x="8349" y="20444"/>
                    <a:pt x="8502" y="20500"/>
                    <a:pt x="8579" y="20500"/>
                  </a:cubicBezTo>
                  <a:cubicBezTo>
                    <a:pt x="8579" y="20528"/>
                    <a:pt x="8655" y="20528"/>
                    <a:pt x="8732" y="20557"/>
                  </a:cubicBezTo>
                  <a:cubicBezTo>
                    <a:pt x="8732" y="20585"/>
                    <a:pt x="8655" y="20613"/>
                    <a:pt x="8809" y="20613"/>
                  </a:cubicBezTo>
                  <a:cubicBezTo>
                    <a:pt x="8885" y="20613"/>
                    <a:pt x="9038" y="20613"/>
                    <a:pt x="9038" y="20613"/>
                  </a:cubicBezTo>
                  <a:cubicBezTo>
                    <a:pt x="9038" y="20613"/>
                    <a:pt x="9115" y="20613"/>
                    <a:pt x="9115" y="20585"/>
                  </a:cubicBezTo>
                  <a:cubicBezTo>
                    <a:pt x="9115" y="20557"/>
                    <a:pt x="9115" y="20472"/>
                    <a:pt x="9038" y="20472"/>
                  </a:cubicBezTo>
                  <a:cubicBezTo>
                    <a:pt x="8962" y="20444"/>
                    <a:pt x="8885" y="20416"/>
                    <a:pt x="8885" y="20416"/>
                  </a:cubicBezTo>
                  <a:cubicBezTo>
                    <a:pt x="8885" y="20416"/>
                    <a:pt x="9038" y="20387"/>
                    <a:pt x="8809" y="20359"/>
                  </a:cubicBezTo>
                  <a:cubicBezTo>
                    <a:pt x="8579" y="20303"/>
                    <a:pt x="8579" y="20275"/>
                    <a:pt x="8655" y="20246"/>
                  </a:cubicBezTo>
                  <a:cubicBezTo>
                    <a:pt x="8809" y="20218"/>
                    <a:pt x="9115" y="20246"/>
                    <a:pt x="9115" y="20246"/>
                  </a:cubicBezTo>
                  <a:cubicBezTo>
                    <a:pt x="9345" y="20218"/>
                    <a:pt x="9345" y="20218"/>
                    <a:pt x="9345" y="20218"/>
                  </a:cubicBezTo>
                  <a:cubicBezTo>
                    <a:pt x="9345" y="20218"/>
                    <a:pt x="9498" y="20162"/>
                    <a:pt x="9651" y="20190"/>
                  </a:cubicBezTo>
                  <a:cubicBezTo>
                    <a:pt x="9728" y="20218"/>
                    <a:pt x="10034" y="20190"/>
                    <a:pt x="10034" y="20190"/>
                  </a:cubicBezTo>
                  <a:cubicBezTo>
                    <a:pt x="10417" y="20218"/>
                    <a:pt x="10417" y="20218"/>
                    <a:pt x="10417" y="20218"/>
                  </a:cubicBezTo>
                  <a:cubicBezTo>
                    <a:pt x="10570" y="20162"/>
                    <a:pt x="10570" y="20162"/>
                    <a:pt x="10570" y="20162"/>
                  </a:cubicBezTo>
                  <a:cubicBezTo>
                    <a:pt x="10953" y="20218"/>
                    <a:pt x="10953" y="20218"/>
                    <a:pt x="10953" y="20218"/>
                  </a:cubicBezTo>
                  <a:cubicBezTo>
                    <a:pt x="10953" y="20218"/>
                    <a:pt x="10877" y="20218"/>
                    <a:pt x="11106" y="20246"/>
                  </a:cubicBezTo>
                  <a:cubicBezTo>
                    <a:pt x="11260" y="20246"/>
                    <a:pt x="11489" y="20190"/>
                    <a:pt x="11489" y="20162"/>
                  </a:cubicBezTo>
                  <a:cubicBezTo>
                    <a:pt x="11566" y="20162"/>
                    <a:pt x="11872" y="19964"/>
                    <a:pt x="11872" y="19964"/>
                  </a:cubicBezTo>
                  <a:cubicBezTo>
                    <a:pt x="12102" y="19401"/>
                    <a:pt x="12102" y="19401"/>
                    <a:pt x="12102" y="19401"/>
                  </a:cubicBezTo>
                  <a:cubicBezTo>
                    <a:pt x="12102" y="19401"/>
                    <a:pt x="12409" y="19316"/>
                    <a:pt x="12332" y="19316"/>
                  </a:cubicBezTo>
                  <a:cubicBezTo>
                    <a:pt x="12332" y="19288"/>
                    <a:pt x="12332" y="19090"/>
                    <a:pt x="12332" y="19062"/>
                  </a:cubicBezTo>
                  <a:cubicBezTo>
                    <a:pt x="12332" y="19034"/>
                    <a:pt x="12485" y="18837"/>
                    <a:pt x="12485" y="18837"/>
                  </a:cubicBezTo>
                  <a:cubicBezTo>
                    <a:pt x="12485" y="18837"/>
                    <a:pt x="12791" y="18752"/>
                    <a:pt x="12638" y="18667"/>
                  </a:cubicBezTo>
                  <a:cubicBezTo>
                    <a:pt x="12562" y="18583"/>
                    <a:pt x="12485" y="18442"/>
                    <a:pt x="12485" y="18442"/>
                  </a:cubicBezTo>
                  <a:cubicBezTo>
                    <a:pt x="12485" y="18442"/>
                    <a:pt x="12409" y="18301"/>
                    <a:pt x="12409" y="18273"/>
                  </a:cubicBezTo>
                  <a:cubicBezTo>
                    <a:pt x="12409" y="18244"/>
                    <a:pt x="12715" y="18103"/>
                    <a:pt x="12715" y="18103"/>
                  </a:cubicBezTo>
                  <a:cubicBezTo>
                    <a:pt x="12485" y="17850"/>
                    <a:pt x="12485" y="17850"/>
                    <a:pt x="12485" y="17850"/>
                  </a:cubicBezTo>
                  <a:cubicBezTo>
                    <a:pt x="12485" y="17850"/>
                    <a:pt x="12638" y="17765"/>
                    <a:pt x="12638" y="17737"/>
                  </a:cubicBezTo>
                  <a:cubicBezTo>
                    <a:pt x="12638" y="17709"/>
                    <a:pt x="12485" y="17455"/>
                    <a:pt x="12485" y="17455"/>
                  </a:cubicBezTo>
                  <a:cubicBezTo>
                    <a:pt x="12485" y="17398"/>
                    <a:pt x="12485" y="17398"/>
                    <a:pt x="12485" y="17398"/>
                  </a:cubicBezTo>
                  <a:cubicBezTo>
                    <a:pt x="12485" y="17398"/>
                    <a:pt x="12715" y="17257"/>
                    <a:pt x="12638" y="17229"/>
                  </a:cubicBezTo>
                  <a:cubicBezTo>
                    <a:pt x="12638" y="17201"/>
                    <a:pt x="12638" y="17060"/>
                    <a:pt x="12638" y="17060"/>
                  </a:cubicBezTo>
                  <a:cubicBezTo>
                    <a:pt x="12485" y="16891"/>
                    <a:pt x="12485" y="16891"/>
                    <a:pt x="12485" y="16891"/>
                  </a:cubicBezTo>
                  <a:cubicBezTo>
                    <a:pt x="12485" y="16891"/>
                    <a:pt x="12638" y="16863"/>
                    <a:pt x="12562" y="16834"/>
                  </a:cubicBezTo>
                  <a:cubicBezTo>
                    <a:pt x="12485" y="16778"/>
                    <a:pt x="12409" y="16750"/>
                    <a:pt x="12409" y="16750"/>
                  </a:cubicBezTo>
                  <a:cubicBezTo>
                    <a:pt x="12409" y="16693"/>
                    <a:pt x="12409" y="16693"/>
                    <a:pt x="12409" y="16693"/>
                  </a:cubicBezTo>
                  <a:cubicBezTo>
                    <a:pt x="12485" y="16637"/>
                    <a:pt x="12485" y="16637"/>
                    <a:pt x="12485" y="16637"/>
                  </a:cubicBezTo>
                  <a:cubicBezTo>
                    <a:pt x="12638" y="16581"/>
                    <a:pt x="12638" y="16581"/>
                    <a:pt x="12638" y="16581"/>
                  </a:cubicBezTo>
                  <a:cubicBezTo>
                    <a:pt x="12562" y="16411"/>
                    <a:pt x="12562" y="16411"/>
                    <a:pt x="12562" y="16411"/>
                  </a:cubicBezTo>
                  <a:cubicBezTo>
                    <a:pt x="12255" y="16383"/>
                    <a:pt x="12255" y="16383"/>
                    <a:pt x="12255" y="16383"/>
                  </a:cubicBezTo>
                  <a:cubicBezTo>
                    <a:pt x="12255" y="16383"/>
                    <a:pt x="12255" y="16327"/>
                    <a:pt x="12332" y="16327"/>
                  </a:cubicBezTo>
                  <a:cubicBezTo>
                    <a:pt x="12485" y="16299"/>
                    <a:pt x="13021" y="16214"/>
                    <a:pt x="13021" y="16214"/>
                  </a:cubicBezTo>
                  <a:cubicBezTo>
                    <a:pt x="13021" y="16214"/>
                    <a:pt x="13174" y="16130"/>
                    <a:pt x="13251" y="16130"/>
                  </a:cubicBezTo>
                  <a:cubicBezTo>
                    <a:pt x="13251" y="16101"/>
                    <a:pt x="13864" y="15960"/>
                    <a:pt x="13864" y="15960"/>
                  </a:cubicBezTo>
                  <a:cubicBezTo>
                    <a:pt x="13864" y="15960"/>
                    <a:pt x="13864" y="15876"/>
                    <a:pt x="13864" y="15848"/>
                  </a:cubicBezTo>
                  <a:cubicBezTo>
                    <a:pt x="13940" y="15848"/>
                    <a:pt x="13940" y="15819"/>
                    <a:pt x="13940" y="15763"/>
                  </a:cubicBezTo>
                  <a:cubicBezTo>
                    <a:pt x="14017" y="15763"/>
                    <a:pt x="13864" y="15509"/>
                    <a:pt x="13864" y="15425"/>
                  </a:cubicBezTo>
                  <a:cubicBezTo>
                    <a:pt x="13940" y="15368"/>
                    <a:pt x="14094" y="15481"/>
                    <a:pt x="14094" y="15481"/>
                  </a:cubicBezTo>
                  <a:cubicBezTo>
                    <a:pt x="14170" y="15566"/>
                    <a:pt x="14170" y="15566"/>
                    <a:pt x="14170" y="15566"/>
                  </a:cubicBezTo>
                  <a:cubicBezTo>
                    <a:pt x="14170" y="15735"/>
                    <a:pt x="14170" y="15735"/>
                    <a:pt x="14170" y="15735"/>
                  </a:cubicBezTo>
                  <a:cubicBezTo>
                    <a:pt x="14400" y="15763"/>
                    <a:pt x="14400" y="15763"/>
                    <a:pt x="14400" y="15763"/>
                  </a:cubicBezTo>
                  <a:cubicBezTo>
                    <a:pt x="14477" y="15848"/>
                    <a:pt x="14477" y="15848"/>
                    <a:pt x="14477" y="15848"/>
                  </a:cubicBezTo>
                  <a:cubicBezTo>
                    <a:pt x="14477" y="15848"/>
                    <a:pt x="14400" y="15932"/>
                    <a:pt x="14477" y="15932"/>
                  </a:cubicBezTo>
                  <a:cubicBezTo>
                    <a:pt x="14553" y="15904"/>
                    <a:pt x="14553" y="15904"/>
                    <a:pt x="14553" y="15904"/>
                  </a:cubicBezTo>
                  <a:cubicBezTo>
                    <a:pt x="14630" y="15735"/>
                    <a:pt x="14630" y="15735"/>
                    <a:pt x="14630" y="15735"/>
                  </a:cubicBezTo>
                  <a:cubicBezTo>
                    <a:pt x="14630" y="15735"/>
                    <a:pt x="14936" y="15735"/>
                    <a:pt x="14860" y="15678"/>
                  </a:cubicBezTo>
                  <a:cubicBezTo>
                    <a:pt x="14860" y="15650"/>
                    <a:pt x="14783" y="15594"/>
                    <a:pt x="14860" y="15594"/>
                  </a:cubicBezTo>
                  <a:cubicBezTo>
                    <a:pt x="15319" y="15566"/>
                    <a:pt x="15166" y="15566"/>
                    <a:pt x="15396" y="15509"/>
                  </a:cubicBezTo>
                  <a:cubicBezTo>
                    <a:pt x="15396" y="15509"/>
                    <a:pt x="15549" y="15396"/>
                    <a:pt x="15549" y="15396"/>
                  </a:cubicBezTo>
                  <a:cubicBezTo>
                    <a:pt x="15549" y="15368"/>
                    <a:pt x="15626" y="15312"/>
                    <a:pt x="15626" y="15312"/>
                  </a:cubicBezTo>
                  <a:cubicBezTo>
                    <a:pt x="15472" y="15284"/>
                    <a:pt x="15472" y="15284"/>
                    <a:pt x="15472" y="15284"/>
                  </a:cubicBezTo>
                  <a:cubicBezTo>
                    <a:pt x="15396" y="15199"/>
                    <a:pt x="15396" y="15199"/>
                    <a:pt x="15396" y="15199"/>
                  </a:cubicBezTo>
                  <a:cubicBezTo>
                    <a:pt x="15396" y="15199"/>
                    <a:pt x="15472" y="15143"/>
                    <a:pt x="15549" y="15171"/>
                  </a:cubicBezTo>
                  <a:cubicBezTo>
                    <a:pt x="15549" y="15199"/>
                    <a:pt x="15626" y="15255"/>
                    <a:pt x="15702" y="15255"/>
                  </a:cubicBezTo>
                  <a:cubicBezTo>
                    <a:pt x="15779" y="15255"/>
                    <a:pt x="16009" y="15171"/>
                    <a:pt x="16009" y="15171"/>
                  </a:cubicBezTo>
                  <a:cubicBezTo>
                    <a:pt x="16009" y="15086"/>
                    <a:pt x="15472" y="14973"/>
                    <a:pt x="15319" y="14945"/>
                  </a:cubicBezTo>
                  <a:cubicBezTo>
                    <a:pt x="15319" y="14832"/>
                    <a:pt x="16085" y="14691"/>
                    <a:pt x="16085" y="14663"/>
                  </a:cubicBezTo>
                  <a:cubicBezTo>
                    <a:pt x="16162" y="14635"/>
                    <a:pt x="16162" y="14635"/>
                    <a:pt x="16162" y="14607"/>
                  </a:cubicBezTo>
                  <a:cubicBezTo>
                    <a:pt x="16162" y="14579"/>
                    <a:pt x="16085" y="14550"/>
                    <a:pt x="16009" y="14579"/>
                  </a:cubicBezTo>
                  <a:cubicBezTo>
                    <a:pt x="16009" y="14579"/>
                    <a:pt x="15932" y="14635"/>
                    <a:pt x="15855" y="14635"/>
                  </a:cubicBezTo>
                  <a:cubicBezTo>
                    <a:pt x="15855" y="14635"/>
                    <a:pt x="15702" y="14635"/>
                    <a:pt x="15702" y="14635"/>
                  </a:cubicBezTo>
                  <a:cubicBezTo>
                    <a:pt x="15702" y="14635"/>
                    <a:pt x="15626" y="14579"/>
                    <a:pt x="15702" y="14550"/>
                  </a:cubicBezTo>
                  <a:cubicBezTo>
                    <a:pt x="15779" y="14522"/>
                    <a:pt x="15702" y="14522"/>
                    <a:pt x="15855" y="14494"/>
                  </a:cubicBezTo>
                  <a:cubicBezTo>
                    <a:pt x="15932" y="14466"/>
                    <a:pt x="16009" y="14466"/>
                    <a:pt x="16085" y="14466"/>
                  </a:cubicBezTo>
                  <a:cubicBezTo>
                    <a:pt x="16085" y="14438"/>
                    <a:pt x="16162" y="14409"/>
                    <a:pt x="16238" y="14409"/>
                  </a:cubicBezTo>
                  <a:cubicBezTo>
                    <a:pt x="16315" y="14409"/>
                    <a:pt x="16698" y="14325"/>
                    <a:pt x="16698" y="14325"/>
                  </a:cubicBezTo>
                  <a:cubicBezTo>
                    <a:pt x="16774" y="14268"/>
                    <a:pt x="16774" y="14268"/>
                    <a:pt x="16774" y="14268"/>
                  </a:cubicBezTo>
                  <a:cubicBezTo>
                    <a:pt x="16774" y="14268"/>
                    <a:pt x="16545" y="14184"/>
                    <a:pt x="16545" y="14184"/>
                  </a:cubicBezTo>
                  <a:cubicBezTo>
                    <a:pt x="16545" y="14184"/>
                    <a:pt x="16162" y="14071"/>
                    <a:pt x="16162" y="14071"/>
                  </a:cubicBezTo>
                  <a:cubicBezTo>
                    <a:pt x="16162" y="14071"/>
                    <a:pt x="16009" y="14071"/>
                    <a:pt x="16009" y="14043"/>
                  </a:cubicBezTo>
                  <a:cubicBezTo>
                    <a:pt x="16009" y="14043"/>
                    <a:pt x="15855" y="13986"/>
                    <a:pt x="15855" y="13986"/>
                  </a:cubicBezTo>
                  <a:cubicBezTo>
                    <a:pt x="15702" y="13845"/>
                    <a:pt x="15549" y="13958"/>
                    <a:pt x="15243" y="13902"/>
                  </a:cubicBezTo>
                  <a:cubicBezTo>
                    <a:pt x="15243" y="13902"/>
                    <a:pt x="15089" y="13789"/>
                    <a:pt x="15089" y="13789"/>
                  </a:cubicBezTo>
                  <a:cubicBezTo>
                    <a:pt x="15089" y="13789"/>
                    <a:pt x="15243" y="13789"/>
                    <a:pt x="15243" y="13761"/>
                  </a:cubicBezTo>
                  <a:cubicBezTo>
                    <a:pt x="15243" y="13704"/>
                    <a:pt x="15089" y="13648"/>
                    <a:pt x="15089" y="13648"/>
                  </a:cubicBezTo>
                  <a:cubicBezTo>
                    <a:pt x="14936" y="13592"/>
                    <a:pt x="14936" y="13592"/>
                    <a:pt x="14936" y="13592"/>
                  </a:cubicBezTo>
                  <a:cubicBezTo>
                    <a:pt x="14630" y="13479"/>
                    <a:pt x="14706" y="13733"/>
                    <a:pt x="14477" y="13507"/>
                  </a:cubicBezTo>
                  <a:cubicBezTo>
                    <a:pt x="14477" y="13507"/>
                    <a:pt x="14400" y="13507"/>
                    <a:pt x="14323" y="13451"/>
                  </a:cubicBezTo>
                  <a:cubicBezTo>
                    <a:pt x="14247" y="13422"/>
                    <a:pt x="14017" y="13338"/>
                    <a:pt x="14017" y="13338"/>
                  </a:cubicBezTo>
                  <a:cubicBezTo>
                    <a:pt x="14017" y="13338"/>
                    <a:pt x="13940" y="13253"/>
                    <a:pt x="13940" y="13253"/>
                  </a:cubicBezTo>
                  <a:cubicBezTo>
                    <a:pt x="13864" y="13253"/>
                    <a:pt x="13787" y="13169"/>
                    <a:pt x="13787" y="13169"/>
                  </a:cubicBezTo>
                  <a:cubicBezTo>
                    <a:pt x="13404" y="13253"/>
                    <a:pt x="13404" y="13253"/>
                    <a:pt x="13404" y="13253"/>
                  </a:cubicBezTo>
                  <a:cubicBezTo>
                    <a:pt x="13174" y="13338"/>
                    <a:pt x="13174" y="13338"/>
                    <a:pt x="13174" y="13338"/>
                  </a:cubicBezTo>
                  <a:cubicBezTo>
                    <a:pt x="13174" y="13338"/>
                    <a:pt x="13098" y="13281"/>
                    <a:pt x="13098" y="13281"/>
                  </a:cubicBezTo>
                  <a:cubicBezTo>
                    <a:pt x="13098" y="13281"/>
                    <a:pt x="13098" y="13169"/>
                    <a:pt x="13098" y="13169"/>
                  </a:cubicBezTo>
                  <a:cubicBezTo>
                    <a:pt x="13098" y="13169"/>
                    <a:pt x="12868" y="13140"/>
                    <a:pt x="12791" y="13140"/>
                  </a:cubicBezTo>
                  <a:cubicBezTo>
                    <a:pt x="12791" y="13140"/>
                    <a:pt x="12562" y="13140"/>
                    <a:pt x="12562" y="13140"/>
                  </a:cubicBezTo>
                  <a:cubicBezTo>
                    <a:pt x="12255" y="13112"/>
                    <a:pt x="12255" y="13112"/>
                    <a:pt x="12255" y="13112"/>
                  </a:cubicBezTo>
                  <a:cubicBezTo>
                    <a:pt x="12255" y="13028"/>
                    <a:pt x="12255" y="13028"/>
                    <a:pt x="12255" y="13028"/>
                  </a:cubicBezTo>
                  <a:cubicBezTo>
                    <a:pt x="12255" y="13028"/>
                    <a:pt x="12409" y="12971"/>
                    <a:pt x="12332" y="12943"/>
                  </a:cubicBezTo>
                  <a:cubicBezTo>
                    <a:pt x="12332" y="12915"/>
                    <a:pt x="12102" y="12858"/>
                    <a:pt x="12102" y="12858"/>
                  </a:cubicBezTo>
                  <a:cubicBezTo>
                    <a:pt x="12102" y="12802"/>
                    <a:pt x="12102" y="12802"/>
                    <a:pt x="12102" y="12802"/>
                  </a:cubicBezTo>
                  <a:cubicBezTo>
                    <a:pt x="11872" y="12689"/>
                    <a:pt x="11872" y="12689"/>
                    <a:pt x="11872" y="12689"/>
                  </a:cubicBezTo>
                  <a:cubicBezTo>
                    <a:pt x="11872" y="12689"/>
                    <a:pt x="12026" y="12605"/>
                    <a:pt x="12026" y="12605"/>
                  </a:cubicBezTo>
                  <a:cubicBezTo>
                    <a:pt x="12026" y="12577"/>
                    <a:pt x="11719" y="12323"/>
                    <a:pt x="11719" y="12323"/>
                  </a:cubicBezTo>
                  <a:cubicBezTo>
                    <a:pt x="11719" y="12323"/>
                    <a:pt x="11872" y="12210"/>
                    <a:pt x="11872" y="12182"/>
                  </a:cubicBezTo>
                  <a:cubicBezTo>
                    <a:pt x="11872" y="12182"/>
                    <a:pt x="11719" y="12069"/>
                    <a:pt x="11719" y="12069"/>
                  </a:cubicBezTo>
                  <a:cubicBezTo>
                    <a:pt x="11566" y="12069"/>
                    <a:pt x="11566" y="12069"/>
                    <a:pt x="11566" y="12069"/>
                  </a:cubicBezTo>
                  <a:cubicBezTo>
                    <a:pt x="11566" y="11956"/>
                    <a:pt x="11566" y="11956"/>
                    <a:pt x="11566" y="11956"/>
                  </a:cubicBezTo>
                  <a:cubicBezTo>
                    <a:pt x="11643" y="11872"/>
                    <a:pt x="11643" y="11872"/>
                    <a:pt x="11643" y="11872"/>
                  </a:cubicBezTo>
                  <a:cubicBezTo>
                    <a:pt x="11489" y="11815"/>
                    <a:pt x="11489" y="11815"/>
                    <a:pt x="11489" y="11815"/>
                  </a:cubicBezTo>
                  <a:cubicBezTo>
                    <a:pt x="11489" y="11815"/>
                    <a:pt x="11566" y="11759"/>
                    <a:pt x="11643" y="11759"/>
                  </a:cubicBezTo>
                  <a:cubicBezTo>
                    <a:pt x="11643" y="11759"/>
                    <a:pt x="11643" y="11646"/>
                    <a:pt x="11643" y="11646"/>
                  </a:cubicBezTo>
                  <a:cubicBezTo>
                    <a:pt x="11643" y="11646"/>
                    <a:pt x="11719" y="11590"/>
                    <a:pt x="11796" y="11590"/>
                  </a:cubicBezTo>
                  <a:cubicBezTo>
                    <a:pt x="11796" y="11590"/>
                    <a:pt x="12026" y="11646"/>
                    <a:pt x="12026" y="11646"/>
                  </a:cubicBezTo>
                  <a:cubicBezTo>
                    <a:pt x="12026" y="11646"/>
                    <a:pt x="12255" y="11674"/>
                    <a:pt x="12255" y="11646"/>
                  </a:cubicBezTo>
                  <a:cubicBezTo>
                    <a:pt x="12255" y="11646"/>
                    <a:pt x="12179" y="11561"/>
                    <a:pt x="12179" y="11561"/>
                  </a:cubicBezTo>
                  <a:cubicBezTo>
                    <a:pt x="12179" y="11533"/>
                    <a:pt x="12026" y="11477"/>
                    <a:pt x="12026" y="11477"/>
                  </a:cubicBezTo>
                  <a:cubicBezTo>
                    <a:pt x="11949" y="11449"/>
                    <a:pt x="11949" y="11308"/>
                    <a:pt x="11949" y="11308"/>
                  </a:cubicBezTo>
                  <a:cubicBezTo>
                    <a:pt x="11949" y="11308"/>
                    <a:pt x="11796" y="11195"/>
                    <a:pt x="11872" y="11195"/>
                  </a:cubicBezTo>
                  <a:cubicBezTo>
                    <a:pt x="11872" y="11195"/>
                    <a:pt x="11949" y="11138"/>
                    <a:pt x="11949" y="11138"/>
                  </a:cubicBezTo>
                  <a:cubicBezTo>
                    <a:pt x="12026" y="10941"/>
                    <a:pt x="12026" y="10941"/>
                    <a:pt x="12026" y="10941"/>
                  </a:cubicBezTo>
                  <a:cubicBezTo>
                    <a:pt x="12102" y="10772"/>
                    <a:pt x="12102" y="10772"/>
                    <a:pt x="12102" y="10772"/>
                  </a:cubicBezTo>
                  <a:cubicBezTo>
                    <a:pt x="11872" y="10687"/>
                    <a:pt x="11872" y="10687"/>
                    <a:pt x="11872" y="10687"/>
                  </a:cubicBezTo>
                  <a:cubicBezTo>
                    <a:pt x="11796" y="10631"/>
                    <a:pt x="11796" y="10631"/>
                    <a:pt x="11796" y="10631"/>
                  </a:cubicBezTo>
                  <a:cubicBezTo>
                    <a:pt x="11643" y="10574"/>
                    <a:pt x="11643" y="10574"/>
                    <a:pt x="11643" y="10574"/>
                  </a:cubicBezTo>
                  <a:cubicBezTo>
                    <a:pt x="11796" y="10405"/>
                    <a:pt x="11796" y="10405"/>
                    <a:pt x="11796" y="10405"/>
                  </a:cubicBezTo>
                  <a:cubicBezTo>
                    <a:pt x="12102" y="10405"/>
                    <a:pt x="12102" y="10405"/>
                    <a:pt x="12102" y="10405"/>
                  </a:cubicBezTo>
                  <a:cubicBezTo>
                    <a:pt x="12255" y="10321"/>
                    <a:pt x="12255" y="10321"/>
                    <a:pt x="12255" y="10321"/>
                  </a:cubicBezTo>
                  <a:cubicBezTo>
                    <a:pt x="12255" y="10321"/>
                    <a:pt x="12485" y="10264"/>
                    <a:pt x="12485" y="10236"/>
                  </a:cubicBezTo>
                  <a:cubicBezTo>
                    <a:pt x="12485" y="10236"/>
                    <a:pt x="12562" y="10123"/>
                    <a:pt x="12562" y="10123"/>
                  </a:cubicBezTo>
                  <a:cubicBezTo>
                    <a:pt x="12485" y="10039"/>
                    <a:pt x="12485" y="10039"/>
                    <a:pt x="12485" y="10039"/>
                  </a:cubicBezTo>
                  <a:cubicBezTo>
                    <a:pt x="12638" y="10067"/>
                    <a:pt x="12638" y="10067"/>
                    <a:pt x="12638" y="10067"/>
                  </a:cubicBezTo>
                  <a:cubicBezTo>
                    <a:pt x="12638" y="9982"/>
                    <a:pt x="12638" y="9982"/>
                    <a:pt x="12638" y="9982"/>
                  </a:cubicBezTo>
                  <a:cubicBezTo>
                    <a:pt x="12638" y="9982"/>
                    <a:pt x="12715" y="9898"/>
                    <a:pt x="12715" y="9898"/>
                  </a:cubicBezTo>
                  <a:cubicBezTo>
                    <a:pt x="12791" y="9898"/>
                    <a:pt x="12868" y="9869"/>
                    <a:pt x="12868" y="9869"/>
                  </a:cubicBezTo>
                  <a:cubicBezTo>
                    <a:pt x="12868" y="9869"/>
                    <a:pt x="13021" y="9757"/>
                    <a:pt x="13021" y="9757"/>
                  </a:cubicBezTo>
                  <a:cubicBezTo>
                    <a:pt x="13021" y="9757"/>
                    <a:pt x="13098" y="9785"/>
                    <a:pt x="13174" y="9757"/>
                  </a:cubicBezTo>
                  <a:cubicBezTo>
                    <a:pt x="13251" y="9728"/>
                    <a:pt x="13251" y="9728"/>
                    <a:pt x="13251" y="9700"/>
                  </a:cubicBezTo>
                  <a:cubicBezTo>
                    <a:pt x="13328" y="9644"/>
                    <a:pt x="13481" y="9531"/>
                    <a:pt x="13481" y="9531"/>
                  </a:cubicBezTo>
                  <a:cubicBezTo>
                    <a:pt x="13481" y="9531"/>
                    <a:pt x="13481" y="9503"/>
                    <a:pt x="13481" y="9475"/>
                  </a:cubicBezTo>
                  <a:cubicBezTo>
                    <a:pt x="13557" y="9475"/>
                    <a:pt x="13711" y="9475"/>
                    <a:pt x="13711" y="9446"/>
                  </a:cubicBezTo>
                  <a:cubicBezTo>
                    <a:pt x="13634" y="9418"/>
                    <a:pt x="13481" y="9334"/>
                    <a:pt x="13481" y="9334"/>
                  </a:cubicBezTo>
                  <a:cubicBezTo>
                    <a:pt x="13711" y="9249"/>
                    <a:pt x="13711" y="9249"/>
                    <a:pt x="13711" y="9249"/>
                  </a:cubicBezTo>
                  <a:cubicBezTo>
                    <a:pt x="13711" y="9249"/>
                    <a:pt x="13940" y="9164"/>
                    <a:pt x="13940" y="9164"/>
                  </a:cubicBezTo>
                  <a:cubicBezTo>
                    <a:pt x="13940" y="9193"/>
                    <a:pt x="14017" y="9193"/>
                    <a:pt x="14094" y="9164"/>
                  </a:cubicBezTo>
                  <a:cubicBezTo>
                    <a:pt x="14094" y="9164"/>
                    <a:pt x="14170" y="9136"/>
                    <a:pt x="14247" y="9108"/>
                  </a:cubicBezTo>
                  <a:cubicBezTo>
                    <a:pt x="14247" y="9108"/>
                    <a:pt x="14323" y="9080"/>
                    <a:pt x="14400" y="9080"/>
                  </a:cubicBezTo>
                  <a:cubicBezTo>
                    <a:pt x="14400" y="9052"/>
                    <a:pt x="14477" y="8995"/>
                    <a:pt x="14477" y="8967"/>
                  </a:cubicBezTo>
                  <a:cubicBezTo>
                    <a:pt x="14477" y="8967"/>
                    <a:pt x="14630" y="8826"/>
                    <a:pt x="14630" y="8826"/>
                  </a:cubicBezTo>
                  <a:cubicBezTo>
                    <a:pt x="14630" y="8742"/>
                    <a:pt x="14630" y="8742"/>
                    <a:pt x="14630" y="8742"/>
                  </a:cubicBezTo>
                  <a:cubicBezTo>
                    <a:pt x="14706" y="8713"/>
                    <a:pt x="14706" y="8713"/>
                    <a:pt x="14706" y="8713"/>
                  </a:cubicBezTo>
                  <a:cubicBezTo>
                    <a:pt x="14860" y="8657"/>
                    <a:pt x="14860" y="8657"/>
                    <a:pt x="14860" y="8657"/>
                  </a:cubicBezTo>
                  <a:cubicBezTo>
                    <a:pt x="14860" y="8657"/>
                    <a:pt x="15013" y="8629"/>
                    <a:pt x="15013" y="8657"/>
                  </a:cubicBezTo>
                  <a:cubicBezTo>
                    <a:pt x="15013" y="8657"/>
                    <a:pt x="14936" y="8713"/>
                    <a:pt x="14936" y="8713"/>
                  </a:cubicBezTo>
                  <a:cubicBezTo>
                    <a:pt x="15166" y="8713"/>
                    <a:pt x="15166" y="8713"/>
                    <a:pt x="15166" y="8713"/>
                  </a:cubicBezTo>
                  <a:cubicBezTo>
                    <a:pt x="15166" y="8713"/>
                    <a:pt x="15166" y="8657"/>
                    <a:pt x="15166" y="8685"/>
                  </a:cubicBezTo>
                  <a:cubicBezTo>
                    <a:pt x="15243" y="8685"/>
                    <a:pt x="15319" y="8713"/>
                    <a:pt x="15319" y="8713"/>
                  </a:cubicBezTo>
                  <a:cubicBezTo>
                    <a:pt x="15319" y="8685"/>
                    <a:pt x="15396" y="8629"/>
                    <a:pt x="15396" y="8629"/>
                  </a:cubicBezTo>
                  <a:cubicBezTo>
                    <a:pt x="15396" y="8544"/>
                    <a:pt x="15396" y="8544"/>
                    <a:pt x="15396" y="8544"/>
                  </a:cubicBezTo>
                  <a:cubicBezTo>
                    <a:pt x="15396" y="8544"/>
                    <a:pt x="15549" y="8488"/>
                    <a:pt x="15626" y="8460"/>
                  </a:cubicBezTo>
                  <a:cubicBezTo>
                    <a:pt x="15626" y="8431"/>
                    <a:pt x="15855" y="8347"/>
                    <a:pt x="15855" y="8347"/>
                  </a:cubicBezTo>
                  <a:cubicBezTo>
                    <a:pt x="16085" y="8319"/>
                    <a:pt x="16085" y="8319"/>
                    <a:pt x="16085" y="8319"/>
                  </a:cubicBezTo>
                  <a:cubicBezTo>
                    <a:pt x="16085" y="8319"/>
                    <a:pt x="16162" y="8290"/>
                    <a:pt x="16238" y="8290"/>
                  </a:cubicBezTo>
                  <a:cubicBezTo>
                    <a:pt x="16238" y="8290"/>
                    <a:pt x="16468" y="8178"/>
                    <a:pt x="16468" y="8178"/>
                  </a:cubicBezTo>
                  <a:cubicBezTo>
                    <a:pt x="16468" y="8178"/>
                    <a:pt x="16468" y="8149"/>
                    <a:pt x="16545" y="8121"/>
                  </a:cubicBezTo>
                  <a:cubicBezTo>
                    <a:pt x="16545" y="8093"/>
                    <a:pt x="16698" y="8093"/>
                    <a:pt x="16698" y="8065"/>
                  </a:cubicBezTo>
                  <a:cubicBezTo>
                    <a:pt x="16774" y="8065"/>
                    <a:pt x="16928" y="7924"/>
                    <a:pt x="16928" y="7924"/>
                  </a:cubicBezTo>
                  <a:cubicBezTo>
                    <a:pt x="16928" y="7924"/>
                    <a:pt x="17004" y="7924"/>
                    <a:pt x="17004" y="7896"/>
                  </a:cubicBezTo>
                  <a:cubicBezTo>
                    <a:pt x="17004" y="7839"/>
                    <a:pt x="17081" y="7783"/>
                    <a:pt x="17081" y="7783"/>
                  </a:cubicBezTo>
                  <a:cubicBezTo>
                    <a:pt x="17234" y="7670"/>
                    <a:pt x="17234" y="7670"/>
                    <a:pt x="17234" y="7670"/>
                  </a:cubicBezTo>
                  <a:cubicBezTo>
                    <a:pt x="17234" y="7501"/>
                    <a:pt x="17234" y="7501"/>
                    <a:pt x="17234" y="7501"/>
                  </a:cubicBezTo>
                  <a:cubicBezTo>
                    <a:pt x="17387" y="7360"/>
                    <a:pt x="17387" y="7360"/>
                    <a:pt x="17387" y="7360"/>
                  </a:cubicBezTo>
                  <a:cubicBezTo>
                    <a:pt x="17387" y="7360"/>
                    <a:pt x="17464" y="7332"/>
                    <a:pt x="17464" y="7303"/>
                  </a:cubicBezTo>
                  <a:cubicBezTo>
                    <a:pt x="17540" y="7303"/>
                    <a:pt x="17617" y="7219"/>
                    <a:pt x="17617" y="7219"/>
                  </a:cubicBezTo>
                  <a:cubicBezTo>
                    <a:pt x="17617" y="7219"/>
                    <a:pt x="17847" y="7106"/>
                    <a:pt x="17847" y="7106"/>
                  </a:cubicBezTo>
                  <a:cubicBezTo>
                    <a:pt x="17847" y="7106"/>
                    <a:pt x="17923" y="7021"/>
                    <a:pt x="17923" y="6993"/>
                  </a:cubicBezTo>
                  <a:cubicBezTo>
                    <a:pt x="18000" y="6993"/>
                    <a:pt x="18000" y="6993"/>
                    <a:pt x="18000" y="6993"/>
                  </a:cubicBezTo>
                  <a:cubicBezTo>
                    <a:pt x="18000" y="6909"/>
                    <a:pt x="18000" y="6909"/>
                    <a:pt x="18000" y="6909"/>
                  </a:cubicBezTo>
                  <a:cubicBezTo>
                    <a:pt x="17847" y="6796"/>
                    <a:pt x="17847" y="6796"/>
                    <a:pt x="17847" y="6796"/>
                  </a:cubicBezTo>
                  <a:cubicBezTo>
                    <a:pt x="17540" y="6711"/>
                    <a:pt x="17540" y="6711"/>
                    <a:pt x="17540" y="6711"/>
                  </a:cubicBezTo>
                  <a:cubicBezTo>
                    <a:pt x="17311" y="6711"/>
                    <a:pt x="17311" y="6711"/>
                    <a:pt x="17311" y="6711"/>
                  </a:cubicBezTo>
                  <a:cubicBezTo>
                    <a:pt x="17157" y="6655"/>
                    <a:pt x="17157" y="6655"/>
                    <a:pt x="17157" y="6655"/>
                  </a:cubicBezTo>
                  <a:cubicBezTo>
                    <a:pt x="17234" y="6598"/>
                    <a:pt x="17234" y="6598"/>
                    <a:pt x="17234" y="6598"/>
                  </a:cubicBezTo>
                  <a:cubicBezTo>
                    <a:pt x="17081" y="6514"/>
                    <a:pt x="17081" y="6514"/>
                    <a:pt x="17081" y="6514"/>
                  </a:cubicBezTo>
                  <a:cubicBezTo>
                    <a:pt x="17004" y="6457"/>
                    <a:pt x="17004" y="6457"/>
                    <a:pt x="17004" y="6457"/>
                  </a:cubicBezTo>
                  <a:cubicBezTo>
                    <a:pt x="16851" y="6401"/>
                    <a:pt x="16851" y="6401"/>
                    <a:pt x="16851" y="6401"/>
                  </a:cubicBezTo>
                  <a:cubicBezTo>
                    <a:pt x="16851" y="6401"/>
                    <a:pt x="17004" y="6316"/>
                    <a:pt x="17004" y="6316"/>
                  </a:cubicBezTo>
                  <a:cubicBezTo>
                    <a:pt x="17004" y="6316"/>
                    <a:pt x="17081" y="6288"/>
                    <a:pt x="17081" y="6260"/>
                  </a:cubicBezTo>
                  <a:cubicBezTo>
                    <a:pt x="17081" y="6260"/>
                    <a:pt x="17234" y="6175"/>
                    <a:pt x="17234" y="6175"/>
                  </a:cubicBezTo>
                  <a:cubicBezTo>
                    <a:pt x="17234" y="6175"/>
                    <a:pt x="17387" y="6091"/>
                    <a:pt x="17387" y="6091"/>
                  </a:cubicBezTo>
                  <a:cubicBezTo>
                    <a:pt x="17387" y="6091"/>
                    <a:pt x="17464" y="6063"/>
                    <a:pt x="17464" y="6034"/>
                  </a:cubicBezTo>
                  <a:cubicBezTo>
                    <a:pt x="17464" y="6006"/>
                    <a:pt x="17387" y="5893"/>
                    <a:pt x="17387" y="5893"/>
                  </a:cubicBezTo>
                  <a:cubicBezTo>
                    <a:pt x="17387" y="5893"/>
                    <a:pt x="17387" y="5809"/>
                    <a:pt x="17464" y="5809"/>
                  </a:cubicBezTo>
                  <a:cubicBezTo>
                    <a:pt x="17464" y="5781"/>
                    <a:pt x="17540" y="5752"/>
                    <a:pt x="17540" y="5752"/>
                  </a:cubicBezTo>
                  <a:cubicBezTo>
                    <a:pt x="17540" y="5752"/>
                    <a:pt x="17617" y="5752"/>
                    <a:pt x="17694" y="5781"/>
                  </a:cubicBezTo>
                  <a:cubicBezTo>
                    <a:pt x="17770" y="5781"/>
                    <a:pt x="17770" y="5724"/>
                    <a:pt x="17770" y="5724"/>
                  </a:cubicBezTo>
                  <a:cubicBezTo>
                    <a:pt x="17770" y="5724"/>
                    <a:pt x="17770" y="5640"/>
                    <a:pt x="17694" y="5640"/>
                  </a:cubicBezTo>
                  <a:cubicBezTo>
                    <a:pt x="17617" y="5640"/>
                    <a:pt x="17540" y="5583"/>
                    <a:pt x="17540" y="5583"/>
                  </a:cubicBezTo>
                  <a:cubicBezTo>
                    <a:pt x="17540" y="5583"/>
                    <a:pt x="17617" y="5555"/>
                    <a:pt x="17617" y="5555"/>
                  </a:cubicBezTo>
                  <a:cubicBezTo>
                    <a:pt x="17617" y="5527"/>
                    <a:pt x="17770" y="5499"/>
                    <a:pt x="17770" y="5499"/>
                  </a:cubicBezTo>
                  <a:cubicBezTo>
                    <a:pt x="18000" y="5470"/>
                    <a:pt x="18000" y="5470"/>
                    <a:pt x="18000" y="5470"/>
                  </a:cubicBezTo>
                  <a:cubicBezTo>
                    <a:pt x="17923" y="5386"/>
                    <a:pt x="17923" y="5386"/>
                    <a:pt x="17923" y="5386"/>
                  </a:cubicBezTo>
                  <a:cubicBezTo>
                    <a:pt x="17923" y="5301"/>
                    <a:pt x="17923" y="5301"/>
                    <a:pt x="17923" y="5301"/>
                  </a:cubicBezTo>
                  <a:cubicBezTo>
                    <a:pt x="17923" y="5301"/>
                    <a:pt x="18230" y="5330"/>
                    <a:pt x="18230" y="5330"/>
                  </a:cubicBezTo>
                  <a:cubicBezTo>
                    <a:pt x="18230" y="5358"/>
                    <a:pt x="18306" y="5414"/>
                    <a:pt x="18383" y="5414"/>
                  </a:cubicBezTo>
                  <a:cubicBezTo>
                    <a:pt x="18383" y="5386"/>
                    <a:pt x="18383" y="5330"/>
                    <a:pt x="18383" y="5330"/>
                  </a:cubicBezTo>
                  <a:cubicBezTo>
                    <a:pt x="18383" y="5330"/>
                    <a:pt x="18460" y="5245"/>
                    <a:pt x="18536" y="5273"/>
                  </a:cubicBezTo>
                  <a:cubicBezTo>
                    <a:pt x="18689" y="5301"/>
                    <a:pt x="18766" y="5245"/>
                    <a:pt x="18843" y="5245"/>
                  </a:cubicBezTo>
                  <a:cubicBezTo>
                    <a:pt x="18843" y="5217"/>
                    <a:pt x="18919" y="5160"/>
                    <a:pt x="18919" y="5160"/>
                  </a:cubicBezTo>
                  <a:cubicBezTo>
                    <a:pt x="18919" y="5160"/>
                    <a:pt x="18996" y="5076"/>
                    <a:pt x="18919" y="5048"/>
                  </a:cubicBezTo>
                  <a:cubicBezTo>
                    <a:pt x="18843" y="5048"/>
                    <a:pt x="18766" y="5048"/>
                    <a:pt x="18766" y="5019"/>
                  </a:cubicBezTo>
                  <a:cubicBezTo>
                    <a:pt x="18766" y="5019"/>
                    <a:pt x="18843" y="4963"/>
                    <a:pt x="18919" y="4963"/>
                  </a:cubicBezTo>
                  <a:cubicBezTo>
                    <a:pt x="18996" y="4963"/>
                    <a:pt x="18996" y="4963"/>
                    <a:pt x="19149" y="4935"/>
                  </a:cubicBezTo>
                  <a:cubicBezTo>
                    <a:pt x="19226" y="4907"/>
                    <a:pt x="19226" y="4878"/>
                    <a:pt x="19226" y="4878"/>
                  </a:cubicBezTo>
                  <a:cubicBezTo>
                    <a:pt x="19226" y="4878"/>
                    <a:pt x="19455" y="4850"/>
                    <a:pt x="19455" y="4850"/>
                  </a:cubicBezTo>
                  <a:cubicBezTo>
                    <a:pt x="19762" y="4794"/>
                    <a:pt x="19762" y="4794"/>
                    <a:pt x="19762" y="4794"/>
                  </a:cubicBezTo>
                  <a:cubicBezTo>
                    <a:pt x="19762" y="4737"/>
                    <a:pt x="19762" y="4737"/>
                    <a:pt x="19762" y="4737"/>
                  </a:cubicBezTo>
                  <a:cubicBezTo>
                    <a:pt x="19762" y="4737"/>
                    <a:pt x="19915" y="4737"/>
                    <a:pt x="19915" y="4737"/>
                  </a:cubicBezTo>
                  <a:cubicBezTo>
                    <a:pt x="19991" y="4737"/>
                    <a:pt x="20068" y="4766"/>
                    <a:pt x="20068" y="4766"/>
                  </a:cubicBezTo>
                  <a:cubicBezTo>
                    <a:pt x="20068" y="4766"/>
                    <a:pt x="20221" y="4766"/>
                    <a:pt x="20221" y="4766"/>
                  </a:cubicBezTo>
                  <a:cubicBezTo>
                    <a:pt x="20221" y="4737"/>
                    <a:pt x="20145" y="4709"/>
                    <a:pt x="20221" y="4709"/>
                  </a:cubicBezTo>
                  <a:cubicBezTo>
                    <a:pt x="20298" y="4737"/>
                    <a:pt x="20298" y="4737"/>
                    <a:pt x="20298" y="4766"/>
                  </a:cubicBezTo>
                  <a:cubicBezTo>
                    <a:pt x="20374" y="4766"/>
                    <a:pt x="20374" y="4766"/>
                    <a:pt x="20374" y="4766"/>
                  </a:cubicBezTo>
                  <a:cubicBezTo>
                    <a:pt x="20451" y="4766"/>
                    <a:pt x="20528" y="4794"/>
                    <a:pt x="20604" y="4822"/>
                  </a:cubicBezTo>
                  <a:cubicBezTo>
                    <a:pt x="20604" y="4822"/>
                    <a:pt x="20604" y="4850"/>
                    <a:pt x="20604" y="4878"/>
                  </a:cubicBezTo>
                  <a:cubicBezTo>
                    <a:pt x="20604" y="4907"/>
                    <a:pt x="20604" y="4907"/>
                    <a:pt x="20604" y="4935"/>
                  </a:cubicBezTo>
                  <a:cubicBezTo>
                    <a:pt x="20604" y="4963"/>
                    <a:pt x="20604" y="4963"/>
                    <a:pt x="20604" y="4963"/>
                  </a:cubicBezTo>
                  <a:cubicBezTo>
                    <a:pt x="20604" y="4963"/>
                    <a:pt x="20834" y="5019"/>
                    <a:pt x="20834" y="4991"/>
                  </a:cubicBezTo>
                  <a:cubicBezTo>
                    <a:pt x="20834" y="4963"/>
                    <a:pt x="20834" y="4991"/>
                    <a:pt x="20834" y="4935"/>
                  </a:cubicBezTo>
                  <a:cubicBezTo>
                    <a:pt x="20757" y="4907"/>
                    <a:pt x="20834" y="4878"/>
                    <a:pt x="20834" y="4850"/>
                  </a:cubicBezTo>
                  <a:cubicBezTo>
                    <a:pt x="20757" y="4822"/>
                    <a:pt x="20681" y="4766"/>
                    <a:pt x="20681" y="4737"/>
                  </a:cubicBezTo>
                  <a:cubicBezTo>
                    <a:pt x="20681" y="4737"/>
                    <a:pt x="20757" y="4709"/>
                    <a:pt x="20834" y="4709"/>
                  </a:cubicBezTo>
                  <a:cubicBezTo>
                    <a:pt x="20911" y="4709"/>
                    <a:pt x="20834" y="4681"/>
                    <a:pt x="20911" y="4709"/>
                  </a:cubicBezTo>
                  <a:cubicBezTo>
                    <a:pt x="20987" y="4737"/>
                    <a:pt x="20987" y="4766"/>
                    <a:pt x="21064" y="4766"/>
                  </a:cubicBezTo>
                  <a:cubicBezTo>
                    <a:pt x="21140" y="4766"/>
                    <a:pt x="21140" y="4766"/>
                    <a:pt x="21140" y="4766"/>
                  </a:cubicBezTo>
                  <a:cubicBezTo>
                    <a:pt x="21140" y="4794"/>
                    <a:pt x="21217" y="4822"/>
                    <a:pt x="21217" y="4850"/>
                  </a:cubicBezTo>
                  <a:cubicBezTo>
                    <a:pt x="21217" y="4878"/>
                    <a:pt x="21217" y="4878"/>
                    <a:pt x="21217" y="4907"/>
                  </a:cubicBezTo>
                  <a:cubicBezTo>
                    <a:pt x="21217" y="4907"/>
                    <a:pt x="21370" y="4991"/>
                    <a:pt x="21370" y="4991"/>
                  </a:cubicBezTo>
                  <a:cubicBezTo>
                    <a:pt x="21370" y="4991"/>
                    <a:pt x="21523" y="4935"/>
                    <a:pt x="21523" y="4935"/>
                  </a:cubicBezTo>
                  <a:cubicBezTo>
                    <a:pt x="21523" y="4907"/>
                    <a:pt x="21523" y="4878"/>
                    <a:pt x="21523" y="4878"/>
                  </a:cubicBezTo>
                  <a:cubicBezTo>
                    <a:pt x="21523" y="4850"/>
                    <a:pt x="21523" y="4822"/>
                    <a:pt x="21523" y="4822"/>
                  </a:cubicBezTo>
                  <a:cubicBezTo>
                    <a:pt x="21523" y="4794"/>
                    <a:pt x="21294" y="4709"/>
                    <a:pt x="21294" y="4709"/>
                  </a:cubicBezTo>
                  <a:cubicBezTo>
                    <a:pt x="21294" y="4709"/>
                    <a:pt x="21294" y="4681"/>
                    <a:pt x="21370" y="4653"/>
                  </a:cubicBezTo>
                  <a:cubicBezTo>
                    <a:pt x="21370" y="4653"/>
                    <a:pt x="21447" y="4625"/>
                    <a:pt x="21600" y="4596"/>
                  </a:cubicBezTo>
                  <a:cubicBezTo>
                    <a:pt x="21140" y="4230"/>
                    <a:pt x="21140" y="4230"/>
                    <a:pt x="21140" y="4230"/>
                  </a:cubicBezTo>
                  <a:cubicBezTo>
                    <a:pt x="20681" y="4145"/>
                    <a:pt x="20681" y="4145"/>
                    <a:pt x="20681" y="4145"/>
                  </a:cubicBezTo>
                  <a:cubicBezTo>
                    <a:pt x="20374" y="4032"/>
                    <a:pt x="20374" y="4032"/>
                    <a:pt x="20374" y="4032"/>
                  </a:cubicBezTo>
                  <a:cubicBezTo>
                    <a:pt x="20374" y="3891"/>
                    <a:pt x="20374" y="3891"/>
                    <a:pt x="20374" y="3891"/>
                  </a:cubicBezTo>
                  <a:cubicBezTo>
                    <a:pt x="20145" y="3779"/>
                    <a:pt x="20145" y="3779"/>
                    <a:pt x="20145" y="3779"/>
                  </a:cubicBezTo>
                  <a:cubicBezTo>
                    <a:pt x="20145" y="3779"/>
                    <a:pt x="20221" y="3694"/>
                    <a:pt x="20221" y="3666"/>
                  </a:cubicBezTo>
                  <a:cubicBezTo>
                    <a:pt x="20298" y="3638"/>
                    <a:pt x="20451" y="3497"/>
                    <a:pt x="20451" y="3497"/>
                  </a:cubicBezTo>
                  <a:cubicBezTo>
                    <a:pt x="20451" y="3497"/>
                    <a:pt x="20374" y="3384"/>
                    <a:pt x="20374" y="3356"/>
                  </a:cubicBezTo>
                  <a:cubicBezTo>
                    <a:pt x="20374" y="3327"/>
                    <a:pt x="20451" y="3186"/>
                    <a:pt x="20451" y="3186"/>
                  </a:cubicBezTo>
                  <a:cubicBezTo>
                    <a:pt x="20374" y="3045"/>
                    <a:pt x="20374" y="3045"/>
                    <a:pt x="20374" y="3045"/>
                  </a:cubicBezTo>
                  <a:cubicBezTo>
                    <a:pt x="19455" y="2651"/>
                    <a:pt x="19455" y="2651"/>
                    <a:pt x="19455" y="2651"/>
                  </a:cubicBezTo>
                  <a:cubicBezTo>
                    <a:pt x="19532" y="2481"/>
                    <a:pt x="19532" y="2481"/>
                    <a:pt x="19532" y="2481"/>
                  </a:cubicBezTo>
                  <a:cubicBezTo>
                    <a:pt x="19532" y="2481"/>
                    <a:pt x="19532" y="2481"/>
                    <a:pt x="19532" y="2481"/>
                  </a:cubicBezTo>
                  <a:close/>
                  <a:moveTo>
                    <a:pt x="12638" y="20021"/>
                  </a:moveTo>
                  <a:cubicBezTo>
                    <a:pt x="12638" y="20021"/>
                    <a:pt x="12638" y="20021"/>
                    <a:pt x="12638" y="20021"/>
                  </a:cubicBezTo>
                  <a:cubicBezTo>
                    <a:pt x="12715" y="19795"/>
                    <a:pt x="12715" y="19795"/>
                    <a:pt x="12715" y="19795"/>
                  </a:cubicBezTo>
                  <a:cubicBezTo>
                    <a:pt x="12715" y="19795"/>
                    <a:pt x="12562" y="19711"/>
                    <a:pt x="12562" y="19711"/>
                  </a:cubicBezTo>
                  <a:cubicBezTo>
                    <a:pt x="12562" y="19683"/>
                    <a:pt x="12485" y="19626"/>
                    <a:pt x="12485" y="19542"/>
                  </a:cubicBezTo>
                  <a:cubicBezTo>
                    <a:pt x="12562" y="19457"/>
                    <a:pt x="12562" y="19429"/>
                    <a:pt x="12638" y="19372"/>
                  </a:cubicBezTo>
                  <a:cubicBezTo>
                    <a:pt x="12638" y="19316"/>
                    <a:pt x="12791" y="19288"/>
                    <a:pt x="12791" y="19231"/>
                  </a:cubicBezTo>
                  <a:cubicBezTo>
                    <a:pt x="12791" y="19147"/>
                    <a:pt x="12791" y="19119"/>
                    <a:pt x="12868" y="19062"/>
                  </a:cubicBezTo>
                  <a:cubicBezTo>
                    <a:pt x="12868" y="19006"/>
                    <a:pt x="12945" y="18949"/>
                    <a:pt x="13021" y="18949"/>
                  </a:cubicBezTo>
                  <a:cubicBezTo>
                    <a:pt x="13021" y="18921"/>
                    <a:pt x="13174" y="18808"/>
                    <a:pt x="13174" y="18808"/>
                  </a:cubicBezTo>
                  <a:cubicBezTo>
                    <a:pt x="13251" y="18667"/>
                    <a:pt x="13251" y="18667"/>
                    <a:pt x="13251" y="18667"/>
                  </a:cubicBezTo>
                  <a:cubicBezTo>
                    <a:pt x="13251" y="18667"/>
                    <a:pt x="13404" y="18526"/>
                    <a:pt x="13404" y="18498"/>
                  </a:cubicBezTo>
                  <a:cubicBezTo>
                    <a:pt x="13404" y="18470"/>
                    <a:pt x="13328" y="18357"/>
                    <a:pt x="13328" y="18329"/>
                  </a:cubicBezTo>
                  <a:cubicBezTo>
                    <a:pt x="13404" y="18301"/>
                    <a:pt x="13557" y="18244"/>
                    <a:pt x="13557" y="18244"/>
                  </a:cubicBezTo>
                  <a:cubicBezTo>
                    <a:pt x="13787" y="18244"/>
                    <a:pt x="13787" y="18244"/>
                    <a:pt x="13787" y="18244"/>
                  </a:cubicBezTo>
                  <a:cubicBezTo>
                    <a:pt x="13787" y="18244"/>
                    <a:pt x="13787" y="18329"/>
                    <a:pt x="13711" y="18357"/>
                  </a:cubicBezTo>
                  <a:cubicBezTo>
                    <a:pt x="13634" y="18357"/>
                    <a:pt x="13557" y="18385"/>
                    <a:pt x="13557" y="18385"/>
                  </a:cubicBezTo>
                  <a:cubicBezTo>
                    <a:pt x="13557" y="18414"/>
                    <a:pt x="13711" y="18470"/>
                    <a:pt x="13711" y="18470"/>
                  </a:cubicBezTo>
                  <a:cubicBezTo>
                    <a:pt x="13711" y="18583"/>
                    <a:pt x="13711" y="18583"/>
                    <a:pt x="13711" y="18583"/>
                  </a:cubicBezTo>
                  <a:cubicBezTo>
                    <a:pt x="13557" y="18696"/>
                    <a:pt x="13557" y="18696"/>
                    <a:pt x="13557" y="18696"/>
                  </a:cubicBezTo>
                  <a:cubicBezTo>
                    <a:pt x="13404" y="18837"/>
                    <a:pt x="13404" y="18837"/>
                    <a:pt x="13404" y="18837"/>
                  </a:cubicBezTo>
                  <a:cubicBezTo>
                    <a:pt x="13404" y="18978"/>
                    <a:pt x="13404" y="18978"/>
                    <a:pt x="13404" y="18978"/>
                  </a:cubicBezTo>
                  <a:cubicBezTo>
                    <a:pt x="13328" y="19062"/>
                    <a:pt x="13328" y="19062"/>
                    <a:pt x="13328" y="19062"/>
                  </a:cubicBezTo>
                  <a:cubicBezTo>
                    <a:pt x="13251" y="19147"/>
                    <a:pt x="13251" y="19147"/>
                    <a:pt x="13251" y="19147"/>
                  </a:cubicBezTo>
                  <a:cubicBezTo>
                    <a:pt x="13098" y="19316"/>
                    <a:pt x="13098" y="19316"/>
                    <a:pt x="13098" y="19316"/>
                  </a:cubicBezTo>
                  <a:cubicBezTo>
                    <a:pt x="13174" y="19457"/>
                    <a:pt x="13174" y="19457"/>
                    <a:pt x="13174" y="19457"/>
                  </a:cubicBezTo>
                  <a:cubicBezTo>
                    <a:pt x="12945" y="19626"/>
                    <a:pt x="12945" y="19626"/>
                    <a:pt x="12945" y="19626"/>
                  </a:cubicBezTo>
                  <a:cubicBezTo>
                    <a:pt x="12945" y="19626"/>
                    <a:pt x="12945" y="19711"/>
                    <a:pt x="12945" y="19739"/>
                  </a:cubicBezTo>
                  <a:cubicBezTo>
                    <a:pt x="12945" y="19767"/>
                    <a:pt x="12945" y="19936"/>
                    <a:pt x="12945" y="19936"/>
                  </a:cubicBezTo>
                  <a:cubicBezTo>
                    <a:pt x="12945" y="19936"/>
                    <a:pt x="12945" y="20021"/>
                    <a:pt x="12868" y="20021"/>
                  </a:cubicBezTo>
                  <a:cubicBezTo>
                    <a:pt x="12791" y="20021"/>
                    <a:pt x="12638" y="20021"/>
                    <a:pt x="12638" y="20021"/>
                  </a:cubicBezTo>
                  <a:close/>
                  <a:moveTo>
                    <a:pt x="15779" y="18301"/>
                  </a:moveTo>
                  <a:cubicBezTo>
                    <a:pt x="15779" y="18301"/>
                    <a:pt x="15779" y="18301"/>
                    <a:pt x="15779" y="18301"/>
                  </a:cubicBezTo>
                  <a:cubicBezTo>
                    <a:pt x="15702" y="18244"/>
                    <a:pt x="15702" y="18244"/>
                    <a:pt x="15702" y="18244"/>
                  </a:cubicBezTo>
                  <a:cubicBezTo>
                    <a:pt x="15932" y="18216"/>
                    <a:pt x="15932" y="18216"/>
                    <a:pt x="15932" y="18216"/>
                  </a:cubicBezTo>
                  <a:cubicBezTo>
                    <a:pt x="15932" y="18216"/>
                    <a:pt x="15855" y="18103"/>
                    <a:pt x="15855" y="18075"/>
                  </a:cubicBezTo>
                  <a:cubicBezTo>
                    <a:pt x="15855" y="18047"/>
                    <a:pt x="15779" y="18075"/>
                    <a:pt x="15702" y="18019"/>
                  </a:cubicBezTo>
                  <a:cubicBezTo>
                    <a:pt x="15626" y="17991"/>
                    <a:pt x="15626" y="17906"/>
                    <a:pt x="15626" y="17906"/>
                  </a:cubicBezTo>
                  <a:cubicBezTo>
                    <a:pt x="15626" y="17878"/>
                    <a:pt x="15702" y="17793"/>
                    <a:pt x="15702" y="17793"/>
                  </a:cubicBezTo>
                  <a:cubicBezTo>
                    <a:pt x="15702" y="17793"/>
                    <a:pt x="15932" y="17680"/>
                    <a:pt x="16085" y="17624"/>
                  </a:cubicBezTo>
                  <a:cubicBezTo>
                    <a:pt x="16315" y="17539"/>
                    <a:pt x="16238" y="17539"/>
                    <a:pt x="16238" y="17483"/>
                  </a:cubicBezTo>
                  <a:cubicBezTo>
                    <a:pt x="16162" y="17455"/>
                    <a:pt x="16315" y="17427"/>
                    <a:pt x="16315" y="17427"/>
                  </a:cubicBezTo>
                  <a:cubicBezTo>
                    <a:pt x="16545" y="17342"/>
                    <a:pt x="16545" y="17342"/>
                    <a:pt x="16545" y="17342"/>
                  </a:cubicBezTo>
                  <a:cubicBezTo>
                    <a:pt x="16698" y="17201"/>
                    <a:pt x="16698" y="17201"/>
                    <a:pt x="16698" y="17201"/>
                  </a:cubicBezTo>
                  <a:cubicBezTo>
                    <a:pt x="16698" y="17201"/>
                    <a:pt x="16928" y="17286"/>
                    <a:pt x="16928" y="17286"/>
                  </a:cubicBezTo>
                  <a:cubicBezTo>
                    <a:pt x="17004" y="17286"/>
                    <a:pt x="17004" y="17257"/>
                    <a:pt x="17004" y="17229"/>
                  </a:cubicBezTo>
                  <a:cubicBezTo>
                    <a:pt x="17004" y="17201"/>
                    <a:pt x="17157" y="17201"/>
                    <a:pt x="17157" y="17201"/>
                  </a:cubicBezTo>
                  <a:cubicBezTo>
                    <a:pt x="17234" y="17201"/>
                    <a:pt x="17464" y="17173"/>
                    <a:pt x="17464" y="17173"/>
                  </a:cubicBezTo>
                  <a:cubicBezTo>
                    <a:pt x="17540" y="17116"/>
                    <a:pt x="17540" y="17116"/>
                    <a:pt x="17540" y="17116"/>
                  </a:cubicBezTo>
                  <a:cubicBezTo>
                    <a:pt x="17540" y="17116"/>
                    <a:pt x="17847" y="17088"/>
                    <a:pt x="18000" y="17116"/>
                  </a:cubicBezTo>
                  <a:cubicBezTo>
                    <a:pt x="18077" y="17145"/>
                    <a:pt x="17923" y="17145"/>
                    <a:pt x="17923" y="17173"/>
                  </a:cubicBezTo>
                  <a:cubicBezTo>
                    <a:pt x="17923" y="17201"/>
                    <a:pt x="17923" y="17201"/>
                    <a:pt x="17923" y="17229"/>
                  </a:cubicBezTo>
                  <a:cubicBezTo>
                    <a:pt x="17923" y="17257"/>
                    <a:pt x="17847" y="17286"/>
                    <a:pt x="17617" y="17286"/>
                  </a:cubicBezTo>
                  <a:cubicBezTo>
                    <a:pt x="17387" y="17314"/>
                    <a:pt x="17540" y="17370"/>
                    <a:pt x="17540" y="17370"/>
                  </a:cubicBezTo>
                  <a:cubicBezTo>
                    <a:pt x="17540" y="17370"/>
                    <a:pt x="17540" y="17483"/>
                    <a:pt x="17540" y="17483"/>
                  </a:cubicBezTo>
                  <a:cubicBezTo>
                    <a:pt x="17464" y="17511"/>
                    <a:pt x="17311" y="17568"/>
                    <a:pt x="17157" y="17568"/>
                  </a:cubicBezTo>
                  <a:cubicBezTo>
                    <a:pt x="17081" y="17596"/>
                    <a:pt x="17081" y="17652"/>
                    <a:pt x="17081" y="17652"/>
                  </a:cubicBezTo>
                  <a:cubicBezTo>
                    <a:pt x="17081" y="17680"/>
                    <a:pt x="17157" y="17737"/>
                    <a:pt x="17157" y="17793"/>
                  </a:cubicBezTo>
                  <a:cubicBezTo>
                    <a:pt x="17157" y="17821"/>
                    <a:pt x="17157" y="17821"/>
                    <a:pt x="17234" y="17878"/>
                  </a:cubicBezTo>
                  <a:cubicBezTo>
                    <a:pt x="17234" y="17906"/>
                    <a:pt x="17387" y="17906"/>
                    <a:pt x="17464" y="17906"/>
                  </a:cubicBezTo>
                  <a:cubicBezTo>
                    <a:pt x="17464" y="17934"/>
                    <a:pt x="17617" y="17991"/>
                    <a:pt x="17540" y="18019"/>
                  </a:cubicBezTo>
                  <a:cubicBezTo>
                    <a:pt x="17464" y="18047"/>
                    <a:pt x="17387" y="18075"/>
                    <a:pt x="17311" y="18075"/>
                  </a:cubicBezTo>
                  <a:cubicBezTo>
                    <a:pt x="17311" y="18103"/>
                    <a:pt x="17157" y="18188"/>
                    <a:pt x="17157" y="18188"/>
                  </a:cubicBezTo>
                  <a:cubicBezTo>
                    <a:pt x="17157" y="18188"/>
                    <a:pt x="17234" y="18244"/>
                    <a:pt x="17157" y="18301"/>
                  </a:cubicBezTo>
                  <a:cubicBezTo>
                    <a:pt x="17157" y="18357"/>
                    <a:pt x="17004" y="18329"/>
                    <a:pt x="16928" y="18357"/>
                  </a:cubicBezTo>
                  <a:cubicBezTo>
                    <a:pt x="16928" y="18357"/>
                    <a:pt x="16698" y="18442"/>
                    <a:pt x="16698" y="18442"/>
                  </a:cubicBezTo>
                  <a:cubicBezTo>
                    <a:pt x="16621" y="18442"/>
                    <a:pt x="16545" y="18555"/>
                    <a:pt x="16545" y="18611"/>
                  </a:cubicBezTo>
                  <a:cubicBezTo>
                    <a:pt x="16545" y="18639"/>
                    <a:pt x="16545" y="18696"/>
                    <a:pt x="16545" y="18724"/>
                  </a:cubicBezTo>
                  <a:cubicBezTo>
                    <a:pt x="16545" y="18752"/>
                    <a:pt x="16545" y="18724"/>
                    <a:pt x="16391" y="18808"/>
                  </a:cubicBezTo>
                  <a:cubicBezTo>
                    <a:pt x="16162" y="18893"/>
                    <a:pt x="16238" y="18837"/>
                    <a:pt x="16009" y="18808"/>
                  </a:cubicBezTo>
                  <a:cubicBezTo>
                    <a:pt x="15702" y="18808"/>
                    <a:pt x="16009" y="18780"/>
                    <a:pt x="16085" y="18724"/>
                  </a:cubicBezTo>
                  <a:cubicBezTo>
                    <a:pt x="16162" y="18667"/>
                    <a:pt x="16238" y="18611"/>
                    <a:pt x="16238" y="18611"/>
                  </a:cubicBezTo>
                  <a:cubicBezTo>
                    <a:pt x="16162" y="18498"/>
                    <a:pt x="16162" y="18498"/>
                    <a:pt x="16162" y="18498"/>
                  </a:cubicBezTo>
                  <a:cubicBezTo>
                    <a:pt x="16009" y="18414"/>
                    <a:pt x="16009" y="18414"/>
                    <a:pt x="16009" y="18414"/>
                  </a:cubicBezTo>
                  <a:lnTo>
                    <a:pt x="15779" y="18301"/>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8" name="Shape 2261">
              <a:extLst>
                <a:ext uri="{FF2B5EF4-FFF2-40B4-BE49-F238E27FC236}">
                  <a16:creationId xmlns:a16="http://schemas.microsoft.com/office/drawing/2014/main" id="{C1E1B0E2-25CB-8C37-3695-D8AD4A6FC730}"/>
                </a:ext>
              </a:extLst>
            </p:cNvPr>
            <p:cNvSpPr/>
            <p:nvPr/>
          </p:nvSpPr>
          <p:spPr>
            <a:xfrm>
              <a:off x="3090091" y="487624"/>
              <a:ext cx="2208344" cy="3036587"/>
            </a:xfrm>
            <a:custGeom>
              <a:avLst/>
              <a:gdLst/>
              <a:ahLst/>
              <a:cxnLst>
                <a:cxn ang="0">
                  <a:pos x="wd2" y="hd2"/>
                </a:cxn>
                <a:cxn ang="5400000">
                  <a:pos x="wd2" y="hd2"/>
                </a:cxn>
                <a:cxn ang="10800000">
                  <a:pos x="wd2" y="hd2"/>
                </a:cxn>
                <a:cxn ang="16200000">
                  <a:pos x="wd2" y="hd2"/>
                </a:cxn>
              </a:cxnLst>
              <a:rect l="0" t="0" r="r" b="b"/>
              <a:pathLst>
                <a:path w="21496" h="21580" extrusionOk="0">
                  <a:moveTo>
                    <a:pt x="14815" y="1620"/>
                  </a:moveTo>
                  <a:cubicBezTo>
                    <a:pt x="14735" y="1620"/>
                    <a:pt x="14614" y="1648"/>
                    <a:pt x="14614" y="1592"/>
                  </a:cubicBezTo>
                  <a:cubicBezTo>
                    <a:pt x="14614" y="1563"/>
                    <a:pt x="14494" y="1478"/>
                    <a:pt x="14494" y="1478"/>
                  </a:cubicBezTo>
                  <a:cubicBezTo>
                    <a:pt x="14494" y="1449"/>
                    <a:pt x="14414" y="1393"/>
                    <a:pt x="14534" y="1364"/>
                  </a:cubicBezTo>
                  <a:cubicBezTo>
                    <a:pt x="14614" y="1307"/>
                    <a:pt x="14895" y="1222"/>
                    <a:pt x="14935" y="1222"/>
                  </a:cubicBezTo>
                  <a:cubicBezTo>
                    <a:pt x="14935" y="1222"/>
                    <a:pt x="15056" y="1080"/>
                    <a:pt x="15096" y="1052"/>
                  </a:cubicBezTo>
                  <a:cubicBezTo>
                    <a:pt x="15136" y="1052"/>
                    <a:pt x="15377" y="1052"/>
                    <a:pt x="15377" y="1052"/>
                  </a:cubicBezTo>
                  <a:cubicBezTo>
                    <a:pt x="15377" y="1052"/>
                    <a:pt x="15417" y="1080"/>
                    <a:pt x="15498" y="1080"/>
                  </a:cubicBezTo>
                  <a:cubicBezTo>
                    <a:pt x="15578" y="1108"/>
                    <a:pt x="15738" y="1023"/>
                    <a:pt x="15658" y="1108"/>
                  </a:cubicBezTo>
                  <a:cubicBezTo>
                    <a:pt x="15538" y="1165"/>
                    <a:pt x="15498" y="1194"/>
                    <a:pt x="15457" y="1194"/>
                  </a:cubicBezTo>
                  <a:cubicBezTo>
                    <a:pt x="15417" y="1222"/>
                    <a:pt x="15217" y="1336"/>
                    <a:pt x="15217" y="1393"/>
                  </a:cubicBezTo>
                  <a:cubicBezTo>
                    <a:pt x="15176" y="1449"/>
                    <a:pt x="15217" y="1449"/>
                    <a:pt x="15176" y="1478"/>
                  </a:cubicBezTo>
                  <a:cubicBezTo>
                    <a:pt x="15096" y="1506"/>
                    <a:pt x="14855" y="1592"/>
                    <a:pt x="14815" y="1620"/>
                  </a:cubicBezTo>
                  <a:close/>
                  <a:moveTo>
                    <a:pt x="15337" y="1734"/>
                  </a:moveTo>
                  <a:cubicBezTo>
                    <a:pt x="15337" y="1734"/>
                    <a:pt x="15337" y="1734"/>
                    <a:pt x="15337" y="1734"/>
                  </a:cubicBezTo>
                  <a:cubicBezTo>
                    <a:pt x="15337" y="1734"/>
                    <a:pt x="15457" y="1762"/>
                    <a:pt x="15457" y="1734"/>
                  </a:cubicBezTo>
                  <a:cubicBezTo>
                    <a:pt x="15457" y="1734"/>
                    <a:pt x="15498" y="1677"/>
                    <a:pt x="15498" y="1592"/>
                  </a:cubicBezTo>
                  <a:cubicBezTo>
                    <a:pt x="15538" y="1506"/>
                    <a:pt x="15618" y="1506"/>
                    <a:pt x="15658" y="1478"/>
                  </a:cubicBezTo>
                  <a:cubicBezTo>
                    <a:pt x="15698" y="1449"/>
                    <a:pt x="15658" y="1449"/>
                    <a:pt x="15698" y="1393"/>
                  </a:cubicBezTo>
                  <a:cubicBezTo>
                    <a:pt x="15698" y="1336"/>
                    <a:pt x="15658" y="1336"/>
                    <a:pt x="15578" y="1307"/>
                  </a:cubicBezTo>
                  <a:cubicBezTo>
                    <a:pt x="15457" y="1307"/>
                    <a:pt x="15457" y="1364"/>
                    <a:pt x="15377" y="1364"/>
                  </a:cubicBezTo>
                  <a:cubicBezTo>
                    <a:pt x="15337" y="1393"/>
                    <a:pt x="15337" y="1449"/>
                    <a:pt x="15377" y="1478"/>
                  </a:cubicBezTo>
                  <a:cubicBezTo>
                    <a:pt x="15377" y="1506"/>
                    <a:pt x="15297" y="1535"/>
                    <a:pt x="15217" y="1563"/>
                  </a:cubicBezTo>
                  <a:cubicBezTo>
                    <a:pt x="15136" y="1620"/>
                    <a:pt x="15136" y="1677"/>
                    <a:pt x="15136" y="1677"/>
                  </a:cubicBezTo>
                  <a:cubicBezTo>
                    <a:pt x="15337" y="1734"/>
                    <a:pt x="15337" y="1734"/>
                    <a:pt x="15337" y="1734"/>
                  </a:cubicBezTo>
                  <a:close/>
                  <a:moveTo>
                    <a:pt x="14534" y="3581"/>
                  </a:moveTo>
                  <a:cubicBezTo>
                    <a:pt x="14534" y="3581"/>
                    <a:pt x="14534" y="3581"/>
                    <a:pt x="14534" y="3581"/>
                  </a:cubicBezTo>
                  <a:cubicBezTo>
                    <a:pt x="14695" y="3609"/>
                    <a:pt x="14695" y="3609"/>
                    <a:pt x="14695" y="3609"/>
                  </a:cubicBezTo>
                  <a:cubicBezTo>
                    <a:pt x="14976" y="3837"/>
                    <a:pt x="14976" y="3837"/>
                    <a:pt x="14976" y="3837"/>
                  </a:cubicBezTo>
                  <a:cubicBezTo>
                    <a:pt x="15217" y="4036"/>
                    <a:pt x="15217" y="4036"/>
                    <a:pt x="15217" y="4036"/>
                  </a:cubicBezTo>
                  <a:cubicBezTo>
                    <a:pt x="15217" y="4036"/>
                    <a:pt x="15578" y="4235"/>
                    <a:pt x="15658" y="4263"/>
                  </a:cubicBezTo>
                  <a:cubicBezTo>
                    <a:pt x="15738" y="4292"/>
                    <a:pt x="16180" y="4348"/>
                    <a:pt x="16220" y="4377"/>
                  </a:cubicBezTo>
                  <a:cubicBezTo>
                    <a:pt x="16341" y="4263"/>
                    <a:pt x="16341" y="4263"/>
                    <a:pt x="16341" y="4263"/>
                  </a:cubicBezTo>
                  <a:cubicBezTo>
                    <a:pt x="16501" y="4178"/>
                    <a:pt x="16501" y="4178"/>
                    <a:pt x="16501" y="4178"/>
                  </a:cubicBezTo>
                  <a:cubicBezTo>
                    <a:pt x="16461" y="4121"/>
                    <a:pt x="16461" y="4121"/>
                    <a:pt x="16461" y="4121"/>
                  </a:cubicBezTo>
                  <a:cubicBezTo>
                    <a:pt x="16662" y="4036"/>
                    <a:pt x="16662" y="4036"/>
                    <a:pt x="16662" y="4036"/>
                  </a:cubicBezTo>
                  <a:cubicBezTo>
                    <a:pt x="16822" y="4121"/>
                    <a:pt x="16822" y="4121"/>
                    <a:pt x="16822" y="4121"/>
                  </a:cubicBezTo>
                  <a:cubicBezTo>
                    <a:pt x="17224" y="4178"/>
                    <a:pt x="17224" y="4178"/>
                    <a:pt x="17224" y="4178"/>
                  </a:cubicBezTo>
                  <a:cubicBezTo>
                    <a:pt x="17385" y="4263"/>
                    <a:pt x="17385" y="4263"/>
                    <a:pt x="17385" y="4263"/>
                  </a:cubicBezTo>
                  <a:cubicBezTo>
                    <a:pt x="17385" y="4263"/>
                    <a:pt x="17385" y="4263"/>
                    <a:pt x="17425" y="4263"/>
                  </a:cubicBezTo>
                  <a:cubicBezTo>
                    <a:pt x="17425" y="4263"/>
                    <a:pt x="17425" y="4263"/>
                    <a:pt x="17425" y="4263"/>
                  </a:cubicBezTo>
                  <a:cubicBezTo>
                    <a:pt x="17425" y="4263"/>
                    <a:pt x="17425" y="4263"/>
                    <a:pt x="17425" y="4263"/>
                  </a:cubicBezTo>
                  <a:cubicBezTo>
                    <a:pt x="17465" y="4235"/>
                    <a:pt x="17465" y="4235"/>
                    <a:pt x="17465" y="4235"/>
                  </a:cubicBezTo>
                  <a:cubicBezTo>
                    <a:pt x="17465" y="4235"/>
                    <a:pt x="17465" y="4235"/>
                    <a:pt x="17465" y="4235"/>
                  </a:cubicBezTo>
                  <a:cubicBezTo>
                    <a:pt x="17465" y="4235"/>
                    <a:pt x="17465" y="4235"/>
                    <a:pt x="17465" y="4235"/>
                  </a:cubicBezTo>
                  <a:cubicBezTo>
                    <a:pt x="17465" y="4235"/>
                    <a:pt x="17465" y="4235"/>
                    <a:pt x="17465" y="4235"/>
                  </a:cubicBezTo>
                  <a:cubicBezTo>
                    <a:pt x="17465" y="4235"/>
                    <a:pt x="17505" y="4235"/>
                    <a:pt x="17505" y="4235"/>
                  </a:cubicBezTo>
                  <a:cubicBezTo>
                    <a:pt x="17505" y="4235"/>
                    <a:pt x="17505" y="4235"/>
                    <a:pt x="17505" y="4235"/>
                  </a:cubicBezTo>
                  <a:cubicBezTo>
                    <a:pt x="17505" y="4235"/>
                    <a:pt x="17505" y="4235"/>
                    <a:pt x="17505" y="4235"/>
                  </a:cubicBezTo>
                  <a:cubicBezTo>
                    <a:pt x="17505" y="4235"/>
                    <a:pt x="17505" y="4235"/>
                    <a:pt x="17505" y="4235"/>
                  </a:cubicBezTo>
                  <a:cubicBezTo>
                    <a:pt x="17505" y="4235"/>
                    <a:pt x="17505" y="4235"/>
                    <a:pt x="1750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35"/>
                    <a:pt x="17545" y="4235"/>
                    <a:pt x="17545" y="4235"/>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206"/>
                    <a:pt x="17545" y="4206"/>
                    <a:pt x="17545" y="4206"/>
                  </a:cubicBezTo>
                  <a:cubicBezTo>
                    <a:pt x="17545" y="4178"/>
                    <a:pt x="17545" y="4178"/>
                    <a:pt x="17545" y="4178"/>
                  </a:cubicBezTo>
                  <a:cubicBezTo>
                    <a:pt x="17545" y="4149"/>
                    <a:pt x="17545" y="3979"/>
                    <a:pt x="17545" y="3979"/>
                  </a:cubicBezTo>
                  <a:cubicBezTo>
                    <a:pt x="17545" y="3979"/>
                    <a:pt x="17425" y="3922"/>
                    <a:pt x="17545" y="3865"/>
                  </a:cubicBezTo>
                  <a:cubicBezTo>
                    <a:pt x="17666" y="3780"/>
                    <a:pt x="17826" y="3695"/>
                    <a:pt x="17826" y="3695"/>
                  </a:cubicBezTo>
                  <a:cubicBezTo>
                    <a:pt x="17826" y="3695"/>
                    <a:pt x="17906" y="3666"/>
                    <a:pt x="17906" y="3581"/>
                  </a:cubicBezTo>
                  <a:cubicBezTo>
                    <a:pt x="17906" y="3496"/>
                    <a:pt x="17826" y="3268"/>
                    <a:pt x="17826" y="3268"/>
                  </a:cubicBezTo>
                  <a:cubicBezTo>
                    <a:pt x="17826" y="3268"/>
                    <a:pt x="17746" y="3126"/>
                    <a:pt x="17746" y="3069"/>
                  </a:cubicBezTo>
                  <a:cubicBezTo>
                    <a:pt x="17826" y="2728"/>
                    <a:pt x="17625" y="2501"/>
                    <a:pt x="17746" y="2444"/>
                  </a:cubicBezTo>
                  <a:cubicBezTo>
                    <a:pt x="17746" y="2444"/>
                    <a:pt x="17746" y="2444"/>
                    <a:pt x="17746" y="2444"/>
                  </a:cubicBezTo>
                  <a:cubicBezTo>
                    <a:pt x="17746" y="2444"/>
                    <a:pt x="17746" y="2444"/>
                    <a:pt x="17746" y="2444"/>
                  </a:cubicBezTo>
                  <a:cubicBezTo>
                    <a:pt x="17826" y="2416"/>
                    <a:pt x="17826" y="2416"/>
                    <a:pt x="17826" y="2416"/>
                  </a:cubicBezTo>
                  <a:cubicBezTo>
                    <a:pt x="17947" y="2359"/>
                    <a:pt x="17947" y="2359"/>
                    <a:pt x="17947" y="2359"/>
                  </a:cubicBezTo>
                  <a:cubicBezTo>
                    <a:pt x="17947" y="2359"/>
                    <a:pt x="17947" y="2331"/>
                    <a:pt x="17947" y="2331"/>
                  </a:cubicBezTo>
                  <a:cubicBezTo>
                    <a:pt x="17947" y="2188"/>
                    <a:pt x="17706" y="2046"/>
                    <a:pt x="17987" y="2018"/>
                  </a:cubicBezTo>
                  <a:cubicBezTo>
                    <a:pt x="18107" y="1961"/>
                    <a:pt x="18107" y="1961"/>
                    <a:pt x="18107" y="1961"/>
                  </a:cubicBezTo>
                  <a:cubicBezTo>
                    <a:pt x="18469" y="1961"/>
                    <a:pt x="18469" y="1961"/>
                    <a:pt x="18469" y="1961"/>
                  </a:cubicBezTo>
                  <a:cubicBezTo>
                    <a:pt x="18549" y="1791"/>
                    <a:pt x="18549" y="1791"/>
                    <a:pt x="18549" y="1791"/>
                  </a:cubicBezTo>
                  <a:cubicBezTo>
                    <a:pt x="18709" y="1677"/>
                    <a:pt x="18709" y="1677"/>
                    <a:pt x="18709" y="1677"/>
                  </a:cubicBezTo>
                  <a:cubicBezTo>
                    <a:pt x="18830" y="1677"/>
                    <a:pt x="18990" y="1648"/>
                    <a:pt x="19071" y="1677"/>
                  </a:cubicBezTo>
                  <a:cubicBezTo>
                    <a:pt x="19151" y="1762"/>
                    <a:pt x="19151" y="1819"/>
                    <a:pt x="19312" y="1847"/>
                  </a:cubicBezTo>
                  <a:cubicBezTo>
                    <a:pt x="19793" y="1961"/>
                    <a:pt x="19793" y="1961"/>
                    <a:pt x="19793" y="1961"/>
                  </a:cubicBezTo>
                  <a:cubicBezTo>
                    <a:pt x="20034" y="1989"/>
                    <a:pt x="20034" y="1989"/>
                    <a:pt x="20034" y="1989"/>
                  </a:cubicBezTo>
                  <a:cubicBezTo>
                    <a:pt x="20034" y="1989"/>
                    <a:pt x="20034" y="1989"/>
                    <a:pt x="20034" y="1989"/>
                  </a:cubicBezTo>
                  <a:cubicBezTo>
                    <a:pt x="20074" y="1989"/>
                    <a:pt x="20074" y="1989"/>
                    <a:pt x="20074" y="1989"/>
                  </a:cubicBezTo>
                  <a:cubicBezTo>
                    <a:pt x="20074" y="1989"/>
                    <a:pt x="20074" y="1989"/>
                    <a:pt x="20074" y="1989"/>
                  </a:cubicBezTo>
                  <a:cubicBezTo>
                    <a:pt x="20155" y="2046"/>
                    <a:pt x="20155" y="2046"/>
                    <a:pt x="20155" y="2046"/>
                  </a:cubicBezTo>
                  <a:cubicBezTo>
                    <a:pt x="20155" y="2046"/>
                    <a:pt x="20155" y="2046"/>
                    <a:pt x="20155" y="2046"/>
                  </a:cubicBezTo>
                  <a:cubicBezTo>
                    <a:pt x="20155" y="2046"/>
                    <a:pt x="20155" y="2046"/>
                    <a:pt x="20155" y="2046"/>
                  </a:cubicBezTo>
                  <a:cubicBezTo>
                    <a:pt x="20155" y="2046"/>
                    <a:pt x="20155" y="2046"/>
                    <a:pt x="20155" y="2046"/>
                  </a:cubicBezTo>
                  <a:cubicBezTo>
                    <a:pt x="20155" y="2103"/>
                    <a:pt x="20155" y="2160"/>
                    <a:pt x="20195" y="2188"/>
                  </a:cubicBezTo>
                  <a:cubicBezTo>
                    <a:pt x="20195" y="2245"/>
                    <a:pt x="20235" y="2331"/>
                    <a:pt x="20235" y="2331"/>
                  </a:cubicBezTo>
                  <a:cubicBezTo>
                    <a:pt x="20235" y="2331"/>
                    <a:pt x="20195" y="2416"/>
                    <a:pt x="20195" y="2473"/>
                  </a:cubicBezTo>
                  <a:cubicBezTo>
                    <a:pt x="20155" y="2501"/>
                    <a:pt x="20155" y="2586"/>
                    <a:pt x="20155" y="2615"/>
                  </a:cubicBezTo>
                  <a:cubicBezTo>
                    <a:pt x="20155" y="2643"/>
                    <a:pt x="20155" y="2672"/>
                    <a:pt x="20155" y="2700"/>
                  </a:cubicBezTo>
                  <a:cubicBezTo>
                    <a:pt x="20155" y="2757"/>
                    <a:pt x="20195" y="2842"/>
                    <a:pt x="20235" y="2871"/>
                  </a:cubicBezTo>
                  <a:cubicBezTo>
                    <a:pt x="20235" y="2899"/>
                    <a:pt x="20436" y="2984"/>
                    <a:pt x="20436" y="2984"/>
                  </a:cubicBezTo>
                  <a:cubicBezTo>
                    <a:pt x="20436" y="2984"/>
                    <a:pt x="20436" y="2984"/>
                    <a:pt x="20396" y="3013"/>
                  </a:cubicBezTo>
                  <a:cubicBezTo>
                    <a:pt x="20396" y="3013"/>
                    <a:pt x="20396" y="3041"/>
                    <a:pt x="20436" y="3041"/>
                  </a:cubicBezTo>
                  <a:cubicBezTo>
                    <a:pt x="20516" y="3041"/>
                    <a:pt x="20637" y="3013"/>
                    <a:pt x="20637" y="3013"/>
                  </a:cubicBezTo>
                  <a:cubicBezTo>
                    <a:pt x="20637" y="3013"/>
                    <a:pt x="20637" y="2757"/>
                    <a:pt x="20596" y="2672"/>
                  </a:cubicBezTo>
                  <a:cubicBezTo>
                    <a:pt x="20556" y="2558"/>
                    <a:pt x="20757" y="2444"/>
                    <a:pt x="20757" y="2444"/>
                  </a:cubicBezTo>
                  <a:cubicBezTo>
                    <a:pt x="21038" y="2245"/>
                    <a:pt x="21038" y="2245"/>
                    <a:pt x="21038" y="2245"/>
                  </a:cubicBezTo>
                  <a:cubicBezTo>
                    <a:pt x="20998" y="2018"/>
                    <a:pt x="20998" y="2018"/>
                    <a:pt x="20998" y="2018"/>
                  </a:cubicBezTo>
                  <a:cubicBezTo>
                    <a:pt x="21319" y="2046"/>
                    <a:pt x="21319" y="2046"/>
                    <a:pt x="21319" y="2046"/>
                  </a:cubicBezTo>
                  <a:cubicBezTo>
                    <a:pt x="21319" y="2046"/>
                    <a:pt x="21560" y="1961"/>
                    <a:pt x="21480" y="1847"/>
                  </a:cubicBezTo>
                  <a:cubicBezTo>
                    <a:pt x="21399" y="1705"/>
                    <a:pt x="21319" y="1478"/>
                    <a:pt x="21239" y="1535"/>
                  </a:cubicBezTo>
                  <a:cubicBezTo>
                    <a:pt x="21118" y="1592"/>
                    <a:pt x="20918" y="1762"/>
                    <a:pt x="20918" y="1762"/>
                  </a:cubicBezTo>
                  <a:cubicBezTo>
                    <a:pt x="20877" y="1478"/>
                    <a:pt x="20877" y="1478"/>
                    <a:pt x="20877" y="1478"/>
                  </a:cubicBezTo>
                  <a:cubicBezTo>
                    <a:pt x="20556" y="1563"/>
                    <a:pt x="20556" y="1563"/>
                    <a:pt x="20556" y="1563"/>
                  </a:cubicBezTo>
                  <a:cubicBezTo>
                    <a:pt x="20235" y="1506"/>
                    <a:pt x="20235" y="1506"/>
                    <a:pt x="20235" y="1506"/>
                  </a:cubicBezTo>
                  <a:cubicBezTo>
                    <a:pt x="20235" y="1506"/>
                    <a:pt x="20115" y="1393"/>
                    <a:pt x="19994" y="1421"/>
                  </a:cubicBezTo>
                  <a:cubicBezTo>
                    <a:pt x="19874" y="1421"/>
                    <a:pt x="19673" y="1421"/>
                    <a:pt x="19673" y="1421"/>
                  </a:cubicBezTo>
                  <a:cubicBezTo>
                    <a:pt x="19673" y="1421"/>
                    <a:pt x="19512" y="1336"/>
                    <a:pt x="19593" y="1307"/>
                  </a:cubicBezTo>
                  <a:cubicBezTo>
                    <a:pt x="19713" y="1307"/>
                    <a:pt x="19954" y="1336"/>
                    <a:pt x="20074" y="1307"/>
                  </a:cubicBezTo>
                  <a:cubicBezTo>
                    <a:pt x="20155" y="1307"/>
                    <a:pt x="20797" y="1194"/>
                    <a:pt x="20797" y="1194"/>
                  </a:cubicBezTo>
                  <a:cubicBezTo>
                    <a:pt x="20837" y="995"/>
                    <a:pt x="20837" y="995"/>
                    <a:pt x="20837" y="995"/>
                  </a:cubicBezTo>
                  <a:cubicBezTo>
                    <a:pt x="21118" y="824"/>
                    <a:pt x="21118" y="824"/>
                    <a:pt x="21118" y="824"/>
                  </a:cubicBezTo>
                  <a:cubicBezTo>
                    <a:pt x="20637" y="568"/>
                    <a:pt x="20637" y="568"/>
                    <a:pt x="20637" y="568"/>
                  </a:cubicBezTo>
                  <a:cubicBezTo>
                    <a:pt x="20436" y="341"/>
                    <a:pt x="20436" y="341"/>
                    <a:pt x="20436" y="341"/>
                  </a:cubicBezTo>
                  <a:cubicBezTo>
                    <a:pt x="20436" y="341"/>
                    <a:pt x="20396" y="256"/>
                    <a:pt x="20315" y="256"/>
                  </a:cubicBezTo>
                  <a:cubicBezTo>
                    <a:pt x="20195" y="256"/>
                    <a:pt x="19874" y="369"/>
                    <a:pt x="19874" y="369"/>
                  </a:cubicBezTo>
                  <a:cubicBezTo>
                    <a:pt x="19633" y="256"/>
                    <a:pt x="19633" y="256"/>
                    <a:pt x="19633" y="256"/>
                  </a:cubicBezTo>
                  <a:cubicBezTo>
                    <a:pt x="19272" y="284"/>
                    <a:pt x="19272" y="284"/>
                    <a:pt x="19272" y="284"/>
                  </a:cubicBezTo>
                  <a:cubicBezTo>
                    <a:pt x="18750" y="171"/>
                    <a:pt x="18750" y="171"/>
                    <a:pt x="18750" y="171"/>
                  </a:cubicBezTo>
                  <a:cubicBezTo>
                    <a:pt x="18750" y="256"/>
                    <a:pt x="18750" y="256"/>
                    <a:pt x="18750" y="256"/>
                  </a:cubicBezTo>
                  <a:cubicBezTo>
                    <a:pt x="18750" y="256"/>
                    <a:pt x="18589" y="227"/>
                    <a:pt x="18549" y="171"/>
                  </a:cubicBezTo>
                  <a:cubicBezTo>
                    <a:pt x="18549" y="114"/>
                    <a:pt x="18549" y="57"/>
                    <a:pt x="18549" y="57"/>
                  </a:cubicBezTo>
                  <a:cubicBezTo>
                    <a:pt x="18348" y="85"/>
                    <a:pt x="18348" y="85"/>
                    <a:pt x="18348" y="85"/>
                  </a:cubicBezTo>
                  <a:cubicBezTo>
                    <a:pt x="18268" y="85"/>
                    <a:pt x="18268" y="85"/>
                    <a:pt x="18268" y="85"/>
                  </a:cubicBezTo>
                  <a:cubicBezTo>
                    <a:pt x="18027" y="0"/>
                    <a:pt x="18027" y="0"/>
                    <a:pt x="18027" y="0"/>
                  </a:cubicBezTo>
                  <a:cubicBezTo>
                    <a:pt x="17906" y="171"/>
                    <a:pt x="17906" y="171"/>
                    <a:pt x="17906" y="171"/>
                  </a:cubicBezTo>
                  <a:cubicBezTo>
                    <a:pt x="18067" y="369"/>
                    <a:pt x="18067" y="369"/>
                    <a:pt x="18067" y="369"/>
                  </a:cubicBezTo>
                  <a:cubicBezTo>
                    <a:pt x="17906" y="597"/>
                    <a:pt x="17906" y="597"/>
                    <a:pt x="17906" y="597"/>
                  </a:cubicBezTo>
                  <a:cubicBezTo>
                    <a:pt x="18027" y="739"/>
                    <a:pt x="18027" y="739"/>
                    <a:pt x="18027" y="739"/>
                  </a:cubicBezTo>
                  <a:cubicBezTo>
                    <a:pt x="18027" y="938"/>
                    <a:pt x="18027" y="938"/>
                    <a:pt x="18027" y="938"/>
                  </a:cubicBezTo>
                  <a:cubicBezTo>
                    <a:pt x="17866" y="1165"/>
                    <a:pt x="17866" y="1165"/>
                    <a:pt x="17866" y="1165"/>
                  </a:cubicBezTo>
                  <a:cubicBezTo>
                    <a:pt x="17625" y="1023"/>
                    <a:pt x="17625" y="1023"/>
                    <a:pt x="17625" y="1023"/>
                  </a:cubicBezTo>
                  <a:cubicBezTo>
                    <a:pt x="17666" y="824"/>
                    <a:pt x="17666" y="824"/>
                    <a:pt x="17666" y="824"/>
                  </a:cubicBezTo>
                  <a:cubicBezTo>
                    <a:pt x="17786" y="597"/>
                    <a:pt x="17786" y="597"/>
                    <a:pt x="17786" y="597"/>
                  </a:cubicBezTo>
                  <a:cubicBezTo>
                    <a:pt x="17625" y="369"/>
                    <a:pt x="17625" y="369"/>
                    <a:pt x="17625" y="369"/>
                  </a:cubicBezTo>
                  <a:cubicBezTo>
                    <a:pt x="17304" y="568"/>
                    <a:pt x="17304" y="568"/>
                    <a:pt x="17304" y="568"/>
                  </a:cubicBezTo>
                  <a:cubicBezTo>
                    <a:pt x="17304" y="853"/>
                    <a:pt x="17304" y="853"/>
                    <a:pt x="17304" y="853"/>
                  </a:cubicBezTo>
                  <a:cubicBezTo>
                    <a:pt x="17144" y="1052"/>
                    <a:pt x="17144" y="1052"/>
                    <a:pt x="17144" y="1052"/>
                  </a:cubicBezTo>
                  <a:cubicBezTo>
                    <a:pt x="17144" y="1307"/>
                    <a:pt x="17144" y="1307"/>
                    <a:pt x="17144" y="1307"/>
                  </a:cubicBezTo>
                  <a:cubicBezTo>
                    <a:pt x="17063" y="1506"/>
                    <a:pt x="17063" y="1506"/>
                    <a:pt x="17063" y="1506"/>
                  </a:cubicBezTo>
                  <a:cubicBezTo>
                    <a:pt x="17023" y="1762"/>
                    <a:pt x="17023" y="1762"/>
                    <a:pt x="17023" y="1762"/>
                  </a:cubicBezTo>
                  <a:cubicBezTo>
                    <a:pt x="17023" y="1762"/>
                    <a:pt x="17023" y="1819"/>
                    <a:pt x="16943" y="1819"/>
                  </a:cubicBezTo>
                  <a:cubicBezTo>
                    <a:pt x="16863" y="1847"/>
                    <a:pt x="16702" y="1791"/>
                    <a:pt x="16702" y="1791"/>
                  </a:cubicBezTo>
                  <a:cubicBezTo>
                    <a:pt x="16702" y="1421"/>
                    <a:pt x="16702" y="1421"/>
                    <a:pt x="16702" y="1421"/>
                  </a:cubicBezTo>
                  <a:cubicBezTo>
                    <a:pt x="16782" y="1222"/>
                    <a:pt x="16782" y="1222"/>
                    <a:pt x="16782" y="1222"/>
                  </a:cubicBezTo>
                  <a:cubicBezTo>
                    <a:pt x="16903" y="1052"/>
                    <a:pt x="16903" y="1052"/>
                    <a:pt x="16903" y="1052"/>
                  </a:cubicBezTo>
                  <a:cubicBezTo>
                    <a:pt x="17063" y="824"/>
                    <a:pt x="17063" y="824"/>
                    <a:pt x="17063" y="824"/>
                  </a:cubicBezTo>
                  <a:cubicBezTo>
                    <a:pt x="17063" y="824"/>
                    <a:pt x="17063" y="682"/>
                    <a:pt x="17023" y="654"/>
                  </a:cubicBezTo>
                  <a:cubicBezTo>
                    <a:pt x="17023" y="654"/>
                    <a:pt x="16943" y="625"/>
                    <a:pt x="16983" y="625"/>
                  </a:cubicBezTo>
                  <a:cubicBezTo>
                    <a:pt x="16983" y="597"/>
                    <a:pt x="17144" y="483"/>
                    <a:pt x="17144" y="483"/>
                  </a:cubicBezTo>
                  <a:cubicBezTo>
                    <a:pt x="17144" y="483"/>
                    <a:pt x="17144" y="398"/>
                    <a:pt x="17023" y="341"/>
                  </a:cubicBezTo>
                  <a:cubicBezTo>
                    <a:pt x="16943" y="313"/>
                    <a:pt x="16863" y="256"/>
                    <a:pt x="16782" y="284"/>
                  </a:cubicBezTo>
                  <a:cubicBezTo>
                    <a:pt x="16742" y="313"/>
                    <a:pt x="16541" y="369"/>
                    <a:pt x="16541" y="398"/>
                  </a:cubicBezTo>
                  <a:cubicBezTo>
                    <a:pt x="16501" y="426"/>
                    <a:pt x="16541" y="483"/>
                    <a:pt x="16582" y="512"/>
                  </a:cubicBezTo>
                  <a:cubicBezTo>
                    <a:pt x="16622" y="512"/>
                    <a:pt x="16662" y="540"/>
                    <a:pt x="16702" y="540"/>
                  </a:cubicBezTo>
                  <a:cubicBezTo>
                    <a:pt x="16702" y="568"/>
                    <a:pt x="16742" y="654"/>
                    <a:pt x="16702" y="682"/>
                  </a:cubicBezTo>
                  <a:cubicBezTo>
                    <a:pt x="16662" y="711"/>
                    <a:pt x="16702" y="796"/>
                    <a:pt x="16582" y="767"/>
                  </a:cubicBezTo>
                  <a:cubicBezTo>
                    <a:pt x="16501" y="739"/>
                    <a:pt x="16260" y="625"/>
                    <a:pt x="16260" y="625"/>
                  </a:cubicBezTo>
                  <a:cubicBezTo>
                    <a:pt x="16220" y="625"/>
                    <a:pt x="16260" y="512"/>
                    <a:pt x="16180" y="625"/>
                  </a:cubicBezTo>
                  <a:cubicBezTo>
                    <a:pt x="16100" y="711"/>
                    <a:pt x="16060" y="739"/>
                    <a:pt x="16100" y="796"/>
                  </a:cubicBezTo>
                  <a:cubicBezTo>
                    <a:pt x="16140" y="853"/>
                    <a:pt x="16180" y="853"/>
                    <a:pt x="16180" y="881"/>
                  </a:cubicBezTo>
                  <a:cubicBezTo>
                    <a:pt x="16180" y="909"/>
                    <a:pt x="16019" y="909"/>
                    <a:pt x="16019" y="938"/>
                  </a:cubicBezTo>
                  <a:cubicBezTo>
                    <a:pt x="16019" y="966"/>
                    <a:pt x="15979" y="995"/>
                    <a:pt x="16060" y="1052"/>
                  </a:cubicBezTo>
                  <a:cubicBezTo>
                    <a:pt x="16140" y="1080"/>
                    <a:pt x="16220" y="1108"/>
                    <a:pt x="16220" y="1108"/>
                  </a:cubicBezTo>
                  <a:cubicBezTo>
                    <a:pt x="16220" y="1108"/>
                    <a:pt x="16301" y="1194"/>
                    <a:pt x="16260" y="1194"/>
                  </a:cubicBezTo>
                  <a:cubicBezTo>
                    <a:pt x="16260" y="1222"/>
                    <a:pt x="16019" y="1194"/>
                    <a:pt x="16019" y="1222"/>
                  </a:cubicBezTo>
                  <a:cubicBezTo>
                    <a:pt x="16019" y="1251"/>
                    <a:pt x="16019" y="1307"/>
                    <a:pt x="16019" y="1336"/>
                  </a:cubicBezTo>
                  <a:cubicBezTo>
                    <a:pt x="16019" y="1364"/>
                    <a:pt x="16019" y="1421"/>
                    <a:pt x="16019" y="1421"/>
                  </a:cubicBezTo>
                  <a:cubicBezTo>
                    <a:pt x="16019" y="1449"/>
                    <a:pt x="15859" y="1449"/>
                    <a:pt x="15819" y="1478"/>
                  </a:cubicBezTo>
                  <a:cubicBezTo>
                    <a:pt x="15738" y="1506"/>
                    <a:pt x="15698" y="1592"/>
                    <a:pt x="15698" y="1648"/>
                  </a:cubicBezTo>
                  <a:cubicBezTo>
                    <a:pt x="15658" y="1705"/>
                    <a:pt x="15658" y="1762"/>
                    <a:pt x="15658" y="1791"/>
                  </a:cubicBezTo>
                  <a:cubicBezTo>
                    <a:pt x="15658" y="1819"/>
                    <a:pt x="15578" y="1876"/>
                    <a:pt x="15578" y="1876"/>
                  </a:cubicBezTo>
                  <a:cubicBezTo>
                    <a:pt x="15578" y="1876"/>
                    <a:pt x="15578" y="1904"/>
                    <a:pt x="15498" y="1876"/>
                  </a:cubicBezTo>
                  <a:cubicBezTo>
                    <a:pt x="15417" y="1876"/>
                    <a:pt x="15136" y="1762"/>
                    <a:pt x="15096" y="1762"/>
                  </a:cubicBezTo>
                  <a:cubicBezTo>
                    <a:pt x="15016" y="1762"/>
                    <a:pt x="14935" y="1791"/>
                    <a:pt x="14935" y="1847"/>
                  </a:cubicBezTo>
                  <a:cubicBezTo>
                    <a:pt x="14935" y="1876"/>
                    <a:pt x="15056" y="1961"/>
                    <a:pt x="15096" y="1961"/>
                  </a:cubicBezTo>
                  <a:cubicBezTo>
                    <a:pt x="15096" y="1961"/>
                    <a:pt x="15297" y="1989"/>
                    <a:pt x="15337" y="2018"/>
                  </a:cubicBezTo>
                  <a:cubicBezTo>
                    <a:pt x="15337" y="2046"/>
                    <a:pt x="15337" y="2245"/>
                    <a:pt x="15337" y="2245"/>
                  </a:cubicBezTo>
                  <a:cubicBezTo>
                    <a:pt x="15337" y="2245"/>
                    <a:pt x="15498" y="2473"/>
                    <a:pt x="15217" y="2274"/>
                  </a:cubicBezTo>
                  <a:cubicBezTo>
                    <a:pt x="14895" y="2075"/>
                    <a:pt x="14895" y="2046"/>
                    <a:pt x="14855" y="2018"/>
                  </a:cubicBezTo>
                  <a:cubicBezTo>
                    <a:pt x="14815" y="2018"/>
                    <a:pt x="14534" y="1961"/>
                    <a:pt x="14534" y="1961"/>
                  </a:cubicBezTo>
                  <a:cubicBezTo>
                    <a:pt x="14534" y="1961"/>
                    <a:pt x="14494" y="1876"/>
                    <a:pt x="14454" y="1961"/>
                  </a:cubicBezTo>
                  <a:cubicBezTo>
                    <a:pt x="14414" y="2018"/>
                    <a:pt x="14534" y="2160"/>
                    <a:pt x="14534" y="2160"/>
                  </a:cubicBezTo>
                  <a:cubicBezTo>
                    <a:pt x="14494" y="2132"/>
                    <a:pt x="14494" y="2132"/>
                    <a:pt x="14494" y="2132"/>
                  </a:cubicBezTo>
                  <a:cubicBezTo>
                    <a:pt x="14494" y="2132"/>
                    <a:pt x="14373" y="2075"/>
                    <a:pt x="14293" y="2046"/>
                  </a:cubicBezTo>
                  <a:cubicBezTo>
                    <a:pt x="14253" y="1989"/>
                    <a:pt x="14132" y="2046"/>
                    <a:pt x="14132" y="2046"/>
                  </a:cubicBezTo>
                  <a:cubicBezTo>
                    <a:pt x="14132" y="2046"/>
                    <a:pt x="14092" y="2075"/>
                    <a:pt x="14012" y="2132"/>
                  </a:cubicBezTo>
                  <a:cubicBezTo>
                    <a:pt x="13972" y="2160"/>
                    <a:pt x="13811" y="2046"/>
                    <a:pt x="13972" y="2188"/>
                  </a:cubicBezTo>
                  <a:cubicBezTo>
                    <a:pt x="14092" y="2302"/>
                    <a:pt x="14213" y="2331"/>
                    <a:pt x="14253" y="2359"/>
                  </a:cubicBezTo>
                  <a:cubicBezTo>
                    <a:pt x="14253" y="2359"/>
                    <a:pt x="14414" y="2387"/>
                    <a:pt x="14454" y="2416"/>
                  </a:cubicBezTo>
                  <a:cubicBezTo>
                    <a:pt x="14494" y="2444"/>
                    <a:pt x="14494" y="2529"/>
                    <a:pt x="14494" y="2558"/>
                  </a:cubicBezTo>
                  <a:cubicBezTo>
                    <a:pt x="14494" y="2558"/>
                    <a:pt x="14614" y="2672"/>
                    <a:pt x="14414" y="2586"/>
                  </a:cubicBezTo>
                  <a:cubicBezTo>
                    <a:pt x="14213" y="2473"/>
                    <a:pt x="14213" y="2444"/>
                    <a:pt x="14132" y="2444"/>
                  </a:cubicBezTo>
                  <a:cubicBezTo>
                    <a:pt x="14092" y="2444"/>
                    <a:pt x="14012" y="2501"/>
                    <a:pt x="14012" y="2501"/>
                  </a:cubicBezTo>
                  <a:cubicBezTo>
                    <a:pt x="14012" y="2501"/>
                    <a:pt x="13771" y="2473"/>
                    <a:pt x="13771" y="2387"/>
                  </a:cubicBezTo>
                  <a:cubicBezTo>
                    <a:pt x="13731" y="2302"/>
                    <a:pt x="13811" y="2160"/>
                    <a:pt x="13651" y="2188"/>
                  </a:cubicBezTo>
                  <a:cubicBezTo>
                    <a:pt x="13450" y="2188"/>
                    <a:pt x="13410" y="2245"/>
                    <a:pt x="13410" y="2274"/>
                  </a:cubicBezTo>
                  <a:cubicBezTo>
                    <a:pt x="13410" y="2302"/>
                    <a:pt x="13289" y="2331"/>
                    <a:pt x="13410" y="2416"/>
                  </a:cubicBezTo>
                  <a:cubicBezTo>
                    <a:pt x="13530" y="2501"/>
                    <a:pt x="13611" y="2558"/>
                    <a:pt x="13651" y="2558"/>
                  </a:cubicBezTo>
                  <a:cubicBezTo>
                    <a:pt x="13651" y="2558"/>
                    <a:pt x="13892" y="2558"/>
                    <a:pt x="13771" y="2586"/>
                  </a:cubicBezTo>
                  <a:cubicBezTo>
                    <a:pt x="13691" y="2643"/>
                    <a:pt x="13530" y="2643"/>
                    <a:pt x="13490" y="2643"/>
                  </a:cubicBezTo>
                  <a:cubicBezTo>
                    <a:pt x="13450" y="2643"/>
                    <a:pt x="13490" y="2615"/>
                    <a:pt x="13450" y="2643"/>
                  </a:cubicBezTo>
                  <a:cubicBezTo>
                    <a:pt x="13370" y="2672"/>
                    <a:pt x="13169" y="2814"/>
                    <a:pt x="13169" y="2814"/>
                  </a:cubicBezTo>
                  <a:cubicBezTo>
                    <a:pt x="13169" y="2814"/>
                    <a:pt x="13129" y="2757"/>
                    <a:pt x="13129" y="2728"/>
                  </a:cubicBezTo>
                  <a:cubicBezTo>
                    <a:pt x="13129" y="2700"/>
                    <a:pt x="13289" y="2643"/>
                    <a:pt x="13289" y="2586"/>
                  </a:cubicBezTo>
                  <a:cubicBezTo>
                    <a:pt x="13289" y="2529"/>
                    <a:pt x="13209" y="2331"/>
                    <a:pt x="13209" y="2331"/>
                  </a:cubicBezTo>
                  <a:cubicBezTo>
                    <a:pt x="13209" y="2331"/>
                    <a:pt x="13048" y="2274"/>
                    <a:pt x="13048" y="2274"/>
                  </a:cubicBezTo>
                  <a:cubicBezTo>
                    <a:pt x="13008" y="2245"/>
                    <a:pt x="12888" y="2188"/>
                    <a:pt x="12848" y="2217"/>
                  </a:cubicBezTo>
                  <a:cubicBezTo>
                    <a:pt x="12808" y="2245"/>
                    <a:pt x="12727" y="2331"/>
                    <a:pt x="12808" y="2387"/>
                  </a:cubicBezTo>
                  <a:cubicBezTo>
                    <a:pt x="12888" y="2473"/>
                    <a:pt x="12968" y="2529"/>
                    <a:pt x="12928" y="2529"/>
                  </a:cubicBezTo>
                  <a:cubicBezTo>
                    <a:pt x="12848" y="2558"/>
                    <a:pt x="12808" y="2586"/>
                    <a:pt x="12767" y="2558"/>
                  </a:cubicBezTo>
                  <a:cubicBezTo>
                    <a:pt x="12727" y="2558"/>
                    <a:pt x="12647" y="2501"/>
                    <a:pt x="12527" y="2529"/>
                  </a:cubicBezTo>
                  <a:cubicBezTo>
                    <a:pt x="12406" y="2558"/>
                    <a:pt x="12286" y="2728"/>
                    <a:pt x="12286" y="2728"/>
                  </a:cubicBezTo>
                  <a:cubicBezTo>
                    <a:pt x="12286" y="2728"/>
                    <a:pt x="12406" y="2899"/>
                    <a:pt x="12446" y="2927"/>
                  </a:cubicBezTo>
                  <a:cubicBezTo>
                    <a:pt x="12486" y="2927"/>
                    <a:pt x="12527" y="2984"/>
                    <a:pt x="12527" y="3041"/>
                  </a:cubicBezTo>
                  <a:cubicBezTo>
                    <a:pt x="12486" y="3098"/>
                    <a:pt x="12527" y="3013"/>
                    <a:pt x="12446" y="3041"/>
                  </a:cubicBezTo>
                  <a:cubicBezTo>
                    <a:pt x="12326" y="3069"/>
                    <a:pt x="12286" y="3098"/>
                    <a:pt x="12205" y="3098"/>
                  </a:cubicBezTo>
                  <a:cubicBezTo>
                    <a:pt x="12125" y="3098"/>
                    <a:pt x="11924" y="3268"/>
                    <a:pt x="11924" y="3268"/>
                  </a:cubicBezTo>
                  <a:cubicBezTo>
                    <a:pt x="12045" y="3382"/>
                    <a:pt x="12045" y="3382"/>
                    <a:pt x="12045" y="3382"/>
                  </a:cubicBezTo>
                  <a:cubicBezTo>
                    <a:pt x="12045" y="3382"/>
                    <a:pt x="11724" y="3467"/>
                    <a:pt x="11643" y="3496"/>
                  </a:cubicBezTo>
                  <a:cubicBezTo>
                    <a:pt x="11603" y="3496"/>
                    <a:pt x="11764" y="3467"/>
                    <a:pt x="11563" y="3496"/>
                  </a:cubicBezTo>
                  <a:cubicBezTo>
                    <a:pt x="11402" y="3553"/>
                    <a:pt x="11282" y="3666"/>
                    <a:pt x="11242" y="3723"/>
                  </a:cubicBezTo>
                  <a:cubicBezTo>
                    <a:pt x="11242" y="3752"/>
                    <a:pt x="11081" y="3752"/>
                    <a:pt x="11081" y="3837"/>
                  </a:cubicBezTo>
                  <a:cubicBezTo>
                    <a:pt x="11081" y="3894"/>
                    <a:pt x="11121" y="4007"/>
                    <a:pt x="11081" y="4036"/>
                  </a:cubicBezTo>
                  <a:cubicBezTo>
                    <a:pt x="11081" y="4064"/>
                    <a:pt x="11081" y="4064"/>
                    <a:pt x="11081" y="4121"/>
                  </a:cubicBezTo>
                  <a:cubicBezTo>
                    <a:pt x="11081" y="4178"/>
                    <a:pt x="11041" y="4235"/>
                    <a:pt x="11161" y="4235"/>
                  </a:cubicBezTo>
                  <a:cubicBezTo>
                    <a:pt x="11282" y="4235"/>
                    <a:pt x="11443" y="4178"/>
                    <a:pt x="11483" y="4149"/>
                  </a:cubicBezTo>
                  <a:cubicBezTo>
                    <a:pt x="11483" y="4121"/>
                    <a:pt x="11523" y="4007"/>
                    <a:pt x="11563" y="4064"/>
                  </a:cubicBezTo>
                  <a:cubicBezTo>
                    <a:pt x="11643" y="4093"/>
                    <a:pt x="11643" y="4206"/>
                    <a:pt x="11643" y="4206"/>
                  </a:cubicBezTo>
                  <a:cubicBezTo>
                    <a:pt x="11643" y="4206"/>
                    <a:pt x="11643" y="4320"/>
                    <a:pt x="11643" y="4348"/>
                  </a:cubicBezTo>
                  <a:cubicBezTo>
                    <a:pt x="11603" y="4405"/>
                    <a:pt x="11884" y="4348"/>
                    <a:pt x="11603" y="4434"/>
                  </a:cubicBezTo>
                  <a:cubicBezTo>
                    <a:pt x="11322" y="4547"/>
                    <a:pt x="11242" y="4547"/>
                    <a:pt x="11242" y="4576"/>
                  </a:cubicBezTo>
                  <a:cubicBezTo>
                    <a:pt x="11242" y="4633"/>
                    <a:pt x="11402" y="4775"/>
                    <a:pt x="11202" y="4718"/>
                  </a:cubicBezTo>
                  <a:cubicBezTo>
                    <a:pt x="11001" y="4689"/>
                    <a:pt x="11001" y="4718"/>
                    <a:pt x="11001" y="4689"/>
                  </a:cubicBezTo>
                  <a:cubicBezTo>
                    <a:pt x="10961" y="4661"/>
                    <a:pt x="11041" y="4832"/>
                    <a:pt x="10800" y="4576"/>
                  </a:cubicBezTo>
                  <a:cubicBezTo>
                    <a:pt x="10559" y="4320"/>
                    <a:pt x="10559" y="4348"/>
                    <a:pt x="10559" y="4292"/>
                  </a:cubicBezTo>
                  <a:cubicBezTo>
                    <a:pt x="10559" y="4235"/>
                    <a:pt x="10519" y="4036"/>
                    <a:pt x="10519" y="4036"/>
                  </a:cubicBezTo>
                  <a:cubicBezTo>
                    <a:pt x="10519" y="4036"/>
                    <a:pt x="10479" y="3837"/>
                    <a:pt x="10359" y="3922"/>
                  </a:cubicBezTo>
                  <a:cubicBezTo>
                    <a:pt x="10198" y="4007"/>
                    <a:pt x="10198" y="4149"/>
                    <a:pt x="10198" y="4149"/>
                  </a:cubicBezTo>
                  <a:cubicBezTo>
                    <a:pt x="10198" y="4149"/>
                    <a:pt x="9997" y="4292"/>
                    <a:pt x="9957" y="4320"/>
                  </a:cubicBezTo>
                  <a:cubicBezTo>
                    <a:pt x="9917" y="4320"/>
                    <a:pt x="9837" y="4320"/>
                    <a:pt x="9716" y="4377"/>
                  </a:cubicBezTo>
                  <a:cubicBezTo>
                    <a:pt x="9636" y="4462"/>
                    <a:pt x="9355" y="4746"/>
                    <a:pt x="9355" y="4746"/>
                  </a:cubicBezTo>
                  <a:cubicBezTo>
                    <a:pt x="9355" y="4746"/>
                    <a:pt x="9194" y="4945"/>
                    <a:pt x="9234" y="5002"/>
                  </a:cubicBezTo>
                  <a:cubicBezTo>
                    <a:pt x="9274" y="5059"/>
                    <a:pt x="9395" y="5144"/>
                    <a:pt x="9395" y="5144"/>
                  </a:cubicBezTo>
                  <a:cubicBezTo>
                    <a:pt x="9395" y="5144"/>
                    <a:pt x="9435" y="5116"/>
                    <a:pt x="9435" y="5201"/>
                  </a:cubicBezTo>
                  <a:cubicBezTo>
                    <a:pt x="9435" y="5286"/>
                    <a:pt x="9636" y="5315"/>
                    <a:pt x="9636" y="5315"/>
                  </a:cubicBezTo>
                  <a:cubicBezTo>
                    <a:pt x="9636" y="5315"/>
                    <a:pt x="9716" y="5343"/>
                    <a:pt x="9636" y="5400"/>
                  </a:cubicBezTo>
                  <a:cubicBezTo>
                    <a:pt x="9515" y="5457"/>
                    <a:pt x="9194" y="5485"/>
                    <a:pt x="9194" y="5485"/>
                  </a:cubicBezTo>
                  <a:cubicBezTo>
                    <a:pt x="8873" y="5485"/>
                    <a:pt x="8873" y="5485"/>
                    <a:pt x="8873" y="5485"/>
                  </a:cubicBezTo>
                  <a:cubicBezTo>
                    <a:pt x="8873" y="5485"/>
                    <a:pt x="8712" y="5627"/>
                    <a:pt x="8672" y="5627"/>
                  </a:cubicBezTo>
                  <a:cubicBezTo>
                    <a:pt x="8592" y="5656"/>
                    <a:pt x="8472" y="5713"/>
                    <a:pt x="8431" y="5798"/>
                  </a:cubicBezTo>
                  <a:cubicBezTo>
                    <a:pt x="8431" y="5855"/>
                    <a:pt x="8070" y="6082"/>
                    <a:pt x="8070" y="6082"/>
                  </a:cubicBezTo>
                  <a:cubicBezTo>
                    <a:pt x="8070" y="6082"/>
                    <a:pt x="8070" y="6167"/>
                    <a:pt x="8070" y="6196"/>
                  </a:cubicBezTo>
                  <a:cubicBezTo>
                    <a:pt x="8070" y="6224"/>
                    <a:pt x="7909" y="6281"/>
                    <a:pt x="7990" y="6309"/>
                  </a:cubicBezTo>
                  <a:cubicBezTo>
                    <a:pt x="8070" y="6338"/>
                    <a:pt x="8190" y="6366"/>
                    <a:pt x="8271" y="6253"/>
                  </a:cubicBezTo>
                  <a:cubicBezTo>
                    <a:pt x="8351" y="6167"/>
                    <a:pt x="8351" y="6025"/>
                    <a:pt x="8351" y="6025"/>
                  </a:cubicBezTo>
                  <a:cubicBezTo>
                    <a:pt x="8351" y="6025"/>
                    <a:pt x="8431" y="5968"/>
                    <a:pt x="8512" y="5968"/>
                  </a:cubicBezTo>
                  <a:cubicBezTo>
                    <a:pt x="8632" y="5968"/>
                    <a:pt x="8753" y="5883"/>
                    <a:pt x="8873" y="5855"/>
                  </a:cubicBezTo>
                  <a:cubicBezTo>
                    <a:pt x="8993" y="5855"/>
                    <a:pt x="9154" y="5713"/>
                    <a:pt x="9194" y="5713"/>
                  </a:cubicBezTo>
                  <a:cubicBezTo>
                    <a:pt x="9274" y="5713"/>
                    <a:pt x="9234" y="5741"/>
                    <a:pt x="9395" y="5713"/>
                  </a:cubicBezTo>
                  <a:cubicBezTo>
                    <a:pt x="9556" y="5713"/>
                    <a:pt x="9716" y="5713"/>
                    <a:pt x="9756" y="5684"/>
                  </a:cubicBezTo>
                  <a:cubicBezTo>
                    <a:pt x="9837" y="5656"/>
                    <a:pt x="10158" y="5798"/>
                    <a:pt x="10198" y="5826"/>
                  </a:cubicBezTo>
                  <a:cubicBezTo>
                    <a:pt x="10198" y="5855"/>
                    <a:pt x="9917" y="5883"/>
                    <a:pt x="10037" y="5940"/>
                  </a:cubicBezTo>
                  <a:cubicBezTo>
                    <a:pt x="10198" y="5997"/>
                    <a:pt x="10198" y="6025"/>
                    <a:pt x="10238" y="6025"/>
                  </a:cubicBezTo>
                  <a:cubicBezTo>
                    <a:pt x="10278" y="6025"/>
                    <a:pt x="10359" y="5997"/>
                    <a:pt x="10479" y="5968"/>
                  </a:cubicBezTo>
                  <a:cubicBezTo>
                    <a:pt x="10559" y="5912"/>
                    <a:pt x="10399" y="5826"/>
                    <a:pt x="10640" y="5883"/>
                  </a:cubicBezTo>
                  <a:cubicBezTo>
                    <a:pt x="10840" y="5940"/>
                    <a:pt x="10840" y="5997"/>
                    <a:pt x="10840" y="5997"/>
                  </a:cubicBezTo>
                  <a:cubicBezTo>
                    <a:pt x="10800" y="6054"/>
                    <a:pt x="10800" y="6054"/>
                    <a:pt x="10800" y="6054"/>
                  </a:cubicBezTo>
                  <a:cubicBezTo>
                    <a:pt x="10640" y="6082"/>
                    <a:pt x="10640" y="6082"/>
                    <a:pt x="10640" y="6082"/>
                  </a:cubicBezTo>
                  <a:cubicBezTo>
                    <a:pt x="10399" y="6054"/>
                    <a:pt x="10399" y="6054"/>
                    <a:pt x="10399" y="6054"/>
                  </a:cubicBezTo>
                  <a:cubicBezTo>
                    <a:pt x="10238" y="6111"/>
                    <a:pt x="10238" y="6111"/>
                    <a:pt x="10238" y="6111"/>
                  </a:cubicBezTo>
                  <a:cubicBezTo>
                    <a:pt x="10238" y="6111"/>
                    <a:pt x="10198" y="6139"/>
                    <a:pt x="10158" y="6139"/>
                  </a:cubicBezTo>
                  <a:cubicBezTo>
                    <a:pt x="10158" y="6139"/>
                    <a:pt x="9796" y="6167"/>
                    <a:pt x="9796" y="6167"/>
                  </a:cubicBezTo>
                  <a:cubicBezTo>
                    <a:pt x="9636" y="6338"/>
                    <a:pt x="9636" y="6338"/>
                    <a:pt x="9636" y="6338"/>
                  </a:cubicBezTo>
                  <a:cubicBezTo>
                    <a:pt x="9636" y="6338"/>
                    <a:pt x="9756" y="6452"/>
                    <a:pt x="9756" y="6452"/>
                  </a:cubicBezTo>
                  <a:cubicBezTo>
                    <a:pt x="9796" y="6452"/>
                    <a:pt x="10037" y="6395"/>
                    <a:pt x="10037" y="6423"/>
                  </a:cubicBezTo>
                  <a:cubicBezTo>
                    <a:pt x="10077" y="6423"/>
                    <a:pt x="10118" y="6480"/>
                    <a:pt x="10077" y="6508"/>
                  </a:cubicBezTo>
                  <a:cubicBezTo>
                    <a:pt x="10077" y="6537"/>
                    <a:pt x="9917" y="6622"/>
                    <a:pt x="9917" y="6622"/>
                  </a:cubicBezTo>
                  <a:cubicBezTo>
                    <a:pt x="9837" y="6736"/>
                    <a:pt x="9837" y="6736"/>
                    <a:pt x="9837" y="6736"/>
                  </a:cubicBezTo>
                  <a:cubicBezTo>
                    <a:pt x="9837" y="6736"/>
                    <a:pt x="9997" y="6764"/>
                    <a:pt x="10037" y="6764"/>
                  </a:cubicBezTo>
                  <a:cubicBezTo>
                    <a:pt x="10037" y="6764"/>
                    <a:pt x="10278" y="6764"/>
                    <a:pt x="10238" y="6793"/>
                  </a:cubicBezTo>
                  <a:cubicBezTo>
                    <a:pt x="10238" y="6793"/>
                    <a:pt x="9877" y="6821"/>
                    <a:pt x="9877" y="6821"/>
                  </a:cubicBezTo>
                  <a:cubicBezTo>
                    <a:pt x="9877" y="6821"/>
                    <a:pt x="9556" y="6793"/>
                    <a:pt x="9596" y="6793"/>
                  </a:cubicBezTo>
                  <a:cubicBezTo>
                    <a:pt x="9596" y="6821"/>
                    <a:pt x="9556" y="6878"/>
                    <a:pt x="9556" y="6906"/>
                  </a:cubicBezTo>
                  <a:cubicBezTo>
                    <a:pt x="9556" y="6906"/>
                    <a:pt x="9475" y="6992"/>
                    <a:pt x="9475" y="6992"/>
                  </a:cubicBezTo>
                  <a:cubicBezTo>
                    <a:pt x="9435" y="6992"/>
                    <a:pt x="9355" y="6992"/>
                    <a:pt x="9315" y="7020"/>
                  </a:cubicBezTo>
                  <a:cubicBezTo>
                    <a:pt x="9315" y="7048"/>
                    <a:pt x="9274" y="7105"/>
                    <a:pt x="9274" y="7162"/>
                  </a:cubicBezTo>
                  <a:cubicBezTo>
                    <a:pt x="9274" y="7191"/>
                    <a:pt x="9395" y="7276"/>
                    <a:pt x="9395" y="7276"/>
                  </a:cubicBezTo>
                  <a:cubicBezTo>
                    <a:pt x="9355" y="7333"/>
                    <a:pt x="9355" y="7333"/>
                    <a:pt x="9355" y="7333"/>
                  </a:cubicBezTo>
                  <a:cubicBezTo>
                    <a:pt x="9194" y="7446"/>
                    <a:pt x="9194" y="7446"/>
                    <a:pt x="9194" y="7446"/>
                  </a:cubicBezTo>
                  <a:cubicBezTo>
                    <a:pt x="9194" y="7446"/>
                    <a:pt x="9114" y="7475"/>
                    <a:pt x="9114" y="7503"/>
                  </a:cubicBezTo>
                  <a:cubicBezTo>
                    <a:pt x="9154" y="7503"/>
                    <a:pt x="8993" y="7560"/>
                    <a:pt x="8993" y="7560"/>
                  </a:cubicBezTo>
                  <a:cubicBezTo>
                    <a:pt x="8712" y="7674"/>
                    <a:pt x="8712" y="7674"/>
                    <a:pt x="8712" y="7674"/>
                  </a:cubicBezTo>
                  <a:cubicBezTo>
                    <a:pt x="8712" y="7674"/>
                    <a:pt x="8753" y="7759"/>
                    <a:pt x="8753" y="7787"/>
                  </a:cubicBezTo>
                  <a:cubicBezTo>
                    <a:pt x="8753" y="7787"/>
                    <a:pt x="8873" y="7844"/>
                    <a:pt x="8793" y="7901"/>
                  </a:cubicBezTo>
                  <a:cubicBezTo>
                    <a:pt x="8712" y="7929"/>
                    <a:pt x="8632" y="7958"/>
                    <a:pt x="8592" y="7986"/>
                  </a:cubicBezTo>
                  <a:cubicBezTo>
                    <a:pt x="8592" y="7986"/>
                    <a:pt x="8512" y="8015"/>
                    <a:pt x="8512" y="8100"/>
                  </a:cubicBezTo>
                  <a:cubicBezTo>
                    <a:pt x="8552" y="8157"/>
                    <a:pt x="8472" y="8242"/>
                    <a:pt x="8431" y="8242"/>
                  </a:cubicBezTo>
                  <a:cubicBezTo>
                    <a:pt x="8431" y="8242"/>
                    <a:pt x="8351" y="8271"/>
                    <a:pt x="8351" y="8356"/>
                  </a:cubicBezTo>
                  <a:cubicBezTo>
                    <a:pt x="8391" y="8413"/>
                    <a:pt x="8351" y="8612"/>
                    <a:pt x="8351" y="8612"/>
                  </a:cubicBezTo>
                  <a:cubicBezTo>
                    <a:pt x="8351" y="8612"/>
                    <a:pt x="8472" y="8725"/>
                    <a:pt x="8512" y="8725"/>
                  </a:cubicBezTo>
                  <a:cubicBezTo>
                    <a:pt x="8512" y="8725"/>
                    <a:pt x="8712" y="8668"/>
                    <a:pt x="8753" y="8697"/>
                  </a:cubicBezTo>
                  <a:cubicBezTo>
                    <a:pt x="8833" y="8697"/>
                    <a:pt x="8953" y="8754"/>
                    <a:pt x="8953" y="8754"/>
                  </a:cubicBezTo>
                  <a:cubicBezTo>
                    <a:pt x="8953" y="8754"/>
                    <a:pt x="8913" y="8896"/>
                    <a:pt x="8873" y="8924"/>
                  </a:cubicBezTo>
                  <a:cubicBezTo>
                    <a:pt x="8833" y="8924"/>
                    <a:pt x="8592" y="8953"/>
                    <a:pt x="8592" y="8953"/>
                  </a:cubicBezTo>
                  <a:cubicBezTo>
                    <a:pt x="8592" y="8953"/>
                    <a:pt x="8472" y="8896"/>
                    <a:pt x="8431" y="8896"/>
                  </a:cubicBezTo>
                  <a:cubicBezTo>
                    <a:pt x="8391" y="8924"/>
                    <a:pt x="8190" y="9066"/>
                    <a:pt x="8190" y="9066"/>
                  </a:cubicBezTo>
                  <a:cubicBezTo>
                    <a:pt x="8190" y="9066"/>
                    <a:pt x="8190" y="9152"/>
                    <a:pt x="8150" y="9152"/>
                  </a:cubicBezTo>
                  <a:cubicBezTo>
                    <a:pt x="8070" y="9180"/>
                    <a:pt x="8030" y="9123"/>
                    <a:pt x="8030" y="9180"/>
                  </a:cubicBezTo>
                  <a:cubicBezTo>
                    <a:pt x="8030" y="9208"/>
                    <a:pt x="8030" y="9294"/>
                    <a:pt x="8030" y="9322"/>
                  </a:cubicBezTo>
                  <a:cubicBezTo>
                    <a:pt x="8030" y="9379"/>
                    <a:pt x="8030" y="9464"/>
                    <a:pt x="8030" y="9464"/>
                  </a:cubicBezTo>
                  <a:cubicBezTo>
                    <a:pt x="8030" y="9464"/>
                    <a:pt x="7950" y="9578"/>
                    <a:pt x="7909" y="9635"/>
                  </a:cubicBezTo>
                  <a:cubicBezTo>
                    <a:pt x="7869" y="9692"/>
                    <a:pt x="7789" y="9834"/>
                    <a:pt x="7789" y="9862"/>
                  </a:cubicBezTo>
                  <a:cubicBezTo>
                    <a:pt x="7829" y="9891"/>
                    <a:pt x="7909" y="10033"/>
                    <a:pt x="7909" y="10033"/>
                  </a:cubicBezTo>
                  <a:cubicBezTo>
                    <a:pt x="7628" y="10146"/>
                    <a:pt x="7628" y="10146"/>
                    <a:pt x="7628" y="10146"/>
                  </a:cubicBezTo>
                  <a:cubicBezTo>
                    <a:pt x="7709" y="10288"/>
                    <a:pt x="7709" y="10288"/>
                    <a:pt x="7709" y="10288"/>
                  </a:cubicBezTo>
                  <a:cubicBezTo>
                    <a:pt x="7709" y="10288"/>
                    <a:pt x="7749" y="10288"/>
                    <a:pt x="7749" y="10317"/>
                  </a:cubicBezTo>
                  <a:cubicBezTo>
                    <a:pt x="7749" y="10374"/>
                    <a:pt x="7548" y="10459"/>
                    <a:pt x="7548" y="10459"/>
                  </a:cubicBezTo>
                  <a:cubicBezTo>
                    <a:pt x="7548" y="10459"/>
                    <a:pt x="7548" y="10601"/>
                    <a:pt x="7548" y="10629"/>
                  </a:cubicBezTo>
                  <a:cubicBezTo>
                    <a:pt x="7548" y="10658"/>
                    <a:pt x="7347" y="10544"/>
                    <a:pt x="7347" y="10544"/>
                  </a:cubicBezTo>
                  <a:cubicBezTo>
                    <a:pt x="7187" y="10573"/>
                    <a:pt x="7187" y="10573"/>
                    <a:pt x="7187" y="10573"/>
                  </a:cubicBezTo>
                  <a:cubicBezTo>
                    <a:pt x="7187" y="10686"/>
                    <a:pt x="7187" y="10686"/>
                    <a:pt x="7187" y="10686"/>
                  </a:cubicBezTo>
                  <a:cubicBezTo>
                    <a:pt x="7106" y="10800"/>
                    <a:pt x="7106" y="10800"/>
                    <a:pt x="7106" y="10800"/>
                  </a:cubicBezTo>
                  <a:cubicBezTo>
                    <a:pt x="6825" y="10800"/>
                    <a:pt x="6825" y="10800"/>
                    <a:pt x="6825" y="10800"/>
                  </a:cubicBezTo>
                  <a:cubicBezTo>
                    <a:pt x="6825" y="10800"/>
                    <a:pt x="6585" y="10914"/>
                    <a:pt x="6585" y="10914"/>
                  </a:cubicBezTo>
                  <a:cubicBezTo>
                    <a:pt x="6625" y="10942"/>
                    <a:pt x="6504" y="11027"/>
                    <a:pt x="6625" y="11027"/>
                  </a:cubicBezTo>
                  <a:cubicBezTo>
                    <a:pt x="6705" y="11027"/>
                    <a:pt x="6745" y="11027"/>
                    <a:pt x="6785" y="11027"/>
                  </a:cubicBezTo>
                  <a:cubicBezTo>
                    <a:pt x="6866" y="10999"/>
                    <a:pt x="7026" y="10942"/>
                    <a:pt x="7066" y="10942"/>
                  </a:cubicBezTo>
                  <a:cubicBezTo>
                    <a:pt x="7106" y="10942"/>
                    <a:pt x="7227" y="10942"/>
                    <a:pt x="7147" y="10999"/>
                  </a:cubicBezTo>
                  <a:cubicBezTo>
                    <a:pt x="7066" y="11056"/>
                    <a:pt x="6986" y="11056"/>
                    <a:pt x="6946" y="11084"/>
                  </a:cubicBezTo>
                  <a:cubicBezTo>
                    <a:pt x="6866" y="11113"/>
                    <a:pt x="6745" y="11113"/>
                    <a:pt x="6745" y="11198"/>
                  </a:cubicBezTo>
                  <a:cubicBezTo>
                    <a:pt x="6745" y="11283"/>
                    <a:pt x="6705" y="11368"/>
                    <a:pt x="6705" y="11368"/>
                  </a:cubicBezTo>
                  <a:cubicBezTo>
                    <a:pt x="6986" y="11312"/>
                    <a:pt x="6986" y="11312"/>
                    <a:pt x="6986" y="11312"/>
                  </a:cubicBezTo>
                  <a:cubicBezTo>
                    <a:pt x="6986" y="11312"/>
                    <a:pt x="7066" y="11283"/>
                    <a:pt x="7066" y="11368"/>
                  </a:cubicBezTo>
                  <a:cubicBezTo>
                    <a:pt x="7106" y="11482"/>
                    <a:pt x="6986" y="11511"/>
                    <a:pt x="6906" y="11511"/>
                  </a:cubicBezTo>
                  <a:cubicBezTo>
                    <a:pt x="6866" y="11511"/>
                    <a:pt x="6665" y="11397"/>
                    <a:pt x="6665" y="11397"/>
                  </a:cubicBezTo>
                  <a:cubicBezTo>
                    <a:pt x="6504" y="11482"/>
                    <a:pt x="6504" y="11482"/>
                    <a:pt x="6504" y="11482"/>
                  </a:cubicBezTo>
                  <a:cubicBezTo>
                    <a:pt x="6504" y="11482"/>
                    <a:pt x="6464" y="11454"/>
                    <a:pt x="6303" y="11539"/>
                  </a:cubicBezTo>
                  <a:cubicBezTo>
                    <a:pt x="6143" y="11653"/>
                    <a:pt x="6063" y="11795"/>
                    <a:pt x="6063" y="11823"/>
                  </a:cubicBezTo>
                  <a:cubicBezTo>
                    <a:pt x="6063" y="11852"/>
                    <a:pt x="6063" y="11908"/>
                    <a:pt x="5942" y="11965"/>
                  </a:cubicBezTo>
                  <a:cubicBezTo>
                    <a:pt x="5862" y="11994"/>
                    <a:pt x="5741" y="12079"/>
                    <a:pt x="5741" y="12079"/>
                  </a:cubicBezTo>
                  <a:cubicBezTo>
                    <a:pt x="5741" y="12079"/>
                    <a:pt x="5701" y="12164"/>
                    <a:pt x="5661" y="12221"/>
                  </a:cubicBezTo>
                  <a:cubicBezTo>
                    <a:pt x="5621" y="12278"/>
                    <a:pt x="5621" y="12278"/>
                    <a:pt x="5621" y="12278"/>
                  </a:cubicBezTo>
                  <a:cubicBezTo>
                    <a:pt x="5782" y="12392"/>
                    <a:pt x="5782" y="12392"/>
                    <a:pt x="5782" y="12392"/>
                  </a:cubicBezTo>
                  <a:cubicBezTo>
                    <a:pt x="5501" y="12505"/>
                    <a:pt x="5501" y="12505"/>
                    <a:pt x="5501" y="12505"/>
                  </a:cubicBezTo>
                  <a:cubicBezTo>
                    <a:pt x="5380" y="12562"/>
                    <a:pt x="5380" y="12562"/>
                    <a:pt x="5380" y="12562"/>
                  </a:cubicBezTo>
                  <a:cubicBezTo>
                    <a:pt x="5380" y="12562"/>
                    <a:pt x="5139" y="12733"/>
                    <a:pt x="5300" y="12761"/>
                  </a:cubicBezTo>
                  <a:cubicBezTo>
                    <a:pt x="5501" y="12789"/>
                    <a:pt x="5621" y="12789"/>
                    <a:pt x="5621" y="12789"/>
                  </a:cubicBezTo>
                  <a:cubicBezTo>
                    <a:pt x="5621" y="12789"/>
                    <a:pt x="5581" y="12960"/>
                    <a:pt x="5621" y="12960"/>
                  </a:cubicBezTo>
                  <a:cubicBezTo>
                    <a:pt x="5661" y="12960"/>
                    <a:pt x="6022" y="12960"/>
                    <a:pt x="6022" y="12960"/>
                  </a:cubicBezTo>
                  <a:cubicBezTo>
                    <a:pt x="6223" y="12846"/>
                    <a:pt x="6223" y="12846"/>
                    <a:pt x="6223" y="12846"/>
                  </a:cubicBezTo>
                  <a:cubicBezTo>
                    <a:pt x="6344" y="12789"/>
                    <a:pt x="6344" y="12789"/>
                    <a:pt x="6344" y="12789"/>
                  </a:cubicBezTo>
                  <a:cubicBezTo>
                    <a:pt x="6424" y="12903"/>
                    <a:pt x="6424" y="12903"/>
                    <a:pt x="6424" y="12903"/>
                  </a:cubicBezTo>
                  <a:cubicBezTo>
                    <a:pt x="6424" y="12903"/>
                    <a:pt x="6344" y="12988"/>
                    <a:pt x="6263" y="12988"/>
                  </a:cubicBezTo>
                  <a:cubicBezTo>
                    <a:pt x="6143" y="12988"/>
                    <a:pt x="6183" y="12988"/>
                    <a:pt x="6103" y="13045"/>
                  </a:cubicBezTo>
                  <a:cubicBezTo>
                    <a:pt x="5982" y="13131"/>
                    <a:pt x="5942" y="13159"/>
                    <a:pt x="5862" y="13159"/>
                  </a:cubicBezTo>
                  <a:cubicBezTo>
                    <a:pt x="5822" y="13159"/>
                    <a:pt x="5741" y="13244"/>
                    <a:pt x="5661" y="13131"/>
                  </a:cubicBezTo>
                  <a:cubicBezTo>
                    <a:pt x="5621" y="13045"/>
                    <a:pt x="5541" y="12960"/>
                    <a:pt x="5541" y="12960"/>
                  </a:cubicBezTo>
                  <a:cubicBezTo>
                    <a:pt x="5179" y="12846"/>
                    <a:pt x="5179" y="12846"/>
                    <a:pt x="5179" y="12846"/>
                  </a:cubicBezTo>
                  <a:cubicBezTo>
                    <a:pt x="5099" y="12875"/>
                    <a:pt x="5099" y="12875"/>
                    <a:pt x="5099" y="12875"/>
                  </a:cubicBezTo>
                  <a:cubicBezTo>
                    <a:pt x="5099" y="12875"/>
                    <a:pt x="5059" y="12988"/>
                    <a:pt x="5019" y="12988"/>
                  </a:cubicBezTo>
                  <a:cubicBezTo>
                    <a:pt x="4979" y="12988"/>
                    <a:pt x="4738" y="12988"/>
                    <a:pt x="4657" y="12988"/>
                  </a:cubicBezTo>
                  <a:cubicBezTo>
                    <a:pt x="4617" y="12988"/>
                    <a:pt x="4537" y="12988"/>
                    <a:pt x="4537" y="12960"/>
                  </a:cubicBezTo>
                  <a:cubicBezTo>
                    <a:pt x="4497" y="12903"/>
                    <a:pt x="4537" y="12903"/>
                    <a:pt x="4497" y="12875"/>
                  </a:cubicBezTo>
                  <a:cubicBezTo>
                    <a:pt x="4457" y="12846"/>
                    <a:pt x="4376" y="12733"/>
                    <a:pt x="4296" y="12761"/>
                  </a:cubicBezTo>
                  <a:cubicBezTo>
                    <a:pt x="4256" y="12761"/>
                    <a:pt x="4055" y="12818"/>
                    <a:pt x="4055" y="12818"/>
                  </a:cubicBezTo>
                  <a:cubicBezTo>
                    <a:pt x="4015" y="13045"/>
                    <a:pt x="4015" y="13045"/>
                    <a:pt x="4015" y="13045"/>
                  </a:cubicBezTo>
                  <a:cubicBezTo>
                    <a:pt x="4015" y="13045"/>
                    <a:pt x="3895" y="13045"/>
                    <a:pt x="3935" y="13102"/>
                  </a:cubicBezTo>
                  <a:cubicBezTo>
                    <a:pt x="3935" y="13159"/>
                    <a:pt x="4095" y="13216"/>
                    <a:pt x="4095" y="13216"/>
                  </a:cubicBezTo>
                  <a:cubicBezTo>
                    <a:pt x="4095" y="13216"/>
                    <a:pt x="4176" y="13273"/>
                    <a:pt x="4176" y="13301"/>
                  </a:cubicBezTo>
                  <a:cubicBezTo>
                    <a:pt x="4216" y="13358"/>
                    <a:pt x="4095" y="13415"/>
                    <a:pt x="4095" y="13415"/>
                  </a:cubicBezTo>
                  <a:cubicBezTo>
                    <a:pt x="4095" y="13415"/>
                    <a:pt x="3895" y="13415"/>
                    <a:pt x="3854" y="13472"/>
                  </a:cubicBezTo>
                  <a:cubicBezTo>
                    <a:pt x="3854" y="13500"/>
                    <a:pt x="3895" y="13585"/>
                    <a:pt x="3854" y="13585"/>
                  </a:cubicBezTo>
                  <a:cubicBezTo>
                    <a:pt x="3814" y="13614"/>
                    <a:pt x="3774" y="13671"/>
                    <a:pt x="3774" y="13699"/>
                  </a:cubicBezTo>
                  <a:cubicBezTo>
                    <a:pt x="3774" y="13699"/>
                    <a:pt x="3854" y="13841"/>
                    <a:pt x="3854" y="13841"/>
                  </a:cubicBezTo>
                  <a:cubicBezTo>
                    <a:pt x="3854" y="13841"/>
                    <a:pt x="3854" y="13955"/>
                    <a:pt x="3774" y="13898"/>
                  </a:cubicBezTo>
                  <a:cubicBezTo>
                    <a:pt x="3694" y="13841"/>
                    <a:pt x="3453" y="13756"/>
                    <a:pt x="3453" y="13756"/>
                  </a:cubicBezTo>
                  <a:cubicBezTo>
                    <a:pt x="3292" y="13671"/>
                    <a:pt x="3292" y="13671"/>
                    <a:pt x="3292" y="13671"/>
                  </a:cubicBezTo>
                  <a:cubicBezTo>
                    <a:pt x="3292" y="13671"/>
                    <a:pt x="3132" y="13756"/>
                    <a:pt x="3092" y="13756"/>
                  </a:cubicBezTo>
                  <a:cubicBezTo>
                    <a:pt x="3092" y="13784"/>
                    <a:pt x="2811" y="13756"/>
                    <a:pt x="2730" y="13784"/>
                  </a:cubicBezTo>
                  <a:cubicBezTo>
                    <a:pt x="2690" y="13813"/>
                    <a:pt x="2690" y="13841"/>
                    <a:pt x="2650" y="13898"/>
                  </a:cubicBezTo>
                  <a:cubicBezTo>
                    <a:pt x="2570" y="13955"/>
                    <a:pt x="2449" y="13955"/>
                    <a:pt x="2570" y="14040"/>
                  </a:cubicBezTo>
                  <a:cubicBezTo>
                    <a:pt x="2650" y="14125"/>
                    <a:pt x="2851" y="14154"/>
                    <a:pt x="2851" y="14154"/>
                  </a:cubicBezTo>
                  <a:cubicBezTo>
                    <a:pt x="2851" y="14154"/>
                    <a:pt x="2931" y="14182"/>
                    <a:pt x="2851" y="14267"/>
                  </a:cubicBezTo>
                  <a:cubicBezTo>
                    <a:pt x="2770" y="14381"/>
                    <a:pt x="2610" y="14296"/>
                    <a:pt x="2570" y="14296"/>
                  </a:cubicBezTo>
                  <a:cubicBezTo>
                    <a:pt x="2530" y="14267"/>
                    <a:pt x="2369" y="14182"/>
                    <a:pt x="2329" y="14211"/>
                  </a:cubicBezTo>
                  <a:cubicBezTo>
                    <a:pt x="2289" y="14239"/>
                    <a:pt x="2168" y="14381"/>
                    <a:pt x="2168" y="14381"/>
                  </a:cubicBezTo>
                  <a:cubicBezTo>
                    <a:pt x="2168" y="14381"/>
                    <a:pt x="2048" y="14409"/>
                    <a:pt x="2008" y="14381"/>
                  </a:cubicBezTo>
                  <a:cubicBezTo>
                    <a:pt x="1967" y="14381"/>
                    <a:pt x="1847" y="14239"/>
                    <a:pt x="1807" y="14267"/>
                  </a:cubicBezTo>
                  <a:cubicBezTo>
                    <a:pt x="1767" y="14296"/>
                    <a:pt x="1727" y="14353"/>
                    <a:pt x="1727" y="14381"/>
                  </a:cubicBezTo>
                  <a:cubicBezTo>
                    <a:pt x="1727" y="14409"/>
                    <a:pt x="1807" y="14466"/>
                    <a:pt x="1767" y="14495"/>
                  </a:cubicBezTo>
                  <a:cubicBezTo>
                    <a:pt x="1767" y="14523"/>
                    <a:pt x="1566" y="14552"/>
                    <a:pt x="1526" y="14580"/>
                  </a:cubicBezTo>
                  <a:cubicBezTo>
                    <a:pt x="1526" y="14608"/>
                    <a:pt x="1526" y="14552"/>
                    <a:pt x="1446" y="14665"/>
                  </a:cubicBezTo>
                  <a:cubicBezTo>
                    <a:pt x="1405" y="14779"/>
                    <a:pt x="1446" y="14779"/>
                    <a:pt x="1405" y="14779"/>
                  </a:cubicBezTo>
                  <a:cubicBezTo>
                    <a:pt x="1325" y="14807"/>
                    <a:pt x="1164" y="14722"/>
                    <a:pt x="1164" y="14722"/>
                  </a:cubicBezTo>
                  <a:cubicBezTo>
                    <a:pt x="1164" y="14722"/>
                    <a:pt x="1044" y="14637"/>
                    <a:pt x="1044" y="14722"/>
                  </a:cubicBezTo>
                  <a:cubicBezTo>
                    <a:pt x="1044" y="14836"/>
                    <a:pt x="1004" y="14949"/>
                    <a:pt x="1004" y="14949"/>
                  </a:cubicBezTo>
                  <a:cubicBezTo>
                    <a:pt x="1124" y="15006"/>
                    <a:pt x="1124" y="15006"/>
                    <a:pt x="1124" y="15006"/>
                  </a:cubicBezTo>
                  <a:cubicBezTo>
                    <a:pt x="1124" y="15006"/>
                    <a:pt x="1084" y="15063"/>
                    <a:pt x="1044" y="15063"/>
                  </a:cubicBezTo>
                  <a:cubicBezTo>
                    <a:pt x="1044" y="15063"/>
                    <a:pt x="964" y="15035"/>
                    <a:pt x="924" y="14978"/>
                  </a:cubicBezTo>
                  <a:cubicBezTo>
                    <a:pt x="883" y="14949"/>
                    <a:pt x="924" y="14949"/>
                    <a:pt x="803" y="14921"/>
                  </a:cubicBezTo>
                  <a:cubicBezTo>
                    <a:pt x="683" y="14893"/>
                    <a:pt x="602" y="14836"/>
                    <a:pt x="602" y="14893"/>
                  </a:cubicBezTo>
                  <a:cubicBezTo>
                    <a:pt x="602" y="14921"/>
                    <a:pt x="562" y="14978"/>
                    <a:pt x="602" y="15006"/>
                  </a:cubicBezTo>
                  <a:cubicBezTo>
                    <a:pt x="643" y="15063"/>
                    <a:pt x="723" y="15120"/>
                    <a:pt x="723" y="15120"/>
                  </a:cubicBezTo>
                  <a:cubicBezTo>
                    <a:pt x="763" y="15120"/>
                    <a:pt x="763" y="15120"/>
                    <a:pt x="763" y="15120"/>
                  </a:cubicBezTo>
                  <a:cubicBezTo>
                    <a:pt x="763" y="15120"/>
                    <a:pt x="723" y="15205"/>
                    <a:pt x="683" y="15205"/>
                  </a:cubicBezTo>
                  <a:cubicBezTo>
                    <a:pt x="643" y="15234"/>
                    <a:pt x="602" y="15177"/>
                    <a:pt x="562" y="15177"/>
                  </a:cubicBezTo>
                  <a:cubicBezTo>
                    <a:pt x="562" y="15177"/>
                    <a:pt x="442" y="15234"/>
                    <a:pt x="442" y="15234"/>
                  </a:cubicBezTo>
                  <a:cubicBezTo>
                    <a:pt x="442" y="15234"/>
                    <a:pt x="482" y="15291"/>
                    <a:pt x="482" y="15319"/>
                  </a:cubicBezTo>
                  <a:cubicBezTo>
                    <a:pt x="482" y="15347"/>
                    <a:pt x="361" y="15376"/>
                    <a:pt x="361" y="15404"/>
                  </a:cubicBezTo>
                  <a:cubicBezTo>
                    <a:pt x="321" y="15404"/>
                    <a:pt x="281" y="15433"/>
                    <a:pt x="281" y="15461"/>
                  </a:cubicBezTo>
                  <a:cubicBezTo>
                    <a:pt x="281" y="15489"/>
                    <a:pt x="321" y="15575"/>
                    <a:pt x="361" y="15546"/>
                  </a:cubicBezTo>
                  <a:cubicBezTo>
                    <a:pt x="402" y="15546"/>
                    <a:pt x="602" y="15575"/>
                    <a:pt x="602" y="15575"/>
                  </a:cubicBezTo>
                  <a:cubicBezTo>
                    <a:pt x="602" y="15575"/>
                    <a:pt x="562" y="15632"/>
                    <a:pt x="522" y="15660"/>
                  </a:cubicBezTo>
                  <a:cubicBezTo>
                    <a:pt x="482" y="15660"/>
                    <a:pt x="442" y="15717"/>
                    <a:pt x="402" y="15745"/>
                  </a:cubicBezTo>
                  <a:cubicBezTo>
                    <a:pt x="361" y="15802"/>
                    <a:pt x="442" y="15916"/>
                    <a:pt x="522" y="15944"/>
                  </a:cubicBezTo>
                  <a:cubicBezTo>
                    <a:pt x="643" y="15973"/>
                    <a:pt x="763" y="15973"/>
                    <a:pt x="763" y="16029"/>
                  </a:cubicBezTo>
                  <a:cubicBezTo>
                    <a:pt x="723" y="16058"/>
                    <a:pt x="522" y="16172"/>
                    <a:pt x="482" y="16200"/>
                  </a:cubicBezTo>
                  <a:cubicBezTo>
                    <a:pt x="442" y="16200"/>
                    <a:pt x="361" y="16228"/>
                    <a:pt x="361" y="16285"/>
                  </a:cubicBezTo>
                  <a:cubicBezTo>
                    <a:pt x="361" y="16342"/>
                    <a:pt x="361" y="16371"/>
                    <a:pt x="281" y="16399"/>
                  </a:cubicBezTo>
                  <a:cubicBezTo>
                    <a:pt x="201" y="16427"/>
                    <a:pt x="161" y="16399"/>
                    <a:pt x="161" y="16484"/>
                  </a:cubicBezTo>
                  <a:cubicBezTo>
                    <a:pt x="161" y="16541"/>
                    <a:pt x="201" y="16569"/>
                    <a:pt x="241" y="16569"/>
                  </a:cubicBezTo>
                  <a:cubicBezTo>
                    <a:pt x="281" y="16569"/>
                    <a:pt x="281" y="16569"/>
                    <a:pt x="281" y="16569"/>
                  </a:cubicBezTo>
                  <a:cubicBezTo>
                    <a:pt x="602" y="16541"/>
                    <a:pt x="602" y="16541"/>
                    <a:pt x="602" y="16541"/>
                  </a:cubicBezTo>
                  <a:cubicBezTo>
                    <a:pt x="602" y="16541"/>
                    <a:pt x="562" y="16626"/>
                    <a:pt x="562" y="16655"/>
                  </a:cubicBezTo>
                  <a:cubicBezTo>
                    <a:pt x="562" y="16683"/>
                    <a:pt x="321" y="16854"/>
                    <a:pt x="321" y="16854"/>
                  </a:cubicBezTo>
                  <a:cubicBezTo>
                    <a:pt x="321" y="16854"/>
                    <a:pt x="361" y="16939"/>
                    <a:pt x="321" y="16939"/>
                  </a:cubicBezTo>
                  <a:cubicBezTo>
                    <a:pt x="241" y="16967"/>
                    <a:pt x="161" y="16996"/>
                    <a:pt x="121" y="17024"/>
                  </a:cubicBezTo>
                  <a:cubicBezTo>
                    <a:pt x="121" y="17053"/>
                    <a:pt x="121" y="17109"/>
                    <a:pt x="121" y="17138"/>
                  </a:cubicBezTo>
                  <a:cubicBezTo>
                    <a:pt x="161" y="17195"/>
                    <a:pt x="241" y="17280"/>
                    <a:pt x="241" y="17308"/>
                  </a:cubicBezTo>
                  <a:cubicBezTo>
                    <a:pt x="281" y="17337"/>
                    <a:pt x="201" y="17394"/>
                    <a:pt x="201" y="17394"/>
                  </a:cubicBezTo>
                  <a:cubicBezTo>
                    <a:pt x="121" y="17621"/>
                    <a:pt x="121" y="17621"/>
                    <a:pt x="121" y="17621"/>
                  </a:cubicBezTo>
                  <a:cubicBezTo>
                    <a:pt x="121" y="17621"/>
                    <a:pt x="121" y="17735"/>
                    <a:pt x="121" y="17763"/>
                  </a:cubicBezTo>
                  <a:cubicBezTo>
                    <a:pt x="121" y="17792"/>
                    <a:pt x="-40" y="17820"/>
                    <a:pt x="40" y="17905"/>
                  </a:cubicBezTo>
                  <a:cubicBezTo>
                    <a:pt x="121" y="17962"/>
                    <a:pt x="161" y="17991"/>
                    <a:pt x="201" y="18019"/>
                  </a:cubicBezTo>
                  <a:cubicBezTo>
                    <a:pt x="281" y="18019"/>
                    <a:pt x="482" y="18019"/>
                    <a:pt x="482" y="18047"/>
                  </a:cubicBezTo>
                  <a:cubicBezTo>
                    <a:pt x="482" y="18047"/>
                    <a:pt x="482" y="18076"/>
                    <a:pt x="361" y="18104"/>
                  </a:cubicBezTo>
                  <a:cubicBezTo>
                    <a:pt x="281" y="18104"/>
                    <a:pt x="201" y="18076"/>
                    <a:pt x="201" y="18133"/>
                  </a:cubicBezTo>
                  <a:cubicBezTo>
                    <a:pt x="161" y="18161"/>
                    <a:pt x="0" y="18332"/>
                    <a:pt x="0" y="18332"/>
                  </a:cubicBezTo>
                  <a:cubicBezTo>
                    <a:pt x="201" y="18502"/>
                    <a:pt x="201" y="18502"/>
                    <a:pt x="201" y="18502"/>
                  </a:cubicBezTo>
                  <a:cubicBezTo>
                    <a:pt x="201" y="18502"/>
                    <a:pt x="281" y="18445"/>
                    <a:pt x="321" y="18445"/>
                  </a:cubicBezTo>
                  <a:cubicBezTo>
                    <a:pt x="361" y="18417"/>
                    <a:pt x="482" y="18445"/>
                    <a:pt x="482" y="18474"/>
                  </a:cubicBezTo>
                  <a:cubicBezTo>
                    <a:pt x="482" y="18474"/>
                    <a:pt x="402" y="18559"/>
                    <a:pt x="361" y="18559"/>
                  </a:cubicBezTo>
                  <a:cubicBezTo>
                    <a:pt x="361" y="18587"/>
                    <a:pt x="241" y="18616"/>
                    <a:pt x="241" y="18644"/>
                  </a:cubicBezTo>
                  <a:cubicBezTo>
                    <a:pt x="241" y="18644"/>
                    <a:pt x="361" y="18758"/>
                    <a:pt x="361" y="18758"/>
                  </a:cubicBezTo>
                  <a:cubicBezTo>
                    <a:pt x="361" y="18758"/>
                    <a:pt x="442" y="18758"/>
                    <a:pt x="442" y="18815"/>
                  </a:cubicBezTo>
                  <a:cubicBezTo>
                    <a:pt x="442" y="18843"/>
                    <a:pt x="281" y="18900"/>
                    <a:pt x="281" y="18900"/>
                  </a:cubicBezTo>
                  <a:cubicBezTo>
                    <a:pt x="321" y="18985"/>
                    <a:pt x="321" y="18985"/>
                    <a:pt x="321" y="18985"/>
                  </a:cubicBezTo>
                  <a:cubicBezTo>
                    <a:pt x="201" y="19156"/>
                    <a:pt x="201" y="19156"/>
                    <a:pt x="201" y="19156"/>
                  </a:cubicBezTo>
                  <a:cubicBezTo>
                    <a:pt x="402" y="19241"/>
                    <a:pt x="402" y="19241"/>
                    <a:pt x="402" y="19241"/>
                  </a:cubicBezTo>
                  <a:cubicBezTo>
                    <a:pt x="402" y="19241"/>
                    <a:pt x="562" y="19241"/>
                    <a:pt x="522" y="19326"/>
                  </a:cubicBezTo>
                  <a:cubicBezTo>
                    <a:pt x="442" y="19383"/>
                    <a:pt x="321" y="19440"/>
                    <a:pt x="321" y="19468"/>
                  </a:cubicBezTo>
                  <a:cubicBezTo>
                    <a:pt x="321" y="19525"/>
                    <a:pt x="281" y="19582"/>
                    <a:pt x="361" y="19611"/>
                  </a:cubicBezTo>
                  <a:cubicBezTo>
                    <a:pt x="442" y="19611"/>
                    <a:pt x="442" y="19639"/>
                    <a:pt x="482" y="19611"/>
                  </a:cubicBezTo>
                  <a:cubicBezTo>
                    <a:pt x="562" y="19582"/>
                    <a:pt x="643" y="19554"/>
                    <a:pt x="643" y="19554"/>
                  </a:cubicBezTo>
                  <a:cubicBezTo>
                    <a:pt x="643" y="19554"/>
                    <a:pt x="763" y="19497"/>
                    <a:pt x="843" y="19497"/>
                  </a:cubicBezTo>
                  <a:cubicBezTo>
                    <a:pt x="883" y="19497"/>
                    <a:pt x="964" y="19525"/>
                    <a:pt x="1004" y="19554"/>
                  </a:cubicBezTo>
                  <a:cubicBezTo>
                    <a:pt x="1004" y="19582"/>
                    <a:pt x="1004" y="19611"/>
                    <a:pt x="1044" y="19639"/>
                  </a:cubicBezTo>
                  <a:cubicBezTo>
                    <a:pt x="1084" y="19639"/>
                    <a:pt x="1004" y="19781"/>
                    <a:pt x="1004" y="19781"/>
                  </a:cubicBezTo>
                  <a:cubicBezTo>
                    <a:pt x="883" y="19895"/>
                    <a:pt x="883" y="19895"/>
                    <a:pt x="883" y="19895"/>
                  </a:cubicBezTo>
                  <a:cubicBezTo>
                    <a:pt x="883" y="19895"/>
                    <a:pt x="1004" y="20008"/>
                    <a:pt x="964" y="20008"/>
                  </a:cubicBezTo>
                  <a:cubicBezTo>
                    <a:pt x="964" y="20008"/>
                    <a:pt x="763" y="20037"/>
                    <a:pt x="723" y="20037"/>
                  </a:cubicBezTo>
                  <a:cubicBezTo>
                    <a:pt x="683" y="20037"/>
                    <a:pt x="643" y="20008"/>
                    <a:pt x="643" y="20065"/>
                  </a:cubicBezTo>
                  <a:cubicBezTo>
                    <a:pt x="602" y="20122"/>
                    <a:pt x="482" y="20264"/>
                    <a:pt x="482" y="20264"/>
                  </a:cubicBezTo>
                  <a:cubicBezTo>
                    <a:pt x="482" y="20264"/>
                    <a:pt x="442" y="20321"/>
                    <a:pt x="482" y="20378"/>
                  </a:cubicBezTo>
                  <a:cubicBezTo>
                    <a:pt x="522" y="20435"/>
                    <a:pt x="683" y="20634"/>
                    <a:pt x="683" y="20634"/>
                  </a:cubicBezTo>
                  <a:cubicBezTo>
                    <a:pt x="683" y="20662"/>
                    <a:pt x="763" y="20747"/>
                    <a:pt x="883" y="20804"/>
                  </a:cubicBezTo>
                  <a:cubicBezTo>
                    <a:pt x="1004" y="20861"/>
                    <a:pt x="1084" y="20861"/>
                    <a:pt x="1084" y="20918"/>
                  </a:cubicBezTo>
                  <a:cubicBezTo>
                    <a:pt x="1124" y="20975"/>
                    <a:pt x="1124" y="20975"/>
                    <a:pt x="1124" y="20975"/>
                  </a:cubicBezTo>
                  <a:cubicBezTo>
                    <a:pt x="1285" y="21088"/>
                    <a:pt x="1285" y="21088"/>
                    <a:pt x="1285" y="21088"/>
                  </a:cubicBezTo>
                  <a:cubicBezTo>
                    <a:pt x="1285" y="21088"/>
                    <a:pt x="1365" y="21117"/>
                    <a:pt x="1486" y="21117"/>
                  </a:cubicBezTo>
                  <a:cubicBezTo>
                    <a:pt x="1606" y="21145"/>
                    <a:pt x="1767" y="21145"/>
                    <a:pt x="1767" y="21174"/>
                  </a:cubicBezTo>
                  <a:cubicBezTo>
                    <a:pt x="1807" y="21174"/>
                    <a:pt x="1646" y="21259"/>
                    <a:pt x="1646" y="21259"/>
                  </a:cubicBezTo>
                  <a:cubicBezTo>
                    <a:pt x="1646" y="21259"/>
                    <a:pt x="1446" y="21373"/>
                    <a:pt x="1526" y="21401"/>
                  </a:cubicBezTo>
                  <a:cubicBezTo>
                    <a:pt x="1606" y="21429"/>
                    <a:pt x="2168" y="21515"/>
                    <a:pt x="2168" y="21515"/>
                  </a:cubicBezTo>
                  <a:cubicBezTo>
                    <a:pt x="2168" y="21515"/>
                    <a:pt x="2248" y="21543"/>
                    <a:pt x="2248" y="21572"/>
                  </a:cubicBezTo>
                  <a:cubicBezTo>
                    <a:pt x="2248" y="21600"/>
                    <a:pt x="2369" y="21543"/>
                    <a:pt x="2369" y="21543"/>
                  </a:cubicBezTo>
                  <a:cubicBezTo>
                    <a:pt x="2409" y="21515"/>
                    <a:pt x="2570" y="21572"/>
                    <a:pt x="2610" y="21572"/>
                  </a:cubicBezTo>
                  <a:cubicBezTo>
                    <a:pt x="2610" y="21572"/>
                    <a:pt x="2851" y="21543"/>
                    <a:pt x="2851" y="21543"/>
                  </a:cubicBezTo>
                  <a:cubicBezTo>
                    <a:pt x="3051" y="21486"/>
                    <a:pt x="3051" y="21486"/>
                    <a:pt x="3051" y="21486"/>
                  </a:cubicBezTo>
                  <a:cubicBezTo>
                    <a:pt x="3051" y="21486"/>
                    <a:pt x="3172" y="21344"/>
                    <a:pt x="3252" y="21373"/>
                  </a:cubicBezTo>
                  <a:cubicBezTo>
                    <a:pt x="3373" y="21401"/>
                    <a:pt x="3332" y="21458"/>
                    <a:pt x="3413" y="21458"/>
                  </a:cubicBezTo>
                  <a:cubicBezTo>
                    <a:pt x="3453" y="21458"/>
                    <a:pt x="3533" y="21458"/>
                    <a:pt x="3614" y="21373"/>
                  </a:cubicBezTo>
                  <a:cubicBezTo>
                    <a:pt x="3694" y="21316"/>
                    <a:pt x="3774" y="21259"/>
                    <a:pt x="3814" y="21231"/>
                  </a:cubicBezTo>
                  <a:cubicBezTo>
                    <a:pt x="3854" y="21231"/>
                    <a:pt x="4336" y="21032"/>
                    <a:pt x="4336" y="21032"/>
                  </a:cubicBezTo>
                  <a:cubicBezTo>
                    <a:pt x="4657" y="20634"/>
                    <a:pt x="4657" y="20634"/>
                    <a:pt x="4657" y="20634"/>
                  </a:cubicBezTo>
                  <a:cubicBezTo>
                    <a:pt x="4778" y="20349"/>
                    <a:pt x="4778" y="20349"/>
                    <a:pt x="4778" y="20349"/>
                  </a:cubicBezTo>
                  <a:cubicBezTo>
                    <a:pt x="4778" y="20349"/>
                    <a:pt x="4938" y="20207"/>
                    <a:pt x="5059" y="20207"/>
                  </a:cubicBezTo>
                  <a:cubicBezTo>
                    <a:pt x="5139" y="20207"/>
                    <a:pt x="5420" y="20122"/>
                    <a:pt x="5380" y="20065"/>
                  </a:cubicBezTo>
                  <a:cubicBezTo>
                    <a:pt x="5380" y="19980"/>
                    <a:pt x="5501" y="19952"/>
                    <a:pt x="5501" y="20065"/>
                  </a:cubicBezTo>
                  <a:cubicBezTo>
                    <a:pt x="5541" y="20179"/>
                    <a:pt x="5501" y="20293"/>
                    <a:pt x="5581" y="20236"/>
                  </a:cubicBezTo>
                  <a:cubicBezTo>
                    <a:pt x="5701" y="20179"/>
                    <a:pt x="5902" y="20008"/>
                    <a:pt x="5902" y="20008"/>
                  </a:cubicBezTo>
                  <a:cubicBezTo>
                    <a:pt x="5902" y="20008"/>
                    <a:pt x="6022" y="19923"/>
                    <a:pt x="6103" y="19895"/>
                  </a:cubicBezTo>
                  <a:cubicBezTo>
                    <a:pt x="6183" y="19895"/>
                    <a:pt x="6303" y="19696"/>
                    <a:pt x="6303" y="19696"/>
                  </a:cubicBezTo>
                  <a:cubicBezTo>
                    <a:pt x="6303" y="19696"/>
                    <a:pt x="6464" y="19611"/>
                    <a:pt x="6544" y="19696"/>
                  </a:cubicBezTo>
                  <a:cubicBezTo>
                    <a:pt x="6585" y="19809"/>
                    <a:pt x="6745" y="19952"/>
                    <a:pt x="6745" y="20008"/>
                  </a:cubicBezTo>
                  <a:cubicBezTo>
                    <a:pt x="6745" y="20008"/>
                    <a:pt x="6825" y="20037"/>
                    <a:pt x="6906" y="20065"/>
                  </a:cubicBezTo>
                  <a:cubicBezTo>
                    <a:pt x="6906" y="20008"/>
                    <a:pt x="6906" y="20008"/>
                    <a:pt x="6906" y="20008"/>
                  </a:cubicBezTo>
                  <a:cubicBezTo>
                    <a:pt x="6906" y="19838"/>
                    <a:pt x="6906" y="19838"/>
                    <a:pt x="6906" y="19838"/>
                  </a:cubicBezTo>
                  <a:cubicBezTo>
                    <a:pt x="6906" y="19838"/>
                    <a:pt x="7187" y="20008"/>
                    <a:pt x="7187" y="20008"/>
                  </a:cubicBezTo>
                  <a:cubicBezTo>
                    <a:pt x="7227" y="20037"/>
                    <a:pt x="7227" y="20207"/>
                    <a:pt x="7227" y="20207"/>
                  </a:cubicBezTo>
                  <a:cubicBezTo>
                    <a:pt x="7307" y="20207"/>
                    <a:pt x="7307" y="20207"/>
                    <a:pt x="7307" y="20207"/>
                  </a:cubicBezTo>
                  <a:cubicBezTo>
                    <a:pt x="7307" y="20179"/>
                    <a:pt x="7307" y="20179"/>
                    <a:pt x="7307" y="20179"/>
                  </a:cubicBezTo>
                  <a:cubicBezTo>
                    <a:pt x="7388" y="20207"/>
                    <a:pt x="7388" y="20207"/>
                    <a:pt x="7388" y="20207"/>
                  </a:cubicBezTo>
                  <a:cubicBezTo>
                    <a:pt x="7428" y="20179"/>
                    <a:pt x="7428" y="20179"/>
                    <a:pt x="7428" y="20179"/>
                  </a:cubicBezTo>
                  <a:cubicBezTo>
                    <a:pt x="7468" y="20008"/>
                    <a:pt x="7468" y="20008"/>
                    <a:pt x="7468" y="20008"/>
                  </a:cubicBezTo>
                  <a:cubicBezTo>
                    <a:pt x="7508" y="19809"/>
                    <a:pt x="7508" y="19809"/>
                    <a:pt x="7508" y="19809"/>
                  </a:cubicBezTo>
                  <a:cubicBezTo>
                    <a:pt x="7628" y="19639"/>
                    <a:pt x="7628" y="19639"/>
                    <a:pt x="7628" y="19639"/>
                  </a:cubicBezTo>
                  <a:cubicBezTo>
                    <a:pt x="7628" y="19468"/>
                    <a:pt x="7628" y="19468"/>
                    <a:pt x="7628" y="19468"/>
                  </a:cubicBezTo>
                  <a:cubicBezTo>
                    <a:pt x="7468" y="19269"/>
                    <a:pt x="7468" y="19269"/>
                    <a:pt x="7468" y="19269"/>
                  </a:cubicBezTo>
                  <a:cubicBezTo>
                    <a:pt x="7388" y="19099"/>
                    <a:pt x="7388" y="19099"/>
                    <a:pt x="7388" y="19099"/>
                  </a:cubicBezTo>
                  <a:cubicBezTo>
                    <a:pt x="7508" y="19071"/>
                    <a:pt x="7508" y="19071"/>
                    <a:pt x="7508" y="19071"/>
                  </a:cubicBezTo>
                  <a:cubicBezTo>
                    <a:pt x="7508" y="19042"/>
                    <a:pt x="7508" y="19042"/>
                    <a:pt x="7508" y="19042"/>
                  </a:cubicBezTo>
                  <a:cubicBezTo>
                    <a:pt x="7548" y="19042"/>
                    <a:pt x="7548" y="19042"/>
                    <a:pt x="7548" y="19042"/>
                  </a:cubicBezTo>
                  <a:cubicBezTo>
                    <a:pt x="7628" y="18985"/>
                    <a:pt x="7628" y="18985"/>
                    <a:pt x="7628" y="18985"/>
                  </a:cubicBezTo>
                  <a:cubicBezTo>
                    <a:pt x="7669" y="18843"/>
                    <a:pt x="7669" y="18843"/>
                    <a:pt x="7669" y="18843"/>
                  </a:cubicBezTo>
                  <a:cubicBezTo>
                    <a:pt x="7588" y="18786"/>
                    <a:pt x="7588" y="18786"/>
                    <a:pt x="7588" y="18786"/>
                  </a:cubicBezTo>
                  <a:cubicBezTo>
                    <a:pt x="7588" y="18701"/>
                    <a:pt x="7588" y="18701"/>
                    <a:pt x="7588" y="18701"/>
                  </a:cubicBezTo>
                  <a:cubicBezTo>
                    <a:pt x="7588" y="18701"/>
                    <a:pt x="7669" y="18644"/>
                    <a:pt x="7669" y="18644"/>
                  </a:cubicBezTo>
                  <a:cubicBezTo>
                    <a:pt x="7669" y="18644"/>
                    <a:pt x="7669" y="18644"/>
                    <a:pt x="7669" y="18644"/>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09" y="18616"/>
                    <a:pt x="7709" y="18616"/>
                    <a:pt x="7709" y="18616"/>
                  </a:cubicBezTo>
                  <a:cubicBezTo>
                    <a:pt x="7749" y="18616"/>
                    <a:pt x="7749" y="18616"/>
                    <a:pt x="7749" y="18616"/>
                  </a:cubicBezTo>
                  <a:cubicBezTo>
                    <a:pt x="7749" y="18616"/>
                    <a:pt x="7749" y="18616"/>
                    <a:pt x="7749" y="18616"/>
                  </a:cubicBezTo>
                  <a:cubicBezTo>
                    <a:pt x="7749" y="18616"/>
                    <a:pt x="7749" y="18616"/>
                    <a:pt x="7749" y="18616"/>
                  </a:cubicBezTo>
                  <a:cubicBezTo>
                    <a:pt x="7749" y="18616"/>
                    <a:pt x="7749" y="18616"/>
                    <a:pt x="7749" y="18616"/>
                  </a:cubicBezTo>
                  <a:cubicBezTo>
                    <a:pt x="7749" y="18616"/>
                    <a:pt x="7789" y="18587"/>
                    <a:pt x="7789" y="18587"/>
                  </a:cubicBezTo>
                  <a:cubicBezTo>
                    <a:pt x="7829" y="18587"/>
                    <a:pt x="7909" y="18587"/>
                    <a:pt x="7909" y="18587"/>
                  </a:cubicBezTo>
                  <a:cubicBezTo>
                    <a:pt x="7950" y="18587"/>
                    <a:pt x="7950" y="18587"/>
                    <a:pt x="7950" y="18587"/>
                  </a:cubicBezTo>
                  <a:cubicBezTo>
                    <a:pt x="8030" y="18531"/>
                    <a:pt x="8030" y="18531"/>
                    <a:pt x="8030" y="18531"/>
                  </a:cubicBezTo>
                  <a:cubicBezTo>
                    <a:pt x="8030" y="18531"/>
                    <a:pt x="8190" y="18445"/>
                    <a:pt x="8190" y="18417"/>
                  </a:cubicBezTo>
                  <a:cubicBezTo>
                    <a:pt x="8190" y="18388"/>
                    <a:pt x="8271" y="18303"/>
                    <a:pt x="8271" y="18303"/>
                  </a:cubicBezTo>
                  <a:cubicBezTo>
                    <a:pt x="8271" y="18161"/>
                    <a:pt x="8271" y="18161"/>
                    <a:pt x="8271" y="18161"/>
                  </a:cubicBezTo>
                  <a:cubicBezTo>
                    <a:pt x="8190" y="18019"/>
                    <a:pt x="8190" y="18019"/>
                    <a:pt x="8190" y="18019"/>
                  </a:cubicBezTo>
                  <a:cubicBezTo>
                    <a:pt x="8271" y="17934"/>
                    <a:pt x="8271" y="17934"/>
                    <a:pt x="8271" y="17934"/>
                  </a:cubicBezTo>
                  <a:cubicBezTo>
                    <a:pt x="8391" y="17763"/>
                    <a:pt x="8391" y="17763"/>
                    <a:pt x="8391" y="17763"/>
                  </a:cubicBezTo>
                  <a:cubicBezTo>
                    <a:pt x="8311" y="17593"/>
                    <a:pt x="8311" y="17593"/>
                    <a:pt x="8311" y="17593"/>
                  </a:cubicBezTo>
                  <a:cubicBezTo>
                    <a:pt x="8070" y="17394"/>
                    <a:pt x="8070" y="17394"/>
                    <a:pt x="8070" y="17394"/>
                  </a:cubicBezTo>
                  <a:cubicBezTo>
                    <a:pt x="7950" y="17138"/>
                    <a:pt x="7950" y="17138"/>
                    <a:pt x="7950" y="17138"/>
                  </a:cubicBezTo>
                  <a:cubicBezTo>
                    <a:pt x="7869" y="16967"/>
                    <a:pt x="7869" y="16967"/>
                    <a:pt x="7869" y="16967"/>
                  </a:cubicBezTo>
                  <a:cubicBezTo>
                    <a:pt x="8070" y="16825"/>
                    <a:pt x="8070" y="16825"/>
                    <a:pt x="8070" y="16825"/>
                  </a:cubicBezTo>
                  <a:cubicBezTo>
                    <a:pt x="8110" y="16797"/>
                    <a:pt x="8110" y="16797"/>
                    <a:pt x="8110" y="16797"/>
                  </a:cubicBezTo>
                  <a:cubicBezTo>
                    <a:pt x="8110" y="16797"/>
                    <a:pt x="8110" y="16797"/>
                    <a:pt x="8110" y="16797"/>
                  </a:cubicBezTo>
                  <a:cubicBezTo>
                    <a:pt x="8150" y="16797"/>
                    <a:pt x="8150" y="16797"/>
                    <a:pt x="8150" y="16797"/>
                  </a:cubicBezTo>
                  <a:cubicBezTo>
                    <a:pt x="8271" y="16797"/>
                    <a:pt x="8271" y="16797"/>
                    <a:pt x="8271" y="16797"/>
                  </a:cubicBezTo>
                  <a:cubicBezTo>
                    <a:pt x="8271" y="16797"/>
                    <a:pt x="8472" y="16797"/>
                    <a:pt x="8472" y="16768"/>
                  </a:cubicBezTo>
                  <a:cubicBezTo>
                    <a:pt x="8472" y="16768"/>
                    <a:pt x="8472" y="16768"/>
                    <a:pt x="8472" y="16768"/>
                  </a:cubicBezTo>
                  <a:cubicBezTo>
                    <a:pt x="8472" y="16768"/>
                    <a:pt x="8472" y="16768"/>
                    <a:pt x="8472" y="16768"/>
                  </a:cubicBezTo>
                  <a:cubicBezTo>
                    <a:pt x="8472" y="16768"/>
                    <a:pt x="8472" y="16768"/>
                    <a:pt x="8472" y="16768"/>
                  </a:cubicBezTo>
                  <a:cubicBezTo>
                    <a:pt x="8472" y="16768"/>
                    <a:pt x="8472" y="16768"/>
                    <a:pt x="8472" y="16768"/>
                  </a:cubicBezTo>
                  <a:cubicBezTo>
                    <a:pt x="8472" y="16768"/>
                    <a:pt x="8472" y="16768"/>
                    <a:pt x="8472" y="16768"/>
                  </a:cubicBezTo>
                  <a:cubicBezTo>
                    <a:pt x="8472" y="16740"/>
                    <a:pt x="8472" y="16740"/>
                    <a:pt x="8472" y="16740"/>
                  </a:cubicBezTo>
                  <a:cubicBezTo>
                    <a:pt x="8472" y="16740"/>
                    <a:pt x="8472" y="16740"/>
                    <a:pt x="8472" y="16740"/>
                  </a:cubicBezTo>
                  <a:cubicBezTo>
                    <a:pt x="8472" y="16740"/>
                    <a:pt x="8472" y="16740"/>
                    <a:pt x="8472" y="16740"/>
                  </a:cubicBezTo>
                  <a:cubicBezTo>
                    <a:pt x="8472" y="16740"/>
                    <a:pt x="8472" y="16740"/>
                    <a:pt x="8472" y="16740"/>
                  </a:cubicBezTo>
                  <a:cubicBezTo>
                    <a:pt x="8512" y="16740"/>
                    <a:pt x="8512" y="16740"/>
                    <a:pt x="8512" y="16740"/>
                  </a:cubicBezTo>
                  <a:cubicBezTo>
                    <a:pt x="8512" y="16740"/>
                    <a:pt x="8512" y="16740"/>
                    <a:pt x="8512" y="16740"/>
                  </a:cubicBezTo>
                  <a:cubicBezTo>
                    <a:pt x="8512" y="16740"/>
                    <a:pt x="8512" y="16740"/>
                    <a:pt x="8512" y="16740"/>
                  </a:cubicBezTo>
                  <a:cubicBezTo>
                    <a:pt x="8512" y="16740"/>
                    <a:pt x="8512" y="16740"/>
                    <a:pt x="8512" y="16740"/>
                  </a:cubicBezTo>
                  <a:cubicBezTo>
                    <a:pt x="8512" y="16740"/>
                    <a:pt x="8512" y="16740"/>
                    <a:pt x="8512" y="16740"/>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712"/>
                    <a:pt x="8512" y="16712"/>
                    <a:pt x="8512" y="16712"/>
                  </a:cubicBezTo>
                  <a:cubicBezTo>
                    <a:pt x="8512" y="16683"/>
                    <a:pt x="8512" y="16683"/>
                    <a:pt x="8512" y="16683"/>
                  </a:cubicBezTo>
                  <a:cubicBezTo>
                    <a:pt x="8512" y="16683"/>
                    <a:pt x="8512" y="16683"/>
                    <a:pt x="8512" y="16683"/>
                  </a:cubicBezTo>
                  <a:cubicBezTo>
                    <a:pt x="8512" y="16683"/>
                    <a:pt x="8512" y="16683"/>
                    <a:pt x="8512" y="16683"/>
                  </a:cubicBezTo>
                  <a:cubicBezTo>
                    <a:pt x="8512" y="16683"/>
                    <a:pt x="8512" y="16683"/>
                    <a:pt x="8512" y="16683"/>
                  </a:cubicBezTo>
                  <a:cubicBezTo>
                    <a:pt x="8512" y="16683"/>
                    <a:pt x="8512" y="16683"/>
                    <a:pt x="8512" y="16683"/>
                  </a:cubicBezTo>
                  <a:cubicBezTo>
                    <a:pt x="8512" y="16683"/>
                    <a:pt x="8512" y="16683"/>
                    <a:pt x="8512" y="16683"/>
                  </a:cubicBezTo>
                  <a:cubicBezTo>
                    <a:pt x="8512" y="16655"/>
                    <a:pt x="8512" y="16655"/>
                    <a:pt x="8512" y="16655"/>
                  </a:cubicBezTo>
                  <a:cubicBezTo>
                    <a:pt x="8512" y="16655"/>
                    <a:pt x="8512" y="16655"/>
                    <a:pt x="8512" y="16655"/>
                  </a:cubicBezTo>
                  <a:cubicBezTo>
                    <a:pt x="8512" y="16655"/>
                    <a:pt x="8512" y="16655"/>
                    <a:pt x="8512" y="16655"/>
                  </a:cubicBezTo>
                  <a:cubicBezTo>
                    <a:pt x="8512" y="16655"/>
                    <a:pt x="8512" y="16655"/>
                    <a:pt x="8512" y="16655"/>
                  </a:cubicBezTo>
                  <a:cubicBezTo>
                    <a:pt x="8512" y="16655"/>
                    <a:pt x="8512" y="16655"/>
                    <a:pt x="8512" y="16655"/>
                  </a:cubicBezTo>
                  <a:cubicBezTo>
                    <a:pt x="8512" y="16626"/>
                    <a:pt x="8512" y="16626"/>
                    <a:pt x="8512" y="16626"/>
                  </a:cubicBezTo>
                  <a:cubicBezTo>
                    <a:pt x="8512" y="16626"/>
                    <a:pt x="8512" y="16626"/>
                    <a:pt x="8512" y="16626"/>
                  </a:cubicBezTo>
                  <a:cubicBezTo>
                    <a:pt x="8512" y="16626"/>
                    <a:pt x="8512" y="16626"/>
                    <a:pt x="8512" y="16626"/>
                  </a:cubicBezTo>
                  <a:cubicBezTo>
                    <a:pt x="8512" y="16626"/>
                    <a:pt x="8512" y="16626"/>
                    <a:pt x="8512" y="16626"/>
                  </a:cubicBezTo>
                  <a:cubicBezTo>
                    <a:pt x="8512" y="16626"/>
                    <a:pt x="8512" y="16626"/>
                    <a:pt x="8512" y="16626"/>
                  </a:cubicBezTo>
                  <a:cubicBezTo>
                    <a:pt x="8512" y="16626"/>
                    <a:pt x="8512" y="16626"/>
                    <a:pt x="8512" y="16626"/>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98"/>
                    <a:pt x="8512" y="16598"/>
                    <a:pt x="8512" y="16598"/>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12" y="16569"/>
                    <a:pt x="8512" y="16569"/>
                    <a:pt x="8512" y="16569"/>
                  </a:cubicBezTo>
                  <a:cubicBezTo>
                    <a:pt x="8552" y="16569"/>
                    <a:pt x="8552" y="16569"/>
                    <a:pt x="8552" y="16569"/>
                  </a:cubicBezTo>
                  <a:cubicBezTo>
                    <a:pt x="8552" y="16569"/>
                    <a:pt x="8552" y="16569"/>
                    <a:pt x="8552" y="16569"/>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52" y="16541"/>
                    <a:pt x="8552" y="16541"/>
                    <a:pt x="8552" y="16541"/>
                  </a:cubicBezTo>
                  <a:cubicBezTo>
                    <a:pt x="8512" y="16285"/>
                    <a:pt x="8512" y="16285"/>
                    <a:pt x="8512" y="16285"/>
                  </a:cubicBezTo>
                  <a:cubicBezTo>
                    <a:pt x="8271" y="16143"/>
                    <a:pt x="8271" y="16143"/>
                    <a:pt x="8271" y="16143"/>
                  </a:cubicBezTo>
                  <a:cubicBezTo>
                    <a:pt x="7990" y="16001"/>
                    <a:pt x="7990" y="16001"/>
                    <a:pt x="7990" y="16001"/>
                  </a:cubicBezTo>
                  <a:cubicBezTo>
                    <a:pt x="7869" y="15774"/>
                    <a:pt x="7869" y="15774"/>
                    <a:pt x="7869" y="15774"/>
                  </a:cubicBezTo>
                  <a:cubicBezTo>
                    <a:pt x="7829" y="14893"/>
                    <a:pt x="7829" y="14893"/>
                    <a:pt x="7829" y="14893"/>
                  </a:cubicBezTo>
                  <a:cubicBezTo>
                    <a:pt x="7829" y="14893"/>
                    <a:pt x="7548" y="14523"/>
                    <a:pt x="7548" y="14495"/>
                  </a:cubicBezTo>
                  <a:cubicBezTo>
                    <a:pt x="7508" y="14438"/>
                    <a:pt x="7508" y="14381"/>
                    <a:pt x="7588" y="14324"/>
                  </a:cubicBezTo>
                  <a:cubicBezTo>
                    <a:pt x="7628" y="14296"/>
                    <a:pt x="7588" y="14239"/>
                    <a:pt x="7588" y="14239"/>
                  </a:cubicBezTo>
                  <a:cubicBezTo>
                    <a:pt x="7548" y="14040"/>
                    <a:pt x="7548" y="14040"/>
                    <a:pt x="7548" y="14040"/>
                  </a:cubicBezTo>
                  <a:cubicBezTo>
                    <a:pt x="7628" y="13955"/>
                    <a:pt x="7628" y="13955"/>
                    <a:pt x="7628" y="13955"/>
                  </a:cubicBezTo>
                  <a:cubicBezTo>
                    <a:pt x="7628" y="13784"/>
                    <a:pt x="7628" y="13784"/>
                    <a:pt x="7628" y="13784"/>
                  </a:cubicBezTo>
                  <a:cubicBezTo>
                    <a:pt x="7468" y="13557"/>
                    <a:pt x="7468" y="13557"/>
                    <a:pt x="7468" y="13557"/>
                  </a:cubicBezTo>
                  <a:cubicBezTo>
                    <a:pt x="7468" y="13557"/>
                    <a:pt x="7468" y="13386"/>
                    <a:pt x="7468" y="13358"/>
                  </a:cubicBezTo>
                  <a:cubicBezTo>
                    <a:pt x="7468" y="13301"/>
                    <a:pt x="7588" y="13187"/>
                    <a:pt x="7588" y="13187"/>
                  </a:cubicBezTo>
                  <a:cubicBezTo>
                    <a:pt x="7628" y="12988"/>
                    <a:pt x="7628" y="12988"/>
                    <a:pt x="7628" y="12988"/>
                  </a:cubicBezTo>
                  <a:cubicBezTo>
                    <a:pt x="7709" y="12704"/>
                    <a:pt x="7709" y="12704"/>
                    <a:pt x="7709" y="12704"/>
                  </a:cubicBezTo>
                  <a:cubicBezTo>
                    <a:pt x="8231" y="12221"/>
                    <a:pt x="8231" y="12221"/>
                    <a:pt x="8231" y="12221"/>
                  </a:cubicBezTo>
                  <a:cubicBezTo>
                    <a:pt x="8351" y="12221"/>
                    <a:pt x="8351" y="12221"/>
                    <a:pt x="8351" y="12221"/>
                  </a:cubicBezTo>
                  <a:cubicBezTo>
                    <a:pt x="9194" y="12193"/>
                    <a:pt x="9194" y="12193"/>
                    <a:pt x="9194" y="12193"/>
                  </a:cubicBezTo>
                  <a:cubicBezTo>
                    <a:pt x="9234" y="12136"/>
                    <a:pt x="9234" y="12136"/>
                    <a:pt x="9234" y="12136"/>
                  </a:cubicBezTo>
                  <a:cubicBezTo>
                    <a:pt x="9274" y="12107"/>
                    <a:pt x="9274" y="12107"/>
                    <a:pt x="9274" y="12107"/>
                  </a:cubicBezTo>
                  <a:cubicBezTo>
                    <a:pt x="9355" y="11937"/>
                    <a:pt x="9355" y="11937"/>
                    <a:pt x="9355" y="11937"/>
                  </a:cubicBezTo>
                  <a:cubicBezTo>
                    <a:pt x="9315" y="11482"/>
                    <a:pt x="9315" y="11482"/>
                    <a:pt x="9315" y="11482"/>
                  </a:cubicBezTo>
                  <a:cubicBezTo>
                    <a:pt x="8953" y="11425"/>
                    <a:pt x="8953" y="11425"/>
                    <a:pt x="8953" y="11425"/>
                  </a:cubicBezTo>
                  <a:cubicBezTo>
                    <a:pt x="8873" y="11283"/>
                    <a:pt x="8873" y="11283"/>
                    <a:pt x="8873" y="11283"/>
                  </a:cubicBezTo>
                  <a:cubicBezTo>
                    <a:pt x="9475" y="10544"/>
                    <a:pt x="9475" y="10544"/>
                    <a:pt x="9475" y="10544"/>
                  </a:cubicBezTo>
                  <a:cubicBezTo>
                    <a:pt x="9435" y="10374"/>
                    <a:pt x="9435" y="10374"/>
                    <a:pt x="9435" y="10374"/>
                  </a:cubicBezTo>
                  <a:cubicBezTo>
                    <a:pt x="9596" y="10288"/>
                    <a:pt x="9596" y="10288"/>
                    <a:pt x="9596" y="10288"/>
                  </a:cubicBezTo>
                  <a:cubicBezTo>
                    <a:pt x="9596" y="10288"/>
                    <a:pt x="9556" y="10175"/>
                    <a:pt x="9515" y="10118"/>
                  </a:cubicBezTo>
                  <a:cubicBezTo>
                    <a:pt x="9475" y="10089"/>
                    <a:pt x="9556" y="9919"/>
                    <a:pt x="9556" y="9919"/>
                  </a:cubicBezTo>
                  <a:cubicBezTo>
                    <a:pt x="9596" y="9720"/>
                    <a:pt x="9596" y="9720"/>
                    <a:pt x="9596" y="9720"/>
                  </a:cubicBezTo>
                  <a:cubicBezTo>
                    <a:pt x="9676" y="9493"/>
                    <a:pt x="9676" y="9493"/>
                    <a:pt x="9676" y="9493"/>
                  </a:cubicBezTo>
                  <a:cubicBezTo>
                    <a:pt x="9475" y="9009"/>
                    <a:pt x="9475" y="9009"/>
                    <a:pt x="9475" y="9009"/>
                  </a:cubicBezTo>
                  <a:cubicBezTo>
                    <a:pt x="9596" y="8924"/>
                    <a:pt x="9596" y="8924"/>
                    <a:pt x="9596" y="8924"/>
                  </a:cubicBezTo>
                  <a:cubicBezTo>
                    <a:pt x="9756" y="8924"/>
                    <a:pt x="9756" y="8924"/>
                    <a:pt x="9756" y="8924"/>
                  </a:cubicBezTo>
                  <a:cubicBezTo>
                    <a:pt x="9796" y="8924"/>
                    <a:pt x="9877" y="8896"/>
                    <a:pt x="9957" y="8896"/>
                  </a:cubicBezTo>
                  <a:cubicBezTo>
                    <a:pt x="10037" y="8867"/>
                    <a:pt x="10077" y="8839"/>
                    <a:pt x="10198" y="8754"/>
                  </a:cubicBezTo>
                  <a:cubicBezTo>
                    <a:pt x="10238" y="8697"/>
                    <a:pt x="10238" y="8697"/>
                    <a:pt x="10238" y="8697"/>
                  </a:cubicBezTo>
                  <a:cubicBezTo>
                    <a:pt x="10278" y="8555"/>
                    <a:pt x="10278" y="8555"/>
                    <a:pt x="10278" y="8555"/>
                  </a:cubicBezTo>
                  <a:cubicBezTo>
                    <a:pt x="10278" y="8299"/>
                    <a:pt x="10278" y="8299"/>
                    <a:pt x="10278" y="8299"/>
                  </a:cubicBezTo>
                  <a:cubicBezTo>
                    <a:pt x="10479" y="7929"/>
                    <a:pt x="10479" y="7929"/>
                    <a:pt x="10479" y="7929"/>
                  </a:cubicBezTo>
                  <a:cubicBezTo>
                    <a:pt x="10479" y="7929"/>
                    <a:pt x="10800" y="7645"/>
                    <a:pt x="10840" y="7588"/>
                  </a:cubicBezTo>
                  <a:cubicBezTo>
                    <a:pt x="10880" y="7532"/>
                    <a:pt x="11001" y="7333"/>
                    <a:pt x="11001" y="7333"/>
                  </a:cubicBezTo>
                  <a:cubicBezTo>
                    <a:pt x="11001" y="7333"/>
                    <a:pt x="10921" y="7105"/>
                    <a:pt x="10880" y="7048"/>
                  </a:cubicBezTo>
                  <a:cubicBezTo>
                    <a:pt x="10800" y="7020"/>
                    <a:pt x="10680" y="6849"/>
                    <a:pt x="10680" y="6849"/>
                  </a:cubicBezTo>
                  <a:cubicBezTo>
                    <a:pt x="10680" y="6707"/>
                    <a:pt x="10680" y="6707"/>
                    <a:pt x="10680" y="6707"/>
                  </a:cubicBezTo>
                  <a:cubicBezTo>
                    <a:pt x="10921" y="6594"/>
                    <a:pt x="10921" y="6594"/>
                    <a:pt x="10921" y="6594"/>
                  </a:cubicBezTo>
                  <a:cubicBezTo>
                    <a:pt x="11001" y="6480"/>
                    <a:pt x="11001" y="6480"/>
                    <a:pt x="11001" y="6480"/>
                  </a:cubicBezTo>
                  <a:cubicBezTo>
                    <a:pt x="11001" y="6480"/>
                    <a:pt x="11001" y="6281"/>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53"/>
                    <a:pt x="11001" y="6253"/>
                    <a:pt x="11001" y="6253"/>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224"/>
                    <a:pt x="11001" y="6224"/>
                    <a:pt x="11001" y="6224"/>
                  </a:cubicBezTo>
                  <a:cubicBezTo>
                    <a:pt x="11001" y="6196"/>
                    <a:pt x="11001" y="6196"/>
                    <a:pt x="11001" y="6196"/>
                  </a:cubicBezTo>
                  <a:cubicBezTo>
                    <a:pt x="11001" y="6196"/>
                    <a:pt x="11001" y="6196"/>
                    <a:pt x="11001" y="6196"/>
                  </a:cubicBezTo>
                  <a:cubicBezTo>
                    <a:pt x="11001" y="6196"/>
                    <a:pt x="11001" y="6196"/>
                    <a:pt x="11001" y="6196"/>
                  </a:cubicBezTo>
                  <a:cubicBezTo>
                    <a:pt x="11001" y="6196"/>
                    <a:pt x="11001" y="6196"/>
                    <a:pt x="11001" y="6196"/>
                  </a:cubicBezTo>
                  <a:cubicBezTo>
                    <a:pt x="11041" y="6196"/>
                    <a:pt x="11041" y="6196"/>
                    <a:pt x="11041" y="6196"/>
                  </a:cubicBezTo>
                  <a:cubicBezTo>
                    <a:pt x="11041" y="6196"/>
                    <a:pt x="11041" y="6196"/>
                    <a:pt x="11041" y="6196"/>
                  </a:cubicBezTo>
                  <a:cubicBezTo>
                    <a:pt x="11041" y="6196"/>
                    <a:pt x="11041" y="6196"/>
                    <a:pt x="11041" y="6196"/>
                  </a:cubicBezTo>
                  <a:cubicBezTo>
                    <a:pt x="11041" y="6196"/>
                    <a:pt x="11041" y="6196"/>
                    <a:pt x="11041" y="6196"/>
                  </a:cubicBezTo>
                  <a:cubicBezTo>
                    <a:pt x="11041" y="6196"/>
                    <a:pt x="11041" y="6196"/>
                    <a:pt x="11041" y="6196"/>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67"/>
                    <a:pt x="11041" y="6167"/>
                    <a:pt x="11041" y="6167"/>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41" y="6139"/>
                    <a:pt x="11041" y="6139"/>
                    <a:pt x="11041" y="6139"/>
                  </a:cubicBezTo>
                  <a:cubicBezTo>
                    <a:pt x="11081" y="6139"/>
                    <a:pt x="11081" y="6139"/>
                    <a:pt x="11081" y="6139"/>
                  </a:cubicBezTo>
                  <a:cubicBezTo>
                    <a:pt x="11081" y="6139"/>
                    <a:pt x="11081" y="6139"/>
                    <a:pt x="11081" y="6139"/>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111"/>
                    <a:pt x="11081" y="6111"/>
                    <a:pt x="11081" y="6111"/>
                  </a:cubicBezTo>
                  <a:cubicBezTo>
                    <a:pt x="11081" y="6054"/>
                    <a:pt x="11242" y="5940"/>
                    <a:pt x="11242" y="5940"/>
                  </a:cubicBezTo>
                  <a:cubicBezTo>
                    <a:pt x="11402" y="5713"/>
                    <a:pt x="11402" y="5713"/>
                    <a:pt x="11402" y="5713"/>
                  </a:cubicBezTo>
                  <a:cubicBezTo>
                    <a:pt x="11804" y="5855"/>
                    <a:pt x="11804" y="5855"/>
                    <a:pt x="11804" y="5855"/>
                  </a:cubicBezTo>
                  <a:cubicBezTo>
                    <a:pt x="12005" y="5855"/>
                    <a:pt x="12005" y="5855"/>
                    <a:pt x="12005" y="5855"/>
                  </a:cubicBezTo>
                  <a:cubicBezTo>
                    <a:pt x="12085" y="5741"/>
                    <a:pt x="12085" y="5741"/>
                    <a:pt x="12085" y="5741"/>
                  </a:cubicBezTo>
                  <a:cubicBezTo>
                    <a:pt x="12045" y="5656"/>
                    <a:pt x="12005" y="5059"/>
                    <a:pt x="12125" y="4945"/>
                  </a:cubicBezTo>
                  <a:cubicBezTo>
                    <a:pt x="12125" y="4945"/>
                    <a:pt x="12687" y="4974"/>
                    <a:pt x="12767" y="4945"/>
                  </a:cubicBezTo>
                  <a:cubicBezTo>
                    <a:pt x="12808" y="4945"/>
                    <a:pt x="13008" y="5002"/>
                    <a:pt x="13048" y="5031"/>
                  </a:cubicBezTo>
                  <a:cubicBezTo>
                    <a:pt x="13048" y="5031"/>
                    <a:pt x="13048" y="5031"/>
                    <a:pt x="13048" y="5031"/>
                  </a:cubicBezTo>
                  <a:cubicBezTo>
                    <a:pt x="13048" y="5031"/>
                    <a:pt x="13048" y="5031"/>
                    <a:pt x="13048" y="5031"/>
                  </a:cubicBezTo>
                  <a:cubicBezTo>
                    <a:pt x="13089" y="5059"/>
                    <a:pt x="13129" y="5059"/>
                    <a:pt x="13169" y="5059"/>
                  </a:cubicBezTo>
                  <a:cubicBezTo>
                    <a:pt x="13249" y="5087"/>
                    <a:pt x="13330" y="5087"/>
                    <a:pt x="13330" y="5087"/>
                  </a:cubicBezTo>
                  <a:cubicBezTo>
                    <a:pt x="13570" y="5059"/>
                    <a:pt x="13570" y="5059"/>
                    <a:pt x="13570" y="5059"/>
                  </a:cubicBezTo>
                  <a:cubicBezTo>
                    <a:pt x="13731" y="4917"/>
                    <a:pt x="13731" y="4917"/>
                    <a:pt x="13731" y="4917"/>
                  </a:cubicBezTo>
                  <a:cubicBezTo>
                    <a:pt x="13570" y="4803"/>
                    <a:pt x="13570" y="4803"/>
                    <a:pt x="13570" y="4803"/>
                  </a:cubicBezTo>
                  <a:cubicBezTo>
                    <a:pt x="13731" y="4661"/>
                    <a:pt x="13731" y="4462"/>
                    <a:pt x="13691" y="4434"/>
                  </a:cubicBezTo>
                  <a:cubicBezTo>
                    <a:pt x="13651" y="4377"/>
                    <a:pt x="13570" y="4121"/>
                    <a:pt x="13530" y="4093"/>
                  </a:cubicBezTo>
                  <a:cubicBezTo>
                    <a:pt x="13530" y="4064"/>
                    <a:pt x="13611" y="4036"/>
                    <a:pt x="13611" y="4036"/>
                  </a:cubicBezTo>
                  <a:cubicBezTo>
                    <a:pt x="13691" y="4036"/>
                    <a:pt x="13691" y="4036"/>
                    <a:pt x="13691" y="4036"/>
                  </a:cubicBezTo>
                  <a:cubicBezTo>
                    <a:pt x="13691" y="4036"/>
                    <a:pt x="13731" y="4007"/>
                    <a:pt x="13771" y="4007"/>
                  </a:cubicBezTo>
                  <a:cubicBezTo>
                    <a:pt x="13972" y="3894"/>
                    <a:pt x="13972" y="3894"/>
                    <a:pt x="13972" y="3894"/>
                  </a:cubicBezTo>
                  <a:cubicBezTo>
                    <a:pt x="14173" y="3922"/>
                    <a:pt x="14173" y="3922"/>
                    <a:pt x="14173" y="3922"/>
                  </a:cubicBezTo>
                  <a:cubicBezTo>
                    <a:pt x="14173" y="3922"/>
                    <a:pt x="14173" y="3894"/>
                    <a:pt x="14213" y="3894"/>
                  </a:cubicBezTo>
                  <a:cubicBezTo>
                    <a:pt x="14253" y="3894"/>
                    <a:pt x="14253" y="3865"/>
                    <a:pt x="14253" y="3865"/>
                  </a:cubicBezTo>
                  <a:cubicBezTo>
                    <a:pt x="14253" y="3865"/>
                    <a:pt x="14132" y="3695"/>
                    <a:pt x="14213" y="3609"/>
                  </a:cubicBezTo>
                  <a:cubicBezTo>
                    <a:pt x="14253" y="3553"/>
                    <a:pt x="1429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373" y="3553"/>
                    <a:pt x="14373" y="3553"/>
                    <a:pt x="14373"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14" y="3553"/>
                    <a:pt x="14414" y="3553"/>
                    <a:pt x="1441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54" y="3553"/>
                    <a:pt x="14454" y="3553"/>
                    <a:pt x="14454" y="3553"/>
                  </a:cubicBezTo>
                  <a:cubicBezTo>
                    <a:pt x="14494" y="3553"/>
                    <a:pt x="14494" y="3553"/>
                    <a:pt x="14494" y="3553"/>
                  </a:cubicBezTo>
                  <a:cubicBezTo>
                    <a:pt x="14494" y="3553"/>
                    <a:pt x="14494" y="3553"/>
                    <a:pt x="14494" y="3553"/>
                  </a:cubicBezTo>
                  <a:cubicBezTo>
                    <a:pt x="14494" y="3553"/>
                    <a:pt x="14494" y="3553"/>
                    <a:pt x="14494" y="3553"/>
                  </a:cubicBezTo>
                  <a:cubicBezTo>
                    <a:pt x="14494" y="3553"/>
                    <a:pt x="14494" y="3553"/>
                    <a:pt x="14494" y="3553"/>
                  </a:cubicBezTo>
                  <a:cubicBezTo>
                    <a:pt x="14534" y="3553"/>
                    <a:pt x="14534" y="3553"/>
                    <a:pt x="14534" y="3553"/>
                  </a:cubicBezTo>
                  <a:cubicBezTo>
                    <a:pt x="14534" y="3553"/>
                    <a:pt x="14534" y="3553"/>
                    <a:pt x="14534" y="3553"/>
                  </a:cubicBezTo>
                  <a:cubicBezTo>
                    <a:pt x="14534" y="3553"/>
                    <a:pt x="14534" y="3553"/>
                    <a:pt x="14534" y="3553"/>
                  </a:cubicBezTo>
                  <a:cubicBezTo>
                    <a:pt x="14534" y="3553"/>
                    <a:pt x="14534" y="3553"/>
                    <a:pt x="14534" y="3553"/>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ubicBezTo>
                    <a:pt x="14534" y="3581"/>
                    <a:pt x="14534" y="3581"/>
                    <a:pt x="14534" y="3581"/>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9" name="Shape 2262">
              <a:extLst>
                <a:ext uri="{FF2B5EF4-FFF2-40B4-BE49-F238E27FC236}">
                  <a16:creationId xmlns:a16="http://schemas.microsoft.com/office/drawing/2014/main" id="{7A76E06A-F1D9-A242-98F5-6815B2AEE5E5}"/>
                </a:ext>
              </a:extLst>
            </p:cNvPr>
            <p:cNvSpPr/>
            <p:nvPr/>
          </p:nvSpPr>
          <p:spPr>
            <a:xfrm>
              <a:off x="5151895" y="0"/>
              <a:ext cx="6100353" cy="5959543"/>
            </a:xfrm>
            <a:custGeom>
              <a:avLst/>
              <a:gdLst/>
              <a:ahLst/>
              <a:cxnLst>
                <a:cxn ang="0">
                  <a:pos x="wd2" y="hd2"/>
                </a:cxn>
                <a:cxn ang="5400000">
                  <a:pos x="wd2" y="hd2"/>
                </a:cxn>
                <a:cxn ang="10800000">
                  <a:pos x="wd2" y="hd2"/>
                </a:cxn>
                <a:cxn ang="16200000">
                  <a:pos x="wd2" y="hd2"/>
                </a:cxn>
              </a:cxnLst>
              <a:rect l="0" t="0" r="r" b="b"/>
              <a:pathLst>
                <a:path w="21600" h="21559" extrusionOk="0">
                  <a:moveTo>
                    <a:pt x="6718" y="15856"/>
                  </a:moveTo>
                  <a:cubicBezTo>
                    <a:pt x="6601" y="15885"/>
                    <a:pt x="6601" y="15885"/>
                    <a:pt x="6601" y="15885"/>
                  </a:cubicBezTo>
                  <a:cubicBezTo>
                    <a:pt x="6601" y="15885"/>
                    <a:pt x="6528" y="15958"/>
                    <a:pt x="6528" y="15929"/>
                  </a:cubicBezTo>
                  <a:cubicBezTo>
                    <a:pt x="6514" y="15900"/>
                    <a:pt x="6543" y="15842"/>
                    <a:pt x="6543" y="15813"/>
                  </a:cubicBezTo>
                  <a:cubicBezTo>
                    <a:pt x="6528" y="15799"/>
                    <a:pt x="6455" y="15842"/>
                    <a:pt x="6470" y="15784"/>
                  </a:cubicBezTo>
                  <a:cubicBezTo>
                    <a:pt x="6484" y="15755"/>
                    <a:pt x="6470" y="15712"/>
                    <a:pt x="6455" y="15697"/>
                  </a:cubicBezTo>
                  <a:cubicBezTo>
                    <a:pt x="6426" y="15668"/>
                    <a:pt x="6338" y="15668"/>
                    <a:pt x="6368" y="15610"/>
                  </a:cubicBezTo>
                  <a:cubicBezTo>
                    <a:pt x="6397" y="15567"/>
                    <a:pt x="6470" y="15538"/>
                    <a:pt x="6470" y="15538"/>
                  </a:cubicBezTo>
                  <a:cubicBezTo>
                    <a:pt x="6470" y="15509"/>
                    <a:pt x="6470" y="15509"/>
                    <a:pt x="6470" y="15509"/>
                  </a:cubicBezTo>
                  <a:cubicBezTo>
                    <a:pt x="6411" y="15451"/>
                    <a:pt x="6411" y="15451"/>
                    <a:pt x="6411" y="15451"/>
                  </a:cubicBezTo>
                  <a:cubicBezTo>
                    <a:pt x="6251" y="15379"/>
                    <a:pt x="6251" y="15379"/>
                    <a:pt x="6251" y="15379"/>
                  </a:cubicBezTo>
                  <a:cubicBezTo>
                    <a:pt x="6251" y="15379"/>
                    <a:pt x="6236" y="15292"/>
                    <a:pt x="6207" y="15292"/>
                  </a:cubicBezTo>
                  <a:cubicBezTo>
                    <a:pt x="6192" y="15278"/>
                    <a:pt x="6148" y="15234"/>
                    <a:pt x="6148" y="15234"/>
                  </a:cubicBezTo>
                  <a:cubicBezTo>
                    <a:pt x="6148" y="15234"/>
                    <a:pt x="6105" y="15176"/>
                    <a:pt x="6046" y="15162"/>
                  </a:cubicBezTo>
                  <a:cubicBezTo>
                    <a:pt x="5988" y="15133"/>
                    <a:pt x="5944" y="15263"/>
                    <a:pt x="5944" y="15263"/>
                  </a:cubicBezTo>
                  <a:cubicBezTo>
                    <a:pt x="5886" y="15205"/>
                    <a:pt x="5886" y="15205"/>
                    <a:pt x="5886" y="15205"/>
                  </a:cubicBezTo>
                  <a:cubicBezTo>
                    <a:pt x="5769" y="15249"/>
                    <a:pt x="5769" y="15249"/>
                    <a:pt x="5769" y="15249"/>
                  </a:cubicBezTo>
                  <a:cubicBezTo>
                    <a:pt x="5681" y="15379"/>
                    <a:pt x="5681" y="15379"/>
                    <a:pt x="5681" y="15379"/>
                  </a:cubicBezTo>
                  <a:cubicBezTo>
                    <a:pt x="5623" y="15393"/>
                    <a:pt x="5623" y="15393"/>
                    <a:pt x="5623" y="15393"/>
                  </a:cubicBezTo>
                  <a:cubicBezTo>
                    <a:pt x="5535" y="15408"/>
                    <a:pt x="5535" y="15408"/>
                    <a:pt x="5535" y="15408"/>
                  </a:cubicBezTo>
                  <a:cubicBezTo>
                    <a:pt x="5404" y="15437"/>
                    <a:pt x="5404" y="15437"/>
                    <a:pt x="5404" y="15437"/>
                  </a:cubicBezTo>
                  <a:cubicBezTo>
                    <a:pt x="5374" y="15524"/>
                    <a:pt x="5374" y="15524"/>
                    <a:pt x="5374" y="15524"/>
                  </a:cubicBezTo>
                  <a:cubicBezTo>
                    <a:pt x="5389" y="15610"/>
                    <a:pt x="5389" y="15610"/>
                    <a:pt x="5389" y="15610"/>
                  </a:cubicBezTo>
                  <a:cubicBezTo>
                    <a:pt x="5316" y="15668"/>
                    <a:pt x="5316" y="15668"/>
                    <a:pt x="5316" y="15668"/>
                  </a:cubicBezTo>
                  <a:cubicBezTo>
                    <a:pt x="5141" y="15654"/>
                    <a:pt x="5141" y="15654"/>
                    <a:pt x="5141" y="15654"/>
                  </a:cubicBezTo>
                  <a:cubicBezTo>
                    <a:pt x="5170" y="15654"/>
                    <a:pt x="5170" y="15654"/>
                    <a:pt x="5170" y="15654"/>
                  </a:cubicBezTo>
                  <a:cubicBezTo>
                    <a:pt x="5068" y="15596"/>
                    <a:pt x="5068" y="15596"/>
                    <a:pt x="5068" y="15596"/>
                  </a:cubicBezTo>
                  <a:cubicBezTo>
                    <a:pt x="5068" y="15553"/>
                    <a:pt x="5068" y="15553"/>
                    <a:pt x="5068" y="15553"/>
                  </a:cubicBezTo>
                  <a:cubicBezTo>
                    <a:pt x="5009" y="15553"/>
                    <a:pt x="5009" y="15553"/>
                    <a:pt x="5009" y="15553"/>
                  </a:cubicBezTo>
                  <a:cubicBezTo>
                    <a:pt x="4966" y="15538"/>
                    <a:pt x="4966" y="15538"/>
                    <a:pt x="4966" y="15538"/>
                  </a:cubicBezTo>
                  <a:cubicBezTo>
                    <a:pt x="4995" y="15509"/>
                    <a:pt x="4995" y="15509"/>
                    <a:pt x="4995" y="15509"/>
                  </a:cubicBezTo>
                  <a:cubicBezTo>
                    <a:pt x="4966" y="15466"/>
                    <a:pt x="4966" y="15466"/>
                    <a:pt x="4966" y="15466"/>
                  </a:cubicBezTo>
                  <a:cubicBezTo>
                    <a:pt x="4922" y="15379"/>
                    <a:pt x="4922" y="15379"/>
                    <a:pt x="4922" y="15379"/>
                  </a:cubicBezTo>
                  <a:cubicBezTo>
                    <a:pt x="4951" y="15350"/>
                    <a:pt x="4951" y="15350"/>
                    <a:pt x="4951" y="15350"/>
                  </a:cubicBezTo>
                  <a:cubicBezTo>
                    <a:pt x="4892" y="15321"/>
                    <a:pt x="4892" y="15321"/>
                    <a:pt x="4892" y="15321"/>
                  </a:cubicBezTo>
                  <a:cubicBezTo>
                    <a:pt x="4863" y="15292"/>
                    <a:pt x="4863" y="15292"/>
                    <a:pt x="4863" y="15292"/>
                  </a:cubicBezTo>
                  <a:cubicBezTo>
                    <a:pt x="4892" y="15234"/>
                    <a:pt x="4892" y="15234"/>
                    <a:pt x="4892" y="15234"/>
                  </a:cubicBezTo>
                  <a:cubicBezTo>
                    <a:pt x="4863" y="15191"/>
                    <a:pt x="4863" y="15191"/>
                    <a:pt x="4863" y="15191"/>
                  </a:cubicBezTo>
                  <a:cubicBezTo>
                    <a:pt x="4819" y="15133"/>
                    <a:pt x="4819" y="15133"/>
                    <a:pt x="4819" y="15133"/>
                  </a:cubicBezTo>
                  <a:cubicBezTo>
                    <a:pt x="4746" y="15119"/>
                    <a:pt x="4746" y="15119"/>
                    <a:pt x="4746" y="15119"/>
                  </a:cubicBezTo>
                  <a:cubicBezTo>
                    <a:pt x="4688" y="15075"/>
                    <a:pt x="4688" y="15075"/>
                    <a:pt x="4688" y="15075"/>
                  </a:cubicBezTo>
                  <a:cubicBezTo>
                    <a:pt x="4688" y="15032"/>
                    <a:pt x="4688" y="15032"/>
                    <a:pt x="4688" y="15032"/>
                  </a:cubicBezTo>
                  <a:cubicBezTo>
                    <a:pt x="4717" y="14930"/>
                    <a:pt x="4717" y="14930"/>
                    <a:pt x="4717" y="14930"/>
                  </a:cubicBezTo>
                  <a:cubicBezTo>
                    <a:pt x="4717" y="14930"/>
                    <a:pt x="4717" y="14916"/>
                    <a:pt x="4776" y="14887"/>
                  </a:cubicBezTo>
                  <a:cubicBezTo>
                    <a:pt x="4834" y="14873"/>
                    <a:pt x="4849" y="14887"/>
                    <a:pt x="4849" y="14887"/>
                  </a:cubicBezTo>
                  <a:cubicBezTo>
                    <a:pt x="4936" y="14916"/>
                    <a:pt x="4936" y="14916"/>
                    <a:pt x="4936" y="14916"/>
                  </a:cubicBezTo>
                  <a:cubicBezTo>
                    <a:pt x="5039" y="14887"/>
                    <a:pt x="5039" y="14887"/>
                    <a:pt x="5039" y="14887"/>
                  </a:cubicBezTo>
                  <a:cubicBezTo>
                    <a:pt x="5039" y="14887"/>
                    <a:pt x="5141" y="14800"/>
                    <a:pt x="5155" y="14786"/>
                  </a:cubicBezTo>
                  <a:cubicBezTo>
                    <a:pt x="5185" y="14771"/>
                    <a:pt x="5155" y="14699"/>
                    <a:pt x="5155" y="14699"/>
                  </a:cubicBezTo>
                  <a:cubicBezTo>
                    <a:pt x="5214" y="14685"/>
                    <a:pt x="5214" y="14685"/>
                    <a:pt x="5214" y="14685"/>
                  </a:cubicBezTo>
                  <a:cubicBezTo>
                    <a:pt x="5243" y="14641"/>
                    <a:pt x="5243" y="14641"/>
                    <a:pt x="5243" y="14641"/>
                  </a:cubicBezTo>
                  <a:cubicBezTo>
                    <a:pt x="5243" y="14554"/>
                    <a:pt x="5243" y="14554"/>
                    <a:pt x="5243" y="14554"/>
                  </a:cubicBezTo>
                  <a:cubicBezTo>
                    <a:pt x="5170" y="14525"/>
                    <a:pt x="5170" y="14525"/>
                    <a:pt x="5170" y="14525"/>
                  </a:cubicBezTo>
                  <a:cubicBezTo>
                    <a:pt x="5112" y="14511"/>
                    <a:pt x="5112" y="14511"/>
                    <a:pt x="5112" y="14511"/>
                  </a:cubicBezTo>
                  <a:cubicBezTo>
                    <a:pt x="5053" y="14468"/>
                    <a:pt x="5053" y="14468"/>
                    <a:pt x="5053" y="14468"/>
                  </a:cubicBezTo>
                  <a:cubicBezTo>
                    <a:pt x="5082" y="14395"/>
                    <a:pt x="5082" y="14395"/>
                    <a:pt x="5082" y="14395"/>
                  </a:cubicBezTo>
                  <a:cubicBezTo>
                    <a:pt x="5009" y="14395"/>
                    <a:pt x="5009" y="14395"/>
                    <a:pt x="5009" y="14395"/>
                  </a:cubicBezTo>
                  <a:cubicBezTo>
                    <a:pt x="4936" y="14381"/>
                    <a:pt x="4936" y="14381"/>
                    <a:pt x="4936" y="14381"/>
                  </a:cubicBezTo>
                  <a:cubicBezTo>
                    <a:pt x="4878" y="14366"/>
                    <a:pt x="4878" y="14366"/>
                    <a:pt x="4878" y="14366"/>
                  </a:cubicBezTo>
                  <a:cubicBezTo>
                    <a:pt x="4834" y="14381"/>
                    <a:pt x="4834" y="14381"/>
                    <a:pt x="4834" y="14381"/>
                  </a:cubicBezTo>
                  <a:cubicBezTo>
                    <a:pt x="4790" y="14424"/>
                    <a:pt x="4790" y="14424"/>
                    <a:pt x="4790" y="14424"/>
                  </a:cubicBezTo>
                  <a:cubicBezTo>
                    <a:pt x="4717" y="14424"/>
                    <a:pt x="4717" y="14424"/>
                    <a:pt x="4717" y="14424"/>
                  </a:cubicBezTo>
                  <a:cubicBezTo>
                    <a:pt x="4703" y="14294"/>
                    <a:pt x="4703" y="14294"/>
                    <a:pt x="4703" y="14294"/>
                  </a:cubicBezTo>
                  <a:cubicBezTo>
                    <a:pt x="4673" y="14236"/>
                    <a:pt x="4673" y="14236"/>
                    <a:pt x="4673" y="14236"/>
                  </a:cubicBezTo>
                  <a:cubicBezTo>
                    <a:pt x="4600" y="14207"/>
                    <a:pt x="4600" y="14207"/>
                    <a:pt x="4600" y="14207"/>
                  </a:cubicBezTo>
                  <a:cubicBezTo>
                    <a:pt x="4440" y="14178"/>
                    <a:pt x="4440" y="14178"/>
                    <a:pt x="4440" y="14178"/>
                  </a:cubicBezTo>
                  <a:cubicBezTo>
                    <a:pt x="4367" y="14077"/>
                    <a:pt x="4367" y="14077"/>
                    <a:pt x="4367" y="14077"/>
                  </a:cubicBezTo>
                  <a:cubicBezTo>
                    <a:pt x="4352" y="14033"/>
                    <a:pt x="4352" y="14033"/>
                    <a:pt x="4352" y="14033"/>
                  </a:cubicBezTo>
                  <a:cubicBezTo>
                    <a:pt x="4352" y="14033"/>
                    <a:pt x="4338" y="14033"/>
                    <a:pt x="4294" y="14019"/>
                  </a:cubicBezTo>
                  <a:cubicBezTo>
                    <a:pt x="4250" y="14019"/>
                    <a:pt x="4279" y="13976"/>
                    <a:pt x="4279" y="13976"/>
                  </a:cubicBezTo>
                  <a:cubicBezTo>
                    <a:pt x="4279" y="13903"/>
                    <a:pt x="4279" y="13903"/>
                    <a:pt x="4279" y="13903"/>
                  </a:cubicBezTo>
                  <a:cubicBezTo>
                    <a:pt x="4221" y="13903"/>
                    <a:pt x="4221" y="13903"/>
                    <a:pt x="4221" y="13903"/>
                  </a:cubicBezTo>
                  <a:cubicBezTo>
                    <a:pt x="4162" y="13845"/>
                    <a:pt x="4162" y="13845"/>
                    <a:pt x="4162" y="13845"/>
                  </a:cubicBezTo>
                  <a:cubicBezTo>
                    <a:pt x="4060" y="13816"/>
                    <a:pt x="4060" y="13816"/>
                    <a:pt x="4060" y="13816"/>
                  </a:cubicBezTo>
                  <a:cubicBezTo>
                    <a:pt x="4104" y="13701"/>
                    <a:pt x="4104" y="13701"/>
                    <a:pt x="4104" y="13701"/>
                  </a:cubicBezTo>
                  <a:cubicBezTo>
                    <a:pt x="4104" y="13657"/>
                    <a:pt x="4104" y="13657"/>
                    <a:pt x="4104" y="13657"/>
                  </a:cubicBezTo>
                  <a:cubicBezTo>
                    <a:pt x="4118" y="13585"/>
                    <a:pt x="4118" y="13585"/>
                    <a:pt x="4118" y="13585"/>
                  </a:cubicBezTo>
                  <a:cubicBezTo>
                    <a:pt x="4075" y="13542"/>
                    <a:pt x="4075" y="13542"/>
                    <a:pt x="4075" y="13542"/>
                  </a:cubicBezTo>
                  <a:cubicBezTo>
                    <a:pt x="3987" y="13484"/>
                    <a:pt x="3987" y="13484"/>
                    <a:pt x="3987" y="13484"/>
                  </a:cubicBezTo>
                  <a:cubicBezTo>
                    <a:pt x="3987" y="13440"/>
                    <a:pt x="3987" y="13440"/>
                    <a:pt x="3987" y="13440"/>
                  </a:cubicBezTo>
                  <a:cubicBezTo>
                    <a:pt x="3987" y="13397"/>
                    <a:pt x="3987" y="13397"/>
                    <a:pt x="3987" y="13397"/>
                  </a:cubicBezTo>
                  <a:cubicBezTo>
                    <a:pt x="3987" y="13281"/>
                    <a:pt x="3987" y="13281"/>
                    <a:pt x="3987" y="13281"/>
                  </a:cubicBezTo>
                  <a:cubicBezTo>
                    <a:pt x="3958" y="13223"/>
                    <a:pt x="3958" y="13223"/>
                    <a:pt x="3958" y="13223"/>
                  </a:cubicBezTo>
                  <a:cubicBezTo>
                    <a:pt x="3899" y="13252"/>
                    <a:pt x="3899" y="13252"/>
                    <a:pt x="3899" y="13252"/>
                  </a:cubicBezTo>
                  <a:cubicBezTo>
                    <a:pt x="3885" y="13223"/>
                    <a:pt x="3885" y="13223"/>
                    <a:pt x="3885" y="13223"/>
                  </a:cubicBezTo>
                  <a:cubicBezTo>
                    <a:pt x="3841" y="13238"/>
                    <a:pt x="3841" y="13238"/>
                    <a:pt x="3841" y="13238"/>
                  </a:cubicBezTo>
                  <a:cubicBezTo>
                    <a:pt x="3797" y="13209"/>
                    <a:pt x="3797" y="13209"/>
                    <a:pt x="3797" y="13209"/>
                  </a:cubicBezTo>
                  <a:cubicBezTo>
                    <a:pt x="3753" y="13165"/>
                    <a:pt x="3753" y="13165"/>
                    <a:pt x="3753" y="13165"/>
                  </a:cubicBezTo>
                  <a:cubicBezTo>
                    <a:pt x="3622" y="13137"/>
                    <a:pt x="3622" y="13137"/>
                    <a:pt x="3622" y="13137"/>
                  </a:cubicBezTo>
                  <a:cubicBezTo>
                    <a:pt x="3622" y="13137"/>
                    <a:pt x="3578" y="13151"/>
                    <a:pt x="3520" y="13165"/>
                  </a:cubicBezTo>
                  <a:cubicBezTo>
                    <a:pt x="3476" y="13180"/>
                    <a:pt x="3490" y="13194"/>
                    <a:pt x="3461" y="13194"/>
                  </a:cubicBezTo>
                  <a:cubicBezTo>
                    <a:pt x="3432" y="13209"/>
                    <a:pt x="3417" y="13238"/>
                    <a:pt x="3417" y="13267"/>
                  </a:cubicBezTo>
                  <a:cubicBezTo>
                    <a:pt x="3403" y="13296"/>
                    <a:pt x="3344" y="13310"/>
                    <a:pt x="3330" y="13310"/>
                  </a:cubicBezTo>
                  <a:cubicBezTo>
                    <a:pt x="3301" y="13325"/>
                    <a:pt x="3271" y="13281"/>
                    <a:pt x="3271" y="13281"/>
                  </a:cubicBezTo>
                  <a:cubicBezTo>
                    <a:pt x="3271" y="13238"/>
                    <a:pt x="3271" y="13238"/>
                    <a:pt x="3271" y="13238"/>
                  </a:cubicBezTo>
                  <a:cubicBezTo>
                    <a:pt x="3257" y="13151"/>
                    <a:pt x="3257" y="13151"/>
                    <a:pt x="3257" y="13151"/>
                  </a:cubicBezTo>
                  <a:cubicBezTo>
                    <a:pt x="3140" y="13151"/>
                    <a:pt x="3140" y="13151"/>
                    <a:pt x="3140" y="13151"/>
                  </a:cubicBezTo>
                  <a:cubicBezTo>
                    <a:pt x="3038" y="13180"/>
                    <a:pt x="3038" y="13180"/>
                    <a:pt x="3038" y="13180"/>
                  </a:cubicBezTo>
                  <a:cubicBezTo>
                    <a:pt x="3023" y="13209"/>
                    <a:pt x="3023" y="13209"/>
                    <a:pt x="3023" y="13209"/>
                  </a:cubicBezTo>
                  <a:cubicBezTo>
                    <a:pt x="2950" y="13209"/>
                    <a:pt x="2950" y="13209"/>
                    <a:pt x="2950" y="13209"/>
                  </a:cubicBezTo>
                  <a:cubicBezTo>
                    <a:pt x="2921" y="13151"/>
                    <a:pt x="2921" y="13151"/>
                    <a:pt x="2921" y="13151"/>
                  </a:cubicBezTo>
                  <a:cubicBezTo>
                    <a:pt x="2877" y="13137"/>
                    <a:pt x="2877" y="13137"/>
                    <a:pt x="2877" y="13137"/>
                  </a:cubicBezTo>
                  <a:cubicBezTo>
                    <a:pt x="2804" y="13165"/>
                    <a:pt x="2804" y="13165"/>
                    <a:pt x="2804" y="13165"/>
                  </a:cubicBezTo>
                  <a:cubicBezTo>
                    <a:pt x="2804" y="13165"/>
                    <a:pt x="2789" y="13194"/>
                    <a:pt x="2775" y="13194"/>
                  </a:cubicBezTo>
                  <a:cubicBezTo>
                    <a:pt x="2760" y="13209"/>
                    <a:pt x="2746" y="13194"/>
                    <a:pt x="2731" y="13194"/>
                  </a:cubicBezTo>
                  <a:cubicBezTo>
                    <a:pt x="2716" y="13194"/>
                    <a:pt x="2687" y="13180"/>
                    <a:pt x="2673" y="13165"/>
                  </a:cubicBezTo>
                  <a:cubicBezTo>
                    <a:pt x="2673" y="13151"/>
                    <a:pt x="2673" y="13137"/>
                    <a:pt x="2673" y="13122"/>
                  </a:cubicBezTo>
                  <a:cubicBezTo>
                    <a:pt x="2673" y="13108"/>
                    <a:pt x="2673" y="13079"/>
                    <a:pt x="2673" y="13079"/>
                  </a:cubicBezTo>
                  <a:cubicBezTo>
                    <a:pt x="2687" y="13006"/>
                    <a:pt x="2687" y="13006"/>
                    <a:pt x="2687" y="13006"/>
                  </a:cubicBezTo>
                  <a:cubicBezTo>
                    <a:pt x="2687" y="13006"/>
                    <a:pt x="2629" y="12963"/>
                    <a:pt x="2614" y="12948"/>
                  </a:cubicBezTo>
                  <a:cubicBezTo>
                    <a:pt x="2614" y="12919"/>
                    <a:pt x="2600" y="12876"/>
                    <a:pt x="2600" y="12876"/>
                  </a:cubicBezTo>
                  <a:cubicBezTo>
                    <a:pt x="2600" y="12876"/>
                    <a:pt x="2570" y="12862"/>
                    <a:pt x="2556" y="12847"/>
                  </a:cubicBezTo>
                  <a:cubicBezTo>
                    <a:pt x="2541" y="12847"/>
                    <a:pt x="2527" y="12833"/>
                    <a:pt x="2527" y="12833"/>
                  </a:cubicBezTo>
                  <a:cubicBezTo>
                    <a:pt x="2541" y="12789"/>
                    <a:pt x="2541" y="12789"/>
                    <a:pt x="2541" y="12789"/>
                  </a:cubicBezTo>
                  <a:cubicBezTo>
                    <a:pt x="2483" y="12760"/>
                    <a:pt x="2483" y="12760"/>
                    <a:pt x="2483" y="12760"/>
                  </a:cubicBezTo>
                  <a:cubicBezTo>
                    <a:pt x="2410" y="12702"/>
                    <a:pt x="2410" y="12702"/>
                    <a:pt x="2410" y="12702"/>
                  </a:cubicBezTo>
                  <a:cubicBezTo>
                    <a:pt x="2439" y="12659"/>
                    <a:pt x="2439" y="12659"/>
                    <a:pt x="2439" y="12659"/>
                  </a:cubicBezTo>
                  <a:cubicBezTo>
                    <a:pt x="2381" y="12616"/>
                    <a:pt x="2381" y="12616"/>
                    <a:pt x="2381" y="12616"/>
                  </a:cubicBezTo>
                  <a:cubicBezTo>
                    <a:pt x="2322" y="12659"/>
                    <a:pt x="2322" y="12659"/>
                    <a:pt x="2322" y="12659"/>
                  </a:cubicBezTo>
                  <a:cubicBezTo>
                    <a:pt x="2322" y="12601"/>
                    <a:pt x="2322" y="12601"/>
                    <a:pt x="2322" y="12601"/>
                  </a:cubicBezTo>
                  <a:cubicBezTo>
                    <a:pt x="2293" y="12485"/>
                    <a:pt x="2293" y="12485"/>
                    <a:pt x="2293" y="12485"/>
                  </a:cubicBezTo>
                  <a:cubicBezTo>
                    <a:pt x="2322" y="12442"/>
                    <a:pt x="2322" y="12442"/>
                    <a:pt x="2322" y="12442"/>
                  </a:cubicBezTo>
                  <a:cubicBezTo>
                    <a:pt x="2308" y="12297"/>
                    <a:pt x="2308" y="12297"/>
                    <a:pt x="2308" y="12297"/>
                  </a:cubicBezTo>
                  <a:cubicBezTo>
                    <a:pt x="2308" y="12297"/>
                    <a:pt x="2278" y="12283"/>
                    <a:pt x="2264" y="12283"/>
                  </a:cubicBezTo>
                  <a:cubicBezTo>
                    <a:pt x="2249" y="12283"/>
                    <a:pt x="2205" y="12254"/>
                    <a:pt x="2205" y="12254"/>
                  </a:cubicBezTo>
                  <a:cubicBezTo>
                    <a:pt x="2147" y="12240"/>
                    <a:pt x="2147" y="12240"/>
                    <a:pt x="2147" y="12240"/>
                  </a:cubicBezTo>
                  <a:cubicBezTo>
                    <a:pt x="2147" y="12196"/>
                    <a:pt x="2147" y="12196"/>
                    <a:pt x="2147" y="12196"/>
                  </a:cubicBezTo>
                  <a:cubicBezTo>
                    <a:pt x="2103" y="12153"/>
                    <a:pt x="2103" y="12153"/>
                    <a:pt x="2103" y="12153"/>
                  </a:cubicBezTo>
                  <a:cubicBezTo>
                    <a:pt x="2059" y="12167"/>
                    <a:pt x="2059" y="12167"/>
                    <a:pt x="2059" y="12167"/>
                  </a:cubicBezTo>
                  <a:cubicBezTo>
                    <a:pt x="2059" y="12167"/>
                    <a:pt x="2045" y="12167"/>
                    <a:pt x="2045" y="12153"/>
                  </a:cubicBezTo>
                  <a:cubicBezTo>
                    <a:pt x="2045" y="12138"/>
                    <a:pt x="2015" y="12080"/>
                    <a:pt x="2015" y="12080"/>
                  </a:cubicBezTo>
                  <a:cubicBezTo>
                    <a:pt x="2059" y="12037"/>
                    <a:pt x="2059" y="12037"/>
                    <a:pt x="2059" y="12037"/>
                  </a:cubicBezTo>
                  <a:cubicBezTo>
                    <a:pt x="2059" y="12037"/>
                    <a:pt x="2059" y="11979"/>
                    <a:pt x="2059" y="11965"/>
                  </a:cubicBezTo>
                  <a:cubicBezTo>
                    <a:pt x="2059" y="11936"/>
                    <a:pt x="2132" y="11936"/>
                    <a:pt x="2132" y="11936"/>
                  </a:cubicBezTo>
                  <a:cubicBezTo>
                    <a:pt x="2161" y="11921"/>
                    <a:pt x="2161" y="11921"/>
                    <a:pt x="2161" y="11921"/>
                  </a:cubicBezTo>
                  <a:cubicBezTo>
                    <a:pt x="2176" y="11863"/>
                    <a:pt x="2176" y="11863"/>
                    <a:pt x="2176" y="11863"/>
                  </a:cubicBezTo>
                  <a:cubicBezTo>
                    <a:pt x="2176" y="11863"/>
                    <a:pt x="2132" y="11863"/>
                    <a:pt x="2103" y="11834"/>
                  </a:cubicBezTo>
                  <a:cubicBezTo>
                    <a:pt x="2088" y="11805"/>
                    <a:pt x="2103" y="11834"/>
                    <a:pt x="2103" y="11820"/>
                  </a:cubicBezTo>
                  <a:cubicBezTo>
                    <a:pt x="2103" y="11805"/>
                    <a:pt x="2088" y="11820"/>
                    <a:pt x="2088" y="11820"/>
                  </a:cubicBezTo>
                  <a:cubicBezTo>
                    <a:pt x="2088" y="11820"/>
                    <a:pt x="2074" y="11805"/>
                    <a:pt x="2074" y="11791"/>
                  </a:cubicBezTo>
                  <a:cubicBezTo>
                    <a:pt x="2074" y="11777"/>
                    <a:pt x="2074" y="11748"/>
                    <a:pt x="2059" y="11733"/>
                  </a:cubicBezTo>
                  <a:cubicBezTo>
                    <a:pt x="2045" y="11719"/>
                    <a:pt x="2015" y="11704"/>
                    <a:pt x="2015" y="11704"/>
                  </a:cubicBezTo>
                  <a:cubicBezTo>
                    <a:pt x="2001" y="11690"/>
                    <a:pt x="2001" y="11704"/>
                    <a:pt x="1972" y="11675"/>
                  </a:cubicBezTo>
                  <a:cubicBezTo>
                    <a:pt x="1957" y="11646"/>
                    <a:pt x="1957" y="11632"/>
                    <a:pt x="1957" y="11632"/>
                  </a:cubicBezTo>
                  <a:cubicBezTo>
                    <a:pt x="1913" y="11603"/>
                    <a:pt x="1942" y="11531"/>
                    <a:pt x="1913" y="11502"/>
                  </a:cubicBezTo>
                  <a:cubicBezTo>
                    <a:pt x="1855" y="11444"/>
                    <a:pt x="1855" y="11343"/>
                    <a:pt x="1826" y="11314"/>
                  </a:cubicBezTo>
                  <a:cubicBezTo>
                    <a:pt x="1782" y="11241"/>
                    <a:pt x="1811" y="11227"/>
                    <a:pt x="1826" y="11183"/>
                  </a:cubicBezTo>
                  <a:cubicBezTo>
                    <a:pt x="1840" y="11097"/>
                    <a:pt x="1884" y="11024"/>
                    <a:pt x="1899" y="10880"/>
                  </a:cubicBezTo>
                  <a:cubicBezTo>
                    <a:pt x="1899" y="10778"/>
                    <a:pt x="1899" y="10778"/>
                    <a:pt x="1899" y="10778"/>
                  </a:cubicBezTo>
                  <a:cubicBezTo>
                    <a:pt x="1972" y="10720"/>
                    <a:pt x="1972" y="10720"/>
                    <a:pt x="1972" y="10720"/>
                  </a:cubicBezTo>
                  <a:cubicBezTo>
                    <a:pt x="1972" y="10691"/>
                    <a:pt x="1972" y="10691"/>
                    <a:pt x="1972" y="10691"/>
                  </a:cubicBezTo>
                  <a:cubicBezTo>
                    <a:pt x="1899" y="10663"/>
                    <a:pt x="1899" y="10663"/>
                    <a:pt x="1899" y="10663"/>
                  </a:cubicBezTo>
                  <a:cubicBezTo>
                    <a:pt x="1899" y="10663"/>
                    <a:pt x="1899" y="10663"/>
                    <a:pt x="1899" y="10663"/>
                  </a:cubicBezTo>
                  <a:cubicBezTo>
                    <a:pt x="1899" y="10634"/>
                    <a:pt x="1899" y="10634"/>
                    <a:pt x="1899" y="10634"/>
                  </a:cubicBezTo>
                  <a:cubicBezTo>
                    <a:pt x="1855" y="10474"/>
                    <a:pt x="1855" y="10474"/>
                    <a:pt x="1855" y="10474"/>
                  </a:cubicBezTo>
                  <a:cubicBezTo>
                    <a:pt x="1869" y="10402"/>
                    <a:pt x="1869" y="10402"/>
                    <a:pt x="1869" y="10402"/>
                  </a:cubicBezTo>
                  <a:cubicBezTo>
                    <a:pt x="1913" y="10446"/>
                    <a:pt x="1913" y="10446"/>
                    <a:pt x="1913" y="10446"/>
                  </a:cubicBezTo>
                  <a:cubicBezTo>
                    <a:pt x="1957" y="10460"/>
                    <a:pt x="1957" y="10460"/>
                    <a:pt x="1957" y="10460"/>
                  </a:cubicBezTo>
                  <a:cubicBezTo>
                    <a:pt x="2001" y="10417"/>
                    <a:pt x="2001" y="10417"/>
                    <a:pt x="2001" y="10417"/>
                  </a:cubicBezTo>
                  <a:cubicBezTo>
                    <a:pt x="1986" y="10344"/>
                    <a:pt x="1986" y="10344"/>
                    <a:pt x="1986" y="10344"/>
                  </a:cubicBezTo>
                  <a:cubicBezTo>
                    <a:pt x="1986" y="10344"/>
                    <a:pt x="2001" y="10301"/>
                    <a:pt x="2015" y="10301"/>
                  </a:cubicBezTo>
                  <a:cubicBezTo>
                    <a:pt x="2030" y="10315"/>
                    <a:pt x="2118" y="10315"/>
                    <a:pt x="2118" y="10315"/>
                  </a:cubicBezTo>
                  <a:cubicBezTo>
                    <a:pt x="2161" y="10272"/>
                    <a:pt x="2161" y="10272"/>
                    <a:pt x="2161" y="10272"/>
                  </a:cubicBezTo>
                  <a:cubicBezTo>
                    <a:pt x="2161" y="10185"/>
                    <a:pt x="2161" y="10185"/>
                    <a:pt x="2161" y="10185"/>
                  </a:cubicBezTo>
                  <a:cubicBezTo>
                    <a:pt x="2205" y="10127"/>
                    <a:pt x="2205" y="10127"/>
                    <a:pt x="2205" y="10127"/>
                  </a:cubicBezTo>
                  <a:cubicBezTo>
                    <a:pt x="2293" y="10113"/>
                    <a:pt x="2293" y="10113"/>
                    <a:pt x="2293" y="10113"/>
                  </a:cubicBezTo>
                  <a:cubicBezTo>
                    <a:pt x="2293" y="10113"/>
                    <a:pt x="2454" y="10113"/>
                    <a:pt x="2468" y="10127"/>
                  </a:cubicBezTo>
                  <a:cubicBezTo>
                    <a:pt x="2483" y="10127"/>
                    <a:pt x="2556" y="10127"/>
                    <a:pt x="2570" y="10127"/>
                  </a:cubicBezTo>
                  <a:cubicBezTo>
                    <a:pt x="2585" y="10127"/>
                    <a:pt x="2673" y="10127"/>
                    <a:pt x="2673" y="10127"/>
                  </a:cubicBezTo>
                  <a:cubicBezTo>
                    <a:pt x="2702" y="10069"/>
                    <a:pt x="2702" y="10069"/>
                    <a:pt x="2702" y="10069"/>
                  </a:cubicBezTo>
                  <a:cubicBezTo>
                    <a:pt x="2585" y="10040"/>
                    <a:pt x="2585" y="10040"/>
                    <a:pt x="2585" y="10040"/>
                  </a:cubicBezTo>
                  <a:cubicBezTo>
                    <a:pt x="2497" y="10026"/>
                    <a:pt x="2497" y="10026"/>
                    <a:pt x="2497" y="10026"/>
                  </a:cubicBezTo>
                  <a:cubicBezTo>
                    <a:pt x="2454" y="9954"/>
                    <a:pt x="2454" y="9954"/>
                    <a:pt x="2454" y="9954"/>
                  </a:cubicBezTo>
                  <a:cubicBezTo>
                    <a:pt x="2366" y="9954"/>
                    <a:pt x="2366" y="9954"/>
                    <a:pt x="2366" y="9954"/>
                  </a:cubicBezTo>
                  <a:cubicBezTo>
                    <a:pt x="2249" y="9983"/>
                    <a:pt x="2249" y="9983"/>
                    <a:pt x="2249" y="9983"/>
                  </a:cubicBezTo>
                  <a:cubicBezTo>
                    <a:pt x="2176" y="9997"/>
                    <a:pt x="2176" y="9997"/>
                    <a:pt x="2176" y="9997"/>
                  </a:cubicBezTo>
                  <a:cubicBezTo>
                    <a:pt x="2074" y="9983"/>
                    <a:pt x="2074" y="9983"/>
                    <a:pt x="2074" y="9983"/>
                  </a:cubicBezTo>
                  <a:cubicBezTo>
                    <a:pt x="2045" y="9939"/>
                    <a:pt x="2045" y="9939"/>
                    <a:pt x="2045" y="9939"/>
                  </a:cubicBezTo>
                  <a:cubicBezTo>
                    <a:pt x="2045" y="9939"/>
                    <a:pt x="1972" y="9925"/>
                    <a:pt x="1957" y="9925"/>
                  </a:cubicBezTo>
                  <a:cubicBezTo>
                    <a:pt x="1942" y="9925"/>
                    <a:pt x="1928" y="9925"/>
                    <a:pt x="1913" y="9910"/>
                  </a:cubicBezTo>
                  <a:cubicBezTo>
                    <a:pt x="1884" y="9910"/>
                    <a:pt x="1840" y="9809"/>
                    <a:pt x="1840" y="9809"/>
                  </a:cubicBezTo>
                  <a:cubicBezTo>
                    <a:pt x="1840" y="9751"/>
                    <a:pt x="1840" y="9751"/>
                    <a:pt x="1840" y="9751"/>
                  </a:cubicBezTo>
                  <a:cubicBezTo>
                    <a:pt x="1884" y="9809"/>
                    <a:pt x="1884" y="9809"/>
                    <a:pt x="1884" y="9809"/>
                  </a:cubicBezTo>
                  <a:cubicBezTo>
                    <a:pt x="1884" y="9809"/>
                    <a:pt x="1913" y="9823"/>
                    <a:pt x="1913" y="9809"/>
                  </a:cubicBezTo>
                  <a:cubicBezTo>
                    <a:pt x="1913" y="9795"/>
                    <a:pt x="1899" y="9708"/>
                    <a:pt x="1899" y="9708"/>
                  </a:cubicBezTo>
                  <a:cubicBezTo>
                    <a:pt x="1899" y="9708"/>
                    <a:pt x="1913" y="9621"/>
                    <a:pt x="1869" y="9635"/>
                  </a:cubicBezTo>
                  <a:cubicBezTo>
                    <a:pt x="1826" y="9650"/>
                    <a:pt x="1782" y="9679"/>
                    <a:pt x="1782" y="9708"/>
                  </a:cubicBezTo>
                  <a:cubicBezTo>
                    <a:pt x="1782" y="9722"/>
                    <a:pt x="1753" y="9766"/>
                    <a:pt x="1753" y="9795"/>
                  </a:cubicBezTo>
                  <a:cubicBezTo>
                    <a:pt x="1738" y="9809"/>
                    <a:pt x="1723" y="9823"/>
                    <a:pt x="1709" y="9838"/>
                  </a:cubicBezTo>
                  <a:cubicBezTo>
                    <a:pt x="1694" y="9852"/>
                    <a:pt x="1621" y="9867"/>
                    <a:pt x="1621" y="9867"/>
                  </a:cubicBezTo>
                  <a:cubicBezTo>
                    <a:pt x="1563" y="9867"/>
                    <a:pt x="1563" y="9867"/>
                    <a:pt x="1563" y="9867"/>
                  </a:cubicBezTo>
                  <a:cubicBezTo>
                    <a:pt x="1606" y="9809"/>
                    <a:pt x="1606" y="9809"/>
                    <a:pt x="1606" y="9809"/>
                  </a:cubicBezTo>
                  <a:cubicBezTo>
                    <a:pt x="1636" y="9737"/>
                    <a:pt x="1636" y="9737"/>
                    <a:pt x="1636" y="9737"/>
                  </a:cubicBezTo>
                  <a:cubicBezTo>
                    <a:pt x="1636" y="9737"/>
                    <a:pt x="1709" y="9606"/>
                    <a:pt x="1709" y="9577"/>
                  </a:cubicBezTo>
                  <a:cubicBezTo>
                    <a:pt x="1723" y="9534"/>
                    <a:pt x="1738" y="9505"/>
                    <a:pt x="1753" y="9462"/>
                  </a:cubicBezTo>
                  <a:cubicBezTo>
                    <a:pt x="1767" y="9433"/>
                    <a:pt x="1811" y="9418"/>
                    <a:pt x="1811" y="9418"/>
                  </a:cubicBezTo>
                  <a:cubicBezTo>
                    <a:pt x="1855" y="9274"/>
                    <a:pt x="1855" y="9274"/>
                    <a:pt x="1855" y="9274"/>
                  </a:cubicBezTo>
                  <a:cubicBezTo>
                    <a:pt x="2045" y="8898"/>
                    <a:pt x="2045" y="8898"/>
                    <a:pt x="2045" y="8898"/>
                  </a:cubicBezTo>
                  <a:cubicBezTo>
                    <a:pt x="2045" y="8898"/>
                    <a:pt x="2074" y="8782"/>
                    <a:pt x="2088" y="8767"/>
                  </a:cubicBezTo>
                  <a:cubicBezTo>
                    <a:pt x="2088" y="8738"/>
                    <a:pt x="2132" y="8652"/>
                    <a:pt x="2132" y="8623"/>
                  </a:cubicBezTo>
                  <a:cubicBezTo>
                    <a:pt x="2132" y="8594"/>
                    <a:pt x="2176" y="8492"/>
                    <a:pt x="2176" y="8492"/>
                  </a:cubicBezTo>
                  <a:cubicBezTo>
                    <a:pt x="2176" y="8492"/>
                    <a:pt x="2220" y="8333"/>
                    <a:pt x="2220" y="8304"/>
                  </a:cubicBezTo>
                  <a:cubicBezTo>
                    <a:pt x="2220" y="8275"/>
                    <a:pt x="2249" y="8261"/>
                    <a:pt x="2278" y="8246"/>
                  </a:cubicBezTo>
                  <a:cubicBezTo>
                    <a:pt x="2293" y="8232"/>
                    <a:pt x="2337" y="8102"/>
                    <a:pt x="2337" y="8073"/>
                  </a:cubicBezTo>
                  <a:cubicBezTo>
                    <a:pt x="2351" y="8044"/>
                    <a:pt x="2381" y="7784"/>
                    <a:pt x="2381" y="7784"/>
                  </a:cubicBezTo>
                  <a:cubicBezTo>
                    <a:pt x="2351" y="7610"/>
                    <a:pt x="2351" y="7610"/>
                    <a:pt x="2351" y="7610"/>
                  </a:cubicBezTo>
                  <a:cubicBezTo>
                    <a:pt x="2264" y="7538"/>
                    <a:pt x="2264" y="7538"/>
                    <a:pt x="2264" y="7538"/>
                  </a:cubicBezTo>
                  <a:cubicBezTo>
                    <a:pt x="2176" y="7494"/>
                    <a:pt x="2176" y="7494"/>
                    <a:pt x="2176" y="7494"/>
                  </a:cubicBezTo>
                  <a:cubicBezTo>
                    <a:pt x="2176" y="7494"/>
                    <a:pt x="2074" y="7436"/>
                    <a:pt x="2059" y="7422"/>
                  </a:cubicBezTo>
                  <a:cubicBezTo>
                    <a:pt x="2045" y="7407"/>
                    <a:pt x="1986" y="7378"/>
                    <a:pt x="1972" y="7378"/>
                  </a:cubicBezTo>
                  <a:cubicBezTo>
                    <a:pt x="1942" y="7364"/>
                    <a:pt x="1869" y="7349"/>
                    <a:pt x="1855" y="7349"/>
                  </a:cubicBezTo>
                  <a:cubicBezTo>
                    <a:pt x="1840" y="7349"/>
                    <a:pt x="1782" y="7306"/>
                    <a:pt x="1738" y="7277"/>
                  </a:cubicBezTo>
                  <a:cubicBezTo>
                    <a:pt x="1694" y="7248"/>
                    <a:pt x="1636" y="7176"/>
                    <a:pt x="1636" y="7176"/>
                  </a:cubicBezTo>
                  <a:cubicBezTo>
                    <a:pt x="1709" y="7060"/>
                    <a:pt x="1709" y="7060"/>
                    <a:pt x="1709" y="7060"/>
                  </a:cubicBezTo>
                  <a:cubicBezTo>
                    <a:pt x="1709" y="7060"/>
                    <a:pt x="1723" y="6973"/>
                    <a:pt x="1723" y="6944"/>
                  </a:cubicBezTo>
                  <a:cubicBezTo>
                    <a:pt x="1723" y="6930"/>
                    <a:pt x="1723" y="6887"/>
                    <a:pt x="1723" y="6887"/>
                  </a:cubicBezTo>
                  <a:cubicBezTo>
                    <a:pt x="1694" y="6829"/>
                    <a:pt x="1694" y="6829"/>
                    <a:pt x="1694" y="6829"/>
                  </a:cubicBezTo>
                  <a:cubicBezTo>
                    <a:pt x="1650" y="6756"/>
                    <a:pt x="1650" y="6756"/>
                    <a:pt x="1650" y="6756"/>
                  </a:cubicBezTo>
                  <a:cubicBezTo>
                    <a:pt x="1650" y="6756"/>
                    <a:pt x="1592" y="6742"/>
                    <a:pt x="1563" y="6742"/>
                  </a:cubicBezTo>
                  <a:cubicBezTo>
                    <a:pt x="1548" y="6756"/>
                    <a:pt x="1548" y="6713"/>
                    <a:pt x="1533" y="6684"/>
                  </a:cubicBezTo>
                  <a:cubicBezTo>
                    <a:pt x="1533" y="6655"/>
                    <a:pt x="1504" y="6655"/>
                    <a:pt x="1475" y="6641"/>
                  </a:cubicBezTo>
                  <a:cubicBezTo>
                    <a:pt x="1431" y="6612"/>
                    <a:pt x="1417" y="6568"/>
                    <a:pt x="1417" y="6568"/>
                  </a:cubicBezTo>
                  <a:cubicBezTo>
                    <a:pt x="1460" y="6481"/>
                    <a:pt x="1460" y="6481"/>
                    <a:pt x="1460" y="6481"/>
                  </a:cubicBezTo>
                  <a:cubicBezTo>
                    <a:pt x="1460" y="6481"/>
                    <a:pt x="1446" y="6438"/>
                    <a:pt x="1431" y="6424"/>
                  </a:cubicBezTo>
                  <a:cubicBezTo>
                    <a:pt x="1431" y="6409"/>
                    <a:pt x="1373" y="6409"/>
                    <a:pt x="1373" y="6409"/>
                  </a:cubicBezTo>
                  <a:cubicBezTo>
                    <a:pt x="1271" y="6395"/>
                    <a:pt x="1271" y="6395"/>
                    <a:pt x="1271" y="6395"/>
                  </a:cubicBezTo>
                  <a:cubicBezTo>
                    <a:pt x="1198" y="6279"/>
                    <a:pt x="1198" y="6279"/>
                    <a:pt x="1198" y="6279"/>
                  </a:cubicBezTo>
                  <a:cubicBezTo>
                    <a:pt x="1198" y="6279"/>
                    <a:pt x="1212" y="6178"/>
                    <a:pt x="1227" y="6163"/>
                  </a:cubicBezTo>
                  <a:cubicBezTo>
                    <a:pt x="1241" y="6134"/>
                    <a:pt x="1227" y="6120"/>
                    <a:pt x="1227" y="6120"/>
                  </a:cubicBezTo>
                  <a:cubicBezTo>
                    <a:pt x="1154" y="6091"/>
                    <a:pt x="1154" y="6091"/>
                    <a:pt x="1154" y="6091"/>
                  </a:cubicBezTo>
                  <a:cubicBezTo>
                    <a:pt x="1183" y="6033"/>
                    <a:pt x="1183" y="6033"/>
                    <a:pt x="1183" y="6033"/>
                  </a:cubicBezTo>
                  <a:cubicBezTo>
                    <a:pt x="1139" y="5946"/>
                    <a:pt x="1139" y="5946"/>
                    <a:pt x="1139" y="5946"/>
                  </a:cubicBezTo>
                  <a:cubicBezTo>
                    <a:pt x="1154" y="5888"/>
                    <a:pt x="1154" y="5888"/>
                    <a:pt x="1154" y="5888"/>
                  </a:cubicBezTo>
                  <a:cubicBezTo>
                    <a:pt x="1110" y="5830"/>
                    <a:pt x="1110" y="5830"/>
                    <a:pt x="1110" y="5830"/>
                  </a:cubicBezTo>
                  <a:cubicBezTo>
                    <a:pt x="1110" y="5787"/>
                    <a:pt x="1110" y="5787"/>
                    <a:pt x="1110" y="5787"/>
                  </a:cubicBezTo>
                  <a:cubicBezTo>
                    <a:pt x="1154" y="5715"/>
                    <a:pt x="1154" y="5715"/>
                    <a:pt x="1154" y="5715"/>
                  </a:cubicBezTo>
                  <a:cubicBezTo>
                    <a:pt x="1168" y="5642"/>
                    <a:pt x="1168" y="5642"/>
                    <a:pt x="1168" y="5642"/>
                  </a:cubicBezTo>
                  <a:cubicBezTo>
                    <a:pt x="1110" y="5541"/>
                    <a:pt x="1110" y="5541"/>
                    <a:pt x="1110" y="5541"/>
                  </a:cubicBezTo>
                  <a:cubicBezTo>
                    <a:pt x="1110" y="5541"/>
                    <a:pt x="1066" y="5469"/>
                    <a:pt x="1066" y="5454"/>
                  </a:cubicBezTo>
                  <a:cubicBezTo>
                    <a:pt x="1066" y="5440"/>
                    <a:pt x="949" y="5367"/>
                    <a:pt x="949" y="5367"/>
                  </a:cubicBezTo>
                  <a:cubicBezTo>
                    <a:pt x="905" y="5266"/>
                    <a:pt x="905" y="5266"/>
                    <a:pt x="905" y="5266"/>
                  </a:cubicBezTo>
                  <a:cubicBezTo>
                    <a:pt x="789" y="5136"/>
                    <a:pt x="789" y="5136"/>
                    <a:pt x="789" y="5136"/>
                  </a:cubicBezTo>
                  <a:cubicBezTo>
                    <a:pt x="701" y="5035"/>
                    <a:pt x="701" y="5035"/>
                    <a:pt x="701" y="5035"/>
                  </a:cubicBezTo>
                  <a:cubicBezTo>
                    <a:pt x="643" y="4977"/>
                    <a:pt x="643" y="4977"/>
                    <a:pt x="643" y="4977"/>
                  </a:cubicBezTo>
                  <a:cubicBezTo>
                    <a:pt x="599" y="4876"/>
                    <a:pt x="599" y="4876"/>
                    <a:pt x="599" y="4876"/>
                  </a:cubicBezTo>
                  <a:cubicBezTo>
                    <a:pt x="599" y="4876"/>
                    <a:pt x="628" y="4760"/>
                    <a:pt x="628" y="4745"/>
                  </a:cubicBezTo>
                  <a:cubicBezTo>
                    <a:pt x="628" y="4716"/>
                    <a:pt x="672" y="4615"/>
                    <a:pt x="672" y="4543"/>
                  </a:cubicBezTo>
                  <a:cubicBezTo>
                    <a:pt x="657" y="4485"/>
                    <a:pt x="701" y="4413"/>
                    <a:pt x="701" y="4413"/>
                  </a:cubicBezTo>
                  <a:cubicBezTo>
                    <a:pt x="716" y="4282"/>
                    <a:pt x="716" y="4282"/>
                    <a:pt x="716" y="4282"/>
                  </a:cubicBezTo>
                  <a:cubicBezTo>
                    <a:pt x="672" y="4239"/>
                    <a:pt x="672" y="4239"/>
                    <a:pt x="672" y="4239"/>
                  </a:cubicBezTo>
                  <a:cubicBezTo>
                    <a:pt x="584" y="4181"/>
                    <a:pt x="584" y="4181"/>
                    <a:pt x="584" y="4181"/>
                  </a:cubicBezTo>
                  <a:cubicBezTo>
                    <a:pt x="526" y="4109"/>
                    <a:pt x="526" y="4109"/>
                    <a:pt x="526" y="4109"/>
                  </a:cubicBezTo>
                  <a:cubicBezTo>
                    <a:pt x="526" y="4109"/>
                    <a:pt x="497" y="4022"/>
                    <a:pt x="394" y="3993"/>
                  </a:cubicBezTo>
                  <a:cubicBezTo>
                    <a:pt x="292" y="3979"/>
                    <a:pt x="277" y="3993"/>
                    <a:pt x="277" y="3993"/>
                  </a:cubicBezTo>
                  <a:cubicBezTo>
                    <a:pt x="175" y="3935"/>
                    <a:pt x="175" y="3935"/>
                    <a:pt x="175" y="3935"/>
                  </a:cubicBezTo>
                  <a:cubicBezTo>
                    <a:pt x="102" y="3819"/>
                    <a:pt x="102" y="3819"/>
                    <a:pt x="102" y="3819"/>
                  </a:cubicBezTo>
                  <a:cubicBezTo>
                    <a:pt x="44" y="3733"/>
                    <a:pt x="44" y="3733"/>
                    <a:pt x="44" y="3733"/>
                  </a:cubicBezTo>
                  <a:cubicBezTo>
                    <a:pt x="88" y="3675"/>
                    <a:pt x="88" y="3675"/>
                    <a:pt x="88" y="3675"/>
                  </a:cubicBezTo>
                  <a:cubicBezTo>
                    <a:pt x="102" y="3588"/>
                    <a:pt x="102" y="3588"/>
                    <a:pt x="102" y="3588"/>
                  </a:cubicBezTo>
                  <a:cubicBezTo>
                    <a:pt x="102" y="3530"/>
                    <a:pt x="102" y="3530"/>
                    <a:pt x="102" y="3530"/>
                  </a:cubicBezTo>
                  <a:cubicBezTo>
                    <a:pt x="102" y="3458"/>
                    <a:pt x="102" y="3458"/>
                    <a:pt x="102" y="3458"/>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29"/>
                    <a:pt x="0" y="3429"/>
                    <a:pt x="0" y="3429"/>
                  </a:cubicBezTo>
                  <a:cubicBezTo>
                    <a:pt x="0" y="3414"/>
                    <a:pt x="0" y="3414"/>
                    <a:pt x="0" y="3414"/>
                  </a:cubicBezTo>
                  <a:cubicBezTo>
                    <a:pt x="0" y="3414"/>
                    <a:pt x="0" y="3414"/>
                    <a:pt x="0" y="3414"/>
                  </a:cubicBezTo>
                  <a:cubicBezTo>
                    <a:pt x="0" y="3414"/>
                    <a:pt x="0" y="3414"/>
                    <a:pt x="0" y="3414"/>
                  </a:cubicBezTo>
                  <a:cubicBezTo>
                    <a:pt x="0" y="3414"/>
                    <a:pt x="0" y="3414"/>
                    <a:pt x="0"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14"/>
                    <a:pt x="15" y="3414"/>
                    <a:pt x="15" y="3414"/>
                  </a:cubicBezTo>
                  <a:cubicBezTo>
                    <a:pt x="15" y="3400"/>
                    <a:pt x="15" y="3400"/>
                    <a:pt x="15" y="3400"/>
                  </a:cubicBezTo>
                  <a:cubicBezTo>
                    <a:pt x="15" y="3400"/>
                    <a:pt x="15" y="3400"/>
                    <a:pt x="15" y="3400"/>
                  </a:cubicBezTo>
                  <a:cubicBezTo>
                    <a:pt x="15" y="3400"/>
                    <a:pt x="15" y="3400"/>
                    <a:pt x="15" y="3400"/>
                  </a:cubicBezTo>
                  <a:cubicBezTo>
                    <a:pt x="29" y="3400"/>
                    <a:pt x="29" y="3400"/>
                    <a:pt x="29" y="3400"/>
                  </a:cubicBezTo>
                  <a:cubicBezTo>
                    <a:pt x="29" y="3400"/>
                    <a:pt x="29" y="3400"/>
                    <a:pt x="29" y="3400"/>
                  </a:cubicBezTo>
                  <a:cubicBezTo>
                    <a:pt x="29" y="3400"/>
                    <a:pt x="29" y="3400"/>
                    <a:pt x="29" y="3400"/>
                  </a:cubicBezTo>
                  <a:cubicBezTo>
                    <a:pt x="29" y="3400"/>
                    <a:pt x="29" y="3400"/>
                    <a:pt x="29" y="3400"/>
                  </a:cubicBezTo>
                  <a:cubicBezTo>
                    <a:pt x="29" y="3400"/>
                    <a:pt x="29" y="3400"/>
                    <a:pt x="29" y="3400"/>
                  </a:cubicBezTo>
                  <a:cubicBezTo>
                    <a:pt x="29" y="3385"/>
                    <a:pt x="29" y="3385"/>
                    <a:pt x="29" y="3385"/>
                  </a:cubicBezTo>
                  <a:cubicBezTo>
                    <a:pt x="29" y="3385"/>
                    <a:pt x="29" y="3385"/>
                    <a:pt x="29" y="3385"/>
                  </a:cubicBezTo>
                  <a:cubicBezTo>
                    <a:pt x="29" y="3385"/>
                    <a:pt x="29" y="3385"/>
                    <a:pt x="29" y="3385"/>
                  </a:cubicBezTo>
                  <a:cubicBezTo>
                    <a:pt x="44" y="3385"/>
                    <a:pt x="44" y="3385"/>
                    <a:pt x="44" y="3385"/>
                  </a:cubicBezTo>
                  <a:cubicBezTo>
                    <a:pt x="44" y="3385"/>
                    <a:pt x="44" y="3385"/>
                    <a:pt x="44" y="3385"/>
                  </a:cubicBezTo>
                  <a:cubicBezTo>
                    <a:pt x="44" y="3385"/>
                    <a:pt x="44" y="3385"/>
                    <a:pt x="44" y="3385"/>
                  </a:cubicBezTo>
                  <a:cubicBezTo>
                    <a:pt x="44" y="3385"/>
                    <a:pt x="44" y="3385"/>
                    <a:pt x="44" y="3385"/>
                  </a:cubicBezTo>
                  <a:cubicBezTo>
                    <a:pt x="44" y="3371"/>
                    <a:pt x="44" y="3371"/>
                    <a:pt x="44" y="3371"/>
                  </a:cubicBezTo>
                  <a:cubicBezTo>
                    <a:pt x="58" y="3371"/>
                    <a:pt x="58" y="3371"/>
                    <a:pt x="58" y="3371"/>
                  </a:cubicBezTo>
                  <a:cubicBezTo>
                    <a:pt x="58" y="3371"/>
                    <a:pt x="58" y="3371"/>
                    <a:pt x="58" y="3371"/>
                  </a:cubicBezTo>
                  <a:cubicBezTo>
                    <a:pt x="58" y="3371"/>
                    <a:pt x="58" y="3371"/>
                    <a:pt x="58" y="3371"/>
                  </a:cubicBezTo>
                  <a:cubicBezTo>
                    <a:pt x="58" y="3371"/>
                    <a:pt x="58" y="3371"/>
                    <a:pt x="58" y="3371"/>
                  </a:cubicBezTo>
                  <a:cubicBezTo>
                    <a:pt x="58" y="3356"/>
                    <a:pt x="58" y="3356"/>
                    <a:pt x="58" y="3356"/>
                  </a:cubicBezTo>
                  <a:cubicBezTo>
                    <a:pt x="58" y="3356"/>
                    <a:pt x="58" y="3356"/>
                    <a:pt x="58"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73" y="3356"/>
                    <a:pt x="73" y="3356"/>
                    <a:pt x="73" y="3356"/>
                  </a:cubicBezTo>
                  <a:cubicBezTo>
                    <a:pt x="88" y="3328"/>
                    <a:pt x="102" y="3313"/>
                    <a:pt x="117" y="3313"/>
                  </a:cubicBezTo>
                  <a:cubicBezTo>
                    <a:pt x="117" y="3313"/>
                    <a:pt x="117" y="3299"/>
                    <a:pt x="117" y="3299"/>
                  </a:cubicBezTo>
                  <a:cubicBezTo>
                    <a:pt x="131" y="3299"/>
                    <a:pt x="146" y="3299"/>
                    <a:pt x="175" y="3299"/>
                  </a:cubicBezTo>
                  <a:cubicBezTo>
                    <a:pt x="175" y="3299"/>
                    <a:pt x="204" y="3168"/>
                    <a:pt x="190" y="3125"/>
                  </a:cubicBezTo>
                  <a:cubicBezTo>
                    <a:pt x="175" y="3067"/>
                    <a:pt x="248" y="3009"/>
                    <a:pt x="248" y="3009"/>
                  </a:cubicBezTo>
                  <a:cubicBezTo>
                    <a:pt x="351" y="2908"/>
                    <a:pt x="351" y="2908"/>
                    <a:pt x="351" y="2908"/>
                  </a:cubicBezTo>
                  <a:cubicBezTo>
                    <a:pt x="336" y="2792"/>
                    <a:pt x="336" y="2792"/>
                    <a:pt x="336" y="2792"/>
                  </a:cubicBezTo>
                  <a:cubicBezTo>
                    <a:pt x="453" y="2807"/>
                    <a:pt x="453" y="2807"/>
                    <a:pt x="453" y="2807"/>
                  </a:cubicBezTo>
                  <a:cubicBezTo>
                    <a:pt x="453" y="2807"/>
                    <a:pt x="540" y="2763"/>
                    <a:pt x="511" y="2705"/>
                  </a:cubicBezTo>
                  <a:cubicBezTo>
                    <a:pt x="497" y="2676"/>
                    <a:pt x="482" y="2633"/>
                    <a:pt x="467" y="2604"/>
                  </a:cubicBezTo>
                  <a:cubicBezTo>
                    <a:pt x="482" y="2590"/>
                    <a:pt x="482" y="2590"/>
                    <a:pt x="482" y="2575"/>
                  </a:cubicBezTo>
                  <a:cubicBezTo>
                    <a:pt x="482" y="2575"/>
                    <a:pt x="511" y="2532"/>
                    <a:pt x="511" y="2532"/>
                  </a:cubicBezTo>
                  <a:cubicBezTo>
                    <a:pt x="555" y="2532"/>
                    <a:pt x="555" y="2532"/>
                    <a:pt x="555" y="2532"/>
                  </a:cubicBezTo>
                  <a:cubicBezTo>
                    <a:pt x="599" y="2546"/>
                    <a:pt x="599" y="2546"/>
                    <a:pt x="599" y="2546"/>
                  </a:cubicBezTo>
                  <a:cubicBezTo>
                    <a:pt x="599" y="2546"/>
                    <a:pt x="628" y="2561"/>
                    <a:pt x="643" y="2561"/>
                  </a:cubicBezTo>
                  <a:cubicBezTo>
                    <a:pt x="672" y="2561"/>
                    <a:pt x="716" y="2532"/>
                    <a:pt x="716" y="2532"/>
                  </a:cubicBezTo>
                  <a:cubicBezTo>
                    <a:pt x="672" y="2474"/>
                    <a:pt x="672" y="2474"/>
                    <a:pt x="672" y="2474"/>
                  </a:cubicBezTo>
                  <a:cubicBezTo>
                    <a:pt x="686" y="2416"/>
                    <a:pt x="686" y="2416"/>
                    <a:pt x="686" y="2416"/>
                  </a:cubicBezTo>
                  <a:cubicBezTo>
                    <a:pt x="745" y="2416"/>
                    <a:pt x="745" y="2416"/>
                    <a:pt x="745" y="2416"/>
                  </a:cubicBezTo>
                  <a:cubicBezTo>
                    <a:pt x="774" y="2416"/>
                    <a:pt x="774" y="2416"/>
                    <a:pt x="774" y="2416"/>
                  </a:cubicBezTo>
                  <a:cubicBezTo>
                    <a:pt x="716" y="2329"/>
                    <a:pt x="716" y="2329"/>
                    <a:pt x="716" y="2329"/>
                  </a:cubicBezTo>
                  <a:cubicBezTo>
                    <a:pt x="716" y="2329"/>
                    <a:pt x="730" y="2286"/>
                    <a:pt x="759" y="2300"/>
                  </a:cubicBezTo>
                  <a:cubicBezTo>
                    <a:pt x="774" y="2300"/>
                    <a:pt x="789" y="2329"/>
                    <a:pt x="803" y="2329"/>
                  </a:cubicBezTo>
                  <a:cubicBezTo>
                    <a:pt x="818" y="2329"/>
                    <a:pt x="862" y="2344"/>
                    <a:pt x="862" y="2344"/>
                  </a:cubicBezTo>
                  <a:cubicBezTo>
                    <a:pt x="920" y="2358"/>
                    <a:pt x="920" y="2358"/>
                    <a:pt x="920" y="2358"/>
                  </a:cubicBezTo>
                  <a:cubicBezTo>
                    <a:pt x="978" y="2358"/>
                    <a:pt x="978" y="2358"/>
                    <a:pt x="978" y="2358"/>
                  </a:cubicBezTo>
                  <a:cubicBezTo>
                    <a:pt x="1052" y="2358"/>
                    <a:pt x="1052" y="2358"/>
                    <a:pt x="1052" y="2358"/>
                  </a:cubicBezTo>
                  <a:cubicBezTo>
                    <a:pt x="1081" y="2402"/>
                    <a:pt x="1081" y="2402"/>
                    <a:pt x="1081" y="2402"/>
                  </a:cubicBezTo>
                  <a:cubicBezTo>
                    <a:pt x="1081" y="2402"/>
                    <a:pt x="1095" y="2431"/>
                    <a:pt x="1081" y="2445"/>
                  </a:cubicBezTo>
                  <a:cubicBezTo>
                    <a:pt x="1081" y="2459"/>
                    <a:pt x="1066" y="2503"/>
                    <a:pt x="1066" y="2503"/>
                  </a:cubicBezTo>
                  <a:cubicBezTo>
                    <a:pt x="1052" y="2503"/>
                    <a:pt x="1037" y="2503"/>
                    <a:pt x="1022" y="2517"/>
                  </a:cubicBezTo>
                  <a:cubicBezTo>
                    <a:pt x="1008" y="2517"/>
                    <a:pt x="935" y="2517"/>
                    <a:pt x="935" y="2517"/>
                  </a:cubicBezTo>
                  <a:cubicBezTo>
                    <a:pt x="876" y="2517"/>
                    <a:pt x="876" y="2517"/>
                    <a:pt x="876" y="2517"/>
                  </a:cubicBezTo>
                  <a:cubicBezTo>
                    <a:pt x="832" y="2517"/>
                    <a:pt x="832" y="2517"/>
                    <a:pt x="832" y="2517"/>
                  </a:cubicBezTo>
                  <a:cubicBezTo>
                    <a:pt x="818" y="2546"/>
                    <a:pt x="818" y="2546"/>
                    <a:pt x="818" y="2546"/>
                  </a:cubicBezTo>
                  <a:cubicBezTo>
                    <a:pt x="818" y="2546"/>
                    <a:pt x="862" y="2561"/>
                    <a:pt x="876" y="2575"/>
                  </a:cubicBezTo>
                  <a:cubicBezTo>
                    <a:pt x="905" y="2575"/>
                    <a:pt x="905" y="2575"/>
                    <a:pt x="905" y="2575"/>
                  </a:cubicBezTo>
                  <a:cubicBezTo>
                    <a:pt x="920" y="2590"/>
                    <a:pt x="949" y="2619"/>
                    <a:pt x="949" y="2619"/>
                  </a:cubicBezTo>
                  <a:cubicBezTo>
                    <a:pt x="935" y="2662"/>
                    <a:pt x="935" y="2662"/>
                    <a:pt x="935" y="2662"/>
                  </a:cubicBezTo>
                  <a:cubicBezTo>
                    <a:pt x="935" y="2662"/>
                    <a:pt x="978" y="2604"/>
                    <a:pt x="978" y="2604"/>
                  </a:cubicBezTo>
                  <a:cubicBezTo>
                    <a:pt x="993" y="2604"/>
                    <a:pt x="1066" y="2604"/>
                    <a:pt x="1066" y="2604"/>
                  </a:cubicBezTo>
                  <a:cubicBezTo>
                    <a:pt x="1066" y="2604"/>
                    <a:pt x="1125" y="2575"/>
                    <a:pt x="1139" y="2575"/>
                  </a:cubicBezTo>
                  <a:cubicBezTo>
                    <a:pt x="1139" y="2575"/>
                    <a:pt x="1125" y="2619"/>
                    <a:pt x="1125" y="2619"/>
                  </a:cubicBezTo>
                  <a:cubicBezTo>
                    <a:pt x="1183" y="2590"/>
                    <a:pt x="1183" y="2590"/>
                    <a:pt x="1183" y="2590"/>
                  </a:cubicBezTo>
                  <a:cubicBezTo>
                    <a:pt x="1241" y="2561"/>
                    <a:pt x="1241" y="2561"/>
                    <a:pt x="1241" y="2561"/>
                  </a:cubicBezTo>
                  <a:cubicBezTo>
                    <a:pt x="1271" y="2561"/>
                    <a:pt x="1271" y="2561"/>
                    <a:pt x="1271" y="2561"/>
                  </a:cubicBezTo>
                  <a:cubicBezTo>
                    <a:pt x="1271" y="2561"/>
                    <a:pt x="1285" y="2604"/>
                    <a:pt x="1285" y="2619"/>
                  </a:cubicBezTo>
                  <a:cubicBezTo>
                    <a:pt x="1271" y="2633"/>
                    <a:pt x="1271" y="2633"/>
                    <a:pt x="1271" y="2662"/>
                  </a:cubicBezTo>
                  <a:cubicBezTo>
                    <a:pt x="1271" y="2676"/>
                    <a:pt x="1256" y="2691"/>
                    <a:pt x="1271" y="2705"/>
                  </a:cubicBezTo>
                  <a:cubicBezTo>
                    <a:pt x="1271" y="2705"/>
                    <a:pt x="1271" y="2720"/>
                    <a:pt x="1285" y="2720"/>
                  </a:cubicBezTo>
                  <a:cubicBezTo>
                    <a:pt x="1300" y="2734"/>
                    <a:pt x="1314" y="2720"/>
                    <a:pt x="1314" y="2720"/>
                  </a:cubicBezTo>
                  <a:cubicBezTo>
                    <a:pt x="1344" y="2648"/>
                    <a:pt x="1344" y="2648"/>
                    <a:pt x="1344" y="2648"/>
                  </a:cubicBezTo>
                  <a:cubicBezTo>
                    <a:pt x="1344" y="2648"/>
                    <a:pt x="1373" y="2619"/>
                    <a:pt x="1373" y="2619"/>
                  </a:cubicBezTo>
                  <a:cubicBezTo>
                    <a:pt x="1387" y="2619"/>
                    <a:pt x="1431" y="2590"/>
                    <a:pt x="1431" y="2590"/>
                  </a:cubicBezTo>
                  <a:cubicBezTo>
                    <a:pt x="1504" y="2590"/>
                    <a:pt x="1504" y="2590"/>
                    <a:pt x="1504" y="2590"/>
                  </a:cubicBezTo>
                  <a:cubicBezTo>
                    <a:pt x="1504" y="2590"/>
                    <a:pt x="1577" y="2575"/>
                    <a:pt x="1592" y="2575"/>
                  </a:cubicBezTo>
                  <a:cubicBezTo>
                    <a:pt x="1592" y="2590"/>
                    <a:pt x="1621" y="2590"/>
                    <a:pt x="1636" y="2590"/>
                  </a:cubicBezTo>
                  <a:cubicBezTo>
                    <a:pt x="1665" y="2590"/>
                    <a:pt x="1680" y="2590"/>
                    <a:pt x="1709" y="2590"/>
                  </a:cubicBezTo>
                  <a:cubicBezTo>
                    <a:pt x="1723" y="2590"/>
                    <a:pt x="1738" y="2590"/>
                    <a:pt x="1738" y="2590"/>
                  </a:cubicBezTo>
                  <a:cubicBezTo>
                    <a:pt x="1738" y="2590"/>
                    <a:pt x="1767" y="2561"/>
                    <a:pt x="1767" y="2561"/>
                  </a:cubicBezTo>
                  <a:cubicBezTo>
                    <a:pt x="1767" y="2546"/>
                    <a:pt x="1767" y="2532"/>
                    <a:pt x="1767" y="2532"/>
                  </a:cubicBezTo>
                  <a:cubicBezTo>
                    <a:pt x="1782" y="2517"/>
                    <a:pt x="1796" y="2488"/>
                    <a:pt x="1811" y="2488"/>
                  </a:cubicBezTo>
                  <a:cubicBezTo>
                    <a:pt x="1826" y="2488"/>
                    <a:pt x="2045" y="2517"/>
                    <a:pt x="2045" y="2517"/>
                  </a:cubicBezTo>
                  <a:cubicBezTo>
                    <a:pt x="2234" y="2575"/>
                    <a:pt x="2234" y="2575"/>
                    <a:pt x="2234" y="2575"/>
                  </a:cubicBezTo>
                  <a:cubicBezTo>
                    <a:pt x="2366" y="2604"/>
                    <a:pt x="2366" y="2604"/>
                    <a:pt x="2366" y="2604"/>
                  </a:cubicBezTo>
                  <a:cubicBezTo>
                    <a:pt x="2366" y="2604"/>
                    <a:pt x="2468" y="2662"/>
                    <a:pt x="2483" y="2662"/>
                  </a:cubicBezTo>
                  <a:cubicBezTo>
                    <a:pt x="2497" y="2676"/>
                    <a:pt x="2687" y="2705"/>
                    <a:pt x="2687" y="2705"/>
                  </a:cubicBezTo>
                  <a:cubicBezTo>
                    <a:pt x="2775" y="2763"/>
                    <a:pt x="2775" y="2763"/>
                    <a:pt x="2775" y="2763"/>
                  </a:cubicBezTo>
                  <a:cubicBezTo>
                    <a:pt x="2775" y="2763"/>
                    <a:pt x="2862" y="2792"/>
                    <a:pt x="2862" y="2807"/>
                  </a:cubicBezTo>
                  <a:cubicBezTo>
                    <a:pt x="2862" y="2821"/>
                    <a:pt x="2921" y="2850"/>
                    <a:pt x="2921" y="2850"/>
                  </a:cubicBezTo>
                  <a:cubicBezTo>
                    <a:pt x="2979" y="2821"/>
                    <a:pt x="2979" y="2821"/>
                    <a:pt x="2979" y="2821"/>
                  </a:cubicBezTo>
                  <a:cubicBezTo>
                    <a:pt x="2979" y="2821"/>
                    <a:pt x="3052" y="2836"/>
                    <a:pt x="3052" y="2836"/>
                  </a:cubicBezTo>
                  <a:cubicBezTo>
                    <a:pt x="3067" y="2850"/>
                    <a:pt x="3213" y="2894"/>
                    <a:pt x="3213" y="2894"/>
                  </a:cubicBezTo>
                  <a:cubicBezTo>
                    <a:pt x="3213" y="2894"/>
                    <a:pt x="3315" y="2922"/>
                    <a:pt x="3330" y="2922"/>
                  </a:cubicBezTo>
                  <a:cubicBezTo>
                    <a:pt x="3344" y="2922"/>
                    <a:pt x="3403" y="2908"/>
                    <a:pt x="3403" y="2908"/>
                  </a:cubicBezTo>
                  <a:cubicBezTo>
                    <a:pt x="3403" y="2865"/>
                    <a:pt x="3403" y="2865"/>
                    <a:pt x="3403" y="2865"/>
                  </a:cubicBezTo>
                  <a:cubicBezTo>
                    <a:pt x="3403" y="2865"/>
                    <a:pt x="3388" y="2836"/>
                    <a:pt x="3417" y="2850"/>
                  </a:cubicBezTo>
                  <a:cubicBezTo>
                    <a:pt x="3447" y="2850"/>
                    <a:pt x="3461" y="2850"/>
                    <a:pt x="3476" y="2865"/>
                  </a:cubicBezTo>
                  <a:cubicBezTo>
                    <a:pt x="3476" y="2879"/>
                    <a:pt x="3505" y="2879"/>
                    <a:pt x="3520" y="2894"/>
                  </a:cubicBezTo>
                  <a:cubicBezTo>
                    <a:pt x="3534" y="2922"/>
                    <a:pt x="3593" y="2937"/>
                    <a:pt x="3593" y="2937"/>
                  </a:cubicBezTo>
                  <a:cubicBezTo>
                    <a:pt x="3666" y="2966"/>
                    <a:pt x="3666" y="2966"/>
                    <a:pt x="3666" y="2966"/>
                  </a:cubicBezTo>
                  <a:cubicBezTo>
                    <a:pt x="3680" y="3009"/>
                    <a:pt x="3680" y="3009"/>
                    <a:pt x="3680" y="3009"/>
                  </a:cubicBezTo>
                  <a:cubicBezTo>
                    <a:pt x="3695" y="3024"/>
                    <a:pt x="3695" y="3024"/>
                    <a:pt x="3695" y="3024"/>
                  </a:cubicBezTo>
                  <a:cubicBezTo>
                    <a:pt x="3710" y="2995"/>
                    <a:pt x="3710" y="2995"/>
                    <a:pt x="3710" y="2995"/>
                  </a:cubicBezTo>
                  <a:cubicBezTo>
                    <a:pt x="3724" y="2980"/>
                    <a:pt x="3739" y="2980"/>
                    <a:pt x="3739" y="2980"/>
                  </a:cubicBezTo>
                  <a:cubicBezTo>
                    <a:pt x="3768" y="2995"/>
                    <a:pt x="3768" y="2995"/>
                    <a:pt x="3768" y="2995"/>
                  </a:cubicBezTo>
                  <a:cubicBezTo>
                    <a:pt x="3768" y="2995"/>
                    <a:pt x="3797" y="2995"/>
                    <a:pt x="3797" y="2995"/>
                  </a:cubicBezTo>
                  <a:cubicBezTo>
                    <a:pt x="3812" y="2995"/>
                    <a:pt x="3856" y="2980"/>
                    <a:pt x="3856" y="2980"/>
                  </a:cubicBezTo>
                  <a:cubicBezTo>
                    <a:pt x="3856" y="2995"/>
                    <a:pt x="3885" y="3024"/>
                    <a:pt x="3899" y="3024"/>
                  </a:cubicBezTo>
                  <a:cubicBezTo>
                    <a:pt x="3899" y="3038"/>
                    <a:pt x="3929" y="3082"/>
                    <a:pt x="3929" y="3082"/>
                  </a:cubicBezTo>
                  <a:cubicBezTo>
                    <a:pt x="3929" y="3082"/>
                    <a:pt x="3929" y="3096"/>
                    <a:pt x="3929" y="3125"/>
                  </a:cubicBezTo>
                  <a:cubicBezTo>
                    <a:pt x="3929" y="3139"/>
                    <a:pt x="3943" y="3154"/>
                    <a:pt x="3943" y="3154"/>
                  </a:cubicBezTo>
                  <a:cubicBezTo>
                    <a:pt x="3972" y="3183"/>
                    <a:pt x="3972" y="3183"/>
                    <a:pt x="3972" y="3183"/>
                  </a:cubicBezTo>
                  <a:cubicBezTo>
                    <a:pt x="4045" y="3299"/>
                    <a:pt x="4045" y="3299"/>
                    <a:pt x="4045" y="3299"/>
                  </a:cubicBezTo>
                  <a:cubicBezTo>
                    <a:pt x="4075" y="3328"/>
                    <a:pt x="4075" y="3328"/>
                    <a:pt x="4075" y="3328"/>
                  </a:cubicBezTo>
                  <a:cubicBezTo>
                    <a:pt x="4104" y="3299"/>
                    <a:pt x="4104" y="3299"/>
                    <a:pt x="4104" y="3299"/>
                  </a:cubicBezTo>
                  <a:cubicBezTo>
                    <a:pt x="4148" y="3299"/>
                    <a:pt x="4148" y="3299"/>
                    <a:pt x="4148" y="3299"/>
                  </a:cubicBezTo>
                  <a:cubicBezTo>
                    <a:pt x="4191" y="3400"/>
                    <a:pt x="4191" y="3400"/>
                    <a:pt x="4191" y="3400"/>
                  </a:cubicBezTo>
                  <a:cubicBezTo>
                    <a:pt x="4235" y="3530"/>
                    <a:pt x="4235" y="3530"/>
                    <a:pt x="4235" y="3530"/>
                  </a:cubicBezTo>
                  <a:cubicBezTo>
                    <a:pt x="4206" y="3704"/>
                    <a:pt x="4206" y="3704"/>
                    <a:pt x="4206" y="3704"/>
                  </a:cubicBezTo>
                  <a:cubicBezTo>
                    <a:pt x="4206" y="3819"/>
                    <a:pt x="4206" y="3819"/>
                    <a:pt x="4206" y="3819"/>
                  </a:cubicBezTo>
                  <a:cubicBezTo>
                    <a:pt x="4206" y="3819"/>
                    <a:pt x="4177" y="3906"/>
                    <a:pt x="4177" y="3921"/>
                  </a:cubicBezTo>
                  <a:cubicBezTo>
                    <a:pt x="4177" y="3950"/>
                    <a:pt x="4104" y="4051"/>
                    <a:pt x="4104" y="4051"/>
                  </a:cubicBezTo>
                  <a:cubicBezTo>
                    <a:pt x="4104" y="4051"/>
                    <a:pt x="4060" y="4138"/>
                    <a:pt x="4045" y="4152"/>
                  </a:cubicBezTo>
                  <a:cubicBezTo>
                    <a:pt x="4031" y="4181"/>
                    <a:pt x="3972" y="4297"/>
                    <a:pt x="3972" y="4297"/>
                  </a:cubicBezTo>
                  <a:cubicBezTo>
                    <a:pt x="3797" y="4470"/>
                    <a:pt x="3797" y="4470"/>
                    <a:pt x="3797" y="4470"/>
                  </a:cubicBezTo>
                  <a:cubicBezTo>
                    <a:pt x="3797" y="4470"/>
                    <a:pt x="3710" y="4514"/>
                    <a:pt x="3680" y="4528"/>
                  </a:cubicBezTo>
                  <a:cubicBezTo>
                    <a:pt x="3666" y="4557"/>
                    <a:pt x="3520" y="4572"/>
                    <a:pt x="3520" y="4572"/>
                  </a:cubicBezTo>
                  <a:cubicBezTo>
                    <a:pt x="3403" y="4572"/>
                    <a:pt x="3403" y="4572"/>
                    <a:pt x="3403" y="4572"/>
                  </a:cubicBezTo>
                  <a:cubicBezTo>
                    <a:pt x="3228" y="4528"/>
                    <a:pt x="3228" y="4528"/>
                    <a:pt x="3228" y="4528"/>
                  </a:cubicBezTo>
                  <a:cubicBezTo>
                    <a:pt x="3125" y="4557"/>
                    <a:pt x="3125" y="4557"/>
                    <a:pt x="3125" y="4557"/>
                  </a:cubicBezTo>
                  <a:cubicBezTo>
                    <a:pt x="2994" y="4601"/>
                    <a:pt x="2994" y="4601"/>
                    <a:pt x="2994" y="4601"/>
                  </a:cubicBezTo>
                  <a:cubicBezTo>
                    <a:pt x="2877" y="4601"/>
                    <a:pt x="2877" y="4601"/>
                    <a:pt x="2877" y="4601"/>
                  </a:cubicBezTo>
                  <a:cubicBezTo>
                    <a:pt x="2731" y="4630"/>
                    <a:pt x="2731" y="4630"/>
                    <a:pt x="2731" y="4630"/>
                  </a:cubicBezTo>
                  <a:cubicBezTo>
                    <a:pt x="2731" y="4630"/>
                    <a:pt x="2702" y="4630"/>
                    <a:pt x="2673" y="4630"/>
                  </a:cubicBezTo>
                  <a:cubicBezTo>
                    <a:pt x="2658" y="4630"/>
                    <a:pt x="2570" y="4601"/>
                    <a:pt x="2570" y="4601"/>
                  </a:cubicBezTo>
                  <a:cubicBezTo>
                    <a:pt x="2468" y="4572"/>
                    <a:pt x="2468" y="4572"/>
                    <a:pt x="2468" y="4572"/>
                  </a:cubicBezTo>
                  <a:cubicBezTo>
                    <a:pt x="2395" y="4572"/>
                    <a:pt x="2395" y="4572"/>
                    <a:pt x="2395" y="4572"/>
                  </a:cubicBezTo>
                  <a:cubicBezTo>
                    <a:pt x="2381" y="4630"/>
                    <a:pt x="2381" y="4630"/>
                    <a:pt x="2381" y="4630"/>
                  </a:cubicBezTo>
                  <a:cubicBezTo>
                    <a:pt x="2381" y="4630"/>
                    <a:pt x="2381" y="4630"/>
                    <a:pt x="2351" y="4630"/>
                  </a:cubicBezTo>
                  <a:cubicBezTo>
                    <a:pt x="2322" y="4630"/>
                    <a:pt x="2293" y="4630"/>
                    <a:pt x="2293" y="4630"/>
                  </a:cubicBezTo>
                  <a:cubicBezTo>
                    <a:pt x="2293" y="4572"/>
                    <a:pt x="2293" y="4572"/>
                    <a:pt x="2293" y="4572"/>
                  </a:cubicBezTo>
                  <a:cubicBezTo>
                    <a:pt x="2191" y="4572"/>
                    <a:pt x="2191" y="4572"/>
                    <a:pt x="2191" y="4572"/>
                  </a:cubicBezTo>
                  <a:cubicBezTo>
                    <a:pt x="2191" y="4572"/>
                    <a:pt x="2147" y="4586"/>
                    <a:pt x="2118" y="4586"/>
                  </a:cubicBezTo>
                  <a:cubicBezTo>
                    <a:pt x="2074" y="4586"/>
                    <a:pt x="2030" y="4543"/>
                    <a:pt x="2015" y="4543"/>
                  </a:cubicBezTo>
                  <a:cubicBezTo>
                    <a:pt x="2001" y="4543"/>
                    <a:pt x="2001" y="4557"/>
                    <a:pt x="2001" y="4557"/>
                  </a:cubicBezTo>
                  <a:cubicBezTo>
                    <a:pt x="2001" y="4601"/>
                    <a:pt x="2001" y="4601"/>
                    <a:pt x="2001" y="4601"/>
                  </a:cubicBezTo>
                  <a:cubicBezTo>
                    <a:pt x="1928" y="4601"/>
                    <a:pt x="1928" y="4601"/>
                    <a:pt x="1928" y="4601"/>
                  </a:cubicBezTo>
                  <a:cubicBezTo>
                    <a:pt x="1840" y="4572"/>
                    <a:pt x="1840" y="4572"/>
                    <a:pt x="1840" y="4572"/>
                  </a:cubicBezTo>
                  <a:cubicBezTo>
                    <a:pt x="1767" y="4514"/>
                    <a:pt x="1767" y="4514"/>
                    <a:pt x="1767" y="4514"/>
                  </a:cubicBezTo>
                  <a:cubicBezTo>
                    <a:pt x="1709" y="4456"/>
                    <a:pt x="1709" y="4456"/>
                    <a:pt x="1709" y="4456"/>
                  </a:cubicBezTo>
                  <a:cubicBezTo>
                    <a:pt x="1709" y="4427"/>
                    <a:pt x="1709" y="4427"/>
                    <a:pt x="1709" y="4427"/>
                  </a:cubicBezTo>
                  <a:cubicBezTo>
                    <a:pt x="1636" y="4427"/>
                    <a:pt x="1636" y="4427"/>
                    <a:pt x="1636" y="4427"/>
                  </a:cubicBezTo>
                  <a:cubicBezTo>
                    <a:pt x="1533" y="4427"/>
                    <a:pt x="1533" y="4427"/>
                    <a:pt x="1533" y="4427"/>
                  </a:cubicBezTo>
                  <a:cubicBezTo>
                    <a:pt x="1475" y="4456"/>
                    <a:pt x="1475" y="4456"/>
                    <a:pt x="1475" y="4456"/>
                  </a:cubicBezTo>
                  <a:cubicBezTo>
                    <a:pt x="1548" y="4470"/>
                    <a:pt x="1548" y="4470"/>
                    <a:pt x="1548" y="4470"/>
                  </a:cubicBezTo>
                  <a:cubicBezTo>
                    <a:pt x="1592" y="4485"/>
                    <a:pt x="1592" y="4485"/>
                    <a:pt x="1592" y="4485"/>
                  </a:cubicBezTo>
                  <a:cubicBezTo>
                    <a:pt x="1592" y="4485"/>
                    <a:pt x="1650" y="4470"/>
                    <a:pt x="1650" y="4514"/>
                  </a:cubicBezTo>
                  <a:cubicBezTo>
                    <a:pt x="1650" y="4543"/>
                    <a:pt x="1621" y="4543"/>
                    <a:pt x="1650" y="4572"/>
                  </a:cubicBezTo>
                  <a:cubicBezTo>
                    <a:pt x="1665" y="4601"/>
                    <a:pt x="1723" y="4630"/>
                    <a:pt x="1723" y="4630"/>
                  </a:cubicBezTo>
                  <a:cubicBezTo>
                    <a:pt x="1723" y="4630"/>
                    <a:pt x="1753" y="4630"/>
                    <a:pt x="1767" y="4630"/>
                  </a:cubicBezTo>
                  <a:cubicBezTo>
                    <a:pt x="1782" y="4630"/>
                    <a:pt x="1796" y="4630"/>
                    <a:pt x="1796" y="4630"/>
                  </a:cubicBezTo>
                  <a:cubicBezTo>
                    <a:pt x="1826" y="4673"/>
                    <a:pt x="1826" y="4673"/>
                    <a:pt x="1826" y="4673"/>
                  </a:cubicBezTo>
                  <a:cubicBezTo>
                    <a:pt x="1826" y="4673"/>
                    <a:pt x="1811" y="4687"/>
                    <a:pt x="1840" y="4687"/>
                  </a:cubicBezTo>
                  <a:cubicBezTo>
                    <a:pt x="1855" y="4687"/>
                    <a:pt x="1928" y="4687"/>
                    <a:pt x="1928" y="4687"/>
                  </a:cubicBezTo>
                  <a:cubicBezTo>
                    <a:pt x="2001" y="4716"/>
                    <a:pt x="2001" y="4716"/>
                    <a:pt x="2001" y="4716"/>
                  </a:cubicBezTo>
                  <a:cubicBezTo>
                    <a:pt x="2001" y="4760"/>
                    <a:pt x="2001" y="4760"/>
                    <a:pt x="2001" y="4760"/>
                  </a:cubicBezTo>
                  <a:cubicBezTo>
                    <a:pt x="2001" y="4760"/>
                    <a:pt x="1986" y="4789"/>
                    <a:pt x="2015" y="4789"/>
                  </a:cubicBezTo>
                  <a:cubicBezTo>
                    <a:pt x="2030" y="4803"/>
                    <a:pt x="2088" y="4789"/>
                    <a:pt x="2088" y="4789"/>
                  </a:cubicBezTo>
                  <a:cubicBezTo>
                    <a:pt x="2088" y="4789"/>
                    <a:pt x="2074" y="4774"/>
                    <a:pt x="2103" y="4789"/>
                  </a:cubicBezTo>
                  <a:cubicBezTo>
                    <a:pt x="2118" y="4803"/>
                    <a:pt x="2132" y="4818"/>
                    <a:pt x="2132" y="4818"/>
                  </a:cubicBezTo>
                  <a:cubicBezTo>
                    <a:pt x="2132" y="4818"/>
                    <a:pt x="2147" y="4847"/>
                    <a:pt x="2147" y="4861"/>
                  </a:cubicBezTo>
                  <a:cubicBezTo>
                    <a:pt x="2147" y="4876"/>
                    <a:pt x="2161" y="4904"/>
                    <a:pt x="2161" y="4904"/>
                  </a:cubicBezTo>
                  <a:cubicBezTo>
                    <a:pt x="2161" y="4904"/>
                    <a:pt x="2118" y="4919"/>
                    <a:pt x="2191" y="4919"/>
                  </a:cubicBezTo>
                  <a:cubicBezTo>
                    <a:pt x="2264" y="4919"/>
                    <a:pt x="2264" y="4919"/>
                    <a:pt x="2264" y="4919"/>
                  </a:cubicBezTo>
                  <a:cubicBezTo>
                    <a:pt x="2322" y="4919"/>
                    <a:pt x="2322" y="4919"/>
                    <a:pt x="2322" y="4919"/>
                  </a:cubicBezTo>
                  <a:cubicBezTo>
                    <a:pt x="2381" y="4933"/>
                    <a:pt x="2381" y="4933"/>
                    <a:pt x="2381" y="4933"/>
                  </a:cubicBezTo>
                  <a:cubicBezTo>
                    <a:pt x="2483" y="4977"/>
                    <a:pt x="2483" y="4977"/>
                    <a:pt x="2483" y="4977"/>
                  </a:cubicBezTo>
                  <a:cubicBezTo>
                    <a:pt x="2585" y="5035"/>
                    <a:pt x="2585" y="5035"/>
                    <a:pt x="2585" y="5035"/>
                  </a:cubicBezTo>
                  <a:cubicBezTo>
                    <a:pt x="2585" y="5035"/>
                    <a:pt x="2570" y="5078"/>
                    <a:pt x="2600" y="5078"/>
                  </a:cubicBezTo>
                  <a:cubicBezTo>
                    <a:pt x="2614" y="5078"/>
                    <a:pt x="2673" y="5078"/>
                    <a:pt x="2673" y="5078"/>
                  </a:cubicBezTo>
                  <a:cubicBezTo>
                    <a:pt x="2716" y="5194"/>
                    <a:pt x="2716" y="5194"/>
                    <a:pt x="2716" y="5194"/>
                  </a:cubicBezTo>
                  <a:cubicBezTo>
                    <a:pt x="2643" y="5194"/>
                    <a:pt x="2643" y="5194"/>
                    <a:pt x="2643" y="5194"/>
                  </a:cubicBezTo>
                  <a:cubicBezTo>
                    <a:pt x="2687" y="5310"/>
                    <a:pt x="2687" y="5310"/>
                    <a:pt x="2687" y="5310"/>
                  </a:cubicBezTo>
                  <a:cubicBezTo>
                    <a:pt x="2716" y="5367"/>
                    <a:pt x="2716" y="5367"/>
                    <a:pt x="2716" y="5367"/>
                  </a:cubicBezTo>
                  <a:cubicBezTo>
                    <a:pt x="2702" y="5440"/>
                    <a:pt x="2702" y="5440"/>
                    <a:pt x="2702" y="5440"/>
                  </a:cubicBezTo>
                  <a:cubicBezTo>
                    <a:pt x="2658" y="5483"/>
                    <a:pt x="2658" y="5483"/>
                    <a:pt x="2658" y="5483"/>
                  </a:cubicBezTo>
                  <a:cubicBezTo>
                    <a:pt x="2658" y="5483"/>
                    <a:pt x="2658" y="5512"/>
                    <a:pt x="2658" y="5512"/>
                  </a:cubicBezTo>
                  <a:cubicBezTo>
                    <a:pt x="2658" y="5527"/>
                    <a:pt x="2687" y="5527"/>
                    <a:pt x="2687" y="5527"/>
                  </a:cubicBezTo>
                  <a:cubicBezTo>
                    <a:pt x="2687" y="5527"/>
                    <a:pt x="2716" y="5556"/>
                    <a:pt x="2716" y="5570"/>
                  </a:cubicBezTo>
                  <a:cubicBezTo>
                    <a:pt x="2716" y="5584"/>
                    <a:pt x="2760" y="5599"/>
                    <a:pt x="2760" y="5613"/>
                  </a:cubicBezTo>
                  <a:cubicBezTo>
                    <a:pt x="2775" y="5628"/>
                    <a:pt x="2819" y="5671"/>
                    <a:pt x="2819" y="5671"/>
                  </a:cubicBezTo>
                  <a:cubicBezTo>
                    <a:pt x="2833" y="5700"/>
                    <a:pt x="2833" y="5700"/>
                    <a:pt x="2833" y="5700"/>
                  </a:cubicBezTo>
                  <a:cubicBezTo>
                    <a:pt x="2892" y="5729"/>
                    <a:pt x="2892" y="5729"/>
                    <a:pt x="2892" y="5729"/>
                  </a:cubicBezTo>
                  <a:cubicBezTo>
                    <a:pt x="2892" y="5729"/>
                    <a:pt x="2892" y="5729"/>
                    <a:pt x="2892" y="5744"/>
                  </a:cubicBezTo>
                  <a:cubicBezTo>
                    <a:pt x="2892" y="5773"/>
                    <a:pt x="2921" y="5801"/>
                    <a:pt x="2921" y="5801"/>
                  </a:cubicBezTo>
                  <a:cubicBezTo>
                    <a:pt x="2979" y="5845"/>
                    <a:pt x="2979" y="5845"/>
                    <a:pt x="2979" y="5845"/>
                  </a:cubicBezTo>
                  <a:cubicBezTo>
                    <a:pt x="2979" y="5845"/>
                    <a:pt x="2979" y="5830"/>
                    <a:pt x="2979" y="5859"/>
                  </a:cubicBezTo>
                  <a:cubicBezTo>
                    <a:pt x="2979" y="5888"/>
                    <a:pt x="2979" y="5932"/>
                    <a:pt x="2979" y="5932"/>
                  </a:cubicBezTo>
                  <a:cubicBezTo>
                    <a:pt x="3038" y="5932"/>
                    <a:pt x="3038" y="5932"/>
                    <a:pt x="3038" y="5932"/>
                  </a:cubicBezTo>
                  <a:cubicBezTo>
                    <a:pt x="3023" y="5990"/>
                    <a:pt x="3023" y="5990"/>
                    <a:pt x="3023" y="5990"/>
                  </a:cubicBezTo>
                  <a:cubicBezTo>
                    <a:pt x="3023" y="5990"/>
                    <a:pt x="2994" y="5990"/>
                    <a:pt x="3023" y="6033"/>
                  </a:cubicBezTo>
                  <a:cubicBezTo>
                    <a:pt x="3052" y="6062"/>
                    <a:pt x="3052" y="6091"/>
                    <a:pt x="3052" y="6091"/>
                  </a:cubicBezTo>
                  <a:cubicBezTo>
                    <a:pt x="3155" y="6163"/>
                    <a:pt x="3155" y="6163"/>
                    <a:pt x="3155" y="6163"/>
                  </a:cubicBezTo>
                  <a:cubicBezTo>
                    <a:pt x="3213" y="6163"/>
                    <a:pt x="3213" y="6163"/>
                    <a:pt x="3213" y="6163"/>
                  </a:cubicBezTo>
                  <a:cubicBezTo>
                    <a:pt x="3271" y="6149"/>
                    <a:pt x="3271" y="6149"/>
                    <a:pt x="3271" y="6149"/>
                  </a:cubicBezTo>
                  <a:cubicBezTo>
                    <a:pt x="3301" y="6091"/>
                    <a:pt x="3301" y="6091"/>
                    <a:pt x="3301" y="6091"/>
                  </a:cubicBezTo>
                  <a:cubicBezTo>
                    <a:pt x="3301" y="6091"/>
                    <a:pt x="3344" y="6091"/>
                    <a:pt x="3388" y="6105"/>
                  </a:cubicBezTo>
                  <a:cubicBezTo>
                    <a:pt x="3417" y="6120"/>
                    <a:pt x="3476" y="6105"/>
                    <a:pt x="3476" y="6105"/>
                  </a:cubicBezTo>
                  <a:cubicBezTo>
                    <a:pt x="3476" y="6105"/>
                    <a:pt x="3476" y="6105"/>
                    <a:pt x="3476" y="6134"/>
                  </a:cubicBezTo>
                  <a:cubicBezTo>
                    <a:pt x="3490" y="6163"/>
                    <a:pt x="3520" y="6149"/>
                    <a:pt x="3520" y="6149"/>
                  </a:cubicBezTo>
                  <a:cubicBezTo>
                    <a:pt x="3520" y="6149"/>
                    <a:pt x="3563" y="6149"/>
                    <a:pt x="3563" y="6163"/>
                  </a:cubicBezTo>
                  <a:cubicBezTo>
                    <a:pt x="3563" y="6178"/>
                    <a:pt x="3593" y="6192"/>
                    <a:pt x="3607" y="6221"/>
                  </a:cubicBezTo>
                  <a:cubicBezTo>
                    <a:pt x="3622" y="6250"/>
                    <a:pt x="3622" y="6235"/>
                    <a:pt x="3637" y="6250"/>
                  </a:cubicBezTo>
                  <a:cubicBezTo>
                    <a:pt x="3637" y="6264"/>
                    <a:pt x="3578" y="6279"/>
                    <a:pt x="3651" y="6279"/>
                  </a:cubicBezTo>
                  <a:cubicBezTo>
                    <a:pt x="3710" y="6293"/>
                    <a:pt x="3856" y="6308"/>
                    <a:pt x="3856" y="6308"/>
                  </a:cubicBezTo>
                  <a:cubicBezTo>
                    <a:pt x="3856" y="6308"/>
                    <a:pt x="3943" y="6279"/>
                    <a:pt x="3987" y="6279"/>
                  </a:cubicBezTo>
                  <a:cubicBezTo>
                    <a:pt x="4031" y="6279"/>
                    <a:pt x="4031" y="6293"/>
                    <a:pt x="4031" y="6293"/>
                  </a:cubicBezTo>
                  <a:cubicBezTo>
                    <a:pt x="4075" y="6293"/>
                    <a:pt x="4075" y="6293"/>
                    <a:pt x="4075" y="6293"/>
                  </a:cubicBezTo>
                  <a:cubicBezTo>
                    <a:pt x="4075" y="6293"/>
                    <a:pt x="4104" y="6279"/>
                    <a:pt x="4104" y="6264"/>
                  </a:cubicBezTo>
                  <a:cubicBezTo>
                    <a:pt x="4104" y="6250"/>
                    <a:pt x="4118" y="6207"/>
                    <a:pt x="4118" y="6207"/>
                  </a:cubicBezTo>
                  <a:cubicBezTo>
                    <a:pt x="4118" y="6207"/>
                    <a:pt x="4104" y="6178"/>
                    <a:pt x="4133" y="6178"/>
                  </a:cubicBezTo>
                  <a:cubicBezTo>
                    <a:pt x="4162" y="6178"/>
                    <a:pt x="4177" y="6163"/>
                    <a:pt x="4177" y="6163"/>
                  </a:cubicBezTo>
                  <a:cubicBezTo>
                    <a:pt x="4221" y="6134"/>
                    <a:pt x="4221" y="6134"/>
                    <a:pt x="4221" y="6134"/>
                  </a:cubicBezTo>
                  <a:cubicBezTo>
                    <a:pt x="4206" y="6018"/>
                    <a:pt x="4206" y="6018"/>
                    <a:pt x="4206" y="6018"/>
                  </a:cubicBezTo>
                  <a:cubicBezTo>
                    <a:pt x="4206" y="6018"/>
                    <a:pt x="4206" y="5975"/>
                    <a:pt x="4191" y="5961"/>
                  </a:cubicBezTo>
                  <a:cubicBezTo>
                    <a:pt x="4162" y="5946"/>
                    <a:pt x="4118" y="5903"/>
                    <a:pt x="4118" y="5903"/>
                  </a:cubicBezTo>
                  <a:cubicBezTo>
                    <a:pt x="4104" y="5859"/>
                    <a:pt x="4104" y="5859"/>
                    <a:pt x="4104" y="5859"/>
                  </a:cubicBezTo>
                  <a:cubicBezTo>
                    <a:pt x="4045" y="5816"/>
                    <a:pt x="4045" y="5816"/>
                    <a:pt x="4045" y="5816"/>
                  </a:cubicBezTo>
                  <a:cubicBezTo>
                    <a:pt x="4045" y="5816"/>
                    <a:pt x="4031" y="5787"/>
                    <a:pt x="4016" y="5787"/>
                  </a:cubicBezTo>
                  <a:cubicBezTo>
                    <a:pt x="4002" y="5801"/>
                    <a:pt x="4016" y="5801"/>
                    <a:pt x="3987" y="5845"/>
                  </a:cubicBezTo>
                  <a:cubicBezTo>
                    <a:pt x="3958" y="5874"/>
                    <a:pt x="3914" y="5888"/>
                    <a:pt x="3914" y="5888"/>
                  </a:cubicBezTo>
                  <a:cubicBezTo>
                    <a:pt x="3826" y="5917"/>
                    <a:pt x="3826" y="5917"/>
                    <a:pt x="3826" y="5917"/>
                  </a:cubicBezTo>
                  <a:cubicBezTo>
                    <a:pt x="3826" y="5917"/>
                    <a:pt x="3768" y="5888"/>
                    <a:pt x="3753" y="5859"/>
                  </a:cubicBezTo>
                  <a:cubicBezTo>
                    <a:pt x="3739" y="5845"/>
                    <a:pt x="3637" y="5758"/>
                    <a:pt x="3637" y="5758"/>
                  </a:cubicBezTo>
                  <a:cubicBezTo>
                    <a:pt x="3637" y="5758"/>
                    <a:pt x="3578" y="5715"/>
                    <a:pt x="3563" y="5715"/>
                  </a:cubicBezTo>
                  <a:cubicBezTo>
                    <a:pt x="3534" y="5715"/>
                    <a:pt x="3505" y="5715"/>
                    <a:pt x="3505" y="5715"/>
                  </a:cubicBezTo>
                  <a:cubicBezTo>
                    <a:pt x="3461" y="5642"/>
                    <a:pt x="3461" y="5642"/>
                    <a:pt x="3461" y="5642"/>
                  </a:cubicBezTo>
                  <a:cubicBezTo>
                    <a:pt x="3447" y="5628"/>
                    <a:pt x="3447" y="5628"/>
                    <a:pt x="3447" y="5628"/>
                  </a:cubicBezTo>
                  <a:cubicBezTo>
                    <a:pt x="3447" y="5628"/>
                    <a:pt x="3403" y="5584"/>
                    <a:pt x="3432" y="5584"/>
                  </a:cubicBezTo>
                  <a:cubicBezTo>
                    <a:pt x="3476" y="5584"/>
                    <a:pt x="3490" y="5541"/>
                    <a:pt x="3490" y="5541"/>
                  </a:cubicBezTo>
                  <a:cubicBezTo>
                    <a:pt x="3490" y="5498"/>
                    <a:pt x="3490" y="5498"/>
                    <a:pt x="3490" y="5498"/>
                  </a:cubicBezTo>
                  <a:cubicBezTo>
                    <a:pt x="3490" y="5469"/>
                    <a:pt x="3490" y="5469"/>
                    <a:pt x="3490" y="5469"/>
                  </a:cubicBezTo>
                  <a:cubicBezTo>
                    <a:pt x="3476" y="5396"/>
                    <a:pt x="3476" y="5396"/>
                    <a:pt x="3476" y="5396"/>
                  </a:cubicBezTo>
                  <a:cubicBezTo>
                    <a:pt x="3476" y="5396"/>
                    <a:pt x="3461" y="5324"/>
                    <a:pt x="3476" y="5310"/>
                  </a:cubicBezTo>
                  <a:cubicBezTo>
                    <a:pt x="3505" y="5310"/>
                    <a:pt x="3593" y="5295"/>
                    <a:pt x="3593" y="5295"/>
                  </a:cubicBezTo>
                  <a:cubicBezTo>
                    <a:pt x="3593" y="5295"/>
                    <a:pt x="3637" y="5310"/>
                    <a:pt x="3680" y="5324"/>
                  </a:cubicBezTo>
                  <a:cubicBezTo>
                    <a:pt x="3710" y="5324"/>
                    <a:pt x="3739" y="5339"/>
                    <a:pt x="3739" y="5339"/>
                  </a:cubicBezTo>
                  <a:cubicBezTo>
                    <a:pt x="3739" y="5339"/>
                    <a:pt x="3826" y="5382"/>
                    <a:pt x="3841" y="5396"/>
                  </a:cubicBezTo>
                  <a:cubicBezTo>
                    <a:pt x="3841" y="5411"/>
                    <a:pt x="3870" y="5425"/>
                    <a:pt x="3899" y="5440"/>
                  </a:cubicBezTo>
                  <a:cubicBezTo>
                    <a:pt x="3943" y="5469"/>
                    <a:pt x="4031" y="5440"/>
                    <a:pt x="4031" y="5440"/>
                  </a:cubicBezTo>
                  <a:cubicBezTo>
                    <a:pt x="4031" y="5440"/>
                    <a:pt x="4075" y="5425"/>
                    <a:pt x="4104" y="5425"/>
                  </a:cubicBezTo>
                  <a:cubicBezTo>
                    <a:pt x="4118" y="5425"/>
                    <a:pt x="4250" y="5425"/>
                    <a:pt x="4250" y="5425"/>
                  </a:cubicBezTo>
                  <a:cubicBezTo>
                    <a:pt x="4250" y="5425"/>
                    <a:pt x="4308" y="5425"/>
                    <a:pt x="4323" y="5425"/>
                  </a:cubicBezTo>
                  <a:cubicBezTo>
                    <a:pt x="4338" y="5425"/>
                    <a:pt x="4396" y="5425"/>
                    <a:pt x="4396" y="5425"/>
                  </a:cubicBezTo>
                  <a:cubicBezTo>
                    <a:pt x="4513" y="5454"/>
                    <a:pt x="4513" y="5454"/>
                    <a:pt x="4513" y="5454"/>
                  </a:cubicBezTo>
                  <a:cubicBezTo>
                    <a:pt x="4600" y="5411"/>
                    <a:pt x="4600" y="5411"/>
                    <a:pt x="4600" y="5411"/>
                  </a:cubicBezTo>
                  <a:cubicBezTo>
                    <a:pt x="4600" y="5411"/>
                    <a:pt x="4600" y="5339"/>
                    <a:pt x="4630" y="5339"/>
                  </a:cubicBezTo>
                  <a:cubicBezTo>
                    <a:pt x="4644" y="5339"/>
                    <a:pt x="4673" y="5339"/>
                    <a:pt x="4703" y="5339"/>
                  </a:cubicBezTo>
                  <a:cubicBezTo>
                    <a:pt x="4732" y="5353"/>
                    <a:pt x="4819" y="5324"/>
                    <a:pt x="4819" y="5324"/>
                  </a:cubicBezTo>
                  <a:cubicBezTo>
                    <a:pt x="4732" y="5208"/>
                    <a:pt x="4732" y="5208"/>
                    <a:pt x="4732" y="5208"/>
                  </a:cubicBezTo>
                  <a:cubicBezTo>
                    <a:pt x="4732" y="5208"/>
                    <a:pt x="4732" y="5208"/>
                    <a:pt x="4703" y="5150"/>
                  </a:cubicBezTo>
                  <a:cubicBezTo>
                    <a:pt x="4688" y="5093"/>
                    <a:pt x="4644" y="5035"/>
                    <a:pt x="4644" y="5035"/>
                  </a:cubicBezTo>
                  <a:cubicBezTo>
                    <a:pt x="4644" y="5035"/>
                    <a:pt x="4586" y="5020"/>
                    <a:pt x="4542" y="5006"/>
                  </a:cubicBezTo>
                  <a:cubicBezTo>
                    <a:pt x="4498" y="4991"/>
                    <a:pt x="4527" y="5006"/>
                    <a:pt x="4498" y="4977"/>
                  </a:cubicBezTo>
                  <a:cubicBezTo>
                    <a:pt x="4469" y="4962"/>
                    <a:pt x="4338" y="4890"/>
                    <a:pt x="4338" y="4890"/>
                  </a:cubicBezTo>
                  <a:cubicBezTo>
                    <a:pt x="4338" y="4890"/>
                    <a:pt x="4279" y="4876"/>
                    <a:pt x="4265" y="4847"/>
                  </a:cubicBezTo>
                  <a:cubicBezTo>
                    <a:pt x="4250" y="4803"/>
                    <a:pt x="4265" y="4673"/>
                    <a:pt x="4265" y="4673"/>
                  </a:cubicBezTo>
                  <a:cubicBezTo>
                    <a:pt x="4279" y="4601"/>
                    <a:pt x="4279" y="4601"/>
                    <a:pt x="4279" y="4601"/>
                  </a:cubicBezTo>
                  <a:cubicBezTo>
                    <a:pt x="4352" y="4456"/>
                    <a:pt x="4352" y="4456"/>
                    <a:pt x="4352" y="4456"/>
                  </a:cubicBezTo>
                  <a:cubicBezTo>
                    <a:pt x="4381" y="4326"/>
                    <a:pt x="4381" y="4326"/>
                    <a:pt x="4381" y="4326"/>
                  </a:cubicBezTo>
                  <a:cubicBezTo>
                    <a:pt x="4527" y="4152"/>
                    <a:pt x="4527" y="4152"/>
                    <a:pt x="4527" y="4152"/>
                  </a:cubicBezTo>
                  <a:cubicBezTo>
                    <a:pt x="4571" y="4022"/>
                    <a:pt x="4571" y="4022"/>
                    <a:pt x="4571" y="4022"/>
                  </a:cubicBezTo>
                  <a:cubicBezTo>
                    <a:pt x="4600" y="3892"/>
                    <a:pt x="4600" y="3892"/>
                    <a:pt x="4600" y="3892"/>
                  </a:cubicBezTo>
                  <a:cubicBezTo>
                    <a:pt x="4600" y="3762"/>
                    <a:pt x="4600" y="3762"/>
                    <a:pt x="4600" y="3762"/>
                  </a:cubicBezTo>
                  <a:cubicBezTo>
                    <a:pt x="4600" y="3660"/>
                    <a:pt x="4600" y="3660"/>
                    <a:pt x="4600" y="3660"/>
                  </a:cubicBezTo>
                  <a:cubicBezTo>
                    <a:pt x="4790" y="3660"/>
                    <a:pt x="4790" y="3660"/>
                    <a:pt x="4790" y="3660"/>
                  </a:cubicBezTo>
                  <a:cubicBezTo>
                    <a:pt x="4790" y="3704"/>
                    <a:pt x="4790" y="3704"/>
                    <a:pt x="4790" y="3704"/>
                  </a:cubicBezTo>
                  <a:cubicBezTo>
                    <a:pt x="4790" y="3704"/>
                    <a:pt x="4819" y="3646"/>
                    <a:pt x="4834" y="3646"/>
                  </a:cubicBezTo>
                  <a:cubicBezTo>
                    <a:pt x="4849" y="3646"/>
                    <a:pt x="4966" y="3573"/>
                    <a:pt x="4966" y="3573"/>
                  </a:cubicBezTo>
                  <a:cubicBezTo>
                    <a:pt x="5009" y="3602"/>
                    <a:pt x="5009" y="3602"/>
                    <a:pt x="5009" y="3602"/>
                  </a:cubicBezTo>
                  <a:cubicBezTo>
                    <a:pt x="5126" y="3631"/>
                    <a:pt x="5126" y="3631"/>
                    <a:pt x="5126" y="3631"/>
                  </a:cubicBezTo>
                  <a:cubicBezTo>
                    <a:pt x="5126" y="3631"/>
                    <a:pt x="5170" y="3646"/>
                    <a:pt x="5155" y="3675"/>
                  </a:cubicBezTo>
                  <a:cubicBezTo>
                    <a:pt x="5141" y="3704"/>
                    <a:pt x="5141" y="3704"/>
                    <a:pt x="5155" y="3704"/>
                  </a:cubicBezTo>
                  <a:cubicBezTo>
                    <a:pt x="5170" y="3704"/>
                    <a:pt x="5228" y="3660"/>
                    <a:pt x="5228" y="3660"/>
                  </a:cubicBezTo>
                  <a:cubicBezTo>
                    <a:pt x="5331" y="3704"/>
                    <a:pt x="5331" y="3704"/>
                    <a:pt x="5331" y="3704"/>
                  </a:cubicBezTo>
                  <a:cubicBezTo>
                    <a:pt x="5243" y="3602"/>
                    <a:pt x="5243" y="3602"/>
                    <a:pt x="5243" y="3602"/>
                  </a:cubicBezTo>
                  <a:cubicBezTo>
                    <a:pt x="5243" y="3602"/>
                    <a:pt x="5228" y="3530"/>
                    <a:pt x="5228" y="3501"/>
                  </a:cubicBezTo>
                  <a:cubicBezTo>
                    <a:pt x="5228" y="3472"/>
                    <a:pt x="5214" y="3356"/>
                    <a:pt x="5214" y="3356"/>
                  </a:cubicBezTo>
                  <a:cubicBezTo>
                    <a:pt x="5199" y="3270"/>
                    <a:pt x="5199" y="3270"/>
                    <a:pt x="5199" y="3270"/>
                  </a:cubicBezTo>
                  <a:cubicBezTo>
                    <a:pt x="5170" y="3197"/>
                    <a:pt x="5170" y="3197"/>
                    <a:pt x="5170" y="3197"/>
                  </a:cubicBezTo>
                  <a:cubicBezTo>
                    <a:pt x="5126" y="3154"/>
                    <a:pt x="5126" y="3154"/>
                    <a:pt x="5126" y="3154"/>
                  </a:cubicBezTo>
                  <a:cubicBezTo>
                    <a:pt x="5112" y="3082"/>
                    <a:pt x="5112" y="3082"/>
                    <a:pt x="5112" y="3082"/>
                  </a:cubicBezTo>
                  <a:cubicBezTo>
                    <a:pt x="5082" y="3024"/>
                    <a:pt x="5082" y="3024"/>
                    <a:pt x="5082" y="3024"/>
                  </a:cubicBezTo>
                  <a:cubicBezTo>
                    <a:pt x="4980" y="2966"/>
                    <a:pt x="4980" y="2966"/>
                    <a:pt x="4980" y="2966"/>
                  </a:cubicBezTo>
                  <a:cubicBezTo>
                    <a:pt x="4907" y="2951"/>
                    <a:pt x="4907" y="2951"/>
                    <a:pt x="4907" y="2951"/>
                  </a:cubicBezTo>
                  <a:cubicBezTo>
                    <a:pt x="4849" y="2966"/>
                    <a:pt x="4849" y="2966"/>
                    <a:pt x="4849" y="2966"/>
                  </a:cubicBezTo>
                  <a:cubicBezTo>
                    <a:pt x="4790" y="2966"/>
                    <a:pt x="4790" y="2966"/>
                    <a:pt x="4790" y="2966"/>
                  </a:cubicBezTo>
                  <a:cubicBezTo>
                    <a:pt x="4746" y="2894"/>
                    <a:pt x="4746" y="2894"/>
                    <a:pt x="4746" y="2894"/>
                  </a:cubicBezTo>
                  <a:cubicBezTo>
                    <a:pt x="4746" y="2894"/>
                    <a:pt x="4732" y="2792"/>
                    <a:pt x="4732" y="2778"/>
                  </a:cubicBezTo>
                  <a:cubicBezTo>
                    <a:pt x="4732" y="2763"/>
                    <a:pt x="4703" y="2662"/>
                    <a:pt x="4703" y="2662"/>
                  </a:cubicBezTo>
                  <a:cubicBezTo>
                    <a:pt x="4688" y="2546"/>
                    <a:pt x="4688" y="2546"/>
                    <a:pt x="4688" y="2546"/>
                  </a:cubicBezTo>
                  <a:cubicBezTo>
                    <a:pt x="4644" y="2431"/>
                    <a:pt x="4644" y="2431"/>
                    <a:pt x="4644" y="2431"/>
                  </a:cubicBezTo>
                  <a:cubicBezTo>
                    <a:pt x="4644" y="2431"/>
                    <a:pt x="4615" y="2358"/>
                    <a:pt x="4600" y="2329"/>
                  </a:cubicBezTo>
                  <a:cubicBezTo>
                    <a:pt x="4586" y="2300"/>
                    <a:pt x="4557" y="2242"/>
                    <a:pt x="4557" y="2242"/>
                  </a:cubicBezTo>
                  <a:cubicBezTo>
                    <a:pt x="4527" y="2141"/>
                    <a:pt x="4527" y="2141"/>
                    <a:pt x="4527" y="2141"/>
                  </a:cubicBezTo>
                  <a:cubicBezTo>
                    <a:pt x="4411" y="2112"/>
                    <a:pt x="4411" y="2112"/>
                    <a:pt x="4411" y="2112"/>
                  </a:cubicBezTo>
                  <a:cubicBezTo>
                    <a:pt x="4221" y="2054"/>
                    <a:pt x="4221" y="2054"/>
                    <a:pt x="4221" y="2054"/>
                  </a:cubicBezTo>
                  <a:cubicBezTo>
                    <a:pt x="4118" y="2011"/>
                    <a:pt x="4118" y="2011"/>
                    <a:pt x="4118" y="2011"/>
                  </a:cubicBezTo>
                  <a:cubicBezTo>
                    <a:pt x="4133" y="1968"/>
                    <a:pt x="4133" y="1968"/>
                    <a:pt x="4133" y="1968"/>
                  </a:cubicBezTo>
                  <a:cubicBezTo>
                    <a:pt x="4191" y="1953"/>
                    <a:pt x="4191" y="1953"/>
                    <a:pt x="4191" y="1953"/>
                  </a:cubicBezTo>
                  <a:cubicBezTo>
                    <a:pt x="4191" y="1953"/>
                    <a:pt x="4221" y="1953"/>
                    <a:pt x="4250" y="1953"/>
                  </a:cubicBezTo>
                  <a:cubicBezTo>
                    <a:pt x="4294" y="1953"/>
                    <a:pt x="4323" y="1953"/>
                    <a:pt x="4352" y="1953"/>
                  </a:cubicBezTo>
                  <a:cubicBezTo>
                    <a:pt x="4381" y="1953"/>
                    <a:pt x="4425" y="1953"/>
                    <a:pt x="4425" y="1953"/>
                  </a:cubicBezTo>
                  <a:cubicBezTo>
                    <a:pt x="4484" y="1881"/>
                    <a:pt x="4484" y="1881"/>
                    <a:pt x="4484" y="1881"/>
                  </a:cubicBezTo>
                  <a:cubicBezTo>
                    <a:pt x="4703" y="1765"/>
                    <a:pt x="4703" y="1765"/>
                    <a:pt x="4703" y="1765"/>
                  </a:cubicBezTo>
                  <a:cubicBezTo>
                    <a:pt x="4805" y="1751"/>
                    <a:pt x="4805" y="1751"/>
                    <a:pt x="4805" y="1751"/>
                  </a:cubicBezTo>
                  <a:cubicBezTo>
                    <a:pt x="4907" y="1751"/>
                    <a:pt x="4907" y="1751"/>
                    <a:pt x="4907" y="1751"/>
                  </a:cubicBezTo>
                  <a:cubicBezTo>
                    <a:pt x="4907" y="1751"/>
                    <a:pt x="4907" y="1808"/>
                    <a:pt x="4936" y="1823"/>
                  </a:cubicBezTo>
                  <a:cubicBezTo>
                    <a:pt x="4966" y="1837"/>
                    <a:pt x="4980" y="1837"/>
                    <a:pt x="4995" y="1852"/>
                  </a:cubicBezTo>
                  <a:cubicBezTo>
                    <a:pt x="5024" y="1852"/>
                    <a:pt x="5112" y="1866"/>
                    <a:pt x="5112" y="1866"/>
                  </a:cubicBezTo>
                  <a:cubicBezTo>
                    <a:pt x="5170" y="1895"/>
                    <a:pt x="5170" y="1895"/>
                    <a:pt x="5170" y="1895"/>
                  </a:cubicBezTo>
                  <a:cubicBezTo>
                    <a:pt x="5228" y="1982"/>
                    <a:pt x="5228" y="1982"/>
                    <a:pt x="5228" y="1982"/>
                  </a:cubicBezTo>
                  <a:cubicBezTo>
                    <a:pt x="5331" y="2040"/>
                    <a:pt x="5331" y="2040"/>
                    <a:pt x="5331" y="2040"/>
                  </a:cubicBezTo>
                  <a:cubicBezTo>
                    <a:pt x="5331" y="2040"/>
                    <a:pt x="5345" y="2083"/>
                    <a:pt x="5331" y="2098"/>
                  </a:cubicBezTo>
                  <a:cubicBezTo>
                    <a:pt x="5316" y="2112"/>
                    <a:pt x="5331" y="2156"/>
                    <a:pt x="5272" y="2185"/>
                  </a:cubicBezTo>
                  <a:cubicBezTo>
                    <a:pt x="5214" y="2214"/>
                    <a:pt x="5141" y="2271"/>
                    <a:pt x="5126" y="2271"/>
                  </a:cubicBezTo>
                  <a:cubicBezTo>
                    <a:pt x="5112" y="2286"/>
                    <a:pt x="5068" y="2344"/>
                    <a:pt x="5068" y="2344"/>
                  </a:cubicBezTo>
                  <a:cubicBezTo>
                    <a:pt x="5039" y="2402"/>
                    <a:pt x="5039" y="2402"/>
                    <a:pt x="5039" y="2402"/>
                  </a:cubicBezTo>
                  <a:cubicBezTo>
                    <a:pt x="5053" y="2445"/>
                    <a:pt x="5053" y="2445"/>
                    <a:pt x="5053" y="2445"/>
                  </a:cubicBezTo>
                  <a:cubicBezTo>
                    <a:pt x="5053" y="2445"/>
                    <a:pt x="5053" y="2459"/>
                    <a:pt x="5053" y="2474"/>
                  </a:cubicBezTo>
                  <a:cubicBezTo>
                    <a:pt x="5039" y="2503"/>
                    <a:pt x="5024" y="2546"/>
                    <a:pt x="5024" y="2546"/>
                  </a:cubicBezTo>
                  <a:cubicBezTo>
                    <a:pt x="5039" y="2619"/>
                    <a:pt x="5039" y="2619"/>
                    <a:pt x="5039" y="2619"/>
                  </a:cubicBezTo>
                  <a:cubicBezTo>
                    <a:pt x="5039" y="2619"/>
                    <a:pt x="5053" y="2648"/>
                    <a:pt x="5068" y="2676"/>
                  </a:cubicBezTo>
                  <a:cubicBezTo>
                    <a:pt x="5068" y="2691"/>
                    <a:pt x="5199" y="2720"/>
                    <a:pt x="5199" y="2720"/>
                  </a:cubicBezTo>
                  <a:cubicBezTo>
                    <a:pt x="5331" y="2734"/>
                    <a:pt x="5331" y="2734"/>
                    <a:pt x="5331" y="2734"/>
                  </a:cubicBezTo>
                  <a:cubicBezTo>
                    <a:pt x="5433" y="2836"/>
                    <a:pt x="5433" y="2836"/>
                    <a:pt x="5433" y="2836"/>
                  </a:cubicBezTo>
                  <a:cubicBezTo>
                    <a:pt x="5520" y="2879"/>
                    <a:pt x="5520" y="2879"/>
                    <a:pt x="5520" y="2879"/>
                  </a:cubicBezTo>
                  <a:cubicBezTo>
                    <a:pt x="5623" y="2865"/>
                    <a:pt x="5623" y="2865"/>
                    <a:pt x="5623" y="2865"/>
                  </a:cubicBezTo>
                  <a:cubicBezTo>
                    <a:pt x="5725" y="2792"/>
                    <a:pt x="5725" y="2792"/>
                    <a:pt x="5725" y="2792"/>
                  </a:cubicBezTo>
                  <a:cubicBezTo>
                    <a:pt x="5798" y="2749"/>
                    <a:pt x="5798" y="2749"/>
                    <a:pt x="5798" y="2749"/>
                  </a:cubicBezTo>
                  <a:cubicBezTo>
                    <a:pt x="5798" y="2749"/>
                    <a:pt x="5842" y="2691"/>
                    <a:pt x="5856" y="2676"/>
                  </a:cubicBezTo>
                  <a:cubicBezTo>
                    <a:pt x="5871" y="2662"/>
                    <a:pt x="5915" y="2619"/>
                    <a:pt x="5915" y="2619"/>
                  </a:cubicBezTo>
                  <a:cubicBezTo>
                    <a:pt x="5915" y="2619"/>
                    <a:pt x="5944" y="2590"/>
                    <a:pt x="5944" y="2575"/>
                  </a:cubicBezTo>
                  <a:cubicBezTo>
                    <a:pt x="5944" y="2561"/>
                    <a:pt x="5929" y="2445"/>
                    <a:pt x="5929" y="2445"/>
                  </a:cubicBezTo>
                  <a:cubicBezTo>
                    <a:pt x="5900" y="2358"/>
                    <a:pt x="5900" y="2358"/>
                    <a:pt x="5900" y="2358"/>
                  </a:cubicBezTo>
                  <a:cubicBezTo>
                    <a:pt x="5856" y="2257"/>
                    <a:pt x="5856" y="2257"/>
                    <a:pt x="5856" y="2257"/>
                  </a:cubicBezTo>
                  <a:cubicBezTo>
                    <a:pt x="5856" y="2257"/>
                    <a:pt x="5827" y="2214"/>
                    <a:pt x="5827" y="2185"/>
                  </a:cubicBezTo>
                  <a:cubicBezTo>
                    <a:pt x="5827" y="2170"/>
                    <a:pt x="5813" y="2112"/>
                    <a:pt x="5813" y="2112"/>
                  </a:cubicBezTo>
                  <a:cubicBezTo>
                    <a:pt x="5754" y="2054"/>
                    <a:pt x="5754" y="2054"/>
                    <a:pt x="5754" y="2054"/>
                  </a:cubicBezTo>
                  <a:cubicBezTo>
                    <a:pt x="5783" y="1997"/>
                    <a:pt x="5783" y="1997"/>
                    <a:pt x="5783" y="1997"/>
                  </a:cubicBezTo>
                  <a:cubicBezTo>
                    <a:pt x="5813" y="1953"/>
                    <a:pt x="5813" y="1953"/>
                    <a:pt x="5813" y="1953"/>
                  </a:cubicBezTo>
                  <a:cubicBezTo>
                    <a:pt x="5886" y="1866"/>
                    <a:pt x="5886" y="1866"/>
                    <a:pt x="5886" y="1866"/>
                  </a:cubicBezTo>
                  <a:cubicBezTo>
                    <a:pt x="5915" y="1808"/>
                    <a:pt x="5915" y="1808"/>
                    <a:pt x="5915" y="1808"/>
                  </a:cubicBezTo>
                  <a:cubicBezTo>
                    <a:pt x="5856" y="1736"/>
                    <a:pt x="5856" y="1736"/>
                    <a:pt x="5856" y="1736"/>
                  </a:cubicBezTo>
                  <a:cubicBezTo>
                    <a:pt x="5813" y="1722"/>
                    <a:pt x="5813" y="1722"/>
                    <a:pt x="5813" y="1722"/>
                  </a:cubicBezTo>
                  <a:cubicBezTo>
                    <a:pt x="5900" y="1678"/>
                    <a:pt x="5900" y="1678"/>
                    <a:pt x="5900" y="1678"/>
                  </a:cubicBezTo>
                  <a:cubicBezTo>
                    <a:pt x="5959" y="1649"/>
                    <a:pt x="5959" y="1649"/>
                    <a:pt x="5959" y="1649"/>
                  </a:cubicBezTo>
                  <a:cubicBezTo>
                    <a:pt x="6032" y="1476"/>
                    <a:pt x="6032" y="1476"/>
                    <a:pt x="6032" y="1476"/>
                  </a:cubicBezTo>
                  <a:cubicBezTo>
                    <a:pt x="6075" y="1374"/>
                    <a:pt x="6075" y="1374"/>
                    <a:pt x="6075" y="1374"/>
                  </a:cubicBezTo>
                  <a:cubicBezTo>
                    <a:pt x="6134" y="1215"/>
                    <a:pt x="6134" y="1215"/>
                    <a:pt x="6134" y="1215"/>
                  </a:cubicBezTo>
                  <a:cubicBezTo>
                    <a:pt x="6134" y="1215"/>
                    <a:pt x="6163" y="1100"/>
                    <a:pt x="6163" y="1085"/>
                  </a:cubicBezTo>
                  <a:cubicBezTo>
                    <a:pt x="6163" y="1071"/>
                    <a:pt x="6207" y="1042"/>
                    <a:pt x="6207" y="1042"/>
                  </a:cubicBezTo>
                  <a:cubicBezTo>
                    <a:pt x="6265" y="969"/>
                    <a:pt x="6265" y="969"/>
                    <a:pt x="6265" y="969"/>
                  </a:cubicBezTo>
                  <a:cubicBezTo>
                    <a:pt x="6309" y="883"/>
                    <a:pt x="6309" y="883"/>
                    <a:pt x="6309" y="883"/>
                  </a:cubicBezTo>
                  <a:cubicBezTo>
                    <a:pt x="6338" y="825"/>
                    <a:pt x="6338" y="825"/>
                    <a:pt x="6338" y="825"/>
                  </a:cubicBezTo>
                  <a:cubicBezTo>
                    <a:pt x="6411" y="709"/>
                    <a:pt x="6411" y="709"/>
                    <a:pt x="6411" y="709"/>
                  </a:cubicBezTo>
                  <a:cubicBezTo>
                    <a:pt x="6470" y="738"/>
                    <a:pt x="6470" y="738"/>
                    <a:pt x="6470" y="738"/>
                  </a:cubicBezTo>
                  <a:cubicBezTo>
                    <a:pt x="6470" y="738"/>
                    <a:pt x="6499" y="767"/>
                    <a:pt x="6499" y="796"/>
                  </a:cubicBezTo>
                  <a:cubicBezTo>
                    <a:pt x="6499" y="825"/>
                    <a:pt x="6484" y="839"/>
                    <a:pt x="6499" y="839"/>
                  </a:cubicBezTo>
                  <a:cubicBezTo>
                    <a:pt x="6528" y="839"/>
                    <a:pt x="6514" y="839"/>
                    <a:pt x="6528" y="825"/>
                  </a:cubicBezTo>
                  <a:cubicBezTo>
                    <a:pt x="6557" y="796"/>
                    <a:pt x="6572" y="738"/>
                    <a:pt x="6572" y="723"/>
                  </a:cubicBezTo>
                  <a:cubicBezTo>
                    <a:pt x="6572" y="709"/>
                    <a:pt x="6601" y="709"/>
                    <a:pt x="6572" y="694"/>
                  </a:cubicBezTo>
                  <a:cubicBezTo>
                    <a:pt x="6528" y="680"/>
                    <a:pt x="6470" y="651"/>
                    <a:pt x="6470" y="651"/>
                  </a:cubicBezTo>
                  <a:cubicBezTo>
                    <a:pt x="6470" y="651"/>
                    <a:pt x="6411" y="637"/>
                    <a:pt x="6411" y="622"/>
                  </a:cubicBezTo>
                  <a:cubicBezTo>
                    <a:pt x="6426" y="608"/>
                    <a:pt x="6470" y="477"/>
                    <a:pt x="6470" y="477"/>
                  </a:cubicBezTo>
                  <a:cubicBezTo>
                    <a:pt x="6528" y="333"/>
                    <a:pt x="6528" y="333"/>
                    <a:pt x="6528" y="333"/>
                  </a:cubicBezTo>
                  <a:cubicBezTo>
                    <a:pt x="6528" y="246"/>
                    <a:pt x="6528" y="246"/>
                    <a:pt x="6528" y="246"/>
                  </a:cubicBezTo>
                  <a:cubicBezTo>
                    <a:pt x="6572" y="174"/>
                    <a:pt x="6572" y="174"/>
                    <a:pt x="6572" y="174"/>
                  </a:cubicBezTo>
                  <a:cubicBezTo>
                    <a:pt x="6616" y="116"/>
                    <a:pt x="6645" y="29"/>
                    <a:pt x="6718" y="0"/>
                  </a:cubicBezTo>
                  <a:cubicBezTo>
                    <a:pt x="21600" y="0"/>
                    <a:pt x="21600" y="0"/>
                    <a:pt x="21600" y="0"/>
                  </a:cubicBezTo>
                  <a:cubicBezTo>
                    <a:pt x="21600" y="10648"/>
                    <a:pt x="21600" y="10648"/>
                    <a:pt x="21600" y="10648"/>
                  </a:cubicBezTo>
                  <a:cubicBezTo>
                    <a:pt x="21396" y="10720"/>
                    <a:pt x="21396" y="10720"/>
                    <a:pt x="21396" y="10720"/>
                  </a:cubicBezTo>
                  <a:cubicBezTo>
                    <a:pt x="21366" y="10720"/>
                    <a:pt x="20957" y="10663"/>
                    <a:pt x="20972" y="10793"/>
                  </a:cubicBezTo>
                  <a:cubicBezTo>
                    <a:pt x="20987" y="10865"/>
                    <a:pt x="21060" y="10880"/>
                    <a:pt x="21060" y="10880"/>
                  </a:cubicBezTo>
                  <a:cubicBezTo>
                    <a:pt x="21249" y="11053"/>
                    <a:pt x="21249" y="11053"/>
                    <a:pt x="21249" y="11053"/>
                  </a:cubicBezTo>
                  <a:cubicBezTo>
                    <a:pt x="21235" y="11154"/>
                    <a:pt x="21235" y="11154"/>
                    <a:pt x="21235" y="11154"/>
                  </a:cubicBezTo>
                  <a:cubicBezTo>
                    <a:pt x="21352" y="11183"/>
                    <a:pt x="21352" y="11183"/>
                    <a:pt x="21352" y="11183"/>
                  </a:cubicBezTo>
                  <a:cubicBezTo>
                    <a:pt x="21600" y="11183"/>
                    <a:pt x="21600" y="11183"/>
                    <a:pt x="21600" y="11183"/>
                  </a:cubicBezTo>
                  <a:cubicBezTo>
                    <a:pt x="21600" y="11357"/>
                    <a:pt x="21600" y="11357"/>
                    <a:pt x="21600" y="11357"/>
                  </a:cubicBezTo>
                  <a:cubicBezTo>
                    <a:pt x="21454" y="11371"/>
                    <a:pt x="21293" y="11400"/>
                    <a:pt x="21264" y="11415"/>
                  </a:cubicBezTo>
                  <a:cubicBezTo>
                    <a:pt x="21103" y="11588"/>
                    <a:pt x="21103" y="11588"/>
                    <a:pt x="21103" y="11588"/>
                  </a:cubicBezTo>
                  <a:cubicBezTo>
                    <a:pt x="21293" y="11834"/>
                    <a:pt x="21293" y="11834"/>
                    <a:pt x="21293" y="11834"/>
                  </a:cubicBezTo>
                  <a:cubicBezTo>
                    <a:pt x="21279" y="11994"/>
                    <a:pt x="21279" y="11994"/>
                    <a:pt x="21279" y="11994"/>
                  </a:cubicBezTo>
                  <a:cubicBezTo>
                    <a:pt x="21118" y="12109"/>
                    <a:pt x="21118" y="12109"/>
                    <a:pt x="21118" y="12109"/>
                  </a:cubicBezTo>
                  <a:cubicBezTo>
                    <a:pt x="21249" y="12240"/>
                    <a:pt x="21249" y="12240"/>
                    <a:pt x="21249" y="12240"/>
                  </a:cubicBezTo>
                  <a:cubicBezTo>
                    <a:pt x="21483" y="12240"/>
                    <a:pt x="21483" y="12240"/>
                    <a:pt x="21483" y="12240"/>
                  </a:cubicBezTo>
                  <a:cubicBezTo>
                    <a:pt x="21600" y="12326"/>
                    <a:pt x="21600" y="12326"/>
                    <a:pt x="21600" y="12326"/>
                  </a:cubicBezTo>
                  <a:cubicBezTo>
                    <a:pt x="21600" y="13006"/>
                    <a:pt x="21600" y="13006"/>
                    <a:pt x="21600" y="13006"/>
                  </a:cubicBezTo>
                  <a:cubicBezTo>
                    <a:pt x="21556" y="13006"/>
                    <a:pt x="21498" y="13021"/>
                    <a:pt x="21425" y="13021"/>
                  </a:cubicBezTo>
                  <a:cubicBezTo>
                    <a:pt x="21323" y="13194"/>
                    <a:pt x="21323" y="13194"/>
                    <a:pt x="21323" y="13194"/>
                  </a:cubicBezTo>
                  <a:cubicBezTo>
                    <a:pt x="20578" y="13064"/>
                    <a:pt x="20578" y="13064"/>
                    <a:pt x="20578" y="13064"/>
                  </a:cubicBezTo>
                  <a:cubicBezTo>
                    <a:pt x="20329" y="12919"/>
                    <a:pt x="20329" y="12919"/>
                    <a:pt x="20329" y="12919"/>
                  </a:cubicBezTo>
                  <a:cubicBezTo>
                    <a:pt x="20140" y="13050"/>
                    <a:pt x="20183" y="12992"/>
                    <a:pt x="20023" y="13165"/>
                  </a:cubicBezTo>
                  <a:cubicBezTo>
                    <a:pt x="19585" y="13050"/>
                    <a:pt x="19585" y="13050"/>
                    <a:pt x="19585" y="13050"/>
                  </a:cubicBezTo>
                  <a:cubicBezTo>
                    <a:pt x="19307" y="13180"/>
                    <a:pt x="19307" y="13180"/>
                    <a:pt x="19307" y="13180"/>
                  </a:cubicBezTo>
                  <a:cubicBezTo>
                    <a:pt x="18986" y="13498"/>
                    <a:pt x="18986" y="13498"/>
                    <a:pt x="18986" y="13498"/>
                  </a:cubicBezTo>
                  <a:cubicBezTo>
                    <a:pt x="18445" y="13469"/>
                    <a:pt x="18445" y="13469"/>
                    <a:pt x="18445" y="13469"/>
                  </a:cubicBezTo>
                  <a:cubicBezTo>
                    <a:pt x="18329" y="13310"/>
                    <a:pt x="18329" y="13310"/>
                    <a:pt x="18329" y="13310"/>
                  </a:cubicBezTo>
                  <a:cubicBezTo>
                    <a:pt x="18299" y="13455"/>
                    <a:pt x="18299" y="13455"/>
                    <a:pt x="18299" y="13455"/>
                  </a:cubicBezTo>
                  <a:cubicBezTo>
                    <a:pt x="18416" y="13599"/>
                    <a:pt x="18416" y="13599"/>
                    <a:pt x="18416" y="13599"/>
                  </a:cubicBezTo>
                  <a:cubicBezTo>
                    <a:pt x="18212" y="13701"/>
                    <a:pt x="18212" y="13701"/>
                    <a:pt x="18212" y="13701"/>
                  </a:cubicBezTo>
                  <a:cubicBezTo>
                    <a:pt x="18139" y="13498"/>
                    <a:pt x="18139" y="13498"/>
                    <a:pt x="18139" y="13498"/>
                  </a:cubicBezTo>
                  <a:cubicBezTo>
                    <a:pt x="17963" y="13281"/>
                    <a:pt x="17963" y="13281"/>
                    <a:pt x="17963" y="13281"/>
                  </a:cubicBezTo>
                  <a:cubicBezTo>
                    <a:pt x="17701" y="13223"/>
                    <a:pt x="17701" y="13223"/>
                    <a:pt x="17701" y="13223"/>
                  </a:cubicBezTo>
                  <a:cubicBezTo>
                    <a:pt x="17555" y="13122"/>
                    <a:pt x="17555" y="13122"/>
                    <a:pt x="17555" y="13122"/>
                  </a:cubicBezTo>
                  <a:cubicBezTo>
                    <a:pt x="17525" y="13108"/>
                    <a:pt x="16985" y="13165"/>
                    <a:pt x="16883" y="13180"/>
                  </a:cubicBezTo>
                  <a:cubicBezTo>
                    <a:pt x="16751" y="13093"/>
                    <a:pt x="16737" y="13093"/>
                    <a:pt x="16591" y="13021"/>
                  </a:cubicBezTo>
                  <a:cubicBezTo>
                    <a:pt x="16445" y="13137"/>
                    <a:pt x="16445" y="13137"/>
                    <a:pt x="16445" y="13137"/>
                  </a:cubicBezTo>
                  <a:cubicBezTo>
                    <a:pt x="16445" y="13137"/>
                    <a:pt x="16372" y="13267"/>
                    <a:pt x="16255" y="13267"/>
                  </a:cubicBezTo>
                  <a:cubicBezTo>
                    <a:pt x="16123" y="13267"/>
                    <a:pt x="16138" y="13093"/>
                    <a:pt x="16138" y="13093"/>
                  </a:cubicBezTo>
                  <a:cubicBezTo>
                    <a:pt x="15948" y="13122"/>
                    <a:pt x="15948" y="13122"/>
                    <a:pt x="15948" y="13122"/>
                  </a:cubicBezTo>
                  <a:cubicBezTo>
                    <a:pt x="15700" y="13469"/>
                    <a:pt x="15700" y="13469"/>
                    <a:pt x="15700" y="13469"/>
                  </a:cubicBezTo>
                  <a:cubicBezTo>
                    <a:pt x="15393" y="13730"/>
                    <a:pt x="15393" y="13730"/>
                    <a:pt x="15393" y="13730"/>
                  </a:cubicBezTo>
                  <a:cubicBezTo>
                    <a:pt x="15218" y="13990"/>
                    <a:pt x="15218" y="13990"/>
                    <a:pt x="15218" y="13990"/>
                  </a:cubicBezTo>
                  <a:cubicBezTo>
                    <a:pt x="14882" y="14120"/>
                    <a:pt x="14882" y="14120"/>
                    <a:pt x="14882" y="14120"/>
                  </a:cubicBezTo>
                  <a:cubicBezTo>
                    <a:pt x="14897" y="14236"/>
                    <a:pt x="14897" y="14236"/>
                    <a:pt x="14897" y="14236"/>
                  </a:cubicBezTo>
                  <a:cubicBezTo>
                    <a:pt x="15232" y="14525"/>
                    <a:pt x="15232" y="14525"/>
                    <a:pt x="15232" y="14525"/>
                  </a:cubicBezTo>
                  <a:cubicBezTo>
                    <a:pt x="14999" y="14685"/>
                    <a:pt x="14999" y="14685"/>
                    <a:pt x="14999" y="14685"/>
                  </a:cubicBezTo>
                  <a:cubicBezTo>
                    <a:pt x="14648" y="14323"/>
                    <a:pt x="14780" y="14598"/>
                    <a:pt x="14342" y="14265"/>
                  </a:cubicBezTo>
                  <a:cubicBezTo>
                    <a:pt x="14269" y="14525"/>
                    <a:pt x="14254" y="14453"/>
                    <a:pt x="14298" y="14670"/>
                  </a:cubicBezTo>
                  <a:cubicBezTo>
                    <a:pt x="14108" y="14800"/>
                    <a:pt x="14108" y="14800"/>
                    <a:pt x="14108" y="14800"/>
                  </a:cubicBezTo>
                  <a:cubicBezTo>
                    <a:pt x="14210" y="15191"/>
                    <a:pt x="14137" y="15061"/>
                    <a:pt x="14385" y="15321"/>
                  </a:cubicBezTo>
                  <a:cubicBezTo>
                    <a:pt x="14239" y="15625"/>
                    <a:pt x="14269" y="15495"/>
                    <a:pt x="14283" y="15856"/>
                  </a:cubicBezTo>
                  <a:cubicBezTo>
                    <a:pt x="14619" y="15958"/>
                    <a:pt x="14619" y="15958"/>
                    <a:pt x="14619" y="15958"/>
                  </a:cubicBezTo>
                  <a:cubicBezTo>
                    <a:pt x="14707" y="16160"/>
                    <a:pt x="14707" y="16160"/>
                    <a:pt x="14707" y="16160"/>
                  </a:cubicBezTo>
                  <a:cubicBezTo>
                    <a:pt x="14926" y="16261"/>
                    <a:pt x="14926" y="16261"/>
                    <a:pt x="14926" y="16261"/>
                  </a:cubicBezTo>
                  <a:cubicBezTo>
                    <a:pt x="15145" y="16117"/>
                    <a:pt x="15145" y="16117"/>
                    <a:pt x="15145" y="16117"/>
                  </a:cubicBezTo>
                  <a:cubicBezTo>
                    <a:pt x="15466" y="16276"/>
                    <a:pt x="15466" y="16276"/>
                    <a:pt x="15466" y="16276"/>
                  </a:cubicBezTo>
                  <a:cubicBezTo>
                    <a:pt x="15890" y="16594"/>
                    <a:pt x="15890" y="16594"/>
                    <a:pt x="15890" y="16594"/>
                  </a:cubicBezTo>
                  <a:cubicBezTo>
                    <a:pt x="16138" y="16898"/>
                    <a:pt x="16138" y="16898"/>
                    <a:pt x="16138" y="16898"/>
                  </a:cubicBezTo>
                  <a:cubicBezTo>
                    <a:pt x="15992" y="16782"/>
                    <a:pt x="15992" y="16782"/>
                    <a:pt x="15992" y="16782"/>
                  </a:cubicBezTo>
                  <a:cubicBezTo>
                    <a:pt x="15904" y="16826"/>
                    <a:pt x="15904" y="16826"/>
                    <a:pt x="15904" y="16826"/>
                  </a:cubicBezTo>
                  <a:cubicBezTo>
                    <a:pt x="15963" y="16927"/>
                    <a:pt x="15963" y="16927"/>
                    <a:pt x="15963" y="16927"/>
                  </a:cubicBezTo>
                  <a:cubicBezTo>
                    <a:pt x="16269" y="17014"/>
                    <a:pt x="16269" y="17014"/>
                    <a:pt x="16269" y="17014"/>
                  </a:cubicBezTo>
                  <a:cubicBezTo>
                    <a:pt x="16255" y="17245"/>
                    <a:pt x="16255" y="17245"/>
                    <a:pt x="16255" y="17245"/>
                  </a:cubicBezTo>
                  <a:cubicBezTo>
                    <a:pt x="16021" y="18113"/>
                    <a:pt x="16021" y="18113"/>
                    <a:pt x="16021" y="18113"/>
                  </a:cubicBezTo>
                  <a:cubicBezTo>
                    <a:pt x="15831" y="18518"/>
                    <a:pt x="15831" y="18518"/>
                    <a:pt x="15831" y="18518"/>
                  </a:cubicBezTo>
                  <a:cubicBezTo>
                    <a:pt x="15787" y="18764"/>
                    <a:pt x="15787" y="18764"/>
                    <a:pt x="15787" y="18764"/>
                  </a:cubicBezTo>
                  <a:cubicBezTo>
                    <a:pt x="15758" y="19010"/>
                    <a:pt x="15758" y="19010"/>
                    <a:pt x="15758" y="19010"/>
                  </a:cubicBezTo>
                  <a:cubicBezTo>
                    <a:pt x="15817" y="19213"/>
                    <a:pt x="15817" y="19213"/>
                    <a:pt x="15817" y="19213"/>
                  </a:cubicBezTo>
                  <a:cubicBezTo>
                    <a:pt x="15817" y="19213"/>
                    <a:pt x="15817" y="19271"/>
                    <a:pt x="15875" y="19329"/>
                  </a:cubicBezTo>
                  <a:cubicBezTo>
                    <a:pt x="15933" y="19386"/>
                    <a:pt x="15948" y="19444"/>
                    <a:pt x="16021" y="19502"/>
                  </a:cubicBezTo>
                  <a:cubicBezTo>
                    <a:pt x="16094" y="19546"/>
                    <a:pt x="16065" y="19575"/>
                    <a:pt x="16328" y="19589"/>
                  </a:cubicBezTo>
                  <a:cubicBezTo>
                    <a:pt x="16576" y="19618"/>
                    <a:pt x="16342" y="19734"/>
                    <a:pt x="16357" y="19777"/>
                  </a:cubicBezTo>
                  <a:cubicBezTo>
                    <a:pt x="16372" y="19806"/>
                    <a:pt x="16386" y="20009"/>
                    <a:pt x="16488" y="20211"/>
                  </a:cubicBezTo>
                  <a:cubicBezTo>
                    <a:pt x="16591" y="20414"/>
                    <a:pt x="16649" y="20385"/>
                    <a:pt x="16810" y="20472"/>
                  </a:cubicBezTo>
                  <a:cubicBezTo>
                    <a:pt x="16970" y="20544"/>
                    <a:pt x="16897" y="20573"/>
                    <a:pt x="17000" y="20775"/>
                  </a:cubicBezTo>
                  <a:cubicBezTo>
                    <a:pt x="17102" y="20963"/>
                    <a:pt x="17350" y="20877"/>
                    <a:pt x="17394" y="20877"/>
                  </a:cubicBezTo>
                  <a:cubicBezTo>
                    <a:pt x="17423" y="20877"/>
                    <a:pt x="17452" y="20920"/>
                    <a:pt x="17496" y="20978"/>
                  </a:cubicBezTo>
                  <a:cubicBezTo>
                    <a:pt x="17496" y="20978"/>
                    <a:pt x="17496" y="20978"/>
                    <a:pt x="17496" y="20978"/>
                  </a:cubicBezTo>
                  <a:cubicBezTo>
                    <a:pt x="17496" y="20978"/>
                    <a:pt x="17409" y="21065"/>
                    <a:pt x="17379" y="21079"/>
                  </a:cubicBezTo>
                  <a:cubicBezTo>
                    <a:pt x="17365" y="21094"/>
                    <a:pt x="17350" y="21108"/>
                    <a:pt x="17335" y="21123"/>
                  </a:cubicBezTo>
                  <a:cubicBezTo>
                    <a:pt x="17321" y="21152"/>
                    <a:pt x="17365" y="21166"/>
                    <a:pt x="17335" y="21180"/>
                  </a:cubicBezTo>
                  <a:cubicBezTo>
                    <a:pt x="17306" y="21195"/>
                    <a:pt x="17277" y="21253"/>
                    <a:pt x="17277" y="21282"/>
                  </a:cubicBezTo>
                  <a:cubicBezTo>
                    <a:pt x="17292" y="21311"/>
                    <a:pt x="17262" y="21354"/>
                    <a:pt x="17262" y="21354"/>
                  </a:cubicBezTo>
                  <a:cubicBezTo>
                    <a:pt x="17262" y="21354"/>
                    <a:pt x="17204" y="21426"/>
                    <a:pt x="17131" y="21426"/>
                  </a:cubicBezTo>
                  <a:cubicBezTo>
                    <a:pt x="17073" y="21441"/>
                    <a:pt x="17029" y="21412"/>
                    <a:pt x="16970" y="21397"/>
                  </a:cubicBezTo>
                  <a:cubicBezTo>
                    <a:pt x="16912" y="21383"/>
                    <a:pt x="16912" y="21383"/>
                    <a:pt x="16912" y="21383"/>
                  </a:cubicBezTo>
                  <a:cubicBezTo>
                    <a:pt x="16912" y="21383"/>
                    <a:pt x="16868" y="21383"/>
                    <a:pt x="16810" y="21369"/>
                  </a:cubicBezTo>
                  <a:cubicBezTo>
                    <a:pt x="16751" y="21340"/>
                    <a:pt x="16795" y="21340"/>
                    <a:pt x="16795" y="21340"/>
                  </a:cubicBezTo>
                  <a:cubicBezTo>
                    <a:pt x="16737" y="21282"/>
                    <a:pt x="16737" y="21282"/>
                    <a:pt x="16737" y="21282"/>
                  </a:cubicBezTo>
                  <a:cubicBezTo>
                    <a:pt x="16678" y="21209"/>
                    <a:pt x="16678" y="21209"/>
                    <a:pt x="16678" y="21209"/>
                  </a:cubicBezTo>
                  <a:cubicBezTo>
                    <a:pt x="16678" y="21209"/>
                    <a:pt x="16664" y="21195"/>
                    <a:pt x="16664" y="21166"/>
                  </a:cubicBezTo>
                  <a:cubicBezTo>
                    <a:pt x="16649" y="21137"/>
                    <a:pt x="16649" y="21166"/>
                    <a:pt x="16620" y="21166"/>
                  </a:cubicBezTo>
                  <a:cubicBezTo>
                    <a:pt x="16591" y="21166"/>
                    <a:pt x="16576" y="21180"/>
                    <a:pt x="16547" y="21166"/>
                  </a:cubicBezTo>
                  <a:cubicBezTo>
                    <a:pt x="16532" y="21152"/>
                    <a:pt x="16532" y="21137"/>
                    <a:pt x="16532" y="21123"/>
                  </a:cubicBezTo>
                  <a:cubicBezTo>
                    <a:pt x="16532" y="21108"/>
                    <a:pt x="16488" y="21079"/>
                    <a:pt x="16445" y="21079"/>
                  </a:cubicBezTo>
                  <a:cubicBezTo>
                    <a:pt x="16401" y="21065"/>
                    <a:pt x="16415" y="21036"/>
                    <a:pt x="16357" y="21036"/>
                  </a:cubicBezTo>
                  <a:cubicBezTo>
                    <a:pt x="16299" y="21036"/>
                    <a:pt x="16342" y="20992"/>
                    <a:pt x="16342" y="20963"/>
                  </a:cubicBezTo>
                  <a:cubicBezTo>
                    <a:pt x="16328" y="20949"/>
                    <a:pt x="16284" y="20992"/>
                    <a:pt x="16269" y="21007"/>
                  </a:cubicBezTo>
                  <a:cubicBezTo>
                    <a:pt x="16255" y="21021"/>
                    <a:pt x="16240" y="21050"/>
                    <a:pt x="16211" y="21050"/>
                  </a:cubicBezTo>
                  <a:cubicBezTo>
                    <a:pt x="16196" y="21065"/>
                    <a:pt x="16182" y="20978"/>
                    <a:pt x="16182" y="20978"/>
                  </a:cubicBezTo>
                  <a:cubicBezTo>
                    <a:pt x="16182" y="20978"/>
                    <a:pt x="16182" y="20978"/>
                    <a:pt x="16123" y="20978"/>
                  </a:cubicBezTo>
                  <a:cubicBezTo>
                    <a:pt x="16050" y="20978"/>
                    <a:pt x="16094" y="21007"/>
                    <a:pt x="16094" y="21007"/>
                  </a:cubicBezTo>
                  <a:cubicBezTo>
                    <a:pt x="16050" y="21108"/>
                    <a:pt x="16050" y="21108"/>
                    <a:pt x="16050" y="21108"/>
                  </a:cubicBezTo>
                  <a:cubicBezTo>
                    <a:pt x="15977" y="21166"/>
                    <a:pt x="15977" y="21166"/>
                    <a:pt x="15977" y="21166"/>
                  </a:cubicBezTo>
                  <a:cubicBezTo>
                    <a:pt x="15977" y="21166"/>
                    <a:pt x="15992" y="21209"/>
                    <a:pt x="16006" y="21238"/>
                  </a:cubicBezTo>
                  <a:cubicBezTo>
                    <a:pt x="16006" y="21267"/>
                    <a:pt x="16050" y="21282"/>
                    <a:pt x="16050" y="21282"/>
                  </a:cubicBezTo>
                  <a:cubicBezTo>
                    <a:pt x="16050" y="21282"/>
                    <a:pt x="16094" y="21311"/>
                    <a:pt x="16138" y="21340"/>
                  </a:cubicBezTo>
                  <a:cubicBezTo>
                    <a:pt x="16182" y="21369"/>
                    <a:pt x="16167" y="21369"/>
                    <a:pt x="16196" y="21369"/>
                  </a:cubicBezTo>
                  <a:cubicBezTo>
                    <a:pt x="16226" y="21383"/>
                    <a:pt x="16269" y="21397"/>
                    <a:pt x="16328" y="21426"/>
                  </a:cubicBezTo>
                  <a:cubicBezTo>
                    <a:pt x="16386" y="21441"/>
                    <a:pt x="16357" y="21426"/>
                    <a:pt x="16445" y="21499"/>
                  </a:cubicBezTo>
                  <a:cubicBezTo>
                    <a:pt x="16518" y="21557"/>
                    <a:pt x="16430" y="21499"/>
                    <a:pt x="16415" y="21542"/>
                  </a:cubicBezTo>
                  <a:cubicBezTo>
                    <a:pt x="16401" y="21600"/>
                    <a:pt x="16313" y="21484"/>
                    <a:pt x="16255" y="21513"/>
                  </a:cubicBezTo>
                  <a:cubicBezTo>
                    <a:pt x="16196" y="21528"/>
                    <a:pt x="16182" y="21484"/>
                    <a:pt x="16138" y="21499"/>
                  </a:cubicBezTo>
                  <a:cubicBezTo>
                    <a:pt x="16138" y="21499"/>
                    <a:pt x="16138" y="21499"/>
                    <a:pt x="16138" y="21499"/>
                  </a:cubicBezTo>
                  <a:cubicBezTo>
                    <a:pt x="16123" y="21499"/>
                    <a:pt x="16123" y="21499"/>
                    <a:pt x="16123" y="21499"/>
                  </a:cubicBezTo>
                  <a:cubicBezTo>
                    <a:pt x="16123" y="21484"/>
                    <a:pt x="16109" y="21470"/>
                    <a:pt x="16109" y="21455"/>
                  </a:cubicBezTo>
                  <a:cubicBezTo>
                    <a:pt x="16094" y="21441"/>
                    <a:pt x="16021" y="21441"/>
                    <a:pt x="16021" y="21441"/>
                  </a:cubicBezTo>
                  <a:cubicBezTo>
                    <a:pt x="15963" y="21426"/>
                    <a:pt x="15963" y="21426"/>
                    <a:pt x="15963" y="21426"/>
                  </a:cubicBezTo>
                  <a:cubicBezTo>
                    <a:pt x="15919" y="21412"/>
                    <a:pt x="15919" y="21412"/>
                    <a:pt x="15919" y="21412"/>
                  </a:cubicBezTo>
                  <a:cubicBezTo>
                    <a:pt x="15875" y="21340"/>
                    <a:pt x="15875" y="21340"/>
                    <a:pt x="15875" y="21340"/>
                  </a:cubicBezTo>
                  <a:cubicBezTo>
                    <a:pt x="15831" y="21311"/>
                    <a:pt x="15831" y="21311"/>
                    <a:pt x="15831" y="21311"/>
                  </a:cubicBezTo>
                  <a:cubicBezTo>
                    <a:pt x="15787" y="21253"/>
                    <a:pt x="15787" y="21253"/>
                    <a:pt x="15787" y="21253"/>
                  </a:cubicBezTo>
                  <a:cubicBezTo>
                    <a:pt x="15802" y="21224"/>
                    <a:pt x="15802" y="21224"/>
                    <a:pt x="15802" y="21224"/>
                  </a:cubicBezTo>
                  <a:cubicBezTo>
                    <a:pt x="15846" y="21166"/>
                    <a:pt x="15846" y="21166"/>
                    <a:pt x="15846" y="21166"/>
                  </a:cubicBezTo>
                  <a:cubicBezTo>
                    <a:pt x="15846" y="21166"/>
                    <a:pt x="15860" y="21166"/>
                    <a:pt x="15875" y="21137"/>
                  </a:cubicBezTo>
                  <a:cubicBezTo>
                    <a:pt x="15904" y="21094"/>
                    <a:pt x="15875" y="21094"/>
                    <a:pt x="15875" y="21094"/>
                  </a:cubicBezTo>
                  <a:cubicBezTo>
                    <a:pt x="15875" y="21094"/>
                    <a:pt x="15817" y="21065"/>
                    <a:pt x="15787" y="21050"/>
                  </a:cubicBezTo>
                  <a:cubicBezTo>
                    <a:pt x="15758" y="21036"/>
                    <a:pt x="15714" y="21079"/>
                    <a:pt x="15714" y="21079"/>
                  </a:cubicBezTo>
                  <a:cubicBezTo>
                    <a:pt x="15627" y="21065"/>
                    <a:pt x="15627" y="21065"/>
                    <a:pt x="15627" y="21065"/>
                  </a:cubicBezTo>
                  <a:cubicBezTo>
                    <a:pt x="15554" y="21065"/>
                    <a:pt x="15554" y="21065"/>
                    <a:pt x="15554" y="21065"/>
                  </a:cubicBezTo>
                  <a:cubicBezTo>
                    <a:pt x="15495" y="21007"/>
                    <a:pt x="15495" y="21007"/>
                    <a:pt x="15495" y="21007"/>
                  </a:cubicBezTo>
                  <a:cubicBezTo>
                    <a:pt x="15393" y="20978"/>
                    <a:pt x="15393" y="20978"/>
                    <a:pt x="15393" y="20978"/>
                  </a:cubicBezTo>
                  <a:cubicBezTo>
                    <a:pt x="15335" y="20949"/>
                    <a:pt x="15335" y="20949"/>
                    <a:pt x="15335" y="20949"/>
                  </a:cubicBezTo>
                  <a:cubicBezTo>
                    <a:pt x="15335" y="20949"/>
                    <a:pt x="15335" y="20833"/>
                    <a:pt x="15335" y="20819"/>
                  </a:cubicBezTo>
                  <a:cubicBezTo>
                    <a:pt x="15335" y="20790"/>
                    <a:pt x="15335" y="20746"/>
                    <a:pt x="15335" y="20746"/>
                  </a:cubicBezTo>
                  <a:cubicBezTo>
                    <a:pt x="15335" y="20746"/>
                    <a:pt x="15247" y="20732"/>
                    <a:pt x="15203" y="20746"/>
                  </a:cubicBezTo>
                  <a:cubicBezTo>
                    <a:pt x="15174" y="20761"/>
                    <a:pt x="15130" y="20746"/>
                    <a:pt x="15130" y="20746"/>
                  </a:cubicBezTo>
                  <a:cubicBezTo>
                    <a:pt x="15130" y="20746"/>
                    <a:pt x="15013" y="20732"/>
                    <a:pt x="14999" y="20703"/>
                  </a:cubicBezTo>
                  <a:cubicBezTo>
                    <a:pt x="14999" y="20674"/>
                    <a:pt x="14999" y="20689"/>
                    <a:pt x="14984" y="20689"/>
                  </a:cubicBezTo>
                  <a:cubicBezTo>
                    <a:pt x="14955" y="20689"/>
                    <a:pt x="14867" y="20689"/>
                    <a:pt x="14867" y="20689"/>
                  </a:cubicBezTo>
                  <a:cubicBezTo>
                    <a:pt x="14780" y="20660"/>
                    <a:pt x="14780" y="20660"/>
                    <a:pt x="14780" y="20660"/>
                  </a:cubicBezTo>
                  <a:cubicBezTo>
                    <a:pt x="14780" y="20790"/>
                    <a:pt x="14780" y="20790"/>
                    <a:pt x="14780" y="20790"/>
                  </a:cubicBezTo>
                  <a:cubicBezTo>
                    <a:pt x="14765" y="20761"/>
                    <a:pt x="14765" y="20761"/>
                    <a:pt x="14765" y="20761"/>
                  </a:cubicBezTo>
                  <a:cubicBezTo>
                    <a:pt x="14619" y="20746"/>
                    <a:pt x="14619" y="20746"/>
                    <a:pt x="14619" y="20746"/>
                  </a:cubicBezTo>
                  <a:cubicBezTo>
                    <a:pt x="14531" y="20790"/>
                    <a:pt x="14531" y="20790"/>
                    <a:pt x="14531" y="20790"/>
                  </a:cubicBezTo>
                  <a:cubicBezTo>
                    <a:pt x="14458" y="20819"/>
                    <a:pt x="14458" y="20819"/>
                    <a:pt x="14458" y="20819"/>
                  </a:cubicBezTo>
                  <a:cubicBezTo>
                    <a:pt x="14458" y="20862"/>
                    <a:pt x="14458" y="20862"/>
                    <a:pt x="14458" y="20862"/>
                  </a:cubicBezTo>
                  <a:cubicBezTo>
                    <a:pt x="14429" y="20906"/>
                    <a:pt x="14429" y="20906"/>
                    <a:pt x="14429" y="20906"/>
                  </a:cubicBezTo>
                  <a:cubicBezTo>
                    <a:pt x="14429" y="20906"/>
                    <a:pt x="14385" y="20920"/>
                    <a:pt x="14356" y="20920"/>
                  </a:cubicBezTo>
                  <a:cubicBezTo>
                    <a:pt x="14356" y="20934"/>
                    <a:pt x="14342" y="20963"/>
                    <a:pt x="14342" y="20978"/>
                  </a:cubicBezTo>
                  <a:cubicBezTo>
                    <a:pt x="14327" y="20992"/>
                    <a:pt x="14298" y="20992"/>
                    <a:pt x="14298" y="20992"/>
                  </a:cubicBezTo>
                  <a:cubicBezTo>
                    <a:pt x="14239" y="20978"/>
                    <a:pt x="14239" y="20978"/>
                    <a:pt x="14239" y="20978"/>
                  </a:cubicBezTo>
                  <a:cubicBezTo>
                    <a:pt x="14196" y="20978"/>
                    <a:pt x="14196" y="20978"/>
                    <a:pt x="14196" y="20978"/>
                  </a:cubicBezTo>
                  <a:cubicBezTo>
                    <a:pt x="14166" y="20949"/>
                    <a:pt x="14166" y="20949"/>
                    <a:pt x="14166" y="20949"/>
                  </a:cubicBezTo>
                  <a:cubicBezTo>
                    <a:pt x="14196" y="20891"/>
                    <a:pt x="14196" y="20891"/>
                    <a:pt x="14196" y="20891"/>
                  </a:cubicBezTo>
                  <a:cubicBezTo>
                    <a:pt x="14196" y="20862"/>
                    <a:pt x="14196" y="20862"/>
                    <a:pt x="14196" y="20862"/>
                  </a:cubicBezTo>
                  <a:cubicBezTo>
                    <a:pt x="14196" y="20862"/>
                    <a:pt x="14196" y="20862"/>
                    <a:pt x="14196" y="20862"/>
                  </a:cubicBezTo>
                  <a:cubicBezTo>
                    <a:pt x="14196" y="20862"/>
                    <a:pt x="14196" y="20862"/>
                    <a:pt x="14196" y="20862"/>
                  </a:cubicBezTo>
                  <a:cubicBezTo>
                    <a:pt x="14108" y="20862"/>
                    <a:pt x="14108" y="20862"/>
                    <a:pt x="14108" y="20862"/>
                  </a:cubicBezTo>
                  <a:cubicBezTo>
                    <a:pt x="14020" y="20833"/>
                    <a:pt x="14020" y="20833"/>
                    <a:pt x="14020" y="20833"/>
                  </a:cubicBezTo>
                  <a:cubicBezTo>
                    <a:pt x="13830" y="20819"/>
                    <a:pt x="13830" y="20819"/>
                    <a:pt x="13830" y="20819"/>
                  </a:cubicBezTo>
                  <a:cubicBezTo>
                    <a:pt x="13714" y="20790"/>
                    <a:pt x="13714" y="20790"/>
                    <a:pt x="13714" y="20790"/>
                  </a:cubicBezTo>
                  <a:cubicBezTo>
                    <a:pt x="13641" y="20717"/>
                    <a:pt x="13641" y="20717"/>
                    <a:pt x="13641" y="20717"/>
                  </a:cubicBezTo>
                  <a:cubicBezTo>
                    <a:pt x="13524" y="20689"/>
                    <a:pt x="13524" y="20689"/>
                    <a:pt x="13524" y="20689"/>
                  </a:cubicBezTo>
                  <a:cubicBezTo>
                    <a:pt x="13422" y="20761"/>
                    <a:pt x="13422" y="20761"/>
                    <a:pt x="13422" y="20761"/>
                  </a:cubicBezTo>
                  <a:cubicBezTo>
                    <a:pt x="13422" y="20761"/>
                    <a:pt x="13319" y="20717"/>
                    <a:pt x="13275" y="20717"/>
                  </a:cubicBezTo>
                  <a:cubicBezTo>
                    <a:pt x="13246" y="20732"/>
                    <a:pt x="13188" y="20746"/>
                    <a:pt x="13173" y="20761"/>
                  </a:cubicBezTo>
                  <a:cubicBezTo>
                    <a:pt x="13159" y="20761"/>
                    <a:pt x="13159" y="20775"/>
                    <a:pt x="13144" y="20775"/>
                  </a:cubicBezTo>
                  <a:cubicBezTo>
                    <a:pt x="13144" y="20775"/>
                    <a:pt x="13144" y="20775"/>
                    <a:pt x="13144" y="20775"/>
                  </a:cubicBezTo>
                  <a:cubicBezTo>
                    <a:pt x="13144" y="20775"/>
                    <a:pt x="13144" y="20775"/>
                    <a:pt x="13144" y="20775"/>
                  </a:cubicBezTo>
                  <a:cubicBezTo>
                    <a:pt x="13144" y="20775"/>
                    <a:pt x="13144" y="20775"/>
                    <a:pt x="13144" y="20775"/>
                  </a:cubicBezTo>
                  <a:cubicBezTo>
                    <a:pt x="13144" y="20790"/>
                    <a:pt x="13144" y="20790"/>
                    <a:pt x="13144" y="20790"/>
                  </a:cubicBezTo>
                  <a:cubicBezTo>
                    <a:pt x="13144" y="20790"/>
                    <a:pt x="13144" y="20790"/>
                    <a:pt x="13144" y="20790"/>
                  </a:cubicBezTo>
                  <a:cubicBezTo>
                    <a:pt x="13144" y="20790"/>
                    <a:pt x="13144" y="20790"/>
                    <a:pt x="13144" y="20790"/>
                  </a:cubicBezTo>
                  <a:cubicBezTo>
                    <a:pt x="13144" y="20790"/>
                    <a:pt x="13144" y="20790"/>
                    <a:pt x="13144" y="20790"/>
                  </a:cubicBezTo>
                  <a:cubicBezTo>
                    <a:pt x="13144" y="20790"/>
                    <a:pt x="13144" y="20790"/>
                    <a:pt x="13144" y="20790"/>
                  </a:cubicBezTo>
                  <a:cubicBezTo>
                    <a:pt x="13144" y="20790"/>
                    <a:pt x="13144" y="20790"/>
                    <a:pt x="13144"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790"/>
                    <a:pt x="13129" y="20790"/>
                    <a:pt x="13129" y="20790"/>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29" y="20804"/>
                    <a:pt x="13129" y="20804"/>
                    <a:pt x="13129"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115" y="20804"/>
                    <a:pt x="13115" y="20804"/>
                    <a:pt x="13115" y="20804"/>
                  </a:cubicBezTo>
                  <a:cubicBezTo>
                    <a:pt x="13086" y="20819"/>
                    <a:pt x="13056" y="20804"/>
                    <a:pt x="13027" y="20804"/>
                  </a:cubicBezTo>
                  <a:cubicBezTo>
                    <a:pt x="13013" y="20819"/>
                    <a:pt x="12998" y="20833"/>
                    <a:pt x="12969" y="20833"/>
                  </a:cubicBezTo>
                  <a:cubicBezTo>
                    <a:pt x="12940" y="20833"/>
                    <a:pt x="12925" y="20819"/>
                    <a:pt x="12896" y="20819"/>
                  </a:cubicBezTo>
                  <a:cubicBezTo>
                    <a:pt x="12881" y="20833"/>
                    <a:pt x="12867" y="20848"/>
                    <a:pt x="12837" y="20848"/>
                  </a:cubicBezTo>
                  <a:cubicBezTo>
                    <a:pt x="12808" y="20848"/>
                    <a:pt x="12794" y="20819"/>
                    <a:pt x="12794" y="20819"/>
                  </a:cubicBezTo>
                  <a:cubicBezTo>
                    <a:pt x="12750" y="20819"/>
                    <a:pt x="12750" y="20819"/>
                    <a:pt x="12750" y="20819"/>
                  </a:cubicBezTo>
                  <a:cubicBezTo>
                    <a:pt x="12706" y="20775"/>
                    <a:pt x="12706" y="20775"/>
                    <a:pt x="12706" y="20775"/>
                  </a:cubicBezTo>
                  <a:cubicBezTo>
                    <a:pt x="12706" y="20775"/>
                    <a:pt x="12691" y="20804"/>
                    <a:pt x="12647" y="20804"/>
                  </a:cubicBezTo>
                  <a:cubicBezTo>
                    <a:pt x="12618" y="20790"/>
                    <a:pt x="12589" y="20775"/>
                    <a:pt x="12560" y="20790"/>
                  </a:cubicBezTo>
                  <a:cubicBezTo>
                    <a:pt x="12531" y="20790"/>
                    <a:pt x="12487" y="20804"/>
                    <a:pt x="12487" y="20804"/>
                  </a:cubicBezTo>
                  <a:cubicBezTo>
                    <a:pt x="12370" y="20761"/>
                    <a:pt x="12370" y="20761"/>
                    <a:pt x="12370" y="20761"/>
                  </a:cubicBezTo>
                  <a:cubicBezTo>
                    <a:pt x="12297" y="20746"/>
                    <a:pt x="12297" y="20746"/>
                    <a:pt x="12297" y="20746"/>
                  </a:cubicBezTo>
                  <a:cubicBezTo>
                    <a:pt x="12239" y="20732"/>
                    <a:pt x="12239" y="20732"/>
                    <a:pt x="12239" y="20732"/>
                  </a:cubicBezTo>
                  <a:cubicBezTo>
                    <a:pt x="12209" y="20775"/>
                    <a:pt x="12209" y="20775"/>
                    <a:pt x="12209" y="20775"/>
                  </a:cubicBezTo>
                  <a:cubicBezTo>
                    <a:pt x="12136" y="20775"/>
                    <a:pt x="12136" y="20775"/>
                    <a:pt x="12136" y="20775"/>
                  </a:cubicBezTo>
                  <a:cubicBezTo>
                    <a:pt x="12136" y="20775"/>
                    <a:pt x="12049" y="20746"/>
                    <a:pt x="11990" y="20761"/>
                  </a:cubicBezTo>
                  <a:cubicBezTo>
                    <a:pt x="11976" y="20761"/>
                    <a:pt x="11932" y="20804"/>
                    <a:pt x="11917" y="20804"/>
                  </a:cubicBezTo>
                  <a:cubicBezTo>
                    <a:pt x="11903" y="20819"/>
                    <a:pt x="11961" y="20862"/>
                    <a:pt x="11932" y="20862"/>
                  </a:cubicBezTo>
                  <a:cubicBezTo>
                    <a:pt x="11494" y="20819"/>
                    <a:pt x="10983" y="20645"/>
                    <a:pt x="10544" y="20529"/>
                  </a:cubicBezTo>
                  <a:cubicBezTo>
                    <a:pt x="10544" y="20529"/>
                    <a:pt x="10179" y="20443"/>
                    <a:pt x="10121" y="20443"/>
                  </a:cubicBezTo>
                  <a:cubicBezTo>
                    <a:pt x="10062" y="20443"/>
                    <a:pt x="9946" y="20283"/>
                    <a:pt x="9946" y="20240"/>
                  </a:cubicBezTo>
                  <a:cubicBezTo>
                    <a:pt x="9946" y="20197"/>
                    <a:pt x="9931" y="20066"/>
                    <a:pt x="9989" y="20038"/>
                  </a:cubicBezTo>
                  <a:cubicBezTo>
                    <a:pt x="10048" y="20009"/>
                    <a:pt x="10048" y="20009"/>
                    <a:pt x="10150" y="19922"/>
                  </a:cubicBezTo>
                  <a:cubicBezTo>
                    <a:pt x="10238" y="19820"/>
                    <a:pt x="10238" y="19748"/>
                    <a:pt x="10238" y="19748"/>
                  </a:cubicBezTo>
                  <a:cubicBezTo>
                    <a:pt x="10019" y="19618"/>
                    <a:pt x="10019" y="19618"/>
                    <a:pt x="10019" y="19618"/>
                  </a:cubicBezTo>
                  <a:cubicBezTo>
                    <a:pt x="10019" y="19618"/>
                    <a:pt x="9770" y="19748"/>
                    <a:pt x="9727" y="19719"/>
                  </a:cubicBezTo>
                  <a:cubicBezTo>
                    <a:pt x="9668" y="19690"/>
                    <a:pt x="9434" y="19849"/>
                    <a:pt x="9434" y="19849"/>
                  </a:cubicBezTo>
                  <a:cubicBezTo>
                    <a:pt x="9201" y="19864"/>
                    <a:pt x="9201" y="19864"/>
                    <a:pt x="9201" y="19864"/>
                  </a:cubicBezTo>
                  <a:cubicBezTo>
                    <a:pt x="9201" y="19835"/>
                    <a:pt x="9201" y="19835"/>
                    <a:pt x="9201" y="19835"/>
                  </a:cubicBezTo>
                  <a:cubicBezTo>
                    <a:pt x="9201" y="19835"/>
                    <a:pt x="9245" y="19690"/>
                    <a:pt x="9303" y="19719"/>
                  </a:cubicBezTo>
                  <a:cubicBezTo>
                    <a:pt x="9361" y="19546"/>
                    <a:pt x="9361" y="19546"/>
                    <a:pt x="9361" y="19546"/>
                  </a:cubicBezTo>
                  <a:cubicBezTo>
                    <a:pt x="9332" y="19343"/>
                    <a:pt x="9332" y="19343"/>
                    <a:pt x="9332" y="19343"/>
                  </a:cubicBezTo>
                  <a:cubicBezTo>
                    <a:pt x="9274" y="19068"/>
                    <a:pt x="9274" y="19068"/>
                    <a:pt x="9274" y="19068"/>
                  </a:cubicBezTo>
                  <a:cubicBezTo>
                    <a:pt x="9566" y="19054"/>
                    <a:pt x="9566" y="19054"/>
                    <a:pt x="9566" y="19054"/>
                  </a:cubicBezTo>
                  <a:cubicBezTo>
                    <a:pt x="9829" y="18909"/>
                    <a:pt x="9829" y="18909"/>
                    <a:pt x="9829" y="18909"/>
                  </a:cubicBezTo>
                  <a:cubicBezTo>
                    <a:pt x="9741" y="18764"/>
                    <a:pt x="9741" y="18764"/>
                    <a:pt x="9741" y="18764"/>
                  </a:cubicBezTo>
                  <a:cubicBezTo>
                    <a:pt x="9493" y="18851"/>
                    <a:pt x="9493" y="18851"/>
                    <a:pt x="9493" y="18851"/>
                  </a:cubicBezTo>
                  <a:cubicBezTo>
                    <a:pt x="9259" y="18808"/>
                    <a:pt x="9259" y="18808"/>
                    <a:pt x="9259" y="18808"/>
                  </a:cubicBezTo>
                  <a:cubicBezTo>
                    <a:pt x="8953" y="19068"/>
                    <a:pt x="8953" y="19068"/>
                    <a:pt x="8953" y="19068"/>
                  </a:cubicBezTo>
                  <a:cubicBezTo>
                    <a:pt x="8602" y="19068"/>
                    <a:pt x="8602" y="19068"/>
                    <a:pt x="8602" y="19068"/>
                  </a:cubicBezTo>
                  <a:cubicBezTo>
                    <a:pt x="8485" y="19054"/>
                    <a:pt x="8485" y="19054"/>
                    <a:pt x="8485" y="19054"/>
                  </a:cubicBezTo>
                  <a:cubicBezTo>
                    <a:pt x="8500" y="19025"/>
                    <a:pt x="8500" y="18996"/>
                    <a:pt x="8514" y="18996"/>
                  </a:cubicBezTo>
                  <a:cubicBezTo>
                    <a:pt x="8544" y="18981"/>
                    <a:pt x="8763" y="18909"/>
                    <a:pt x="8763" y="18909"/>
                  </a:cubicBezTo>
                  <a:cubicBezTo>
                    <a:pt x="8909" y="18822"/>
                    <a:pt x="8909" y="18822"/>
                    <a:pt x="8909" y="18822"/>
                  </a:cubicBezTo>
                  <a:cubicBezTo>
                    <a:pt x="8909" y="18822"/>
                    <a:pt x="8982" y="18721"/>
                    <a:pt x="9011" y="18706"/>
                  </a:cubicBezTo>
                  <a:cubicBezTo>
                    <a:pt x="9040" y="18706"/>
                    <a:pt x="9069" y="18649"/>
                    <a:pt x="9099" y="18576"/>
                  </a:cubicBezTo>
                  <a:cubicBezTo>
                    <a:pt x="9142" y="18518"/>
                    <a:pt x="9172" y="18475"/>
                    <a:pt x="9172" y="18475"/>
                  </a:cubicBezTo>
                  <a:cubicBezTo>
                    <a:pt x="9172" y="18475"/>
                    <a:pt x="9347" y="18432"/>
                    <a:pt x="9332" y="18417"/>
                  </a:cubicBezTo>
                  <a:cubicBezTo>
                    <a:pt x="9332" y="18388"/>
                    <a:pt x="9259" y="18330"/>
                    <a:pt x="9347" y="18330"/>
                  </a:cubicBezTo>
                  <a:cubicBezTo>
                    <a:pt x="9434" y="18330"/>
                    <a:pt x="9434" y="18330"/>
                    <a:pt x="9478" y="18301"/>
                  </a:cubicBezTo>
                  <a:cubicBezTo>
                    <a:pt x="9508" y="18287"/>
                    <a:pt x="9493" y="18272"/>
                    <a:pt x="9508" y="18229"/>
                  </a:cubicBezTo>
                  <a:cubicBezTo>
                    <a:pt x="9537" y="18200"/>
                    <a:pt x="9551" y="18157"/>
                    <a:pt x="9551" y="18128"/>
                  </a:cubicBezTo>
                  <a:cubicBezTo>
                    <a:pt x="9537" y="18099"/>
                    <a:pt x="9464" y="17983"/>
                    <a:pt x="9464" y="17954"/>
                  </a:cubicBezTo>
                  <a:cubicBezTo>
                    <a:pt x="9449" y="17911"/>
                    <a:pt x="9464" y="17824"/>
                    <a:pt x="9464" y="17824"/>
                  </a:cubicBezTo>
                  <a:cubicBezTo>
                    <a:pt x="9464" y="17824"/>
                    <a:pt x="9508" y="17810"/>
                    <a:pt x="9551" y="17795"/>
                  </a:cubicBezTo>
                  <a:cubicBezTo>
                    <a:pt x="9581" y="17766"/>
                    <a:pt x="9639" y="17665"/>
                    <a:pt x="9639" y="17665"/>
                  </a:cubicBezTo>
                  <a:cubicBezTo>
                    <a:pt x="9654" y="17592"/>
                    <a:pt x="9654" y="17592"/>
                    <a:pt x="9654" y="17592"/>
                  </a:cubicBezTo>
                  <a:cubicBezTo>
                    <a:pt x="9654" y="17592"/>
                    <a:pt x="9712" y="17549"/>
                    <a:pt x="9727" y="17549"/>
                  </a:cubicBezTo>
                  <a:cubicBezTo>
                    <a:pt x="9756" y="17535"/>
                    <a:pt x="9989" y="17448"/>
                    <a:pt x="10004" y="17448"/>
                  </a:cubicBezTo>
                  <a:cubicBezTo>
                    <a:pt x="10019" y="17448"/>
                    <a:pt x="10165" y="17462"/>
                    <a:pt x="10121" y="17390"/>
                  </a:cubicBezTo>
                  <a:cubicBezTo>
                    <a:pt x="10077" y="17332"/>
                    <a:pt x="10062" y="17303"/>
                    <a:pt x="10048" y="17260"/>
                  </a:cubicBezTo>
                  <a:cubicBezTo>
                    <a:pt x="10033" y="17216"/>
                    <a:pt x="10033" y="17115"/>
                    <a:pt x="10033" y="17101"/>
                  </a:cubicBezTo>
                  <a:cubicBezTo>
                    <a:pt x="10048" y="17086"/>
                    <a:pt x="10165" y="17043"/>
                    <a:pt x="10033" y="17028"/>
                  </a:cubicBezTo>
                  <a:cubicBezTo>
                    <a:pt x="9902" y="17014"/>
                    <a:pt x="10004" y="16970"/>
                    <a:pt x="9975" y="16941"/>
                  </a:cubicBezTo>
                  <a:cubicBezTo>
                    <a:pt x="9931" y="16913"/>
                    <a:pt x="9843" y="16855"/>
                    <a:pt x="9843" y="16855"/>
                  </a:cubicBezTo>
                  <a:cubicBezTo>
                    <a:pt x="9800" y="16855"/>
                    <a:pt x="9800" y="16855"/>
                    <a:pt x="9800" y="16855"/>
                  </a:cubicBezTo>
                  <a:cubicBezTo>
                    <a:pt x="9814" y="16710"/>
                    <a:pt x="9814" y="16710"/>
                    <a:pt x="9814" y="16710"/>
                  </a:cubicBezTo>
                  <a:cubicBezTo>
                    <a:pt x="9814" y="16710"/>
                    <a:pt x="9858" y="16652"/>
                    <a:pt x="9873" y="16652"/>
                  </a:cubicBezTo>
                  <a:cubicBezTo>
                    <a:pt x="9887" y="16638"/>
                    <a:pt x="9902" y="16580"/>
                    <a:pt x="9873" y="16580"/>
                  </a:cubicBezTo>
                  <a:cubicBezTo>
                    <a:pt x="9843" y="16594"/>
                    <a:pt x="9756" y="16609"/>
                    <a:pt x="9756" y="16609"/>
                  </a:cubicBezTo>
                  <a:cubicBezTo>
                    <a:pt x="9756" y="16609"/>
                    <a:pt x="9683" y="16609"/>
                    <a:pt x="9697" y="16580"/>
                  </a:cubicBezTo>
                  <a:cubicBezTo>
                    <a:pt x="9697" y="16536"/>
                    <a:pt x="9727" y="16536"/>
                    <a:pt x="9770" y="16493"/>
                  </a:cubicBezTo>
                  <a:cubicBezTo>
                    <a:pt x="9814" y="16450"/>
                    <a:pt x="9829" y="16421"/>
                    <a:pt x="9829" y="16421"/>
                  </a:cubicBezTo>
                  <a:cubicBezTo>
                    <a:pt x="9814" y="16334"/>
                    <a:pt x="9814" y="16334"/>
                    <a:pt x="9814" y="16334"/>
                  </a:cubicBezTo>
                  <a:cubicBezTo>
                    <a:pt x="9814" y="16334"/>
                    <a:pt x="9814" y="16276"/>
                    <a:pt x="9800" y="16276"/>
                  </a:cubicBezTo>
                  <a:cubicBezTo>
                    <a:pt x="9800" y="16261"/>
                    <a:pt x="9712" y="16088"/>
                    <a:pt x="9712" y="16088"/>
                  </a:cubicBezTo>
                  <a:cubicBezTo>
                    <a:pt x="9712" y="16088"/>
                    <a:pt x="9624" y="16059"/>
                    <a:pt x="9610" y="16088"/>
                  </a:cubicBezTo>
                  <a:cubicBezTo>
                    <a:pt x="9610" y="16117"/>
                    <a:pt x="9581" y="16175"/>
                    <a:pt x="9581" y="16175"/>
                  </a:cubicBezTo>
                  <a:cubicBezTo>
                    <a:pt x="9478" y="16175"/>
                    <a:pt x="9478" y="16175"/>
                    <a:pt x="9478" y="16175"/>
                  </a:cubicBezTo>
                  <a:cubicBezTo>
                    <a:pt x="9420" y="16131"/>
                    <a:pt x="9420" y="16131"/>
                    <a:pt x="9420" y="16131"/>
                  </a:cubicBezTo>
                  <a:cubicBezTo>
                    <a:pt x="9303" y="16102"/>
                    <a:pt x="9303" y="16102"/>
                    <a:pt x="9303" y="16102"/>
                  </a:cubicBezTo>
                  <a:cubicBezTo>
                    <a:pt x="9303" y="16102"/>
                    <a:pt x="9288" y="16117"/>
                    <a:pt x="9274" y="16131"/>
                  </a:cubicBezTo>
                  <a:cubicBezTo>
                    <a:pt x="9274" y="16146"/>
                    <a:pt x="9157" y="16073"/>
                    <a:pt x="9157" y="16073"/>
                  </a:cubicBezTo>
                  <a:cubicBezTo>
                    <a:pt x="9157" y="16073"/>
                    <a:pt x="9113" y="16131"/>
                    <a:pt x="9099" y="16146"/>
                  </a:cubicBezTo>
                  <a:cubicBezTo>
                    <a:pt x="9099" y="16146"/>
                    <a:pt x="8982" y="16117"/>
                    <a:pt x="8982" y="16117"/>
                  </a:cubicBezTo>
                  <a:cubicBezTo>
                    <a:pt x="8865" y="16131"/>
                    <a:pt x="8865" y="16131"/>
                    <a:pt x="8865" y="16131"/>
                  </a:cubicBezTo>
                  <a:cubicBezTo>
                    <a:pt x="8763" y="16146"/>
                    <a:pt x="8763" y="16146"/>
                    <a:pt x="8763" y="16146"/>
                  </a:cubicBezTo>
                  <a:cubicBezTo>
                    <a:pt x="8675" y="16102"/>
                    <a:pt x="8675" y="16102"/>
                    <a:pt x="8675" y="16102"/>
                  </a:cubicBezTo>
                  <a:cubicBezTo>
                    <a:pt x="8646" y="16146"/>
                    <a:pt x="8646" y="16146"/>
                    <a:pt x="8646" y="16146"/>
                  </a:cubicBezTo>
                  <a:cubicBezTo>
                    <a:pt x="8660" y="16218"/>
                    <a:pt x="8660" y="16218"/>
                    <a:pt x="8660" y="16218"/>
                  </a:cubicBezTo>
                  <a:cubicBezTo>
                    <a:pt x="8587" y="16261"/>
                    <a:pt x="8587" y="16261"/>
                    <a:pt x="8587" y="16261"/>
                  </a:cubicBezTo>
                  <a:cubicBezTo>
                    <a:pt x="8500" y="16204"/>
                    <a:pt x="8500" y="16204"/>
                    <a:pt x="8500" y="16204"/>
                  </a:cubicBezTo>
                  <a:cubicBezTo>
                    <a:pt x="8427" y="16189"/>
                    <a:pt x="8427" y="16189"/>
                    <a:pt x="8427" y="16189"/>
                  </a:cubicBezTo>
                  <a:cubicBezTo>
                    <a:pt x="8325" y="16088"/>
                    <a:pt x="8325" y="16088"/>
                    <a:pt x="8325" y="16088"/>
                  </a:cubicBezTo>
                  <a:cubicBezTo>
                    <a:pt x="8237" y="16059"/>
                    <a:pt x="8237" y="16059"/>
                    <a:pt x="8237" y="16059"/>
                  </a:cubicBezTo>
                  <a:cubicBezTo>
                    <a:pt x="8149" y="16016"/>
                    <a:pt x="8149" y="16016"/>
                    <a:pt x="8149" y="16016"/>
                  </a:cubicBezTo>
                  <a:cubicBezTo>
                    <a:pt x="8149" y="16016"/>
                    <a:pt x="8105" y="16131"/>
                    <a:pt x="8091" y="16146"/>
                  </a:cubicBezTo>
                  <a:cubicBezTo>
                    <a:pt x="8076" y="16146"/>
                    <a:pt x="8003" y="16175"/>
                    <a:pt x="7989" y="16175"/>
                  </a:cubicBezTo>
                  <a:cubicBezTo>
                    <a:pt x="7959" y="16189"/>
                    <a:pt x="7945" y="16261"/>
                    <a:pt x="7945" y="16261"/>
                  </a:cubicBezTo>
                  <a:cubicBezTo>
                    <a:pt x="7872" y="16305"/>
                    <a:pt x="7872" y="16305"/>
                    <a:pt x="7872" y="16305"/>
                  </a:cubicBezTo>
                  <a:cubicBezTo>
                    <a:pt x="7872" y="16305"/>
                    <a:pt x="7828" y="16276"/>
                    <a:pt x="7799" y="16276"/>
                  </a:cubicBezTo>
                  <a:cubicBezTo>
                    <a:pt x="7784" y="16276"/>
                    <a:pt x="7770" y="16290"/>
                    <a:pt x="7770" y="16290"/>
                  </a:cubicBezTo>
                  <a:cubicBezTo>
                    <a:pt x="7740" y="16334"/>
                    <a:pt x="7740" y="16334"/>
                    <a:pt x="7740" y="16334"/>
                  </a:cubicBezTo>
                  <a:cubicBezTo>
                    <a:pt x="7740" y="16334"/>
                    <a:pt x="7726" y="16334"/>
                    <a:pt x="7682" y="16305"/>
                  </a:cubicBezTo>
                  <a:cubicBezTo>
                    <a:pt x="7653" y="16290"/>
                    <a:pt x="7609" y="16261"/>
                    <a:pt x="7609" y="16261"/>
                  </a:cubicBezTo>
                  <a:cubicBezTo>
                    <a:pt x="7565" y="16247"/>
                    <a:pt x="7565" y="16247"/>
                    <a:pt x="7565" y="16247"/>
                  </a:cubicBezTo>
                  <a:cubicBezTo>
                    <a:pt x="7565" y="16247"/>
                    <a:pt x="7434" y="16305"/>
                    <a:pt x="7419" y="16319"/>
                  </a:cubicBezTo>
                  <a:cubicBezTo>
                    <a:pt x="7419" y="16334"/>
                    <a:pt x="7390" y="16377"/>
                    <a:pt x="7390" y="16377"/>
                  </a:cubicBezTo>
                  <a:cubicBezTo>
                    <a:pt x="7317" y="16319"/>
                    <a:pt x="7317" y="16319"/>
                    <a:pt x="7317" y="16319"/>
                  </a:cubicBezTo>
                  <a:cubicBezTo>
                    <a:pt x="7229" y="16261"/>
                    <a:pt x="7229" y="16261"/>
                    <a:pt x="7229" y="16261"/>
                  </a:cubicBezTo>
                  <a:cubicBezTo>
                    <a:pt x="7215" y="16160"/>
                    <a:pt x="7215" y="16160"/>
                    <a:pt x="7215" y="16160"/>
                  </a:cubicBezTo>
                  <a:cubicBezTo>
                    <a:pt x="7054" y="16016"/>
                    <a:pt x="7054" y="16016"/>
                    <a:pt x="7054" y="16016"/>
                  </a:cubicBezTo>
                  <a:cubicBezTo>
                    <a:pt x="7025" y="15871"/>
                    <a:pt x="7025" y="15871"/>
                    <a:pt x="7025" y="15871"/>
                  </a:cubicBezTo>
                  <a:cubicBezTo>
                    <a:pt x="6908" y="15784"/>
                    <a:pt x="6908" y="15784"/>
                    <a:pt x="6908" y="15784"/>
                  </a:cubicBezTo>
                  <a:cubicBezTo>
                    <a:pt x="6835" y="15871"/>
                    <a:pt x="6835" y="15871"/>
                    <a:pt x="6835" y="15871"/>
                  </a:cubicBezTo>
                  <a:cubicBezTo>
                    <a:pt x="6718" y="15856"/>
                    <a:pt x="6718" y="15856"/>
                    <a:pt x="6718" y="15856"/>
                  </a:cubicBezTo>
                  <a:close/>
                  <a:moveTo>
                    <a:pt x="5214" y="1056"/>
                  </a:moveTo>
                  <a:cubicBezTo>
                    <a:pt x="5214" y="1056"/>
                    <a:pt x="5214" y="1056"/>
                    <a:pt x="5214" y="1056"/>
                  </a:cubicBezTo>
                  <a:cubicBezTo>
                    <a:pt x="5228" y="1071"/>
                    <a:pt x="5228" y="1071"/>
                    <a:pt x="5228" y="1071"/>
                  </a:cubicBezTo>
                  <a:cubicBezTo>
                    <a:pt x="5228" y="1071"/>
                    <a:pt x="5316" y="1157"/>
                    <a:pt x="5389" y="1157"/>
                  </a:cubicBezTo>
                  <a:cubicBezTo>
                    <a:pt x="5462" y="1157"/>
                    <a:pt x="5404" y="1157"/>
                    <a:pt x="5477" y="1143"/>
                  </a:cubicBezTo>
                  <a:cubicBezTo>
                    <a:pt x="5535" y="1114"/>
                    <a:pt x="5550" y="1071"/>
                    <a:pt x="5579" y="1027"/>
                  </a:cubicBezTo>
                  <a:cubicBezTo>
                    <a:pt x="5608" y="984"/>
                    <a:pt x="5608" y="984"/>
                    <a:pt x="5608" y="940"/>
                  </a:cubicBezTo>
                  <a:cubicBezTo>
                    <a:pt x="5608" y="897"/>
                    <a:pt x="5608" y="825"/>
                    <a:pt x="5608" y="781"/>
                  </a:cubicBezTo>
                  <a:cubicBezTo>
                    <a:pt x="5608" y="738"/>
                    <a:pt x="5652" y="752"/>
                    <a:pt x="5696" y="752"/>
                  </a:cubicBezTo>
                  <a:cubicBezTo>
                    <a:pt x="5725" y="752"/>
                    <a:pt x="5667" y="637"/>
                    <a:pt x="5667" y="637"/>
                  </a:cubicBezTo>
                  <a:cubicBezTo>
                    <a:pt x="5667" y="637"/>
                    <a:pt x="5535" y="579"/>
                    <a:pt x="5477" y="579"/>
                  </a:cubicBezTo>
                  <a:cubicBezTo>
                    <a:pt x="5418" y="579"/>
                    <a:pt x="5287" y="564"/>
                    <a:pt x="5287" y="564"/>
                  </a:cubicBezTo>
                  <a:cubicBezTo>
                    <a:pt x="5126" y="767"/>
                    <a:pt x="5126" y="767"/>
                    <a:pt x="5126" y="767"/>
                  </a:cubicBezTo>
                  <a:cubicBezTo>
                    <a:pt x="5126" y="767"/>
                    <a:pt x="5185" y="1042"/>
                    <a:pt x="5214" y="1056"/>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0" name="Shape 2263">
              <a:extLst>
                <a:ext uri="{FF2B5EF4-FFF2-40B4-BE49-F238E27FC236}">
                  <a16:creationId xmlns:a16="http://schemas.microsoft.com/office/drawing/2014/main" id="{3D99DA5F-45FA-0250-37CC-A06AFE4568AC}"/>
                </a:ext>
              </a:extLst>
            </p:cNvPr>
            <p:cNvSpPr/>
            <p:nvPr/>
          </p:nvSpPr>
          <p:spPr>
            <a:xfrm>
              <a:off x="1362041" y="2850581"/>
              <a:ext cx="1200983" cy="2201059"/>
            </a:xfrm>
            <a:custGeom>
              <a:avLst/>
              <a:gdLst/>
              <a:ahLst/>
              <a:cxnLst>
                <a:cxn ang="0">
                  <a:pos x="wd2" y="hd2"/>
                </a:cxn>
                <a:cxn ang="5400000">
                  <a:pos x="wd2" y="hd2"/>
                </a:cxn>
                <a:cxn ang="10800000">
                  <a:pos x="wd2" y="hd2"/>
                </a:cxn>
                <a:cxn ang="16200000">
                  <a:pos x="wd2" y="hd2"/>
                </a:cxn>
              </a:cxnLst>
              <a:rect l="0" t="0" r="r" b="b"/>
              <a:pathLst>
                <a:path w="21600" h="21600" extrusionOk="0">
                  <a:moveTo>
                    <a:pt x="5419" y="19676"/>
                  </a:moveTo>
                  <a:cubicBezTo>
                    <a:pt x="5122" y="19793"/>
                    <a:pt x="5122" y="19793"/>
                    <a:pt x="5122" y="19793"/>
                  </a:cubicBezTo>
                  <a:cubicBezTo>
                    <a:pt x="5122" y="19951"/>
                    <a:pt x="5122" y="19951"/>
                    <a:pt x="5122" y="19951"/>
                  </a:cubicBezTo>
                  <a:cubicBezTo>
                    <a:pt x="4973" y="20108"/>
                    <a:pt x="4973" y="20108"/>
                    <a:pt x="4973" y="20108"/>
                  </a:cubicBezTo>
                  <a:cubicBezTo>
                    <a:pt x="4973" y="20108"/>
                    <a:pt x="4825" y="20147"/>
                    <a:pt x="4825" y="20186"/>
                  </a:cubicBezTo>
                  <a:cubicBezTo>
                    <a:pt x="4751" y="20225"/>
                    <a:pt x="4454" y="20343"/>
                    <a:pt x="4454" y="20343"/>
                  </a:cubicBezTo>
                  <a:cubicBezTo>
                    <a:pt x="4454" y="20343"/>
                    <a:pt x="4454" y="20383"/>
                    <a:pt x="4379" y="20383"/>
                  </a:cubicBezTo>
                  <a:cubicBezTo>
                    <a:pt x="4305" y="20383"/>
                    <a:pt x="3786" y="20500"/>
                    <a:pt x="3786" y="20500"/>
                  </a:cubicBezTo>
                  <a:cubicBezTo>
                    <a:pt x="3637" y="20657"/>
                    <a:pt x="3637" y="20657"/>
                    <a:pt x="3637" y="20657"/>
                  </a:cubicBezTo>
                  <a:cubicBezTo>
                    <a:pt x="3340" y="20697"/>
                    <a:pt x="3340" y="20697"/>
                    <a:pt x="3340" y="20697"/>
                  </a:cubicBezTo>
                  <a:cubicBezTo>
                    <a:pt x="3118" y="20893"/>
                    <a:pt x="3118" y="20893"/>
                    <a:pt x="3118" y="20893"/>
                  </a:cubicBezTo>
                  <a:cubicBezTo>
                    <a:pt x="2746" y="20972"/>
                    <a:pt x="2746" y="20972"/>
                    <a:pt x="2746" y="20972"/>
                  </a:cubicBezTo>
                  <a:cubicBezTo>
                    <a:pt x="2449" y="21011"/>
                    <a:pt x="2449" y="21011"/>
                    <a:pt x="2449" y="21011"/>
                  </a:cubicBezTo>
                  <a:cubicBezTo>
                    <a:pt x="2153" y="20932"/>
                    <a:pt x="2153" y="20932"/>
                    <a:pt x="2153" y="20932"/>
                  </a:cubicBezTo>
                  <a:cubicBezTo>
                    <a:pt x="1930" y="21011"/>
                    <a:pt x="1930" y="21011"/>
                    <a:pt x="1930" y="21011"/>
                  </a:cubicBezTo>
                  <a:cubicBezTo>
                    <a:pt x="1707" y="21089"/>
                    <a:pt x="1707" y="21089"/>
                    <a:pt x="1707" y="21089"/>
                  </a:cubicBezTo>
                  <a:cubicBezTo>
                    <a:pt x="1781" y="21247"/>
                    <a:pt x="1781" y="21247"/>
                    <a:pt x="1781" y="21247"/>
                  </a:cubicBezTo>
                  <a:cubicBezTo>
                    <a:pt x="2004" y="21325"/>
                    <a:pt x="2004" y="21325"/>
                    <a:pt x="2004" y="21325"/>
                  </a:cubicBezTo>
                  <a:cubicBezTo>
                    <a:pt x="2153" y="21207"/>
                    <a:pt x="2153" y="21207"/>
                    <a:pt x="2153" y="21207"/>
                  </a:cubicBezTo>
                  <a:cubicBezTo>
                    <a:pt x="2598" y="21286"/>
                    <a:pt x="2598" y="21286"/>
                    <a:pt x="2598" y="21286"/>
                  </a:cubicBezTo>
                  <a:cubicBezTo>
                    <a:pt x="2598" y="21286"/>
                    <a:pt x="2746" y="21404"/>
                    <a:pt x="2821" y="21443"/>
                  </a:cubicBezTo>
                  <a:cubicBezTo>
                    <a:pt x="2821" y="21482"/>
                    <a:pt x="2821" y="21600"/>
                    <a:pt x="2895" y="21600"/>
                  </a:cubicBezTo>
                  <a:cubicBezTo>
                    <a:pt x="2969" y="21561"/>
                    <a:pt x="3340" y="21443"/>
                    <a:pt x="3340" y="21443"/>
                  </a:cubicBezTo>
                  <a:cubicBezTo>
                    <a:pt x="3192" y="21286"/>
                    <a:pt x="3192" y="21286"/>
                    <a:pt x="3192" y="21286"/>
                  </a:cubicBezTo>
                  <a:cubicBezTo>
                    <a:pt x="3192" y="21286"/>
                    <a:pt x="3414" y="21247"/>
                    <a:pt x="3563" y="21247"/>
                  </a:cubicBezTo>
                  <a:cubicBezTo>
                    <a:pt x="3711" y="21247"/>
                    <a:pt x="3860" y="21286"/>
                    <a:pt x="3934" y="21207"/>
                  </a:cubicBezTo>
                  <a:cubicBezTo>
                    <a:pt x="3934" y="21168"/>
                    <a:pt x="4157" y="21168"/>
                    <a:pt x="4157" y="21168"/>
                  </a:cubicBezTo>
                  <a:cubicBezTo>
                    <a:pt x="4157" y="21168"/>
                    <a:pt x="4305" y="21050"/>
                    <a:pt x="4305" y="21050"/>
                  </a:cubicBezTo>
                  <a:cubicBezTo>
                    <a:pt x="4305" y="21011"/>
                    <a:pt x="4528" y="20932"/>
                    <a:pt x="4528" y="20932"/>
                  </a:cubicBezTo>
                  <a:cubicBezTo>
                    <a:pt x="4528" y="20932"/>
                    <a:pt x="5047" y="21050"/>
                    <a:pt x="5122" y="21050"/>
                  </a:cubicBezTo>
                  <a:cubicBezTo>
                    <a:pt x="5196" y="21050"/>
                    <a:pt x="5715" y="20972"/>
                    <a:pt x="5715" y="20972"/>
                  </a:cubicBezTo>
                  <a:cubicBezTo>
                    <a:pt x="5938" y="21089"/>
                    <a:pt x="5938" y="21089"/>
                    <a:pt x="5938" y="21089"/>
                  </a:cubicBezTo>
                  <a:cubicBezTo>
                    <a:pt x="5938" y="21089"/>
                    <a:pt x="5938" y="21168"/>
                    <a:pt x="6087" y="21207"/>
                  </a:cubicBezTo>
                  <a:cubicBezTo>
                    <a:pt x="6235" y="21207"/>
                    <a:pt x="6309" y="21207"/>
                    <a:pt x="6309" y="21207"/>
                  </a:cubicBezTo>
                  <a:cubicBezTo>
                    <a:pt x="6532" y="21364"/>
                    <a:pt x="6532" y="21364"/>
                    <a:pt x="6532" y="21364"/>
                  </a:cubicBezTo>
                  <a:cubicBezTo>
                    <a:pt x="6755" y="21443"/>
                    <a:pt x="6755" y="21443"/>
                    <a:pt x="6755" y="21443"/>
                  </a:cubicBezTo>
                  <a:cubicBezTo>
                    <a:pt x="6755" y="21443"/>
                    <a:pt x="6977" y="21443"/>
                    <a:pt x="6977" y="21404"/>
                  </a:cubicBezTo>
                  <a:cubicBezTo>
                    <a:pt x="6977" y="21364"/>
                    <a:pt x="7052" y="21286"/>
                    <a:pt x="7126" y="21247"/>
                  </a:cubicBezTo>
                  <a:cubicBezTo>
                    <a:pt x="7200" y="21247"/>
                    <a:pt x="7423" y="21207"/>
                    <a:pt x="7423" y="21207"/>
                  </a:cubicBezTo>
                  <a:cubicBezTo>
                    <a:pt x="7423" y="21207"/>
                    <a:pt x="7423" y="21129"/>
                    <a:pt x="7423" y="21089"/>
                  </a:cubicBezTo>
                  <a:cubicBezTo>
                    <a:pt x="7423" y="21011"/>
                    <a:pt x="7423" y="20893"/>
                    <a:pt x="7497" y="20854"/>
                  </a:cubicBezTo>
                  <a:cubicBezTo>
                    <a:pt x="7497" y="20854"/>
                    <a:pt x="7720" y="20697"/>
                    <a:pt x="7720" y="20697"/>
                  </a:cubicBezTo>
                  <a:cubicBezTo>
                    <a:pt x="8091" y="20657"/>
                    <a:pt x="8091" y="20657"/>
                    <a:pt x="8091" y="20657"/>
                  </a:cubicBezTo>
                  <a:cubicBezTo>
                    <a:pt x="8981" y="20618"/>
                    <a:pt x="8981" y="20618"/>
                    <a:pt x="8981" y="20618"/>
                  </a:cubicBezTo>
                  <a:cubicBezTo>
                    <a:pt x="9278" y="20618"/>
                    <a:pt x="9278" y="20618"/>
                    <a:pt x="9278" y="20618"/>
                  </a:cubicBezTo>
                  <a:cubicBezTo>
                    <a:pt x="9649" y="20775"/>
                    <a:pt x="9649" y="20775"/>
                    <a:pt x="9649" y="20775"/>
                  </a:cubicBezTo>
                  <a:cubicBezTo>
                    <a:pt x="10021" y="20972"/>
                    <a:pt x="10021" y="20972"/>
                    <a:pt x="10021" y="20972"/>
                  </a:cubicBezTo>
                  <a:cubicBezTo>
                    <a:pt x="10021" y="20972"/>
                    <a:pt x="10243" y="21129"/>
                    <a:pt x="10243" y="21089"/>
                  </a:cubicBezTo>
                  <a:cubicBezTo>
                    <a:pt x="10318" y="21011"/>
                    <a:pt x="10392" y="20854"/>
                    <a:pt x="10466" y="20854"/>
                  </a:cubicBezTo>
                  <a:cubicBezTo>
                    <a:pt x="10540" y="20854"/>
                    <a:pt x="10763" y="21011"/>
                    <a:pt x="10763" y="21011"/>
                  </a:cubicBezTo>
                  <a:cubicBezTo>
                    <a:pt x="11060" y="21050"/>
                    <a:pt x="11060" y="21050"/>
                    <a:pt x="11060" y="21050"/>
                  </a:cubicBezTo>
                  <a:cubicBezTo>
                    <a:pt x="11282" y="21050"/>
                    <a:pt x="11282" y="21050"/>
                    <a:pt x="11282" y="21050"/>
                  </a:cubicBezTo>
                  <a:cubicBezTo>
                    <a:pt x="11505" y="20932"/>
                    <a:pt x="11505" y="20932"/>
                    <a:pt x="11505" y="20932"/>
                  </a:cubicBezTo>
                  <a:cubicBezTo>
                    <a:pt x="11357" y="20815"/>
                    <a:pt x="11357" y="20815"/>
                    <a:pt x="11357" y="20815"/>
                  </a:cubicBezTo>
                  <a:cubicBezTo>
                    <a:pt x="11654" y="20854"/>
                    <a:pt x="11654" y="20854"/>
                    <a:pt x="11654" y="20854"/>
                  </a:cubicBezTo>
                  <a:cubicBezTo>
                    <a:pt x="12470" y="20893"/>
                    <a:pt x="12470" y="20893"/>
                    <a:pt x="12470" y="20893"/>
                  </a:cubicBezTo>
                  <a:cubicBezTo>
                    <a:pt x="12841" y="20854"/>
                    <a:pt x="12841" y="20854"/>
                    <a:pt x="12841" y="20854"/>
                  </a:cubicBezTo>
                  <a:cubicBezTo>
                    <a:pt x="13138" y="20815"/>
                    <a:pt x="13138" y="20815"/>
                    <a:pt x="13138" y="20815"/>
                  </a:cubicBezTo>
                  <a:cubicBezTo>
                    <a:pt x="13138" y="20893"/>
                    <a:pt x="13138" y="20893"/>
                    <a:pt x="13138" y="20893"/>
                  </a:cubicBezTo>
                  <a:cubicBezTo>
                    <a:pt x="12693" y="20972"/>
                    <a:pt x="12693" y="20972"/>
                    <a:pt x="12693" y="20972"/>
                  </a:cubicBezTo>
                  <a:cubicBezTo>
                    <a:pt x="12693" y="20972"/>
                    <a:pt x="12470" y="20972"/>
                    <a:pt x="12544" y="21011"/>
                  </a:cubicBezTo>
                  <a:cubicBezTo>
                    <a:pt x="12619" y="21089"/>
                    <a:pt x="12990" y="21168"/>
                    <a:pt x="12990" y="21168"/>
                  </a:cubicBezTo>
                  <a:cubicBezTo>
                    <a:pt x="12990" y="21168"/>
                    <a:pt x="12767" y="21207"/>
                    <a:pt x="13064" y="21207"/>
                  </a:cubicBezTo>
                  <a:cubicBezTo>
                    <a:pt x="13361" y="21207"/>
                    <a:pt x="13509" y="21168"/>
                    <a:pt x="13509" y="21168"/>
                  </a:cubicBezTo>
                  <a:cubicBezTo>
                    <a:pt x="13732" y="21050"/>
                    <a:pt x="13732" y="21050"/>
                    <a:pt x="13732" y="21050"/>
                  </a:cubicBezTo>
                  <a:cubicBezTo>
                    <a:pt x="13584" y="20972"/>
                    <a:pt x="13584" y="20972"/>
                    <a:pt x="13584" y="20972"/>
                  </a:cubicBezTo>
                  <a:cubicBezTo>
                    <a:pt x="13212" y="20932"/>
                    <a:pt x="13212" y="20932"/>
                    <a:pt x="13212" y="20932"/>
                  </a:cubicBezTo>
                  <a:cubicBezTo>
                    <a:pt x="13287" y="20775"/>
                    <a:pt x="13287" y="20775"/>
                    <a:pt x="13287" y="20775"/>
                  </a:cubicBezTo>
                  <a:cubicBezTo>
                    <a:pt x="13361" y="20775"/>
                    <a:pt x="13361" y="20775"/>
                    <a:pt x="13361" y="20775"/>
                  </a:cubicBezTo>
                  <a:cubicBezTo>
                    <a:pt x="13584" y="20893"/>
                    <a:pt x="13584" y="20893"/>
                    <a:pt x="13584" y="20893"/>
                  </a:cubicBezTo>
                  <a:cubicBezTo>
                    <a:pt x="13806" y="20815"/>
                    <a:pt x="13806" y="20815"/>
                    <a:pt x="13806" y="20815"/>
                  </a:cubicBezTo>
                  <a:cubicBezTo>
                    <a:pt x="14103" y="20854"/>
                    <a:pt x="14103" y="20854"/>
                    <a:pt x="14103" y="20854"/>
                  </a:cubicBezTo>
                  <a:cubicBezTo>
                    <a:pt x="14252" y="21011"/>
                    <a:pt x="14252" y="21011"/>
                    <a:pt x="14252" y="21011"/>
                  </a:cubicBezTo>
                  <a:cubicBezTo>
                    <a:pt x="14252" y="21011"/>
                    <a:pt x="14400" y="21089"/>
                    <a:pt x="14548" y="21011"/>
                  </a:cubicBezTo>
                  <a:cubicBezTo>
                    <a:pt x="14697" y="20972"/>
                    <a:pt x="14845" y="20932"/>
                    <a:pt x="14845" y="20932"/>
                  </a:cubicBezTo>
                  <a:cubicBezTo>
                    <a:pt x="15736" y="20972"/>
                    <a:pt x="15736" y="20972"/>
                    <a:pt x="15736" y="20972"/>
                  </a:cubicBezTo>
                  <a:cubicBezTo>
                    <a:pt x="15736" y="20972"/>
                    <a:pt x="16181" y="20932"/>
                    <a:pt x="16256" y="21011"/>
                  </a:cubicBezTo>
                  <a:cubicBezTo>
                    <a:pt x="16330" y="21050"/>
                    <a:pt x="16553" y="21129"/>
                    <a:pt x="16553" y="21129"/>
                  </a:cubicBezTo>
                  <a:cubicBezTo>
                    <a:pt x="16924" y="21168"/>
                    <a:pt x="16924" y="21168"/>
                    <a:pt x="16924" y="21168"/>
                  </a:cubicBezTo>
                  <a:cubicBezTo>
                    <a:pt x="17295" y="21168"/>
                    <a:pt x="17295" y="21168"/>
                    <a:pt x="17295" y="21168"/>
                  </a:cubicBezTo>
                  <a:cubicBezTo>
                    <a:pt x="17295" y="21168"/>
                    <a:pt x="17443" y="21089"/>
                    <a:pt x="17518" y="21050"/>
                  </a:cubicBezTo>
                  <a:cubicBezTo>
                    <a:pt x="17666" y="21050"/>
                    <a:pt x="17889" y="20972"/>
                    <a:pt x="17963" y="20972"/>
                  </a:cubicBezTo>
                  <a:cubicBezTo>
                    <a:pt x="18111" y="20972"/>
                    <a:pt x="18482" y="20932"/>
                    <a:pt x="18482" y="20932"/>
                  </a:cubicBezTo>
                  <a:cubicBezTo>
                    <a:pt x="18557" y="20932"/>
                    <a:pt x="18631" y="20972"/>
                    <a:pt x="18779" y="20932"/>
                  </a:cubicBezTo>
                  <a:cubicBezTo>
                    <a:pt x="18854" y="20932"/>
                    <a:pt x="19076" y="20736"/>
                    <a:pt x="19076" y="20736"/>
                  </a:cubicBezTo>
                  <a:cubicBezTo>
                    <a:pt x="19076" y="20736"/>
                    <a:pt x="19151" y="20657"/>
                    <a:pt x="19299" y="20657"/>
                  </a:cubicBezTo>
                  <a:cubicBezTo>
                    <a:pt x="19447" y="20657"/>
                    <a:pt x="19670" y="20657"/>
                    <a:pt x="19744" y="20618"/>
                  </a:cubicBezTo>
                  <a:cubicBezTo>
                    <a:pt x="19819" y="20540"/>
                    <a:pt x="19893" y="20500"/>
                    <a:pt x="19967" y="20461"/>
                  </a:cubicBezTo>
                  <a:cubicBezTo>
                    <a:pt x="20041" y="20422"/>
                    <a:pt x="20190" y="20304"/>
                    <a:pt x="20115" y="20265"/>
                  </a:cubicBezTo>
                  <a:cubicBezTo>
                    <a:pt x="20115" y="20225"/>
                    <a:pt x="20190" y="20068"/>
                    <a:pt x="20190" y="20068"/>
                  </a:cubicBezTo>
                  <a:cubicBezTo>
                    <a:pt x="20190" y="20068"/>
                    <a:pt x="19967" y="20068"/>
                    <a:pt x="19893" y="20068"/>
                  </a:cubicBezTo>
                  <a:cubicBezTo>
                    <a:pt x="19819" y="20029"/>
                    <a:pt x="19522" y="20068"/>
                    <a:pt x="19447" y="20029"/>
                  </a:cubicBezTo>
                  <a:cubicBezTo>
                    <a:pt x="19373" y="20029"/>
                    <a:pt x="19076" y="20029"/>
                    <a:pt x="19076" y="20029"/>
                  </a:cubicBezTo>
                  <a:cubicBezTo>
                    <a:pt x="19002" y="19951"/>
                    <a:pt x="19002" y="19951"/>
                    <a:pt x="19002" y="19951"/>
                  </a:cubicBezTo>
                  <a:cubicBezTo>
                    <a:pt x="19002" y="19951"/>
                    <a:pt x="18928" y="19911"/>
                    <a:pt x="18854" y="19872"/>
                  </a:cubicBezTo>
                  <a:cubicBezTo>
                    <a:pt x="18779" y="19872"/>
                    <a:pt x="18854" y="19872"/>
                    <a:pt x="18705" y="19833"/>
                  </a:cubicBezTo>
                  <a:cubicBezTo>
                    <a:pt x="18631" y="19833"/>
                    <a:pt x="18482" y="19754"/>
                    <a:pt x="18482" y="19754"/>
                  </a:cubicBezTo>
                  <a:cubicBezTo>
                    <a:pt x="18260" y="19715"/>
                    <a:pt x="18260" y="19715"/>
                    <a:pt x="18260" y="19715"/>
                  </a:cubicBezTo>
                  <a:cubicBezTo>
                    <a:pt x="17963" y="19715"/>
                    <a:pt x="17963" y="19715"/>
                    <a:pt x="17963" y="19715"/>
                  </a:cubicBezTo>
                  <a:cubicBezTo>
                    <a:pt x="18260" y="19636"/>
                    <a:pt x="18260" y="19636"/>
                    <a:pt x="18260" y="19636"/>
                  </a:cubicBezTo>
                  <a:cubicBezTo>
                    <a:pt x="18260" y="19636"/>
                    <a:pt x="18557" y="19636"/>
                    <a:pt x="18631" y="19636"/>
                  </a:cubicBezTo>
                  <a:cubicBezTo>
                    <a:pt x="18705" y="19676"/>
                    <a:pt x="19002" y="19676"/>
                    <a:pt x="19002" y="19636"/>
                  </a:cubicBezTo>
                  <a:cubicBezTo>
                    <a:pt x="19076" y="19636"/>
                    <a:pt x="19299" y="19440"/>
                    <a:pt x="19299" y="19440"/>
                  </a:cubicBezTo>
                  <a:cubicBezTo>
                    <a:pt x="19225" y="19322"/>
                    <a:pt x="19225" y="19322"/>
                    <a:pt x="19225" y="19322"/>
                  </a:cubicBezTo>
                  <a:cubicBezTo>
                    <a:pt x="19076" y="19244"/>
                    <a:pt x="19076" y="19244"/>
                    <a:pt x="19076" y="19244"/>
                  </a:cubicBezTo>
                  <a:cubicBezTo>
                    <a:pt x="18779" y="19283"/>
                    <a:pt x="18779" y="19283"/>
                    <a:pt x="18779" y="19283"/>
                  </a:cubicBezTo>
                  <a:cubicBezTo>
                    <a:pt x="19225" y="19165"/>
                    <a:pt x="19225" y="19165"/>
                    <a:pt x="19225" y="19165"/>
                  </a:cubicBezTo>
                  <a:cubicBezTo>
                    <a:pt x="19373" y="19087"/>
                    <a:pt x="19373" y="19087"/>
                    <a:pt x="19373" y="19087"/>
                  </a:cubicBezTo>
                  <a:cubicBezTo>
                    <a:pt x="19596" y="19165"/>
                    <a:pt x="19596" y="19165"/>
                    <a:pt x="19596" y="19165"/>
                  </a:cubicBezTo>
                  <a:cubicBezTo>
                    <a:pt x="19596" y="19165"/>
                    <a:pt x="19967" y="19204"/>
                    <a:pt x="19967" y="19165"/>
                  </a:cubicBezTo>
                  <a:cubicBezTo>
                    <a:pt x="20041" y="19126"/>
                    <a:pt x="20115" y="19047"/>
                    <a:pt x="20115" y="19047"/>
                  </a:cubicBezTo>
                  <a:cubicBezTo>
                    <a:pt x="20115" y="18929"/>
                    <a:pt x="20115" y="18929"/>
                    <a:pt x="20115" y="18929"/>
                  </a:cubicBezTo>
                  <a:cubicBezTo>
                    <a:pt x="20858" y="18655"/>
                    <a:pt x="20858" y="18655"/>
                    <a:pt x="20858" y="18655"/>
                  </a:cubicBezTo>
                  <a:cubicBezTo>
                    <a:pt x="21155" y="18419"/>
                    <a:pt x="21155" y="18419"/>
                    <a:pt x="21155" y="18419"/>
                  </a:cubicBezTo>
                  <a:cubicBezTo>
                    <a:pt x="21229" y="18183"/>
                    <a:pt x="21229" y="18183"/>
                    <a:pt x="21229" y="18183"/>
                  </a:cubicBezTo>
                  <a:cubicBezTo>
                    <a:pt x="21600" y="17830"/>
                    <a:pt x="21600" y="17830"/>
                    <a:pt x="21600" y="17830"/>
                  </a:cubicBezTo>
                  <a:cubicBezTo>
                    <a:pt x="21526" y="17359"/>
                    <a:pt x="21526" y="17359"/>
                    <a:pt x="21526" y="17359"/>
                  </a:cubicBezTo>
                  <a:cubicBezTo>
                    <a:pt x="21155" y="17044"/>
                    <a:pt x="21155" y="17044"/>
                    <a:pt x="21155" y="17044"/>
                  </a:cubicBezTo>
                  <a:cubicBezTo>
                    <a:pt x="21155" y="17044"/>
                    <a:pt x="20709" y="16848"/>
                    <a:pt x="20561" y="16809"/>
                  </a:cubicBezTo>
                  <a:cubicBezTo>
                    <a:pt x="20412" y="16809"/>
                    <a:pt x="19596" y="16691"/>
                    <a:pt x="19596" y="16691"/>
                  </a:cubicBezTo>
                  <a:cubicBezTo>
                    <a:pt x="19002" y="16612"/>
                    <a:pt x="19002" y="16612"/>
                    <a:pt x="19002" y="16612"/>
                  </a:cubicBezTo>
                  <a:cubicBezTo>
                    <a:pt x="18705" y="16691"/>
                    <a:pt x="18705" y="16691"/>
                    <a:pt x="18705" y="16691"/>
                  </a:cubicBezTo>
                  <a:cubicBezTo>
                    <a:pt x="18631" y="16809"/>
                    <a:pt x="18631" y="16809"/>
                    <a:pt x="18631" y="16809"/>
                  </a:cubicBezTo>
                  <a:cubicBezTo>
                    <a:pt x="18408" y="16887"/>
                    <a:pt x="18408" y="16887"/>
                    <a:pt x="18408" y="16887"/>
                  </a:cubicBezTo>
                  <a:cubicBezTo>
                    <a:pt x="18408" y="16887"/>
                    <a:pt x="18186" y="16966"/>
                    <a:pt x="18186" y="16966"/>
                  </a:cubicBezTo>
                  <a:cubicBezTo>
                    <a:pt x="18111" y="16966"/>
                    <a:pt x="17963" y="16848"/>
                    <a:pt x="17963" y="16848"/>
                  </a:cubicBezTo>
                  <a:cubicBezTo>
                    <a:pt x="17963" y="16848"/>
                    <a:pt x="17740" y="16730"/>
                    <a:pt x="17740" y="16730"/>
                  </a:cubicBezTo>
                  <a:cubicBezTo>
                    <a:pt x="17666" y="16730"/>
                    <a:pt x="17443" y="16691"/>
                    <a:pt x="17443" y="16691"/>
                  </a:cubicBezTo>
                  <a:cubicBezTo>
                    <a:pt x="17740" y="16573"/>
                    <a:pt x="17740" y="16573"/>
                    <a:pt x="17740" y="16573"/>
                  </a:cubicBezTo>
                  <a:cubicBezTo>
                    <a:pt x="18111" y="16495"/>
                    <a:pt x="18111" y="16495"/>
                    <a:pt x="18111" y="16495"/>
                  </a:cubicBezTo>
                  <a:cubicBezTo>
                    <a:pt x="18111" y="16495"/>
                    <a:pt x="18260" y="16416"/>
                    <a:pt x="18260" y="16377"/>
                  </a:cubicBezTo>
                  <a:cubicBezTo>
                    <a:pt x="18334" y="16377"/>
                    <a:pt x="18482" y="16298"/>
                    <a:pt x="18482" y="16298"/>
                  </a:cubicBezTo>
                  <a:cubicBezTo>
                    <a:pt x="18557" y="15984"/>
                    <a:pt x="18557" y="15984"/>
                    <a:pt x="18557" y="15984"/>
                  </a:cubicBezTo>
                  <a:cubicBezTo>
                    <a:pt x="18408" y="15670"/>
                    <a:pt x="18408" y="15670"/>
                    <a:pt x="18408" y="15670"/>
                  </a:cubicBezTo>
                  <a:cubicBezTo>
                    <a:pt x="18186" y="15513"/>
                    <a:pt x="18186" y="15513"/>
                    <a:pt x="18186" y="15513"/>
                  </a:cubicBezTo>
                  <a:cubicBezTo>
                    <a:pt x="18037" y="15356"/>
                    <a:pt x="18037" y="15356"/>
                    <a:pt x="18037" y="15356"/>
                  </a:cubicBezTo>
                  <a:cubicBezTo>
                    <a:pt x="17889" y="15356"/>
                    <a:pt x="17889" y="15356"/>
                    <a:pt x="17889" y="15356"/>
                  </a:cubicBezTo>
                  <a:cubicBezTo>
                    <a:pt x="17592" y="15238"/>
                    <a:pt x="17592" y="15238"/>
                    <a:pt x="17592" y="15238"/>
                  </a:cubicBezTo>
                  <a:cubicBezTo>
                    <a:pt x="17369" y="15081"/>
                    <a:pt x="17369" y="15081"/>
                    <a:pt x="17369" y="15081"/>
                  </a:cubicBezTo>
                  <a:cubicBezTo>
                    <a:pt x="17295" y="14963"/>
                    <a:pt x="17295" y="14963"/>
                    <a:pt x="17295" y="14963"/>
                  </a:cubicBezTo>
                  <a:cubicBezTo>
                    <a:pt x="17369" y="14884"/>
                    <a:pt x="17369" y="14884"/>
                    <a:pt x="17369" y="14884"/>
                  </a:cubicBezTo>
                  <a:cubicBezTo>
                    <a:pt x="17443" y="14924"/>
                    <a:pt x="17443" y="14924"/>
                    <a:pt x="17443" y="14924"/>
                  </a:cubicBezTo>
                  <a:cubicBezTo>
                    <a:pt x="17443" y="14924"/>
                    <a:pt x="17443" y="15002"/>
                    <a:pt x="17518" y="15002"/>
                  </a:cubicBezTo>
                  <a:cubicBezTo>
                    <a:pt x="17518" y="15041"/>
                    <a:pt x="17592" y="15081"/>
                    <a:pt x="17592" y="15081"/>
                  </a:cubicBezTo>
                  <a:cubicBezTo>
                    <a:pt x="17666" y="15120"/>
                    <a:pt x="17963" y="15199"/>
                    <a:pt x="17963" y="15199"/>
                  </a:cubicBezTo>
                  <a:cubicBezTo>
                    <a:pt x="18111" y="15199"/>
                    <a:pt x="18111" y="15199"/>
                    <a:pt x="18111" y="15199"/>
                  </a:cubicBezTo>
                  <a:cubicBezTo>
                    <a:pt x="18260" y="15316"/>
                    <a:pt x="18260" y="15316"/>
                    <a:pt x="18260" y="15316"/>
                  </a:cubicBezTo>
                  <a:cubicBezTo>
                    <a:pt x="18260" y="15316"/>
                    <a:pt x="18334" y="15199"/>
                    <a:pt x="18334" y="15199"/>
                  </a:cubicBezTo>
                  <a:cubicBezTo>
                    <a:pt x="18334" y="15159"/>
                    <a:pt x="18111" y="15002"/>
                    <a:pt x="18111" y="15002"/>
                  </a:cubicBezTo>
                  <a:cubicBezTo>
                    <a:pt x="18037" y="15002"/>
                    <a:pt x="17963" y="14845"/>
                    <a:pt x="17963" y="14845"/>
                  </a:cubicBezTo>
                  <a:cubicBezTo>
                    <a:pt x="17889" y="14806"/>
                    <a:pt x="17740" y="14570"/>
                    <a:pt x="17740" y="14570"/>
                  </a:cubicBezTo>
                  <a:cubicBezTo>
                    <a:pt x="17740" y="14570"/>
                    <a:pt x="17666" y="14492"/>
                    <a:pt x="17666" y="14452"/>
                  </a:cubicBezTo>
                  <a:cubicBezTo>
                    <a:pt x="17666" y="14452"/>
                    <a:pt x="17666" y="14256"/>
                    <a:pt x="17666" y="14256"/>
                  </a:cubicBezTo>
                  <a:cubicBezTo>
                    <a:pt x="17814" y="14217"/>
                    <a:pt x="17814" y="14217"/>
                    <a:pt x="17814" y="14217"/>
                  </a:cubicBezTo>
                  <a:cubicBezTo>
                    <a:pt x="17963" y="14138"/>
                    <a:pt x="17963" y="14138"/>
                    <a:pt x="17963" y="14138"/>
                  </a:cubicBezTo>
                  <a:cubicBezTo>
                    <a:pt x="17963" y="14138"/>
                    <a:pt x="17889" y="14138"/>
                    <a:pt x="17889" y="14099"/>
                  </a:cubicBezTo>
                  <a:cubicBezTo>
                    <a:pt x="17814" y="14020"/>
                    <a:pt x="17666" y="13942"/>
                    <a:pt x="17666" y="13942"/>
                  </a:cubicBezTo>
                  <a:cubicBezTo>
                    <a:pt x="17666" y="13942"/>
                    <a:pt x="17518" y="13903"/>
                    <a:pt x="17443" y="13863"/>
                  </a:cubicBezTo>
                  <a:cubicBezTo>
                    <a:pt x="17443" y="13785"/>
                    <a:pt x="17369" y="13706"/>
                    <a:pt x="17369" y="13706"/>
                  </a:cubicBezTo>
                  <a:cubicBezTo>
                    <a:pt x="17369" y="13667"/>
                    <a:pt x="17295" y="13431"/>
                    <a:pt x="17295" y="13431"/>
                  </a:cubicBezTo>
                  <a:cubicBezTo>
                    <a:pt x="16924" y="13235"/>
                    <a:pt x="16924" y="13235"/>
                    <a:pt x="16924" y="13235"/>
                  </a:cubicBezTo>
                  <a:cubicBezTo>
                    <a:pt x="16924" y="13235"/>
                    <a:pt x="16775" y="13156"/>
                    <a:pt x="16701" y="13117"/>
                  </a:cubicBezTo>
                  <a:cubicBezTo>
                    <a:pt x="16701" y="13117"/>
                    <a:pt x="16478" y="13078"/>
                    <a:pt x="16478" y="13078"/>
                  </a:cubicBezTo>
                  <a:cubicBezTo>
                    <a:pt x="16404" y="13078"/>
                    <a:pt x="16033" y="12960"/>
                    <a:pt x="16033" y="12960"/>
                  </a:cubicBezTo>
                  <a:cubicBezTo>
                    <a:pt x="16033" y="12960"/>
                    <a:pt x="15736" y="12764"/>
                    <a:pt x="15736" y="12724"/>
                  </a:cubicBezTo>
                  <a:cubicBezTo>
                    <a:pt x="15736" y="12685"/>
                    <a:pt x="15588" y="12449"/>
                    <a:pt x="15588" y="12449"/>
                  </a:cubicBezTo>
                  <a:cubicBezTo>
                    <a:pt x="15588" y="12292"/>
                    <a:pt x="15588" y="12292"/>
                    <a:pt x="15588" y="12292"/>
                  </a:cubicBezTo>
                  <a:cubicBezTo>
                    <a:pt x="15439" y="11978"/>
                    <a:pt x="15439" y="11978"/>
                    <a:pt x="15439" y="11978"/>
                  </a:cubicBezTo>
                  <a:cubicBezTo>
                    <a:pt x="15365" y="11664"/>
                    <a:pt x="15365" y="11664"/>
                    <a:pt x="15365" y="11664"/>
                  </a:cubicBezTo>
                  <a:cubicBezTo>
                    <a:pt x="15365" y="11350"/>
                    <a:pt x="15365" y="11350"/>
                    <a:pt x="15365" y="11350"/>
                  </a:cubicBezTo>
                  <a:cubicBezTo>
                    <a:pt x="15365" y="11075"/>
                    <a:pt x="15365" y="11075"/>
                    <a:pt x="15365" y="11075"/>
                  </a:cubicBezTo>
                  <a:cubicBezTo>
                    <a:pt x="15365" y="10839"/>
                    <a:pt x="15365" y="10839"/>
                    <a:pt x="15365" y="10839"/>
                  </a:cubicBezTo>
                  <a:cubicBezTo>
                    <a:pt x="14994" y="10604"/>
                    <a:pt x="14994" y="10604"/>
                    <a:pt x="14994" y="10604"/>
                  </a:cubicBezTo>
                  <a:cubicBezTo>
                    <a:pt x="14845" y="10368"/>
                    <a:pt x="14845" y="10368"/>
                    <a:pt x="14845" y="10368"/>
                  </a:cubicBezTo>
                  <a:cubicBezTo>
                    <a:pt x="14400" y="10132"/>
                    <a:pt x="14400" y="10132"/>
                    <a:pt x="14400" y="10132"/>
                  </a:cubicBezTo>
                  <a:cubicBezTo>
                    <a:pt x="14103" y="9936"/>
                    <a:pt x="14103" y="9936"/>
                    <a:pt x="14103" y="9936"/>
                  </a:cubicBezTo>
                  <a:cubicBezTo>
                    <a:pt x="13880" y="9897"/>
                    <a:pt x="13880" y="9897"/>
                    <a:pt x="13880" y="9897"/>
                  </a:cubicBezTo>
                  <a:cubicBezTo>
                    <a:pt x="13509" y="9661"/>
                    <a:pt x="13509" y="9661"/>
                    <a:pt x="13509" y="9661"/>
                  </a:cubicBezTo>
                  <a:cubicBezTo>
                    <a:pt x="13212" y="9622"/>
                    <a:pt x="13212" y="9622"/>
                    <a:pt x="13212" y="9622"/>
                  </a:cubicBezTo>
                  <a:cubicBezTo>
                    <a:pt x="12915" y="9700"/>
                    <a:pt x="12915" y="9700"/>
                    <a:pt x="12915" y="9700"/>
                  </a:cubicBezTo>
                  <a:cubicBezTo>
                    <a:pt x="12619" y="9740"/>
                    <a:pt x="12619" y="9740"/>
                    <a:pt x="12619" y="9740"/>
                  </a:cubicBezTo>
                  <a:cubicBezTo>
                    <a:pt x="12322" y="9779"/>
                    <a:pt x="12322" y="9779"/>
                    <a:pt x="12322" y="9779"/>
                  </a:cubicBezTo>
                  <a:cubicBezTo>
                    <a:pt x="11802" y="9661"/>
                    <a:pt x="11802" y="9661"/>
                    <a:pt x="11802" y="9661"/>
                  </a:cubicBezTo>
                  <a:cubicBezTo>
                    <a:pt x="11579" y="9543"/>
                    <a:pt x="11579" y="9543"/>
                    <a:pt x="11579" y="9543"/>
                  </a:cubicBezTo>
                  <a:cubicBezTo>
                    <a:pt x="11282" y="9504"/>
                    <a:pt x="11282" y="9504"/>
                    <a:pt x="11282" y="9504"/>
                  </a:cubicBezTo>
                  <a:cubicBezTo>
                    <a:pt x="11134" y="9504"/>
                    <a:pt x="11134" y="9504"/>
                    <a:pt x="11134" y="9504"/>
                  </a:cubicBezTo>
                  <a:cubicBezTo>
                    <a:pt x="11134" y="9504"/>
                    <a:pt x="11134" y="9465"/>
                    <a:pt x="11134" y="9465"/>
                  </a:cubicBezTo>
                  <a:cubicBezTo>
                    <a:pt x="11134" y="9465"/>
                    <a:pt x="11282" y="9465"/>
                    <a:pt x="11282" y="9465"/>
                  </a:cubicBezTo>
                  <a:cubicBezTo>
                    <a:pt x="11282" y="9465"/>
                    <a:pt x="11431" y="9504"/>
                    <a:pt x="11505" y="9504"/>
                  </a:cubicBezTo>
                  <a:cubicBezTo>
                    <a:pt x="11505" y="9504"/>
                    <a:pt x="11728" y="9543"/>
                    <a:pt x="11728" y="9543"/>
                  </a:cubicBezTo>
                  <a:cubicBezTo>
                    <a:pt x="11728" y="9543"/>
                    <a:pt x="11802" y="9583"/>
                    <a:pt x="11876" y="9583"/>
                  </a:cubicBezTo>
                  <a:cubicBezTo>
                    <a:pt x="11951" y="9583"/>
                    <a:pt x="12173" y="9583"/>
                    <a:pt x="12173" y="9583"/>
                  </a:cubicBezTo>
                  <a:cubicBezTo>
                    <a:pt x="12396" y="9504"/>
                    <a:pt x="12396" y="9504"/>
                    <a:pt x="12396" y="9504"/>
                  </a:cubicBezTo>
                  <a:cubicBezTo>
                    <a:pt x="12470" y="9386"/>
                    <a:pt x="12470" y="9386"/>
                    <a:pt x="12470" y="9386"/>
                  </a:cubicBezTo>
                  <a:cubicBezTo>
                    <a:pt x="12693" y="9347"/>
                    <a:pt x="12693" y="9347"/>
                    <a:pt x="12693" y="9347"/>
                  </a:cubicBezTo>
                  <a:cubicBezTo>
                    <a:pt x="12841" y="9308"/>
                    <a:pt x="12841" y="9308"/>
                    <a:pt x="12841" y="9308"/>
                  </a:cubicBezTo>
                  <a:cubicBezTo>
                    <a:pt x="12990" y="9308"/>
                    <a:pt x="12990" y="9308"/>
                    <a:pt x="12990" y="9308"/>
                  </a:cubicBezTo>
                  <a:cubicBezTo>
                    <a:pt x="12990" y="9308"/>
                    <a:pt x="13064" y="9386"/>
                    <a:pt x="13212" y="9347"/>
                  </a:cubicBezTo>
                  <a:cubicBezTo>
                    <a:pt x="13361" y="9347"/>
                    <a:pt x="13435" y="9308"/>
                    <a:pt x="13435" y="9308"/>
                  </a:cubicBezTo>
                  <a:cubicBezTo>
                    <a:pt x="13435" y="9308"/>
                    <a:pt x="13732" y="9229"/>
                    <a:pt x="13658" y="9229"/>
                  </a:cubicBezTo>
                  <a:cubicBezTo>
                    <a:pt x="13658" y="9190"/>
                    <a:pt x="13658" y="9151"/>
                    <a:pt x="13584" y="9151"/>
                  </a:cubicBezTo>
                  <a:cubicBezTo>
                    <a:pt x="13584" y="9111"/>
                    <a:pt x="13435" y="9033"/>
                    <a:pt x="13435" y="9033"/>
                  </a:cubicBezTo>
                  <a:cubicBezTo>
                    <a:pt x="13435" y="9033"/>
                    <a:pt x="13361" y="9033"/>
                    <a:pt x="13361" y="8993"/>
                  </a:cubicBezTo>
                  <a:cubicBezTo>
                    <a:pt x="13361" y="8954"/>
                    <a:pt x="13361" y="8876"/>
                    <a:pt x="13361" y="8876"/>
                  </a:cubicBezTo>
                  <a:cubicBezTo>
                    <a:pt x="13212" y="8797"/>
                    <a:pt x="13212" y="8797"/>
                    <a:pt x="13212" y="8797"/>
                  </a:cubicBezTo>
                  <a:cubicBezTo>
                    <a:pt x="13212" y="8797"/>
                    <a:pt x="13138" y="8797"/>
                    <a:pt x="13064" y="8797"/>
                  </a:cubicBezTo>
                  <a:cubicBezTo>
                    <a:pt x="12990" y="8797"/>
                    <a:pt x="12915" y="8836"/>
                    <a:pt x="12915" y="8836"/>
                  </a:cubicBezTo>
                  <a:cubicBezTo>
                    <a:pt x="12619" y="8876"/>
                    <a:pt x="12619" y="8876"/>
                    <a:pt x="12619" y="8876"/>
                  </a:cubicBezTo>
                  <a:cubicBezTo>
                    <a:pt x="12247" y="8915"/>
                    <a:pt x="12247" y="8915"/>
                    <a:pt x="12247" y="8915"/>
                  </a:cubicBezTo>
                  <a:cubicBezTo>
                    <a:pt x="12247" y="8876"/>
                    <a:pt x="12247" y="8876"/>
                    <a:pt x="12247" y="8876"/>
                  </a:cubicBezTo>
                  <a:cubicBezTo>
                    <a:pt x="12619" y="8836"/>
                    <a:pt x="12619" y="8836"/>
                    <a:pt x="12619" y="8836"/>
                  </a:cubicBezTo>
                  <a:cubicBezTo>
                    <a:pt x="12841" y="8758"/>
                    <a:pt x="12841" y="8758"/>
                    <a:pt x="12841" y="8758"/>
                  </a:cubicBezTo>
                  <a:cubicBezTo>
                    <a:pt x="12841" y="8758"/>
                    <a:pt x="12841" y="8719"/>
                    <a:pt x="12915" y="8719"/>
                  </a:cubicBezTo>
                  <a:cubicBezTo>
                    <a:pt x="12990" y="8719"/>
                    <a:pt x="13212" y="8758"/>
                    <a:pt x="13212" y="8758"/>
                  </a:cubicBezTo>
                  <a:cubicBezTo>
                    <a:pt x="13287" y="8758"/>
                    <a:pt x="13584" y="8758"/>
                    <a:pt x="13584" y="8758"/>
                  </a:cubicBezTo>
                  <a:cubicBezTo>
                    <a:pt x="13584" y="8758"/>
                    <a:pt x="13806" y="8679"/>
                    <a:pt x="13806" y="8640"/>
                  </a:cubicBezTo>
                  <a:cubicBezTo>
                    <a:pt x="13880" y="8640"/>
                    <a:pt x="14177" y="8561"/>
                    <a:pt x="14177" y="8561"/>
                  </a:cubicBezTo>
                  <a:cubicBezTo>
                    <a:pt x="14177" y="8444"/>
                    <a:pt x="14177" y="8444"/>
                    <a:pt x="14177" y="8444"/>
                  </a:cubicBezTo>
                  <a:cubicBezTo>
                    <a:pt x="14177" y="8444"/>
                    <a:pt x="14252" y="8326"/>
                    <a:pt x="14326" y="8326"/>
                  </a:cubicBezTo>
                  <a:cubicBezTo>
                    <a:pt x="14326" y="8326"/>
                    <a:pt x="14623" y="8208"/>
                    <a:pt x="14623" y="8208"/>
                  </a:cubicBezTo>
                  <a:cubicBezTo>
                    <a:pt x="14920" y="8051"/>
                    <a:pt x="14920" y="8051"/>
                    <a:pt x="14920" y="8051"/>
                  </a:cubicBezTo>
                  <a:cubicBezTo>
                    <a:pt x="15068" y="7855"/>
                    <a:pt x="15068" y="7855"/>
                    <a:pt x="15068" y="7855"/>
                  </a:cubicBezTo>
                  <a:cubicBezTo>
                    <a:pt x="15216" y="7697"/>
                    <a:pt x="15216" y="7697"/>
                    <a:pt x="15216" y="7697"/>
                  </a:cubicBezTo>
                  <a:cubicBezTo>
                    <a:pt x="15216" y="7697"/>
                    <a:pt x="15513" y="7580"/>
                    <a:pt x="15439" y="7540"/>
                  </a:cubicBezTo>
                  <a:cubicBezTo>
                    <a:pt x="15439" y="7462"/>
                    <a:pt x="15439" y="7344"/>
                    <a:pt x="15439" y="7344"/>
                  </a:cubicBezTo>
                  <a:cubicBezTo>
                    <a:pt x="15439" y="7344"/>
                    <a:pt x="15662" y="7265"/>
                    <a:pt x="15736" y="7226"/>
                  </a:cubicBezTo>
                  <a:cubicBezTo>
                    <a:pt x="15736" y="7187"/>
                    <a:pt x="16256" y="6991"/>
                    <a:pt x="16256" y="6991"/>
                  </a:cubicBezTo>
                  <a:cubicBezTo>
                    <a:pt x="16330" y="6794"/>
                    <a:pt x="16330" y="6794"/>
                    <a:pt x="16330" y="6794"/>
                  </a:cubicBezTo>
                  <a:cubicBezTo>
                    <a:pt x="16256" y="6716"/>
                    <a:pt x="16256" y="6716"/>
                    <a:pt x="16256" y="6716"/>
                  </a:cubicBezTo>
                  <a:cubicBezTo>
                    <a:pt x="16181" y="6598"/>
                    <a:pt x="16181" y="6598"/>
                    <a:pt x="16181" y="6598"/>
                  </a:cubicBezTo>
                  <a:cubicBezTo>
                    <a:pt x="16033" y="6480"/>
                    <a:pt x="16033" y="6480"/>
                    <a:pt x="16033" y="6480"/>
                  </a:cubicBezTo>
                  <a:cubicBezTo>
                    <a:pt x="15885" y="6362"/>
                    <a:pt x="15885" y="6362"/>
                    <a:pt x="15885" y="6362"/>
                  </a:cubicBezTo>
                  <a:cubicBezTo>
                    <a:pt x="15588" y="6362"/>
                    <a:pt x="15588" y="6362"/>
                    <a:pt x="15588" y="6362"/>
                  </a:cubicBezTo>
                  <a:cubicBezTo>
                    <a:pt x="15588" y="6362"/>
                    <a:pt x="15513" y="6441"/>
                    <a:pt x="15513" y="6401"/>
                  </a:cubicBezTo>
                  <a:cubicBezTo>
                    <a:pt x="15439" y="6401"/>
                    <a:pt x="15291" y="6323"/>
                    <a:pt x="15291" y="6323"/>
                  </a:cubicBezTo>
                  <a:cubicBezTo>
                    <a:pt x="14994" y="6362"/>
                    <a:pt x="14994" y="6362"/>
                    <a:pt x="14994" y="6362"/>
                  </a:cubicBezTo>
                  <a:cubicBezTo>
                    <a:pt x="14623" y="6323"/>
                    <a:pt x="14623" y="6323"/>
                    <a:pt x="14623" y="6323"/>
                  </a:cubicBezTo>
                  <a:cubicBezTo>
                    <a:pt x="14548" y="6244"/>
                    <a:pt x="14548" y="6244"/>
                    <a:pt x="14548" y="6244"/>
                  </a:cubicBezTo>
                  <a:cubicBezTo>
                    <a:pt x="14252" y="6244"/>
                    <a:pt x="14252" y="6244"/>
                    <a:pt x="14252" y="6244"/>
                  </a:cubicBezTo>
                  <a:cubicBezTo>
                    <a:pt x="14103" y="6205"/>
                    <a:pt x="14103" y="6205"/>
                    <a:pt x="14103" y="6205"/>
                  </a:cubicBezTo>
                  <a:cubicBezTo>
                    <a:pt x="13806" y="6244"/>
                    <a:pt x="13806" y="6244"/>
                    <a:pt x="13806" y="6244"/>
                  </a:cubicBezTo>
                  <a:cubicBezTo>
                    <a:pt x="13584" y="6244"/>
                    <a:pt x="13584" y="6244"/>
                    <a:pt x="13584" y="6244"/>
                  </a:cubicBezTo>
                  <a:cubicBezTo>
                    <a:pt x="13435" y="6205"/>
                    <a:pt x="13435" y="6205"/>
                    <a:pt x="13435" y="6205"/>
                  </a:cubicBezTo>
                  <a:cubicBezTo>
                    <a:pt x="13212" y="6087"/>
                    <a:pt x="13212" y="6087"/>
                    <a:pt x="13212" y="6087"/>
                  </a:cubicBezTo>
                  <a:cubicBezTo>
                    <a:pt x="12767" y="6087"/>
                    <a:pt x="12767" y="6087"/>
                    <a:pt x="12767" y="6087"/>
                  </a:cubicBezTo>
                  <a:cubicBezTo>
                    <a:pt x="12693" y="6166"/>
                    <a:pt x="12693" y="6166"/>
                    <a:pt x="12693" y="6166"/>
                  </a:cubicBezTo>
                  <a:cubicBezTo>
                    <a:pt x="12396" y="6166"/>
                    <a:pt x="12396" y="6166"/>
                    <a:pt x="12396" y="6166"/>
                  </a:cubicBezTo>
                  <a:cubicBezTo>
                    <a:pt x="12396" y="6166"/>
                    <a:pt x="12322" y="6166"/>
                    <a:pt x="12247" y="6166"/>
                  </a:cubicBezTo>
                  <a:cubicBezTo>
                    <a:pt x="12247" y="6166"/>
                    <a:pt x="12099" y="6205"/>
                    <a:pt x="12099" y="6205"/>
                  </a:cubicBezTo>
                  <a:cubicBezTo>
                    <a:pt x="11951" y="6244"/>
                    <a:pt x="11951" y="6244"/>
                    <a:pt x="11951" y="6244"/>
                  </a:cubicBezTo>
                  <a:cubicBezTo>
                    <a:pt x="11802" y="6244"/>
                    <a:pt x="11802" y="6244"/>
                    <a:pt x="11802" y="6244"/>
                  </a:cubicBezTo>
                  <a:cubicBezTo>
                    <a:pt x="11505" y="6205"/>
                    <a:pt x="11505" y="6205"/>
                    <a:pt x="11505" y="6205"/>
                  </a:cubicBezTo>
                  <a:cubicBezTo>
                    <a:pt x="11357" y="6323"/>
                    <a:pt x="11357" y="6323"/>
                    <a:pt x="11357" y="6323"/>
                  </a:cubicBezTo>
                  <a:cubicBezTo>
                    <a:pt x="11134" y="6362"/>
                    <a:pt x="11134" y="6362"/>
                    <a:pt x="11134" y="6362"/>
                  </a:cubicBezTo>
                  <a:cubicBezTo>
                    <a:pt x="10911" y="6480"/>
                    <a:pt x="10911" y="6480"/>
                    <a:pt x="10911" y="6480"/>
                  </a:cubicBezTo>
                  <a:cubicBezTo>
                    <a:pt x="10986" y="6362"/>
                    <a:pt x="10986" y="6362"/>
                    <a:pt x="10986" y="6362"/>
                  </a:cubicBezTo>
                  <a:cubicBezTo>
                    <a:pt x="11134" y="6284"/>
                    <a:pt x="11134" y="6284"/>
                    <a:pt x="11134" y="6284"/>
                  </a:cubicBezTo>
                  <a:cubicBezTo>
                    <a:pt x="11357" y="6244"/>
                    <a:pt x="11357" y="6244"/>
                    <a:pt x="11357" y="6244"/>
                  </a:cubicBezTo>
                  <a:cubicBezTo>
                    <a:pt x="11505" y="6127"/>
                    <a:pt x="11505" y="6127"/>
                    <a:pt x="11505" y="6127"/>
                  </a:cubicBezTo>
                  <a:cubicBezTo>
                    <a:pt x="11505" y="6127"/>
                    <a:pt x="11654" y="6087"/>
                    <a:pt x="11654" y="6048"/>
                  </a:cubicBezTo>
                  <a:cubicBezTo>
                    <a:pt x="11728" y="6048"/>
                    <a:pt x="11876" y="5969"/>
                    <a:pt x="11876" y="5969"/>
                  </a:cubicBezTo>
                  <a:cubicBezTo>
                    <a:pt x="11654" y="5930"/>
                    <a:pt x="11654" y="5930"/>
                    <a:pt x="11654" y="5930"/>
                  </a:cubicBezTo>
                  <a:cubicBezTo>
                    <a:pt x="11431" y="6009"/>
                    <a:pt x="11431" y="6009"/>
                    <a:pt x="11431" y="6009"/>
                  </a:cubicBezTo>
                  <a:cubicBezTo>
                    <a:pt x="11431" y="6009"/>
                    <a:pt x="11357" y="6009"/>
                    <a:pt x="11282" y="6009"/>
                  </a:cubicBezTo>
                  <a:cubicBezTo>
                    <a:pt x="11282" y="6009"/>
                    <a:pt x="11060" y="6048"/>
                    <a:pt x="11060" y="6048"/>
                  </a:cubicBezTo>
                  <a:cubicBezTo>
                    <a:pt x="10614" y="6127"/>
                    <a:pt x="10614" y="6127"/>
                    <a:pt x="10614" y="6127"/>
                  </a:cubicBezTo>
                  <a:cubicBezTo>
                    <a:pt x="11060" y="6009"/>
                    <a:pt x="11060" y="6009"/>
                    <a:pt x="11060" y="6009"/>
                  </a:cubicBezTo>
                  <a:cubicBezTo>
                    <a:pt x="11060" y="6009"/>
                    <a:pt x="11208" y="5969"/>
                    <a:pt x="11282" y="5930"/>
                  </a:cubicBezTo>
                  <a:cubicBezTo>
                    <a:pt x="11357" y="5930"/>
                    <a:pt x="11505" y="5891"/>
                    <a:pt x="11505" y="5891"/>
                  </a:cubicBezTo>
                  <a:cubicBezTo>
                    <a:pt x="11579" y="5891"/>
                    <a:pt x="11728" y="5852"/>
                    <a:pt x="11728" y="5852"/>
                  </a:cubicBezTo>
                  <a:cubicBezTo>
                    <a:pt x="11802" y="5891"/>
                    <a:pt x="11951" y="5930"/>
                    <a:pt x="12025" y="5891"/>
                  </a:cubicBezTo>
                  <a:cubicBezTo>
                    <a:pt x="12025" y="5891"/>
                    <a:pt x="12099" y="5812"/>
                    <a:pt x="12173" y="5812"/>
                  </a:cubicBezTo>
                  <a:cubicBezTo>
                    <a:pt x="12173" y="5773"/>
                    <a:pt x="12322" y="5695"/>
                    <a:pt x="12322" y="5695"/>
                  </a:cubicBezTo>
                  <a:cubicBezTo>
                    <a:pt x="11876" y="5695"/>
                    <a:pt x="11876" y="5695"/>
                    <a:pt x="11876" y="5695"/>
                  </a:cubicBezTo>
                  <a:cubicBezTo>
                    <a:pt x="11876" y="5695"/>
                    <a:pt x="11802" y="5734"/>
                    <a:pt x="11728" y="5734"/>
                  </a:cubicBezTo>
                  <a:cubicBezTo>
                    <a:pt x="11654" y="5695"/>
                    <a:pt x="11505" y="5695"/>
                    <a:pt x="11431" y="5655"/>
                  </a:cubicBezTo>
                  <a:cubicBezTo>
                    <a:pt x="11431" y="5655"/>
                    <a:pt x="11357" y="5616"/>
                    <a:pt x="11357" y="5616"/>
                  </a:cubicBezTo>
                  <a:cubicBezTo>
                    <a:pt x="11282" y="5616"/>
                    <a:pt x="11134" y="5537"/>
                    <a:pt x="11134" y="5537"/>
                  </a:cubicBezTo>
                  <a:cubicBezTo>
                    <a:pt x="11208" y="5498"/>
                    <a:pt x="11208" y="5498"/>
                    <a:pt x="11208" y="5498"/>
                  </a:cubicBezTo>
                  <a:cubicBezTo>
                    <a:pt x="11357" y="5577"/>
                    <a:pt x="11357" y="5577"/>
                    <a:pt x="11357" y="5577"/>
                  </a:cubicBezTo>
                  <a:cubicBezTo>
                    <a:pt x="11357" y="5577"/>
                    <a:pt x="11431" y="5616"/>
                    <a:pt x="11505" y="5616"/>
                  </a:cubicBezTo>
                  <a:cubicBezTo>
                    <a:pt x="11579" y="5616"/>
                    <a:pt x="11654" y="5577"/>
                    <a:pt x="11802" y="5577"/>
                  </a:cubicBezTo>
                  <a:cubicBezTo>
                    <a:pt x="11876" y="5616"/>
                    <a:pt x="12025" y="5498"/>
                    <a:pt x="12025" y="5498"/>
                  </a:cubicBezTo>
                  <a:cubicBezTo>
                    <a:pt x="12025" y="5498"/>
                    <a:pt x="11876" y="5498"/>
                    <a:pt x="12099" y="5459"/>
                  </a:cubicBezTo>
                  <a:cubicBezTo>
                    <a:pt x="12247" y="5380"/>
                    <a:pt x="12173" y="5420"/>
                    <a:pt x="12322" y="5341"/>
                  </a:cubicBezTo>
                  <a:cubicBezTo>
                    <a:pt x="12470" y="5302"/>
                    <a:pt x="12841" y="5184"/>
                    <a:pt x="12841" y="5184"/>
                  </a:cubicBezTo>
                  <a:cubicBezTo>
                    <a:pt x="13287" y="5105"/>
                    <a:pt x="13287" y="5105"/>
                    <a:pt x="13287" y="5105"/>
                  </a:cubicBezTo>
                  <a:cubicBezTo>
                    <a:pt x="13584" y="4909"/>
                    <a:pt x="13584" y="4909"/>
                    <a:pt x="13584" y="4909"/>
                  </a:cubicBezTo>
                  <a:cubicBezTo>
                    <a:pt x="13806" y="4909"/>
                    <a:pt x="13806" y="4909"/>
                    <a:pt x="13806" y="4909"/>
                  </a:cubicBezTo>
                  <a:cubicBezTo>
                    <a:pt x="14103" y="4752"/>
                    <a:pt x="14103" y="4752"/>
                    <a:pt x="14103" y="4752"/>
                  </a:cubicBezTo>
                  <a:cubicBezTo>
                    <a:pt x="14252" y="4673"/>
                    <a:pt x="14252" y="4673"/>
                    <a:pt x="14252" y="4673"/>
                  </a:cubicBezTo>
                  <a:cubicBezTo>
                    <a:pt x="14177" y="4477"/>
                    <a:pt x="14177" y="4477"/>
                    <a:pt x="14177" y="4477"/>
                  </a:cubicBezTo>
                  <a:cubicBezTo>
                    <a:pt x="14326" y="4320"/>
                    <a:pt x="14326" y="4320"/>
                    <a:pt x="14326" y="4320"/>
                  </a:cubicBezTo>
                  <a:cubicBezTo>
                    <a:pt x="14326" y="4202"/>
                    <a:pt x="14326" y="4202"/>
                    <a:pt x="14326" y="4202"/>
                  </a:cubicBezTo>
                  <a:cubicBezTo>
                    <a:pt x="14103" y="4163"/>
                    <a:pt x="14103" y="4163"/>
                    <a:pt x="14103" y="4163"/>
                  </a:cubicBezTo>
                  <a:cubicBezTo>
                    <a:pt x="13658" y="4163"/>
                    <a:pt x="13658" y="4163"/>
                    <a:pt x="13658" y="4163"/>
                  </a:cubicBezTo>
                  <a:cubicBezTo>
                    <a:pt x="13658" y="4163"/>
                    <a:pt x="13584" y="4281"/>
                    <a:pt x="13509" y="4241"/>
                  </a:cubicBezTo>
                  <a:cubicBezTo>
                    <a:pt x="13509" y="4241"/>
                    <a:pt x="13212" y="4124"/>
                    <a:pt x="13138" y="4124"/>
                  </a:cubicBezTo>
                  <a:cubicBezTo>
                    <a:pt x="13138" y="4124"/>
                    <a:pt x="12841" y="4241"/>
                    <a:pt x="12841" y="4241"/>
                  </a:cubicBezTo>
                  <a:cubicBezTo>
                    <a:pt x="12693" y="4241"/>
                    <a:pt x="12693" y="4241"/>
                    <a:pt x="12693" y="4241"/>
                  </a:cubicBezTo>
                  <a:cubicBezTo>
                    <a:pt x="12693" y="4241"/>
                    <a:pt x="12619" y="4241"/>
                    <a:pt x="12470" y="4241"/>
                  </a:cubicBezTo>
                  <a:cubicBezTo>
                    <a:pt x="12322" y="4202"/>
                    <a:pt x="12025" y="4163"/>
                    <a:pt x="12025" y="4163"/>
                  </a:cubicBezTo>
                  <a:cubicBezTo>
                    <a:pt x="11802" y="4241"/>
                    <a:pt x="11802" y="4241"/>
                    <a:pt x="11802" y="4241"/>
                  </a:cubicBezTo>
                  <a:cubicBezTo>
                    <a:pt x="11654" y="4202"/>
                    <a:pt x="11654" y="4202"/>
                    <a:pt x="11654" y="4202"/>
                  </a:cubicBezTo>
                  <a:cubicBezTo>
                    <a:pt x="11357" y="4320"/>
                    <a:pt x="11357" y="4320"/>
                    <a:pt x="11357" y="4320"/>
                  </a:cubicBezTo>
                  <a:cubicBezTo>
                    <a:pt x="11357" y="4241"/>
                    <a:pt x="11357" y="4241"/>
                    <a:pt x="11357" y="4241"/>
                  </a:cubicBezTo>
                  <a:cubicBezTo>
                    <a:pt x="11505" y="4124"/>
                    <a:pt x="11505" y="4124"/>
                    <a:pt x="11505" y="4124"/>
                  </a:cubicBezTo>
                  <a:cubicBezTo>
                    <a:pt x="11505" y="4124"/>
                    <a:pt x="11431" y="4084"/>
                    <a:pt x="11357" y="4084"/>
                  </a:cubicBezTo>
                  <a:cubicBezTo>
                    <a:pt x="11357" y="4084"/>
                    <a:pt x="11208" y="4045"/>
                    <a:pt x="11208" y="4045"/>
                  </a:cubicBezTo>
                  <a:cubicBezTo>
                    <a:pt x="11060" y="4163"/>
                    <a:pt x="11060" y="4163"/>
                    <a:pt x="11060" y="4163"/>
                  </a:cubicBezTo>
                  <a:cubicBezTo>
                    <a:pt x="10763" y="4241"/>
                    <a:pt x="10763" y="4241"/>
                    <a:pt x="10763" y="4241"/>
                  </a:cubicBezTo>
                  <a:cubicBezTo>
                    <a:pt x="10837" y="4202"/>
                    <a:pt x="10837" y="4202"/>
                    <a:pt x="10837" y="4202"/>
                  </a:cubicBezTo>
                  <a:cubicBezTo>
                    <a:pt x="11060" y="4124"/>
                    <a:pt x="11060" y="4124"/>
                    <a:pt x="11060" y="4124"/>
                  </a:cubicBezTo>
                  <a:cubicBezTo>
                    <a:pt x="11060" y="4045"/>
                    <a:pt x="11060" y="4045"/>
                    <a:pt x="11060" y="4045"/>
                  </a:cubicBezTo>
                  <a:cubicBezTo>
                    <a:pt x="11060" y="4045"/>
                    <a:pt x="10986" y="4045"/>
                    <a:pt x="10986" y="4045"/>
                  </a:cubicBezTo>
                  <a:cubicBezTo>
                    <a:pt x="10911" y="4045"/>
                    <a:pt x="10837" y="4006"/>
                    <a:pt x="10837" y="4006"/>
                  </a:cubicBezTo>
                  <a:cubicBezTo>
                    <a:pt x="10689" y="3967"/>
                    <a:pt x="10689" y="3967"/>
                    <a:pt x="10689" y="3967"/>
                  </a:cubicBezTo>
                  <a:cubicBezTo>
                    <a:pt x="10614" y="3888"/>
                    <a:pt x="10614" y="3888"/>
                    <a:pt x="10614" y="3888"/>
                  </a:cubicBezTo>
                  <a:cubicBezTo>
                    <a:pt x="10392" y="3927"/>
                    <a:pt x="10392" y="3927"/>
                    <a:pt x="10392" y="3927"/>
                  </a:cubicBezTo>
                  <a:cubicBezTo>
                    <a:pt x="10318" y="4006"/>
                    <a:pt x="10318" y="4006"/>
                    <a:pt x="10318" y="4006"/>
                  </a:cubicBezTo>
                  <a:cubicBezTo>
                    <a:pt x="10169" y="4045"/>
                    <a:pt x="10169" y="4045"/>
                    <a:pt x="10169" y="4045"/>
                  </a:cubicBezTo>
                  <a:cubicBezTo>
                    <a:pt x="10021" y="4045"/>
                    <a:pt x="10021" y="4045"/>
                    <a:pt x="10021" y="4045"/>
                  </a:cubicBezTo>
                  <a:cubicBezTo>
                    <a:pt x="10095" y="4163"/>
                    <a:pt x="10095" y="4163"/>
                    <a:pt x="10095" y="4163"/>
                  </a:cubicBezTo>
                  <a:cubicBezTo>
                    <a:pt x="10021" y="4281"/>
                    <a:pt x="10021" y="4281"/>
                    <a:pt x="10021" y="4281"/>
                  </a:cubicBezTo>
                  <a:cubicBezTo>
                    <a:pt x="9798" y="4281"/>
                    <a:pt x="9798" y="4281"/>
                    <a:pt x="9798" y="4281"/>
                  </a:cubicBezTo>
                  <a:cubicBezTo>
                    <a:pt x="9798" y="4281"/>
                    <a:pt x="9798" y="4438"/>
                    <a:pt x="9872" y="4438"/>
                  </a:cubicBezTo>
                  <a:cubicBezTo>
                    <a:pt x="9872" y="4438"/>
                    <a:pt x="9946" y="4516"/>
                    <a:pt x="9946" y="4516"/>
                  </a:cubicBezTo>
                  <a:cubicBezTo>
                    <a:pt x="9946" y="4595"/>
                    <a:pt x="9946" y="4595"/>
                    <a:pt x="9946" y="4595"/>
                  </a:cubicBezTo>
                  <a:cubicBezTo>
                    <a:pt x="10021" y="4634"/>
                    <a:pt x="10021" y="4634"/>
                    <a:pt x="10021" y="4634"/>
                  </a:cubicBezTo>
                  <a:cubicBezTo>
                    <a:pt x="10021" y="4634"/>
                    <a:pt x="9946" y="4634"/>
                    <a:pt x="9872" y="4634"/>
                  </a:cubicBezTo>
                  <a:cubicBezTo>
                    <a:pt x="9872" y="4634"/>
                    <a:pt x="9798" y="4556"/>
                    <a:pt x="9798" y="4556"/>
                  </a:cubicBezTo>
                  <a:cubicBezTo>
                    <a:pt x="9501" y="4556"/>
                    <a:pt x="9501" y="4556"/>
                    <a:pt x="9501" y="4556"/>
                  </a:cubicBezTo>
                  <a:cubicBezTo>
                    <a:pt x="9427" y="4556"/>
                    <a:pt x="9427" y="4556"/>
                    <a:pt x="9427" y="4556"/>
                  </a:cubicBezTo>
                  <a:cubicBezTo>
                    <a:pt x="9353" y="4673"/>
                    <a:pt x="9353" y="4673"/>
                    <a:pt x="9353" y="4673"/>
                  </a:cubicBezTo>
                  <a:cubicBezTo>
                    <a:pt x="9427" y="4791"/>
                    <a:pt x="9427" y="4791"/>
                    <a:pt x="9427" y="4791"/>
                  </a:cubicBezTo>
                  <a:cubicBezTo>
                    <a:pt x="9353" y="4870"/>
                    <a:pt x="9353" y="4870"/>
                    <a:pt x="9353" y="4870"/>
                  </a:cubicBezTo>
                  <a:cubicBezTo>
                    <a:pt x="9278" y="4909"/>
                    <a:pt x="9278" y="4909"/>
                    <a:pt x="9278" y="4909"/>
                  </a:cubicBezTo>
                  <a:cubicBezTo>
                    <a:pt x="9278" y="4909"/>
                    <a:pt x="9130" y="4988"/>
                    <a:pt x="9130" y="4988"/>
                  </a:cubicBezTo>
                  <a:cubicBezTo>
                    <a:pt x="9130" y="5027"/>
                    <a:pt x="9204" y="5145"/>
                    <a:pt x="9204" y="5145"/>
                  </a:cubicBezTo>
                  <a:cubicBezTo>
                    <a:pt x="9204" y="5145"/>
                    <a:pt x="9278" y="5223"/>
                    <a:pt x="9353" y="5223"/>
                  </a:cubicBezTo>
                  <a:cubicBezTo>
                    <a:pt x="9353" y="5263"/>
                    <a:pt x="9501" y="5302"/>
                    <a:pt x="9501" y="5302"/>
                  </a:cubicBezTo>
                  <a:cubicBezTo>
                    <a:pt x="9501" y="5420"/>
                    <a:pt x="9501" y="5420"/>
                    <a:pt x="9501" y="5420"/>
                  </a:cubicBezTo>
                  <a:cubicBezTo>
                    <a:pt x="9353" y="5302"/>
                    <a:pt x="9353" y="5302"/>
                    <a:pt x="9353" y="5302"/>
                  </a:cubicBezTo>
                  <a:cubicBezTo>
                    <a:pt x="9353" y="5302"/>
                    <a:pt x="9278" y="5263"/>
                    <a:pt x="9204" y="5223"/>
                  </a:cubicBezTo>
                  <a:cubicBezTo>
                    <a:pt x="9204" y="5223"/>
                    <a:pt x="9130" y="5145"/>
                    <a:pt x="9130" y="5145"/>
                  </a:cubicBezTo>
                  <a:cubicBezTo>
                    <a:pt x="9130" y="5145"/>
                    <a:pt x="8981" y="5184"/>
                    <a:pt x="8981" y="5184"/>
                  </a:cubicBezTo>
                  <a:cubicBezTo>
                    <a:pt x="8981" y="5184"/>
                    <a:pt x="8907" y="5184"/>
                    <a:pt x="8981" y="5223"/>
                  </a:cubicBezTo>
                  <a:cubicBezTo>
                    <a:pt x="8981" y="5263"/>
                    <a:pt x="8833" y="5302"/>
                    <a:pt x="8833" y="5302"/>
                  </a:cubicBezTo>
                  <a:cubicBezTo>
                    <a:pt x="8833" y="5302"/>
                    <a:pt x="8610" y="5341"/>
                    <a:pt x="8610" y="5302"/>
                  </a:cubicBezTo>
                  <a:cubicBezTo>
                    <a:pt x="8610" y="5263"/>
                    <a:pt x="8610" y="5223"/>
                    <a:pt x="8536" y="5184"/>
                  </a:cubicBezTo>
                  <a:cubicBezTo>
                    <a:pt x="8536" y="5184"/>
                    <a:pt x="8462" y="5184"/>
                    <a:pt x="8462" y="5184"/>
                  </a:cubicBezTo>
                  <a:cubicBezTo>
                    <a:pt x="8462" y="5223"/>
                    <a:pt x="8388" y="5263"/>
                    <a:pt x="8388" y="5263"/>
                  </a:cubicBezTo>
                  <a:cubicBezTo>
                    <a:pt x="8462" y="5380"/>
                    <a:pt x="8462" y="5380"/>
                    <a:pt x="8462" y="5380"/>
                  </a:cubicBezTo>
                  <a:cubicBezTo>
                    <a:pt x="8462" y="5380"/>
                    <a:pt x="8388" y="5459"/>
                    <a:pt x="8388" y="5459"/>
                  </a:cubicBezTo>
                  <a:cubicBezTo>
                    <a:pt x="8388" y="5420"/>
                    <a:pt x="8313" y="5341"/>
                    <a:pt x="8313" y="5302"/>
                  </a:cubicBezTo>
                  <a:cubicBezTo>
                    <a:pt x="8313" y="5302"/>
                    <a:pt x="8313" y="5223"/>
                    <a:pt x="8239" y="5223"/>
                  </a:cubicBezTo>
                  <a:cubicBezTo>
                    <a:pt x="8239" y="5223"/>
                    <a:pt x="8091" y="5302"/>
                    <a:pt x="8091" y="5302"/>
                  </a:cubicBezTo>
                  <a:cubicBezTo>
                    <a:pt x="8091" y="5302"/>
                    <a:pt x="8016" y="5302"/>
                    <a:pt x="8016" y="5341"/>
                  </a:cubicBezTo>
                  <a:cubicBezTo>
                    <a:pt x="8016" y="5341"/>
                    <a:pt x="7942" y="5459"/>
                    <a:pt x="8016" y="5498"/>
                  </a:cubicBezTo>
                  <a:cubicBezTo>
                    <a:pt x="8091" y="5537"/>
                    <a:pt x="8091" y="5537"/>
                    <a:pt x="8165" y="5537"/>
                  </a:cubicBezTo>
                  <a:cubicBezTo>
                    <a:pt x="8239" y="5537"/>
                    <a:pt x="8239" y="5577"/>
                    <a:pt x="8239" y="5577"/>
                  </a:cubicBezTo>
                  <a:cubicBezTo>
                    <a:pt x="7942" y="5577"/>
                    <a:pt x="7942" y="5577"/>
                    <a:pt x="7942" y="5577"/>
                  </a:cubicBezTo>
                  <a:cubicBezTo>
                    <a:pt x="7942" y="5577"/>
                    <a:pt x="7868" y="5616"/>
                    <a:pt x="7942" y="5655"/>
                  </a:cubicBezTo>
                  <a:cubicBezTo>
                    <a:pt x="7942" y="5655"/>
                    <a:pt x="7942" y="5734"/>
                    <a:pt x="7942" y="5734"/>
                  </a:cubicBezTo>
                  <a:cubicBezTo>
                    <a:pt x="7942" y="5734"/>
                    <a:pt x="8091" y="5812"/>
                    <a:pt x="8091" y="5812"/>
                  </a:cubicBezTo>
                  <a:cubicBezTo>
                    <a:pt x="8091" y="5812"/>
                    <a:pt x="8016" y="5891"/>
                    <a:pt x="8016" y="5891"/>
                  </a:cubicBezTo>
                  <a:cubicBezTo>
                    <a:pt x="8016" y="5891"/>
                    <a:pt x="7868" y="5852"/>
                    <a:pt x="7868" y="5852"/>
                  </a:cubicBezTo>
                  <a:cubicBezTo>
                    <a:pt x="7794" y="5812"/>
                    <a:pt x="7794" y="5852"/>
                    <a:pt x="7720" y="5852"/>
                  </a:cubicBezTo>
                  <a:cubicBezTo>
                    <a:pt x="7720" y="5891"/>
                    <a:pt x="7645" y="5930"/>
                    <a:pt x="7645" y="5969"/>
                  </a:cubicBezTo>
                  <a:cubicBezTo>
                    <a:pt x="7645" y="5969"/>
                    <a:pt x="7720" y="6009"/>
                    <a:pt x="7720" y="6048"/>
                  </a:cubicBezTo>
                  <a:cubicBezTo>
                    <a:pt x="7645" y="6127"/>
                    <a:pt x="7645" y="6205"/>
                    <a:pt x="7645" y="6205"/>
                  </a:cubicBezTo>
                  <a:cubicBezTo>
                    <a:pt x="7645" y="6205"/>
                    <a:pt x="7571" y="6205"/>
                    <a:pt x="7645" y="6244"/>
                  </a:cubicBezTo>
                  <a:cubicBezTo>
                    <a:pt x="7720" y="6284"/>
                    <a:pt x="7868" y="6284"/>
                    <a:pt x="7942" y="6284"/>
                  </a:cubicBezTo>
                  <a:cubicBezTo>
                    <a:pt x="8016" y="6284"/>
                    <a:pt x="8016" y="6284"/>
                    <a:pt x="8016" y="6284"/>
                  </a:cubicBezTo>
                  <a:cubicBezTo>
                    <a:pt x="8091" y="6284"/>
                    <a:pt x="8165" y="6284"/>
                    <a:pt x="8239" y="6323"/>
                  </a:cubicBezTo>
                  <a:cubicBezTo>
                    <a:pt x="8239" y="6323"/>
                    <a:pt x="8313" y="6323"/>
                    <a:pt x="8313" y="6323"/>
                  </a:cubicBezTo>
                  <a:cubicBezTo>
                    <a:pt x="8313" y="6323"/>
                    <a:pt x="8239" y="6401"/>
                    <a:pt x="8165" y="6362"/>
                  </a:cubicBezTo>
                  <a:cubicBezTo>
                    <a:pt x="8091" y="6323"/>
                    <a:pt x="7942" y="6323"/>
                    <a:pt x="7868" y="6323"/>
                  </a:cubicBezTo>
                  <a:cubicBezTo>
                    <a:pt x="7794" y="6323"/>
                    <a:pt x="7868" y="6401"/>
                    <a:pt x="7868" y="6401"/>
                  </a:cubicBezTo>
                  <a:cubicBezTo>
                    <a:pt x="7942" y="6480"/>
                    <a:pt x="7942" y="6480"/>
                    <a:pt x="7942" y="6480"/>
                  </a:cubicBezTo>
                  <a:cubicBezTo>
                    <a:pt x="7942" y="6480"/>
                    <a:pt x="8016" y="6519"/>
                    <a:pt x="7942" y="6519"/>
                  </a:cubicBezTo>
                  <a:cubicBezTo>
                    <a:pt x="7868" y="6519"/>
                    <a:pt x="7720" y="6480"/>
                    <a:pt x="7720" y="6480"/>
                  </a:cubicBezTo>
                  <a:cubicBezTo>
                    <a:pt x="7720" y="6480"/>
                    <a:pt x="7720" y="6480"/>
                    <a:pt x="7645" y="6480"/>
                  </a:cubicBezTo>
                  <a:cubicBezTo>
                    <a:pt x="7645" y="6480"/>
                    <a:pt x="7571" y="6519"/>
                    <a:pt x="7497" y="6519"/>
                  </a:cubicBezTo>
                  <a:cubicBezTo>
                    <a:pt x="7423" y="6519"/>
                    <a:pt x="7423" y="6519"/>
                    <a:pt x="7348" y="6480"/>
                  </a:cubicBezTo>
                  <a:cubicBezTo>
                    <a:pt x="7274" y="6480"/>
                    <a:pt x="7126" y="6401"/>
                    <a:pt x="7126" y="6401"/>
                  </a:cubicBezTo>
                  <a:cubicBezTo>
                    <a:pt x="7126" y="6401"/>
                    <a:pt x="7052" y="6401"/>
                    <a:pt x="7052" y="6362"/>
                  </a:cubicBezTo>
                  <a:cubicBezTo>
                    <a:pt x="7052" y="6323"/>
                    <a:pt x="7126" y="6244"/>
                    <a:pt x="7126" y="6244"/>
                  </a:cubicBezTo>
                  <a:cubicBezTo>
                    <a:pt x="7200" y="6205"/>
                    <a:pt x="7126" y="6205"/>
                    <a:pt x="7200" y="6205"/>
                  </a:cubicBezTo>
                  <a:cubicBezTo>
                    <a:pt x="7274" y="6205"/>
                    <a:pt x="7497" y="6205"/>
                    <a:pt x="7348" y="6127"/>
                  </a:cubicBezTo>
                  <a:cubicBezTo>
                    <a:pt x="7274" y="6048"/>
                    <a:pt x="7274" y="6048"/>
                    <a:pt x="7200" y="6048"/>
                  </a:cubicBezTo>
                  <a:cubicBezTo>
                    <a:pt x="7126" y="6087"/>
                    <a:pt x="6977" y="6127"/>
                    <a:pt x="6977" y="6127"/>
                  </a:cubicBezTo>
                  <a:cubicBezTo>
                    <a:pt x="6977" y="6127"/>
                    <a:pt x="6903" y="6087"/>
                    <a:pt x="6977" y="5969"/>
                  </a:cubicBezTo>
                  <a:cubicBezTo>
                    <a:pt x="7052" y="5852"/>
                    <a:pt x="6977" y="5852"/>
                    <a:pt x="7052" y="5812"/>
                  </a:cubicBezTo>
                  <a:cubicBezTo>
                    <a:pt x="7126" y="5773"/>
                    <a:pt x="7200" y="5734"/>
                    <a:pt x="7200" y="5734"/>
                  </a:cubicBezTo>
                  <a:cubicBezTo>
                    <a:pt x="7200" y="5734"/>
                    <a:pt x="7200" y="5695"/>
                    <a:pt x="7052" y="5616"/>
                  </a:cubicBezTo>
                  <a:cubicBezTo>
                    <a:pt x="6977" y="5537"/>
                    <a:pt x="6903" y="5459"/>
                    <a:pt x="6903" y="5459"/>
                  </a:cubicBezTo>
                  <a:cubicBezTo>
                    <a:pt x="6829" y="5420"/>
                    <a:pt x="6680" y="5498"/>
                    <a:pt x="6680" y="5498"/>
                  </a:cubicBezTo>
                  <a:cubicBezTo>
                    <a:pt x="6680" y="5537"/>
                    <a:pt x="6606" y="5616"/>
                    <a:pt x="6680" y="5655"/>
                  </a:cubicBezTo>
                  <a:cubicBezTo>
                    <a:pt x="6680" y="5695"/>
                    <a:pt x="6680" y="5734"/>
                    <a:pt x="6606" y="5773"/>
                  </a:cubicBezTo>
                  <a:cubicBezTo>
                    <a:pt x="6532" y="5773"/>
                    <a:pt x="6532" y="5812"/>
                    <a:pt x="6458" y="5773"/>
                  </a:cubicBezTo>
                  <a:cubicBezTo>
                    <a:pt x="6384" y="5734"/>
                    <a:pt x="6458" y="5773"/>
                    <a:pt x="6384" y="5695"/>
                  </a:cubicBezTo>
                  <a:cubicBezTo>
                    <a:pt x="6309" y="5655"/>
                    <a:pt x="6384" y="5655"/>
                    <a:pt x="6309" y="5655"/>
                  </a:cubicBezTo>
                  <a:cubicBezTo>
                    <a:pt x="6235" y="5616"/>
                    <a:pt x="6161" y="5577"/>
                    <a:pt x="6161" y="5577"/>
                  </a:cubicBezTo>
                  <a:cubicBezTo>
                    <a:pt x="6161" y="5577"/>
                    <a:pt x="5938" y="5537"/>
                    <a:pt x="5938" y="5577"/>
                  </a:cubicBezTo>
                  <a:cubicBezTo>
                    <a:pt x="5938" y="5616"/>
                    <a:pt x="5938" y="5616"/>
                    <a:pt x="6012" y="5655"/>
                  </a:cubicBezTo>
                  <a:cubicBezTo>
                    <a:pt x="6012" y="5695"/>
                    <a:pt x="6087" y="5695"/>
                    <a:pt x="6087" y="5734"/>
                  </a:cubicBezTo>
                  <a:cubicBezTo>
                    <a:pt x="6087" y="5773"/>
                    <a:pt x="6012" y="5773"/>
                    <a:pt x="6012" y="5773"/>
                  </a:cubicBezTo>
                  <a:cubicBezTo>
                    <a:pt x="6012" y="5773"/>
                    <a:pt x="5938" y="5734"/>
                    <a:pt x="5864" y="5734"/>
                  </a:cubicBezTo>
                  <a:cubicBezTo>
                    <a:pt x="5864" y="5734"/>
                    <a:pt x="5715" y="5812"/>
                    <a:pt x="5715" y="5812"/>
                  </a:cubicBezTo>
                  <a:cubicBezTo>
                    <a:pt x="5715" y="5812"/>
                    <a:pt x="5715" y="5852"/>
                    <a:pt x="5715" y="5891"/>
                  </a:cubicBezTo>
                  <a:cubicBezTo>
                    <a:pt x="5715" y="5891"/>
                    <a:pt x="5715" y="5930"/>
                    <a:pt x="5715" y="5969"/>
                  </a:cubicBezTo>
                  <a:cubicBezTo>
                    <a:pt x="5790" y="6009"/>
                    <a:pt x="5790" y="6087"/>
                    <a:pt x="5864" y="6087"/>
                  </a:cubicBezTo>
                  <a:cubicBezTo>
                    <a:pt x="6012" y="6087"/>
                    <a:pt x="6309" y="6009"/>
                    <a:pt x="6309" y="6009"/>
                  </a:cubicBezTo>
                  <a:cubicBezTo>
                    <a:pt x="6309" y="6048"/>
                    <a:pt x="6458" y="6087"/>
                    <a:pt x="6532" y="6127"/>
                  </a:cubicBezTo>
                  <a:cubicBezTo>
                    <a:pt x="6532" y="6127"/>
                    <a:pt x="6532" y="6205"/>
                    <a:pt x="6532" y="6205"/>
                  </a:cubicBezTo>
                  <a:cubicBezTo>
                    <a:pt x="6532" y="6205"/>
                    <a:pt x="6458" y="6244"/>
                    <a:pt x="6384" y="6244"/>
                  </a:cubicBezTo>
                  <a:cubicBezTo>
                    <a:pt x="6309" y="6244"/>
                    <a:pt x="6235" y="6166"/>
                    <a:pt x="6235" y="6244"/>
                  </a:cubicBezTo>
                  <a:cubicBezTo>
                    <a:pt x="6235" y="6284"/>
                    <a:pt x="6161" y="6362"/>
                    <a:pt x="6235" y="6401"/>
                  </a:cubicBezTo>
                  <a:cubicBezTo>
                    <a:pt x="6309" y="6441"/>
                    <a:pt x="6309" y="6519"/>
                    <a:pt x="6458" y="6519"/>
                  </a:cubicBezTo>
                  <a:cubicBezTo>
                    <a:pt x="6606" y="6559"/>
                    <a:pt x="6606" y="6598"/>
                    <a:pt x="6680" y="6559"/>
                  </a:cubicBezTo>
                  <a:cubicBezTo>
                    <a:pt x="6755" y="6519"/>
                    <a:pt x="6755" y="6480"/>
                    <a:pt x="6829" y="6519"/>
                  </a:cubicBezTo>
                  <a:cubicBezTo>
                    <a:pt x="6903" y="6519"/>
                    <a:pt x="6977" y="6519"/>
                    <a:pt x="7052" y="6559"/>
                  </a:cubicBezTo>
                  <a:cubicBezTo>
                    <a:pt x="7052" y="6598"/>
                    <a:pt x="6977" y="6598"/>
                    <a:pt x="6977" y="6598"/>
                  </a:cubicBezTo>
                  <a:cubicBezTo>
                    <a:pt x="6977" y="6598"/>
                    <a:pt x="6903" y="6598"/>
                    <a:pt x="6903" y="6637"/>
                  </a:cubicBezTo>
                  <a:cubicBezTo>
                    <a:pt x="6903" y="6637"/>
                    <a:pt x="6829" y="6676"/>
                    <a:pt x="6903" y="6676"/>
                  </a:cubicBezTo>
                  <a:cubicBezTo>
                    <a:pt x="7052" y="6676"/>
                    <a:pt x="7126" y="6676"/>
                    <a:pt x="7126" y="6676"/>
                  </a:cubicBezTo>
                  <a:cubicBezTo>
                    <a:pt x="7126" y="6676"/>
                    <a:pt x="7200" y="6598"/>
                    <a:pt x="7274" y="6637"/>
                  </a:cubicBezTo>
                  <a:cubicBezTo>
                    <a:pt x="7274" y="6676"/>
                    <a:pt x="7200" y="6676"/>
                    <a:pt x="7126" y="6716"/>
                  </a:cubicBezTo>
                  <a:cubicBezTo>
                    <a:pt x="7052" y="6755"/>
                    <a:pt x="7052" y="6755"/>
                    <a:pt x="7052" y="6794"/>
                  </a:cubicBezTo>
                  <a:cubicBezTo>
                    <a:pt x="7052" y="6833"/>
                    <a:pt x="6977" y="6833"/>
                    <a:pt x="6977" y="6873"/>
                  </a:cubicBezTo>
                  <a:cubicBezTo>
                    <a:pt x="6977" y="6912"/>
                    <a:pt x="6829" y="7069"/>
                    <a:pt x="7052" y="6951"/>
                  </a:cubicBezTo>
                  <a:cubicBezTo>
                    <a:pt x="7348" y="6833"/>
                    <a:pt x="7348" y="6873"/>
                    <a:pt x="7348" y="6833"/>
                  </a:cubicBezTo>
                  <a:cubicBezTo>
                    <a:pt x="7348" y="6794"/>
                    <a:pt x="7348" y="6794"/>
                    <a:pt x="7497" y="6755"/>
                  </a:cubicBezTo>
                  <a:cubicBezTo>
                    <a:pt x="7571" y="6716"/>
                    <a:pt x="7645" y="6716"/>
                    <a:pt x="7720" y="6716"/>
                  </a:cubicBezTo>
                  <a:cubicBezTo>
                    <a:pt x="7720" y="6676"/>
                    <a:pt x="7868" y="6676"/>
                    <a:pt x="7794" y="6716"/>
                  </a:cubicBezTo>
                  <a:cubicBezTo>
                    <a:pt x="7720" y="6755"/>
                    <a:pt x="7645" y="6716"/>
                    <a:pt x="7720" y="6755"/>
                  </a:cubicBezTo>
                  <a:cubicBezTo>
                    <a:pt x="7794" y="6794"/>
                    <a:pt x="7794" y="6833"/>
                    <a:pt x="7868" y="6833"/>
                  </a:cubicBezTo>
                  <a:cubicBezTo>
                    <a:pt x="7942" y="6833"/>
                    <a:pt x="7942" y="6833"/>
                    <a:pt x="7942" y="6833"/>
                  </a:cubicBezTo>
                  <a:cubicBezTo>
                    <a:pt x="7942" y="6833"/>
                    <a:pt x="7794" y="6833"/>
                    <a:pt x="7720" y="6833"/>
                  </a:cubicBezTo>
                  <a:cubicBezTo>
                    <a:pt x="7720" y="6833"/>
                    <a:pt x="7645" y="6833"/>
                    <a:pt x="7645" y="6833"/>
                  </a:cubicBezTo>
                  <a:cubicBezTo>
                    <a:pt x="7571" y="6833"/>
                    <a:pt x="7571" y="6873"/>
                    <a:pt x="7571" y="6873"/>
                  </a:cubicBezTo>
                  <a:cubicBezTo>
                    <a:pt x="7497" y="6912"/>
                    <a:pt x="7497" y="6912"/>
                    <a:pt x="7497" y="6912"/>
                  </a:cubicBezTo>
                  <a:cubicBezTo>
                    <a:pt x="7497" y="6912"/>
                    <a:pt x="7571" y="6951"/>
                    <a:pt x="7571" y="6991"/>
                  </a:cubicBezTo>
                  <a:cubicBezTo>
                    <a:pt x="7571" y="6991"/>
                    <a:pt x="7571" y="6991"/>
                    <a:pt x="7497" y="6991"/>
                  </a:cubicBezTo>
                  <a:cubicBezTo>
                    <a:pt x="7423" y="6991"/>
                    <a:pt x="7497" y="6951"/>
                    <a:pt x="7348" y="6991"/>
                  </a:cubicBezTo>
                  <a:cubicBezTo>
                    <a:pt x="7200" y="6991"/>
                    <a:pt x="7274" y="6912"/>
                    <a:pt x="7200" y="7030"/>
                  </a:cubicBezTo>
                  <a:cubicBezTo>
                    <a:pt x="7126" y="7148"/>
                    <a:pt x="7052" y="7148"/>
                    <a:pt x="7052" y="7148"/>
                  </a:cubicBezTo>
                  <a:cubicBezTo>
                    <a:pt x="7052" y="7148"/>
                    <a:pt x="7052" y="7148"/>
                    <a:pt x="7052" y="7187"/>
                  </a:cubicBezTo>
                  <a:cubicBezTo>
                    <a:pt x="7052" y="7187"/>
                    <a:pt x="7126" y="7226"/>
                    <a:pt x="7200" y="7265"/>
                  </a:cubicBezTo>
                  <a:cubicBezTo>
                    <a:pt x="7348" y="7305"/>
                    <a:pt x="7423" y="7344"/>
                    <a:pt x="7423" y="7344"/>
                  </a:cubicBezTo>
                  <a:cubicBezTo>
                    <a:pt x="7423" y="7344"/>
                    <a:pt x="7348" y="7344"/>
                    <a:pt x="7274" y="7344"/>
                  </a:cubicBezTo>
                  <a:cubicBezTo>
                    <a:pt x="7126" y="7383"/>
                    <a:pt x="7052" y="7383"/>
                    <a:pt x="6977" y="7423"/>
                  </a:cubicBezTo>
                  <a:cubicBezTo>
                    <a:pt x="6977" y="7423"/>
                    <a:pt x="6903" y="7462"/>
                    <a:pt x="6829" y="7462"/>
                  </a:cubicBezTo>
                  <a:cubicBezTo>
                    <a:pt x="6755" y="7462"/>
                    <a:pt x="6532" y="7423"/>
                    <a:pt x="6458" y="7462"/>
                  </a:cubicBezTo>
                  <a:cubicBezTo>
                    <a:pt x="6384" y="7462"/>
                    <a:pt x="6309" y="7462"/>
                    <a:pt x="6235" y="7501"/>
                  </a:cubicBezTo>
                  <a:cubicBezTo>
                    <a:pt x="6235" y="7501"/>
                    <a:pt x="6235" y="7540"/>
                    <a:pt x="6235" y="7540"/>
                  </a:cubicBezTo>
                  <a:cubicBezTo>
                    <a:pt x="6235" y="7540"/>
                    <a:pt x="6161" y="7580"/>
                    <a:pt x="6235" y="7580"/>
                  </a:cubicBezTo>
                  <a:cubicBezTo>
                    <a:pt x="6309" y="7580"/>
                    <a:pt x="6606" y="7580"/>
                    <a:pt x="6606" y="7580"/>
                  </a:cubicBezTo>
                  <a:cubicBezTo>
                    <a:pt x="6680" y="7580"/>
                    <a:pt x="6680" y="7619"/>
                    <a:pt x="6680" y="7619"/>
                  </a:cubicBezTo>
                  <a:cubicBezTo>
                    <a:pt x="6532" y="7619"/>
                    <a:pt x="6532" y="7619"/>
                    <a:pt x="6532" y="7619"/>
                  </a:cubicBezTo>
                  <a:cubicBezTo>
                    <a:pt x="6532" y="7619"/>
                    <a:pt x="6384" y="7619"/>
                    <a:pt x="6309" y="7619"/>
                  </a:cubicBezTo>
                  <a:cubicBezTo>
                    <a:pt x="6309" y="7619"/>
                    <a:pt x="6087" y="7658"/>
                    <a:pt x="6087" y="7658"/>
                  </a:cubicBezTo>
                  <a:cubicBezTo>
                    <a:pt x="6087" y="7658"/>
                    <a:pt x="5938" y="7737"/>
                    <a:pt x="5938" y="7776"/>
                  </a:cubicBezTo>
                  <a:cubicBezTo>
                    <a:pt x="5938" y="7776"/>
                    <a:pt x="5938" y="7815"/>
                    <a:pt x="6012" y="7894"/>
                  </a:cubicBezTo>
                  <a:cubicBezTo>
                    <a:pt x="6161" y="7933"/>
                    <a:pt x="6161" y="7972"/>
                    <a:pt x="6161" y="8012"/>
                  </a:cubicBezTo>
                  <a:cubicBezTo>
                    <a:pt x="6161" y="8012"/>
                    <a:pt x="6161" y="8012"/>
                    <a:pt x="6161" y="8051"/>
                  </a:cubicBezTo>
                  <a:cubicBezTo>
                    <a:pt x="6087" y="8051"/>
                    <a:pt x="5938" y="8129"/>
                    <a:pt x="5938" y="8129"/>
                  </a:cubicBezTo>
                  <a:cubicBezTo>
                    <a:pt x="5938" y="8129"/>
                    <a:pt x="5938" y="8129"/>
                    <a:pt x="5938" y="8208"/>
                  </a:cubicBezTo>
                  <a:cubicBezTo>
                    <a:pt x="5864" y="8247"/>
                    <a:pt x="5715" y="8365"/>
                    <a:pt x="5864" y="8365"/>
                  </a:cubicBezTo>
                  <a:cubicBezTo>
                    <a:pt x="6012" y="8404"/>
                    <a:pt x="5938" y="8444"/>
                    <a:pt x="6087" y="8404"/>
                  </a:cubicBezTo>
                  <a:cubicBezTo>
                    <a:pt x="6309" y="8365"/>
                    <a:pt x="6087" y="8326"/>
                    <a:pt x="6384" y="8365"/>
                  </a:cubicBezTo>
                  <a:cubicBezTo>
                    <a:pt x="6680" y="8404"/>
                    <a:pt x="6755" y="8365"/>
                    <a:pt x="6829" y="8365"/>
                  </a:cubicBezTo>
                  <a:cubicBezTo>
                    <a:pt x="6903" y="8326"/>
                    <a:pt x="6903" y="8326"/>
                    <a:pt x="6977" y="8287"/>
                  </a:cubicBezTo>
                  <a:cubicBezTo>
                    <a:pt x="6977" y="8287"/>
                    <a:pt x="6829" y="8247"/>
                    <a:pt x="7052" y="8247"/>
                  </a:cubicBezTo>
                  <a:cubicBezTo>
                    <a:pt x="7274" y="8208"/>
                    <a:pt x="7274" y="8208"/>
                    <a:pt x="7274" y="8208"/>
                  </a:cubicBezTo>
                  <a:cubicBezTo>
                    <a:pt x="7274" y="8208"/>
                    <a:pt x="7126" y="8090"/>
                    <a:pt x="7274" y="8169"/>
                  </a:cubicBezTo>
                  <a:cubicBezTo>
                    <a:pt x="7497" y="8247"/>
                    <a:pt x="7497" y="8287"/>
                    <a:pt x="7497" y="8287"/>
                  </a:cubicBezTo>
                  <a:cubicBezTo>
                    <a:pt x="7348" y="8365"/>
                    <a:pt x="7348" y="8365"/>
                    <a:pt x="7348" y="8365"/>
                  </a:cubicBezTo>
                  <a:cubicBezTo>
                    <a:pt x="7348" y="8404"/>
                    <a:pt x="7348" y="8404"/>
                    <a:pt x="7348" y="8404"/>
                  </a:cubicBezTo>
                  <a:cubicBezTo>
                    <a:pt x="7348" y="8404"/>
                    <a:pt x="7200" y="8404"/>
                    <a:pt x="7126" y="8483"/>
                  </a:cubicBezTo>
                  <a:cubicBezTo>
                    <a:pt x="7052" y="8561"/>
                    <a:pt x="6829" y="8679"/>
                    <a:pt x="6829" y="8719"/>
                  </a:cubicBezTo>
                  <a:cubicBezTo>
                    <a:pt x="6829" y="8719"/>
                    <a:pt x="6903" y="8679"/>
                    <a:pt x="6755" y="8758"/>
                  </a:cubicBezTo>
                  <a:cubicBezTo>
                    <a:pt x="6532" y="8836"/>
                    <a:pt x="6458" y="8836"/>
                    <a:pt x="6309" y="8876"/>
                  </a:cubicBezTo>
                  <a:cubicBezTo>
                    <a:pt x="6235" y="8954"/>
                    <a:pt x="6235" y="8915"/>
                    <a:pt x="6161" y="8954"/>
                  </a:cubicBezTo>
                  <a:cubicBezTo>
                    <a:pt x="6161" y="8993"/>
                    <a:pt x="6087" y="9033"/>
                    <a:pt x="6087" y="9033"/>
                  </a:cubicBezTo>
                  <a:cubicBezTo>
                    <a:pt x="6012" y="9111"/>
                    <a:pt x="6012" y="9111"/>
                    <a:pt x="6012" y="9111"/>
                  </a:cubicBezTo>
                  <a:cubicBezTo>
                    <a:pt x="5790" y="9151"/>
                    <a:pt x="5790" y="9151"/>
                    <a:pt x="5790" y="9151"/>
                  </a:cubicBezTo>
                  <a:cubicBezTo>
                    <a:pt x="5567" y="9111"/>
                    <a:pt x="5567" y="9111"/>
                    <a:pt x="5567" y="9111"/>
                  </a:cubicBezTo>
                  <a:cubicBezTo>
                    <a:pt x="5419" y="9190"/>
                    <a:pt x="5419" y="9190"/>
                    <a:pt x="5419" y="9190"/>
                  </a:cubicBezTo>
                  <a:cubicBezTo>
                    <a:pt x="5419" y="9190"/>
                    <a:pt x="5196" y="9151"/>
                    <a:pt x="5122" y="9151"/>
                  </a:cubicBezTo>
                  <a:cubicBezTo>
                    <a:pt x="5047" y="9190"/>
                    <a:pt x="4973" y="9229"/>
                    <a:pt x="4973" y="9229"/>
                  </a:cubicBezTo>
                  <a:cubicBezTo>
                    <a:pt x="4973" y="9229"/>
                    <a:pt x="4899" y="9229"/>
                    <a:pt x="4899" y="9308"/>
                  </a:cubicBezTo>
                  <a:cubicBezTo>
                    <a:pt x="4899" y="9347"/>
                    <a:pt x="4825" y="9465"/>
                    <a:pt x="4825" y="9465"/>
                  </a:cubicBezTo>
                  <a:cubicBezTo>
                    <a:pt x="4676" y="9543"/>
                    <a:pt x="4676" y="9543"/>
                    <a:pt x="4676" y="9543"/>
                  </a:cubicBezTo>
                  <a:cubicBezTo>
                    <a:pt x="4676" y="9543"/>
                    <a:pt x="4602" y="9622"/>
                    <a:pt x="4751" y="9583"/>
                  </a:cubicBezTo>
                  <a:cubicBezTo>
                    <a:pt x="4899" y="9543"/>
                    <a:pt x="4973" y="9504"/>
                    <a:pt x="5047" y="9465"/>
                  </a:cubicBezTo>
                  <a:cubicBezTo>
                    <a:pt x="5047" y="9465"/>
                    <a:pt x="5196" y="9425"/>
                    <a:pt x="5196" y="9425"/>
                  </a:cubicBezTo>
                  <a:cubicBezTo>
                    <a:pt x="5196" y="9504"/>
                    <a:pt x="5196" y="9504"/>
                    <a:pt x="5196" y="9504"/>
                  </a:cubicBezTo>
                  <a:cubicBezTo>
                    <a:pt x="5122" y="9661"/>
                    <a:pt x="5122" y="9661"/>
                    <a:pt x="5122" y="9661"/>
                  </a:cubicBezTo>
                  <a:cubicBezTo>
                    <a:pt x="5047" y="9700"/>
                    <a:pt x="5047" y="9700"/>
                    <a:pt x="5047" y="9700"/>
                  </a:cubicBezTo>
                  <a:cubicBezTo>
                    <a:pt x="4973" y="9740"/>
                    <a:pt x="4973" y="9740"/>
                    <a:pt x="4973" y="9740"/>
                  </a:cubicBezTo>
                  <a:cubicBezTo>
                    <a:pt x="4973" y="9740"/>
                    <a:pt x="4825" y="9897"/>
                    <a:pt x="4973" y="9897"/>
                  </a:cubicBezTo>
                  <a:cubicBezTo>
                    <a:pt x="5122" y="9857"/>
                    <a:pt x="5047" y="9857"/>
                    <a:pt x="5196" y="9818"/>
                  </a:cubicBezTo>
                  <a:cubicBezTo>
                    <a:pt x="5344" y="9818"/>
                    <a:pt x="5270" y="9779"/>
                    <a:pt x="5567" y="9740"/>
                  </a:cubicBezTo>
                  <a:cubicBezTo>
                    <a:pt x="5790" y="9740"/>
                    <a:pt x="5790" y="9661"/>
                    <a:pt x="5790" y="9622"/>
                  </a:cubicBezTo>
                  <a:cubicBezTo>
                    <a:pt x="5790" y="9622"/>
                    <a:pt x="5790" y="9583"/>
                    <a:pt x="5790" y="9543"/>
                  </a:cubicBezTo>
                  <a:cubicBezTo>
                    <a:pt x="5790" y="9504"/>
                    <a:pt x="5641" y="9465"/>
                    <a:pt x="5864" y="9425"/>
                  </a:cubicBezTo>
                  <a:cubicBezTo>
                    <a:pt x="6012" y="9425"/>
                    <a:pt x="5938" y="9465"/>
                    <a:pt x="6012" y="9425"/>
                  </a:cubicBezTo>
                  <a:cubicBezTo>
                    <a:pt x="6087" y="9386"/>
                    <a:pt x="6087" y="9465"/>
                    <a:pt x="6087" y="9347"/>
                  </a:cubicBezTo>
                  <a:cubicBezTo>
                    <a:pt x="6087" y="9268"/>
                    <a:pt x="6087" y="9268"/>
                    <a:pt x="6235" y="9229"/>
                  </a:cubicBezTo>
                  <a:cubicBezTo>
                    <a:pt x="6384" y="9151"/>
                    <a:pt x="6309" y="9190"/>
                    <a:pt x="6384" y="9151"/>
                  </a:cubicBezTo>
                  <a:cubicBezTo>
                    <a:pt x="6458" y="9111"/>
                    <a:pt x="6384" y="9111"/>
                    <a:pt x="6458" y="9072"/>
                  </a:cubicBezTo>
                  <a:cubicBezTo>
                    <a:pt x="6606" y="9033"/>
                    <a:pt x="6606" y="9033"/>
                    <a:pt x="6606" y="9033"/>
                  </a:cubicBezTo>
                  <a:cubicBezTo>
                    <a:pt x="6606" y="8993"/>
                    <a:pt x="6829" y="8915"/>
                    <a:pt x="6829" y="8915"/>
                  </a:cubicBezTo>
                  <a:cubicBezTo>
                    <a:pt x="6829" y="8836"/>
                    <a:pt x="6829" y="8836"/>
                    <a:pt x="6829" y="8836"/>
                  </a:cubicBezTo>
                  <a:cubicBezTo>
                    <a:pt x="7126" y="8758"/>
                    <a:pt x="7126" y="8758"/>
                    <a:pt x="7126" y="8758"/>
                  </a:cubicBezTo>
                  <a:cubicBezTo>
                    <a:pt x="7126" y="8758"/>
                    <a:pt x="7200" y="8719"/>
                    <a:pt x="7200" y="8758"/>
                  </a:cubicBezTo>
                  <a:cubicBezTo>
                    <a:pt x="7126" y="8797"/>
                    <a:pt x="7052" y="8876"/>
                    <a:pt x="7052" y="8876"/>
                  </a:cubicBezTo>
                  <a:cubicBezTo>
                    <a:pt x="7052" y="8954"/>
                    <a:pt x="7052" y="8954"/>
                    <a:pt x="7052" y="8954"/>
                  </a:cubicBezTo>
                  <a:cubicBezTo>
                    <a:pt x="6829" y="9033"/>
                    <a:pt x="6829" y="9033"/>
                    <a:pt x="6829" y="9033"/>
                  </a:cubicBezTo>
                  <a:cubicBezTo>
                    <a:pt x="6829" y="9033"/>
                    <a:pt x="6977" y="9072"/>
                    <a:pt x="6903" y="9111"/>
                  </a:cubicBezTo>
                  <a:cubicBezTo>
                    <a:pt x="6829" y="9151"/>
                    <a:pt x="6680" y="9190"/>
                    <a:pt x="6680" y="9190"/>
                  </a:cubicBezTo>
                  <a:cubicBezTo>
                    <a:pt x="6680" y="9268"/>
                    <a:pt x="6680" y="9268"/>
                    <a:pt x="6680" y="9268"/>
                  </a:cubicBezTo>
                  <a:cubicBezTo>
                    <a:pt x="6755" y="9308"/>
                    <a:pt x="6755" y="9308"/>
                    <a:pt x="6755" y="9308"/>
                  </a:cubicBezTo>
                  <a:cubicBezTo>
                    <a:pt x="6606" y="9465"/>
                    <a:pt x="6606" y="9465"/>
                    <a:pt x="6606" y="9465"/>
                  </a:cubicBezTo>
                  <a:cubicBezTo>
                    <a:pt x="6755" y="9543"/>
                    <a:pt x="6755" y="9543"/>
                    <a:pt x="6755" y="9543"/>
                  </a:cubicBezTo>
                  <a:cubicBezTo>
                    <a:pt x="6829" y="9622"/>
                    <a:pt x="6829" y="9622"/>
                    <a:pt x="6829" y="9622"/>
                  </a:cubicBezTo>
                  <a:cubicBezTo>
                    <a:pt x="6829" y="9622"/>
                    <a:pt x="6755" y="9661"/>
                    <a:pt x="6680" y="9700"/>
                  </a:cubicBezTo>
                  <a:cubicBezTo>
                    <a:pt x="6606" y="9700"/>
                    <a:pt x="6458" y="9818"/>
                    <a:pt x="6458" y="9818"/>
                  </a:cubicBezTo>
                  <a:cubicBezTo>
                    <a:pt x="6309" y="9936"/>
                    <a:pt x="6309" y="9936"/>
                    <a:pt x="6309" y="9936"/>
                  </a:cubicBezTo>
                  <a:cubicBezTo>
                    <a:pt x="6161" y="10054"/>
                    <a:pt x="6161" y="10054"/>
                    <a:pt x="6161" y="10054"/>
                  </a:cubicBezTo>
                  <a:cubicBezTo>
                    <a:pt x="6161" y="10172"/>
                    <a:pt x="6161" y="10172"/>
                    <a:pt x="6161" y="10172"/>
                  </a:cubicBezTo>
                  <a:cubicBezTo>
                    <a:pt x="6087" y="10329"/>
                    <a:pt x="6087" y="10329"/>
                    <a:pt x="6087" y="10329"/>
                  </a:cubicBezTo>
                  <a:cubicBezTo>
                    <a:pt x="5938" y="10368"/>
                    <a:pt x="5938" y="10368"/>
                    <a:pt x="5938" y="10368"/>
                  </a:cubicBezTo>
                  <a:cubicBezTo>
                    <a:pt x="5938" y="10368"/>
                    <a:pt x="5864" y="10486"/>
                    <a:pt x="6012" y="10486"/>
                  </a:cubicBezTo>
                  <a:cubicBezTo>
                    <a:pt x="6161" y="10525"/>
                    <a:pt x="6161" y="10525"/>
                    <a:pt x="6235" y="10525"/>
                  </a:cubicBezTo>
                  <a:cubicBezTo>
                    <a:pt x="6384" y="10525"/>
                    <a:pt x="6309" y="10525"/>
                    <a:pt x="6384" y="10525"/>
                  </a:cubicBezTo>
                  <a:cubicBezTo>
                    <a:pt x="6458" y="10525"/>
                    <a:pt x="6606" y="10525"/>
                    <a:pt x="6606" y="10447"/>
                  </a:cubicBezTo>
                  <a:cubicBezTo>
                    <a:pt x="6606" y="10368"/>
                    <a:pt x="6606" y="10289"/>
                    <a:pt x="6606" y="10250"/>
                  </a:cubicBezTo>
                  <a:cubicBezTo>
                    <a:pt x="6606" y="10250"/>
                    <a:pt x="6755" y="10132"/>
                    <a:pt x="6755" y="10132"/>
                  </a:cubicBezTo>
                  <a:cubicBezTo>
                    <a:pt x="6755" y="9975"/>
                    <a:pt x="6755" y="9975"/>
                    <a:pt x="6755" y="9975"/>
                  </a:cubicBezTo>
                  <a:cubicBezTo>
                    <a:pt x="6755" y="9975"/>
                    <a:pt x="6755" y="9936"/>
                    <a:pt x="6903" y="9857"/>
                  </a:cubicBezTo>
                  <a:cubicBezTo>
                    <a:pt x="7052" y="9818"/>
                    <a:pt x="6977" y="9818"/>
                    <a:pt x="7052" y="9818"/>
                  </a:cubicBezTo>
                  <a:cubicBezTo>
                    <a:pt x="7126" y="9779"/>
                    <a:pt x="7126" y="9740"/>
                    <a:pt x="7126" y="9700"/>
                  </a:cubicBezTo>
                  <a:cubicBezTo>
                    <a:pt x="7200" y="9661"/>
                    <a:pt x="7200" y="9661"/>
                    <a:pt x="7200" y="9661"/>
                  </a:cubicBezTo>
                  <a:cubicBezTo>
                    <a:pt x="7274" y="9583"/>
                    <a:pt x="7274" y="9583"/>
                    <a:pt x="7274" y="9583"/>
                  </a:cubicBezTo>
                  <a:cubicBezTo>
                    <a:pt x="7274" y="9268"/>
                    <a:pt x="7274" y="9268"/>
                    <a:pt x="7274" y="9268"/>
                  </a:cubicBezTo>
                  <a:cubicBezTo>
                    <a:pt x="7274" y="9268"/>
                    <a:pt x="7274" y="9190"/>
                    <a:pt x="7348" y="9190"/>
                  </a:cubicBezTo>
                  <a:cubicBezTo>
                    <a:pt x="7423" y="9190"/>
                    <a:pt x="7497" y="9190"/>
                    <a:pt x="7497" y="9190"/>
                  </a:cubicBezTo>
                  <a:cubicBezTo>
                    <a:pt x="7497" y="9190"/>
                    <a:pt x="7497" y="9229"/>
                    <a:pt x="7497" y="9308"/>
                  </a:cubicBezTo>
                  <a:cubicBezTo>
                    <a:pt x="7423" y="9386"/>
                    <a:pt x="7497" y="9504"/>
                    <a:pt x="7497" y="9504"/>
                  </a:cubicBezTo>
                  <a:cubicBezTo>
                    <a:pt x="8016" y="9740"/>
                    <a:pt x="8016" y="9740"/>
                    <a:pt x="8016" y="9740"/>
                  </a:cubicBezTo>
                  <a:cubicBezTo>
                    <a:pt x="8016" y="9740"/>
                    <a:pt x="8239" y="9936"/>
                    <a:pt x="8239" y="9975"/>
                  </a:cubicBezTo>
                  <a:cubicBezTo>
                    <a:pt x="8239" y="9975"/>
                    <a:pt x="8610" y="10132"/>
                    <a:pt x="8610" y="10132"/>
                  </a:cubicBezTo>
                  <a:cubicBezTo>
                    <a:pt x="8610" y="10132"/>
                    <a:pt x="8685" y="10172"/>
                    <a:pt x="8610" y="10211"/>
                  </a:cubicBezTo>
                  <a:cubicBezTo>
                    <a:pt x="8610" y="10250"/>
                    <a:pt x="8685" y="10289"/>
                    <a:pt x="8685" y="10329"/>
                  </a:cubicBezTo>
                  <a:cubicBezTo>
                    <a:pt x="8610" y="10368"/>
                    <a:pt x="8536" y="10486"/>
                    <a:pt x="8536" y="10486"/>
                  </a:cubicBezTo>
                  <a:cubicBezTo>
                    <a:pt x="8388" y="10525"/>
                    <a:pt x="8388" y="10525"/>
                    <a:pt x="8388" y="10525"/>
                  </a:cubicBezTo>
                  <a:cubicBezTo>
                    <a:pt x="8165" y="10643"/>
                    <a:pt x="8165" y="10643"/>
                    <a:pt x="8165" y="10643"/>
                  </a:cubicBezTo>
                  <a:cubicBezTo>
                    <a:pt x="8091" y="10800"/>
                    <a:pt x="8091" y="10800"/>
                    <a:pt x="8091" y="10800"/>
                  </a:cubicBezTo>
                  <a:cubicBezTo>
                    <a:pt x="7942" y="10918"/>
                    <a:pt x="7942" y="10918"/>
                    <a:pt x="7942" y="10918"/>
                  </a:cubicBezTo>
                  <a:cubicBezTo>
                    <a:pt x="7645" y="10996"/>
                    <a:pt x="7645" y="10996"/>
                    <a:pt x="7645" y="10996"/>
                  </a:cubicBezTo>
                  <a:cubicBezTo>
                    <a:pt x="7274" y="11193"/>
                    <a:pt x="7274" y="11193"/>
                    <a:pt x="7274" y="11193"/>
                  </a:cubicBezTo>
                  <a:cubicBezTo>
                    <a:pt x="7126" y="11350"/>
                    <a:pt x="7126" y="11350"/>
                    <a:pt x="7126" y="11350"/>
                  </a:cubicBezTo>
                  <a:cubicBezTo>
                    <a:pt x="6903" y="11507"/>
                    <a:pt x="6903" y="11507"/>
                    <a:pt x="6903" y="11507"/>
                  </a:cubicBezTo>
                  <a:cubicBezTo>
                    <a:pt x="6903" y="11625"/>
                    <a:pt x="6903" y="11625"/>
                    <a:pt x="6903" y="11625"/>
                  </a:cubicBezTo>
                  <a:cubicBezTo>
                    <a:pt x="6903" y="11625"/>
                    <a:pt x="7052" y="11782"/>
                    <a:pt x="7126" y="11782"/>
                  </a:cubicBezTo>
                  <a:cubicBezTo>
                    <a:pt x="7126" y="11782"/>
                    <a:pt x="7200" y="11821"/>
                    <a:pt x="7200" y="11821"/>
                  </a:cubicBezTo>
                  <a:cubicBezTo>
                    <a:pt x="7274" y="12017"/>
                    <a:pt x="7274" y="12017"/>
                    <a:pt x="7274" y="12017"/>
                  </a:cubicBezTo>
                  <a:cubicBezTo>
                    <a:pt x="7274" y="12017"/>
                    <a:pt x="7274" y="12135"/>
                    <a:pt x="7348" y="12135"/>
                  </a:cubicBezTo>
                  <a:cubicBezTo>
                    <a:pt x="7423" y="12096"/>
                    <a:pt x="7497" y="11978"/>
                    <a:pt x="7497" y="11978"/>
                  </a:cubicBezTo>
                  <a:cubicBezTo>
                    <a:pt x="7497" y="11978"/>
                    <a:pt x="7348" y="11900"/>
                    <a:pt x="7348" y="11821"/>
                  </a:cubicBezTo>
                  <a:cubicBezTo>
                    <a:pt x="7348" y="11743"/>
                    <a:pt x="7497" y="11625"/>
                    <a:pt x="7497" y="11625"/>
                  </a:cubicBezTo>
                  <a:cubicBezTo>
                    <a:pt x="7645" y="11585"/>
                    <a:pt x="7645" y="11585"/>
                    <a:pt x="7645" y="11585"/>
                  </a:cubicBezTo>
                  <a:cubicBezTo>
                    <a:pt x="7645" y="11585"/>
                    <a:pt x="7571" y="11585"/>
                    <a:pt x="7645" y="11625"/>
                  </a:cubicBezTo>
                  <a:cubicBezTo>
                    <a:pt x="7720" y="11703"/>
                    <a:pt x="7720" y="11664"/>
                    <a:pt x="7794" y="11703"/>
                  </a:cubicBezTo>
                  <a:cubicBezTo>
                    <a:pt x="7794" y="11743"/>
                    <a:pt x="8016" y="11860"/>
                    <a:pt x="8016" y="11860"/>
                  </a:cubicBezTo>
                  <a:cubicBezTo>
                    <a:pt x="8016" y="11860"/>
                    <a:pt x="8239" y="11978"/>
                    <a:pt x="8313" y="12017"/>
                  </a:cubicBezTo>
                  <a:cubicBezTo>
                    <a:pt x="8388" y="12057"/>
                    <a:pt x="8462" y="12135"/>
                    <a:pt x="8536" y="12135"/>
                  </a:cubicBezTo>
                  <a:cubicBezTo>
                    <a:pt x="8610" y="12096"/>
                    <a:pt x="8685" y="12135"/>
                    <a:pt x="8685" y="12057"/>
                  </a:cubicBezTo>
                  <a:cubicBezTo>
                    <a:pt x="8685" y="11978"/>
                    <a:pt x="8759" y="11978"/>
                    <a:pt x="8759" y="11900"/>
                  </a:cubicBezTo>
                  <a:cubicBezTo>
                    <a:pt x="8685" y="11860"/>
                    <a:pt x="8685" y="11743"/>
                    <a:pt x="8685" y="11743"/>
                  </a:cubicBezTo>
                  <a:cubicBezTo>
                    <a:pt x="8685" y="11743"/>
                    <a:pt x="8685" y="11703"/>
                    <a:pt x="8759" y="11703"/>
                  </a:cubicBezTo>
                  <a:cubicBezTo>
                    <a:pt x="8907" y="11703"/>
                    <a:pt x="8907" y="11782"/>
                    <a:pt x="8907" y="11782"/>
                  </a:cubicBezTo>
                  <a:cubicBezTo>
                    <a:pt x="8907" y="11782"/>
                    <a:pt x="8981" y="11900"/>
                    <a:pt x="9056" y="11939"/>
                  </a:cubicBezTo>
                  <a:cubicBezTo>
                    <a:pt x="9130" y="11939"/>
                    <a:pt x="9204" y="11939"/>
                    <a:pt x="9278" y="11978"/>
                  </a:cubicBezTo>
                  <a:cubicBezTo>
                    <a:pt x="9353" y="12057"/>
                    <a:pt x="9724" y="12096"/>
                    <a:pt x="9724" y="12096"/>
                  </a:cubicBezTo>
                  <a:cubicBezTo>
                    <a:pt x="9724" y="12096"/>
                    <a:pt x="9798" y="12057"/>
                    <a:pt x="9872" y="12017"/>
                  </a:cubicBezTo>
                  <a:cubicBezTo>
                    <a:pt x="9872" y="11978"/>
                    <a:pt x="10021" y="11978"/>
                    <a:pt x="10021" y="11978"/>
                  </a:cubicBezTo>
                  <a:cubicBezTo>
                    <a:pt x="10021" y="11978"/>
                    <a:pt x="9946" y="11900"/>
                    <a:pt x="10169" y="11939"/>
                  </a:cubicBezTo>
                  <a:cubicBezTo>
                    <a:pt x="10318" y="11939"/>
                    <a:pt x="10392" y="11978"/>
                    <a:pt x="10392" y="11939"/>
                  </a:cubicBezTo>
                  <a:cubicBezTo>
                    <a:pt x="10466" y="11900"/>
                    <a:pt x="10614" y="11743"/>
                    <a:pt x="10614" y="11743"/>
                  </a:cubicBezTo>
                  <a:cubicBezTo>
                    <a:pt x="10614" y="11743"/>
                    <a:pt x="10540" y="11625"/>
                    <a:pt x="10763" y="11664"/>
                  </a:cubicBezTo>
                  <a:cubicBezTo>
                    <a:pt x="10911" y="11743"/>
                    <a:pt x="11728" y="11821"/>
                    <a:pt x="11728" y="11821"/>
                  </a:cubicBezTo>
                  <a:cubicBezTo>
                    <a:pt x="11654" y="11900"/>
                    <a:pt x="11654" y="11900"/>
                    <a:pt x="11654" y="11900"/>
                  </a:cubicBezTo>
                  <a:cubicBezTo>
                    <a:pt x="11357" y="11860"/>
                    <a:pt x="11357" y="11860"/>
                    <a:pt x="11357" y="11860"/>
                  </a:cubicBezTo>
                  <a:cubicBezTo>
                    <a:pt x="11134" y="11900"/>
                    <a:pt x="11134" y="11900"/>
                    <a:pt x="11134" y="11900"/>
                  </a:cubicBezTo>
                  <a:cubicBezTo>
                    <a:pt x="11134" y="11900"/>
                    <a:pt x="11060" y="11900"/>
                    <a:pt x="10986" y="11978"/>
                  </a:cubicBezTo>
                  <a:cubicBezTo>
                    <a:pt x="10986" y="12017"/>
                    <a:pt x="10986" y="12057"/>
                    <a:pt x="10911" y="12096"/>
                  </a:cubicBezTo>
                  <a:cubicBezTo>
                    <a:pt x="10911" y="12135"/>
                    <a:pt x="10837" y="12175"/>
                    <a:pt x="10763" y="12175"/>
                  </a:cubicBezTo>
                  <a:cubicBezTo>
                    <a:pt x="10763" y="12214"/>
                    <a:pt x="10466" y="12332"/>
                    <a:pt x="10466" y="12332"/>
                  </a:cubicBezTo>
                  <a:cubicBezTo>
                    <a:pt x="10318" y="12449"/>
                    <a:pt x="10318" y="12449"/>
                    <a:pt x="10318" y="12449"/>
                  </a:cubicBezTo>
                  <a:cubicBezTo>
                    <a:pt x="10169" y="12646"/>
                    <a:pt x="10169" y="12646"/>
                    <a:pt x="10169" y="12646"/>
                  </a:cubicBezTo>
                  <a:cubicBezTo>
                    <a:pt x="10169" y="12646"/>
                    <a:pt x="10169" y="12803"/>
                    <a:pt x="10243" y="12803"/>
                  </a:cubicBezTo>
                  <a:cubicBezTo>
                    <a:pt x="10318" y="12842"/>
                    <a:pt x="10466" y="12960"/>
                    <a:pt x="10466" y="12960"/>
                  </a:cubicBezTo>
                  <a:cubicBezTo>
                    <a:pt x="10466" y="12960"/>
                    <a:pt x="10466" y="13039"/>
                    <a:pt x="10466" y="13078"/>
                  </a:cubicBezTo>
                  <a:cubicBezTo>
                    <a:pt x="10466" y="13117"/>
                    <a:pt x="10466" y="13156"/>
                    <a:pt x="10540" y="13235"/>
                  </a:cubicBezTo>
                  <a:cubicBezTo>
                    <a:pt x="10614" y="13274"/>
                    <a:pt x="10689" y="13431"/>
                    <a:pt x="10689" y="13431"/>
                  </a:cubicBezTo>
                  <a:cubicBezTo>
                    <a:pt x="10763" y="13431"/>
                    <a:pt x="10763" y="13431"/>
                    <a:pt x="10763" y="13431"/>
                  </a:cubicBezTo>
                  <a:cubicBezTo>
                    <a:pt x="10763" y="13549"/>
                    <a:pt x="10763" y="13549"/>
                    <a:pt x="10763" y="13549"/>
                  </a:cubicBezTo>
                  <a:cubicBezTo>
                    <a:pt x="10763" y="13549"/>
                    <a:pt x="10763" y="13667"/>
                    <a:pt x="10837" y="13667"/>
                  </a:cubicBezTo>
                  <a:cubicBezTo>
                    <a:pt x="10986" y="13667"/>
                    <a:pt x="11208" y="13588"/>
                    <a:pt x="11208" y="13588"/>
                  </a:cubicBezTo>
                  <a:cubicBezTo>
                    <a:pt x="11802" y="13510"/>
                    <a:pt x="11802" y="13510"/>
                    <a:pt x="11802" y="13510"/>
                  </a:cubicBezTo>
                  <a:cubicBezTo>
                    <a:pt x="11802" y="13510"/>
                    <a:pt x="11728" y="13667"/>
                    <a:pt x="11728" y="13706"/>
                  </a:cubicBezTo>
                  <a:cubicBezTo>
                    <a:pt x="11728" y="13745"/>
                    <a:pt x="11579" y="13745"/>
                    <a:pt x="11505" y="13785"/>
                  </a:cubicBezTo>
                  <a:cubicBezTo>
                    <a:pt x="11505" y="13824"/>
                    <a:pt x="11505" y="13863"/>
                    <a:pt x="11505" y="13863"/>
                  </a:cubicBezTo>
                  <a:cubicBezTo>
                    <a:pt x="11505" y="13863"/>
                    <a:pt x="11431" y="13981"/>
                    <a:pt x="11357" y="13981"/>
                  </a:cubicBezTo>
                  <a:cubicBezTo>
                    <a:pt x="11208" y="13981"/>
                    <a:pt x="11060" y="14020"/>
                    <a:pt x="11060" y="14020"/>
                  </a:cubicBezTo>
                  <a:cubicBezTo>
                    <a:pt x="11060" y="14020"/>
                    <a:pt x="10986" y="13942"/>
                    <a:pt x="10986" y="14060"/>
                  </a:cubicBezTo>
                  <a:cubicBezTo>
                    <a:pt x="10911" y="14138"/>
                    <a:pt x="10837" y="14217"/>
                    <a:pt x="10837" y="14256"/>
                  </a:cubicBezTo>
                  <a:cubicBezTo>
                    <a:pt x="10837" y="14295"/>
                    <a:pt x="10689" y="14335"/>
                    <a:pt x="10911" y="14374"/>
                  </a:cubicBezTo>
                  <a:cubicBezTo>
                    <a:pt x="11060" y="14374"/>
                    <a:pt x="11060" y="14492"/>
                    <a:pt x="11060" y="14492"/>
                  </a:cubicBezTo>
                  <a:cubicBezTo>
                    <a:pt x="11060" y="14492"/>
                    <a:pt x="10911" y="14570"/>
                    <a:pt x="10837" y="14609"/>
                  </a:cubicBezTo>
                  <a:cubicBezTo>
                    <a:pt x="10763" y="14649"/>
                    <a:pt x="10689" y="14609"/>
                    <a:pt x="10689" y="14649"/>
                  </a:cubicBezTo>
                  <a:cubicBezTo>
                    <a:pt x="10689" y="14688"/>
                    <a:pt x="10837" y="14884"/>
                    <a:pt x="10837" y="14884"/>
                  </a:cubicBezTo>
                  <a:cubicBezTo>
                    <a:pt x="10837" y="14884"/>
                    <a:pt x="10837" y="15002"/>
                    <a:pt x="10689" y="15002"/>
                  </a:cubicBezTo>
                  <a:cubicBezTo>
                    <a:pt x="10540" y="15002"/>
                    <a:pt x="10540" y="15002"/>
                    <a:pt x="10466" y="15002"/>
                  </a:cubicBezTo>
                  <a:cubicBezTo>
                    <a:pt x="10392" y="15002"/>
                    <a:pt x="10318" y="15002"/>
                    <a:pt x="10318" y="15002"/>
                  </a:cubicBezTo>
                  <a:cubicBezTo>
                    <a:pt x="10318" y="15002"/>
                    <a:pt x="10392" y="15041"/>
                    <a:pt x="10392" y="15120"/>
                  </a:cubicBezTo>
                  <a:cubicBezTo>
                    <a:pt x="10392" y="15199"/>
                    <a:pt x="10392" y="15277"/>
                    <a:pt x="10392" y="15277"/>
                  </a:cubicBezTo>
                  <a:cubicBezTo>
                    <a:pt x="10169" y="15238"/>
                    <a:pt x="10169" y="15238"/>
                    <a:pt x="10169" y="15238"/>
                  </a:cubicBezTo>
                  <a:cubicBezTo>
                    <a:pt x="9946" y="15120"/>
                    <a:pt x="9946" y="15120"/>
                    <a:pt x="9946" y="15120"/>
                  </a:cubicBezTo>
                  <a:cubicBezTo>
                    <a:pt x="9946" y="15120"/>
                    <a:pt x="9724" y="15120"/>
                    <a:pt x="9649" y="15120"/>
                  </a:cubicBezTo>
                  <a:cubicBezTo>
                    <a:pt x="9575" y="15159"/>
                    <a:pt x="9353" y="15159"/>
                    <a:pt x="9353" y="15159"/>
                  </a:cubicBezTo>
                  <a:cubicBezTo>
                    <a:pt x="9353" y="15159"/>
                    <a:pt x="8981" y="15081"/>
                    <a:pt x="8907" y="15041"/>
                  </a:cubicBezTo>
                  <a:cubicBezTo>
                    <a:pt x="8907" y="15002"/>
                    <a:pt x="8907" y="15002"/>
                    <a:pt x="8833" y="15041"/>
                  </a:cubicBezTo>
                  <a:cubicBezTo>
                    <a:pt x="8833" y="15041"/>
                    <a:pt x="8907" y="15041"/>
                    <a:pt x="8833" y="15041"/>
                  </a:cubicBezTo>
                  <a:cubicBezTo>
                    <a:pt x="8759" y="15081"/>
                    <a:pt x="8907" y="15081"/>
                    <a:pt x="8610" y="15081"/>
                  </a:cubicBezTo>
                  <a:cubicBezTo>
                    <a:pt x="8313" y="15120"/>
                    <a:pt x="8016" y="15159"/>
                    <a:pt x="8016" y="15159"/>
                  </a:cubicBezTo>
                  <a:cubicBezTo>
                    <a:pt x="8016" y="15159"/>
                    <a:pt x="8239" y="15041"/>
                    <a:pt x="8165" y="15002"/>
                  </a:cubicBezTo>
                  <a:cubicBezTo>
                    <a:pt x="8091" y="14963"/>
                    <a:pt x="8165" y="15002"/>
                    <a:pt x="8016" y="14963"/>
                  </a:cubicBezTo>
                  <a:cubicBezTo>
                    <a:pt x="7942" y="14924"/>
                    <a:pt x="7794" y="14845"/>
                    <a:pt x="7794" y="14806"/>
                  </a:cubicBezTo>
                  <a:cubicBezTo>
                    <a:pt x="7794" y="14767"/>
                    <a:pt x="7794" y="14688"/>
                    <a:pt x="7645" y="14688"/>
                  </a:cubicBezTo>
                  <a:cubicBezTo>
                    <a:pt x="7571" y="14688"/>
                    <a:pt x="7497" y="14609"/>
                    <a:pt x="7348" y="14688"/>
                  </a:cubicBezTo>
                  <a:cubicBezTo>
                    <a:pt x="7274" y="14727"/>
                    <a:pt x="7200" y="14727"/>
                    <a:pt x="7200" y="14767"/>
                  </a:cubicBezTo>
                  <a:cubicBezTo>
                    <a:pt x="7126" y="14806"/>
                    <a:pt x="6829" y="14845"/>
                    <a:pt x="6829" y="14845"/>
                  </a:cubicBezTo>
                  <a:cubicBezTo>
                    <a:pt x="6829" y="14845"/>
                    <a:pt x="7052" y="15002"/>
                    <a:pt x="7052" y="15041"/>
                  </a:cubicBezTo>
                  <a:cubicBezTo>
                    <a:pt x="7052" y="15081"/>
                    <a:pt x="7200" y="15238"/>
                    <a:pt x="7200" y="15238"/>
                  </a:cubicBezTo>
                  <a:cubicBezTo>
                    <a:pt x="7720" y="15238"/>
                    <a:pt x="7720" y="15238"/>
                    <a:pt x="7720" y="15238"/>
                  </a:cubicBezTo>
                  <a:cubicBezTo>
                    <a:pt x="7720" y="15238"/>
                    <a:pt x="7348" y="15316"/>
                    <a:pt x="7348" y="15395"/>
                  </a:cubicBezTo>
                  <a:cubicBezTo>
                    <a:pt x="7274" y="15434"/>
                    <a:pt x="7274" y="15473"/>
                    <a:pt x="7200" y="15513"/>
                  </a:cubicBezTo>
                  <a:cubicBezTo>
                    <a:pt x="7126" y="15552"/>
                    <a:pt x="7126" y="15591"/>
                    <a:pt x="6977" y="15631"/>
                  </a:cubicBezTo>
                  <a:cubicBezTo>
                    <a:pt x="6755" y="15631"/>
                    <a:pt x="6532" y="15670"/>
                    <a:pt x="6384" y="15709"/>
                  </a:cubicBezTo>
                  <a:cubicBezTo>
                    <a:pt x="6309" y="15748"/>
                    <a:pt x="6235" y="15748"/>
                    <a:pt x="6235" y="15788"/>
                  </a:cubicBezTo>
                  <a:cubicBezTo>
                    <a:pt x="6235" y="15866"/>
                    <a:pt x="5790" y="15827"/>
                    <a:pt x="6235" y="15905"/>
                  </a:cubicBezTo>
                  <a:cubicBezTo>
                    <a:pt x="6680" y="15945"/>
                    <a:pt x="6755" y="15984"/>
                    <a:pt x="6755" y="15984"/>
                  </a:cubicBezTo>
                  <a:cubicBezTo>
                    <a:pt x="6755" y="15984"/>
                    <a:pt x="6977" y="15866"/>
                    <a:pt x="7052" y="15827"/>
                  </a:cubicBezTo>
                  <a:cubicBezTo>
                    <a:pt x="7200" y="15748"/>
                    <a:pt x="7200" y="15748"/>
                    <a:pt x="7497" y="15748"/>
                  </a:cubicBezTo>
                  <a:cubicBezTo>
                    <a:pt x="7794" y="15788"/>
                    <a:pt x="7794" y="15748"/>
                    <a:pt x="7794" y="15788"/>
                  </a:cubicBezTo>
                  <a:cubicBezTo>
                    <a:pt x="7794" y="15866"/>
                    <a:pt x="7794" y="15905"/>
                    <a:pt x="7794" y="15984"/>
                  </a:cubicBezTo>
                  <a:cubicBezTo>
                    <a:pt x="7720" y="16063"/>
                    <a:pt x="7571" y="16102"/>
                    <a:pt x="7720" y="16220"/>
                  </a:cubicBezTo>
                  <a:cubicBezTo>
                    <a:pt x="7868" y="16298"/>
                    <a:pt x="7645" y="16377"/>
                    <a:pt x="7645" y="16416"/>
                  </a:cubicBezTo>
                  <a:cubicBezTo>
                    <a:pt x="7645" y="16416"/>
                    <a:pt x="7497" y="16534"/>
                    <a:pt x="7571" y="16534"/>
                  </a:cubicBezTo>
                  <a:cubicBezTo>
                    <a:pt x="7645" y="16573"/>
                    <a:pt x="7645" y="16573"/>
                    <a:pt x="7645" y="16573"/>
                  </a:cubicBezTo>
                  <a:cubicBezTo>
                    <a:pt x="7645" y="16573"/>
                    <a:pt x="7497" y="16769"/>
                    <a:pt x="7497" y="16809"/>
                  </a:cubicBezTo>
                  <a:cubicBezTo>
                    <a:pt x="7497" y="16809"/>
                    <a:pt x="7274" y="17044"/>
                    <a:pt x="7200" y="17044"/>
                  </a:cubicBezTo>
                  <a:cubicBezTo>
                    <a:pt x="7126" y="17084"/>
                    <a:pt x="7274" y="17084"/>
                    <a:pt x="6829" y="17162"/>
                  </a:cubicBezTo>
                  <a:cubicBezTo>
                    <a:pt x="6384" y="17201"/>
                    <a:pt x="6161" y="17241"/>
                    <a:pt x="6161" y="17241"/>
                  </a:cubicBezTo>
                  <a:cubicBezTo>
                    <a:pt x="5790" y="17319"/>
                    <a:pt x="5790" y="17319"/>
                    <a:pt x="5790" y="17319"/>
                  </a:cubicBezTo>
                  <a:cubicBezTo>
                    <a:pt x="5493" y="17437"/>
                    <a:pt x="5493" y="17437"/>
                    <a:pt x="5493" y="17437"/>
                  </a:cubicBezTo>
                  <a:cubicBezTo>
                    <a:pt x="5270" y="17437"/>
                    <a:pt x="5270" y="17437"/>
                    <a:pt x="5270" y="17437"/>
                  </a:cubicBezTo>
                  <a:cubicBezTo>
                    <a:pt x="4899" y="17398"/>
                    <a:pt x="4899" y="17398"/>
                    <a:pt x="4899" y="17398"/>
                  </a:cubicBezTo>
                  <a:cubicBezTo>
                    <a:pt x="4899" y="17398"/>
                    <a:pt x="4528" y="17516"/>
                    <a:pt x="4528" y="17555"/>
                  </a:cubicBezTo>
                  <a:cubicBezTo>
                    <a:pt x="4528" y="17555"/>
                    <a:pt x="4305" y="17594"/>
                    <a:pt x="4231" y="17633"/>
                  </a:cubicBezTo>
                  <a:cubicBezTo>
                    <a:pt x="4231" y="17673"/>
                    <a:pt x="4602" y="17751"/>
                    <a:pt x="4602" y="17751"/>
                  </a:cubicBezTo>
                  <a:cubicBezTo>
                    <a:pt x="4676" y="17869"/>
                    <a:pt x="4676" y="17869"/>
                    <a:pt x="4676" y="17869"/>
                  </a:cubicBezTo>
                  <a:cubicBezTo>
                    <a:pt x="4528" y="17869"/>
                    <a:pt x="4528" y="17869"/>
                    <a:pt x="4528" y="17869"/>
                  </a:cubicBezTo>
                  <a:cubicBezTo>
                    <a:pt x="4231" y="17908"/>
                    <a:pt x="4231" y="17908"/>
                    <a:pt x="4231" y="17908"/>
                  </a:cubicBezTo>
                  <a:cubicBezTo>
                    <a:pt x="4231" y="17987"/>
                    <a:pt x="4231" y="17987"/>
                    <a:pt x="4231" y="17987"/>
                  </a:cubicBezTo>
                  <a:cubicBezTo>
                    <a:pt x="4379" y="18026"/>
                    <a:pt x="4379" y="18026"/>
                    <a:pt x="4379" y="18026"/>
                  </a:cubicBezTo>
                  <a:cubicBezTo>
                    <a:pt x="4379" y="18026"/>
                    <a:pt x="4454" y="18065"/>
                    <a:pt x="4528" y="18065"/>
                  </a:cubicBezTo>
                  <a:cubicBezTo>
                    <a:pt x="4676" y="18065"/>
                    <a:pt x="4973" y="17987"/>
                    <a:pt x="4973" y="17987"/>
                  </a:cubicBezTo>
                  <a:cubicBezTo>
                    <a:pt x="4602" y="18105"/>
                    <a:pt x="4602" y="18105"/>
                    <a:pt x="4602" y="18105"/>
                  </a:cubicBezTo>
                  <a:cubicBezTo>
                    <a:pt x="4528" y="18223"/>
                    <a:pt x="4528" y="18223"/>
                    <a:pt x="4528" y="18223"/>
                  </a:cubicBezTo>
                  <a:cubicBezTo>
                    <a:pt x="4528" y="18223"/>
                    <a:pt x="4454" y="18301"/>
                    <a:pt x="4602" y="18301"/>
                  </a:cubicBezTo>
                  <a:cubicBezTo>
                    <a:pt x="4751" y="18301"/>
                    <a:pt x="4899" y="18301"/>
                    <a:pt x="4899" y="18301"/>
                  </a:cubicBezTo>
                  <a:cubicBezTo>
                    <a:pt x="4899" y="18301"/>
                    <a:pt x="4973" y="18223"/>
                    <a:pt x="5122" y="18223"/>
                  </a:cubicBezTo>
                  <a:cubicBezTo>
                    <a:pt x="5344" y="18262"/>
                    <a:pt x="5344" y="18262"/>
                    <a:pt x="5344" y="18262"/>
                  </a:cubicBezTo>
                  <a:cubicBezTo>
                    <a:pt x="5344" y="18262"/>
                    <a:pt x="5419" y="18144"/>
                    <a:pt x="5493" y="18144"/>
                  </a:cubicBezTo>
                  <a:cubicBezTo>
                    <a:pt x="5493" y="18144"/>
                    <a:pt x="5419" y="18144"/>
                    <a:pt x="5641" y="18144"/>
                  </a:cubicBezTo>
                  <a:cubicBezTo>
                    <a:pt x="5790" y="18183"/>
                    <a:pt x="6309" y="18144"/>
                    <a:pt x="6309" y="18144"/>
                  </a:cubicBezTo>
                  <a:cubicBezTo>
                    <a:pt x="6309" y="18144"/>
                    <a:pt x="6384" y="18144"/>
                    <a:pt x="6384" y="18183"/>
                  </a:cubicBezTo>
                  <a:cubicBezTo>
                    <a:pt x="6384" y="18262"/>
                    <a:pt x="6532" y="18262"/>
                    <a:pt x="6606" y="18340"/>
                  </a:cubicBezTo>
                  <a:cubicBezTo>
                    <a:pt x="6755" y="18380"/>
                    <a:pt x="7052" y="18419"/>
                    <a:pt x="7052" y="18419"/>
                  </a:cubicBezTo>
                  <a:cubicBezTo>
                    <a:pt x="6829" y="18458"/>
                    <a:pt x="6829" y="18458"/>
                    <a:pt x="6829" y="18458"/>
                  </a:cubicBezTo>
                  <a:cubicBezTo>
                    <a:pt x="6532" y="18419"/>
                    <a:pt x="6532" y="18419"/>
                    <a:pt x="6532" y="18419"/>
                  </a:cubicBezTo>
                  <a:cubicBezTo>
                    <a:pt x="6532" y="18419"/>
                    <a:pt x="6384" y="18380"/>
                    <a:pt x="6384" y="18419"/>
                  </a:cubicBezTo>
                  <a:cubicBezTo>
                    <a:pt x="6384" y="18497"/>
                    <a:pt x="6309" y="18615"/>
                    <a:pt x="6309" y="18615"/>
                  </a:cubicBezTo>
                  <a:cubicBezTo>
                    <a:pt x="6384" y="18615"/>
                    <a:pt x="6755" y="18655"/>
                    <a:pt x="6755" y="18655"/>
                  </a:cubicBezTo>
                  <a:cubicBezTo>
                    <a:pt x="7126" y="18655"/>
                    <a:pt x="7126" y="18655"/>
                    <a:pt x="7126" y="18655"/>
                  </a:cubicBezTo>
                  <a:cubicBezTo>
                    <a:pt x="7274" y="18615"/>
                    <a:pt x="7274" y="18615"/>
                    <a:pt x="7274" y="18615"/>
                  </a:cubicBezTo>
                  <a:cubicBezTo>
                    <a:pt x="7497" y="18537"/>
                    <a:pt x="7497" y="18537"/>
                    <a:pt x="7497" y="18537"/>
                  </a:cubicBezTo>
                  <a:cubicBezTo>
                    <a:pt x="7497" y="18537"/>
                    <a:pt x="7571" y="18615"/>
                    <a:pt x="7497" y="18615"/>
                  </a:cubicBezTo>
                  <a:cubicBezTo>
                    <a:pt x="7497" y="18655"/>
                    <a:pt x="7571" y="18733"/>
                    <a:pt x="7571" y="18733"/>
                  </a:cubicBezTo>
                  <a:cubicBezTo>
                    <a:pt x="7571" y="18733"/>
                    <a:pt x="7571" y="18851"/>
                    <a:pt x="7645" y="18851"/>
                  </a:cubicBezTo>
                  <a:cubicBezTo>
                    <a:pt x="7720" y="18851"/>
                    <a:pt x="7868" y="18969"/>
                    <a:pt x="7868" y="18969"/>
                  </a:cubicBezTo>
                  <a:cubicBezTo>
                    <a:pt x="8016" y="19087"/>
                    <a:pt x="8016" y="19087"/>
                    <a:pt x="8016" y="19087"/>
                  </a:cubicBezTo>
                  <a:cubicBezTo>
                    <a:pt x="8313" y="19126"/>
                    <a:pt x="8313" y="19126"/>
                    <a:pt x="8313" y="19126"/>
                  </a:cubicBezTo>
                  <a:cubicBezTo>
                    <a:pt x="8313" y="19126"/>
                    <a:pt x="8536" y="19126"/>
                    <a:pt x="8610" y="19126"/>
                  </a:cubicBezTo>
                  <a:cubicBezTo>
                    <a:pt x="8685" y="19165"/>
                    <a:pt x="8833" y="19204"/>
                    <a:pt x="8833" y="19165"/>
                  </a:cubicBezTo>
                  <a:cubicBezTo>
                    <a:pt x="8907" y="19126"/>
                    <a:pt x="9056" y="19047"/>
                    <a:pt x="9056" y="19047"/>
                  </a:cubicBezTo>
                  <a:cubicBezTo>
                    <a:pt x="9353" y="18929"/>
                    <a:pt x="9353" y="18929"/>
                    <a:pt x="9353" y="18929"/>
                  </a:cubicBezTo>
                  <a:cubicBezTo>
                    <a:pt x="9353" y="18929"/>
                    <a:pt x="9501" y="18929"/>
                    <a:pt x="9649" y="18929"/>
                  </a:cubicBezTo>
                  <a:cubicBezTo>
                    <a:pt x="9724" y="18929"/>
                    <a:pt x="10243" y="18890"/>
                    <a:pt x="10243" y="18890"/>
                  </a:cubicBezTo>
                  <a:cubicBezTo>
                    <a:pt x="10243" y="18890"/>
                    <a:pt x="10318" y="18812"/>
                    <a:pt x="10466" y="18772"/>
                  </a:cubicBezTo>
                  <a:cubicBezTo>
                    <a:pt x="10540" y="18733"/>
                    <a:pt x="10837" y="18655"/>
                    <a:pt x="10837" y="18655"/>
                  </a:cubicBezTo>
                  <a:cubicBezTo>
                    <a:pt x="11357" y="18576"/>
                    <a:pt x="11357" y="18576"/>
                    <a:pt x="11357" y="18576"/>
                  </a:cubicBezTo>
                  <a:cubicBezTo>
                    <a:pt x="10911" y="18655"/>
                    <a:pt x="10911" y="18655"/>
                    <a:pt x="10911" y="18655"/>
                  </a:cubicBezTo>
                  <a:cubicBezTo>
                    <a:pt x="10763" y="18733"/>
                    <a:pt x="10763" y="18733"/>
                    <a:pt x="10763" y="18733"/>
                  </a:cubicBezTo>
                  <a:cubicBezTo>
                    <a:pt x="10466" y="18851"/>
                    <a:pt x="10466" y="18851"/>
                    <a:pt x="10466" y="18851"/>
                  </a:cubicBezTo>
                  <a:cubicBezTo>
                    <a:pt x="10318" y="18929"/>
                    <a:pt x="10318" y="18929"/>
                    <a:pt x="10318" y="18929"/>
                  </a:cubicBezTo>
                  <a:cubicBezTo>
                    <a:pt x="10318" y="18929"/>
                    <a:pt x="10169" y="18969"/>
                    <a:pt x="10095" y="19008"/>
                  </a:cubicBezTo>
                  <a:cubicBezTo>
                    <a:pt x="10095" y="19008"/>
                    <a:pt x="9872" y="19204"/>
                    <a:pt x="9872" y="19204"/>
                  </a:cubicBezTo>
                  <a:cubicBezTo>
                    <a:pt x="9649" y="19244"/>
                    <a:pt x="9649" y="19244"/>
                    <a:pt x="9649" y="19244"/>
                  </a:cubicBezTo>
                  <a:cubicBezTo>
                    <a:pt x="9649" y="19244"/>
                    <a:pt x="9427" y="19322"/>
                    <a:pt x="9353" y="19401"/>
                  </a:cubicBezTo>
                  <a:cubicBezTo>
                    <a:pt x="9278" y="19440"/>
                    <a:pt x="9204" y="19479"/>
                    <a:pt x="9204" y="19479"/>
                  </a:cubicBezTo>
                  <a:cubicBezTo>
                    <a:pt x="9204" y="19479"/>
                    <a:pt x="9278" y="19558"/>
                    <a:pt x="8907" y="19558"/>
                  </a:cubicBezTo>
                  <a:cubicBezTo>
                    <a:pt x="8536" y="19519"/>
                    <a:pt x="8239" y="19479"/>
                    <a:pt x="8239" y="19479"/>
                  </a:cubicBezTo>
                  <a:cubicBezTo>
                    <a:pt x="8239" y="19479"/>
                    <a:pt x="7868" y="19440"/>
                    <a:pt x="7794" y="19440"/>
                  </a:cubicBezTo>
                  <a:cubicBezTo>
                    <a:pt x="7720" y="19401"/>
                    <a:pt x="7720" y="19401"/>
                    <a:pt x="7497" y="19401"/>
                  </a:cubicBezTo>
                  <a:cubicBezTo>
                    <a:pt x="7348" y="19401"/>
                    <a:pt x="6606" y="19283"/>
                    <a:pt x="6606" y="19283"/>
                  </a:cubicBezTo>
                  <a:cubicBezTo>
                    <a:pt x="6606" y="19283"/>
                    <a:pt x="6458" y="19283"/>
                    <a:pt x="6384" y="19322"/>
                  </a:cubicBezTo>
                  <a:cubicBezTo>
                    <a:pt x="6309" y="19361"/>
                    <a:pt x="6161" y="19361"/>
                    <a:pt x="6161" y="19401"/>
                  </a:cubicBezTo>
                  <a:cubicBezTo>
                    <a:pt x="6161" y="19479"/>
                    <a:pt x="6161" y="19519"/>
                    <a:pt x="6161" y="19519"/>
                  </a:cubicBezTo>
                  <a:cubicBezTo>
                    <a:pt x="6087" y="19636"/>
                    <a:pt x="6087" y="19636"/>
                    <a:pt x="6087" y="19636"/>
                  </a:cubicBezTo>
                  <a:cubicBezTo>
                    <a:pt x="5790" y="19676"/>
                    <a:pt x="5790" y="19676"/>
                    <a:pt x="5790" y="19676"/>
                  </a:cubicBezTo>
                  <a:cubicBezTo>
                    <a:pt x="5419" y="19676"/>
                    <a:pt x="5419" y="19676"/>
                    <a:pt x="5419" y="19676"/>
                  </a:cubicBezTo>
                  <a:close/>
                  <a:moveTo>
                    <a:pt x="3192" y="10447"/>
                  </a:moveTo>
                  <a:cubicBezTo>
                    <a:pt x="3192" y="10447"/>
                    <a:pt x="3192" y="10447"/>
                    <a:pt x="3192" y="10447"/>
                  </a:cubicBezTo>
                  <a:cubicBezTo>
                    <a:pt x="3266" y="10447"/>
                    <a:pt x="3711" y="10447"/>
                    <a:pt x="3711" y="10447"/>
                  </a:cubicBezTo>
                  <a:cubicBezTo>
                    <a:pt x="4008" y="10447"/>
                    <a:pt x="4008" y="10447"/>
                    <a:pt x="4008" y="10447"/>
                  </a:cubicBezTo>
                  <a:cubicBezTo>
                    <a:pt x="4008" y="10447"/>
                    <a:pt x="4379" y="10447"/>
                    <a:pt x="4454" y="10447"/>
                  </a:cubicBezTo>
                  <a:cubicBezTo>
                    <a:pt x="4528" y="10447"/>
                    <a:pt x="4602" y="10486"/>
                    <a:pt x="4602" y="10486"/>
                  </a:cubicBezTo>
                  <a:cubicBezTo>
                    <a:pt x="4602" y="10486"/>
                    <a:pt x="4751" y="10407"/>
                    <a:pt x="4825" y="10447"/>
                  </a:cubicBezTo>
                  <a:cubicBezTo>
                    <a:pt x="4899" y="10447"/>
                    <a:pt x="5047" y="10564"/>
                    <a:pt x="5047" y="10564"/>
                  </a:cubicBezTo>
                  <a:cubicBezTo>
                    <a:pt x="5196" y="10761"/>
                    <a:pt x="5196" y="10761"/>
                    <a:pt x="5196" y="10761"/>
                  </a:cubicBezTo>
                  <a:cubicBezTo>
                    <a:pt x="5270" y="10996"/>
                    <a:pt x="5270" y="10996"/>
                    <a:pt x="5270" y="10996"/>
                  </a:cubicBezTo>
                  <a:cubicBezTo>
                    <a:pt x="5344" y="11193"/>
                    <a:pt x="5344" y="11193"/>
                    <a:pt x="5344" y="11193"/>
                  </a:cubicBezTo>
                  <a:cubicBezTo>
                    <a:pt x="5641" y="11389"/>
                    <a:pt x="5641" y="11389"/>
                    <a:pt x="5641" y="11389"/>
                  </a:cubicBezTo>
                  <a:cubicBezTo>
                    <a:pt x="5493" y="11507"/>
                    <a:pt x="5493" y="11507"/>
                    <a:pt x="5493" y="11507"/>
                  </a:cubicBezTo>
                  <a:cubicBezTo>
                    <a:pt x="5493" y="11507"/>
                    <a:pt x="5493" y="11664"/>
                    <a:pt x="5493" y="11664"/>
                  </a:cubicBezTo>
                  <a:cubicBezTo>
                    <a:pt x="5419" y="11664"/>
                    <a:pt x="5196" y="11703"/>
                    <a:pt x="5196" y="11703"/>
                  </a:cubicBezTo>
                  <a:cubicBezTo>
                    <a:pt x="5122" y="11743"/>
                    <a:pt x="5047" y="11860"/>
                    <a:pt x="5047" y="11860"/>
                  </a:cubicBezTo>
                  <a:cubicBezTo>
                    <a:pt x="5047" y="11860"/>
                    <a:pt x="5344" y="11703"/>
                    <a:pt x="5419" y="11743"/>
                  </a:cubicBezTo>
                  <a:cubicBezTo>
                    <a:pt x="5493" y="11743"/>
                    <a:pt x="5715" y="11743"/>
                    <a:pt x="5715" y="11743"/>
                  </a:cubicBezTo>
                  <a:cubicBezTo>
                    <a:pt x="5864" y="11821"/>
                    <a:pt x="5864" y="11821"/>
                    <a:pt x="5864" y="11821"/>
                  </a:cubicBezTo>
                  <a:cubicBezTo>
                    <a:pt x="6012" y="11978"/>
                    <a:pt x="6012" y="11978"/>
                    <a:pt x="6012" y="11978"/>
                  </a:cubicBezTo>
                  <a:cubicBezTo>
                    <a:pt x="6012" y="12175"/>
                    <a:pt x="6012" y="12175"/>
                    <a:pt x="6012" y="12175"/>
                  </a:cubicBezTo>
                  <a:cubicBezTo>
                    <a:pt x="6012" y="12175"/>
                    <a:pt x="6012" y="12332"/>
                    <a:pt x="5938" y="12332"/>
                  </a:cubicBezTo>
                  <a:cubicBezTo>
                    <a:pt x="5938" y="12371"/>
                    <a:pt x="5864" y="12410"/>
                    <a:pt x="5790" y="12410"/>
                  </a:cubicBezTo>
                  <a:cubicBezTo>
                    <a:pt x="5715" y="12410"/>
                    <a:pt x="5641" y="12410"/>
                    <a:pt x="5715" y="12332"/>
                  </a:cubicBezTo>
                  <a:cubicBezTo>
                    <a:pt x="5715" y="12253"/>
                    <a:pt x="5790" y="12175"/>
                    <a:pt x="5790" y="12175"/>
                  </a:cubicBezTo>
                  <a:cubicBezTo>
                    <a:pt x="5790" y="12135"/>
                    <a:pt x="5864" y="11978"/>
                    <a:pt x="5790" y="11978"/>
                  </a:cubicBezTo>
                  <a:cubicBezTo>
                    <a:pt x="5641" y="11978"/>
                    <a:pt x="5567" y="11900"/>
                    <a:pt x="5567" y="11978"/>
                  </a:cubicBezTo>
                  <a:cubicBezTo>
                    <a:pt x="5493" y="12017"/>
                    <a:pt x="5567" y="12175"/>
                    <a:pt x="5567" y="12175"/>
                  </a:cubicBezTo>
                  <a:cubicBezTo>
                    <a:pt x="5567" y="12175"/>
                    <a:pt x="5641" y="12214"/>
                    <a:pt x="5641" y="12253"/>
                  </a:cubicBezTo>
                  <a:cubicBezTo>
                    <a:pt x="5567" y="12292"/>
                    <a:pt x="5567" y="12253"/>
                    <a:pt x="5493" y="12332"/>
                  </a:cubicBezTo>
                  <a:cubicBezTo>
                    <a:pt x="5344" y="12371"/>
                    <a:pt x="5567" y="12410"/>
                    <a:pt x="5567" y="12410"/>
                  </a:cubicBezTo>
                  <a:cubicBezTo>
                    <a:pt x="5641" y="12489"/>
                    <a:pt x="5641" y="12489"/>
                    <a:pt x="5641" y="12489"/>
                  </a:cubicBezTo>
                  <a:cubicBezTo>
                    <a:pt x="5641" y="12489"/>
                    <a:pt x="5641" y="12607"/>
                    <a:pt x="5567" y="12607"/>
                  </a:cubicBezTo>
                  <a:cubicBezTo>
                    <a:pt x="5493" y="12646"/>
                    <a:pt x="5493" y="12685"/>
                    <a:pt x="5196" y="12607"/>
                  </a:cubicBezTo>
                  <a:cubicBezTo>
                    <a:pt x="4899" y="12567"/>
                    <a:pt x="4825" y="12528"/>
                    <a:pt x="4825" y="12528"/>
                  </a:cubicBezTo>
                  <a:cubicBezTo>
                    <a:pt x="4751" y="12724"/>
                    <a:pt x="4751" y="12724"/>
                    <a:pt x="4751" y="12724"/>
                  </a:cubicBezTo>
                  <a:cubicBezTo>
                    <a:pt x="4602" y="12881"/>
                    <a:pt x="4602" y="12881"/>
                    <a:pt x="4602" y="12881"/>
                  </a:cubicBezTo>
                  <a:cubicBezTo>
                    <a:pt x="4082" y="12960"/>
                    <a:pt x="4082" y="12960"/>
                    <a:pt x="4082" y="12960"/>
                  </a:cubicBezTo>
                  <a:cubicBezTo>
                    <a:pt x="3786" y="12764"/>
                    <a:pt x="3786" y="12764"/>
                    <a:pt x="3786" y="12764"/>
                  </a:cubicBezTo>
                  <a:cubicBezTo>
                    <a:pt x="3786" y="12764"/>
                    <a:pt x="3563" y="12803"/>
                    <a:pt x="3489" y="12803"/>
                  </a:cubicBezTo>
                  <a:cubicBezTo>
                    <a:pt x="3414" y="12764"/>
                    <a:pt x="3043" y="12724"/>
                    <a:pt x="3043" y="12724"/>
                  </a:cubicBezTo>
                  <a:cubicBezTo>
                    <a:pt x="2969" y="12528"/>
                    <a:pt x="2969" y="12528"/>
                    <a:pt x="2969" y="12528"/>
                  </a:cubicBezTo>
                  <a:cubicBezTo>
                    <a:pt x="2598" y="12332"/>
                    <a:pt x="2598" y="12332"/>
                    <a:pt x="2598" y="12332"/>
                  </a:cubicBezTo>
                  <a:cubicBezTo>
                    <a:pt x="2672" y="12175"/>
                    <a:pt x="2672" y="12175"/>
                    <a:pt x="2672" y="12175"/>
                  </a:cubicBezTo>
                  <a:cubicBezTo>
                    <a:pt x="2449" y="11939"/>
                    <a:pt x="2449" y="11939"/>
                    <a:pt x="2449" y="11939"/>
                  </a:cubicBezTo>
                  <a:cubicBezTo>
                    <a:pt x="2004" y="11978"/>
                    <a:pt x="2004" y="11978"/>
                    <a:pt x="2004" y="11978"/>
                  </a:cubicBezTo>
                  <a:cubicBezTo>
                    <a:pt x="1856" y="12175"/>
                    <a:pt x="1856" y="12175"/>
                    <a:pt x="1856" y="12175"/>
                  </a:cubicBezTo>
                  <a:cubicBezTo>
                    <a:pt x="1856" y="12175"/>
                    <a:pt x="2004" y="12253"/>
                    <a:pt x="1856" y="12292"/>
                  </a:cubicBezTo>
                  <a:cubicBezTo>
                    <a:pt x="1707" y="12292"/>
                    <a:pt x="1410" y="12332"/>
                    <a:pt x="1410" y="12332"/>
                  </a:cubicBezTo>
                  <a:cubicBezTo>
                    <a:pt x="1410" y="12332"/>
                    <a:pt x="1039" y="12371"/>
                    <a:pt x="965" y="12371"/>
                  </a:cubicBezTo>
                  <a:cubicBezTo>
                    <a:pt x="965" y="12371"/>
                    <a:pt x="668" y="12135"/>
                    <a:pt x="668" y="12135"/>
                  </a:cubicBezTo>
                  <a:cubicBezTo>
                    <a:pt x="668" y="12135"/>
                    <a:pt x="520" y="12135"/>
                    <a:pt x="445" y="12135"/>
                  </a:cubicBezTo>
                  <a:cubicBezTo>
                    <a:pt x="371" y="12135"/>
                    <a:pt x="371" y="12175"/>
                    <a:pt x="371" y="12096"/>
                  </a:cubicBezTo>
                  <a:cubicBezTo>
                    <a:pt x="371" y="12017"/>
                    <a:pt x="297" y="11900"/>
                    <a:pt x="297" y="11900"/>
                  </a:cubicBezTo>
                  <a:cubicBezTo>
                    <a:pt x="297" y="11900"/>
                    <a:pt x="520" y="12017"/>
                    <a:pt x="297" y="11860"/>
                  </a:cubicBezTo>
                  <a:cubicBezTo>
                    <a:pt x="74" y="11703"/>
                    <a:pt x="0" y="11546"/>
                    <a:pt x="0" y="11546"/>
                  </a:cubicBezTo>
                  <a:cubicBezTo>
                    <a:pt x="371" y="11428"/>
                    <a:pt x="371" y="11428"/>
                    <a:pt x="371" y="11428"/>
                  </a:cubicBezTo>
                  <a:cubicBezTo>
                    <a:pt x="371" y="11428"/>
                    <a:pt x="742" y="11428"/>
                    <a:pt x="816" y="11468"/>
                  </a:cubicBezTo>
                  <a:cubicBezTo>
                    <a:pt x="891" y="11468"/>
                    <a:pt x="965" y="11389"/>
                    <a:pt x="965" y="11389"/>
                  </a:cubicBezTo>
                  <a:cubicBezTo>
                    <a:pt x="965" y="11389"/>
                    <a:pt x="1113" y="11311"/>
                    <a:pt x="965" y="11271"/>
                  </a:cubicBezTo>
                  <a:cubicBezTo>
                    <a:pt x="891" y="11271"/>
                    <a:pt x="742" y="11193"/>
                    <a:pt x="742" y="11193"/>
                  </a:cubicBezTo>
                  <a:cubicBezTo>
                    <a:pt x="742" y="11193"/>
                    <a:pt x="594" y="11114"/>
                    <a:pt x="816" y="11075"/>
                  </a:cubicBezTo>
                  <a:cubicBezTo>
                    <a:pt x="1039" y="11075"/>
                    <a:pt x="1039" y="11075"/>
                    <a:pt x="1188" y="11075"/>
                  </a:cubicBezTo>
                  <a:cubicBezTo>
                    <a:pt x="1336" y="11114"/>
                    <a:pt x="1410" y="11232"/>
                    <a:pt x="1485" y="11075"/>
                  </a:cubicBezTo>
                  <a:cubicBezTo>
                    <a:pt x="1559" y="10957"/>
                    <a:pt x="1410" y="10957"/>
                    <a:pt x="1633" y="10918"/>
                  </a:cubicBezTo>
                  <a:cubicBezTo>
                    <a:pt x="1856" y="10918"/>
                    <a:pt x="2004" y="10879"/>
                    <a:pt x="2004" y="10839"/>
                  </a:cubicBezTo>
                  <a:cubicBezTo>
                    <a:pt x="2004" y="10800"/>
                    <a:pt x="2004" y="10643"/>
                    <a:pt x="2078" y="10643"/>
                  </a:cubicBezTo>
                  <a:cubicBezTo>
                    <a:pt x="2153" y="10643"/>
                    <a:pt x="2524" y="10682"/>
                    <a:pt x="2524" y="10682"/>
                  </a:cubicBezTo>
                  <a:cubicBezTo>
                    <a:pt x="2524" y="10682"/>
                    <a:pt x="2672" y="10604"/>
                    <a:pt x="2821" y="10643"/>
                  </a:cubicBezTo>
                  <a:cubicBezTo>
                    <a:pt x="2969" y="10643"/>
                    <a:pt x="3043" y="10604"/>
                    <a:pt x="3043" y="10604"/>
                  </a:cubicBezTo>
                  <a:cubicBezTo>
                    <a:pt x="3043" y="10604"/>
                    <a:pt x="3192" y="10447"/>
                    <a:pt x="3192" y="10447"/>
                  </a:cubicBezTo>
                  <a:close/>
                  <a:moveTo>
                    <a:pt x="5493" y="8915"/>
                  </a:moveTo>
                  <a:cubicBezTo>
                    <a:pt x="5493" y="8915"/>
                    <a:pt x="5493" y="8915"/>
                    <a:pt x="5493" y="8915"/>
                  </a:cubicBezTo>
                  <a:cubicBezTo>
                    <a:pt x="5493" y="8915"/>
                    <a:pt x="5419" y="8797"/>
                    <a:pt x="5493" y="8797"/>
                  </a:cubicBezTo>
                  <a:cubicBezTo>
                    <a:pt x="5567" y="8797"/>
                    <a:pt x="5790" y="8758"/>
                    <a:pt x="5790" y="8758"/>
                  </a:cubicBezTo>
                  <a:cubicBezTo>
                    <a:pt x="5790" y="8758"/>
                    <a:pt x="5864" y="8679"/>
                    <a:pt x="5864" y="8719"/>
                  </a:cubicBezTo>
                  <a:cubicBezTo>
                    <a:pt x="5938" y="8719"/>
                    <a:pt x="5938" y="8797"/>
                    <a:pt x="5864" y="8797"/>
                  </a:cubicBezTo>
                  <a:cubicBezTo>
                    <a:pt x="5864" y="8797"/>
                    <a:pt x="5715" y="8876"/>
                    <a:pt x="5715" y="8876"/>
                  </a:cubicBezTo>
                  <a:cubicBezTo>
                    <a:pt x="5715" y="8876"/>
                    <a:pt x="5567" y="8915"/>
                    <a:pt x="5567" y="8915"/>
                  </a:cubicBezTo>
                  <a:cubicBezTo>
                    <a:pt x="5493" y="8915"/>
                    <a:pt x="5493" y="8915"/>
                    <a:pt x="5493" y="8915"/>
                  </a:cubicBezTo>
                  <a:close/>
                  <a:moveTo>
                    <a:pt x="6458" y="9740"/>
                  </a:moveTo>
                  <a:cubicBezTo>
                    <a:pt x="6458" y="9740"/>
                    <a:pt x="6458" y="9740"/>
                    <a:pt x="6458" y="9740"/>
                  </a:cubicBezTo>
                  <a:cubicBezTo>
                    <a:pt x="6458" y="9740"/>
                    <a:pt x="6458" y="9779"/>
                    <a:pt x="6384" y="9779"/>
                  </a:cubicBezTo>
                  <a:cubicBezTo>
                    <a:pt x="6309" y="9779"/>
                    <a:pt x="6161" y="9779"/>
                    <a:pt x="6161" y="9740"/>
                  </a:cubicBezTo>
                  <a:cubicBezTo>
                    <a:pt x="6161" y="9740"/>
                    <a:pt x="6235" y="9661"/>
                    <a:pt x="6309" y="9661"/>
                  </a:cubicBezTo>
                  <a:cubicBezTo>
                    <a:pt x="6309" y="9661"/>
                    <a:pt x="6384" y="9622"/>
                    <a:pt x="6384" y="9622"/>
                  </a:cubicBezTo>
                  <a:cubicBezTo>
                    <a:pt x="6384" y="9622"/>
                    <a:pt x="6384" y="9583"/>
                    <a:pt x="6384" y="9583"/>
                  </a:cubicBezTo>
                  <a:cubicBezTo>
                    <a:pt x="6458" y="9583"/>
                    <a:pt x="6532" y="9661"/>
                    <a:pt x="6532" y="9661"/>
                  </a:cubicBezTo>
                  <a:cubicBezTo>
                    <a:pt x="6458" y="9740"/>
                    <a:pt x="6458" y="9740"/>
                    <a:pt x="6458" y="9740"/>
                  </a:cubicBezTo>
                  <a:close/>
                  <a:moveTo>
                    <a:pt x="7052" y="10015"/>
                  </a:moveTo>
                  <a:cubicBezTo>
                    <a:pt x="7052" y="10015"/>
                    <a:pt x="7052" y="10015"/>
                    <a:pt x="7052" y="10015"/>
                  </a:cubicBezTo>
                  <a:cubicBezTo>
                    <a:pt x="7052" y="9975"/>
                    <a:pt x="7200" y="9897"/>
                    <a:pt x="7200" y="9857"/>
                  </a:cubicBezTo>
                  <a:cubicBezTo>
                    <a:pt x="7274" y="9857"/>
                    <a:pt x="7274" y="9818"/>
                    <a:pt x="7274" y="9818"/>
                  </a:cubicBezTo>
                  <a:cubicBezTo>
                    <a:pt x="7348" y="9779"/>
                    <a:pt x="7423" y="9779"/>
                    <a:pt x="7497" y="9779"/>
                  </a:cubicBezTo>
                  <a:cubicBezTo>
                    <a:pt x="7645" y="9818"/>
                    <a:pt x="7794" y="9897"/>
                    <a:pt x="7720" y="9897"/>
                  </a:cubicBezTo>
                  <a:cubicBezTo>
                    <a:pt x="7720" y="9936"/>
                    <a:pt x="7645" y="9897"/>
                    <a:pt x="7645" y="10015"/>
                  </a:cubicBezTo>
                  <a:cubicBezTo>
                    <a:pt x="7645" y="10132"/>
                    <a:pt x="7645" y="10132"/>
                    <a:pt x="7645" y="10172"/>
                  </a:cubicBezTo>
                  <a:cubicBezTo>
                    <a:pt x="7720" y="10211"/>
                    <a:pt x="7645" y="10329"/>
                    <a:pt x="7645" y="10329"/>
                  </a:cubicBezTo>
                  <a:cubicBezTo>
                    <a:pt x="7645" y="10329"/>
                    <a:pt x="7571" y="10407"/>
                    <a:pt x="7497" y="10407"/>
                  </a:cubicBezTo>
                  <a:cubicBezTo>
                    <a:pt x="7497" y="10407"/>
                    <a:pt x="7497" y="10407"/>
                    <a:pt x="7348" y="10368"/>
                  </a:cubicBezTo>
                  <a:cubicBezTo>
                    <a:pt x="7274" y="10368"/>
                    <a:pt x="7052" y="10289"/>
                    <a:pt x="7052" y="10289"/>
                  </a:cubicBezTo>
                  <a:cubicBezTo>
                    <a:pt x="7052" y="10289"/>
                    <a:pt x="7052" y="10093"/>
                    <a:pt x="7052" y="10093"/>
                  </a:cubicBezTo>
                  <a:cubicBezTo>
                    <a:pt x="7052" y="10054"/>
                    <a:pt x="6977" y="10015"/>
                    <a:pt x="6977" y="10015"/>
                  </a:cubicBezTo>
                  <a:cubicBezTo>
                    <a:pt x="7052" y="10015"/>
                    <a:pt x="7052" y="10015"/>
                    <a:pt x="7052" y="10015"/>
                  </a:cubicBezTo>
                  <a:close/>
                  <a:moveTo>
                    <a:pt x="5493" y="8247"/>
                  </a:moveTo>
                  <a:cubicBezTo>
                    <a:pt x="5493" y="8247"/>
                    <a:pt x="5493" y="8247"/>
                    <a:pt x="5493" y="8247"/>
                  </a:cubicBezTo>
                  <a:cubicBezTo>
                    <a:pt x="5493" y="8247"/>
                    <a:pt x="5493" y="8208"/>
                    <a:pt x="5641" y="8208"/>
                  </a:cubicBezTo>
                  <a:cubicBezTo>
                    <a:pt x="5715" y="8247"/>
                    <a:pt x="5715" y="8287"/>
                    <a:pt x="5715" y="8326"/>
                  </a:cubicBezTo>
                  <a:cubicBezTo>
                    <a:pt x="5715" y="8365"/>
                    <a:pt x="5938" y="8365"/>
                    <a:pt x="5864" y="8404"/>
                  </a:cubicBezTo>
                  <a:cubicBezTo>
                    <a:pt x="5715" y="8444"/>
                    <a:pt x="5641" y="8444"/>
                    <a:pt x="5641" y="8444"/>
                  </a:cubicBezTo>
                  <a:cubicBezTo>
                    <a:pt x="5641" y="8404"/>
                    <a:pt x="5567" y="8444"/>
                    <a:pt x="5567" y="8404"/>
                  </a:cubicBezTo>
                  <a:cubicBezTo>
                    <a:pt x="5567" y="8365"/>
                    <a:pt x="5419" y="8326"/>
                    <a:pt x="5419" y="8326"/>
                  </a:cubicBezTo>
                  <a:cubicBezTo>
                    <a:pt x="5419" y="8326"/>
                    <a:pt x="5493" y="8247"/>
                    <a:pt x="5493" y="8247"/>
                  </a:cubicBezTo>
                  <a:close/>
                  <a:moveTo>
                    <a:pt x="4528" y="7697"/>
                  </a:moveTo>
                  <a:cubicBezTo>
                    <a:pt x="4528" y="7697"/>
                    <a:pt x="4528" y="7697"/>
                    <a:pt x="4528" y="7697"/>
                  </a:cubicBezTo>
                  <a:cubicBezTo>
                    <a:pt x="4676" y="7737"/>
                    <a:pt x="4751" y="7697"/>
                    <a:pt x="4751" y="7737"/>
                  </a:cubicBezTo>
                  <a:cubicBezTo>
                    <a:pt x="4825" y="7737"/>
                    <a:pt x="4899" y="7776"/>
                    <a:pt x="4825" y="7815"/>
                  </a:cubicBezTo>
                  <a:cubicBezTo>
                    <a:pt x="4676" y="7855"/>
                    <a:pt x="4676" y="7855"/>
                    <a:pt x="4528" y="7855"/>
                  </a:cubicBezTo>
                  <a:cubicBezTo>
                    <a:pt x="4454" y="7855"/>
                    <a:pt x="4602" y="7855"/>
                    <a:pt x="4454" y="7855"/>
                  </a:cubicBezTo>
                  <a:cubicBezTo>
                    <a:pt x="4305" y="7855"/>
                    <a:pt x="4082" y="7933"/>
                    <a:pt x="4231" y="7815"/>
                  </a:cubicBezTo>
                  <a:cubicBezTo>
                    <a:pt x="4379" y="7737"/>
                    <a:pt x="4528" y="7697"/>
                    <a:pt x="4528" y="7697"/>
                  </a:cubicBezTo>
                  <a:close/>
                  <a:moveTo>
                    <a:pt x="5344" y="7501"/>
                  </a:moveTo>
                  <a:cubicBezTo>
                    <a:pt x="5344" y="7501"/>
                    <a:pt x="5344" y="7501"/>
                    <a:pt x="5344" y="7501"/>
                  </a:cubicBezTo>
                  <a:cubicBezTo>
                    <a:pt x="5419" y="7501"/>
                    <a:pt x="5493" y="7423"/>
                    <a:pt x="5567" y="7462"/>
                  </a:cubicBezTo>
                  <a:cubicBezTo>
                    <a:pt x="5641" y="7501"/>
                    <a:pt x="5790" y="7540"/>
                    <a:pt x="5641" y="7580"/>
                  </a:cubicBezTo>
                  <a:cubicBezTo>
                    <a:pt x="5493" y="7619"/>
                    <a:pt x="5493" y="7619"/>
                    <a:pt x="5419" y="7658"/>
                  </a:cubicBezTo>
                  <a:cubicBezTo>
                    <a:pt x="5270" y="7697"/>
                    <a:pt x="5122" y="7737"/>
                    <a:pt x="5047" y="7737"/>
                  </a:cubicBezTo>
                  <a:cubicBezTo>
                    <a:pt x="4973" y="7737"/>
                    <a:pt x="4899" y="7658"/>
                    <a:pt x="4973" y="7658"/>
                  </a:cubicBezTo>
                  <a:cubicBezTo>
                    <a:pt x="5047" y="7658"/>
                    <a:pt x="5122" y="7619"/>
                    <a:pt x="5196" y="7619"/>
                  </a:cubicBezTo>
                  <a:cubicBezTo>
                    <a:pt x="5196" y="7580"/>
                    <a:pt x="5344" y="7501"/>
                    <a:pt x="5344" y="7501"/>
                  </a:cubicBezTo>
                  <a:close/>
                  <a:moveTo>
                    <a:pt x="5790" y="6716"/>
                  </a:moveTo>
                  <a:cubicBezTo>
                    <a:pt x="5790" y="6716"/>
                    <a:pt x="5790" y="6716"/>
                    <a:pt x="5790" y="6716"/>
                  </a:cubicBezTo>
                  <a:cubicBezTo>
                    <a:pt x="5790" y="6716"/>
                    <a:pt x="5790" y="6598"/>
                    <a:pt x="5864" y="6637"/>
                  </a:cubicBezTo>
                  <a:cubicBezTo>
                    <a:pt x="6012" y="6637"/>
                    <a:pt x="6012" y="6637"/>
                    <a:pt x="6012" y="6676"/>
                  </a:cubicBezTo>
                  <a:cubicBezTo>
                    <a:pt x="6012" y="6716"/>
                    <a:pt x="6161" y="6676"/>
                    <a:pt x="6012" y="6716"/>
                  </a:cubicBezTo>
                  <a:cubicBezTo>
                    <a:pt x="5938" y="6716"/>
                    <a:pt x="5790" y="6716"/>
                    <a:pt x="5790" y="6716"/>
                  </a:cubicBezTo>
                  <a:close/>
                  <a:moveTo>
                    <a:pt x="6458" y="7108"/>
                  </a:moveTo>
                  <a:cubicBezTo>
                    <a:pt x="6458" y="7108"/>
                    <a:pt x="6458" y="7108"/>
                    <a:pt x="6458" y="7108"/>
                  </a:cubicBezTo>
                  <a:cubicBezTo>
                    <a:pt x="6458" y="7108"/>
                    <a:pt x="6532" y="7030"/>
                    <a:pt x="6606" y="7030"/>
                  </a:cubicBezTo>
                  <a:cubicBezTo>
                    <a:pt x="6606" y="7030"/>
                    <a:pt x="6680" y="7030"/>
                    <a:pt x="6680" y="7069"/>
                  </a:cubicBezTo>
                  <a:cubicBezTo>
                    <a:pt x="6680" y="7108"/>
                    <a:pt x="6680" y="7187"/>
                    <a:pt x="6606" y="7187"/>
                  </a:cubicBezTo>
                  <a:cubicBezTo>
                    <a:pt x="6532" y="7187"/>
                    <a:pt x="6532" y="7226"/>
                    <a:pt x="6458" y="7187"/>
                  </a:cubicBezTo>
                  <a:cubicBezTo>
                    <a:pt x="6384" y="7187"/>
                    <a:pt x="6458" y="7108"/>
                    <a:pt x="6458" y="7108"/>
                  </a:cubicBezTo>
                  <a:close/>
                  <a:moveTo>
                    <a:pt x="6087" y="6951"/>
                  </a:moveTo>
                  <a:cubicBezTo>
                    <a:pt x="6087" y="6951"/>
                    <a:pt x="6087" y="6951"/>
                    <a:pt x="6087" y="6951"/>
                  </a:cubicBezTo>
                  <a:cubicBezTo>
                    <a:pt x="6087" y="6951"/>
                    <a:pt x="6012" y="6794"/>
                    <a:pt x="6161" y="6794"/>
                  </a:cubicBezTo>
                  <a:cubicBezTo>
                    <a:pt x="6309" y="6755"/>
                    <a:pt x="6384" y="6755"/>
                    <a:pt x="6384" y="6755"/>
                  </a:cubicBezTo>
                  <a:cubicBezTo>
                    <a:pt x="6384" y="6755"/>
                    <a:pt x="6606" y="6912"/>
                    <a:pt x="6606" y="6912"/>
                  </a:cubicBezTo>
                  <a:cubicBezTo>
                    <a:pt x="6532" y="6951"/>
                    <a:pt x="6532" y="6991"/>
                    <a:pt x="6384" y="6991"/>
                  </a:cubicBezTo>
                  <a:cubicBezTo>
                    <a:pt x="6309" y="6991"/>
                    <a:pt x="6235" y="7030"/>
                    <a:pt x="6235" y="6991"/>
                  </a:cubicBezTo>
                  <a:cubicBezTo>
                    <a:pt x="6161" y="6951"/>
                    <a:pt x="6087" y="6951"/>
                    <a:pt x="6087" y="6951"/>
                  </a:cubicBezTo>
                  <a:close/>
                  <a:moveTo>
                    <a:pt x="3340" y="6833"/>
                  </a:moveTo>
                  <a:cubicBezTo>
                    <a:pt x="3340" y="6833"/>
                    <a:pt x="3340" y="6833"/>
                    <a:pt x="3340" y="6833"/>
                  </a:cubicBezTo>
                  <a:cubicBezTo>
                    <a:pt x="3414" y="6833"/>
                    <a:pt x="3414" y="6794"/>
                    <a:pt x="3414" y="6873"/>
                  </a:cubicBezTo>
                  <a:cubicBezTo>
                    <a:pt x="3414" y="6912"/>
                    <a:pt x="3414" y="6951"/>
                    <a:pt x="3414" y="6951"/>
                  </a:cubicBezTo>
                  <a:cubicBezTo>
                    <a:pt x="3414" y="6951"/>
                    <a:pt x="3340" y="7030"/>
                    <a:pt x="3266" y="6991"/>
                  </a:cubicBezTo>
                  <a:cubicBezTo>
                    <a:pt x="3192" y="6951"/>
                    <a:pt x="3192" y="6912"/>
                    <a:pt x="3192" y="6912"/>
                  </a:cubicBezTo>
                  <a:cubicBezTo>
                    <a:pt x="3340" y="6833"/>
                    <a:pt x="3340" y="6833"/>
                    <a:pt x="3340" y="6833"/>
                  </a:cubicBezTo>
                  <a:close/>
                  <a:moveTo>
                    <a:pt x="3934" y="6441"/>
                  </a:moveTo>
                  <a:cubicBezTo>
                    <a:pt x="3934" y="6441"/>
                    <a:pt x="3934" y="6441"/>
                    <a:pt x="3934" y="6441"/>
                  </a:cubicBezTo>
                  <a:cubicBezTo>
                    <a:pt x="4008" y="6480"/>
                    <a:pt x="4157" y="6559"/>
                    <a:pt x="4157" y="6559"/>
                  </a:cubicBezTo>
                  <a:cubicBezTo>
                    <a:pt x="3934" y="6676"/>
                    <a:pt x="3934" y="6676"/>
                    <a:pt x="3934" y="6676"/>
                  </a:cubicBezTo>
                  <a:cubicBezTo>
                    <a:pt x="3934" y="6676"/>
                    <a:pt x="3711" y="6716"/>
                    <a:pt x="3711" y="6755"/>
                  </a:cubicBezTo>
                  <a:cubicBezTo>
                    <a:pt x="3637" y="6755"/>
                    <a:pt x="3786" y="6873"/>
                    <a:pt x="3637" y="6833"/>
                  </a:cubicBezTo>
                  <a:cubicBezTo>
                    <a:pt x="3489" y="6794"/>
                    <a:pt x="3414" y="6716"/>
                    <a:pt x="3489" y="6716"/>
                  </a:cubicBezTo>
                  <a:cubicBezTo>
                    <a:pt x="3563" y="6676"/>
                    <a:pt x="3563" y="6676"/>
                    <a:pt x="3637" y="6637"/>
                  </a:cubicBezTo>
                  <a:cubicBezTo>
                    <a:pt x="3711" y="6598"/>
                    <a:pt x="3860" y="6480"/>
                    <a:pt x="3860" y="6480"/>
                  </a:cubicBezTo>
                  <a:cubicBezTo>
                    <a:pt x="3934" y="6441"/>
                    <a:pt x="3934" y="6441"/>
                    <a:pt x="3934" y="6441"/>
                  </a:cubicBezTo>
                  <a:close/>
                  <a:moveTo>
                    <a:pt x="4305" y="5891"/>
                  </a:moveTo>
                  <a:cubicBezTo>
                    <a:pt x="4305" y="5891"/>
                    <a:pt x="4305" y="5891"/>
                    <a:pt x="4305" y="5891"/>
                  </a:cubicBezTo>
                  <a:cubicBezTo>
                    <a:pt x="4305" y="5891"/>
                    <a:pt x="4454" y="5891"/>
                    <a:pt x="4528" y="5930"/>
                  </a:cubicBezTo>
                  <a:cubicBezTo>
                    <a:pt x="4528" y="5930"/>
                    <a:pt x="4602" y="6048"/>
                    <a:pt x="4602" y="6048"/>
                  </a:cubicBezTo>
                  <a:cubicBezTo>
                    <a:pt x="4602" y="6048"/>
                    <a:pt x="4676" y="6087"/>
                    <a:pt x="4602" y="6127"/>
                  </a:cubicBezTo>
                  <a:cubicBezTo>
                    <a:pt x="4528" y="6166"/>
                    <a:pt x="4379" y="6205"/>
                    <a:pt x="4379" y="6205"/>
                  </a:cubicBezTo>
                  <a:cubicBezTo>
                    <a:pt x="4379" y="6401"/>
                    <a:pt x="4379" y="6401"/>
                    <a:pt x="4379" y="6401"/>
                  </a:cubicBezTo>
                  <a:cubicBezTo>
                    <a:pt x="4305" y="6480"/>
                    <a:pt x="4305" y="6480"/>
                    <a:pt x="4305" y="6480"/>
                  </a:cubicBezTo>
                  <a:cubicBezTo>
                    <a:pt x="4082" y="6441"/>
                    <a:pt x="4082" y="6441"/>
                    <a:pt x="4082" y="6441"/>
                  </a:cubicBezTo>
                  <a:cubicBezTo>
                    <a:pt x="4082" y="6205"/>
                    <a:pt x="4082" y="6205"/>
                    <a:pt x="4082" y="6205"/>
                  </a:cubicBezTo>
                  <a:cubicBezTo>
                    <a:pt x="4008" y="6087"/>
                    <a:pt x="4008" y="6087"/>
                    <a:pt x="4008" y="6087"/>
                  </a:cubicBezTo>
                  <a:cubicBezTo>
                    <a:pt x="4231" y="5969"/>
                    <a:pt x="4231" y="5969"/>
                    <a:pt x="4231" y="5969"/>
                  </a:cubicBezTo>
                  <a:cubicBezTo>
                    <a:pt x="4305" y="5891"/>
                    <a:pt x="4305" y="5891"/>
                    <a:pt x="4305" y="5891"/>
                  </a:cubicBezTo>
                  <a:close/>
                  <a:moveTo>
                    <a:pt x="4454" y="5577"/>
                  </a:moveTo>
                  <a:cubicBezTo>
                    <a:pt x="4454" y="5577"/>
                    <a:pt x="4454" y="5577"/>
                    <a:pt x="4454" y="5577"/>
                  </a:cubicBezTo>
                  <a:cubicBezTo>
                    <a:pt x="4454" y="5577"/>
                    <a:pt x="4602" y="5537"/>
                    <a:pt x="4676" y="5577"/>
                  </a:cubicBezTo>
                  <a:cubicBezTo>
                    <a:pt x="4751" y="5616"/>
                    <a:pt x="4751" y="5537"/>
                    <a:pt x="4825" y="5616"/>
                  </a:cubicBezTo>
                  <a:cubicBezTo>
                    <a:pt x="4899" y="5695"/>
                    <a:pt x="4973" y="5695"/>
                    <a:pt x="4899" y="5734"/>
                  </a:cubicBezTo>
                  <a:cubicBezTo>
                    <a:pt x="4899" y="5773"/>
                    <a:pt x="4899" y="5812"/>
                    <a:pt x="4825" y="5852"/>
                  </a:cubicBezTo>
                  <a:cubicBezTo>
                    <a:pt x="4751" y="5891"/>
                    <a:pt x="4825" y="5930"/>
                    <a:pt x="4676" y="5891"/>
                  </a:cubicBezTo>
                  <a:cubicBezTo>
                    <a:pt x="4528" y="5852"/>
                    <a:pt x="4528" y="5852"/>
                    <a:pt x="4454" y="5812"/>
                  </a:cubicBezTo>
                  <a:cubicBezTo>
                    <a:pt x="4379" y="5773"/>
                    <a:pt x="4379" y="5773"/>
                    <a:pt x="4379" y="5773"/>
                  </a:cubicBezTo>
                  <a:cubicBezTo>
                    <a:pt x="4454" y="5577"/>
                    <a:pt x="4454" y="5577"/>
                    <a:pt x="4454" y="5577"/>
                  </a:cubicBezTo>
                  <a:close/>
                  <a:moveTo>
                    <a:pt x="5122" y="5184"/>
                  </a:moveTo>
                  <a:cubicBezTo>
                    <a:pt x="5122" y="5184"/>
                    <a:pt x="5122" y="5184"/>
                    <a:pt x="5122" y="5184"/>
                  </a:cubicBezTo>
                  <a:cubicBezTo>
                    <a:pt x="5122" y="5184"/>
                    <a:pt x="5196" y="5145"/>
                    <a:pt x="5122" y="5223"/>
                  </a:cubicBezTo>
                  <a:cubicBezTo>
                    <a:pt x="4973" y="5341"/>
                    <a:pt x="4973" y="5380"/>
                    <a:pt x="5047" y="5380"/>
                  </a:cubicBezTo>
                  <a:cubicBezTo>
                    <a:pt x="5047" y="5380"/>
                    <a:pt x="5122" y="5380"/>
                    <a:pt x="5122" y="5380"/>
                  </a:cubicBezTo>
                  <a:cubicBezTo>
                    <a:pt x="5122" y="5537"/>
                    <a:pt x="5122" y="5537"/>
                    <a:pt x="5122" y="5537"/>
                  </a:cubicBezTo>
                  <a:cubicBezTo>
                    <a:pt x="5122" y="5537"/>
                    <a:pt x="5122" y="5577"/>
                    <a:pt x="4899" y="5537"/>
                  </a:cubicBezTo>
                  <a:cubicBezTo>
                    <a:pt x="4676" y="5537"/>
                    <a:pt x="4528" y="5498"/>
                    <a:pt x="4528" y="5498"/>
                  </a:cubicBezTo>
                  <a:cubicBezTo>
                    <a:pt x="4305" y="5380"/>
                    <a:pt x="4305" y="5380"/>
                    <a:pt x="4305" y="5380"/>
                  </a:cubicBezTo>
                  <a:cubicBezTo>
                    <a:pt x="4305" y="5380"/>
                    <a:pt x="4231" y="5341"/>
                    <a:pt x="4379" y="5263"/>
                  </a:cubicBezTo>
                  <a:cubicBezTo>
                    <a:pt x="4454" y="5184"/>
                    <a:pt x="4676" y="5223"/>
                    <a:pt x="4676" y="5223"/>
                  </a:cubicBezTo>
                  <a:cubicBezTo>
                    <a:pt x="4676" y="5223"/>
                    <a:pt x="4751" y="5302"/>
                    <a:pt x="4825" y="5223"/>
                  </a:cubicBezTo>
                  <a:cubicBezTo>
                    <a:pt x="4899" y="5145"/>
                    <a:pt x="4899" y="5066"/>
                    <a:pt x="4973" y="5105"/>
                  </a:cubicBezTo>
                  <a:cubicBezTo>
                    <a:pt x="5047" y="5145"/>
                    <a:pt x="5122" y="5184"/>
                    <a:pt x="5122" y="5184"/>
                  </a:cubicBezTo>
                  <a:close/>
                  <a:moveTo>
                    <a:pt x="5715" y="4752"/>
                  </a:moveTo>
                  <a:cubicBezTo>
                    <a:pt x="5715" y="4752"/>
                    <a:pt x="5715" y="4752"/>
                    <a:pt x="5715" y="4752"/>
                  </a:cubicBezTo>
                  <a:cubicBezTo>
                    <a:pt x="5641" y="4713"/>
                    <a:pt x="5641" y="4634"/>
                    <a:pt x="5641" y="4634"/>
                  </a:cubicBezTo>
                  <a:cubicBezTo>
                    <a:pt x="5715" y="4556"/>
                    <a:pt x="5715" y="4556"/>
                    <a:pt x="5715" y="4556"/>
                  </a:cubicBezTo>
                  <a:cubicBezTo>
                    <a:pt x="5715" y="4556"/>
                    <a:pt x="5567" y="4477"/>
                    <a:pt x="5567" y="4438"/>
                  </a:cubicBezTo>
                  <a:cubicBezTo>
                    <a:pt x="5567" y="4399"/>
                    <a:pt x="5567" y="4320"/>
                    <a:pt x="5715" y="4281"/>
                  </a:cubicBezTo>
                  <a:cubicBezTo>
                    <a:pt x="5790" y="4241"/>
                    <a:pt x="5864" y="4163"/>
                    <a:pt x="5938" y="4163"/>
                  </a:cubicBezTo>
                  <a:cubicBezTo>
                    <a:pt x="5938" y="4202"/>
                    <a:pt x="5938" y="4202"/>
                    <a:pt x="6012" y="4281"/>
                  </a:cubicBezTo>
                  <a:cubicBezTo>
                    <a:pt x="6087" y="4320"/>
                    <a:pt x="6087" y="4399"/>
                    <a:pt x="6161" y="4359"/>
                  </a:cubicBezTo>
                  <a:cubicBezTo>
                    <a:pt x="6235" y="4320"/>
                    <a:pt x="6235" y="4281"/>
                    <a:pt x="6309" y="4241"/>
                  </a:cubicBezTo>
                  <a:cubicBezTo>
                    <a:pt x="6384" y="4202"/>
                    <a:pt x="6458" y="4084"/>
                    <a:pt x="6458" y="4084"/>
                  </a:cubicBezTo>
                  <a:cubicBezTo>
                    <a:pt x="6458" y="4084"/>
                    <a:pt x="6606" y="4124"/>
                    <a:pt x="6680" y="4084"/>
                  </a:cubicBezTo>
                  <a:cubicBezTo>
                    <a:pt x="6829" y="4045"/>
                    <a:pt x="6680" y="4045"/>
                    <a:pt x="6903" y="4006"/>
                  </a:cubicBezTo>
                  <a:cubicBezTo>
                    <a:pt x="7126" y="4006"/>
                    <a:pt x="7200" y="4006"/>
                    <a:pt x="7274" y="3927"/>
                  </a:cubicBezTo>
                  <a:cubicBezTo>
                    <a:pt x="7348" y="3888"/>
                    <a:pt x="7348" y="3927"/>
                    <a:pt x="7423" y="3888"/>
                  </a:cubicBezTo>
                  <a:cubicBezTo>
                    <a:pt x="7497" y="3849"/>
                    <a:pt x="7571" y="3809"/>
                    <a:pt x="7645" y="3809"/>
                  </a:cubicBezTo>
                  <a:cubicBezTo>
                    <a:pt x="7720" y="3849"/>
                    <a:pt x="7794" y="3888"/>
                    <a:pt x="7794" y="3927"/>
                  </a:cubicBezTo>
                  <a:cubicBezTo>
                    <a:pt x="7794" y="3967"/>
                    <a:pt x="7868" y="4045"/>
                    <a:pt x="7794" y="4084"/>
                  </a:cubicBezTo>
                  <a:cubicBezTo>
                    <a:pt x="7720" y="4124"/>
                    <a:pt x="7720" y="4163"/>
                    <a:pt x="7645" y="4163"/>
                  </a:cubicBezTo>
                  <a:cubicBezTo>
                    <a:pt x="7571" y="4202"/>
                    <a:pt x="7348" y="4281"/>
                    <a:pt x="7348" y="4281"/>
                  </a:cubicBezTo>
                  <a:cubicBezTo>
                    <a:pt x="7348" y="4281"/>
                    <a:pt x="7348" y="4359"/>
                    <a:pt x="7423" y="4359"/>
                  </a:cubicBezTo>
                  <a:cubicBezTo>
                    <a:pt x="7497" y="4359"/>
                    <a:pt x="7645" y="4241"/>
                    <a:pt x="7645" y="4320"/>
                  </a:cubicBezTo>
                  <a:cubicBezTo>
                    <a:pt x="7571" y="4399"/>
                    <a:pt x="7794" y="4438"/>
                    <a:pt x="7571" y="4477"/>
                  </a:cubicBezTo>
                  <a:cubicBezTo>
                    <a:pt x="7423" y="4477"/>
                    <a:pt x="7274" y="4438"/>
                    <a:pt x="7274" y="4438"/>
                  </a:cubicBezTo>
                  <a:cubicBezTo>
                    <a:pt x="7126" y="4556"/>
                    <a:pt x="7126" y="4556"/>
                    <a:pt x="7126" y="4556"/>
                  </a:cubicBezTo>
                  <a:cubicBezTo>
                    <a:pt x="7126" y="4556"/>
                    <a:pt x="6977" y="4516"/>
                    <a:pt x="6977" y="4556"/>
                  </a:cubicBezTo>
                  <a:cubicBezTo>
                    <a:pt x="6977" y="4595"/>
                    <a:pt x="7052" y="4673"/>
                    <a:pt x="7052" y="4673"/>
                  </a:cubicBezTo>
                  <a:cubicBezTo>
                    <a:pt x="6903" y="4752"/>
                    <a:pt x="6903" y="4752"/>
                    <a:pt x="6903" y="4752"/>
                  </a:cubicBezTo>
                  <a:cubicBezTo>
                    <a:pt x="6903" y="4752"/>
                    <a:pt x="6680" y="4713"/>
                    <a:pt x="6680" y="4752"/>
                  </a:cubicBezTo>
                  <a:cubicBezTo>
                    <a:pt x="6755" y="4791"/>
                    <a:pt x="6829" y="4870"/>
                    <a:pt x="6829" y="4870"/>
                  </a:cubicBezTo>
                  <a:cubicBezTo>
                    <a:pt x="6829" y="4870"/>
                    <a:pt x="6829" y="4948"/>
                    <a:pt x="6680" y="4948"/>
                  </a:cubicBezTo>
                  <a:cubicBezTo>
                    <a:pt x="6532" y="4948"/>
                    <a:pt x="6384" y="4948"/>
                    <a:pt x="6309" y="4948"/>
                  </a:cubicBezTo>
                  <a:cubicBezTo>
                    <a:pt x="6235" y="4909"/>
                    <a:pt x="6235" y="4909"/>
                    <a:pt x="6235" y="4909"/>
                  </a:cubicBezTo>
                  <a:cubicBezTo>
                    <a:pt x="6161" y="5027"/>
                    <a:pt x="6161" y="5027"/>
                    <a:pt x="6161" y="5027"/>
                  </a:cubicBezTo>
                  <a:cubicBezTo>
                    <a:pt x="6161" y="5027"/>
                    <a:pt x="6235" y="5066"/>
                    <a:pt x="6161" y="5105"/>
                  </a:cubicBezTo>
                  <a:cubicBezTo>
                    <a:pt x="6087" y="5145"/>
                    <a:pt x="5864" y="5145"/>
                    <a:pt x="5864" y="5145"/>
                  </a:cubicBezTo>
                  <a:cubicBezTo>
                    <a:pt x="5864" y="5145"/>
                    <a:pt x="5790" y="5145"/>
                    <a:pt x="5790" y="5145"/>
                  </a:cubicBezTo>
                  <a:cubicBezTo>
                    <a:pt x="5790" y="5184"/>
                    <a:pt x="5715" y="5263"/>
                    <a:pt x="5641" y="5263"/>
                  </a:cubicBezTo>
                  <a:cubicBezTo>
                    <a:pt x="5567" y="5223"/>
                    <a:pt x="5419" y="5184"/>
                    <a:pt x="5344" y="5145"/>
                  </a:cubicBezTo>
                  <a:cubicBezTo>
                    <a:pt x="5344" y="5105"/>
                    <a:pt x="5270" y="4948"/>
                    <a:pt x="5419" y="4988"/>
                  </a:cubicBezTo>
                  <a:cubicBezTo>
                    <a:pt x="5567" y="4988"/>
                    <a:pt x="5715" y="5027"/>
                    <a:pt x="5715" y="4948"/>
                  </a:cubicBezTo>
                  <a:cubicBezTo>
                    <a:pt x="5715" y="4870"/>
                    <a:pt x="5641" y="4831"/>
                    <a:pt x="5641" y="4831"/>
                  </a:cubicBezTo>
                  <a:cubicBezTo>
                    <a:pt x="5715" y="4752"/>
                    <a:pt x="5715" y="4752"/>
                    <a:pt x="5715" y="4752"/>
                  </a:cubicBezTo>
                  <a:close/>
                  <a:moveTo>
                    <a:pt x="19819" y="589"/>
                  </a:moveTo>
                  <a:cubicBezTo>
                    <a:pt x="19819" y="589"/>
                    <a:pt x="19819" y="589"/>
                    <a:pt x="19819" y="589"/>
                  </a:cubicBezTo>
                  <a:cubicBezTo>
                    <a:pt x="19893" y="589"/>
                    <a:pt x="20115" y="628"/>
                    <a:pt x="20115" y="589"/>
                  </a:cubicBezTo>
                  <a:cubicBezTo>
                    <a:pt x="20115" y="589"/>
                    <a:pt x="20190" y="511"/>
                    <a:pt x="20190" y="511"/>
                  </a:cubicBezTo>
                  <a:cubicBezTo>
                    <a:pt x="20115" y="471"/>
                    <a:pt x="20041" y="432"/>
                    <a:pt x="19967" y="471"/>
                  </a:cubicBezTo>
                  <a:cubicBezTo>
                    <a:pt x="19893" y="471"/>
                    <a:pt x="19819" y="511"/>
                    <a:pt x="19819" y="511"/>
                  </a:cubicBezTo>
                  <a:cubicBezTo>
                    <a:pt x="19819" y="550"/>
                    <a:pt x="19819" y="589"/>
                    <a:pt x="19819" y="589"/>
                  </a:cubicBezTo>
                  <a:close/>
                  <a:moveTo>
                    <a:pt x="17443" y="1257"/>
                  </a:moveTo>
                  <a:cubicBezTo>
                    <a:pt x="17443" y="1257"/>
                    <a:pt x="17443" y="1257"/>
                    <a:pt x="17443" y="1257"/>
                  </a:cubicBezTo>
                  <a:cubicBezTo>
                    <a:pt x="17518" y="1257"/>
                    <a:pt x="17592" y="1178"/>
                    <a:pt x="17592" y="1217"/>
                  </a:cubicBezTo>
                  <a:cubicBezTo>
                    <a:pt x="17592" y="1296"/>
                    <a:pt x="17666" y="1296"/>
                    <a:pt x="17592" y="1335"/>
                  </a:cubicBezTo>
                  <a:cubicBezTo>
                    <a:pt x="17518" y="1335"/>
                    <a:pt x="17369" y="1414"/>
                    <a:pt x="17295" y="1375"/>
                  </a:cubicBezTo>
                  <a:cubicBezTo>
                    <a:pt x="17295" y="1375"/>
                    <a:pt x="17369" y="1217"/>
                    <a:pt x="17369" y="1217"/>
                  </a:cubicBezTo>
                  <a:cubicBezTo>
                    <a:pt x="17443" y="1257"/>
                    <a:pt x="17443" y="1257"/>
                    <a:pt x="17443" y="1257"/>
                  </a:cubicBezTo>
                  <a:close/>
                  <a:moveTo>
                    <a:pt x="18854" y="1335"/>
                  </a:moveTo>
                  <a:cubicBezTo>
                    <a:pt x="18854" y="1335"/>
                    <a:pt x="18854" y="1335"/>
                    <a:pt x="18854" y="1335"/>
                  </a:cubicBezTo>
                  <a:cubicBezTo>
                    <a:pt x="18854" y="1335"/>
                    <a:pt x="18854" y="1375"/>
                    <a:pt x="18705" y="1335"/>
                  </a:cubicBezTo>
                  <a:cubicBezTo>
                    <a:pt x="18482" y="1335"/>
                    <a:pt x="18408" y="1375"/>
                    <a:pt x="18408" y="1296"/>
                  </a:cubicBezTo>
                  <a:cubicBezTo>
                    <a:pt x="18408" y="1257"/>
                    <a:pt x="18482" y="1217"/>
                    <a:pt x="18334" y="1178"/>
                  </a:cubicBezTo>
                  <a:cubicBezTo>
                    <a:pt x="18186" y="1178"/>
                    <a:pt x="18186" y="1178"/>
                    <a:pt x="18186" y="1178"/>
                  </a:cubicBezTo>
                  <a:cubicBezTo>
                    <a:pt x="18186" y="1178"/>
                    <a:pt x="18111" y="1100"/>
                    <a:pt x="18186" y="1060"/>
                  </a:cubicBezTo>
                  <a:cubicBezTo>
                    <a:pt x="18334" y="982"/>
                    <a:pt x="18334" y="1021"/>
                    <a:pt x="18408" y="1021"/>
                  </a:cubicBezTo>
                  <a:cubicBezTo>
                    <a:pt x="18557" y="1021"/>
                    <a:pt x="18482" y="1021"/>
                    <a:pt x="18631" y="1060"/>
                  </a:cubicBezTo>
                  <a:cubicBezTo>
                    <a:pt x="18779" y="1060"/>
                    <a:pt x="18854" y="1100"/>
                    <a:pt x="18854" y="1021"/>
                  </a:cubicBezTo>
                  <a:cubicBezTo>
                    <a:pt x="18854" y="982"/>
                    <a:pt x="18928" y="982"/>
                    <a:pt x="18779" y="903"/>
                  </a:cubicBezTo>
                  <a:cubicBezTo>
                    <a:pt x="18705" y="825"/>
                    <a:pt x="18705" y="864"/>
                    <a:pt x="18631" y="825"/>
                  </a:cubicBezTo>
                  <a:cubicBezTo>
                    <a:pt x="18557" y="746"/>
                    <a:pt x="18408" y="668"/>
                    <a:pt x="18482" y="628"/>
                  </a:cubicBezTo>
                  <a:cubicBezTo>
                    <a:pt x="18482" y="589"/>
                    <a:pt x="18408" y="589"/>
                    <a:pt x="18557" y="511"/>
                  </a:cubicBezTo>
                  <a:cubicBezTo>
                    <a:pt x="18779" y="471"/>
                    <a:pt x="18928" y="393"/>
                    <a:pt x="19002" y="393"/>
                  </a:cubicBezTo>
                  <a:cubicBezTo>
                    <a:pt x="19076" y="393"/>
                    <a:pt x="19151" y="393"/>
                    <a:pt x="19151" y="432"/>
                  </a:cubicBezTo>
                  <a:cubicBezTo>
                    <a:pt x="19151" y="511"/>
                    <a:pt x="19151" y="550"/>
                    <a:pt x="19076" y="589"/>
                  </a:cubicBezTo>
                  <a:cubicBezTo>
                    <a:pt x="19002" y="589"/>
                    <a:pt x="19002" y="628"/>
                    <a:pt x="19002" y="628"/>
                  </a:cubicBezTo>
                  <a:cubicBezTo>
                    <a:pt x="19002" y="628"/>
                    <a:pt x="18928" y="746"/>
                    <a:pt x="19076" y="746"/>
                  </a:cubicBezTo>
                  <a:cubicBezTo>
                    <a:pt x="19225" y="707"/>
                    <a:pt x="19299" y="628"/>
                    <a:pt x="19299" y="589"/>
                  </a:cubicBezTo>
                  <a:cubicBezTo>
                    <a:pt x="19373" y="550"/>
                    <a:pt x="19447" y="589"/>
                    <a:pt x="19373" y="511"/>
                  </a:cubicBezTo>
                  <a:cubicBezTo>
                    <a:pt x="19373" y="432"/>
                    <a:pt x="19299" y="393"/>
                    <a:pt x="19373" y="393"/>
                  </a:cubicBezTo>
                  <a:cubicBezTo>
                    <a:pt x="19447" y="393"/>
                    <a:pt x="19522" y="471"/>
                    <a:pt x="19596" y="393"/>
                  </a:cubicBezTo>
                  <a:cubicBezTo>
                    <a:pt x="19744" y="275"/>
                    <a:pt x="19744" y="236"/>
                    <a:pt x="19744" y="236"/>
                  </a:cubicBezTo>
                  <a:cubicBezTo>
                    <a:pt x="19744" y="236"/>
                    <a:pt x="19670" y="236"/>
                    <a:pt x="19819" y="196"/>
                  </a:cubicBezTo>
                  <a:cubicBezTo>
                    <a:pt x="19967" y="157"/>
                    <a:pt x="19893" y="118"/>
                    <a:pt x="19967" y="79"/>
                  </a:cubicBezTo>
                  <a:cubicBezTo>
                    <a:pt x="20041" y="39"/>
                    <a:pt x="19893" y="0"/>
                    <a:pt x="20115" y="0"/>
                  </a:cubicBezTo>
                  <a:cubicBezTo>
                    <a:pt x="20264" y="39"/>
                    <a:pt x="20264" y="39"/>
                    <a:pt x="20338" y="79"/>
                  </a:cubicBezTo>
                  <a:cubicBezTo>
                    <a:pt x="20412" y="79"/>
                    <a:pt x="20264" y="236"/>
                    <a:pt x="20190" y="236"/>
                  </a:cubicBezTo>
                  <a:cubicBezTo>
                    <a:pt x="20115" y="236"/>
                    <a:pt x="20115" y="196"/>
                    <a:pt x="19967" y="236"/>
                  </a:cubicBezTo>
                  <a:cubicBezTo>
                    <a:pt x="19893" y="275"/>
                    <a:pt x="20041" y="353"/>
                    <a:pt x="19967" y="393"/>
                  </a:cubicBezTo>
                  <a:cubicBezTo>
                    <a:pt x="19893" y="432"/>
                    <a:pt x="19819" y="393"/>
                    <a:pt x="19744" y="432"/>
                  </a:cubicBezTo>
                  <a:cubicBezTo>
                    <a:pt x="19670" y="471"/>
                    <a:pt x="19670" y="471"/>
                    <a:pt x="19670" y="511"/>
                  </a:cubicBezTo>
                  <a:cubicBezTo>
                    <a:pt x="19670" y="550"/>
                    <a:pt x="19596" y="589"/>
                    <a:pt x="19522" y="628"/>
                  </a:cubicBezTo>
                  <a:cubicBezTo>
                    <a:pt x="19522" y="628"/>
                    <a:pt x="19299" y="550"/>
                    <a:pt x="19522" y="628"/>
                  </a:cubicBezTo>
                  <a:cubicBezTo>
                    <a:pt x="19744" y="707"/>
                    <a:pt x="19819" y="707"/>
                    <a:pt x="19744" y="746"/>
                  </a:cubicBezTo>
                  <a:cubicBezTo>
                    <a:pt x="19670" y="746"/>
                    <a:pt x="19522" y="746"/>
                    <a:pt x="19447" y="785"/>
                  </a:cubicBezTo>
                  <a:cubicBezTo>
                    <a:pt x="19373" y="785"/>
                    <a:pt x="19299" y="825"/>
                    <a:pt x="19447" y="864"/>
                  </a:cubicBezTo>
                  <a:cubicBezTo>
                    <a:pt x="19596" y="903"/>
                    <a:pt x="19522" y="903"/>
                    <a:pt x="19596" y="903"/>
                  </a:cubicBezTo>
                  <a:cubicBezTo>
                    <a:pt x="19670" y="864"/>
                    <a:pt x="20041" y="864"/>
                    <a:pt x="20041" y="903"/>
                  </a:cubicBezTo>
                  <a:cubicBezTo>
                    <a:pt x="19967" y="982"/>
                    <a:pt x="20041" y="982"/>
                    <a:pt x="19893" y="1021"/>
                  </a:cubicBezTo>
                  <a:cubicBezTo>
                    <a:pt x="19670" y="1060"/>
                    <a:pt x="19522" y="1021"/>
                    <a:pt x="19447" y="982"/>
                  </a:cubicBezTo>
                  <a:cubicBezTo>
                    <a:pt x="19373" y="982"/>
                    <a:pt x="19373" y="903"/>
                    <a:pt x="19373" y="1021"/>
                  </a:cubicBezTo>
                  <a:cubicBezTo>
                    <a:pt x="19447" y="1139"/>
                    <a:pt x="19596" y="1139"/>
                    <a:pt x="19522" y="1139"/>
                  </a:cubicBezTo>
                  <a:cubicBezTo>
                    <a:pt x="19373" y="1139"/>
                    <a:pt x="19225" y="1139"/>
                    <a:pt x="19225" y="1139"/>
                  </a:cubicBezTo>
                  <a:cubicBezTo>
                    <a:pt x="19225" y="1139"/>
                    <a:pt x="19151" y="1060"/>
                    <a:pt x="19225" y="1178"/>
                  </a:cubicBezTo>
                  <a:cubicBezTo>
                    <a:pt x="19299" y="1296"/>
                    <a:pt x="19299" y="1296"/>
                    <a:pt x="19299" y="1296"/>
                  </a:cubicBezTo>
                  <a:cubicBezTo>
                    <a:pt x="19299" y="1296"/>
                    <a:pt x="19151" y="1335"/>
                    <a:pt x="19151" y="1335"/>
                  </a:cubicBezTo>
                  <a:cubicBezTo>
                    <a:pt x="19151" y="1375"/>
                    <a:pt x="19225" y="1453"/>
                    <a:pt x="19299" y="1492"/>
                  </a:cubicBezTo>
                  <a:cubicBezTo>
                    <a:pt x="19299" y="1492"/>
                    <a:pt x="19225" y="1649"/>
                    <a:pt x="19151" y="1649"/>
                  </a:cubicBezTo>
                  <a:cubicBezTo>
                    <a:pt x="19151" y="1649"/>
                    <a:pt x="19151" y="1689"/>
                    <a:pt x="19076" y="1728"/>
                  </a:cubicBezTo>
                  <a:cubicBezTo>
                    <a:pt x="19002" y="1767"/>
                    <a:pt x="18928" y="1807"/>
                    <a:pt x="18928" y="1807"/>
                  </a:cubicBezTo>
                  <a:cubicBezTo>
                    <a:pt x="18779" y="2042"/>
                    <a:pt x="18779" y="2042"/>
                    <a:pt x="18779" y="2042"/>
                  </a:cubicBezTo>
                  <a:cubicBezTo>
                    <a:pt x="18779" y="2042"/>
                    <a:pt x="18705" y="2121"/>
                    <a:pt x="18631" y="2042"/>
                  </a:cubicBezTo>
                  <a:cubicBezTo>
                    <a:pt x="18631" y="1964"/>
                    <a:pt x="18557" y="1964"/>
                    <a:pt x="18631" y="1924"/>
                  </a:cubicBezTo>
                  <a:cubicBezTo>
                    <a:pt x="18705" y="1924"/>
                    <a:pt x="18705" y="1846"/>
                    <a:pt x="18779" y="1807"/>
                  </a:cubicBezTo>
                  <a:cubicBezTo>
                    <a:pt x="18779" y="1767"/>
                    <a:pt x="18854" y="1610"/>
                    <a:pt x="18854" y="1610"/>
                  </a:cubicBezTo>
                  <a:cubicBezTo>
                    <a:pt x="18854" y="1610"/>
                    <a:pt x="19002" y="1610"/>
                    <a:pt x="19076" y="1571"/>
                  </a:cubicBezTo>
                  <a:cubicBezTo>
                    <a:pt x="19076" y="1571"/>
                    <a:pt x="18928" y="1414"/>
                    <a:pt x="18928" y="1414"/>
                  </a:cubicBezTo>
                  <a:cubicBezTo>
                    <a:pt x="19002" y="1335"/>
                    <a:pt x="19002" y="1335"/>
                    <a:pt x="19002" y="1335"/>
                  </a:cubicBezTo>
                  <a:cubicBezTo>
                    <a:pt x="18854" y="1335"/>
                    <a:pt x="18854" y="1335"/>
                    <a:pt x="18854" y="1335"/>
                  </a:cubicBezTo>
                  <a:close/>
                  <a:moveTo>
                    <a:pt x="17740" y="2631"/>
                  </a:moveTo>
                  <a:cubicBezTo>
                    <a:pt x="17740" y="2631"/>
                    <a:pt x="17740" y="2631"/>
                    <a:pt x="17740" y="2631"/>
                  </a:cubicBezTo>
                  <a:cubicBezTo>
                    <a:pt x="17740" y="2631"/>
                    <a:pt x="17963" y="2474"/>
                    <a:pt x="18037" y="2513"/>
                  </a:cubicBezTo>
                  <a:cubicBezTo>
                    <a:pt x="18037" y="2513"/>
                    <a:pt x="18037" y="2553"/>
                    <a:pt x="18037" y="2592"/>
                  </a:cubicBezTo>
                  <a:cubicBezTo>
                    <a:pt x="18037" y="2592"/>
                    <a:pt x="18111" y="2671"/>
                    <a:pt x="18037" y="2671"/>
                  </a:cubicBezTo>
                  <a:cubicBezTo>
                    <a:pt x="17963" y="2671"/>
                    <a:pt x="17889" y="2671"/>
                    <a:pt x="17814" y="2671"/>
                  </a:cubicBezTo>
                  <a:cubicBezTo>
                    <a:pt x="17814" y="2671"/>
                    <a:pt x="17740" y="2631"/>
                    <a:pt x="17740" y="2631"/>
                  </a:cubicBezTo>
                  <a:close/>
                  <a:moveTo>
                    <a:pt x="14548" y="3849"/>
                  </a:moveTo>
                  <a:cubicBezTo>
                    <a:pt x="14548" y="3849"/>
                    <a:pt x="14548" y="3849"/>
                    <a:pt x="14548" y="3849"/>
                  </a:cubicBezTo>
                  <a:cubicBezTo>
                    <a:pt x="14697" y="3770"/>
                    <a:pt x="14697" y="3770"/>
                    <a:pt x="14697" y="3770"/>
                  </a:cubicBezTo>
                  <a:cubicBezTo>
                    <a:pt x="14920" y="3809"/>
                    <a:pt x="14920" y="3809"/>
                    <a:pt x="14920" y="3809"/>
                  </a:cubicBezTo>
                  <a:cubicBezTo>
                    <a:pt x="14920" y="3809"/>
                    <a:pt x="14994" y="3731"/>
                    <a:pt x="14994" y="3809"/>
                  </a:cubicBezTo>
                  <a:cubicBezTo>
                    <a:pt x="14920" y="3888"/>
                    <a:pt x="14771" y="4006"/>
                    <a:pt x="14771" y="4006"/>
                  </a:cubicBezTo>
                  <a:cubicBezTo>
                    <a:pt x="14771" y="4006"/>
                    <a:pt x="14845" y="4006"/>
                    <a:pt x="14697" y="4045"/>
                  </a:cubicBezTo>
                  <a:cubicBezTo>
                    <a:pt x="14548" y="4084"/>
                    <a:pt x="14548" y="4124"/>
                    <a:pt x="14474" y="4045"/>
                  </a:cubicBezTo>
                  <a:cubicBezTo>
                    <a:pt x="14400" y="4006"/>
                    <a:pt x="14326" y="4006"/>
                    <a:pt x="14326" y="3967"/>
                  </a:cubicBezTo>
                  <a:cubicBezTo>
                    <a:pt x="14400" y="3927"/>
                    <a:pt x="14400" y="3849"/>
                    <a:pt x="14400" y="3849"/>
                  </a:cubicBezTo>
                  <a:cubicBezTo>
                    <a:pt x="14548" y="3849"/>
                    <a:pt x="14548" y="3849"/>
                    <a:pt x="14548" y="3849"/>
                  </a:cubicBezTo>
                  <a:close/>
                  <a:moveTo>
                    <a:pt x="16107" y="2828"/>
                  </a:moveTo>
                  <a:cubicBezTo>
                    <a:pt x="16107" y="2828"/>
                    <a:pt x="16107" y="2828"/>
                    <a:pt x="16107" y="2828"/>
                  </a:cubicBezTo>
                  <a:cubicBezTo>
                    <a:pt x="16107" y="2828"/>
                    <a:pt x="16181" y="2749"/>
                    <a:pt x="16256" y="2749"/>
                  </a:cubicBezTo>
                  <a:cubicBezTo>
                    <a:pt x="16330" y="2788"/>
                    <a:pt x="16404" y="2788"/>
                    <a:pt x="16404" y="2828"/>
                  </a:cubicBezTo>
                  <a:cubicBezTo>
                    <a:pt x="16330" y="2867"/>
                    <a:pt x="16256" y="2906"/>
                    <a:pt x="16181" y="2906"/>
                  </a:cubicBezTo>
                  <a:cubicBezTo>
                    <a:pt x="16107" y="2906"/>
                    <a:pt x="16107" y="2828"/>
                    <a:pt x="16107" y="2828"/>
                  </a:cubicBezTo>
                  <a:close/>
                  <a:moveTo>
                    <a:pt x="15810" y="3024"/>
                  </a:moveTo>
                  <a:cubicBezTo>
                    <a:pt x="15810" y="3024"/>
                    <a:pt x="15810" y="3024"/>
                    <a:pt x="15810" y="3024"/>
                  </a:cubicBezTo>
                  <a:cubicBezTo>
                    <a:pt x="15810" y="3024"/>
                    <a:pt x="15959" y="2945"/>
                    <a:pt x="16033" y="2985"/>
                  </a:cubicBezTo>
                  <a:cubicBezTo>
                    <a:pt x="16033" y="2985"/>
                    <a:pt x="16107" y="2985"/>
                    <a:pt x="16033" y="3024"/>
                  </a:cubicBezTo>
                  <a:cubicBezTo>
                    <a:pt x="16033" y="3063"/>
                    <a:pt x="16181" y="3024"/>
                    <a:pt x="15959" y="3063"/>
                  </a:cubicBezTo>
                  <a:cubicBezTo>
                    <a:pt x="15810" y="3142"/>
                    <a:pt x="15885" y="3181"/>
                    <a:pt x="15736" y="3142"/>
                  </a:cubicBezTo>
                  <a:cubicBezTo>
                    <a:pt x="15662" y="3103"/>
                    <a:pt x="15662" y="3063"/>
                    <a:pt x="15662" y="3024"/>
                  </a:cubicBezTo>
                  <a:cubicBezTo>
                    <a:pt x="15662" y="3024"/>
                    <a:pt x="15736" y="2945"/>
                    <a:pt x="15736" y="2945"/>
                  </a:cubicBezTo>
                  <a:cubicBezTo>
                    <a:pt x="15810" y="2985"/>
                    <a:pt x="15810" y="3024"/>
                    <a:pt x="15810" y="3024"/>
                  </a:cubicBezTo>
                  <a:close/>
                  <a:moveTo>
                    <a:pt x="15216" y="3142"/>
                  </a:moveTo>
                  <a:cubicBezTo>
                    <a:pt x="15216" y="3142"/>
                    <a:pt x="15216" y="3142"/>
                    <a:pt x="15216" y="3142"/>
                  </a:cubicBezTo>
                  <a:cubicBezTo>
                    <a:pt x="15216" y="3142"/>
                    <a:pt x="15365" y="3181"/>
                    <a:pt x="15365" y="3181"/>
                  </a:cubicBezTo>
                  <a:cubicBezTo>
                    <a:pt x="15439" y="3220"/>
                    <a:pt x="15439" y="3181"/>
                    <a:pt x="15513" y="3142"/>
                  </a:cubicBezTo>
                  <a:cubicBezTo>
                    <a:pt x="15662" y="3142"/>
                    <a:pt x="15513" y="3142"/>
                    <a:pt x="15588" y="3103"/>
                  </a:cubicBezTo>
                  <a:cubicBezTo>
                    <a:pt x="15662" y="3024"/>
                    <a:pt x="15588" y="3063"/>
                    <a:pt x="15588" y="3024"/>
                  </a:cubicBezTo>
                  <a:cubicBezTo>
                    <a:pt x="15513" y="3024"/>
                    <a:pt x="15513" y="3024"/>
                    <a:pt x="15439" y="3024"/>
                  </a:cubicBezTo>
                  <a:cubicBezTo>
                    <a:pt x="15291" y="3024"/>
                    <a:pt x="15216" y="3142"/>
                    <a:pt x="15216" y="3142"/>
                  </a:cubicBezTo>
                  <a:close/>
                  <a:moveTo>
                    <a:pt x="15513" y="3377"/>
                  </a:moveTo>
                  <a:cubicBezTo>
                    <a:pt x="15513" y="3377"/>
                    <a:pt x="15513" y="3377"/>
                    <a:pt x="15513" y="3377"/>
                  </a:cubicBezTo>
                  <a:cubicBezTo>
                    <a:pt x="15513" y="3377"/>
                    <a:pt x="15588" y="3260"/>
                    <a:pt x="15662" y="3260"/>
                  </a:cubicBezTo>
                  <a:cubicBezTo>
                    <a:pt x="15736" y="3299"/>
                    <a:pt x="15736" y="3260"/>
                    <a:pt x="15736" y="3299"/>
                  </a:cubicBezTo>
                  <a:cubicBezTo>
                    <a:pt x="15736" y="3338"/>
                    <a:pt x="15736" y="3417"/>
                    <a:pt x="15662" y="3417"/>
                  </a:cubicBezTo>
                  <a:cubicBezTo>
                    <a:pt x="15588" y="3417"/>
                    <a:pt x="15513" y="3377"/>
                    <a:pt x="15513" y="3377"/>
                  </a:cubicBezTo>
                  <a:close/>
                  <a:moveTo>
                    <a:pt x="14920" y="3377"/>
                  </a:moveTo>
                  <a:cubicBezTo>
                    <a:pt x="14920" y="3377"/>
                    <a:pt x="14920" y="3377"/>
                    <a:pt x="14920" y="3377"/>
                  </a:cubicBezTo>
                  <a:cubicBezTo>
                    <a:pt x="14994" y="3299"/>
                    <a:pt x="14994" y="3299"/>
                    <a:pt x="14994" y="3299"/>
                  </a:cubicBezTo>
                  <a:cubicBezTo>
                    <a:pt x="15142" y="3338"/>
                    <a:pt x="15142" y="3338"/>
                    <a:pt x="15142" y="3338"/>
                  </a:cubicBezTo>
                  <a:cubicBezTo>
                    <a:pt x="15142" y="3338"/>
                    <a:pt x="15216" y="3377"/>
                    <a:pt x="15142" y="3377"/>
                  </a:cubicBezTo>
                  <a:cubicBezTo>
                    <a:pt x="15142" y="3417"/>
                    <a:pt x="15068" y="3417"/>
                    <a:pt x="15068" y="3456"/>
                  </a:cubicBezTo>
                  <a:cubicBezTo>
                    <a:pt x="14994" y="3456"/>
                    <a:pt x="14920" y="3417"/>
                    <a:pt x="14920" y="3417"/>
                  </a:cubicBezTo>
                  <a:cubicBezTo>
                    <a:pt x="14920" y="3377"/>
                    <a:pt x="14920" y="3377"/>
                    <a:pt x="14920" y="3377"/>
                  </a:cubicBezTo>
                  <a:close/>
                  <a:moveTo>
                    <a:pt x="14920" y="2867"/>
                  </a:moveTo>
                  <a:cubicBezTo>
                    <a:pt x="14920" y="2867"/>
                    <a:pt x="14920" y="2867"/>
                    <a:pt x="14920" y="2867"/>
                  </a:cubicBezTo>
                  <a:cubicBezTo>
                    <a:pt x="14920" y="2867"/>
                    <a:pt x="15068" y="2749"/>
                    <a:pt x="15068" y="2749"/>
                  </a:cubicBezTo>
                  <a:cubicBezTo>
                    <a:pt x="15142" y="2749"/>
                    <a:pt x="15216" y="2710"/>
                    <a:pt x="15216" y="2788"/>
                  </a:cubicBezTo>
                  <a:cubicBezTo>
                    <a:pt x="15216" y="2867"/>
                    <a:pt x="15365" y="2945"/>
                    <a:pt x="15142" y="2945"/>
                  </a:cubicBezTo>
                  <a:cubicBezTo>
                    <a:pt x="14994" y="2945"/>
                    <a:pt x="14920" y="2985"/>
                    <a:pt x="14920" y="2945"/>
                  </a:cubicBezTo>
                  <a:cubicBezTo>
                    <a:pt x="14845" y="2906"/>
                    <a:pt x="14920" y="2867"/>
                    <a:pt x="14920" y="2867"/>
                  </a:cubicBezTo>
                  <a:close/>
                  <a:moveTo>
                    <a:pt x="14623" y="3103"/>
                  </a:moveTo>
                  <a:cubicBezTo>
                    <a:pt x="14623" y="3103"/>
                    <a:pt x="14623" y="3103"/>
                    <a:pt x="14623" y="3103"/>
                  </a:cubicBezTo>
                  <a:cubicBezTo>
                    <a:pt x="14623" y="3103"/>
                    <a:pt x="14771" y="3024"/>
                    <a:pt x="14845" y="3024"/>
                  </a:cubicBezTo>
                  <a:cubicBezTo>
                    <a:pt x="14920" y="3063"/>
                    <a:pt x="14994" y="3063"/>
                    <a:pt x="14994" y="3103"/>
                  </a:cubicBezTo>
                  <a:cubicBezTo>
                    <a:pt x="14994" y="3142"/>
                    <a:pt x="14994" y="3142"/>
                    <a:pt x="14920" y="3181"/>
                  </a:cubicBezTo>
                  <a:cubicBezTo>
                    <a:pt x="14920" y="3220"/>
                    <a:pt x="14845" y="3220"/>
                    <a:pt x="14771" y="3220"/>
                  </a:cubicBezTo>
                  <a:cubicBezTo>
                    <a:pt x="14771" y="3220"/>
                    <a:pt x="14623" y="3103"/>
                    <a:pt x="14623" y="3103"/>
                  </a:cubicBezTo>
                  <a:close/>
                  <a:moveTo>
                    <a:pt x="14845" y="3574"/>
                  </a:moveTo>
                  <a:cubicBezTo>
                    <a:pt x="14845" y="3574"/>
                    <a:pt x="14845" y="3574"/>
                    <a:pt x="14845" y="3574"/>
                  </a:cubicBezTo>
                  <a:cubicBezTo>
                    <a:pt x="14845" y="3574"/>
                    <a:pt x="14771" y="3692"/>
                    <a:pt x="14771" y="3731"/>
                  </a:cubicBezTo>
                  <a:cubicBezTo>
                    <a:pt x="14771" y="3770"/>
                    <a:pt x="14994" y="3770"/>
                    <a:pt x="15068" y="3731"/>
                  </a:cubicBezTo>
                  <a:cubicBezTo>
                    <a:pt x="15068" y="3731"/>
                    <a:pt x="15142" y="3652"/>
                    <a:pt x="15142" y="3652"/>
                  </a:cubicBezTo>
                  <a:cubicBezTo>
                    <a:pt x="15142" y="3652"/>
                    <a:pt x="15068" y="3574"/>
                    <a:pt x="14994" y="3535"/>
                  </a:cubicBezTo>
                  <a:cubicBezTo>
                    <a:pt x="14920" y="3495"/>
                    <a:pt x="14845" y="3574"/>
                    <a:pt x="14845" y="3574"/>
                  </a:cubicBezTo>
                  <a:close/>
                  <a:moveTo>
                    <a:pt x="14177" y="3456"/>
                  </a:moveTo>
                  <a:cubicBezTo>
                    <a:pt x="14177" y="3456"/>
                    <a:pt x="14177" y="3456"/>
                    <a:pt x="14177" y="3456"/>
                  </a:cubicBezTo>
                  <a:cubicBezTo>
                    <a:pt x="14177" y="3574"/>
                    <a:pt x="14177" y="3574"/>
                    <a:pt x="14177" y="3574"/>
                  </a:cubicBezTo>
                  <a:cubicBezTo>
                    <a:pt x="14177" y="3574"/>
                    <a:pt x="14326" y="3652"/>
                    <a:pt x="14400" y="3652"/>
                  </a:cubicBezTo>
                  <a:cubicBezTo>
                    <a:pt x="14474" y="3692"/>
                    <a:pt x="14474" y="3652"/>
                    <a:pt x="14623" y="3692"/>
                  </a:cubicBezTo>
                  <a:cubicBezTo>
                    <a:pt x="14697" y="3692"/>
                    <a:pt x="14697" y="3652"/>
                    <a:pt x="14697" y="3652"/>
                  </a:cubicBezTo>
                  <a:cubicBezTo>
                    <a:pt x="14771" y="3652"/>
                    <a:pt x="14771" y="3652"/>
                    <a:pt x="14771" y="3613"/>
                  </a:cubicBezTo>
                  <a:cubicBezTo>
                    <a:pt x="14771" y="3613"/>
                    <a:pt x="14623" y="3574"/>
                    <a:pt x="14548" y="3535"/>
                  </a:cubicBezTo>
                  <a:cubicBezTo>
                    <a:pt x="14548" y="3495"/>
                    <a:pt x="14548" y="3495"/>
                    <a:pt x="14548" y="3456"/>
                  </a:cubicBezTo>
                  <a:cubicBezTo>
                    <a:pt x="14548" y="3456"/>
                    <a:pt x="14623" y="3417"/>
                    <a:pt x="14697" y="3417"/>
                  </a:cubicBezTo>
                  <a:cubicBezTo>
                    <a:pt x="14697" y="3377"/>
                    <a:pt x="14697" y="3299"/>
                    <a:pt x="14697" y="3299"/>
                  </a:cubicBezTo>
                  <a:cubicBezTo>
                    <a:pt x="14697" y="3299"/>
                    <a:pt x="14548" y="3299"/>
                    <a:pt x="14548" y="3260"/>
                  </a:cubicBezTo>
                  <a:cubicBezTo>
                    <a:pt x="14548" y="3260"/>
                    <a:pt x="14474" y="3220"/>
                    <a:pt x="14400" y="3181"/>
                  </a:cubicBezTo>
                  <a:cubicBezTo>
                    <a:pt x="14400" y="3142"/>
                    <a:pt x="14252" y="3142"/>
                    <a:pt x="14177" y="3142"/>
                  </a:cubicBezTo>
                  <a:cubicBezTo>
                    <a:pt x="14177" y="3142"/>
                    <a:pt x="14103" y="3260"/>
                    <a:pt x="14029" y="3299"/>
                  </a:cubicBezTo>
                  <a:cubicBezTo>
                    <a:pt x="14029" y="3299"/>
                    <a:pt x="13955" y="3377"/>
                    <a:pt x="13955" y="3377"/>
                  </a:cubicBezTo>
                  <a:cubicBezTo>
                    <a:pt x="13955" y="3417"/>
                    <a:pt x="13955" y="3456"/>
                    <a:pt x="14029" y="3495"/>
                  </a:cubicBezTo>
                  <a:cubicBezTo>
                    <a:pt x="14103" y="3495"/>
                    <a:pt x="14177" y="3456"/>
                    <a:pt x="14177" y="3456"/>
                  </a:cubicBezTo>
                  <a:close/>
                  <a:moveTo>
                    <a:pt x="13955" y="3770"/>
                  </a:moveTo>
                  <a:cubicBezTo>
                    <a:pt x="13955" y="3770"/>
                    <a:pt x="13955" y="3770"/>
                    <a:pt x="13955" y="3770"/>
                  </a:cubicBezTo>
                  <a:cubicBezTo>
                    <a:pt x="13880" y="3770"/>
                    <a:pt x="13732" y="3692"/>
                    <a:pt x="13732" y="3692"/>
                  </a:cubicBezTo>
                  <a:cubicBezTo>
                    <a:pt x="13732" y="3692"/>
                    <a:pt x="13880" y="3652"/>
                    <a:pt x="13880" y="3613"/>
                  </a:cubicBezTo>
                  <a:cubicBezTo>
                    <a:pt x="13955" y="3613"/>
                    <a:pt x="13880" y="3574"/>
                    <a:pt x="14029" y="3574"/>
                  </a:cubicBezTo>
                  <a:cubicBezTo>
                    <a:pt x="14177" y="3613"/>
                    <a:pt x="14177" y="3652"/>
                    <a:pt x="14177" y="3652"/>
                  </a:cubicBezTo>
                  <a:cubicBezTo>
                    <a:pt x="14177" y="3652"/>
                    <a:pt x="14252" y="3731"/>
                    <a:pt x="14252" y="3770"/>
                  </a:cubicBezTo>
                  <a:cubicBezTo>
                    <a:pt x="14252" y="3770"/>
                    <a:pt x="14252" y="3809"/>
                    <a:pt x="14252" y="3809"/>
                  </a:cubicBezTo>
                  <a:cubicBezTo>
                    <a:pt x="14252" y="3849"/>
                    <a:pt x="14400" y="3888"/>
                    <a:pt x="14177" y="3888"/>
                  </a:cubicBezTo>
                  <a:cubicBezTo>
                    <a:pt x="14029" y="3888"/>
                    <a:pt x="14029" y="3888"/>
                    <a:pt x="14029" y="3888"/>
                  </a:cubicBezTo>
                  <a:lnTo>
                    <a:pt x="13955" y="3770"/>
                  </a:lnTo>
                  <a:close/>
                </a:path>
              </a:pathLst>
            </a:custGeom>
            <a:solidFill>
              <a:schemeClr val="accent1"/>
            </a:solid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1" name="Shape 2264">
              <a:extLst>
                <a:ext uri="{FF2B5EF4-FFF2-40B4-BE49-F238E27FC236}">
                  <a16:creationId xmlns:a16="http://schemas.microsoft.com/office/drawing/2014/main" id="{E8F324CF-F710-01B7-238B-8D34EA67DB47}"/>
                </a:ext>
              </a:extLst>
            </p:cNvPr>
            <p:cNvSpPr/>
            <p:nvPr/>
          </p:nvSpPr>
          <p:spPr>
            <a:xfrm>
              <a:off x="540839" y="6258171"/>
              <a:ext cx="2191646" cy="1755835"/>
            </a:xfrm>
            <a:custGeom>
              <a:avLst/>
              <a:gdLst/>
              <a:ahLst/>
              <a:cxnLst>
                <a:cxn ang="0">
                  <a:pos x="wd2" y="hd2"/>
                </a:cxn>
                <a:cxn ang="5400000">
                  <a:pos x="wd2" y="hd2"/>
                </a:cxn>
                <a:cxn ang="10800000">
                  <a:pos x="wd2" y="hd2"/>
                </a:cxn>
                <a:cxn ang="16200000">
                  <a:pos x="wd2" y="hd2"/>
                </a:cxn>
              </a:cxnLst>
              <a:rect l="0" t="0" r="r" b="b"/>
              <a:pathLst>
                <a:path w="21487" h="21600" extrusionOk="0">
                  <a:moveTo>
                    <a:pt x="20063" y="7823"/>
                  </a:moveTo>
                  <a:cubicBezTo>
                    <a:pt x="19942" y="7922"/>
                    <a:pt x="19901" y="7676"/>
                    <a:pt x="19820" y="7823"/>
                  </a:cubicBezTo>
                  <a:cubicBezTo>
                    <a:pt x="19699" y="8020"/>
                    <a:pt x="20022" y="8463"/>
                    <a:pt x="19901" y="8709"/>
                  </a:cubicBezTo>
                  <a:cubicBezTo>
                    <a:pt x="19739" y="8955"/>
                    <a:pt x="19416" y="9299"/>
                    <a:pt x="18971" y="9398"/>
                  </a:cubicBezTo>
                  <a:cubicBezTo>
                    <a:pt x="18769" y="9447"/>
                    <a:pt x="18607" y="9693"/>
                    <a:pt x="18445" y="9644"/>
                  </a:cubicBezTo>
                  <a:cubicBezTo>
                    <a:pt x="18324" y="9644"/>
                    <a:pt x="18040" y="9988"/>
                    <a:pt x="18000" y="10087"/>
                  </a:cubicBezTo>
                  <a:cubicBezTo>
                    <a:pt x="17919" y="10234"/>
                    <a:pt x="17676" y="10087"/>
                    <a:pt x="17474" y="10234"/>
                  </a:cubicBezTo>
                  <a:cubicBezTo>
                    <a:pt x="17191" y="10382"/>
                    <a:pt x="17353" y="10185"/>
                    <a:pt x="16342" y="10529"/>
                  </a:cubicBezTo>
                  <a:cubicBezTo>
                    <a:pt x="16139" y="10579"/>
                    <a:pt x="15978" y="10677"/>
                    <a:pt x="15816" y="10726"/>
                  </a:cubicBezTo>
                  <a:cubicBezTo>
                    <a:pt x="15654" y="10825"/>
                    <a:pt x="15492" y="10775"/>
                    <a:pt x="15492" y="11169"/>
                  </a:cubicBezTo>
                  <a:cubicBezTo>
                    <a:pt x="15533" y="11366"/>
                    <a:pt x="15735" y="11218"/>
                    <a:pt x="15694" y="11415"/>
                  </a:cubicBezTo>
                  <a:cubicBezTo>
                    <a:pt x="15694" y="11563"/>
                    <a:pt x="15411" y="11513"/>
                    <a:pt x="15128" y="11710"/>
                  </a:cubicBezTo>
                  <a:cubicBezTo>
                    <a:pt x="15007" y="11809"/>
                    <a:pt x="14926" y="12153"/>
                    <a:pt x="14845" y="12251"/>
                  </a:cubicBezTo>
                  <a:cubicBezTo>
                    <a:pt x="14440" y="12547"/>
                    <a:pt x="14157" y="13186"/>
                    <a:pt x="14157" y="13186"/>
                  </a:cubicBezTo>
                  <a:cubicBezTo>
                    <a:pt x="13955" y="13432"/>
                    <a:pt x="13712" y="13629"/>
                    <a:pt x="13591" y="13924"/>
                  </a:cubicBezTo>
                  <a:cubicBezTo>
                    <a:pt x="13308" y="14564"/>
                    <a:pt x="13227" y="14220"/>
                    <a:pt x="13389" y="15007"/>
                  </a:cubicBezTo>
                  <a:cubicBezTo>
                    <a:pt x="13429" y="15105"/>
                    <a:pt x="13429" y="15450"/>
                    <a:pt x="13551" y="15696"/>
                  </a:cubicBezTo>
                  <a:cubicBezTo>
                    <a:pt x="13753" y="16040"/>
                    <a:pt x="14198" y="16385"/>
                    <a:pt x="14076" y="16483"/>
                  </a:cubicBezTo>
                  <a:cubicBezTo>
                    <a:pt x="13996" y="16532"/>
                    <a:pt x="13510" y="16926"/>
                    <a:pt x="13348" y="16926"/>
                  </a:cubicBezTo>
                  <a:cubicBezTo>
                    <a:pt x="13106" y="16975"/>
                    <a:pt x="12984" y="17172"/>
                    <a:pt x="12661" y="17615"/>
                  </a:cubicBezTo>
                  <a:cubicBezTo>
                    <a:pt x="12499" y="17762"/>
                    <a:pt x="12458" y="17910"/>
                    <a:pt x="12337" y="18107"/>
                  </a:cubicBezTo>
                  <a:cubicBezTo>
                    <a:pt x="12135" y="18402"/>
                    <a:pt x="12216" y="18353"/>
                    <a:pt x="12054" y="18697"/>
                  </a:cubicBezTo>
                  <a:cubicBezTo>
                    <a:pt x="12013" y="18795"/>
                    <a:pt x="12054" y="19140"/>
                    <a:pt x="12054" y="19287"/>
                  </a:cubicBezTo>
                  <a:cubicBezTo>
                    <a:pt x="11649" y="19337"/>
                    <a:pt x="11649" y="19337"/>
                    <a:pt x="11649" y="19337"/>
                  </a:cubicBezTo>
                  <a:cubicBezTo>
                    <a:pt x="10962" y="19091"/>
                    <a:pt x="10962" y="19091"/>
                    <a:pt x="10962" y="19091"/>
                  </a:cubicBezTo>
                  <a:cubicBezTo>
                    <a:pt x="10557" y="19533"/>
                    <a:pt x="10557" y="19533"/>
                    <a:pt x="10557" y="19533"/>
                  </a:cubicBezTo>
                  <a:cubicBezTo>
                    <a:pt x="10396" y="19681"/>
                    <a:pt x="10153" y="19583"/>
                    <a:pt x="9991" y="19730"/>
                  </a:cubicBezTo>
                  <a:cubicBezTo>
                    <a:pt x="9991" y="19730"/>
                    <a:pt x="9870" y="20173"/>
                    <a:pt x="9829" y="20272"/>
                  </a:cubicBezTo>
                  <a:cubicBezTo>
                    <a:pt x="9829" y="20419"/>
                    <a:pt x="9546" y="20813"/>
                    <a:pt x="9546" y="20813"/>
                  </a:cubicBezTo>
                  <a:cubicBezTo>
                    <a:pt x="9506" y="20862"/>
                    <a:pt x="9303" y="21108"/>
                    <a:pt x="9222" y="21157"/>
                  </a:cubicBezTo>
                  <a:cubicBezTo>
                    <a:pt x="9101" y="21206"/>
                    <a:pt x="9020" y="20813"/>
                    <a:pt x="8939" y="20813"/>
                  </a:cubicBezTo>
                  <a:cubicBezTo>
                    <a:pt x="8778" y="20813"/>
                    <a:pt x="8778" y="20764"/>
                    <a:pt x="8616" y="20714"/>
                  </a:cubicBezTo>
                  <a:cubicBezTo>
                    <a:pt x="8413" y="20714"/>
                    <a:pt x="8373" y="21059"/>
                    <a:pt x="8171" y="21059"/>
                  </a:cubicBezTo>
                  <a:cubicBezTo>
                    <a:pt x="7847" y="21010"/>
                    <a:pt x="7281" y="20616"/>
                    <a:pt x="7281" y="20616"/>
                  </a:cubicBezTo>
                  <a:cubicBezTo>
                    <a:pt x="7160" y="20567"/>
                    <a:pt x="7160" y="20764"/>
                    <a:pt x="7038" y="20764"/>
                  </a:cubicBezTo>
                  <a:cubicBezTo>
                    <a:pt x="6796" y="20714"/>
                    <a:pt x="6472" y="20518"/>
                    <a:pt x="6148" y="20419"/>
                  </a:cubicBezTo>
                  <a:cubicBezTo>
                    <a:pt x="5906" y="20370"/>
                    <a:pt x="5420" y="20272"/>
                    <a:pt x="5420" y="20272"/>
                  </a:cubicBezTo>
                  <a:cubicBezTo>
                    <a:pt x="5299" y="20370"/>
                    <a:pt x="5178" y="20370"/>
                    <a:pt x="5056" y="20419"/>
                  </a:cubicBezTo>
                  <a:cubicBezTo>
                    <a:pt x="4894" y="20518"/>
                    <a:pt x="4733" y="20665"/>
                    <a:pt x="4611" y="20714"/>
                  </a:cubicBezTo>
                  <a:cubicBezTo>
                    <a:pt x="4490" y="20764"/>
                    <a:pt x="4247" y="20518"/>
                    <a:pt x="3883" y="20764"/>
                  </a:cubicBezTo>
                  <a:cubicBezTo>
                    <a:pt x="3762" y="20813"/>
                    <a:pt x="3600" y="20764"/>
                    <a:pt x="3519" y="20862"/>
                  </a:cubicBezTo>
                  <a:cubicBezTo>
                    <a:pt x="3398" y="21010"/>
                    <a:pt x="3357" y="21206"/>
                    <a:pt x="3155" y="21305"/>
                  </a:cubicBezTo>
                  <a:cubicBezTo>
                    <a:pt x="3034" y="21354"/>
                    <a:pt x="2872" y="21551"/>
                    <a:pt x="2791" y="21600"/>
                  </a:cubicBezTo>
                  <a:cubicBezTo>
                    <a:pt x="2589" y="21452"/>
                    <a:pt x="2306" y="21452"/>
                    <a:pt x="2225" y="21059"/>
                  </a:cubicBezTo>
                  <a:cubicBezTo>
                    <a:pt x="2184" y="20911"/>
                    <a:pt x="2063" y="21059"/>
                    <a:pt x="1982" y="20911"/>
                  </a:cubicBezTo>
                  <a:cubicBezTo>
                    <a:pt x="1820" y="20714"/>
                    <a:pt x="1699" y="20272"/>
                    <a:pt x="1699" y="20075"/>
                  </a:cubicBezTo>
                  <a:cubicBezTo>
                    <a:pt x="1699" y="20075"/>
                    <a:pt x="1820" y="19878"/>
                    <a:pt x="1699" y="19681"/>
                  </a:cubicBezTo>
                  <a:cubicBezTo>
                    <a:pt x="1618" y="19484"/>
                    <a:pt x="1497" y="19435"/>
                    <a:pt x="1537" y="19238"/>
                  </a:cubicBezTo>
                  <a:cubicBezTo>
                    <a:pt x="1658" y="19238"/>
                    <a:pt x="1618" y="18894"/>
                    <a:pt x="1618" y="18894"/>
                  </a:cubicBezTo>
                  <a:cubicBezTo>
                    <a:pt x="1618" y="18795"/>
                    <a:pt x="1335" y="18205"/>
                    <a:pt x="1254" y="18107"/>
                  </a:cubicBezTo>
                  <a:cubicBezTo>
                    <a:pt x="1052" y="17959"/>
                    <a:pt x="809" y="17762"/>
                    <a:pt x="566" y="17713"/>
                  </a:cubicBezTo>
                  <a:cubicBezTo>
                    <a:pt x="0" y="17615"/>
                    <a:pt x="0" y="17615"/>
                    <a:pt x="0" y="17615"/>
                  </a:cubicBezTo>
                  <a:cubicBezTo>
                    <a:pt x="0" y="17418"/>
                    <a:pt x="0" y="17418"/>
                    <a:pt x="0" y="17418"/>
                  </a:cubicBezTo>
                  <a:cubicBezTo>
                    <a:pt x="0" y="17319"/>
                    <a:pt x="0" y="17319"/>
                    <a:pt x="0" y="17319"/>
                  </a:cubicBezTo>
                  <a:cubicBezTo>
                    <a:pt x="0" y="17270"/>
                    <a:pt x="0" y="17270"/>
                    <a:pt x="0" y="17270"/>
                  </a:cubicBezTo>
                  <a:cubicBezTo>
                    <a:pt x="40" y="17123"/>
                    <a:pt x="40" y="17123"/>
                    <a:pt x="40" y="17123"/>
                  </a:cubicBezTo>
                  <a:cubicBezTo>
                    <a:pt x="81" y="17024"/>
                    <a:pt x="81" y="17024"/>
                    <a:pt x="81" y="17024"/>
                  </a:cubicBezTo>
                  <a:cubicBezTo>
                    <a:pt x="40" y="16926"/>
                    <a:pt x="40" y="16926"/>
                    <a:pt x="40" y="16926"/>
                  </a:cubicBezTo>
                  <a:cubicBezTo>
                    <a:pt x="40" y="16827"/>
                    <a:pt x="40" y="16827"/>
                    <a:pt x="40" y="16827"/>
                  </a:cubicBezTo>
                  <a:cubicBezTo>
                    <a:pt x="40" y="16680"/>
                    <a:pt x="40" y="16680"/>
                    <a:pt x="40" y="16680"/>
                  </a:cubicBezTo>
                  <a:cubicBezTo>
                    <a:pt x="40" y="16680"/>
                    <a:pt x="0" y="16581"/>
                    <a:pt x="0" y="16581"/>
                  </a:cubicBezTo>
                  <a:cubicBezTo>
                    <a:pt x="0" y="16581"/>
                    <a:pt x="0" y="16483"/>
                    <a:pt x="0" y="16483"/>
                  </a:cubicBezTo>
                  <a:cubicBezTo>
                    <a:pt x="0" y="16483"/>
                    <a:pt x="81" y="16434"/>
                    <a:pt x="81" y="16434"/>
                  </a:cubicBezTo>
                  <a:cubicBezTo>
                    <a:pt x="81" y="16385"/>
                    <a:pt x="162" y="16335"/>
                    <a:pt x="162" y="16335"/>
                  </a:cubicBezTo>
                  <a:cubicBezTo>
                    <a:pt x="162" y="16335"/>
                    <a:pt x="202" y="16188"/>
                    <a:pt x="202" y="16138"/>
                  </a:cubicBezTo>
                  <a:cubicBezTo>
                    <a:pt x="202" y="16138"/>
                    <a:pt x="243" y="16089"/>
                    <a:pt x="243" y="16089"/>
                  </a:cubicBezTo>
                  <a:cubicBezTo>
                    <a:pt x="364" y="16040"/>
                    <a:pt x="364" y="16040"/>
                    <a:pt x="364" y="16040"/>
                  </a:cubicBezTo>
                  <a:cubicBezTo>
                    <a:pt x="445" y="15942"/>
                    <a:pt x="445" y="15942"/>
                    <a:pt x="445" y="15942"/>
                  </a:cubicBezTo>
                  <a:cubicBezTo>
                    <a:pt x="526" y="15892"/>
                    <a:pt x="526" y="15892"/>
                    <a:pt x="526" y="15892"/>
                  </a:cubicBezTo>
                  <a:cubicBezTo>
                    <a:pt x="607" y="15794"/>
                    <a:pt x="607" y="15794"/>
                    <a:pt x="607" y="15794"/>
                  </a:cubicBezTo>
                  <a:cubicBezTo>
                    <a:pt x="647" y="15597"/>
                    <a:pt x="647" y="15597"/>
                    <a:pt x="647" y="15597"/>
                  </a:cubicBezTo>
                  <a:cubicBezTo>
                    <a:pt x="688" y="15548"/>
                    <a:pt x="688" y="15548"/>
                    <a:pt x="688" y="15548"/>
                  </a:cubicBezTo>
                  <a:cubicBezTo>
                    <a:pt x="688" y="15548"/>
                    <a:pt x="809" y="15548"/>
                    <a:pt x="809" y="15548"/>
                  </a:cubicBezTo>
                  <a:cubicBezTo>
                    <a:pt x="809" y="15548"/>
                    <a:pt x="890" y="15548"/>
                    <a:pt x="890" y="15548"/>
                  </a:cubicBezTo>
                  <a:cubicBezTo>
                    <a:pt x="890" y="15499"/>
                    <a:pt x="890" y="15499"/>
                    <a:pt x="890" y="15499"/>
                  </a:cubicBezTo>
                  <a:cubicBezTo>
                    <a:pt x="971" y="15450"/>
                    <a:pt x="971" y="15450"/>
                    <a:pt x="971" y="15450"/>
                  </a:cubicBezTo>
                  <a:cubicBezTo>
                    <a:pt x="1052" y="15548"/>
                    <a:pt x="1052" y="15548"/>
                    <a:pt x="1052" y="15548"/>
                  </a:cubicBezTo>
                  <a:cubicBezTo>
                    <a:pt x="1052" y="15548"/>
                    <a:pt x="1092" y="15548"/>
                    <a:pt x="1133" y="15548"/>
                  </a:cubicBezTo>
                  <a:cubicBezTo>
                    <a:pt x="1133" y="15548"/>
                    <a:pt x="1173" y="15548"/>
                    <a:pt x="1173" y="15548"/>
                  </a:cubicBezTo>
                  <a:cubicBezTo>
                    <a:pt x="1173" y="15400"/>
                    <a:pt x="1173" y="15400"/>
                    <a:pt x="1173" y="15400"/>
                  </a:cubicBezTo>
                  <a:cubicBezTo>
                    <a:pt x="1335" y="15204"/>
                    <a:pt x="1335" y="15204"/>
                    <a:pt x="1335" y="15204"/>
                  </a:cubicBezTo>
                  <a:cubicBezTo>
                    <a:pt x="1335" y="15204"/>
                    <a:pt x="1335" y="15154"/>
                    <a:pt x="1335" y="15154"/>
                  </a:cubicBezTo>
                  <a:cubicBezTo>
                    <a:pt x="1335" y="15154"/>
                    <a:pt x="1335" y="15105"/>
                    <a:pt x="1335" y="15105"/>
                  </a:cubicBezTo>
                  <a:cubicBezTo>
                    <a:pt x="1294" y="15056"/>
                    <a:pt x="1254" y="15105"/>
                    <a:pt x="1254" y="15105"/>
                  </a:cubicBezTo>
                  <a:cubicBezTo>
                    <a:pt x="1254" y="15105"/>
                    <a:pt x="1173" y="15105"/>
                    <a:pt x="1173" y="15105"/>
                  </a:cubicBezTo>
                  <a:cubicBezTo>
                    <a:pt x="1173" y="15105"/>
                    <a:pt x="1092" y="15105"/>
                    <a:pt x="1052" y="15105"/>
                  </a:cubicBezTo>
                  <a:cubicBezTo>
                    <a:pt x="1052" y="15105"/>
                    <a:pt x="1052" y="15056"/>
                    <a:pt x="1052" y="15056"/>
                  </a:cubicBezTo>
                  <a:cubicBezTo>
                    <a:pt x="1011" y="14958"/>
                    <a:pt x="1011" y="14958"/>
                    <a:pt x="1011" y="14958"/>
                  </a:cubicBezTo>
                  <a:cubicBezTo>
                    <a:pt x="1011" y="14958"/>
                    <a:pt x="971" y="14859"/>
                    <a:pt x="971" y="14810"/>
                  </a:cubicBezTo>
                  <a:cubicBezTo>
                    <a:pt x="971" y="14761"/>
                    <a:pt x="971" y="14712"/>
                    <a:pt x="971" y="14662"/>
                  </a:cubicBezTo>
                  <a:cubicBezTo>
                    <a:pt x="971" y="14662"/>
                    <a:pt x="930" y="14613"/>
                    <a:pt x="930" y="14613"/>
                  </a:cubicBezTo>
                  <a:cubicBezTo>
                    <a:pt x="930" y="14613"/>
                    <a:pt x="890" y="14564"/>
                    <a:pt x="890" y="14515"/>
                  </a:cubicBezTo>
                  <a:cubicBezTo>
                    <a:pt x="890" y="14515"/>
                    <a:pt x="849" y="14367"/>
                    <a:pt x="849" y="14367"/>
                  </a:cubicBezTo>
                  <a:cubicBezTo>
                    <a:pt x="809" y="14318"/>
                    <a:pt x="809" y="14318"/>
                    <a:pt x="809" y="14318"/>
                  </a:cubicBezTo>
                  <a:cubicBezTo>
                    <a:pt x="849" y="14269"/>
                    <a:pt x="849" y="14269"/>
                    <a:pt x="849" y="14269"/>
                  </a:cubicBezTo>
                  <a:cubicBezTo>
                    <a:pt x="809" y="14170"/>
                    <a:pt x="809" y="14170"/>
                    <a:pt x="809" y="14170"/>
                  </a:cubicBezTo>
                  <a:cubicBezTo>
                    <a:pt x="890" y="14170"/>
                    <a:pt x="890" y="14170"/>
                    <a:pt x="890" y="14170"/>
                  </a:cubicBezTo>
                  <a:cubicBezTo>
                    <a:pt x="849" y="14121"/>
                    <a:pt x="849" y="14121"/>
                    <a:pt x="849" y="14121"/>
                  </a:cubicBezTo>
                  <a:cubicBezTo>
                    <a:pt x="890" y="14023"/>
                    <a:pt x="890" y="14023"/>
                    <a:pt x="890" y="14023"/>
                  </a:cubicBezTo>
                  <a:cubicBezTo>
                    <a:pt x="890" y="14023"/>
                    <a:pt x="971" y="13974"/>
                    <a:pt x="971" y="13974"/>
                  </a:cubicBezTo>
                  <a:cubicBezTo>
                    <a:pt x="971" y="13974"/>
                    <a:pt x="1052" y="13875"/>
                    <a:pt x="1052" y="13875"/>
                  </a:cubicBezTo>
                  <a:cubicBezTo>
                    <a:pt x="1052" y="13875"/>
                    <a:pt x="1011" y="13826"/>
                    <a:pt x="1011" y="13826"/>
                  </a:cubicBezTo>
                  <a:cubicBezTo>
                    <a:pt x="1011" y="13826"/>
                    <a:pt x="1011" y="13728"/>
                    <a:pt x="1011" y="13728"/>
                  </a:cubicBezTo>
                  <a:cubicBezTo>
                    <a:pt x="1092" y="13531"/>
                    <a:pt x="1092" y="13531"/>
                    <a:pt x="1092" y="13531"/>
                  </a:cubicBezTo>
                  <a:cubicBezTo>
                    <a:pt x="1133" y="13531"/>
                    <a:pt x="1133" y="13531"/>
                    <a:pt x="1133" y="13531"/>
                  </a:cubicBezTo>
                  <a:cubicBezTo>
                    <a:pt x="1254" y="13482"/>
                    <a:pt x="1254" y="13482"/>
                    <a:pt x="1254" y="13482"/>
                  </a:cubicBezTo>
                  <a:cubicBezTo>
                    <a:pt x="1294" y="13432"/>
                    <a:pt x="1294" y="13432"/>
                    <a:pt x="1294" y="13432"/>
                  </a:cubicBezTo>
                  <a:cubicBezTo>
                    <a:pt x="1335" y="13432"/>
                    <a:pt x="1335" y="13432"/>
                    <a:pt x="1335" y="13432"/>
                  </a:cubicBezTo>
                  <a:cubicBezTo>
                    <a:pt x="1416" y="13383"/>
                    <a:pt x="1416" y="13383"/>
                    <a:pt x="1416" y="13383"/>
                  </a:cubicBezTo>
                  <a:cubicBezTo>
                    <a:pt x="1497" y="13334"/>
                    <a:pt x="1497" y="13334"/>
                    <a:pt x="1497" y="13334"/>
                  </a:cubicBezTo>
                  <a:cubicBezTo>
                    <a:pt x="1537" y="13285"/>
                    <a:pt x="1537" y="13285"/>
                    <a:pt x="1537" y="13285"/>
                  </a:cubicBezTo>
                  <a:cubicBezTo>
                    <a:pt x="1537" y="13186"/>
                    <a:pt x="1537" y="13186"/>
                    <a:pt x="1537" y="13186"/>
                  </a:cubicBezTo>
                  <a:cubicBezTo>
                    <a:pt x="1578" y="13137"/>
                    <a:pt x="1578" y="13137"/>
                    <a:pt x="1578" y="13137"/>
                  </a:cubicBezTo>
                  <a:cubicBezTo>
                    <a:pt x="1658" y="13039"/>
                    <a:pt x="1658" y="13039"/>
                    <a:pt x="1658" y="13039"/>
                  </a:cubicBezTo>
                  <a:cubicBezTo>
                    <a:pt x="1739" y="12940"/>
                    <a:pt x="1739" y="12940"/>
                    <a:pt x="1739" y="12940"/>
                  </a:cubicBezTo>
                  <a:cubicBezTo>
                    <a:pt x="1739" y="12842"/>
                    <a:pt x="1739" y="12842"/>
                    <a:pt x="1739" y="12842"/>
                  </a:cubicBezTo>
                  <a:cubicBezTo>
                    <a:pt x="1699" y="12793"/>
                    <a:pt x="1699" y="12793"/>
                    <a:pt x="1699" y="12793"/>
                  </a:cubicBezTo>
                  <a:cubicBezTo>
                    <a:pt x="1699" y="12793"/>
                    <a:pt x="1658" y="12694"/>
                    <a:pt x="1658" y="12645"/>
                  </a:cubicBezTo>
                  <a:cubicBezTo>
                    <a:pt x="1658" y="12645"/>
                    <a:pt x="1618" y="12645"/>
                    <a:pt x="1618" y="12645"/>
                  </a:cubicBezTo>
                  <a:cubicBezTo>
                    <a:pt x="1537" y="12694"/>
                    <a:pt x="1537" y="12694"/>
                    <a:pt x="1537" y="12694"/>
                  </a:cubicBezTo>
                  <a:cubicBezTo>
                    <a:pt x="1537" y="12694"/>
                    <a:pt x="1497" y="12645"/>
                    <a:pt x="1456" y="12645"/>
                  </a:cubicBezTo>
                  <a:cubicBezTo>
                    <a:pt x="1456" y="12645"/>
                    <a:pt x="1456" y="12596"/>
                    <a:pt x="1456" y="12596"/>
                  </a:cubicBezTo>
                  <a:cubicBezTo>
                    <a:pt x="1497" y="12547"/>
                    <a:pt x="1497" y="12547"/>
                    <a:pt x="1497" y="12547"/>
                  </a:cubicBezTo>
                  <a:cubicBezTo>
                    <a:pt x="1497" y="12448"/>
                    <a:pt x="1497" y="12448"/>
                    <a:pt x="1497" y="12448"/>
                  </a:cubicBezTo>
                  <a:cubicBezTo>
                    <a:pt x="1416" y="12448"/>
                    <a:pt x="1416" y="12448"/>
                    <a:pt x="1416" y="12448"/>
                  </a:cubicBezTo>
                  <a:cubicBezTo>
                    <a:pt x="1375" y="12350"/>
                    <a:pt x="1375" y="12350"/>
                    <a:pt x="1375" y="12350"/>
                  </a:cubicBezTo>
                  <a:cubicBezTo>
                    <a:pt x="1335" y="12251"/>
                    <a:pt x="1335" y="12251"/>
                    <a:pt x="1335" y="12251"/>
                  </a:cubicBezTo>
                  <a:cubicBezTo>
                    <a:pt x="1335" y="12153"/>
                    <a:pt x="1335" y="12153"/>
                    <a:pt x="1335" y="12153"/>
                  </a:cubicBezTo>
                  <a:cubicBezTo>
                    <a:pt x="1375" y="12104"/>
                    <a:pt x="1375" y="12104"/>
                    <a:pt x="1375" y="12104"/>
                  </a:cubicBezTo>
                  <a:cubicBezTo>
                    <a:pt x="1375" y="12055"/>
                    <a:pt x="1375" y="12055"/>
                    <a:pt x="1375" y="12055"/>
                  </a:cubicBezTo>
                  <a:cubicBezTo>
                    <a:pt x="1335" y="12005"/>
                    <a:pt x="1335" y="12005"/>
                    <a:pt x="1335" y="12005"/>
                  </a:cubicBezTo>
                  <a:cubicBezTo>
                    <a:pt x="1335" y="11907"/>
                    <a:pt x="1335" y="11907"/>
                    <a:pt x="1335" y="11907"/>
                  </a:cubicBezTo>
                  <a:cubicBezTo>
                    <a:pt x="1294" y="11809"/>
                    <a:pt x="1294" y="11809"/>
                    <a:pt x="1294" y="11809"/>
                  </a:cubicBezTo>
                  <a:cubicBezTo>
                    <a:pt x="1335" y="11759"/>
                    <a:pt x="1335" y="11759"/>
                    <a:pt x="1335" y="11759"/>
                  </a:cubicBezTo>
                  <a:cubicBezTo>
                    <a:pt x="1375" y="11710"/>
                    <a:pt x="1375" y="11710"/>
                    <a:pt x="1375" y="11710"/>
                  </a:cubicBezTo>
                  <a:cubicBezTo>
                    <a:pt x="1375" y="11612"/>
                    <a:pt x="1375" y="11612"/>
                    <a:pt x="1375" y="11612"/>
                  </a:cubicBezTo>
                  <a:cubicBezTo>
                    <a:pt x="1375" y="11612"/>
                    <a:pt x="1294" y="11563"/>
                    <a:pt x="1294" y="11563"/>
                  </a:cubicBezTo>
                  <a:cubicBezTo>
                    <a:pt x="1294" y="11563"/>
                    <a:pt x="1254" y="11464"/>
                    <a:pt x="1254" y="11464"/>
                  </a:cubicBezTo>
                  <a:cubicBezTo>
                    <a:pt x="1254" y="11415"/>
                    <a:pt x="1254" y="11415"/>
                    <a:pt x="1254" y="11415"/>
                  </a:cubicBezTo>
                  <a:cubicBezTo>
                    <a:pt x="1254" y="11415"/>
                    <a:pt x="1173" y="11317"/>
                    <a:pt x="1173" y="11317"/>
                  </a:cubicBezTo>
                  <a:cubicBezTo>
                    <a:pt x="1173" y="11317"/>
                    <a:pt x="1173" y="11218"/>
                    <a:pt x="1173" y="11218"/>
                  </a:cubicBezTo>
                  <a:cubicBezTo>
                    <a:pt x="1173" y="11218"/>
                    <a:pt x="1133" y="11120"/>
                    <a:pt x="1133" y="11120"/>
                  </a:cubicBezTo>
                  <a:cubicBezTo>
                    <a:pt x="1092" y="11071"/>
                    <a:pt x="1092" y="11021"/>
                    <a:pt x="1092" y="11021"/>
                  </a:cubicBezTo>
                  <a:cubicBezTo>
                    <a:pt x="1173" y="11021"/>
                    <a:pt x="1173" y="11021"/>
                    <a:pt x="1173" y="11021"/>
                  </a:cubicBezTo>
                  <a:cubicBezTo>
                    <a:pt x="1254" y="11021"/>
                    <a:pt x="1254" y="11021"/>
                    <a:pt x="1254" y="11021"/>
                  </a:cubicBezTo>
                  <a:cubicBezTo>
                    <a:pt x="1294" y="11120"/>
                    <a:pt x="1294" y="11120"/>
                    <a:pt x="1294" y="11120"/>
                  </a:cubicBezTo>
                  <a:cubicBezTo>
                    <a:pt x="1335" y="11071"/>
                    <a:pt x="1335" y="11071"/>
                    <a:pt x="1335" y="11071"/>
                  </a:cubicBezTo>
                  <a:cubicBezTo>
                    <a:pt x="1335" y="11120"/>
                    <a:pt x="1335" y="11120"/>
                    <a:pt x="1335" y="11120"/>
                  </a:cubicBezTo>
                  <a:cubicBezTo>
                    <a:pt x="1416" y="11120"/>
                    <a:pt x="1416" y="11120"/>
                    <a:pt x="1416" y="11120"/>
                  </a:cubicBezTo>
                  <a:cubicBezTo>
                    <a:pt x="1537" y="11120"/>
                    <a:pt x="1537" y="11120"/>
                    <a:pt x="1537" y="11120"/>
                  </a:cubicBezTo>
                  <a:cubicBezTo>
                    <a:pt x="1618" y="11120"/>
                    <a:pt x="1618" y="11120"/>
                    <a:pt x="1618" y="11120"/>
                  </a:cubicBezTo>
                  <a:cubicBezTo>
                    <a:pt x="1658" y="11120"/>
                    <a:pt x="1658" y="11120"/>
                    <a:pt x="1658" y="11120"/>
                  </a:cubicBezTo>
                  <a:cubicBezTo>
                    <a:pt x="1658" y="11120"/>
                    <a:pt x="1699" y="11169"/>
                    <a:pt x="1699" y="11169"/>
                  </a:cubicBezTo>
                  <a:cubicBezTo>
                    <a:pt x="1739" y="11218"/>
                    <a:pt x="1780" y="11169"/>
                    <a:pt x="1780" y="11169"/>
                  </a:cubicBezTo>
                  <a:cubicBezTo>
                    <a:pt x="1780" y="11218"/>
                    <a:pt x="1861" y="11218"/>
                    <a:pt x="1861" y="11218"/>
                  </a:cubicBezTo>
                  <a:cubicBezTo>
                    <a:pt x="1861" y="11218"/>
                    <a:pt x="1901" y="11169"/>
                    <a:pt x="1942" y="11169"/>
                  </a:cubicBezTo>
                  <a:cubicBezTo>
                    <a:pt x="1942" y="11169"/>
                    <a:pt x="1982" y="11169"/>
                    <a:pt x="1982" y="11169"/>
                  </a:cubicBezTo>
                  <a:cubicBezTo>
                    <a:pt x="2022" y="11120"/>
                    <a:pt x="2022" y="11120"/>
                    <a:pt x="2022" y="11120"/>
                  </a:cubicBezTo>
                  <a:cubicBezTo>
                    <a:pt x="2022" y="11021"/>
                    <a:pt x="2022" y="11021"/>
                    <a:pt x="2022" y="11021"/>
                  </a:cubicBezTo>
                  <a:cubicBezTo>
                    <a:pt x="2063" y="11021"/>
                    <a:pt x="2063" y="11021"/>
                    <a:pt x="2063" y="11021"/>
                  </a:cubicBezTo>
                  <a:cubicBezTo>
                    <a:pt x="2063" y="10972"/>
                    <a:pt x="2063" y="10972"/>
                    <a:pt x="2063" y="10972"/>
                  </a:cubicBezTo>
                  <a:cubicBezTo>
                    <a:pt x="2103" y="10874"/>
                    <a:pt x="2103" y="10874"/>
                    <a:pt x="2103" y="10874"/>
                  </a:cubicBezTo>
                  <a:cubicBezTo>
                    <a:pt x="2103" y="10825"/>
                    <a:pt x="2103" y="10825"/>
                    <a:pt x="2103" y="10825"/>
                  </a:cubicBezTo>
                  <a:cubicBezTo>
                    <a:pt x="2184" y="10825"/>
                    <a:pt x="2184" y="10825"/>
                    <a:pt x="2184" y="10825"/>
                  </a:cubicBezTo>
                  <a:cubicBezTo>
                    <a:pt x="2225" y="10775"/>
                    <a:pt x="2225" y="10775"/>
                    <a:pt x="2225" y="10775"/>
                  </a:cubicBezTo>
                  <a:cubicBezTo>
                    <a:pt x="2265" y="10677"/>
                    <a:pt x="2265" y="10677"/>
                    <a:pt x="2265" y="10677"/>
                  </a:cubicBezTo>
                  <a:cubicBezTo>
                    <a:pt x="2306" y="10579"/>
                    <a:pt x="2306" y="10579"/>
                    <a:pt x="2306" y="10579"/>
                  </a:cubicBezTo>
                  <a:cubicBezTo>
                    <a:pt x="2306" y="10579"/>
                    <a:pt x="2346" y="10480"/>
                    <a:pt x="2346" y="10480"/>
                  </a:cubicBezTo>
                  <a:cubicBezTo>
                    <a:pt x="2346" y="10480"/>
                    <a:pt x="2387" y="10382"/>
                    <a:pt x="2387" y="10382"/>
                  </a:cubicBezTo>
                  <a:cubicBezTo>
                    <a:pt x="2346" y="10234"/>
                    <a:pt x="2346" y="10234"/>
                    <a:pt x="2346" y="10234"/>
                  </a:cubicBezTo>
                  <a:cubicBezTo>
                    <a:pt x="2306" y="10136"/>
                    <a:pt x="2306" y="10136"/>
                    <a:pt x="2306" y="10136"/>
                  </a:cubicBezTo>
                  <a:cubicBezTo>
                    <a:pt x="2265" y="10037"/>
                    <a:pt x="2265" y="10037"/>
                    <a:pt x="2265" y="10037"/>
                  </a:cubicBezTo>
                  <a:cubicBezTo>
                    <a:pt x="2265" y="10037"/>
                    <a:pt x="2265" y="9988"/>
                    <a:pt x="2225" y="9988"/>
                  </a:cubicBezTo>
                  <a:cubicBezTo>
                    <a:pt x="2225" y="9988"/>
                    <a:pt x="2225" y="9939"/>
                    <a:pt x="2225" y="9939"/>
                  </a:cubicBezTo>
                  <a:cubicBezTo>
                    <a:pt x="2225" y="9841"/>
                    <a:pt x="2225" y="9841"/>
                    <a:pt x="2225" y="9841"/>
                  </a:cubicBezTo>
                  <a:cubicBezTo>
                    <a:pt x="2265" y="9791"/>
                    <a:pt x="2265" y="9791"/>
                    <a:pt x="2265" y="9791"/>
                  </a:cubicBezTo>
                  <a:cubicBezTo>
                    <a:pt x="2306" y="9791"/>
                    <a:pt x="2306" y="9791"/>
                    <a:pt x="2306" y="9791"/>
                  </a:cubicBezTo>
                  <a:cubicBezTo>
                    <a:pt x="2387" y="9693"/>
                    <a:pt x="2387" y="9693"/>
                    <a:pt x="2387" y="9693"/>
                  </a:cubicBezTo>
                  <a:cubicBezTo>
                    <a:pt x="2427" y="9693"/>
                    <a:pt x="2427" y="9693"/>
                    <a:pt x="2427" y="9693"/>
                  </a:cubicBezTo>
                  <a:cubicBezTo>
                    <a:pt x="2508" y="9693"/>
                    <a:pt x="2508" y="9693"/>
                    <a:pt x="2508" y="9693"/>
                  </a:cubicBezTo>
                  <a:cubicBezTo>
                    <a:pt x="2589" y="9595"/>
                    <a:pt x="2589" y="9595"/>
                    <a:pt x="2589" y="9595"/>
                  </a:cubicBezTo>
                  <a:cubicBezTo>
                    <a:pt x="2629" y="9595"/>
                    <a:pt x="2629" y="9595"/>
                    <a:pt x="2629" y="9595"/>
                  </a:cubicBezTo>
                  <a:cubicBezTo>
                    <a:pt x="2670" y="9545"/>
                    <a:pt x="2670" y="9545"/>
                    <a:pt x="2670" y="9545"/>
                  </a:cubicBezTo>
                  <a:cubicBezTo>
                    <a:pt x="2710" y="9447"/>
                    <a:pt x="2710" y="9447"/>
                    <a:pt x="2710" y="9447"/>
                  </a:cubicBezTo>
                  <a:cubicBezTo>
                    <a:pt x="2670" y="9349"/>
                    <a:pt x="2670" y="9349"/>
                    <a:pt x="2670" y="9349"/>
                  </a:cubicBezTo>
                  <a:cubicBezTo>
                    <a:pt x="2629" y="9299"/>
                    <a:pt x="2629" y="9299"/>
                    <a:pt x="2629" y="9299"/>
                  </a:cubicBezTo>
                  <a:cubicBezTo>
                    <a:pt x="2670" y="9152"/>
                    <a:pt x="2670" y="9152"/>
                    <a:pt x="2670" y="9152"/>
                  </a:cubicBezTo>
                  <a:cubicBezTo>
                    <a:pt x="2751" y="9103"/>
                    <a:pt x="2751" y="9103"/>
                    <a:pt x="2751" y="9103"/>
                  </a:cubicBezTo>
                  <a:cubicBezTo>
                    <a:pt x="2751" y="8955"/>
                    <a:pt x="2751" y="8955"/>
                    <a:pt x="2751" y="8955"/>
                  </a:cubicBezTo>
                  <a:cubicBezTo>
                    <a:pt x="2710" y="8906"/>
                    <a:pt x="2710" y="8906"/>
                    <a:pt x="2710" y="8906"/>
                  </a:cubicBezTo>
                  <a:cubicBezTo>
                    <a:pt x="2751" y="8807"/>
                    <a:pt x="2751" y="8807"/>
                    <a:pt x="2751" y="8807"/>
                  </a:cubicBezTo>
                  <a:cubicBezTo>
                    <a:pt x="2791" y="8758"/>
                    <a:pt x="2791" y="8758"/>
                    <a:pt x="2791" y="8758"/>
                  </a:cubicBezTo>
                  <a:cubicBezTo>
                    <a:pt x="2791" y="8758"/>
                    <a:pt x="2831" y="8660"/>
                    <a:pt x="2831" y="8610"/>
                  </a:cubicBezTo>
                  <a:cubicBezTo>
                    <a:pt x="2872" y="8610"/>
                    <a:pt x="2872" y="8463"/>
                    <a:pt x="2872" y="8463"/>
                  </a:cubicBezTo>
                  <a:cubicBezTo>
                    <a:pt x="2831" y="8364"/>
                    <a:pt x="2831" y="8364"/>
                    <a:pt x="2831" y="8364"/>
                  </a:cubicBezTo>
                  <a:cubicBezTo>
                    <a:pt x="2831" y="8315"/>
                    <a:pt x="2831" y="8315"/>
                    <a:pt x="2831" y="8315"/>
                  </a:cubicBezTo>
                  <a:cubicBezTo>
                    <a:pt x="2831" y="8315"/>
                    <a:pt x="2912" y="8266"/>
                    <a:pt x="2912" y="8266"/>
                  </a:cubicBezTo>
                  <a:cubicBezTo>
                    <a:pt x="2953" y="8266"/>
                    <a:pt x="2953" y="8118"/>
                    <a:pt x="2953" y="8118"/>
                  </a:cubicBezTo>
                  <a:cubicBezTo>
                    <a:pt x="2872" y="8069"/>
                    <a:pt x="2872" y="8069"/>
                    <a:pt x="2872" y="8069"/>
                  </a:cubicBezTo>
                  <a:cubicBezTo>
                    <a:pt x="2872" y="8069"/>
                    <a:pt x="2872" y="7971"/>
                    <a:pt x="2872" y="7922"/>
                  </a:cubicBezTo>
                  <a:cubicBezTo>
                    <a:pt x="2872" y="7922"/>
                    <a:pt x="2872" y="7823"/>
                    <a:pt x="2872" y="7823"/>
                  </a:cubicBezTo>
                  <a:cubicBezTo>
                    <a:pt x="2831" y="7823"/>
                    <a:pt x="2831" y="7823"/>
                    <a:pt x="2831" y="7823"/>
                  </a:cubicBezTo>
                  <a:cubicBezTo>
                    <a:pt x="2831" y="7725"/>
                    <a:pt x="2831" y="7725"/>
                    <a:pt x="2831" y="7725"/>
                  </a:cubicBezTo>
                  <a:cubicBezTo>
                    <a:pt x="2872" y="7676"/>
                    <a:pt x="2872" y="7676"/>
                    <a:pt x="2872" y="7676"/>
                  </a:cubicBezTo>
                  <a:cubicBezTo>
                    <a:pt x="2953" y="7725"/>
                    <a:pt x="2953" y="7725"/>
                    <a:pt x="2953" y="7725"/>
                  </a:cubicBezTo>
                  <a:cubicBezTo>
                    <a:pt x="2953" y="7725"/>
                    <a:pt x="2993" y="7676"/>
                    <a:pt x="3034" y="7676"/>
                  </a:cubicBezTo>
                  <a:cubicBezTo>
                    <a:pt x="3034" y="7626"/>
                    <a:pt x="3115" y="7626"/>
                    <a:pt x="3115" y="7626"/>
                  </a:cubicBezTo>
                  <a:cubicBezTo>
                    <a:pt x="3155" y="7479"/>
                    <a:pt x="3155" y="7479"/>
                    <a:pt x="3155" y="7479"/>
                  </a:cubicBezTo>
                  <a:cubicBezTo>
                    <a:pt x="3317" y="7380"/>
                    <a:pt x="3317" y="7380"/>
                    <a:pt x="3317" y="7380"/>
                  </a:cubicBezTo>
                  <a:cubicBezTo>
                    <a:pt x="3317" y="7331"/>
                    <a:pt x="3317" y="7331"/>
                    <a:pt x="3317" y="7331"/>
                  </a:cubicBezTo>
                  <a:cubicBezTo>
                    <a:pt x="3438" y="7282"/>
                    <a:pt x="3438" y="7282"/>
                    <a:pt x="3438" y="7282"/>
                  </a:cubicBezTo>
                  <a:cubicBezTo>
                    <a:pt x="3519" y="7331"/>
                    <a:pt x="3519" y="7331"/>
                    <a:pt x="3519" y="7331"/>
                  </a:cubicBezTo>
                  <a:cubicBezTo>
                    <a:pt x="3600" y="7233"/>
                    <a:pt x="3600" y="7233"/>
                    <a:pt x="3600" y="7233"/>
                  </a:cubicBezTo>
                  <a:cubicBezTo>
                    <a:pt x="3640" y="7233"/>
                    <a:pt x="3640" y="7233"/>
                    <a:pt x="3640" y="7233"/>
                  </a:cubicBezTo>
                  <a:cubicBezTo>
                    <a:pt x="3721" y="7184"/>
                    <a:pt x="3721" y="7184"/>
                    <a:pt x="3721" y="7184"/>
                  </a:cubicBezTo>
                  <a:cubicBezTo>
                    <a:pt x="3802" y="7134"/>
                    <a:pt x="3802" y="7134"/>
                    <a:pt x="3802" y="7134"/>
                  </a:cubicBezTo>
                  <a:cubicBezTo>
                    <a:pt x="3924" y="6987"/>
                    <a:pt x="3924" y="6987"/>
                    <a:pt x="3924" y="6987"/>
                  </a:cubicBezTo>
                  <a:cubicBezTo>
                    <a:pt x="3964" y="6987"/>
                    <a:pt x="3964" y="6987"/>
                    <a:pt x="3964" y="6987"/>
                  </a:cubicBezTo>
                  <a:cubicBezTo>
                    <a:pt x="3964" y="6987"/>
                    <a:pt x="4045" y="6938"/>
                    <a:pt x="4045" y="6938"/>
                  </a:cubicBezTo>
                  <a:cubicBezTo>
                    <a:pt x="4045" y="6938"/>
                    <a:pt x="4085" y="6839"/>
                    <a:pt x="4085" y="6839"/>
                  </a:cubicBezTo>
                  <a:cubicBezTo>
                    <a:pt x="4166" y="6790"/>
                    <a:pt x="4166" y="6790"/>
                    <a:pt x="4166" y="6790"/>
                  </a:cubicBezTo>
                  <a:cubicBezTo>
                    <a:pt x="4247" y="6642"/>
                    <a:pt x="4247" y="6642"/>
                    <a:pt x="4247" y="6642"/>
                  </a:cubicBezTo>
                  <a:cubicBezTo>
                    <a:pt x="4328" y="6544"/>
                    <a:pt x="4328" y="6544"/>
                    <a:pt x="4328" y="6544"/>
                  </a:cubicBezTo>
                  <a:cubicBezTo>
                    <a:pt x="4247" y="6396"/>
                    <a:pt x="4247" y="6396"/>
                    <a:pt x="4247" y="6396"/>
                  </a:cubicBezTo>
                  <a:cubicBezTo>
                    <a:pt x="4247" y="6396"/>
                    <a:pt x="4166" y="6298"/>
                    <a:pt x="4126" y="6298"/>
                  </a:cubicBezTo>
                  <a:cubicBezTo>
                    <a:pt x="4126" y="6249"/>
                    <a:pt x="4045" y="6200"/>
                    <a:pt x="4045" y="6200"/>
                  </a:cubicBezTo>
                  <a:cubicBezTo>
                    <a:pt x="4045" y="6200"/>
                    <a:pt x="3924" y="6150"/>
                    <a:pt x="3924" y="6150"/>
                  </a:cubicBezTo>
                  <a:cubicBezTo>
                    <a:pt x="3924" y="6150"/>
                    <a:pt x="3843" y="6200"/>
                    <a:pt x="3843" y="6200"/>
                  </a:cubicBezTo>
                  <a:cubicBezTo>
                    <a:pt x="3802" y="6150"/>
                    <a:pt x="3802" y="6150"/>
                    <a:pt x="3802" y="6150"/>
                  </a:cubicBezTo>
                  <a:cubicBezTo>
                    <a:pt x="3802" y="6150"/>
                    <a:pt x="3762" y="6052"/>
                    <a:pt x="3802" y="6052"/>
                  </a:cubicBezTo>
                  <a:cubicBezTo>
                    <a:pt x="3802" y="6052"/>
                    <a:pt x="3802" y="6003"/>
                    <a:pt x="3802" y="6003"/>
                  </a:cubicBezTo>
                  <a:cubicBezTo>
                    <a:pt x="3802" y="5954"/>
                    <a:pt x="3802" y="5954"/>
                    <a:pt x="3802" y="5954"/>
                  </a:cubicBezTo>
                  <a:cubicBezTo>
                    <a:pt x="3802" y="5904"/>
                    <a:pt x="3802" y="5904"/>
                    <a:pt x="3802" y="5904"/>
                  </a:cubicBezTo>
                  <a:cubicBezTo>
                    <a:pt x="3843" y="5855"/>
                    <a:pt x="3843" y="5855"/>
                    <a:pt x="3843" y="5855"/>
                  </a:cubicBezTo>
                  <a:cubicBezTo>
                    <a:pt x="3843" y="5855"/>
                    <a:pt x="3883" y="5806"/>
                    <a:pt x="3883" y="5757"/>
                  </a:cubicBezTo>
                  <a:cubicBezTo>
                    <a:pt x="3883" y="5757"/>
                    <a:pt x="3924" y="5658"/>
                    <a:pt x="3924" y="5658"/>
                  </a:cubicBezTo>
                  <a:cubicBezTo>
                    <a:pt x="3924" y="5658"/>
                    <a:pt x="3883" y="5609"/>
                    <a:pt x="3883" y="5560"/>
                  </a:cubicBezTo>
                  <a:cubicBezTo>
                    <a:pt x="3843" y="5560"/>
                    <a:pt x="3843" y="5560"/>
                    <a:pt x="3883" y="5511"/>
                  </a:cubicBezTo>
                  <a:cubicBezTo>
                    <a:pt x="3883" y="5511"/>
                    <a:pt x="3883" y="5462"/>
                    <a:pt x="3883" y="5462"/>
                  </a:cubicBezTo>
                  <a:cubicBezTo>
                    <a:pt x="3883" y="5462"/>
                    <a:pt x="3883" y="5363"/>
                    <a:pt x="3843" y="5363"/>
                  </a:cubicBezTo>
                  <a:cubicBezTo>
                    <a:pt x="3843" y="5363"/>
                    <a:pt x="3762" y="5412"/>
                    <a:pt x="3762" y="5412"/>
                  </a:cubicBezTo>
                  <a:cubicBezTo>
                    <a:pt x="3762" y="5412"/>
                    <a:pt x="3640" y="5363"/>
                    <a:pt x="3640" y="5363"/>
                  </a:cubicBezTo>
                  <a:cubicBezTo>
                    <a:pt x="3640" y="5363"/>
                    <a:pt x="3600" y="5314"/>
                    <a:pt x="3600" y="5314"/>
                  </a:cubicBezTo>
                  <a:cubicBezTo>
                    <a:pt x="3600" y="5314"/>
                    <a:pt x="3600" y="5215"/>
                    <a:pt x="3560" y="5215"/>
                  </a:cubicBezTo>
                  <a:cubicBezTo>
                    <a:pt x="3519" y="5166"/>
                    <a:pt x="3519" y="5215"/>
                    <a:pt x="3519" y="5215"/>
                  </a:cubicBezTo>
                  <a:cubicBezTo>
                    <a:pt x="3479" y="5314"/>
                    <a:pt x="3479" y="5314"/>
                    <a:pt x="3479" y="5314"/>
                  </a:cubicBezTo>
                  <a:cubicBezTo>
                    <a:pt x="3479" y="5314"/>
                    <a:pt x="3398" y="5314"/>
                    <a:pt x="3357" y="5265"/>
                  </a:cubicBezTo>
                  <a:cubicBezTo>
                    <a:pt x="3357" y="5265"/>
                    <a:pt x="3317" y="5265"/>
                    <a:pt x="3317" y="5265"/>
                  </a:cubicBezTo>
                  <a:cubicBezTo>
                    <a:pt x="3276" y="5265"/>
                    <a:pt x="3276" y="5215"/>
                    <a:pt x="3276" y="5166"/>
                  </a:cubicBezTo>
                  <a:cubicBezTo>
                    <a:pt x="3236" y="5117"/>
                    <a:pt x="3236" y="5166"/>
                    <a:pt x="3196" y="5166"/>
                  </a:cubicBezTo>
                  <a:cubicBezTo>
                    <a:pt x="3196" y="5166"/>
                    <a:pt x="3115" y="5166"/>
                    <a:pt x="3115" y="5166"/>
                  </a:cubicBezTo>
                  <a:cubicBezTo>
                    <a:pt x="3115" y="5166"/>
                    <a:pt x="3034" y="5068"/>
                    <a:pt x="3034" y="5068"/>
                  </a:cubicBezTo>
                  <a:cubicBezTo>
                    <a:pt x="3034" y="5019"/>
                    <a:pt x="2993" y="5019"/>
                    <a:pt x="2993" y="5019"/>
                  </a:cubicBezTo>
                  <a:cubicBezTo>
                    <a:pt x="2993" y="5019"/>
                    <a:pt x="2912" y="5068"/>
                    <a:pt x="2912" y="5068"/>
                  </a:cubicBezTo>
                  <a:cubicBezTo>
                    <a:pt x="2912" y="5117"/>
                    <a:pt x="2912" y="5117"/>
                    <a:pt x="2912" y="5117"/>
                  </a:cubicBezTo>
                  <a:cubicBezTo>
                    <a:pt x="2872" y="5265"/>
                    <a:pt x="2872" y="5265"/>
                    <a:pt x="2872" y="5265"/>
                  </a:cubicBezTo>
                  <a:cubicBezTo>
                    <a:pt x="2751" y="5363"/>
                    <a:pt x="2751" y="5363"/>
                    <a:pt x="2751" y="5363"/>
                  </a:cubicBezTo>
                  <a:cubicBezTo>
                    <a:pt x="2751" y="5363"/>
                    <a:pt x="2629" y="5363"/>
                    <a:pt x="2589" y="5314"/>
                  </a:cubicBezTo>
                  <a:cubicBezTo>
                    <a:pt x="2589" y="5314"/>
                    <a:pt x="2589" y="5314"/>
                    <a:pt x="2548" y="5314"/>
                  </a:cubicBezTo>
                  <a:cubicBezTo>
                    <a:pt x="2508" y="5314"/>
                    <a:pt x="2508" y="5314"/>
                    <a:pt x="2508" y="5314"/>
                  </a:cubicBezTo>
                  <a:cubicBezTo>
                    <a:pt x="2508" y="5314"/>
                    <a:pt x="2427" y="5363"/>
                    <a:pt x="2427" y="5363"/>
                  </a:cubicBezTo>
                  <a:cubicBezTo>
                    <a:pt x="2427" y="5363"/>
                    <a:pt x="2387" y="5265"/>
                    <a:pt x="2387" y="5265"/>
                  </a:cubicBezTo>
                  <a:cubicBezTo>
                    <a:pt x="2387" y="5265"/>
                    <a:pt x="2306" y="5215"/>
                    <a:pt x="2306" y="5166"/>
                  </a:cubicBezTo>
                  <a:cubicBezTo>
                    <a:pt x="2306" y="5166"/>
                    <a:pt x="2306" y="5215"/>
                    <a:pt x="2306" y="5215"/>
                  </a:cubicBezTo>
                  <a:cubicBezTo>
                    <a:pt x="2306" y="5215"/>
                    <a:pt x="2265" y="5265"/>
                    <a:pt x="2225" y="5265"/>
                  </a:cubicBezTo>
                  <a:cubicBezTo>
                    <a:pt x="2225" y="5265"/>
                    <a:pt x="2184" y="5314"/>
                    <a:pt x="2184" y="5314"/>
                  </a:cubicBezTo>
                  <a:cubicBezTo>
                    <a:pt x="2144" y="5314"/>
                    <a:pt x="2184" y="5215"/>
                    <a:pt x="2184" y="5215"/>
                  </a:cubicBezTo>
                  <a:cubicBezTo>
                    <a:pt x="2225" y="5117"/>
                    <a:pt x="2225" y="5117"/>
                    <a:pt x="2225" y="5117"/>
                  </a:cubicBezTo>
                  <a:cubicBezTo>
                    <a:pt x="2225" y="5117"/>
                    <a:pt x="2103" y="5068"/>
                    <a:pt x="2103" y="5019"/>
                  </a:cubicBezTo>
                  <a:cubicBezTo>
                    <a:pt x="2063" y="5019"/>
                    <a:pt x="2022" y="4969"/>
                    <a:pt x="2022" y="4969"/>
                  </a:cubicBezTo>
                  <a:cubicBezTo>
                    <a:pt x="2022" y="4969"/>
                    <a:pt x="1942" y="4969"/>
                    <a:pt x="1942" y="4969"/>
                  </a:cubicBezTo>
                  <a:cubicBezTo>
                    <a:pt x="1861" y="4969"/>
                    <a:pt x="1861" y="4969"/>
                    <a:pt x="1861" y="4969"/>
                  </a:cubicBezTo>
                  <a:cubicBezTo>
                    <a:pt x="1861" y="4969"/>
                    <a:pt x="1820" y="4969"/>
                    <a:pt x="1780" y="5019"/>
                  </a:cubicBezTo>
                  <a:cubicBezTo>
                    <a:pt x="1780" y="5019"/>
                    <a:pt x="1739" y="5068"/>
                    <a:pt x="1699" y="5019"/>
                  </a:cubicBezTo>
                  <a:cubicBezTo>
                    <a:pt x="1699" y="5019"/>
                    <a:pt x="1739" y="4920"/>
                    <a:pt x="1739" y="4920"/>
                  </a:cubicBezTo>
                  <a:cubicBezTo>
                    <a:pt x="1739" y="4920"/>
                    <a:pt x="1739" y="4822"/>
                    <a:pt x="1739" y="4822"/>
                  </a:cubicBezTo>
                  <a:cubicBezTo>
                    <a:pt x="1699" y="4773"/>
                    <a:pt x="1699" y="4871"/>
                    <a:pt x="1699" y="4871"/>
                  </a:cubicBezTo>
                  <a:cubicBezTo>
                    <a:pt x="1699" y="4871"/>
                    <a:pt x="1618" y="4920"/>
                    <a:pt x="1578" y="4969"/>
                  </a:cubicBezTo>
                  <a:cubicBezTo>
                    <a:pt x="1578" y="4969"/>
                    <a:pt x="1537" y="4969"/>
                    <a:pt x="1537" y="4969"/>
                  </a:cubicBezTo>
                  <a:cubicBezTo>
                    <a:pt x="1497" y="4969"/>
                    <a:pt x="1456" y="5019"/>
                    <a:pt x="1375" y="5019"/>
                  </a:cubicBezTo>
                  <a:cubicBezTo>
                    <a:pt x="1335" y="5019"/>
                    <a:pt x="1294" y="5068"/>
                    <a:pt x="1294" y="5019"/>
                  </a:cubicBezTo>
                  <a:cubicBezTo>
                    <a:pt x="1254" y="5019"/>
                    <a:pt x="1254" y="4969"/>
                    <a:pt x="1254" y="4969"/>
                  </a:cubicBezTo>
                  <a:cubicBezTo>
                    <a:pt x="1254" y="4871"/>
                    <a:pt x="1254" y="4871"/>
                    <a:pt x="1254" y="4871"/>
                  </a:cubicBezTo>
                  <a:cubicBezTo>
                    <a:pt x="1254" y="4871"/>
                    <a:pt x="1213" y="4822"/>
                    <a:pt x="1213" y="4773"/>
                  </a:cubicBezTo>
                  <a:cubicBezTo>
                    <a:pt x="1173" y="4723"/>
                    <a:pt x="1213" y="4723"/>
                    <a:pt x="1213" y="4674"/>
                  </a:cubicBezTo>
                  <a:cubicBezTo>
                    <a:pt x="1213" y="4674"/>
                    <a:pt x="1294" y="4625"/>
                    <a:pt x="1294" y="4625"/>
                  </a:cubicBezTo>
                  <a:cubicBezTo>
                    <a:pt x="1294" y="4576"/>
                    <a:pt x="1335" y="4576"/>
                    <a:pt x="1335" y="4576"/>
                  </a:cubicBezTo>
                  <a:cubicBezTo>
                    <a:pt x="1456" y="4527"/>
                    <a:pt x="1456" y="4527"/>
                    <a:pt x="1456" y="4527"/>
                  </a:cubicBezTo>
                  <a:cubicBezTo>
                    <a:pt x="1456" y="4527"/>
                    <a:pt x="1456" y="4379"/>
                    <a:pt x="1456" y="4330"/>
                  </a:cubicBezTo>
                  <a:cubicBezTo>
                    <a:pt x="1456" y="4330"/>
                    <a:pt x="1456" y="4330"/>
                    <a:pt x="1416" y="4330"/>
                  </a:cubicBezTo>
                  <a:cubicBezTo>
                    <a:pt x="1375" y="4330"/>
                    <a:pt x="1375" y="4281"/>
                    <a:pt x="1375" y="4281"/>
                  </a:cubicBezTo>
                  <a:cubicBezTo>
                    <a:pt x="1375" y="4281"/>
                    <a:pt x="1375" y="4182"/>
                    <a:pt x="1375" y="4182"/>
                  </a:cubicBezTo>
                  <a:cubicBezTo>
                    <a:pt x="1335" y="4084"/>
                    <a:pt x="1335" y="4084"/>
                    <a:pt x="1335" y="4084"/>
                  </a:cubicBezTo>
                  <a:cubicBezTo>
                    <a:pt x="1173" y="4133"/>
                    <a:pt x="1173" y="4133"/>
                    <a:pt x="1173" y="4133"/>
                  </a:cubicBezTo>
                  <a:cubicBezTo>
                    <a:pt x="1173" y="4133"/>
                    <a:pt x="1092" y="4182"/>
                    <a:pt x="1052" y="4182"/>
                  </a:cubicBezTo>
                  <a:cubicBezTo>
                    <a:pt x="1052" y="4182"/>
                    <a:pt x="971" y="4182"/>
                    <a:pt x="971" y="4182"/>
                  </a:cubicBezTo>
                  <a:cubicBezTo>
                    <a:pt x="930" y="4182"/>
                    <a:pt x="890" y="4133"/>
                    <a:pt x="890" y="4133"/>
                  </a:cubicBezTo>
                  <a:cubicBezTo>
                    <a:pt x="890" y="4133"/>
                    <a:pt x="728" y="4182"/>
                    <a:pt x="728" y="4182"/>
                  </a:cubicBezTo>
                  <a:cubicBezTo>
                    <a:pt x="728" y="4182"/>
                    <a:pt x="688" y="4182"/>
                    <a:pt x="688" y="4182"/>
                  </a:cubicBezTo>
                  <a:cubicBezTo>
                    <a:pt x="607" y="4182"/>
                    <a:pt x="607" y="4182"/>
                    <a:pt x="607" y="4182"/>
                  </a:cubicBezTo>
                  <a:cubicBezTo>
                    <a:pt x="526" y="4231"/>
                    <a:pt x="526" y="4231"/>
                    <a:pt x="526" y="4231"/>
                  </a:cubicBezTo>
                  <a:cubicBezTo>
                    <a:pt x="485" y="4281"/>
                    <a:pt x="485" y="4281"/>
                    <a:pt x="485" y="4281"/>
                  </a:cubicBezTo>
                  <a:cubicBezTo>
                    <a:pt x="485" y="4281"/>
                    <a:pt x="445" y="4330"/>
                    <a:pt x="445" y="4330"/>
                  </a:cubicBezTo>
                  <a:cubicBezTo>
                    <a:pt x="404" y="4330"/>
                    <a:pt x="364" y="4330"/>
                    <a:pt x="324" y="4330"/>
                  </a:cubicBezTo>
                  <a:cubicBezTo>
                    <a:pt x="324" y="4330"/>
                    <a:pt x="283" y="4379"/>
                    <a:pt x="283" y="4379"/>
                  </a:cubicBezTo>
                  <a:cubicBezTo>
                    <a:pt x="283" y="4379"/>
                    <a:pt x="202" y="4428"/>
                    <a:pt x="162" y="4477"/>
                  </a:cubicBezTo>
                  <a:cubicBezTo>
                    <a:pt x="121" y="4231"/>
                    <a:pt x="121" y="4231"/>
                    <a:pt x="121" y="4231"/>
                  </a:cubicBezTo>
                  <a:cubicBezTo>
                    <a:pt x="243" y="3789"/>
                    <a:pt x="243" y="3789"/>
                    <a:pt x="243" y="3789"/>
                  </a:cubicBezTo>
                  <a:cubicBezTo>
                    <a:pt x="445" y="3592"/>
                    <a:pt x="445" y="3592"/>
                    <a:pt x="445" y="3592"/>
                  </a:cubicBezTo>
                  <a:cubicBezTo>
                    <a:pt x="526" y="3198"/>
                    <a:pt x="526" y="3198"/>
                    <a:pt x="526" y="3198"/>
                  </a:cubicBezTo>
                  <a:cubicBezTo>
                    <a:pt x="404" y="3051"/>
                    <a:pt x="404" y="3051"/>
                    <a:pt x="404" y="3051"/>
                  </a:cubicBezTo>
                  <a:cubicBezTo>
                    <a:pt x="404" y="2903"/>
                    <a:pt x="769" y="2608"/>
                    <a:pt x="728" y="2460"/>
                  </a:cubicBezTo>
                  <a:cubicBezTo>
                    <a:pt x="688" y="2313"/>
                    <a:pt x="243" y="2755"/>
                    <a:pt x="202" y="2608"/>
                  </a:cubicBezTo>
                  <a:cubicBezTo>
                    <a:pt x="162" y="2313"/>
                    <a:pt x="283" y="2362"/>
                    <a:pt x="485" y="2116"/>
                  </a:cubicBezTo>
                  <a:cubicBezTo>
                    <a:pt x="243" y="2017"/>
                    <a:pt x="243" y="2017"/>
                    <a:pt x="243" y="2017"/>
                  </a:cubicBezTo>
                  <a:cubicBezTo>
                    <a:pt x="243" y="1722"/>
                    <a:pt x="243" y="1722"/>
                    <a:pt x="243" y="1722"/>
                  </a:cubicBezTo>
                  <a:cubicBezTo>
                    <a:pt x="81" y="1624"/>
                    <a:pt x="81" y="1624"/>
                    <a:pt x="81" y="1624"/>
                  </a:cubicBezTo>
                  <a:cubicBezTo>
                    <a:pt x="81" y="1624"/>
                    <a:pt x="121" y="1476"/>
                    <a:pt x="121" y="1328"/>
                  </a:cubicBezTo>
                  <a:cubicBezTo>
                    <a:pt x="121" y="1181"/>
                    <a:pt x="243" y="1132"/>
                    <a:pt x="243" y="1132"/>
                  </a:cubicBezTo>
                  <a:cubicBezTo>
                    <a:pt x="364" y="1082"/>
                    <a:pt x="445" y="984"/>
                    <a:pt x="566" y="886"/>
                  </a:cubicBezTo>
                  <a:cubicBezTo>
                    <a:pt x="688" y="689"/>
                    <a:pt x="809" y="787"/>
                    <a:pt x="890" y="738"/>
                  </a:cubicBezTo>
                  <a:cubicBezTo>
                    <a:pt x="1011" y="640"/>
                    <a:pt x="1011" y="738"/>
                    <a:pt x="1416" y="836"/>
                  </a:cubicBezTo>
                  <a:cubicBezTo>
                    <a:pt x="1497" y="787"/>
                    <a:pt x="1658" y="787"/>
                    <a:pt x="1699" y="689"/>
                  </a:cubicBezTo>
                  <a:cubicBezTo>
                    <a:pt x="1780" y="590"/>
                    <a:pt x="1901" y="640"/>
                    <a:pt x="1901" y="443"/>
                  </a:cubicBezTo>
                  <a:cubicBezTo>
                    <a:pt x="1942" y="148"/>
                    <a:pt x="2387" y="344"/>
                    <a:pt x="2387" y="246"/>
                  </a:cubicBezTo>
                  <a:cubicBezTo>
                    <a:pt x="2467" y="246"/>
                    <a:pt x="2548" y="0"/>
                    <a:pt x="2751" y="0"/>
                  </a:cubicBezTo>
                  <a:cubicBezTo>
                    <a:pt x="2912" y="49"/>
                    <a:pt x="2953" y="98"/>
                    <a:pt x="3074" y="148"/>
                  </a:cubicBezTo>
                  <a:cubicBezTo>
                    <a:pt x="3519" y="492"/>
                    <a:pt x="3317" y="689"/>
                    <a:pt x="3843" y="886"/>
                  </a:cubicBezTo>
                  <a:cubicBezTo>
                    <a:pt x="4288" y="1033"/>
                    <a:pt x="4813" y="1181"/>
                    <a:pt x="5258" y="1279"/>
                  </a:cubicBezTo>
                  <a:cubicBezTo>
                    <a:pt x="5663" y="1328"/>
                    <a:pt x="6067" y="1525"/>
                    <a:pt x="6472" y="1722"/>
                  </a:cubicBezTo>
                  <a:cubicBezTo>
                    <a:pt x="6472" y="1722"/>
                    <a:pt x="7969" y="2559"/>
                    <a:pt x="8009" y="2608"/>
                  </a:cubicBezTo>
                  <a:cubicBezTo>
                    <a:pt x="8049" y="2608"/>
                    <a:pt x="8899" y="2411"/>
                    <a:pt x="8939" y="2411"/>
                  </a:cubicBezTo>
                  <a:cubicBezTo>
                    <a:pt x="8980" y="2411"/>
                    <a:pt x="9263" y="2460"/>
                    <a:pt x="9465" y="2608"/>
                  </a:cubicBezTo>
                  <a:cubicBezTo>
                    <a:pt x="9587" y="2755"/>
                    <a:pt x="9991" y="3100"/>
                    <a:pt x="9991" y="3100"/>
                  </a:cubicBezTo>
                  <a:cubicBezTo>
                    <a:pt x="10072" y="3149"/>
                    <a:pt x="10557" y="3051"/>
                    <a:pt x="10557" y="3051"/>
                  </a:cubicBezTo>
                  <a:cubicBezTo>
                    <a:pt x="10881" y="3051"/>
                    <a:pt x="11164" y="3493"/>
                    <a:pt x="11326" y="3543"/>
                  </a:cubicBezTo>
                  <a:cubicBezTo>
                    <a:pt x="11528" y="3592"/>
                    <a:pt x="12013" y="3297"/>
                    <a:pt x="12216" y="3543"/>
                  </a:cubicBezTo>
                  <a:cubicBezTo>
                    <a:pt x="12216" y="3543"/>
                    <a:pt x="12620" y="3592"/>
                    <a:pt x="12661" y="3838"/>
                  </a:cubicBezTo>
                  <a:cubicBezTo>
                    <a:pt x="12742" y="4084"/>
                    <a:pt x="12903" y="4477"/>
                    <a:pt x="12903" y="4477"/>
                  </a:cubicBezTo>
                  <a:cubicBezTo>
                    <a:pt x="13429" y="4723"/>
                    <a:pt x="13429" y="4723"/>
                    <a:pt x="13429" y="4723"/>
                  </a:cubicBezTo>
                  <a:cubicBezTo>
                    <a:pt x="13429" y="4723"/>
                    <a:pt x="13712" y="5019"/>
                    <a:pt x="13753" y="5117"/>
                  </a:cubicBezTo>
                  <a:cubicBezTo>
                    <a:pt x="13793" y="5166"/>
                    <a:pt x="14400" y="5412"/>
                    <a:pt x="14400" y="5412"/>
                  </a:cubicBezTo>
                  <a:cubicBezTo>
                    <a:pt x="14804" y="5855"/>
                    <a:pt x="14804" y="5855"/>
                    <a:pt x="14804" y="5855"/>
                  </a:cubicBezTo>
                  <a:cubicBezTo>
                    <a:pt x="15411" y="5855"/>
                    <a:pt x="15411" y="5855"/>
                    <a:pt x="15411" y="5855"/>
                  </a:cubicBezTo>
                  <a:cubicBezTo>
                    <a:pt x="15816" y="5954"/>
                    <a:pt x="15816" y="5954"/>
                    <a:pt x="15816" y="5954"/>
                  </a:cubicBezTo>
                  <a:cubicBezTo>
                    <a:pt x="16018" y="5658"/>
                    <a:pt x="16018" y="5658"/>
                    <a:pt x="16018" y="5658"/>
                  </a:cubicBezTo>
                  <a:cubicBezTo>
                    <a:pt x="16018" y="5658"/>
                    <a:pt x="17029" y="6249"/>
                    <a:pt x="17070" y="6249"/>
                  </a:cubicBezTo>
                  <a:cubicBezTo>
                    <a:pt x="17110" y="6249"/>
                    <a:pt x="17110" y="6396"/>
                    <a:pt x="17151" y="6544"/>
                  </a:cubicBezTo>
                  <a:cubicBezTo>
                    <a:pt x="17151" y="6593"/>
                    <a:pt x="17151" y="6593"/>
                    <a:pt x="17151" y="6593"/>
                  </a:cubicBezTo>
                  <a:cubicBezTo>
                    <a:pt x="17110" y="6593"/>
                    <a:pt x="17151" y="6593"/>
                    <a:pt x="17151" y="6593"/>
                  </a:cubicBezTo>
                  <a:cubicBezTo>
                    <a:pt x="17151" y="6593"/>
                    <a:pt x="17151" y="6593"/>
                    <a:pt x="17151" y="6593"/>
                  </a:cubicBezTo>
                  <a:cubicBezTo>
                    <a:pt x="17151" y="6692"/>
                    <a:pt x="17151" y="6692"/>
                    <a:pt x="17151" y="6692"/>
                  </a:cubicBezTo>
                  <a:cubicBezTo>
                    <a:pt x="17151" y="6741"/>
                    <a:pt x="17151" y="6741"/>
                    <a:pt x="17151" y="6741"/>
                  </a:cubicBezTo>
                  <a:cubicBezTo>
                    <a:pt x="17110" y="6741"/>
                    <a:pt x="17110" y="6741"/>
                    <a:pt x="17110" y="6741"/>
                  </a:cubicBezTo>
                  <a:cubicBezTo>
                    <a:pt x="17110" y="6741"/>
                    <a:pt x="17110" y="6741"/>
                    <a:pt x="17110" y="6741"/>
                  </a:cubicBezTo>
                  <a:cubicBezTo>
                    <a:pt x="17151" y="6790"/>
                    <a:pt x="17151" y="6790"/>
                    <a:pt x="17151" y="6790"/>
                  </a:cubicBezTo>
                  <a:cubicBezTo>
                    <a:pt x="17151" y="6790"/>
                    <a:pt x="17151" y="6790"/>
                    <a:pt x="17151" y="6790"/>
                  </a:cubicBezTo>
                  <a:cubicBezTo>
                    <a:pt x="17151" y="6790"/>
                    <a:pt x="17151" y="6790"/>
                    <a:pt x="17151" y="6839"/>
                  </a:cubicBezTo>
                  <a:cubicBezTo>
                    <a:pt x="17151" y="6839"/>
                    <a:pt x="17151" y="6839"/>
                    <a:pt x="17151" y="6839"/>
                  </a:cubicBezTo>
                  <a:cubicBezTo>
                    <a:pt x="17151" y="6839"/>
                    <a:pt x="17151" y="6839"/>
                    <a:pt x="17151" y="6888"/>
                  </a:cubicBezTo>
                  <a:cubicBezTo>
                    <a:pt x="17151" y="6888"/>
                    <a:pt x="17151" y="6888"/>
                    <a:pt x="17151" y="6888"/>
                  </a:cubicBezTo>
                  <a:cubicBezTo>
                    <a:pt x="17191" y="6888"/>
                    <a:pt x="17191" y="6888"/>
                    <a:pt x="17191" y="6888"/>
                  </a:cubicBezTo>
                  <a:cubicBezTo>
                    <a:pt x="17191" y="6888"/>
                    <a:pt x="17191" y="6888"/>
                    <a:pt x="17191" y="6888"/>
                  </a:cubicBezTo>
                  <a:cubicBezTo>
                    <a:pt x="17191" y="6888"/>
                    <a:pt x="17231" y="6938"/>
                    <a:pt x="17231" y="6938"/>
                  </a:cubicBezTo>
                  <a:cubicBezTo>
                    <a:pt x="17231" y="6938"/>
                    <a:pt x="17231" y="6938"/>
                    <a:pt x="17272" y="6938"/>
                  </a:cubicBezTo>
                  <a:cubicBezTo>
                    <a:pt x="17272" y="6938"/>
                    <a:pt x="17272" y="6938"/>
                    <a:pt x="17312" y="6938"/>
                  </a:cubicBezTo>
                  <a:cubicBezTo>
                    <a:pt x="17312" y="6938"/>
                    <a:pt x="17312" y="6938"/>
                    <a:pt x="17312" y="6938"/>
                  </a:cubicBezTo>
                  <a:cubicBezTo>
                    <a:pt x="17312" y="6938"/>
                    <a:pt x="17353" y="6938"/>
                    <a:pt x="17353" y="6888"/>
                  </a:cubicBezTo>
                  <a:cubicBezTo>
                    <a:pt x="17879" y="7036"/>
                    <a:pt x="17879" y="7036"/>
                    <a:pt x="17879" y="7036"/>
                  </a:cubicBezTo>
                  <a:cubicBezTo>
                    <a:pt x="18000" y="7085"/>
                    <a:pt x="18000" y="7184"/>
                    <a:pt x="18121" y="7282"/>
                  </a:cubicBezTo>
                  <a:cubicBezTo>
                    <a:pt x="18445" y="7134"/>
                    <a:pt x="18445" y="7134"/>
                    <a:pt x="18445" y="7134"/>
                  </a:cubicBezTo>
                  <a:cubicBezTo>
                    <a:pt x="18849" y="7479"/>
                    <a:pt x="18849" y="7479"/>
                    <a:pt x="18849" y="7479"/>
                  </a:cubicBezTo>
                  <a:cubicBezTo>
                    <a:pt x="19213" y="7331"/>
                    <a:pt x="19213" y="7331"/>
                    <a:pt x="19213" y="7331"/>
                  </a:cubicBezTo>
                  <a:cubicBezTo>
                    <a:pt x="19578" y="7331"/>
                    <a:pt x="19578" y="7331"/>
                    <a:pt x="19578" y="7331"/>
                  </a:cubicBezTo>
                  <a:cubicBezTo>
                    <a:pt x="19578" y="7233"/>
                    <a:pt x="20427" y="7331"/>
                    <a:pt x="20063" y="7823"/>
                  </a:cubicBezTo>
                  <a:close/>
                  <a:moveTo>
                    <a:pt x="20467" y="13826"/>
                  </a:moveTo>
                  <a:cubicBezTo>
                    <a:pt x="20467" y="13826"/>
                    <a:pt x="20467" y="13826"/>
                    <a:pt x="20467" y="13826"/>
                  </a:cubicBezTo>
                  <a:cubicBezTo>
                    <a:pt x="20467" y="14121"/>
                    <a:pt x="20872" y="14023"/>
                    <a:pt x="21074" y="14220"/>
                  </a:cubicBezTo>
                  <a:cubicBezTo>
                    <a:pt x="21155" y="14318"/>
                    <a:pt x="21074" y="14564"/>
                    <a:pt x="21196" y="14613"/>
                  </a:cubicBezTo>
                  <a:cubicBezTo>
                    <a:pt x="21479" y="14908"/>
                    <a:pt x="21600" y="14367"/>
                    <a:pt x="21357" y="13826"/>
                  </a:cubicBezTo>
                  <a:cubicBezTo>
                    <a:pt x="21276" y="13728"/>
                    <a:pt x="21155" y="13728"/>
                    <a:pt x="21034" y="13728"/>
                  </a:cubicBezTo>
                  <a:cubicBezTo>
                    <a:pt x="20831" y="13728"/>
                    <a:pt x="20427" y="13580"/>
                    <a:pt x="20467" y="13826"/>
                  </a:cubicBezTo>
                  <a:close/>
                  <a:moveTo>
                    <a:pt x="18121" y="14761"/>
                  </a:moveTo>
                  <a:cubicBezTo>
                    <a:pt x="18121" y="14761"/>
                    <a:pt x="18121" y="14761"/>
                    <a:pt x="18121" y="14761"/>
                  </a:cubicBezTo>
                  <a:cubicBezTo>
                    <a:pt x="18283" y="14810"/>
                    <a:pt x="18445" y="14613"/>
                    <a:pt x="18607" y="14712"/>
                  </a:cubicBezTo>
                  <a:cubicBezTo>
                    <a:pt x="18688" y="14810"/>
                    <a:pt x="18647" y="15007"/>
                    <a:pt x="18688" y="15154"/>
                  </a:cubicBezTo>
                  <a:cubicBezTo>
                    <a:pt x="18445" y="15450"/>
                    <a:pt x="19092" y="15400"/>
                    <a:pt x="19133" y="15400"/>
                  </a:cubicBezTo>
                  <a:cubicBezTo>
                    <a:pt x="19133" y="15499"/>
                    <a:pt x="19213" y="15745"/>
                    <a:pt x="19335" y="15646"/>
                  </a:cubicBezTo>
                  <a:cubicBezTo>
                    <a:pt x="19982" y="14712"/>
                    <a:pt x="19982" y="14712"/>
                    <a:pt x="19982" y="14712"/>
                  </a:cubicBezTo>
                  <a:cubicBezTo>
                    <a:pt x="19982" y="14613"/>
                    <a:pt x="19942" y="14515"/>
                    <a:pt x="19861" y="14515"/>
                  </a:cubicBezTo>
                  <a:cubicBezTo>
                    <a:pt x="19699" y="14416"/>
                    <a:pt x="19497" y="14613"/>
                    <a:pt x="19375" y="14515"/>
                  </a:cubicBezTo>
                  <a:cubicBezTo>
                    <a:pt x="19254" y="14416"/>
                    <a:pt x="19497" y="14023"/>
                    <a:pt x="19335" y="13875"/>
                  </a:cubicBezTo>
                  <a:cubicBezTo>
                    <a:pt x="19011" y="13580"/>
                    <a:pt x="18890" y="13924"/>
                    <a:pt x="18647" y="14170"/>
                  </a:cubicBezTo>
                  <a:cubicBezTo>
                    <a:pt x="18485" y="14318"/>
                    <a:pt x="18243" y="14367"/>
                    <a:pt x="18081" y="14564"/>
                  </a:cubicBezTo>
                  <a:cubicBezTo>
                    <a:pt x="18040" y="14613"/>
                    <a:pt x="18081" y="14761"/>
                    <a:pt x="18121" y="14761"/>
                  </a:cubicBezTo>
                  <a:close/>
                  <a:moveTo>
                    <a:pt x="15816" y="16188"/>
                  </a:moveTo>
                  <a:cubicBezTo>
                    <a:pt x="15816" y="16188"/>
                    <a:pt x="15816" y="16188"/>
                    <a:pt x="15816" y="16188"/>
                  </a:cubicBezTo>
                  <a:cubicBezTo>
                    <a:pt x="15654" y="16335"/>
                    <a:pt x="15978" y="16581"/>
                    <a:pt x="16058" y="16581"/>
                  </a:cubicBezTo>
                  <a:cubicBezTo>
                    <a:pt x="16139" y="16581"/>
                    <a:pt x="16625" y="16188"/>
                    <a:pt x="16625" y="16040"/>
                  </a:cubicBezTo>
                  <a:cubicBezTo>
                    <a:pt x="16584" y="15843"/>
                    <a:pt x="16382" y="15794"/>
                    <a:pt x="16261" y="15794"/>
                  </a:cubicBezTo>
                  <a:cubicBezTo>
                    <a:pt x="16099" y="15843"/>
                    <a:pt x="15937" y="16040"/>
                    <a:pt x="15816" y="16188"/>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2" name="Shape 2265">
              <a:extLst>
                <a:ext uri="{FF2B5EF4-FFF2-40B4-BE49-F238E27FC236}">
                  <a16:creationId xmlns:a16="http://schemas.microsoft.com/office/drawing/2014/main" id="{0FB202EF-3D01-F6F2-A130-95FBB6442EF0}"/>
                </a:ext>
              </a:extLst>
            </p:cNvPr>
            <p:cNvSpPr/>
            <p:nvPr/>
          </p:nvSpPr>
          <p:spPr>
            <a:xfrm>
              <a:off x="5424303" y="6711103"/>
              <a:ext cx="1682171" cy="1518770"/>
            </a:xfrm>
            <a:custGeom>
              <a:avLst/>
              <a:gdLst/>
              <a:ahLst/>
              <a:cxnLst>
                <a:cxn ang="0">
                  <a:pos x="wd2" y="hd2"/>
                </a:cxn>
                <a:cxn ang="5400000">
                  <a:pos x="wd2" y="hd2"/>
                </a:cxn>
                <a:cxn ang="10800000">
                  <a:pos x="wd2" y="hd2"/>
                </a:cxn>
                <a:cxn ang="16200000">
                  <a:pos x="wd2" y="hd2"/>
                </a:cxn>
              </a:cxnLst>
              <a:rect l="0" t="0" r="r" b="b"/>
              <a:pathLst>
                <a:path w="21600" h="21600" extrusionOk="0">
                  <a:moveTo>
                    <a:pt x="11753" y="1819"/>
                  </a:moveTo>
                  <a:cubicBezTo>
                    <a:pt x="12018" y="1705"/>
                    <a:pt x="12018" y="1705"/>
                    <a:pt x="12018" y="1705"/>
                  </a:cubicBezTo>
                  <a:cubicBezTo>
                    <a:pt x="12018" y="1705"/>
                    <a:pt x="12335" y="1592"/>
                    <a:pt x="12388" y="1592"/>
                  </a:cubicBezTo>
                  <a:cubicBezTo>
                    <a:pt x="12441" y="1592"/>
                    <a:pt x="12706" y="1535"/>
                    <a:pt x="12759" y="1478"/>
                  </a:cubicBezTo>
                  <a:cubicBezTo>
                    <a:pt x="12812" y="1478"/>
                    <a:pt x="12971" y="1364"/>
                    <a:pt x="13024" y="1307"/>
                  </a:cubicBezTo>
                  <a:cubicBezTo>
                    <a:pt x="13076" y="1307"/>
                    <a:pt x="13182" y="1307"/>
                    <a:pt x="13288" y="1194"/>
                  </a:cubicBezTo>
                  <a:cubicBezTo>
                    <a:pt x="13341" y="1137"/>
                    <a:pt x="13394" y="966"/>
                    <a:pt x="13394" y="909"/>
                  </a:cubicBezTo>
                  <a:cubicBezTo>
                    <a:pt x="13394" y="853"/>
                    <a:pt x="13341" y="853"/>
                    <a:pt x="13288" y="682"/>
                  </a:cubicBezTo>
                  <a:cubicBezTo>
                    <a:pt x="13182" y="512"/>
                    <a:pt x="13076" y="398"/>
                    <a:pt x="13076" y="341"/>
                  </a:cubicBezTo>
                  <a:cubicBezTo>
                    <a:pt x="13024" y="227"/>
                    <a:pt x="13024" y="114"/>
                    <a:pt x="13076" y="114"/>
                  </a:cubicBezTo>
                  <a:cubicBezTo>
                    <a:pt x="13129" y="57"/>
                    <a:pt x="13288" y="0"/>
                    <a:pt x="13394" y="0"/>
                  </a:cubicBezTo>
                  <a:cubicBezTo>
                    <a:pt x="13500" y="57"/>
                    <a:pt x="13765" y="114"/>
                    <a:pt x="13818" y="114"/>
                  </a:cubicBezTo>
                  <a:cubicBezTo>
                    <a:pt x="13871" y="114"/>
                    <a:pt x="14135" y="284"/>
                    <a:pt x="14135" y="284"/>
                  </a:cubicBezTo>
                  <a:cubicBezTo>
                    <a:pt x="14135" y="284"/>
                    <a:pt x="14241" y="568"/>
                    <a:pt x="14241" y="625"/>
                  </a:cubicBezTo>
                  <a:cubicBezTo>
                    <a:pt x="14241" y="682"/>
                    <a:pt x="14506" y="1023"/>
                    <a:pt x="14400" y="1023"/>
                  </a:cubicBezTo>
                  <a:cubicBezTo>
                    <a:pt x="14347" y="1023"/>
                    <a:pt x="14135" y="1080"/>
                    <a:pt x="14135" y="1080"/>
                  </a:cubicBezTo>
                  <a:cubicBezTo>
                    <a:pt x="14029" y="1251"/>
                    <a:pt x="14029" y="1251"/>
                    <a:pt x="14029" y="1251"/>
                  </a:cubicBezTo>
                  <a:cubicBezTo>
                    <a:pt x="14029" y="1251"/>
                    <a:pt x="13924" y="1478"/>
                    <a:pt x="13924" y="1535"/>
                  </a:cubicBezTo>
                  <a:cubicBezTo>
                    <a:pt x="13924" y="1592"/>
                    <a:pt x="13871" y="1876"/>
                    <a:pt x="13871" y="1876"/>
                  </a:cubicBezTo>
                  <a:cubicBezTo>
                    <a:pt x="14135" y="2501"/>
                    <a:pt x="14135" y="2501"/>
                    <a:pt x="14135" y="2501"/>
                  </a:cubicBezTo>
                  <a:cubicBezTo>
                    <a:pt x="13871" y="2899"/>
                    <a:pt x="13871" y="2899"/>
                    <a:pt x="13871" y="2899"/>
                  </a:cubicBezTo>
                  <a:cubicBezTo>
                    <a:pt x="13659" y="3126"/>
                    <a:pt x="13659" y="3126"/>
                    <a:pt x="13659" y="3126"/>
                  </a:cubicBezTo>
                  <a:cubicBezTo>
                    <a:pt x="13659" y="3126"/>
                    <a:pt x="13341" y="3126"/>
                    <a:pt x="13341" y="3069"/>
                  </a:cubicBezTo>
                  <a:cubicBezTo>
                    <a:pt x="13341" y="3013"/>
                    <a:pt x="13129" y="2899"/>
                    <a:pt x="13129" y="2899"/>
                  </a:cubicBezTo>
                  <a:cubicBezTo>
                    <a:pt x="13129" y="2899"/>
                    <a:pt x="12812" y="2956"/>
                    <a:pt x="12759" y="3013"/>
                  </a:cubicBezTo>
                  <a:cubicBezTo>
                    <a:pt x="12706" y="3013"/>
                    <a:pt x="11965" y="3069"/>
                    <a:pt x="11965" y="3069"/>
                  </a:cubicBezTo>
                  <a:cubicBezTo>
                    <a:pt x="11965" y="3069"/>
                    <a:pt x="11806" y="3013"/>
                    <a:pt x="11753" y="3013"/>
                  </a:cubicBezTo>
                  <a:cubicBezTo>
                    <a:pt x="11700" y="3013"/>
                    <a:pt x="11435" y="3013"/>
                    <a:pt x="11435" y="3013"/>
                  </a:cubicBezTo>
                  <a:cubicBezTo>
                    <a:pt x="11382" y="2785"/>
                    <a:pt x="11382" y="2785"/>
                    <a:pt x="11382" y="2785"/>
                  </a:cubicBezTo>
                  <a:cubicBezTo>
                    <a:pt x="11171" y="2842"/>
                    <a:pt x="11171" y="2842"/>
                    <a:pt x="11171" y="2842"/>
                  </a:cubicBezTo>
                  <a:cubicBezTo>
                    <a:pt x="11118" y="3069"/>
                    <a:pt x="11118" y="3069"/>
                    <a:pt x="11118" y="3069"/>
                  </a:cubicBezTo>
                  <a:cubicBezTo>
                    <a:pt x="10853" y="3240"/>
                    <a:pt x="10853" y="3240"/>
                    <a:pt x="10853" y="3240"/>
                  </a:cubicBezTo>
                  <a:cubicBezTo>
                    <a:pt x="10588" y="3411"/>
                    <a:pt x="10588" y="3411"/>
                    <a:pt x="10588" y="3411"/>
                  </a:cubicBezTo>
                  <a:cubicBezTo>
                    <a:pt x="10059" y="3411"/>
                    <a:pt x="10059" y="3411"/>
                    <a:pt x="10059" y="3411"/>
                  </a:cubicBezTo>
                  <a:cubicBezTo>
                    <a:pt x="9741" y="3411"/>
                    <a:pt x="9741" y="3411"/>
                    <a:pt x="9741" y="3411"/>
                  </a:cubicBezTo>
                  <a:cubicBezTo>
                    <a:pt x="9741" y="3524"/>
                    <a:pt x="9741" y="3524"/>
                    <a:pt x="9741" y="3524"/>
                  </a:cubicBezTo>
                  <a:cubicBezTo>
                    <a:pt x="9582" y="3865"/>
                    <a:pt x="9582" y="3865"/>
                    <a:pt x="9582" y="3865"/>
                  </a:cubicBezTo>
                  <a:cubicBezTo>
                    <a:pt x="9371" y="4036"/>
                    <a:pt x="9371" y="4036"/>
                    <a:pt x="9371" y="4036"/>
                  </a:cubicBezTo>
                  <a:cubicBezTo>
                    <a:pt x="9371" y="4036"/>
                    <a:pt x="9053" y="4149"/>
                    <a:pt x="9000" y="4206"/>
                  </a:cubicBezTo>
                  <a:cubicBezTo>
                    <a:pt x="9000" y="4206"/>
                    <a:pt x="8788" y="4149"/>
                    <a:pt x="8788" y="4149"/>
                  </a:cubicBezTo>
                  <a:cubicBezTo>
                    <a:pt x="8524" y="4320"/>
                    <a:pt x="8524" y="4320"/>
                    <a:pt x="8524" y="4320"/>
                  </a:cubicBezTo>
                  <a:cubicBezTo>
                    <a:pt x="8471" y="4491"/>
                    <a:pt x="8471" y="4491"/>
                    <a:pt x="8471" y="4491"/>
                  </a:cubicBezTo>
                  <a:cubicBezTo>
                    <a:pt x="8576" y="4604"/>
                    <a:pt x="8576" y="4604"/>
                    <a:pt x="8576" y="4604"/>
                  </a:cubicBezTo>
                  <a:cubicBezTo>
                    <a:pt x="8788" y="4718"/>
                    <a:pt x="8788" y="4718"/>
                    <a:pt x="8788" y="4718"/>
                  </a:cubicBezTo>
                  <a:cubicBezTo>
                    <a:pt x="8788" y="4718"/>
                    <a:pt x="8947" y="4775"/>
                    <a:pt x="8947" y="4832"/>
                  </a:cubicBezTo>
                  <a:cubicBezTo>
                    <a:pt x="8947" y="4832"/>
                    <a:pt x="8894" y="4945"/>
                    <a:pt x="8894" y="4945"/>
                  </a:cubicBezTo>
                  <a:cubicBezTo>
                    <a:pt x="8894" y="5229"/>
                    <a:pt x="8894" y="5229"/>
                    <a:pt x="8894" y="5229"/>
                  </a:cubicBezTo>
                  <a:cubicBezTo>
                    <a:pt x="8894" y="5229"/>
                    <a:pt x="9053" y="5286"/>
                    <a:pt x="9106" y="5286"/>
                  </a:cubicBezTo>
                  <a:cubicBezTo>
                    <a:pt x="9106" y="5286"/>
                    <a:pt x="9265" y="5173"/>
                    <a:pt x="9265" y="5173"/>
                  </a:cubicBezTo>
                  <a:cubicBezTo>
                    <a:pt x="9265" y="5116"/>
                    <a:pt x="9318" y="5059"/>
                    <a:pt x="9318" y="5059"/>
                  </a:cubicBezTo>
                  <a:cubicBezTo>
                    <a:pt x="9424" y="5173"/>
                    <a:pt x="9424" y="5173"/>
                    <a:pt x="9424" y="5173"/>
                  </a:cubicBezTo>
                  <a:cubicBezTo>
                    <a:pt x="9424" y="5173"/>
                    <a:pt x="9476" y="5286"/>
                    <a:pt x="9529" y="5286"/>
                  </a:cubicBezTo>
                  <a:cubicBezTo>
                    <a:pt x="9529" y="5286"/>
                    <a:pt x="9688" y="5286"/>
                    <a:pt x="9688" y="5286"/>
                  </a:cubicBezTo>
                  <a:cubicBezTo>
                    <a:pt x="9900" y="5400"/>
                    <a:pt x="9900" y="5400"/>
                    <a:pt x="9900" y="5400"/>
                  </a:cubicBezTo>
                  <a:cubicBezTo>
                    <a:pt x="10165" y="5627"/>
                    <a:pt x="10165" y="5627"/>
                    <a:pt x="10165" y="5627"/>
                  </a:cubicBezTo>
                  <a:cubicBezTo>
                    <a:pt x="10165" y="5627"/>
                    <a:pt x="10376" y="5741"/>
                    <a:pt x="10324" y="5798"/>
                  </a:cubicBezTo>
                  <a:cubicBezTo>
                    <a:pt x="10218" y="5855"/>
                    <a:pt x="10112" y="5912"/>
                    <a:pt x="10059" y="5912"/>
                  </a:cubicBezTo>
                  <a:cubicBezTo>
                    <a:pt x="10059" y="5912"/>
                    <a:pt x="9953" y="5855"/>
                    <a:pt x="9953" y="5798"/>
                  </a:cubicBezTo>
                  <a:cubicBezTo>
                    <a:pt x="9953" y="5684"/>
                    <a:pt x="9900" y="5627"/>
                    <a:pt x="9847" y="5627"/>
                  </a:cubicBezTo>
                  <a:cubicBezTo>
                    <a:pt x="9794" y="5627"/>
                    <a:pt x="9688" y="5514"/>
                    <a:pt x="9688" y="5514"/>
                  </a:cubicBezTo>
                  <a:cubicBezTo>
                    <a:pt x="9635" y="5514"/>
                    <a:pt x="9529" y="5514"/>
                    <a:pt x="9476" y="5571"/>
                  </a:cubicBezTo>
                  <a:cubicBezTo>
                    <a:pt x="9424" y="5571"/>
                    <a:pt x="9318" y="5571"/>
                    <a:pt x="9318" y="5514"/>
                  </a:cubicBezTo>
                  <a:cubicBezTo>
                    <a:pt x="9265" y="5514"/>
                    <a:pt x="9212" y="5343"/>
                    <a:pt x="9212" y="5343"/>
                  </a:cubicBezTo>
                  <a:cubicBezTo>
                    <a:pt x="8947" y="5286"/>
                    <a:pt x="8947" y="5286"/>
                    <a:pt x="8947" y="5286"/>
                  </a:cubicBezTo>
                  <a:cubicBezTo>
                    <a:pt x="8947" y="5286"/>
                    <a:pt x="8894" y="5343"/>
                    <a:pt x="8894" y="5400"/>
                  </a:cubicBezTo>
                  <a:cubicBezTo>
                    <a:pt x="8894" y="5400"/>
                    <a:pt x="8788" y="5514"/>
                    <a:pt x="8788" y="5514"/>
                  </a:cubicBezTo>
                  <a:cubicBezTo>
                    <a:pt x="8735" y="5571"/>
                    <a:pt x="8735" y="5571"/>
                    <a:pt x="8735" y="5571"/>
                  </a:cubicBezTo>
                  <a:cubicBezTo>
                    <a:pt x="8735" y="5684"/>
                    <a:pt x="8735" y="5684"/>
                    <a:pt x="8735" y="5684"/>
                  </a:cubicBezTo>
                  <a:cubicBezTo>
                    <a:pt x="8841" y="5798"/>
                    <a:pt x="8841" y="5798"/>
                    <a:pt x="8841" y="5798"/>
                  </a:cubicBezTo>
                  <a:cubicBezTo>
                    <a:pt x="9053" y="5968"/>
                    <a:pt x="9053" y="5968"/>
                    <a:pt x="9053" y="5968"/>
                  </a:cubicBezTo>
                  <a:cubicBezTo>
                    <a:pt x="9053" y="5968"/>
                    <a:pt x="9318" y="6025"/>
                    <a:pt x="9318" y="6025"/>
                  </a:cubicBezTo>
                  <a:cubicBezTo>
                    <a:pt x="9371" y="6025"/>
                    <a:pt x="9476" y="6196"/>
                    <a:pt x="9476" y="6196"/>
                  </a:cubicBezTo>
                  <a:cubicBezTo>
                    <a:pt x="9476" y="6366"/>
                    <a:pt x="9476" y="6366"/>
                    <a:pt x="9476" y="6366"/>
                  </a:cubicBezTo>
                  <a:cubicBezTo>
                    <a:pt x="9424" y="6537"/>
                    <a:pt x="9424" y="6537"/>
                    <a:pt x="9424" y="6537"/>
                  </a:cubicBezTo>
                  <a:cubicBezTo>
                    <a:pt x="9424" y="6537"/>
                    <a:pt x="9424" y="6651"/>
                    <a:pt x="9318" y="6594"/>
                  </a:cubicBezTo>
                  <a:cubicBezTo>
                    <a:pt x="9212" y="6537"/>
                    <a:pt x="9159" y="6480"/>
                    <a:pt x="9159" y="6480"/>
                  </a:cubicBezTo>
                  <a:cubicBezTo>
                    <a:pt x="9000" y="6423"/>
                    <a:pt x="9000" y="6423"/>
                    <a:pt x="9000" y="6423"/>
                  </a:cubicBezTo>
                  <a:cubicBezTo>
                    <a:pt x="8947" y="6196"/>
                    <a:pt x="8947" y="6196"/>
                    <a:pt x="8947" y="6196"/>
                  </a:cubicBezTo>
                  <a:cubicBezTo>
                    <a:pt x="8947" y="6196"/>
                    <a:pt x="8841" y="6082"/>
                    <a:pt x="8841" y="6082"/>
                  </a:cubicBezTo>
                  <a:cubicBezTo>
                    <a:pt x="8788" y="6082"/>
                    <a:pt x="8524" y="5912"/>
                    <a:pt x="8524" y="5912"/>
                  </a:cubicBezTo>
                  <a:cubicBezTo>
                    <a:pt x="8206" y="5912"/>
                    <a:pt x="8206" y="5912"/>
                    <a:pt x="8206" y="5912"/>
                  </a:cubicBezTo>
                  <a:cubicBezTo>
                    <a:pt x="7994" y="5912"/>
                    <a:pt x="7994" y="5912"/>
                    <a:pt x="7994" y="5912"/>
                  </a:cubicBezTo>
                  <a:cubicBezTo>
                    <a:pt x="7941" y="6082"/>
                    <a:pt x="7941" y="6082"/>
                    <a:pt x="7941" y="6082"/>
                  </a:cubicBezTo>
                  <a:cubicBezTo>
                    <a:pt x="7941" y="6082"/>
                    <a:pt x="7941" y="6196"/>
                    <a:pt x="7994" y="6196"/>
                  </a:cubicBezTo>
                  <a:cubicBezTo>
                    <a:pt x="7994" y="6253"/>
                    <a:pt x="8153" y="6366"/>
                    <a:pt x="8153" y="6366"/>
                  </a:cubicBezTo>
                  <a:cubicBezTo>
                    <a:pt x="8153" y="6366"/>
                    <a:pt x="8259" y="6366"/>
                    <a:pt x="8259" y="6423"/>
                  </a:cubicBezTo>
                  <a:cubicBezTo>
                    <a:pt x="8312" y="6480"/>
                    <a:pt x="8418" y="6594"/>
                    <a:pt x="8418" y="6594"/>
                  </a:cubicBezTo>
                  <a:cubicBezTo>
                    <a:pt x="8418" y="6594"/>
                    <a:pt x="8471" y="6594"/>
                    <a:pt x="8524" y="6594"/>
                  </a:cubicBezTo>
                  <a:cubicBezTo>
                    <a:pt x="8629" y="6594"/>
                    <a:pt x="8735" y="6651"/>
                    <a:pt x="8735" y="6651"/>
                  </a:cubicBezTo>
                  <a:cubicBezTo>
                    <a:pt x="8894" y="6707"/>
                    <a:pt x="8894" y="6707"/>
                    <a:pt x="8894" y="6707"/>
                  </a:cubicBezTo>
                  <a:cubicBezTo>
                    <a:pt x="8947" y="6764"/>
                    <a:pt x="8947" y="6764"/>
                    <a:pt x="8947" y="6764"/>
                  </a:cubicBezTo>
                  <a:cubicBezTo>
                    <a:pt x="8947" y="6764"/>
                    <a:pt x="8788" y="6821"/>
                    <a:pt x="8735" y="6821"/>
                  </a:cubicBezTo>
                  <a:cubicBezTo>
                    <a:pt x="8682" y="6878"/>
                    <a:pt x="8524" y="6878"/>
                    <a:pt x="8524" y="6878"/>
                  </a:cubicBezTo>
                  <a:cubicBezTo>
                    <a:pt x="8524" y="6878"/>
                    <a:pt x="8418" y="6764"/>
                    <a:pt x="8365" y="6764"/>
                  </a:cubicBezTo>
                  <a:cubicBezTo>
                    <a:pt x="8365" y="6764"/>
                    <a:pt x="8206" y="6821"/>
                    <a:pt x="8206" y="6821"/>
                  </a:cubicBezTo>
                  <a:cubicBezTo>
                    <a:pt x="8206" y="6821"/>
                    <a:pt x="8100" y="6935"/>
                    <a:pt x="8047" y="6821"/>
                  </a:cubicBezTo>
                  <a:cubicBezTo>
                    <a:pt x="7994" y="6707"/>
                    <a:pt x="7941" y="6594"/>
                    <a:pt x="7941" y="6594"/>
                  </a:cubicBezTo>
                  <a:cubicBezTo>
                    <a:pt x="7941" y="6480"/>
                    <a:pt x="7941" y="6480"/>
                    <a:pt x="7941" y="6480"/>
                  </a:cubicBezTo>
                  <a:cubicBezTo>
                    <a:pt x="7941" y="6309"/>
                    <a:pt x="7941" y="6309"/>
                    <a:pt x="7941" y="6309"/>
                  </a:cubicBezTo>
                  <a:cubicBezTo>
                    <a:pt x="7888" y="6139"/>
                    <a:pt x="7888" y="6139"/>
                    <a:pt x="7888" y="6139"/>
                  </a:cubicBezTo>
                  <a:cubicBezTo>
                    <a:pt x="7676" y="6025"/>
                    <a:pt x="7676" y="6025"/>
                    <a:pt x="7676" y="6025"/>
                  </a:cubicBezTo>
                  <a:cubicBezTo>
                    <a:pt x="7412" y="6025"/>
                    <a:pt x="7412" y="6025"/>
                    <a:pt x="7412" y="6025"/>
                  </a:cubicBezTo>
                  <a:cubicBezTo>
                    <a:pt x="7147" y="5855"/>
                    <a:pt x="7147" y="5855"/>
                    <a:pt x="7147" y="5855"/>
                  </a:cubicBezTo>
                  <a:cubicBezTo>
                    <a:pt x="6829" y="5741"/>
                    <a:pt x="6829" y="5741"/>
                    <a:pt x="6829" y="5741"/>
                  </a:cubicBezTo>
                  <a:cubicBezTo>
                    <a:pt x="6724" y="5514"/>
                    <a:pt x="6724" y="5514"/>
                    <a:pt x="6724" y="5514"/>
                  </a:cubicBezTo>
                  <a:cubicBezTo>
                    <a:pt x="6935" y="5343"/>
                    <a:pt x="6935" y="5343"/>
                    <a:pt x="6935" y="5343"/>
                  </a:cubicBezTo>
                  <a:cubicBezTo>
                    <a:pt x="6882" y="5173"/>
                    <a:pt x="6882" y="5173"/>
                    <a:pt x="6882" y="5173"/>
                  </a:cubicBezTo>
                  <a:cubicBezTo>
                    <a:pt x="6776" y="5059"/>
                    <a:pt x="6776" y="5059"/>
                    <a:pt x="6776" y="5059"/>
                  </a:cubicBezTo>
                  <a:cubicBezTo>
                    <a:pt x="6512" y="5229"/>
                    <a:pt x="6512" y="5229"/>
                    <a:pt x="6512" y="5229"/>
                  </a:cubicBezTo>
                  <a:cubicBezTo>
                    <a:pt x="6512" y="5400"/>
                    <a:pt x="6512" y="5400"/>
                    <a:pt x="6512" y="5400"/>
                  </a:cubicBezTo>
                  <a:cubicBezTo>
                    <a:pt x="6247" y="5514"/>
                    <a:pt x="6247" y="5514"/>
                    <a:pt x="6247" y="5514"/>
                  </a:cubicBezTo>
                  <a:cubicBezTo>
                    <a:pt x="6141" y="5741"/>
                    <a:pt x="6141" y="5741"/>
                    <a:pt x="6141" y="5741"/>
                  </a:cubicBezTo>
                  <a:cubicBezTo>
                    <a:pt x="6300" y="5912"/>
                    <a:pt x="6300" y="5912"/>
                    <a:pt x="6300" y="5912"/>
                  </a:cubicBezTo>
                  <a:cubicBezTo>
                    <a:pt x="6300" y="6196"/>
                    <a:pt x="6300" y="6196"/>
                    <a:pt x="6300" y="6196"/>
                  </a:cubicBezTo>
                  <a:cubicBezTo>
                    <a:pt x="6300" y="6196"/>
                    <a:pt x="6247" y="6480"/>
                    <a:pt x="6300" y="6537"/>
                  </a:cubicBezTo>
                  <a:cubicBezTo>
                    <a:pt x="6300" y="6537"/>
                    <a:pt x="6247" y="6707"/>
                    <a:pt x="6247" y="6821"/>
                  </a:cubicBezTo>
                  <a:cubicBezTo>
                    <a:pt x="6300" y="6878"/>
                    <a:pt x="6300" y="6935"/>
                    <a:pt x="6406" y="6992"/>
                  </a:cubicBezTo>
                  <a:cubicBezTo>
                    <a:pt x="6459" y="7048"/>
                    <a:pt x="6459" y="7048"/>
                    <a:pt x="6565" y="7105"/>
                  </a:cubicBezTo>
                  <a:cubicBezTo>
                    <a:pt x="6671" y="7162"/>
                    <a:pt x="6724" y="7219"/>
                    <a:pt x="6724" y="7219"/>
                  </a:cubicBezTo>
                  <a:cubicBezTo>
                    <a:pt x="6829" y="7446"/>
                    <a:pt x="6829" y="7446"/>
                    <a:pt x="6829" y="7446"/>
                  </a:cubicBezTo>
                  <a:cubicBezTo>
                    <a:pt x="6829" y="7446"/>
                    <a:pt x="6882" y="7503"/>
                    <a:pt x="6935" y="7503"/>
                  </a:cubicBezTo>
                  <a:cubicBezTo>
                    <a:pt x="6988" y="7560"/>
                    <a:pt x="7147" y="7617"/>
                    <a:pt x="7147" y="7674"/>
                  </a:cubicBezTo>
                  <a:cubicBezTo>
                    <a:pt x="7147" y="7787"/>
                    <a:pt x="7200" y="7901"/>
                    <a:pt x="7200" y="7901"/>
                  </a:cubicBezTo>
                  <a:cubicBezTo>
                    <a:pt x="7200" y="7901"/>
                    <a:pt x="7253" y="8015"/>
                    <a:pt x="7253" y="8015"/>
                  </a:cubicBezTo>
                  <a:cubicBezTo>
                    <a:pt x="7306" y="8072"/>
                    <a:pt x="7359" y="8015"/>
                    <a:pt x="7359" y="8072"/>
                  </a:cubicBezTo>
                  <a:cubicBezTo>
                    <a:pt x="7412" y="8128"/>
                    <a:pt x="7359" y="8185"/>
                    <a:pt x="7465" y="8242"/>
                  </a:cubicBezTo>
                  <a:cubicBezTo>
                    <a:pt x="7518" y="8356"/>
                    <a:pt x="7624" y="8413"/>
                    <a:pt x="7624" y="8413"/>
                  </a:cubicBezTo>
                  <a:cubicBezTo>
                    <a:pt x="7676" y="8413"/>
                    <a:pt x="7782" y="8469"/>
                    <a:pt x="7782" y="8469"/>
                  </a:cubicBezTo>
                  <a:cubicBezTo>
                    <a:pt x="8100" y="8697"/>
                    <a:pt x="8100" y="8697"/>
                    <a:pt x="8100" y="8697"/>
                  </a:cubicBezTo>
                  <a:cubicBezTo>
                    <a:pt x="8312" y="8981"/>
                    <a:pt x="8312" y="8981"/>
                    <a:pt x="8312" y="8981"/>
                  </a:cubicBezTo>
                  <a:cubicBezTo>
                    <a:pt x="8471" y="9152"/>
                    <a:pt x="8471" y="9152"/>
                    <a:pt x="8471" y="9152"/>
                  </a:cubicBezTo>
                  <a:cubicBezTo>
                    <a:pt x="8418" y="9379"/>
                    <a:pt x="8418" y="9379"/>
                    <a:pt x="8418" y="9379"/>
                  </a:cubicBezTo>
                  <a:cubicBezTo>
                    <a:pt x="8365" y="9493"/>
                    <a:pt x="8365" y="9493"/>
                    <a:pt x="8365" y="9493"/>
                  </a:cubicBezTo>
                  <a:cubicBezTo>
                    <a:pt x="8365" y="9493"/>
                    <a:pt x="8259" y="9549"/>
                    <a:pt x="8206" y="9549"/>
                  </a:cubicBezTo>
                  <a:cubicBezTo>
                    <a:pt x="8206" y="9549"/>
                    <a:pt x="8100" y="9606"/>
                    <a:pt x="8100" y="9606"/>
                  </a:cubicBezTo>
                  <a:cubicBezTo>
                    <a:pt x="8100" y="9606"/>
                    <a:pt x="8047" y="9549"/>
                    <a:pt x="8047" y="9549"/>
                  </a:cubicBezTo>
                  <a:cubicBezTo>
                    <a:pt x="8100" y="9493"/>
                    <a:pt x="8259" y="9436"/>
                    <a:pt x="8259" y="9436"/>
                  </a:cubicBezTo>
                  <a:cubicBezTo>
                    <a:pt x="8259" y="9436"/>
                    <a:pt x="8259" y="9265"/>
                    <a:pt x="8206" y="9265"/>
                  </a:cubicBezTo>
                  <a:cubicBezTo>
                    <a:pt x="8153" y="9208"/>
                    <a:pt x="7994" y="9095"/>
                    <a:pt x="7994" y="9095"/>
                  </a:cubicBezTo>
                  <a:cubicBezTo>
                    <a:pt x="7888" y="8981"/>
                    <a:pt x="7888" y="8981"/>
                    <a:pt x="7888" y="8981"/>
                  </a:cubicBezTo>
                  <a:cubicBezTo>
                    <a:pt x="7729" y="8981"/>
                    <a:pt x="7729" y="8981"/>
                    <a:pt x="7729" y="8981"/>
                  </a:cubicBezTo>
                  <a:cubicBezTo>
                    <a:pt x="7729" y="8981"/>
                    <a:pt x="7624" y="8981"/>
                    <a:pt x="7624" y="9038"/>
                  </a:cubicBezTo>
                  <a:cubicBezTo>
                    <a:pt x="7571" y="9095"/>
                    <a:pt x="7412" y="9208"/>
                    <a:pt x="7412" y="9208"/>
                  </a:cubicBezTo>
                  <a:cubicBezTo>
                    <a:pt x="7306" y="9436"/>
                    <a:pt x="7306" y="9436"/>
                    <a:pt x="7306" y="9436"/>
                  </a:cubicBezTo>
                  <a:cubicBezTo>
                    <a:pt x="7571" y="9493"/>
                    <a:pt x="7571" y="9493"/>
                    <a:pt x="7571" y="9493"/>
                  </a:cubicBezTo>
                  <a:cubicBezTo>
                    <a:pt x="7571" y="9493"/>
                    <a:pt x="7676" y="9606"/>
                    <a:pt x="7676" y="9606"/>
                  </a:cubicBezTo>
                  <a:cubicBezTo>
                    <a:pt x="7676" y="9663"/>
                    <a:pt x="7782" y="9777"/>
                    <a:pt x="7782" y="9777"/>
                  </a:cubicBezTo>
                  <a:cubicBezTo>
                    <a:pt x="7888" y="9834"/>
                    <a:pt x="7888" y="9834"/>
                    <a:pt x="7888" y="9834"/>
                  </a:cubicBezTo>
                  <a:cubicBezTo>
                    <a:pt x="7888" y="9947"/>
                    <a:pt x="7888" y="9947"/>
                    <a:pt x="7888" y="9947"/>
                  </a:cubicBezTo>
                  <a:cubicBezTo>
                    <a:pt x="7835" y="10118"/>
                    <a:pt x="7835" y="10118"/>
                    <a:pt x="7835" y="10118"/>
                  </a:cubicBezTo>
                  <a:cubicBezTo>
                    <a:pt x="7676" y="10345"/>
                    <a:pt x="7676" y="10345"/>
                    <a:pt x="7676" y="10345"/>
                  </a:cubicBezTo>
                  <a:cubicBezTo>
                    <a:pt x="7676" y="10345"/>
                    <a:pt x="7571" y="10402"/>
                    <a:pt x="7571" y="10402"/>
                  </a:cubicBezTo>
                  <a:cubicBezTo>
                    <a:pt x="7518" y="10402"/>
                    <a:pt x="7412" y="10516"/>
                    <a:pt x="7412" y="10516"/>
                  </a:cubicBezTo>
                  <a:cubicBezTo>
                    <a:pt x="7412" y="10516"/>
                    <a:pt x="7359" y="10516"/>
                    <a:pt x="7359" y="10516"/>
                  </a:cubicBezTo>
                  <a:cubicBezTo>
                    <a:pt x="7306" y="10516"/>
                    <a:pt x="7200" y="10459"/>
                    <a:pt x="7147" y="10459"/>
                  </a:cubicBezTo>
                  <a:cubicBezTo>
                    <a:pt x="7147" y="10459"/>
                    <a:pt x="7041" y="10516"/>
                    <a:pt x="7041" y="10516"/>
                  </a:cubicBezTo>
                  <a:cubicBezTo>
                    <a:pt x="7041" y="10516"/>
                    <a:pt x="6882" y="10629"/>
                    <a:pt x="7094" y="10686"/>
                  </a:cubicBezTo>
                  <a:cubicBezTo>
                    <a:pt x="7306" y="10686"/>
                    <a:pt x="7359" y="10686"/>
                    <a:pt x="7412" y="10686"/>
                  </a:cubicBezTo>
                  <a:cubicBezTo>
                    <a:pt x="7412" y="10686"/>
                    <a:pt x="7624" y="10686"/>
                    <a:pt x="7624" y="10686"/>
                  </a:cubicBezTo>
                  <a:cubicBezTo>
                    <a:pt x="7624" y="10686"/>
                    <a:pt x="7676" y="10686"/>
                    <a:pt x="7729" y="10743"/>
                  </a:cubicBezTo>
                  <a:cubicBezTo>
                    <a:pt x="7835" y="10743"/>
                    <a:pt x="7888" y="10743"/>
                    <a:pt x="7941" y="10800"/>
                  </a:cubicBezTo>
                  <a:cubicBezTo>
                    <a:pt x="7994" y="10800"/>
                    <a:pt x="8047" y="10857"/>
                    <a:pt x="8047" y="10857"/>
                  </a:cubicBezTo>
                  <a:cubicBezTo>
                    <a:pt x="8047" y="10914"/>
                    <a:pt x="8047" y="10914"/>
                    <a:pt x="8100" y="10914"/>
                  </a:cubicBezTo>
                  <a:cubicBezTo>
                    <a:pt x="8153" y="10914"/>
                    <a:pt x="8206" y="10971"/>
                    <a:pt x="8206" y="10971"/>
                  </a:cubicBezTo>
                  <a:cubicBezTo>
                    <a:pt x="8259" y="10971"/>
                    <a:pt x="8259" y="10971"/>
                    <a:pt x="8259" y="10971"/>
                  </a:cubicBezTo>
                  <a:cubicBezTo>
                    <a:pt x="8259" y="10971"/>
                    <a:pt x="8312" y="10971"/>
                    <a:pt x="8365" y="10971"/>
                  </a:cubicBezTo>
                  <a:cubicBezTo>
                    <a:pt x="8418" y="10971"/>
                    <a:pt x="8418" y="10914"/>
                    <a:pt x="8471" y="10914"/>
                  </a:cubicBezTo>
                  <a:cubicBezTo>
                    <a:pt x="8524" y="10914"/>
                    <a:pt x="8682" y="10914"/>
                    <a:pt x="8682" y="10914"/>
                  </a:cubicBezTo>
                  <a:cubicBezTo>
                    <a:pt x="8788" y="11141"/>
                    <a:pt x="8788" y="11141"/>
                    <a:pt x="8788" y="11141"/>
                  </a:cubicBezTo>
                  <a:cubicBezTo>
                    <a:pt x="8788" y="11141"/>
                    <a:pt x="8788" y="11198"/>
                    <a:pt x="8841" y="11198"/>
                  </a:cubicBezTo>
                  <a:cubicBezTo>
                    <a:pt x="8841" y="11255"/>
                    <a:pt x="8947" y="11312"/>
                    <a:pt x="9000" y="11312"/>
                  </a:cubicBezTo>
                  <a:cubicBezTo>
                    <a:pt x="9053" y="11312"/>
                    <a:pt x="9476" y="11198"/>
                    <a:pt x="9476" y="11198"/>
                  </a:cubicBezTo>
                  <a:cubicBezTo>
                    <a:pt x="9265" y="11027"/>
                    <a:pt x="9265" y="11027"/>
                    <a:pt x="9265" y="11027"/>
                  </a:cubicBezTo>
                  <a:cubicBezTo>
                    <a:pt x="9265" y="11027"/>
                    <a:pt x="9159" y="10914"/>
                    <a:pt x="9106" y="10857"/>
                  </a:cubicBezTo>
                  <a:cubicBezTo>
                    <a:pt x="9106" y="10800"/>
                    <a:pt x="8841" y="10629"/>
                    <a:pt x="8841" y="10629"/>
                  </a:cubicBezTo>
                  <a:cubicBezTo>
                    <a:pt x="8576" y="10573"/>
                    <a:pt x="8576" y="10573"/>
                    <a:pt x="8576" y="10573"/>
                  </a:cubicBezTo>
                  <a:cubicBezTo>
                    <a:pt x="8259" y="10402"/>
                    <a:pt x="8259" y="10402"/>
                    <a:pt x="8259" y="10402"/>
                  </a:cubicBezTo>
                  <a:cubicBezTo>
                    <a:pt x="7941" y="10288"/>
                    <a:pt x="7941" y="10288"/>
                    <a:pt x="7941" y="10288"/>
                  </a:cubicBezTo>
                  <a:cubicBezTo>
                    <a:pt x="7941" y="10288"/>
                    <a:pt x="8047" y="10061"/>
                    <a:pt x="8100" y="10004"/>
                  </a:cubicBezTo>
                  <a:cubicBezTo>
                    <a:pt x="8100" y="9947"/>
                    <a:pt x="8100" y="9777"/>
                    <a:pt x="8153" y="9777"/>
                  </a:cubicBezTo>
                  <a:cubicBezTo>
                    <a:pt x="8206" y="9834"/>
                    <a:pt x="8312" y="9834"/>
                    <a:pt x="8365" y="9834"/>
                  </a:cubicBezTo>
                  <a:cubicBezTo>
                    <a:pt x="8418" y="9834"/>
                    <a:pt x="8524" y="9777"/>
                    <a:pt x="8576" y="9777"/>
                  </a:cubicBezTo>
                  <a:cubicBezTo>
                    <a:pt x="8629" y="9777"/>
                    <a:pt x="8735" y="9834"/>
                    <a:pt x="8735" y="9834"/>
                  </a:cubicBezTo>
                  <a:cubicBezTo>
                    <a:pt x="8735" y="9834"/>
                    <a:pt x="8788" y="9947"/>
                    <a:pt x="8788" y="10004"/>
                  </a:cubicBezTo>
                  <a:cubicBezTo>
                    <a:pt x="8841" y="10004"/>
                    <a:pt x="8841" y="10118"/>
                    <a:pt x="8894" y="10175"/>
                  </a:cubicBezTo>
                  <a:cubicBezTo>
                    <a:pt x="8947" y="10175"/>
                    <a:pt x="9212" y="10288"/>
                    <a:pt x="9212" y="10288"/>
                  </a:cubicBezTo>
                  <a:cubicBezTo>
                    <a:pt x="9212" y="10288"/>
                    <a:pt x="9529" y="10402"/>
                    <a:pt x="9529" y="10402"/>
                  </a:cubicBezTo>
                  <a:cubicBezTo>
                    <a:pt x="9582" y="10402"/>
                    <a:pt x="9688" y="10402"/>
                    <a:pt x="9688" y="10402"/>
                  </a:cubicBezTo>
                  <a:cubicBezTo>
                    <a:pt x="9847" y="10573"/>
                    <a:pt x="9847" y="10573"/>
                    <a:pt x="9847" y="10573"/>
                  </a:cubicBezTo>
                  <a:cubicBezTo>
                    <a:pt x="10165" y="10516"/>
                    <a:pt x="10165" y="10516"/>
                    <a:pt x="10165" y="10516"/>
                  </a:cubicBezTo>
                  <a:cubicBezTo>
                    <a:pt x="10482" y="10459"/>
                    <a:pt x="10482" y="10459"/>
                    <a:pt x="10482" y="10459"/>
                  </a:cubicBezTo>
                  <a:cubicBezTo>
                    <a:pt x="10535" y="10573"/>
                    <a:pt x="10535" y="10573"/>
                    <a:pt x="10535" y="10573"/>
                  </a:cubicBezTo>
                  <a:cubicBezTo>
                    <a:pt x="10535" y="10573"/>
                    <a:pt x="10694" y="10686"/>
                    <a:pt x="10694" y="10686"/>
                  </a:cubicBezTo>
                  <a:cubicBezTo>
                    <a:pt x="10694" y="10743"/>
                    <a:pt x="10800" y="10971"/>
                    <a:pt x="10800" y="10971"/>
                  </a:cubicBezTo>
                  <a:cubicBezTo>
                    <a:pt x="10800" y="10971"/>
                    <a:pt x="10800" y="11141"/>
                    <a:pt x="10800" y="11141"/>
                  </a:cubicBezTo>
                  <a:cubicBezTo>
                    <a:pt x="10800" y="11198"/>
                    <a:pt x="10906" y="11425"/>
                    <a:pt x="10906" y="11425"/>
                  </a:cubicBezTo>
                  <a:cubicBezTo>
                    <a:pt x="10959" y="11482"/>
                    <a:pt x="11171" y="11709"/>
                    <a:pt x="11171" y="11766"/>
                  </a:cubicBezTo>
                  <a:cubicBezTo>
                    <a:pt x="11171" y="11766"/>
                    <a:pt x="11276" y="11937"/>
                    <a:pt x="11329" y="11937"/>
                  </a:cubicBezTo>
                  <a:cubicBezTo>
                    <a:pt x="11329" y="11937"/>
                    <a:pt x="11382" y="11880"/>
                    <a:pt x="11382" y="11880"/>
                  </a:cubicBezTo>
                  <a:cubicBezTo>
                    <a:pt x="11435" y="11880"/>
                    <a:pt x="11594" y="11766"/>
                    <a:pt x="11594" y="11766"/>
                  </a:cubicBezTo>
                  <a:cubicBezTo>
                    <a:pt x="11594" y="11766"/>
                    <a:pt x="11753" y="11766"/>
                    <a:pt x="11753" y="11823"/>
                  </a:cubicBezTo>
                  <a:cubicBezTo>
                    <a:pt x="11753" y="11880"/>
                    <a:pt x="11965" y="12051"/>
                    <a:pt x="11965" y="12051"/>
                  </a:cubicBezTo>
                  <a:cubicBezTo>
                    <a:pt x="11965" y="12051"/>
                    <a:pt x="12018" y="12278"/>
                    <a:pt x="12018" y="12278"/>
                  </a:cubicBezTo>
                  <a:cubicBezTo>
                    <a:pt x="11965" y="12335"/>
                    <a:pt x="11806" y="12392"/>
                    <a:pt x="11806" y="12448"/>
                  </a:cubicBezTo>
                  <a:cubicBezTo>
                    <a:pt x="11753" y="12448"/>
                    <a:pt x="11594" y="12448"/>
                    <a:pt x="11594" y="12448"/>
                  </a:cubicBezTo>
                  <a:cubicBezTo>
                    <a:pt x="11541" y="12505"/>
                    <a:pt x="11329" y="12562"/>
                    <a:pt x="11329" y="12562"/>
                  </a:cubicBezTo>
                  <a:cubicBezTo>
                    <a:pt x="11329" y="12335"/>
                    <a:pt x="11329" y="12335"/>
                    <a:pt x="11329" y="12335"/>
                  </a:cubicBezTo>
                  <a:cubicBezTo>
                    <a:pt x="11329" y="12335"/>
                    <a:pt x="11329" y="12278"/>
                    <a:pt x="11276" y="12278"/>
                  </a:cubicBezTo>
                  <a:cubicBezTo>
                    <a:pt x="11276" y="12278"/>
                    <a:pt x="10959" y="12164"/>
                    <a:pt x="10959" y="12164"/>
                  </a:cubicBezTo>
                  <a:cubicBezTo>
                    <a:pt x="10906" y="11880"/>
                    <a:pt x="10906" y="11880"/>
                    <a:pt x="10906" y="11880"/>
                  </a:cubicBezTo>
                  <a:cubicBezTo>
                    <a:pt x="10747" y="11709"/>
                    <a:pt x="10747" y="11709"/>
                    <a:pt x="10747" y="11709"/>
                  </a:cubicBezTo>
                  <a:cubicBezTo>
                    <a:pt x="10588" y="11596"/>
                    <a:pt x="10588" y="11596"/>
                    <a:pt x="10588" y="11596"/>
                  </a:cubicBezTo>
                  <a:cubicBezTo>
                    <a:pt x="10482" y="11425"/>
                    <a:pt x="10482" y="11425"/>
                    <a:pt x="10482" y="11425"/>
                  </a:cubicBezTo>
                  <a:cubicBezTo>
                    <a:pt x="10271" y="11425"/>
                    <a:pt x="10271" y="11425"/>
                    <a:pt x="10271" y="11425"/>
                  </a:cubicBezTo>
                  <a:cubicBezTo>
                    <a:pt x="10271" y="11425"/>
                    <a:pt x="10165" y="11482"/>
                    <a:pt x="10165" y="11482"/>
                  </a:cubicBezTo>
                  <a:cubicBezTo>
                    <a:pt x="10112" y="11539"/>
                    <a:pt x="9900" y="11482"/>
                    <a:pt x="9900" y="11482"/>
                  </a:cubicBezTo>
                  <a:cubicBezTo>
                    <a:pt x="9741" y="11539"/>
                    <a:pt x="9741" y="11539"/>
                    <a:pt x="9741" y="11539"/>
                  </a:cubicBezTo>
                  <a:cubicBezTo>
                    <a:pt x="9741" y="11653"/>
                    <a:pt x="9741" y="11653"/>
                    <a:pt x="9741" y="11653"/>
                  </a:cubicBezTo>
                  <a:cubicBezTo>
                    <a:pt x="10006" y="11653"/>
                    <a:pt x="10006" y="11653"/>
                    <a:pt x="10006" y="11653"/>
                  </a:cubicBezTo>
                  <a:cubicBezTo>
                    <a:pt x="10218" y="11709"/>
                    <a:pt x="10218" y="11709"/>
                    <a:pt x="10218" y="11709"/>
                  </a:cubicBezTo>
                  <a:cubicBezTo>
                    <a:pt x="10535" y="11766"/>
                    <a:pt x="10535" y="11766"/>
                    <a:pt x="10535" y="11766"/>
                  </a:cubicBezTo>
                  <a:cubicBezTo>
                    <a:pt x="10535" y="11994"/>
                    <a:pt x="10535" y="11994"/>
                    <a:pt x="10535" y="11994"/>
                  </a:cubicBezTo>
                  <a:cubicBezTo>
                    <a:pt x="10535" y="11994"/>
                    <a:pt x="10588" y="12107"/>
                    <a:pt x="10588" y="12164"/>
                  </a:cubicBezTo>
                  <a:cubicBezTo>
                    <a:pt x="10588" y="12221"/>
                    <a:pt x="10694" y="12448"/>
                    <a:pt x="10694" y="12448"/>
                  </a:cubicBezTo>
                  <a:cubicBezTo>
                    <a:pt x="10800" y="12789"/>
                    <a:pt x="10800" y="12789"/>
                    <a:pt x="10800" y="12789"/>
                  </a:cubicBezTo>
                  <a:cubicBezTo>
                    <a:pt x="10906" y="13017"/>
                    <a:pt x="10906" y="13017"/>
                    <a:pt x="10906" y="13017"/>
                  </a:cubicBezTo>
                  <a:cubicBezTo>
                    <a:pt x="11012" y="13074"/>
                    <a:pt x="11012" y="13074"/>
                    <a:pt x="11012" y="13074"/>
                  </a:cubicBezTo>
                  <a:cubicBezTo>
                    <a:pt x="11012" y="13301"/>
                    <a:pt x="11012" y="13301"/>
                    <a:pt x="11012" y="13301"/>
                  </a:cubicBezTo>
                  <a:cubicBezTo>
                    <a:pt x="11118" y="13358"/>
                    <a:pt x="11118" y="13358"/>
                    <a:pt x="11118" y="13358"/>
                  </a:cubicBezTo>
                  <a:cubicBezTo>
                    <a:pt x="11118" y="13358"/>
                    <a:pt x="11065" y="13415"/>
                    <a:pt x="11065" y="13472"/>
                  </a:cubicBezTo>
                  <a:cubicBezTo>
                    <a:pt x="11065" y="13472"/>
                    <a:pt x="10959" y="13642"/>
                    <a:pt x="10959" y="13642"/>
                  </a:cubicBezTo>
                  <a:cubicBezTo>
                    <a:pt x="10959" y="13642"/>
                    <a:pt x="10853" y="13642"/>
                    <a:pt x="10800" y="13642"/>
                  </a:cubicBezTo>
                  <a:cubicBezTo>
                    <a:pt x="10800" y="13585"/>
                    <a:pt x="10747" y="13472"/>
                    <a:pt x="10694" y="13472"/>
                  </a:cubicBezTo>
                  <a:cubicBezTo>
                    <a:pt x="10588" y="13415"/>
                    <a:pt x="10588" y="13301"/>
                    <a:pt x="10535" y="13301"/>
                  </a:cubicBezTo>
                  <a:cubicBezTo>
                    <a:pt x="10482" y="13301"/>
                    <a:pt x="10324" y="13301"/>
                    <a:pt x="10324" y="13301"/>
                  </a:cubicBezTo>
                  <a:cubicBezTo>
                    <a:pt x="10324" y="13301"/>
                    <a:pt x="10218" y="13131"/>
                    <a:pt x="10165" y="13074"/>
                  </a:cubicBezTo>
                  <a:cubicBezTo>
                    <a:pt x="10165" y="13074"/>
                    <a:pt x="10112" y="13017"/>
                    <a:pt x="10059" y="12960"/>
                  </a:cubicBezTo>
                  <a:cubicBezTo>
                    <a:pt x="10006" y="12903"/>
                    <a:pt x="9900" y="12733"/>
                    <a:pt x="9900" y="12789"/>
                  </a:cubicBezTo>
                  <a:cubicBezTo>
                    <a:pt x="9900" y="12903"/>
                    <a:pt x="9953" y="13017"/>
                    <a:pt x="9900" y="13017"/>
                  </a:cubicBezTo>
                  <a:cubicBezTo>
                    <a:pt x="9794" y="13017"/>
                    <a:pt x="9741" y="13017"/>
                    <a:pt x="9741" y="13017"/>
                  </a:cubicBezTo>
                  <a:cubicBezTo>
                    <a:pt x="9741" y="13017"/>
                    <a:pt x="9635" y="13131"/>
                    <a:pt x="9582" y="13187"/>
                  </a:cubicBezTo>
                  <a:cubicBezTo>
                    <a:pt x="9582" y="13187"/>
                    <a:pt x="9635" y="13187"/>
                    <a:pt x="9529" y="13244"/>
                  </a:cubicBezTo>
                  <a:cubicBezTo>
                    <a:pt x="9476" y="13244"/>
                    <a:pt x="9371" y="13244"/>
                    <a:pt x="9371" y="13244"/>
                  </a:cubicBezTo>
                  <a:cubicBezTo>
                    <a:pt x="9371" y="13187"/>
                    <a:pt x="9371" y="13187"/>
                    <a:pt x="9371" y="13131"/>
                  </a:cubicBezTo>
                  <a:cubicBezTo>
                    <a:pt x="9424" y="13074"/>
                    <a:pt x="9741" y="12903"/>
                    <a:pt x="9741" y="12903"/>
                  </a:cubicBezTo>
                  <a:cubicBezTo>
                    <a:pt x="9741" y="12846"/>
                    <a:pt x="9635" y="12676"/>
                    <a:pt x="9635" y="12676"/>
                  </a:cubicBezTo>
                  <a:cubicBezTo>
                    <a:pt x="9582" y="12733"/>
                    <a:pt x="9582" y="12733"/>
                    <a:pt x="9582" y="12733"/>
                  </a:cubicBezTo>
                  <a:cubicBezTo>
                    <a:pt x="9424" y="12846"/>
                    <a:pt x="9424" y="12846"/>
                    <a:pt x="9424" y="12846"/>
                  </a:cubicBezTo>
                  <a:cubicBezTo>
                    <a:pt x="9212" y="13017"/>
                    <a:pt x="9212" y="13017"/>
                    <a:pt x="9212" y="13017"/>
                  </a:cubicBezTo>
                  <a:cubicBezTo>
                    <a:pt x="9053" y="13074"/>
                    <a:pt x="9053" y="13074"/>
                    <a:pt x="9053" y="13074"/>
                  </a:cubicBezTo>
                  <a:cubicBezTo>
                    <a:pt x="8894" y="13187"/>
                    <a:pt x="8894" y="13187"/>
                    <a:pt x="8894" y="13187"/>
                  </a:cubicBezTo>
                  <a:cubicBezTo>
                    <a:pt x="8682" y="13244"/>
                    <a:pt x="8682" y="13244"/>
                    <a:pt x="8682" y="13244"/>
                  </a:cubicBezTo>
                  <a:cubicBezTo>
                    <a:pt x="8471" y="13244"/>
                    <a:pt x="8471" y="13244"/>
                    <a:pt x="8471" y="13244"/>
                  </a:cubicBezTo>
                  <a:cubicBezTo>
                    <a:pt x="8365" y="13187"/>
                    <a:pt x="8365" y="13187"/>
                    <a:pt x="8365" y="13187"/>
                  </a:cubicBezTo>
                  <a:cubicBezTo>
                    <a:pt x="8259" y="13017"/>
                    <a:pt x="8259" y="13017"/>
                    <a:pt x="8259" y="13017"/>
                  </a:cubicBezTo>
                  <a:cubicBezTo>
                    <a:pt x="8206" y="13017"/>
                    <a:pt x="8206" y="13017"/>
                    <a:pt x="8206" y="13017"/>
                  </a:cubicBezTo>
                  <a:cubicBezTo>
                    <a:pt x="8206" y="13017"/>
                    <a:pt x="8153" y="12903"/>
                    <a:pt x="8206" y="12846"/>
                  </a:cubicBezTo>
                  <a:cubicBezTo>
                    <a:pt x="8206" y="12846"/>
                    <a:pt x="8259" y="12789"/>
                    <a:pt x="8365" y="12789"/>
                  </a:cubicBezTo>
                  <a:cubicBezTo>
                    <a:pt x="8471" y="12789"/>
                    <a:pt x="8524" y="12789"/>
                    <a:pt x="8576" y="12789"/>
                  </a:cubicBezTo>
                  <a:cubicBezTo>
                    <a:pt x="8629" y="12789"/>
                    <a:pt x="8682" y="12733"/>
                    <a:pt x="8682" y="12733"/>
                  </a:cubicBezTo>
                  <a:cubicBezTo>
                    <a:pt x="8682" y="12733"/>
                    <a:pt x="8735" y="12733"/>
                    <a:pt x="8735" y="12676"/>
                  </a:cubicBezTo>
                  <a:cubicBezTo>
                    <a:pt x="8735" y="12619"/>
                    <a:pt x="8576" y="12392"/>
                    <a:pt x="8576" y="12392"/>
                  </a:cubicBezTo>
                  <a:cubicBezTo>
                    <a:pt x="8576" y="12392"/>
                    <a:pt x="8365" y="12392"/>
                    <a:pt x="8312" y="12448"/>
                  </a:cubicBezTo>
                  <a:cubicBezTo>
                    <a:pt x="8206" y="12448"/>
                    <a:pt x="8206" y="12562"/>
                    <a:pt x="8100" y="12505"/>
                  </a:cubicBezTo>
                  <a:cubicBezTo>
                    <a:pt x="7994" y="12448"/>
                    <a:pt x="7729" y="12335"/>
                    <a:pt x="7729" y="12335"/>
                  </a:cubicBezTo>
                  <a:cubicBezTo>
                    <a:pt x="7518" y="12107"/>
                    <a:pt x="7518" y="12107"/>
                    <a:pt x="7518" y="12107"/>
                  </a:cubicBezTo>
                  <a:cubicBezTo>
                    <a:pt x="7412" y="12221"/>
                    <a:pt x="7412" y="12221"/>
                    <a:pt x="7412" y="12221"/>
                  </a:cubicBezTo>
                  <a:cubicBezTo>
                    <a:pt x="7253" y="12335"/>
                    <a:pt x="7253" y="12335"/>
                    <a:pt x="7253" y="12335"/>
                  </a:cubicBezTo>
                  <a:cubicBezTo>
                    <a:pt x="7253" y="12335"/>
                    <a:pt x="7253" y="12448"/>
                    <a:pt x="7147" y="12335"/>
                  </a:cubicBezTo>
                  <a:cubicBezTo>
                    <a:pt x="7041" y="12164"/>
                    <a:pt x="7041" y="12051"/>
                    <a:pt x="7041" y="12051"/>
                  </a:cubicBezTo>
                  <a:cubicBezTo>
                    <a:pt x="6882" y="12051"/>
                    <a:pt x="6882" y="12051"/>
                    <a:pt x="6882" y="12051"/>
                  </a:cubicBezTo>
                  <a:cubicBezTo>
                    <a:pt x="6829" y="12221"/>
                    <a:pt x="6829" y="12221"/>
                    <a:pt x="6829" y="12221"/>
                  </a:cubicBezTo>
                  <a:cubicBezTo>
                    <a:pt x="6829" y="12221"/>
                    <a:pt x="6724" y="12392"/>
                    <a:pt x="6724" y="12392"/>
                  </a:cubicBezTo>
                  <a:cubicBezTo>
                    <a:pt x="6671" y="12392"/>
                    <a:pt x="6512" y="12392"/>
                    <a:pt x="6459" y="12448"/>
                  </a:cubicBezTo>
                  <a:cubicBezTo>
                    <a:pt x="6459" y="12448"/>
                    <a:pt x="6194" y="12448"/>
                    <a:pt x="6194" y="12448"/>
                  </a:cubicBezTo>
                  <a:cubicBezTo>
                    <a:pt x="5824" y="12335"/>
                    <a:pt x="5824" y="12335"/>
                    <a:pt x="5824" y="12335"/>
                  </a:cubicBezTo>
                  <a:cubicBezTo>
                    <a:pt x="5824" y="12335"/>
                    <a:pt x="5718" y="12392"/>
                    <a:pt x="5718" y="12392"/>
                  </a:cubicBezTo>
                  <a:cubicBezTo>
                    <a:pt x="5665" y="12448"/>
                    <a:pt x="5135" y="12562"/>
                    <a:pt x="5135" y="12562"/>
                  </a:cubicBezTo>
                  <a:cubicBezTo>
                    <a:pt x="4871" y="12733"/>
                    <a:pt x="4871" y="12733"/>
                    <a:pt x="4871" y="12733"/>
                  </a:cubicBezTo>
                  <a:cubicBezTo>
                    <a:pt x="4712" y="12733"/>
                    <a:pt x="4712" y="12733"/>
                    <a:pt x="4712" y="12733"/>
                  </a:cubicBezTo>
                  <a:cubicBezTo>
                    <a:pt x="4553" y="12505"/>
                    <a:pt x="4553" y="12505"/>
                    <a:pt x="4553" y="12505"/>
                  </a:cubicBezTo>
                  <a:cubicBezTo>
                    <a:pt x="4447" y="12335"/>
                    <a:pt x="4447" y="12335"/>
                    <a:pt x="4447" y="12335"/>
                  </a:cubicBezTo>
                  <a:cubicBezTo>
                    <a:pt x="4447" y="12562"/>
                    <a:pt x="4447" y="12562"/>
                    <a:pt x="4447" y="12562"/>
                  </a:cubicBezTo>
                  <a:cubicBezTo>
                    <a:pt x="4394" y="12676"/>
                    <a:pt x="4394" y="12676"/>
                    <a:pt x="4394" y="12676"/>
                  </a:cubicBezTo>
                  <a:cubicBezTo>
                    <a:pt x="4394" y="12676"/>
                    <a:pt x="4182" y="12903"/>
                    <a:pt x="4129" y="12960"/>
                  </a:cubicBezTo>
                  <a:cubicBezTo>
                    <a:pt x="4129" y="12960"/>
                    <a:pt x="3865" y="12676"/>
                    <a:pt x="3865" y="12676"/>
                  </a:cubicBezTo>
                  <a:cubicBezTo>
                    <a:pt x="3812" y="12278"/>
                    <a:pt x="3812" y="12278"/>
                    <a:pt x="3812" y="12278"/>
                  </a:cubicBezTo>
                  <a:cubicBezTo>
                    <a:pt x="3547" y="11994"/>
                    <a:pt x="3547" y="11994"/>
                    <a:pt x="3547" y="11994"/>
                  </a:cubicBezTo>
                  <a:cubicBezTo>
                    <a:pt x="3388" y="12051"/>
                    <a:pt x="3388" y="12051"/>
                    <a:pt x="3388" y="12051"/>
                  </a:cubicBezTo>
                  <a:cubicBezTo>
                    <a:pt x="3335" y="11766"/>
                    <a:pt x="3335" y="11766"/>
                    <a:pt x="3335" y="11766"/>
                  </a:cubicBezTo>
                  <a:cubicBezTo>
                    <a:pt x="3229" y="11596"/>
                    <a:pt x="3229" y="11596"/>
                    <a:pt x="3229" y="11596"/>
                  </a:cubicBezTo>
                  <a:cubicBezTo>
                    <a:pt x="3018" y="11596"/>
                    <a:pt x="3018" y="11596"/>
                    <a:pt x="3018" y="11596"/>
                  </a:cubicBezTo>
                  <a:cubicBezTo>
                    <a:pt x="2965" y="11709"/>
                    <a:pt x="2965" y="11709"/>
                    <a:pt x="2965" y="11709"/>
                  </a:cubicBezTo>
                  <a:cubicBezTo>
                    <a:pt x="2912" y="11880"/>
                    <a:pt x="2912" y="11880"/>
                    <a:pt x="2912" y="11880"/>
                  </a:cubicBezTo>
                  <a:cubicBezTo>
                    <a:pt x="2912" y="11880"/>
                    <a:pt x="2965" y="12051"/>
                    <a:pt x="2965" y="12051"/>
                  </a:cubicBezTo>
                  <a:cubicBezTo>
                    <a:pt x="2965" y="12107"/>
                    <a:pt x="2912" y="12164"/>
                    <a:pt x="2859" y="12164"/>
                  </a:cubicBezTo>
                  <a:cubicBezTo>
                    <a:pt x="2859" y="12164"/>
                    <a:pt x="2594" y="12278"/>
                    <a:pt x="2594" y="12278"/>
                  </a:cubicBezTo>
                  <a:cubicBezTo>
                    <a:pt x="2594" y="12278"/>
                    <a:pt x="2541" y="12107"/>
                    <a:pt x="2541" y="12051"/>
                  </a:cubicBezTo>
                  <a:cubicBezTo>
                    <a:pt x="2541" y="11937"/>
                    <a:pt x="2541" y="11766"/>
                    <a:pt x="2541" y="11766"/>
                  </a:cubicBezTo>
                  <a:cubicBezTo>
                    <a:pt x="2541" y="11766"/>
                    <a:pt x="2753" y="11653"/>
                    <a:pt x="2753" y="11653"/>
                  </a:cubicBezTo>
                  <a:cubicBezTo>
                    <a:pt x="2753" y="11596"/>
                    <a:pt x="2912" y="11312"/>
                    <a:pt x="2912" y="11312"/>
                  </a:cubicBezTo>
                  <a:cubicBezTo>
                    <a:pt x="2912" y="11141"/>
                    <a:pt x="2912" y="11141"/>
                    <a:pt x="2912" y="11141"/>
                  </a:cubicBezTo>
                  <a:cubicBezTo>
                    <a:pt x="2912" y="11141"/>
                    <a:pt x="3124" y="11084"/>
                    <a:pt x="3176" y="11084"/>
                  </a:cubicBezTo>
                  <a:cubicBezTo>
                    <a:pt x="3229" y="11084"/>
                    <a:pt x="3335" y="11084"/>
                    <a:pt x="3388" y="11141"/>
                  </a:cubicBezTo>
                  <a:cubicBezTo>
                    <a:pt x="3494" y="11198"/>
                    <a:pt x="3441" y="11198"/>
                    <a:pt x="3547" y="11198"/>
                  </a:cubicBezTo>
                  <a:cubicBezTo>
                    <a:pt x="3653" y="11141"/>
                    <a:pt x="3759" y="11084"/>
                    <a:pt x="3759" y="11027"/>
                  </a:cubicBezTo>
                  <a:cubicBezTo>
                    <a:pt x="3759" y="10971"/>
                    <a:pt x="3812" y="10743"/>
                    <a:pt x="3653" y="10743"/>
                  </a:cubicBezTo>
                  <a:cubicBezTo>
                    <a:pt x="3547" y="10743"/>
                    <a:pt x="3388" y="10857"/>
                    <a:pt x="3335" y="10857"/>
                  </a:cubicBezTo>
                  <a:cubicBezTo>
                    <a:pt x="3282" y="10914"/>
                    <a:pt x="3229" y="10857"/>
                    <a:pt x="3124" y="10800"/>
                  </a:cubicBezTo>
                  <a:cubicBezTo>
                    <a:pt x="3071" y="10800"/>
                    <a:pt x="2965" y="10743"/>
                    <a:pt x="2965" y="10743"/>
                  </a:cubicBezTo>
                  <a:cubicBezTo>
                    <a:pt x="2806" y="10914"/>
                    <a:pt x="2806" y="10914"/>
                    <a:pt x="2806" y="10914"/>
                  </a:cubicBezTo>
                  <a:cubicBezTo>
                    <a:pt x="2806" y="10914"/>
                    <a:pt x="2912" y="11141"/>
                    <a:pt x="2700" y="10971"/>
                  </a:cubicBezTo>
                  <a:cubicBezTo>
                    <a:pt x="2488" y="10857"/>
                    <a:pt x="2488" y="10800"/>
                    <a:pt x="2488" y="10800"/>
                  </a:cubicBezTo>
                  <a:cubicBezTo>
                    <a:pt x="2276" y="10573"/>
                    <a:pt x="2276" y="10573"/>
                    <a:pt x="2276" y="10573"/>
                  </a:cubicBezTo>
                  <a:cubicBezTo>
                    <a:pt x="2171" y="10175"/>
                    <a:pt x="2171" y="10175"/>
                    <a:pt x="2171" y="10175"/>
                  </a:cubicBezTo>
                  <a:cubicBezTo>
                    <a:pt x="2012" y="9947"/>
                    <a:pt x="2012" y="9947"/>
                    <a:pt x="2012" y="9947"/>
                  </a:cubicBezTo>
                  <a:cubicBezTo>
                    <a:pt x="2012" y="9947"/>
                    <a:pt x="1959" y="10061"/>
                    <a:pt x="1906" y="10175"/>
                  </a:cubicBezTo>
                  <a:cubicBezTo>
                    <a:pt x="1853" y="10232"/>
                    <a:pt x="1747" y="10232"/>
                    <a:pt x="1694" y="10175"/>
                  </a:cubicBezTo>
                  <a:cubicBezTo>
                    <a:pt x="1694" y="10061"/>
                    <a:pt x="1535" y="9834"/>
                    <a:pt x="1535" y="9834"/>
                  </a:cubicBezTo>
                  <a:cubicBezTo>
                    <a:pt x="1588" y="9606"/>
                    <a:pt x="1588" y="9606"/>
                    <a:pt x="1588" y="9606"/>
                  </a:cubicBezTo>
                  <a:cubicBezTo>
                    <a:pt x="1376" y="9549"/>
                    <a:pt x="1376" y="9549"/>
                    <a:pt x="1376" y="9549"/>
                  </a:cubicBezTo>
                  <a:cubicBezTo>
                    <a:pt x="1376" y="9549"/>
                    <a:pt x="1271" y="9493"/>
                    <a:pt x="1271" y="9436"/>
                  </a:cubicBezTo>
                  <a:cubicBezTo>
                    <a:pt x="1324" y="9322"/>
                    <a:pt x="1429" y="9152"/>
                    <a:pt x="1429" y="9152"/>
                  </a:cubicBezTo>
                  <a:cubicBezTo>
                    <a:pt x="1535" y="8924"/>
                    <a:pt x="1535" y="8924"/>
                    <a:pt x="1535" y="8924"/>
                  </a:cubicBezTo>
                  <a:cubicBezTo>
                    <a:pt x="1535" y="8924"/>
                    <a:pt x="1535" y="8754"/>
                    <a:pt x="1482" y="8697"/>
                  </a:cubicBezTo>
                  <a:cubicBezTo>
                    <a:pt x="1482" y="8640"/>
                    <a:pt x="1429" y="7901"/>
                    <a:pt x="1429" y="7901"/>
                  </a:cubicBezTo>
                  <a:cubicBezTo>
                    <a:pt x="1853" y="7617"/>
                    <a:pt x="1853" y="7617"/>
                    <a:pt x="1853" y="7617"/>
                  </a:cubicBezTo>
                  <a:cubicBezTo>
                    <a:pt x="2118" y="7162"/>
                    <a:pt x="2118" y="7162"/>
                    <a:pt x="2118" y="7162"/>
                  </a:cubicBezTo>
                  <a:cubicBezTo>
                    <a:pt x="2224" y="6651"/>
                    <a:pt x="2224" y="6651"/>
                    <a:pt x="2224" y="6651"/>
                  </a:cubicBezTo>
                  <a:cubicBezTo>
                    <a:pt x="2382" y="6196"/>
                    <a:pt x="2382" y="6196"/>
                    <a:pt x="2382" y="6196"/>
                  </a:cubicBezTo>
                  <a:cubicBezTo>
                    <a:pt x="2382" y="6196"/>
                    <a:pt x="2594" y="5968"/>
                    <a:pt x="2594" y="6025"/>
                  </a:cubicBezTo>
                  <a:cubicBezTo>
                    <a:pt x="2647" y="6082"/>
                    <a:pt x="2594" y="5571"/>
                    <a:pt x="2594" y="5571"/>
                  </a:cubicBezTo>
                  <a:cubicBezTo>
                    <a:pt x="2435" y="5400"/>
                    <a:pt x="2435" y="5400"/>
                    <a:pt x="2435" y="5400"/>
                  </a:cubicBezTo>
                  <a:cubicBezTo>
                    <a:pt x="2435" y="5116"/>
                    <a:pt x="2435" y="5116"/>
                    <a:pt x="2435" y="5116"/>
                  </a:cubicBezTo>
                  <a:cubicBezTo>
                    <a:pt x="2435" y="5116"/>
                    <a:pt x="2700" y="5059"/>
                    <a:pt x="2753" y="5059"/>
                  </a:cubicBezTo>
                  <a:cubicBezTo>
                    <a:pt x="2806" y="5059"/>
                    <a:pt x="2912" y="5002"/>
                    <a:pt x="3071" y="4945"/>
                  </a:cubicBezTo>
                  <a:cubicBezTo>
                    <a:pt x="3176" y="4945"/>
                    <a:pt x="3282" y="4832"/>
                    <a:pt x="3388" y="4832"/>
                  </a:cubicBezTo>
                  <a:cubicBezTo>
                    <a:pt x="3441" y="4832"/>
                    <a:pt x="3706" y="4832"/>
                    <a:pt x="3706" y="4832"/>
                  </a:cubicBezTo>
                  <a:cubicBezTo>
                    <a:pt x="3706" y="4832"/>
                    <a:pt x="3971" y="4661"/>
                    <a:pt x="4024" y="4604"/>
                  </a:cubicBezTo>
                  <a:cubicBezTo>
                    <a:pt x="4076" y="4547"/>
                    <a:pt x="4235" y="4320"/>
                    <a:pt x="4235" y="4320"/>
                  </a:cubicBezTo>
                  <a:cubicBezTo>
                    <a:pt x="4235" y="4320"/>
                    <a:pt x="4288" y="4036"/>
                    <a:pt x="4394" y="3979"/>
                  </a:cubicBezTo>
                  <a:cubicBezTo>
                    <a:pt x="4447" y="3979"/>
                    <a:pt x="4606" y="3865"/>
                    <a:pt x="4712" y="3865"/>
                  </a:cubicBezTo>
                  <a:cubicBezTo>
                    <a:pt x="4818" y="3808"/>
                    <a:pt x="5082" y="3752"/>
                    <a:pt x="5135" y="3752"/>
                  </a:cubicBezTo>
                  <a:cubicBezTo>
                    <a:pt x="5188" y="3752"/>
                    <a:pt x="5824" y="3638"/>
                    <a:pt x="5824" y="3638"/>
                  </a:cubicBezTo>
                  <a:cubicBezTo>
                    <a:pt x="6088" y="3411"/>
                    <a:pt x="6088" y="3411"/>
                    <a:pt x="6088" y="3411"/>
                  </a:cubicBezTo>
                  <a:cubicBezTo>
                    <a:pt x="6035" y="2899"/>
                    <a:pt x="6035" y="2899"/>
                    <a:pt x="6035" y="2899"/>
                  </a:cubicBezTo>
                  <a:cubicBezTo>
                    <a:pt x="6829" y="2785"/>
                    <a:pt x="6829" y="2785"/>
                    <a:pt x="6829" y="2785"/>
                  </a:cubicBezTo>
                  <a:cubicBezTo>
                    <a:pt x="7147" y="2558"/>
                    <a:pt x="7147" y="2558"/>
                    <a:pt x="7147" y="2558"/>
                  </a:cubicBezTo>
                  <a:cubicBezTo>
                    <a:pt x="7147" y="2558"/>
                    <a:pt x="7306" y="2387"/>
                    <a:pt x="7359" y="2387"/>
                  </a:cubicBezTo>
                  <a:cubicBezTo>
                    <a:pt x="7412" y="2444"/>
                    <a:pt x="7518" y="2387"/>
                    <a:pt x="7518" y="2387"/>
                  </a:cubicBezTo>
                  <a:cubicBezTo>
                    <a:pt x="7888" y="2274"/>
                    <a:pt x="7888" y="2274"/>
                    <a:pt x="7888" y="2274"/>
                  </a:cubicBezTo>
                  <a:cubicBezTo>
                    <a:pt x="7888" y="2274"/>
                    <a:pt x="8365" y="2103"/>
                    <a:pt x="8418" y="2046"/>
                  </a:cubicBezTo>
                  <a:cubicBezTo>
                    <a:pt x="8418" y="2046"/>
                    <a:pt x="8682" y="1933"/>
                    <a:pt x="8682" y="1933"/>
                  </a:cubicBezTo>
                  <a:cubicBezTo>
                    <a:pt x="8788" y="1705"/>
                    <a:pt x="8788" y="1705"/>
                    <a:pt x="8788" y="1705"/>
                  </a:cubicBezTo>
                  <a:cubicBezTo>
                    <a:pt x="8788" y="1705"/>
                    <a:pt x="8894" y="1592"/>
                    <a:pt x="9053" y="1592"/>
                  </a:cubicBezTo>
                  <a:cubicBezTo>
                    <a:pt x="9159" y="1592"/>
                    <a:pt x="9265" y="1592"/>
                    <a:pt x="9318" y="1592"/>
                  </a:cubicBezTo>
                  <a:cubicBezTo>
                    <a:pt x="9318" y="1535"/>
                    <a:pt x="9371" y="1421"/>
                    <a:pt x="9424" y="1421"/>
                  </a:cubicBezTo>
                  <a:cubicBezTo>
                    <a:pt x="9476" y="1421"/>
                    <a:pt x="9794" y="1364"/>
                    <a:pt x="9794" y="1364"/>
                  </a:cubicBezTo>
                  <a:cubicBezTo>
                    <a:pt x="9953" y="1648"/>
                    <a:pt x="9953" y="1648"/>
                    <a:pt x="9953" y="1648"/>
                  </a:cubicBezTo>
                  <a:cubicBezTo>
                    <a:pt x="9953" y="1648"/>
                    <a:pt x="10271" y="1876"/>
                    <a:pt x="10324" y="1876"/>
                  </a:cubicBezTo>
                  <a:cubicBezTo>
                    <a:pt x="10376" y="1876"/>
                    <a:pt x="10641" y="1648"/>
                    <a:pt x="10641" y="1648"/>
                  </a:cubicBezTo>
                  <a:cubicBezTo>
                    <a:pt x="11171" y="1819"/>
                    <a:pt x="11171" y="1819"/>
                    <a:pt x="11171" y="1819"/>
                  </a:cubicBezTo>
                  <a:cubicBezTo>
                    <a:pt x="11594" y="1933"/>
                    <a:pt x="11594" y="1933"/>
                    <a:pt x="11594" y="1933"/>
                  </a:cubicBezTo>
                  <a:cubicBezTo>
                    <a:pt x="11753" y="1819"/>
                    <a:pt x="11753" y="1819"/>
                    <a:pt x="11753" y="1819"/>
                  </a:cubicBezTo>
                  <a:close/>
                  <a:moveTo>
                    <a:pt x="9953" y="8469"/>
                  </a:moveTo>
                  <a:cubicBezTo>
                    <a:pt x="9953" y="8469"/>
                    <a:pt x="9953" y="8469"/>
                    <a:pt x="9953" y="8469"/>
                  </a:cubicBezTo>
                  <a:cubicBezTo>
                    <a:pt x="10006" y="8526"/>
                    <a:pt x="10006" y="8526"/>
                    <a:pt x="10006" y="8526"/>
                  </a:cubicBezTo>
                  <a:cubicBezTo>
                    <a:pt x="10006" y="8526"/>
                    <a:pt x="10112" y="8526"/>
                    <a:pt x="10165" y="8469"/>
                  </a:cubicBezTo>
                  <a:cubicBezTo>
                    <a:pt x="10218" y="8469"/>
                    <a:pt x="10112" y="8413"/>
                    <a:pt x="10112" y="8413"/>
                  </a:cubicBezTo>
                  <a:cubicBezTo>
                    <a:pt x="10006" y="8413"/>
                    <a:pt x="10006" y="8413"/>
                    <a:pt x="10006" y="8413"/>
                  </a:cubicBezTo>
                  <a:cubicBezTo>
                    <a:pt x="10006" y="8413"/>
                    <a:pt x="9953" y="8469"/>
                    <a:pt x="9953" y="8469"/>
                  </a:cubicBezTo>
                  <a:close/>
                  <a:moveTo>
                    <a:pt x="9741" y="8924"/>
                  </a:moveTo>
                  <a:cubicBezTo>
                    <a:pt x="9741" y="8924"/>
                    <a:pt x="9741" y="8924"/>
                    <a:pt x="9741" y="8924"/>
                  </a:cubicBezTo>
                  <a:cubicBezTo>
                    <a:pt x="9794" y="8981"/>
                    <a:pt x="9794" y="8981"/>
                    <a:pt x="9794" y="8981"/>
                  </a:cubicBezTo>
                  <a:cubicBezTo>
                    <a:pt x="9794" y="8981"/>
                    <a:pt x="9847" y="8811"/>
                    <a:pt x="9900" y="8754"/>
                  </a:cubicBezTo>
                  <a:cubicBezTo>
                    <a:pt x="9953" y="8640"/>
                    <a:pt x="9847" y="8697"/>
                    <a:pt x="9847" y="8697"/>
                  </a:cubicBezTo>
                  <a:cubicBezTo>
                    <a:pt x="9794" y="8754"/>
                    <a:pt x="9794" y="8754"/>
                    <a:pt x="9794" y="8754"/>
                  </a:cubicBezTo>
                  <a:cubicBezTo>
                    <a:pt x="9794" y="8754"/>
                    <a:pt x="9741" y="8924"/>
                    <a:pt x="9741" y="8924"/>
                  </a:cubicBezTo>
                  <a:close/>
                  <a:moveTo>
                    <a:pt x="16835" y="13131"/>
                  </a:moveTo>
                  <a:cubicBezTo>
                    <a:pt x="16835" y="13131"/>
                    <a:pt x="16835" y="13131"/>
                    <a:pt x="16835" y="13131"/>
                  </a:cubicBezTo>
                  <a:cubicBezTo>
                    <a:pt x="16835" y="13131"/>
                    <a:pt x="16994" y="13244"/>
                    <a:pt x="16994" y="13244"/>
                  </a:cubicBezTo>
                  <a:cubicBezTo>
                    <a:pt x="16888" y="13472"/>
                    <a:pt x="16888" y="13472"/>
                    <a:pt x="16888" y="13472"/>
                  </a:cubicBezTo>
                  <a:cubicBezTo>
                    <a:pt x="16729" y="13358"/>
                    <a:pt x="16729" y="13358"/>
                    <a:pt x="16729" y="13358"/>
                  </a:cubicBezTo>
                  <a:cubicBezTo>
                    <a:pt x="16835" y="13131"/>
                    <a:pt x="16835" y="13131"/>
                    <a:pt x="16835" y="13131"/>
                  </a:cubicBezTo>
                  <a:close/>
                  <a:moveTo>
                    <a:pt x="18106" y="14211"/>
                  </a:moveTo>
                  <a:cubicBezTo>
                    <a:pt x="18106" y="14211"/>
                    <a:pt x="18106" y="14211"/>
                    <a:pt x="18106" y="14211"/>
                  </a:cubicBezTo>
                  <a:cubicBezTo>
                    <a:pt x="18106" y="14211"/>
                    <a:pt x="18371" y="14267"/>
                    <a:pt x="18371" y="14211"/>
                  </a:cubicBezTo>
                  <a:cubicBezTo>
                    <a:pt x="18371" y="14154"/>
                    <a:pt x="18424" y="14040"/>
                    <a:pt x="18424" y="14040"/>
                  </a:cubicBezTo>
                  <a:cubicBezTo>
                    <a:pt x="18371" y="13983"/>
                    <a:pt x="18212" y="13926"/>
                    <a:pt x="18212" y="13926"/>
                  </a:cubicBezTo>
                  <a:cubicBezTo>
                    <a:pt x="18159" y="13926"/>
                    <a:pt x="18106" y="13926"/>
                    <a:pt x="18053" y="13869"/>
                  </a:cubicBezTo>
                  <a:cubicBezTo>
                    <a:pt x="17735" y="13472"/>
                    <a:pt x="17947" y="13983"/>
                    <a:pt x="18106" y="14040"/>
                  </a:cubicBezTo>
                  <a:cubicBezTo>
                    <a:pt x="18106" y="14097"/>
                    <a:pt x="18106" y="14097"/>
                    <a:pt x="18106" y="14097"/>
                  </a:cubicBezTo>
                  <a:cubicBezTo>
                    <a:pt x="18106" y="14211"/>
                    <a:pt x="18106" y="14211"/>
                    <a:pt x="18106" y="14211"/>
                  </a:cubicBezTo>
                  <a:close/>
                  <a:moveTo>
                    <a:pt x="18476" y="14608"/>
                  </a:moveTo>
                  <a:cubicBezTo>
                    <a:pt x="18476" y="14608"/>
                    <a:pt x="18476" y="14608"/>
                    <a:pt x="18476" y="14608"/>
                  </a:cubicBezTo>
                  <a:cubicBezTo>
                    <a:pt x="18688" y="14324"/>
                    <a:pt x="18688" y="14324"/>
                    <a:pt x="18688" y="14324"/>
                  </a:cubicBezTo>
                  <a:cubicBezTo>
                    <a:pt x="18688" y="14324"/>
                    <a:pt x="18794" y="14211"/>
                    <a:pt x="18847" y="14211"/>
                  </a:cubicBezTo>
                  <a:cubicBezTo>
                    <a:pt x="18900" y="14211"/>
                    <a:pt x="19112" y="14154"/>
                    <a:pt x="19112" y="14154"/>
                  </a:cubicBezTo>
                  <a:cubicBezTo>
                    <a:pt x="19112" y="14154"/>
                    <a:pt x="19271" y="14211"/>
                    <a:pt x="19165" y="14267"/>
                  </a:cubicBezTo>
                  <a:cubicBezTo>
                    <a:pt x="19112" y="14324"/>
                    <a:pt x="18953" y="14438"/>
                    <a:pt x="18900" y="14438"/>
                  </a:cubicBezTo>
                  <a:cubicBezTo>
                    <a:pt x="18847" y="14495"/>
                    <a:pt x="18741" y="14665"/>
                    <a:pt x="18741" y="14665"/>
                  </a:cubicBezTo>
                  <a:cubicBezTo>
                    <a:pt x="18529" y="14722"/>
                    <a:pt x="18529" y="14722"/>
                    <a:pt x="18529" y="14722"/>
                  </a:cubicBezTo>
                  <a:cubicBezTo>
                    <a:pt x="18318" y="14836"/>
                    <a:pt x="18318" y="14836"/>
                    <a:pt x="18318" y="14836"/>
                  </a:cubicBezTo>
                  <a:cubicBezTo>
                    <a:pt x="18371" y="15063"/>
                    <a:pt x="18371" y="15063"/>
                    <a:pt x="18371" y="15063"/>
                  </a:cubicBezTo>
                  <a:cubicBezTo>
                    <a:pt x="18371" y="15063"/>
                    <a:pt x="18318" y="15120"/>
                    <a:pt x="18265" y="15120"/>
                  </a:cubicBezTo>
                  <a:cubicBezTo>
                    <a:pt x="18265" y="15063"/>
                    <a:pt x="18106" y="14949"/>
                    <a:pt x="18106" y="14949"/>
                  </a:cubicBezTo>
                  <a:cubicBezTo>
                    <a:pt x="18159" y="14665"/>
                    <a:pt x="18159" y="14665"/>
                    <a:pt x="18159" y="14665"/>
                  </a:cubicBezTo>
                  <a:cubicBezTo>
                    <a:pt x="18371" y="14665"/>
                    <a:pt x="18371" y="14665"/>
                    <a:pt x="18371" y="14665"/>
                  </a:cubicBezTo>
                  <a:cubicBezTo>
                    <a:pt x="18476" y="14608"/>
                    <a:pt x="18476" y="14608"/>
                    <a:pt x="18476" y="14608"/>
                  </a:cubicBezTo>
                  <a:close/>
                  <a:moveTo>
                    <a:pt x="20541" y="16257"/>
                  </a:moveTo>
                  <a:cubicBezTo>
                    <a:pt x="20541" y="16257"/>
                    <a:pt x="20541" y="16257"/>
                    <a:pt x="20541" y="16257"/>
                  </a:cubicBezTo>
                  <a:cubicBezTo>
                    <a:pt x="20541" y="16257"/>
                    <a:pt x="20753" y="16484"/>
                    <a:pt x="20753" y="16484"/>
                  </a:cubicBezTo>
                  <a:cubicBezTo>
                    <a:pt x="20700" y="16768"/>
                    <a:pt x="20700" y="16768"/>
                    <a:pt x="20700" y="16768"/>
                  </a:cubicBezTo>
                  <a:cubicBezTo>
                    <a:pt x="20700" y="16768"/>
                    <a:pt x="20700" y="16882"/>
                    <a:pt x="20806" y="16882"/>
                  </a:cubicBezTo>
                  <a:cubicBezTo>
                    <a:pt x="20912" y="16939"/>
                    <a:pt x="21071" y="16939"/>
                    <a:pt x="21071" y="16825"/>
                  </a:cubicBezTo>
                  <a:cubicBezTo>
                    <a:pt x="21071" y="16712"/>
                    <a:pt x="21124" y="16598"/>
                    <a:pt x="21176" y="16541"/>
                  </a:cubicBezTo>
                  <a:cubicBezTo>
                    <a:pt x="21229" y="16427"/>
                    <a:pt x="21335" y="16257"/>
                    <a:pt x="21335" y="16257"/>
                  </a:cubicBezTo>
                  <a:cubicBezTo>
                    <a:pt x="21335" y="16257"/>
                    <a:pt x="21388" y="16257"/>
                    <a:pt x="21441" y="16200"/>
                  </a:cubicBezTo>
                  <a:cubicBezTo>
                    <a:pt x="21494" y="16200"/>
                    <a:pt x="21388" y="16029"/>
                    <a:pt x="21388" y="16029"/>
                  </a:cubicBezTo>
                  <a:cubicBezTo>
                    <a:pt x="21388" y="16029"/>
                    <a:pt x="21335" y="16029"/>
                    <a:pt x="21441" y="15802"/>
                  </a:cubicBezTo>
                  <a:cubicBezTo>
                    <a:pt x="21547" y="15632"/>
                    <a:pt x="21547" y="15632"/>
                    <a:pt x="21547" y="15632"/>
                  </a:cubicBezTo>
                  <a:cubicBezTo>
                    <a:pt x="21547" y="15575"/>
                    <a:pt x="21600" y="15404"/>
                    <a:pt x="21600" y="15347"/>
                  </a:cubicBezTo>
                  <a:cubicBezTo>
                    <a:pt x="21547" y="15234"/>
                    <a:pt x="21494" y="14949"/>
                    <a:pt x="21494" y="14949"/>
                  </a:cubicBezTo>
                  <a:cubicBezTo>
                    <a:pt x="21388" y="15063"/>
                    <a:pt x="21388" y="15063"/>
                    <a:pt x="21388" y="15063"/>
                  </a:cubicBezTo>
                  <a:cubicBezTo>
                    <a:pt x="21388" y="15063"/>
                    <a:pt x="21282" y="15177"/>
                    <a:pt x="21176" y="15177"/>
                  </a:cubicBezTo>
                  <a:cubicBezTo>
                    <a:pt x="21071" y="15234"/>
                    <a:pt x="20965" y="15291"/>
                    <a:pt x="20965" y="15347"/>
                  </a:cubicBezTo>
                  <a:cubicBezTo>
                    <a:pt x="20965" y="15347"/>
                    <a:pt x="20965" y="15518"/>
                    <a:pt x="20912" y="15575"/>
                  </a:cubicBezTo>
                  <a:cubicBezTo>
                    <a:pt x="20859" y="15632"/>
                    <a:pt x="20700" y="15802"/>
                    <a:pt x="20700" y="15802"/>
                  </a:cubicBezTo>
                  <a:cubicBezTo>
                    <a:pt x="20594" y="16086"/>
                    <a:pt x="20594" y="16086"/>
                    <a:pt x="20594" y="16086"/>
                  </a:cubicBezTo>
                  <a:cubicBezTo>
                    <a:pt x="20594" y="16086"/>
                    <a:pt x="20541" y="16257"/>
                    <a:pt x="20541" y="16257"/>
                  </a:cubicBezTo>
                  <a:close/>
                  <a:moveTo>
                    <a:pt x="19747" y="18815"/>
                  </a:moveTo>
                  <a:cubicBezTo>
                    <a:pt x="19747" y="18815"/>
                    <a:pt x="19747" y="18815"/>
                    <a:pt x="19747" y="18815"/>
                  </a:cubicBezTo>
                  <a:cubicBezTo>
                    <a:pt x="19641" y="18758"/>
                    <a:pt x="19535" y="18644"/>
                    <a:pt x="19535" y="18531"/>
                  </a:cubicBezTo>
                  <a:cubicBezTo>
                    <a:pt x="19535" y="18474"/>
                    <a:pt x="19588" y="18360"/>
                    <a:pt x="19588" y="18360"/>
                  </a:cubicBezTo>
                  <a:cubicBezTo>
                    <a:pt x="19588" y="18360"/>
                    <a:pt x="19482" y="18303"/>
                    <a:pt x="19482" y="18246"/>
                  </a:cubicBezTo>
                  <a:cubicBezTo>
                    <a:pt x="19482" y="18246"/>
                    <a:pt x="19588" y="18019"/>
                    <a:pt x="19588" y="17905"/>
                  </a:cubicBezTo>
                  <a:cubicBezTo>
                    <a:pt x="19535" y="17848"/>
                    <a:pt x="19588" y="17507"/>
                    <a:pt x="19588" y="17507"/>
                  </a:cubicBezTo>
                  <a:cubicBezTo>
                    <a:pt x="19588" y="17507"/>
                    <a:pt x="19747" y="17451"/>
                    <a:pt x="19747" y="17507"/>
                  </a:cubicBezTo>
                  <a:cubicBezTo>
                    <a:pt x="19747" y="17564"/>
                    <a:pt x="19694" y="17735"/>
                    <a:pt x="19694" y="17792"/>
                  </a:cubicBezTo>
                  <a:cubicBezTo>
                    <a:pt x="19694" y="17848"/>
                    <a:pt x="19641" y="18076"/>
                    <a:pt x="19641" y="18133"/>
                  </a:cubicBezTo>
                  <a:cubicBezTo>
                    <a:pt x="19641" y="18133"/>
                    <a:pt x="19694" y="18076"/>
                    <a:pt x="19800" y="18189"/>
                  </a:cubicBezTo>
                  <a:cubicBezTo>
                    <a:pt x="19906" y="18303"/>
                    <a:pt x="19906" y="18474"/>
                    <a:pt x="19906" y="18474"/>
                  </a:cubicBezTo>
                  <a:cubicBezTo>
                    <a:pt x="19800" y="18587"/>
                    <a:pt x="19800" y="18587"/>
                    <a:pt x="19800" y="18587"/>
                  </a:cubicBezTo>
                  <a:cubicBezTo>
                    <a:pt x="19747" y="18815"/>
                    <a:pt x="19747" y="18815"/>
                    <a:pt x="19747" y="18815"/>
                  </a:cubicBezTo>
                  <a:close/>
                  <a:moveTo>
                    <a:pt x="19112" y="18928"/>
                  </a:moveTo>
                  <a:cubicBezTo>
                    <a:pt x="19112" y="18928"/>
                    <a:pt x="19112" y="18928"/>
                    <a:pt x="19112" y="18928"/>
                  </a:cubicBezTo>
                  <a:cubicBezTo>
                    <a:pt x="19112" y="18928"/>
                    <a:pt x="19059" y="19156"/>
                    <a:pt x="19059" y="19213"/>
                  </a:cubicBezTo>
                  <a:cubicBezTo>
                    <a:pt x="19059" y="19213"/>
                    <a:pt x="19112" y="19213"/>
                    <a:pt x="19165" y="19213"/>
                  </a:cubicBezTo>
                  <a:cubicBezTo>
                    <a:pt x="19218" y="19156"/>
                    <a:pt x="19271" y="19156"/>
                    <a:pt x="19324" y="19099"/>
                  </a:cubicBezTo>
                  <a:cubicBezTo>
                    <a:pt x="19376" y="19042"/>
                    <a:pt x="19535" y="18928"/>
                    <a:pt x="19588" y="18928"/>
                  </a:cubicBezTo>
                  <a:cubicBezTo>
                    <a:pt x="19641" y="18872"/>
                    <a:pt x="19376" y="18758"/>
                    <a:pt x="19376" y="18758"/>
                  </a:cubicBezTo>
                  <a:cubicBezTo>
                    <a:pt x="19112" y="18928"/>
                    <a:pt x="19112" y="18928"/>
                    <a:pt x="19112" y="18928"/>
                  </a:cubicBezTo>
                  <a:close/>
                  <a:moveTo>
                    <a:pt x="11912" y="7503"/>
                  </a:moveTo>
                  <a:cubicBezTo>
                    <a:pt x="11912" y="7503"/>
                    <a:pt x="11912" y="7503"/>
                    <a:pt x="11912" y="7503"/>
                  </a:cubicBezTo>
                  <a:cubicBezTo>
                    <a:pt x="12018" y="7560"/>
                    <a:pt x="12018" y="7560"/>
                    <a:pt x="12018" y="7560"/>
                  </a:cubicBezTo>
                  <a:cubicBezTo>
                    <a:pt x="12018" y="7560"/>
                    <a:pt x="12071" y="7503"/>
                    <a:pt x="12124" y="7446"/>
                  </a:cubicBezTo>
                  <a:cubicBezTo>
                    <a:pt x="12176" y="7389"/>
                    <a:pt x="12071" y="7333"/>
                    <a:pt x="12071" y="7333"/>
                  </a:cubicBezTo>
                  <a:cubicBezTo>
                    <a:pt x="12018" y="7389"/>
                    <a:pt x="12018" y="7389"/>
                    <a:pt x="12018" y="7389"/>
                  </a:cubicBezTo>
                  <a:cubicBezTo>
                    <a:pt x="12018" y="7389"/>
                    <a:pt x="11912" y="7503"/>
                    <a:pt x="11912" y="7503"/>
                  </a:cubicBezTo>
                  <a:close/>
                  <a:moveTo>
                    <a:pt x="8682" y="9322"/>
                  </a:moveTo>
                  <a:cubicBezTo>
                    <a:pt x="8682" y="9322"/>
                    <a:pt x="8682" y="9322"/>
                    <a:pt x="8682" y="9322"/>
                  </a:cubicBezTo>
                  <a:cubicBezTo>
                    <a:pt x="8735" y="9379"/>
                    <a:pt x="8735" y="9379"/>
                    <a:pt x="8735" y="9379"/>
                  </a:cubicBezTo>
                  <a:cubicBezTo>
                    <a:pt x="8735" y="9379"/>
                    <a:pt x="8788" y="9265"/>
                    <a:pt x="8894" y="9208"/>
                  </a:cubicBezTo>
                  <a:cubicBezTo>
                    <a:pt x="8947" y="9152"/>
                    <a:pt x="8841" y="9152"/>
                    <a:pt x="8841" y="9152"/>
                  </a:cubicBezTo>
                  <a:cubicBezTo>
                    <a:pt x="8735" y="9208"/>
                    <a:pt x="8735" y="9208"/>
                    <a:pt x="8735" y="9208"/>
                  </a:cubicBezTo>
                  <a:cubicBezTo>
                    <a:pt x="8735" y="9208"/>
                    <a:pt x="8682" y="9265"/>
                    <a:pt x="8682" y="9322"/>
                  </a:cubicBezTo>
                  <a:close/>
                  <a:moveTo>
                    <a:pt x="9212" y="9208"/>
                  </a:moveTo>
                  <a:cubicBezTo>
                    <a:pt x="9212" y="9208"/>
                    <a:pt x="9212" y="9208"/>
                    <a:pt x="9212" y="9208"/>
                  </a:cubicBezTo>
                  <a:cubicBezTo>
                    <a:pt x="9212" y="9322"/>
                    <a:pt x="9212" y="9322"/>
                    <a:pt x="9212" y="9322"/>
                  </a:cubicBezTo>
                  <a:cubicBezTo>
                    <a:pt x="9212" y="9322"/>
                    <a:pt x="9371" y="9379"/>
                    <a:pt x="9476" y="9436"/>
                  </a:cubicBezTo>
                  <a:cubicBezTo>
                    <a:pt x="9635" y="9493"/>
                    <a:pt x="9529" y="9322"/>
                    <a:pt x="9529" y="9322"/>
                  </a:cubicBezTo>
                  <a:cubicBezTo>
                    <a:pt x="9424" y="9208"/>
                    <a:pt x="9424" y="9208"/>
                    <a:pt x="9424" y="9208"/>
                  </a:cubicBezTo>
                  <a:cubicBezTo>
                    <a:pt x="9424" y="9208"/>
                    <a:pt x="9265" y="9152"/>
                    <a:pt x="9212" y="9208"/>
                  </a:cubicBezTo>
                  <a:close/>
                  <a:moveTo>
                    <a:pt x="11171" y="9322"/>
                  </a:moveTo>
                  <a:cubicBezTo>
                    <a:pt x="11171" y="9322"/>
                    <a:pt x="11171" y="9322"/>
                    <a:pt x="11171" y="9322"/>
                  </a:cubicBezTo>
                  <a:cubicBezTo>
                    <a:pt x="11118" y="9436"/>
                    <a:pt x="11118" y="9436"/>
                    <a:pt x="11118" y="9436"/>
                  </a:cubicBezTo>
                  <a:cubicBezTo>
                    <a:pt x="11118" y="9436"/>
                    <a:pt x="11224" y="9549"/>
                    <a:pt x="11276" y="9663"/>
                  </a:cubicBezTo>
                  <a:cubicBezTo>
                    <a:pt x="11329" y="9663"/>
                    <a:pt x="11541" y="9891"/>
                    <a:pt x="11647" y="9891"/>
                  </a:cubicBezTo>
                  <a:cubicBezTo>
                    <a:pt x="12071" y="10061"/>
                    <a:pt x="11382" y="9493"/>
                    <a:pt x="11329" y="9436"/>
                  </a:cubicBezTo>
                  <a:cubicBezTo>
                    <a:pt x="11329" y="9436"/>
                    <a:pt x="11171" y="9265"/>
                    <a:pt x="11171" y="9322"/>
                  </a:cubicBezTo>
                  <a:close/>
                  <a:moveTo>
                    <a:pt x="13659" y="10118"/>
                  </a:moveTo>
                  <a:cubicBezTo>
                    <a:pt x="13659" y="10118"/>
                    <a:pt x="13659" y="10118"/>
                    <a:pt x="13659" y="10118"/>
                  </a:cubicBezTo>
                  <a:cubicBezTo>
                    <a:pt x="13765" y="10232"/>
                    <a:pt x="13765" y="10232"/>
                    <a:pt x="13765" y="10232"/>
                  </a:cubicBezTo>
                  <a:cubicBezTo>
                    <a:pt x="13765" y="10232"/>
                    <a:pt x="13924" y="10175"/>
                    <a:pt x="14029" y="10118"/>
                  </a:cubicBezTo>
                  <a:cubicBezTo>
                    <a:pt x="14135" y="10118"/>
                    <a:pt x="14029" y="10004"/>
                    <a:pt x="14029" y="10004"/>
                  </a:cubicBezTo>
                  <a:cubicBezTo>
                    <a:pt x="13871" y="10004"/>
                    <a:pt x="13871" y="10004"/>
                    <a:pt x="13871" y="10004"/>
                  </a:cubicBezTo>
                  <a:cubicBezTo>
                    <a:pt x="13871" y="10004"/>
                    <a:pt x="13659" y="10061"/>
                    <a:pt x="13659" y="10118"/>
                  </a:cubicBezTo>
                  <a:close/>
                  <a:moveTo>
                    <a:pt x="12600" y="4149"/>
                  </a:moveTo>
                  <a:cubicBezTo>
                    <a:pt x="12600" y="4149"/>
                    <a:pt x="12600" y="4149"/>
                    <a:pt x="12600" y="4149"/>
                  </a:cubicBezTo>
                  <a:cubicBezTo>
                    <a:pt x="12600" y="4149"/>
                    <a:pt x="12388" y="4263"/>
                    <a:pt x="12388" y="4263"/>
                  </a:cubicBezTo>
                  <a:cubicBezTo>
                    <a:pt x="12335" y="4263"/>
                    <a:pt x="12388" y="4377"/>
                    <a:pt x="12441" y="4377"/>
                  </a:cubicBezTo>
                  <a:cubicBezTo>
                    <a:pt x="12494" y="4434"/>
                    <a:pt x="12653" y="4491"/>
                    <a:pt x="12653" y="4491"/>
                  </a:cubicBezTo>
                  <a:cubicBezTo>
                    <a:pt x="12706" y="4491"/>
                    <a:pt x="12865" y="4377"/>
                    <a:pt x="12971" y="4263"/>
                  </a:cubicBezTo>
                  <a:cubicBezTo>
                    <a:pt x="13076" y="4206"/>
                    <a:pt x="12865" y="4149"/>
                    <a:pt x="12865" y="4149"/>
                  </a:cubicBezTo>
                  <a:cubicBezTo>
                    <a:pt x="12600" y="4149"/>
                    <a:pt x="12600" y="4149"/>
                    <a:pt x="12600" y="4149"/>
                  </a:cubicBezTo>
                  <a:close/>
                  <a:moveTo>
                    <a:pt x="10694" y="3752"/>
                  </a:moveTo>
                  <a:cubicBezTo>
                    <a:pt x="10694" y="3752"/>
                    <a:pt x="10694" y="3752"/>
                    <a:pt x="10694" y="3752"/>
                  </a:cubicBezTo>
                  <a:cubicBezTo>
                    <a:pt x="10694" y="3752"/>
                    <a:pt x="10482" y="3752"/>
                    <a:pt x="10429" y="3752"/>
                  </a:cubicBezTo>
                  <a:cubicBezTo>
                    <a:pt x="10429" y="3752"/>
                    <a:pt x="10376" y="3808"/>
                    <a:pt x="10324" y="3865"/>
                  </a:cubicBezTo>
                  <a:cubicBezTo>
                    <a:pt x="10271" y="3922"/>
                    <a:pt x="10271" y="4036"/>
                    <a:pt x="10218" y="4149"/>
                  </a:cubicBezTo>
                  <a:cubicBezTo>
                    <a:pt x="10218" y="4263"/>
                    <a:pt x="10271" y="4263"/>
                    <a:pt x="10271" y="4263"/>
                  </a:cubicBezTo>
                  <a:cubicBezTo>
                    <a:pt x="10324" y="4320"/>
                    <a:pt x="10324" y="4320"/>
                    <a:pt x="10429" y="4434"/>
                  </a:cubicBezTo>
                  <a:cubicBezTo>
                    <a:pt x="10535" y="4491"/>
                    <a:pt x="10641" y="4377"/>
                    <a:pt x="10747" y="4320"/>
                  </a:cubicBezTo>
                  <a:cubicBezTo>
                    <a:pt x="10906" y="4263"/>
                    <a:pt x="10800" y="4206"/>
                    <a:pt x="10853" y="4093"/>
                  </a:cubicBezTo>
                  <a:cubicBezTo>
                    <a:pt x="10853" y="4036"/>
                    <a:pt x="10800" y="3865"/>
                    <a:pt x="10800" y="3865"/>
                  </a:cubicBezTo>
                  <a:cubicBezTo>
                    <a:pt x="10800" y="3808"/>
                    <a:pt x="10694" y="3752"/>
                    <a:pt x="10694" y="3752"/>
                  </a:cubicBezTo>
                  <a:close/>
                  <a:moveTo>
                    <a:pt x="12494" y="5855"/>
                  </a:moveTo>
                  <a:cubicBezTo>
                    <a:pt x="12494" y="5855"/>
                    <a:pt x="12494" y="5855"/>
                    <a:pt x="12494" y="5855"/>
                  </a:cubicBezTo>
                  <a:cubicBezTo>
                    <a:pt x="12494" y="5855"/>
                    <a:pt x="12441" y="5968"/>
                    <a:pt x="12441" y="5968"/>
                  </a:cubicBezTo>
                  <a:cubicBezTo>
                    <a:pt x="12441" y="5968"/>
                    <a:pt x="12441" y="6082"/>
                    <a:pt x="12441" y="6082"/>
                  </a:cubicBezTo>
                  <a:cubicBezTo>
                    <a:pt x="12441" y="6082"/>
                    <a:pt x="12388" y="6139"/>
                    <a:pt x="12335" y="6196"/>
                  </a:cubicBezTo>
                  <a:cubicBezTo>
                    <a:pt x="12229" y="6309"/>
                    <a:pt x="12335" y="6309"/>
                    <a:pt x="12388" y="6366"/>
                  </a:cubicBezTo>
                  <a:cubicBezTo>
                    <a:pt x="12441" y="6480"/>
                    <a:pt x="12388" y="6423"/>
                    <a:pt x="12441" y="6423"/>
                  </a:cubicBezTo>
                  <a:cubicBezTo>
                    <a:pt x="12441" y="6480"/>
                    <a:pt x="12494" y="6423"/>
                    <a:pt x="12600" y="6366"/>
                  </a:cubicBezTo>
                  <a:cubicBezTo>
                    <a:pt x="12706" y="6309"/>
                    <a:pt x="12653" y="6309"/>
                    <a:pt x="12653" y="6309"/>
                  </a:cubicBezTo>
                  <a:cubicBezTo>
                    <a:pt x="12653" y="6309"/>
                    <a:pt x="12547" y="6139"/>
                    <a:pt x="12547" y="6139"/>
                  </a:cubicBezTo>
                  <a:cubicBezTo>
                    <a:pt x="12547" y="6139"/>
                    <a:pt x="12547" y="6082"/>
                    <a:pt x="12547" y="6082"/>
                  </a:cubicBezTo>
                  <a:cubicBezTo>
                    <a:pt x="12547" y="6025"/>
                    <a:pt x="12600" y="6025"/>
                    <a:pt x="12653" y="5968"/>
                  </a:cubicBezTo>
                  <a:cubicBezTo>
                    <a:pt x="12706" y="5855"/>
                    <a:pt x="12706" y="5798"/>
                    <a:pt x="12706" y="5798"/>
                  </a:cubicBezTo>
                  <a:cubicBezTo>
                    <a:pt x="12706" y="5741"/>
                    <a:pt x="12600" y="5741"/>
                    <a:pt x="12600" y="5741"/>
                  </a:cubicBezTo>
                  <a:cubicBezTo>
                    <a:pt x="12600" y="5741"/>
                    <a:pt x="12494" y="5798"/>
                    <a:pt x="12494" y="5855"/>
                  </a:cubicBezTo>
                  <a:close/>
                  <a:moveTo>
                    <a:pt x="12335" y="5968"/>
                  </a:moveTo>
                  <a:cubicBezTo>
                    <a:pt x="12335" y="5968"/>
                    <a:pt x="12335" y="5968"/>
                    <a:pt x="12335" y="5968"/>
                  </a:cubicBezTo>
                  <a:cubicBezTo>
                    <a:pt x="12282" y="5855"/>
                    <a:pt x="12282" y="5855"/>
                    <a:pt x="12282" y="5855"/>
                  </a:cubicBezTo>
                  <a:cubicBezTo>
                    <a:pt x="12282" y="5855"/>
                    <a:pt x="12229" y="5798"/>
                    <a:pt x="12071" y="5798"/>
                  </a:cubicBezTo>
                  <a:cubicBezTo>
                    <a:pt x="11965" y="5798"/>
                    <a:pt x="11965" y="5855"/>
                    <a:pt x="11859" y="5855"/>
                  </a:cubicBezTo>
                  <a:cubicBezTo>
                    <a:pt x="11753" y="5855"/>
                    <a:pt x="11753" y="5968"/>
                    <a:pt x="11753" y="6025"/>
                  </a:cubicBezTo>
                  <a:cubicBezTo>
                    <a:pt x="11700" y="6139"/>
                    <a:pt x="11753" y="6082"/>
                    <a:pt x="11806" y="6139"/>
                  </a:cubicBezTo>
                  <a:cubicBezTo>
                    <a:pt x="11859" y="6196"/>
                    <a:pt x="11806" y="6196"/>
                    <a:pt x="11859" y="6366"/>
                  </a:cubicBezTo>
                  <a:cubicBezTo>
                    <a:pt x="11859" y="6480"/>
                    <a:pt x="11912" y="6423"/>
                    <a:pt x="11912" y="6423"/>
                  </a:cubicBezTo>
                  <a:cubicBezTo>
                    <a:pt x="11965" y="6480"/>
                    <a:pt x="12018" y="6423"/>
                    <a:pt x="12124" y="6366"/>
                  </a:cubicBezTo>
                  <a:cubicBezTo>
                    <a:pt x="12229" y="6253"/>
                    <a:pt x="12124" y="6253"/>
                    <a:pt x="12124" y="6253"/>
                  </a:cubicBezTo>
                  <a:cubicBezTo>
                    <a:pt x="12124" y="6253"/>
                    <a:pt x="12229" y="6196"/>
                    <a:pt x="12335" y="6082"/>
                  </a:cubicBezTo>
                  <a:cubicBezTo>
                    <a:pt x="12388" y="5968"/>
                    <a:pt x="12335" y="5968"/>
                    <a:pt x="12335" y="5968"/>
                  </a:cubicBezTo>
                  <a:close/>
                  <a:moveTo>
                    <a:pt x="15035" y="7901"/>
                  </a:moveTo>
                  <a:cubicBezTo>
                    <a:pt x="15035" y="7901"/>
                    <a:pt x="15035" y="7901"/>
                    <a:pt x="15035" y="7901"/>
                  </a:cubicBezTo>
                  <a:cubicBezTo>
                    <a:pt x="14982" y="7901"/>
                    <a:pt x="14929" y="8015"/>
                    <a:pt x="14929" y="8015"/>
                  </a:cubicBezTo>
                  <a:cubicBezTo>
                    <a:pt x="14929" y="8015"/>
                    <a:pt x="14876" y="8072"/>
                    <a:pt x="14876" y="8128"/>
                  </a:cubicBezTo>
                  <a:cubicBezTo>
                    <a:pt x="14824" y="8128"/>
                    <a:pt x="14771" y="8242"/>
                    <a:pt x="14771" y="8242"/>
                  </a:cubicBezTo>
                  <a:cubicBezTo>
                    <a:pt x="14771" y="8242"/>
                    <a:pt x="14824" y="8299"/>
                    <a:pt x="14876" y="8299"/>
                  </a:cubicBezTo>
                  <a:cubicBezTo>
                    <a:pt x="14929" y="8356"/>
                    <a:pt x="14929" y="8356"/>
                    <a:pt x="14982" y="8356"/>
                  </a:cubicBezTo>
                  <a:cubicBezTo>
                    <a:pt x="15035" y="8356"/>
                    <a:pt x="15035" y="8356"/>
                    <a:pt x="15194" y="8356"/>
                  </a:cubicBezTo>
                  <a:cubicBezTo>
                    <a:pt x="15406" y="8356"/>
                    <a:pt x="15565" y="8356"/>
                    <a:pt x="15618" y="8356"/>
                  </a:cubicBezTo>
                  <a:cubicBezTo>
                    <a:pt x="15618" y="8356"/>
                    <a:pt x="15724" y="8299"/>
                    <a:pt x="15724" y="8299"/>
                  </a:cubicBezTo>
                  <a:cubicBezTo>
                    <a:pt x="15724" y="8242"/>
                    <a:pt x="15724" y="8242"/>
                    <a:pt x="15671" y="8185"/>
                  </a:cubicBezTo>
                  <a:cubicBezTo>
                    <a:pt x="15618" y="8072"/>
                    <a:pt x="15512" y="8015"/>
                    <a:pt x="15512" y="8015"/>
                  </a:cubicBezTo>
                  <a:cubicBezTo>
                    <a:pt x="15459" y="8015"/>
                    <a:pt x="15512" y="7901"/>
                    <a:pt x="15565" y="7958"/>
                  </a:cubicBezTo>
                  <a:cubicBezTo>
                    <a:pt x="15565" y="7958"/>
                    <a:pt x="15724" y="8128"/>
                    <a:pt x="15724" y="8128"/>
                  </a:cubicBezTo>
                  <a:cubicBezTo>
                    <a:pt x="15776" y="8128"/>
                    <a:pt x="15882" y="8128"/>
                    <a:pt x="15882" y="8015"/>
                  </a:cubicBezTo>
                  <a:cubicBezTo>
                    <a:pt x="15829" y="7958"/>
                    <a:pt x="15935" y="7844"/>
                    <a:pt x="15776" y="7787"/>
                  </a:cubicBezTo>
                  <a:cubicBezTo>
                    <a:pt x="15671" y="7731"/>
                    <a:pt x="15618" y="7674"/>
                    <a:pt x="15565" y="7674"/>
                  </a:cubicBezTo>
                  <a:cubicBezTo>
                    <a:pt x="15459" y="7674"/>
                    <a:pt x="15618" y="7731"/>
                    <a:pt x="15406" y="7560"/>
                  </a:cubicBezTo>
                  <a:cubicBezTo>
                    <a:pt x="15194" y="7389"/>
                    <a:pt x="15194" y="7446"/>
                    <a:pt x="15194" y="7446"/>
                  </a:cubicBezTo>
                  <a:cubicBezTo>
                    <a:pt x="15194" y="7446"/>
                    <a:pt x="15300" y="7276"/>
                    <a:pt x="15247" y="7219"/>
                  </a:cubicBezTo>
                  <a:cubicBezTo>
                    <a:pt x="15247" y="7219"/>
                    <a:pt x="15035" y="7162"/>
                    <a:pt x="15035" y="7162"/>
                  </a:cubicBezTo>
                  <a:cubicBezTo>
                    <a:pt x="15035" y="7162"/>
                    <a:pt x="14771" y="7219"/>
                    <a:pt x="14771" y="7219"/>
                  </a:cubicBezTo>
                  <a:cubicBezTo>
                    <a:pt x="14718" y="7276"/>
                    <a:pt x="14665" y="7333"/>
                    <a:pt x="14665" y="7333"/>
                  </a:cubicBezTo>
                  <a:cubicBezTo>
                    <a:pt x="14665" y="7446"/>
                    <a:pt x="14665" y="7446"/>
                    <a:pt x="14665" y="7446"/>
                  </a:cubicBezTo>
                  <a:cubicBezTo>
                    <a:pt x="14559" y="7503"/>
                    <a:pt x="14559" y="7503"/>
                    <a:pt x="14559" y="7503"/>
                  </a:cubicBezTo>
                  <a:cubicBezTo>
                    <a:pt x="14559" y="7503"/>
                    <a:pt x="14506" y="7617"/>
                    <a:pt x="14506" y="7617"/>
                  </a:cubicBezTo>
                  <a:cubicBezTo>
                    <a:pt x="14453" y="7617"/>
                    <a:pt x="14347" y="7674"/>
                    <a:pt x="14347" y="7674"/>
                  </a:cubicBezTo>
                  <a:cubicBezTo>
                    <a:pt x="14294" y="7674"/>
                    <a:pt x="14188" y="7674"/>
                    <a:pt x="14188" y="7731"/>
                  </a:cubicBezTo>
                  <a:cubicBezTo>
                    <a:pt x="14135" y="7787"/>
                    <a:pt x="13976" y="7844"/>
                    <a:pt x="13976" y="7844"/>
                  </a:cubicBezTo>
                  <a:cubicBezTo>
                    <a:pt x="13976" y="7844"/>
                    <a:pt x="13924" y="7901"/>
                    <a:pt x="14029" y="8015"/>
                  </a:cubicBezTo>
                  <a:cubicBezTo>
                    <a:pt x="14135" y="8072"/>
                    <a:pt x="14241" y="8072"/>
                    <a:pt x="14241" y="8128"/>
                  </a:cubicBezTo>
                  <a:cubicBezTo>
                    <a:pt x="14294" y="8128"/>
                    <a:pt x="14294" y="8128"/>
                    <a:pt x="14347" y="8128"/>
                  </a:cubicBezTo>
                  <a:cubicBezTo>
                    <a:pt x="14400" y="8185"/>
                    <a:pt x="14400" y="8185"/>
                    <a:pt x="14506" y="8185"/>
                  </a:cubicBezTo>
                  <a:cubicBezTo>
                    <a:pt x="14559" y="8128"/>
                    <a:pt x="14665" y="8128"/>
                    <a:pt x="14665" y="8072"/>
                  </a:cubicBezTo>
                  <a:cubicBezTo>
                    <a:pt x="14718" y="8015"/>
                    <a:pt x="14718" y="7958"/>
                    <a:pt x="14771" y="7901"/>
                  </a:cubicBezTo>
                  <a:cubicBezTo>
                    <a:pt x="14771" y="7844"/>
                    <a:pt x="14771" y="7787"/>
                    <a:pt x="14876" y="7787"/>
                  </a:cubicBezTo>
                  <a:cubicBezTo>
                    <a:pt x="14929" y="7787"/>
                    <a:pt x="15035" y="7731"/>
                    <a:pt x="15035" y="7731"/>
                  </a:cubicBezTo>
                  <a:cubicBezTo>
                    <a:pt x="15035" y="7731"/>
                    <a:pt x="15035" y="7901"/>
                    <a:pt x="15035" y="7901"/>
                  </a:cubicBezTo>
                  <a:close/>
                  <a:moveTo>
                    <a:pt x="15300" y="10345"/>
                  </a:moveTo>
                  <a:cubicBezTo>
                    <a:pt x="15300" y="10345"/>
                    <a:pt x="15300" y="10345"/>
                    <a:pt x="15300" y="10345"/>
                  </a:cubicBezTo>
                  <a:cubicBezTo>
                    <a:pt x="15247" y="10288"/>
                    <a:pt x="15247" y="10288"/>
                    <a:pt x="15247" y="10288"/>
                  </a:cubicBezTo>
                  <a:cubicBezTo>
                    <a:pt x="15247" y="10232"/>
                    <a:pt x="15247" y="10232"/>
                    <a:pt x="15247" y="10232"/>
                  </a:cubicBezTo>
                  <a:cubicBezTo>
                    <a:pt x="15088" y="10061"/>
                    <a:pt x="15088" y="10061"/>
                    <a:pt x="15088" y="10061"/>
                  </a:cubicBezTo>
                  <a:cubicBezTo>
                    <a:pt x="15088" y="10061"/>
                    <a:pt x="15300" y="10004"/>
                    <a:pt x="15406" y="9947"/>
                  </a:cubicBezTo>
                  <a:cubicBezTo>
                    <a:pt x="15565" y="9891"/>
                    <a:pt x="15406" y="9834"/>
                    <a:pt x="15406" y="9777"/>
                  </a:cubicBezTo>
                  <a:cubicBezTo>
                    <a:pt x="15406" y="9777"/>
                    <a:pt x="15353" y="9777"/>
                    <a:pt x="15247" y="9777"/>
                  </a:cubicBezTo>
                  <a:cubicBezTo>
                    <a:pt x="15194" y="9777"/>
                    <a:pt x="15141" y="9777"/>
                    <a:pt x="15035" y="9834"/>
                  </a:cubicBezTo>
                  <a:cubicBezTo>
                    <a:pt x="14982" y="9834"/>
                    <a:pt x="14929" y="9720"/>
                    <a:pt x="14929" y="9720"/>
                  </a:cubicBezTo>
                  <a:cubicBezTo>
                    <a:pt x="14876" y="9720"/>
                    <a:pt x="14665" y="9720"/>
                    <a:pt x="14612" y="9720"/>
                  </a:cubicBezTo>
                  <a:cubicBezTo>
                    <a:pt x="14612" y="9720"/>
                    <a:pt x="14559" y="9834"/>
                    <a:pt x="14506" y="9891"/>
                  </a:cubicBezTo>
                  <a:cubicBezTo>
                    <a:pt x="14453" y="9947"/>
                    <a:pt x="14400" y="10004"/>
                    <a:pt x="14347" y="10004"/>
                  </a:cubicBezTo>
                  <a:cubicBezTo>
                    <a:pt x="14294" y="10061"/>
                    <a:pt x="14506" y="10175"/>
                    <a:pt x="14559" y="10175"/>
                  </a:cubicBezTo>
                  <a:cubicBezTo>
                    <a:pt x="14559" y="10232"/>
                    <a:pt x="14718" y="10232"/>
                    <a:pt x="14718" y="10288"/>
                  </a:cubicBezTo>
                  <a:cubicBezTo>
                    <a:pt x="14771" y="10288"/>
                    <a:pt x="14929" y="10402"/>
                    <a:pt x="14982" y="10402"/>
                  </a:cubicBezTo>
                  <a:cubicBezTo>
                    <a:pt x="15035" y="10459"/>
                    <a:pt x="14929" y="10516"/>
                    <a:pt x="14876" y="10629"/>
                  </a:cubicBezTo>
                  <a:cubicBezTo>
                    <a:pt x="14824" y="10743"/>
                    <a:pt x="14771" y="10743"/>
                    <a:pt x="14718" y="10800"/>
                  </a:cubicBezTo>
                  <a:cubicBezTo>
                    <a:pt x="14665" y="10857"/>
                    <a:pt x="14771" y="10914"/>
                    <a:pt x="14824" y="10971"/>
                  </a:cubicBezTo>
                  <a:cubicBezTo>
                    <a:pt x="14876" y="11027"/>
                    <a:pt x="14982" y="11084"/>
                    <a:pt x="14982" y="11084"/>
                  </a:cubicBezTo>
                  <a:cubicBezTo>
                    <a:pt x="15035" y="11084"/>
                    <a:pt x="15194" y="10971"/>
                    <a:pt x="15194" y="10971"/>
                  </a:cubicBezTo>
                  <a:cubicBezTo>
                    <a:pt x="15194" y="10971"/>
                    <a:pt x="15247" y="10800"/>
                    <a:pt x="15247" y="10800"/>
                  </a:cubicBezTo>
                  <a:cubicBezTo>
                    <a:pt x="15247" y="10743"/>
                    <a:pt x="15300" y="10629"/>
                    <a:pt x="15300" y="10629"/>
                  </a:cubicBezTo>
                  <a:cubicBezTo>
                    <a:pt x="15353" y="10573"/>
                    <a:pt x="15353" y="10573"/>
                    <a:pt x="15353" y="10573"/>
                  </a:cubicBezTo>
                  <a:cubicBezTo>
                    <a:pt x="15300" y="10345"/>
                    <a:pt x="15300" y="10345"/>
                    <a:pt x="15300" y="10345"/>
                  </a:cubicBezTo>
                  <a:close/>
                  <a:moveTo>
                    <a:pt x="16729" y="11880"/>
                  </a:moveTo>
                  <a:cubicBezTo>
                    <a:pt x="16729" y="11880"/>
                    <a:pt x="16729" y="11880"/>
                    <a:pt x="16729" y="11880"/>
                  </a:cubicBezTo>
                  <a:cubicBezTo>
                    <a:pt x="16782" y="11823"/>
                    <a:pt x="16888" y="11709"/>
                    <a:pt x="16888" y="11653"/>
                  </a:cubicBezTo>
                  <a:cubicBezTo>
                    <a:pt x="16888" y="11653"/>
                    <a:pt x="16994" y="11653"/>
                    <a:pt x="17047" y="11653"/>
                  </a:cubicBezTo>
                  <a:cubicBezTo>
                    <a:pt x="17047" y="11653"/>
                    <a:pt x="17259" y="11709"/>
                    <a:pt x="17259" y="11709"/>
                  </a:cubicBezTo>
                  <a:cubicBezTo>
                    <a:pt x="17259" y="11709"/>
                    <a:pt x="17418" y="11709"/>
                    <a:pt x="17418" y="11709"/>
                  </a:cubicBezTo>
                  <a:cubicBezTo>
                    <a:pt x="17418" y="11709"/>
                    <a:pt x="17576" y="11596"/>
                    <a:pt x="17576" y="11596"/>
                  </a:cubicBezTo>
                  <a:cubicBezTo>
                    <a:pt x="17629" y="11596"/>
                    <a:pt x="17788" y="11766"/>
                    <a:pt x="17788" y="11766"/>
                  </a:cubicBezTo>
                  <a:cubicBezTo>
                    <a:pt x="17788" y="11766"/>
                    <a:pt x="17682" y="11937"/>
                    <a:pt x="17629" y="11937"/>
                  </a:cubicBezTo>
                  <a:cubicBezTo>
                    <a:pt x="17576" y="11994"/>
                    <a:pt x="17524" y="11994"/>
                    <a:pt x="17471" y="12051"/>
                  </a:cubicBezTo>
                  <a:cubicBezTo>
                    <a:pt x="17418" y="12164"/>
                    <a:pt x="17418" y="12164"/>
                    <a:pt x="17418" y="12221"/>
                  </a:cubicBezTo>
                  <a:cubicBezTo>
                    <a:pt x="17365" y="12221"/>
                    <a:pt x="17312" y="12335"/>
                    <a:pt x="17206" y="12221"/>
                  </a:cubicBezTo>
                  <a:cubicBezTo>
                    <a:pt x="17100" y="12164"/>
                    <a:pt x="16994" y="12051"/>
                    <a:pt x="16994" y="12051"/>
                  </a:cubicBezTo>
                  <a:cubicBezTo>
                    <a:pt x="16994" y="12051"/>
                    <a:pt x="16888" y="12107"/>
                    <a:pt x="16835" y="12107"/>
                  </a:cubicBezTo>
                  <a:cubicBezTo>
                    <a:pt x="16782" y="12164"/>
                    <a:pt x="16676" y="12107"/>
                    <a:pt x="16676" y="12107"/>
                  </a:cubicBezTo>
                  <a:cubicBezTo>
                    <a:pt x="16729" y="12051"/>
                    <a:pt x="16676" y="11937"/>
                    <a:pt x="16729" y="11880"/>
                  </a:cubicBezTo>
                  <a:close/>
                  <a:moveTo>
                    <a:pt x="15618" y="13017"/>
                  </a:moveTo>
                  <a:cubicBezTo>
                    <a:pt x="15618" y="13017"/>
                    <a:pt x="15618" y="13017"/>
                    <a:pt x="15618" y="13017"/>
                  </a:cubicBezTo>
                  <a:cubicBezTo>
                    <a:pt x="15618" y="13017"/>
                    <a:pt x="15406" y="12903"/>
                    <a:pt x="15459" y="12846"/>
                  </a:cubicBezTo>
                  <a:cubicBezTo>
                    <a:pt x="15512" y="12733"/>
                    <a:pt x="15724" y="12505"/>
                    <a:pt x="15776" y="12448"/>
                  </a:cubicBezTo>
                  <a:cubicBezTo>
                    <a:pt x="15776" y="12448"/>
                    <a:pt x="15935" y="12505"/>
                    <a:pt x="15935" y="12505"/>
                  </a:cubicBezTo>
                  <a:cubicBezTo>
                    <a:pt x="15988" y="12505"/>
                    <a:pt x="16041" y="12335"/>
                    <a:pt x="16094" y="12335"/>
                  </a:cubicBezTo>
                  <a:cubicBezTo>
                    <a:pt x="16094" y="12335"/>
                    <a:pt x="16306" y="12335"/>
                    <a:pt x="16306" y="12335"/>
                  </a:cubicBezTo>
                  <a:cubicBezTo>
                    <a:pt x="16306" y="12335"/>
                    <a:pt x="16200" y="12562"/>
                    <a:pt x="16094" y="12619"/>
                  </a:cubicBezTo>
                  <a:cubicBezTo>
                    <a:pt x="15988" y="12676"/>
                    <a:pt x="15935" y="12676"/>
                    <a:pt x="15935" y="12733"/>
                  </a:cubicBezTo>
                  <a:cubicBezTo>
                    <a:pt x="15882" y="12789"/>
                    <a:pt x="15829" y="12846"/>
                    <a:pt x="15829" y="12903"/>
                  </a:cubicBezTo>
                  <a:cubicBezTo>
                    <a:pt x="15776" y="12903"/>
                    <a:pt x="15618" y="13017"/>
                    <a:pt x="15618" y="13017"/>
                  </a:cubicBezTo>
                  <a:close/>
                  <a:moveTo>
                    <a:pt x="14929" y="15234"/>
                  </a:moveTo>
                  <a:cubicBezTo>
                    <a:pt x="14929" y="15234"/>
                    <a:pt x="14929" y="15234"/>
                    <a:pt x="14929" y="15234"/>
                  </a:cubicBezTo>
                  <a:cubicBezTo>
                    <a:pt x="14982" y="15291"/>
                    <a:pt x="14876" y="15518"/>
                    <a:pt x="14718" y="15404"/>
                  </a:cubicBezTo>
                  <a:cubicBezTo>
                    <a:pt x="14718" y="15404"/>
                    <a:pt x="14665" y="15291"/>
                    <a:pt x="14771" y="15234"/>
                  </a:cubicBezTo>
                  <a:cubicBezTo>
                    <a:pt x="14824" y="15234"/>
                    <a:pt x="14929" y="15234"/>
                    <a:pt x="14929" y="15234"/>
                  </a:cubicBezTo>
                  <a:close/>
                  <a:moveTo>
                    <a:pt x="14771" y="16598"/>
                  </a:moveTo>
                  <a:cubicBezTo>
                    <a:pt x="14771" y="16598"/>
                    <a:pt x="14771" y="16598"/>
                    <a:pt x="14771" y="16598"/>
                  </a:cubicBezTo>
                  <a:cubicBezTo>
                    <a:pt x="14771" y="16598"/>
                    <a:pt x="14876" y="16484"/>
                    <a:pt x="14876" y="16484"/>
                  </a:cubicBezTo>
                  <a:cubicBezTo>
                    <a:pt x="14929" y="16484"/>
                    <a:pt x="14982" y="16541"/>
                    <a:pt x="14982" y="16541"/>
                  </a:cubicBezTo>
                  <a:cubicBezTo>
                    <a:pt x="14982" y="16541"/>
                    <a:pt x="15141" y="16655"/>
                    <a:pt x="15141" y="16655"/>
                  </a:cubicBezTo>
                  <a:cubicBezTo>
                    <a:pt x="15141" y="16712"/>
                    <a:pt x="15194" y="16825"/>
                    <a:pt x="15141" y="16825"/>
                  </a:cubicBezTo>
                  <a:cubicBezTo>
                    <a:pt x="15088" y="16882"/>
                    <a:pt x="15035" y="16939"/>
                    <a:pt x="14982" y="16882"/>
                  </a:cubicBezTo>
                  <a:cubicBezTo>
                    <a:pt x="14929" y="16882"/>
                    <a:pt x="14876" y="16882"/>
                    <a:pt x="14876" y="16825"/>
                  </a:cubicBezTo>
                  <a:cubicBezTo>
                    <a:pt x="14876" y="16768"/>
                    <a:pt x="14876" y="16768"/>
                    <a:pt x="14876" y="16712"/>
                  </a:cubicBezTo>
                  <a:cubicBezTo>
                    <a:pt x="14876" y="16712"/>
                    <a:pt x="14771" y="16712"/>
                    <a:pt x="14771" y="16712"/>
                  </a:cubicBezTo>
                  <a:cubicBezTo>
                    <a:pt x="14771" y="16598"/>
                    <a:pt x="14771" y="16598"/>
                    <a:pt x="14771" y="16598"/>
                  </a:cubicBezTo>
                  <a:close/>
                  <a:moveTo>
                    <a:pt x="12600" y="15859"/>
                  </a:moveTo>
                  <a:cubicBezTo>
                    <a:pt x="12600" y="15859"/>
                    <a:pt x="12600" y="15859"/>
                    <a:pt x="12600" y="15859"/>
                  </a:cubicBezTo>
                  <a:cubicBezTo>
                    <a:pt x="12653" y="15859"/>
                    <a:pt x="12759" y="15802"/>
                    <a:pt x="12759" y="15859"/>
                  </a:cubicBezTo>
                  <a:cubicBezTo>
                    <a:pt x="12812" y="15916"/>
                    <a:pt x="12865" y="15916"/>
                    <a:pt x="12865" y="15973"/>
                  </a:cubicBezTo>
                  <a:cubicBezTo>
                    <a:pt x="12865" y="15973"/>
                    <a:pt x="12918" y="16029"/>
                    <a:pt x="12812" y="16086"/>
                  </a:cubicBezTo>
                  <a:cubicBezTo>
                    <a:pt x="12706" y="16086"/>
                    <a:pt x="12653" y="16086"/>
                    <a:pt x="12653" y="16086"/>
                  </a:cubicBezTo>
                  <a:cubicBezTo>
                    <a:pt x="12706" y="16257"/>
                    <a:pt x="12706" y="16257"/>
                    <a:pt x="12706" y="16257"/>
                  </a:cubicBezTo>
                  <a:cubicBezTo>
                    <a:pt x="12706" y="16257"/>
                    <a:pt x="12812" y="16257"/>
                    <a:pt x="12653" y="16371"/>
                  </a:cubicBezTo>
                  <a:cubicBezTo>
                    <a:pt x="12547" y="16484"/>
                    <a:pt x="12441" y="16484"/>
                    <a:pt x="12441" y="16484"/>
                  </a:cubicBezTo>
                  <a:cubicBezTo>
                    <a:pt x="12441" y="16427"/>
                    <a:pt x="12441" y="16427"/>
                    <a:pt x="12441" y="16427"/>
                  </a:cubicBezTo>
                  <a:cubicBezTo>
                    <a:pt x="12282" y="16484"/>
                    <a:pt x="12282" y="16484"/>
                    <a:pt x="12282" y="16484"/>
                  </a:cubicBezTo>
                  <a:cubicBezTo>
                    <a:pt x="12282" y="16484"/>
                    <a:pt x="12229" y="16541"/>
                    <a:pt x="12229" y="16484"/>
                  </a:cubicBezTo>
                  <a:cubicBezTo>
                    <a:pt x="12176" y="16371"/>
                    <a:pt x="12124" y="16257"/>
                    <a:pt x="12229" y="16257"/>
                  </a:cubicBezTo>
                  <a:cubicBezTo>
                    <a:pt x="12335" y="16200"/>
                    <a:pt x="12335" y="16143"/>
                    <a:pt x="12388" y="16200"/>
                  </a:cubicBezTo>
                  <a:cubicBezTo>
                    <a:pt x="12441" y="16257"/>
                    <a:pt x="12441" y="16314"/>
                    <a:pt x="12441" y="16314"/>
                  </a:cubicBezTo>
                  <a:cubicBezTo>
                    <a:pt x="12494" y="16143"/>
                    <a:pt x="12494" y="16143"/>
                    <a:pt x="12494" y="16143"/>
                  </a:cubicBezTo>
                  <a:cubicBezTo>
                    <a:pt x="12494" y="16143"/>
                    <a:pt x="12441" y="16143"/>
                    <a:pt x="12441" y="16086"/>
                  </a:cubicBezTo>
                  <a:cubicBezTo>
                    <a:pt x="12494" y="16029"/>
                    <a:pt x="12494" y="16029"/>
                    <a:pt x="12547" y="15973"/>
                  </a:cubicBezTo>
                  <a:cubicBezTo>
                    <a:pt x="12600" y="15973"/>
                    <a:pt x="12653" y="16029"/>
                    <a:pt x="12653" y="16029"/>
                  </a:cubicBezTo>
                  <a:cubicBezTo>
                    <a:pt x="12600" y="15859"/>
                    <a:pt x="12600" y="15859"/>
                    <a:pt x="12600" y="15859"/>
                  </a:cubicBezTo>
                  <a:close/>
                  <a:moveTo>
                    <a:pt x="13659" y="16257"/>
                  </a:moveTo>
                  <a:cubicBezTo>
                    <a:pt x="13659" y="16257"/>
                    <a:pt x="13659" y="16257"/>
                    <a:pt x="13659" y="16257"/>
                  </a:cubicBezTo>
                  <a:cubicBezTo>
                    <a:pt x="13659" y="16257"/>
                    <a:pt x="13712" y="16257"/>
                    <a:pt x="13712" y="16314"/>
                  </a:cubicBezTo>
                  <a:cubicBezTo>
                    <a:pt x="13765" y="16371"/>
                    <a:pt x="13765" y="16371"/>
                    <a:pt x="13712" y="16371"/>
                  </a:cubicBezTo>
                  <a:cubicBezTo>
                    <a:pt x="13712" y="16371"/>
                    <a:pt x="13553" y="16371"/>
                    <a:pt x="13553" y="16371"/>
                  </a:cubicBezTo>
                  <a:cubicBezTo>
                    <a:pt x="13553" y="16371"/>
                    <a:pt x="13500" y="16427"/>
                    <a:pt x="13500" y="16314"/>
                  </a:cubicBezTo>
                  <a:cubicBezTo>
                    <a:pt x="13500" y="16257"/>
                    <a:pt x="13500" y="16200"/>
                    <a:pt x="13500" y="16200"/>
                  </a:cubicBezTo>
                  <a:cubicBezTo>
                    <a:pt x="13659" y="16257"/>
                    <a:pt x="13659" y="16257"/>
                    <a:pt x="13659" y="16257"/>
                  </a:cubicBezTo>
                  <a:close/>
                  <a:moveTo>
                    <a:pt x="14029" y="16029"/>
                  </a:moveTo>
                  <a:cubicBezTo>
                    <a:pt x="14029" y="16029"/>
                    <a:pt x="14029" y="16029"/>
                    <a:pt x="14029" y="16029"/>
                  </a:cubicBezTo>
                  <a:cubicBezTo>
                    <a:pt x="14241" y="15859"/>
                    <a:pt x="14241" y="15859"/>
                    <a:pt x="14241" y="15859"/>
                  </a:cubicBezTo>
                  <a:cubicBezTo>
                    <a:pt x="14241" y="15859"/>
                    <a:pt x="14294" y="16029"/>
                    <a:pt x="14188" y="16086"/>
                  </a:cubicBezTo>
                  <a:cubicBezTo>
                    <a:pt x="14135" y="16143"/>
                    <a:pt x="14082" y="16143"/>
                    <a:pt x="14082" y="16143"/>
                  </a:cubicBezTo>
                  <a:cubicBezTo>
                    <a:pt x="13976" y="16086"/>
                    <a:pt x="13976" y="16086"/>
                    <a:pt x="13976" y="16086"/>
                  </a:cubicBezTo>
                  <a:cubicBezTo>
                    <a:pt x="14029" y="16029"/>
                    <a:pt x="14029" y="16029"/>
                    <a:pt x="14029" y="16029"/>
                  </a:cubicBezTo>
                  <a:close/>
                  <a:moveTo>
                    <a:pt x="14453" y="15632"/>
                  </a:moveTo>
                  <a:cubicBezTo>
                    <a:pt x="14453" y="15632"/>
                    <a:pt x="14453" y="15632"/>
                    <a:pt x="14453" y="15632"/>
                  </a:cubicBezTo>
                  <a:cubicBezTo>
                    <a:pt x="14453" y="15632"/>
                    <a:pt x="14400" y="15802"/>
                    <a:pt x="14453" y="15916"/>
                  </a:cubicBezTo>
                  <a:cubicBezTo>
                    <a:pt x="14453" y="15973"/>
                    <a:pt x="14453" y="15973"/>
                    <a:pt x="14506" y="15973"/>
                  </a:cubicBezTo>
                  <a:cubicBezTo>
                    <a:pt x="14559" y="16029"/>
                    <a:pt x="14612" y="16029"/>
                    <a:pt x="14665" y="15973"/>
                  </a:cubicBezTo>
                  <a:cubicBezTo>
                    <a:pt x="14718" y="15973"/>
                    <a:pt x="14718" y="15802"/>
                    <a:pt x="14718" y="15802"/>
                  </a:cubicBezTo>
                  <a:cubicBezTo>
                    <a:pt x="14718" y="15802"/>
                    <a:pt x="14718" y="15745"/>
                    <a:pt x="14665" y="15632"/>
                  </a:cubicBezTo>
                  <a:cubicBezTo>
                    <a:pt x="14612" y="15461"/>
                    <a:pt x="14506" y="15632"/>
                    <a:pt x="14453" y="15632"/>
                  </a:cubicBezTo>
                  <a:close/>
                  <a:moveTo>
                    <a:pt x="14506" y="14722"/>
                  </a:moveTo>
                  <a:cubicBezTo>
                    <a:pt x="14506" y="14722"/>
                    <a:pt x="14506" y="14722"/>
                    <a:pt x="14506" y="14722"/>
                  </a:cubicBezTo>
                  <a:cubicBezTo>
                    <a:pt x="14506" y="14665"/>
                    <a:pt x="14506" y="14495"/>
                    <a:pt x="14559" y="14438"/>
                  </a:cubicBezTo>
                  <a:cubicBezTo>
                    <a:pt x="14612" y="14438"/>
                    <a:pt x="14612" y="14381"/>
                    <a:pt x="14665" y="14324"/>
                  </a:cubicBezTo>
                  <a:cubicBezTo>
                    <a:pt x="14665" y="14267"/>
                    <a:pt x="14876" y="14267"/>
                    <a:pt x="14876" y="14267"/>
                  </a:cubicBezTo>
                  <a:cubicBezTo>
                    <a:pt x="14929" y="14381"/>
                    <a:pt x="14929" y="14381"/>
                    <a:pt x="14929" y="14381"/>
                  </a:cubicBezTo>
                  <a:cubicBezTo>
                    <a:pt x="14929" y="14381"/>
                    <a:pt x="14929" y="14495"/>
                    <a:pt x="14929" y="14552"/>
                  </a:cubicBezTo>
                  <a:cubicBezTo>
                    <a:pt x="14929" y="14608"/>
                    <a:pt x="14929" y="14608"/>
                    <a:pt x="14982" y="14722"/>
                  </a:cubicBezTo>
                  <a:cubicBezTo>
                    <a:pt x="14982" y="14779"/>
                    <a:pt x="14929" y="14893"/>
                    <a:pt x="14929" y="14949"/>
                  </a:cubicBezTo>
                  <a:cubicBezTo>
                    <a:pt x="14876" y="15006"/>
                    <a:pt x="14876" y="15063"/>
                    <a:pt x="14824" y="15063"/>
                  </a:cubicBezTo>
                  <a:cubicBezTo>
                    <a:pt x="14771" y="15120"/>
                    <a:pt x="14771" y="15177"/>
                    <a:pt x="14718" y="15120"/>
                  </a:cubicBezTo>
                  <a:cubicBezTo>
                    <a:pt x="14665" y="15063"/>
                    <a:pt x="14506" y="15006"/>
                    <a:pt x="14506" y="14949"/>
                  </a:cubicBezTo>
                  <a:cubicBezTo>
                    <a:pt x="14506" y="14949"/>
                    <a:pt x="14506" y="14836"/>
                    <a:pt x="14506" y="14836"/>
                  </a:cubicBezTo>
                  <a:cubicBezTo>
                    <a:pt x="14506" y="14722"/>
                    <a:pt x="14506" y="14722"/>
                    <a:pt x="14506" y="14722"/>
                  </a:cubicBezTo>
                  <a:close/>
                  <a:moveTo>
                    <a:pt x="13871" y="15006"/>
                  </a:moveTo>
                  <a:cubicBezTo>
                    <a:pt x="13871" y="15006"/>
                    <a:pt x="13871" y="15006"/>
                    <a:pt x="13871" y="15006"/>
                  </a:cubicBezTo>
                  <a:cubicBezTo>
                    <a:pt x="13871" y="14949"/>
                    <a:pt x="13924" y="14722"/>
                    <a:pt x="13924" y="14722"/>
                  </a:cubicBezTo>
                  <a:cubicBezTo>
                    <a:pt x="13924" y="14722"/>
                    <a:pt x="13924" y="14608"/>
                    <a:pt x="14029" y="14552"/>
                  </a:cubicBezTo>
                  <a:cubicBezTo>
                    <a:pt x="14082" y="14552"/>
                    <a:pt x="14082" y="14495"/>
                    <a:pt x="14135" y="14552"/>
                  </a:cubicBezTo>
                  <a:cubicBezTo>
                    <a:pt x="14188" y="14608"/>
                    <a:pt x="14241" y="14665"/>
                    <a:pt x="14241" y="14665"/>
                  </a:cubicBezTo>
                  <a:cubicBezTo>
                    <a:pt x="14241" y="14665"/>
                    <a:pt x="14188" y="14665"/>
                    <a:pt x="14188" y="14722"/>
                  </a:cubicBezTo>
                  <a:cubicBezTo>
                    <a:pt x="14188" y="14722"/>
                    <a:pt x="14241" y="14836"/>
                    <a:pt x="14241" y="14836"/>
                  </a:cubicBezTo>
                  <a:cubicBezTo>
                    <a:pt x="14188" y="14893"/>
                    <a:pt x="14135" y="14949"/>
                    <a:pt x="14082" y="15006"/>
                  </a:cubicBezTo>
                  <a:cubicBezTo>
                    <a:pt x="14082" y="15063"/>
                    <a:pt x="13976" y="15120"/>
                    <a:pt x="13976" y="15120"/>
                  </a:cubicBezTo>
                  <a:cubicBezTo>
                    <a:pt x="13818" y="15234"/>
                    <a:pt x="13818" y="15234"/>
                    <a:pt x="13818" y="15234"/>
                  </a:cubicBezTo>
                  <a:cubicBezTo>
                    <a:pt x="13818" y="15291"/>
                    <a:pt x="13818" y="15291"/>
                    <a:pt x="13818" y="15291"/>
                  </a:cubicBezTo>
                  <a:cubicBezTo>
                    <a:pt x="13765" y="15291"/>
                    <a:pt x="13765" y="15291"/>
                    <a:pt x="13765" y="15291"/>
                  </a:cubicBezTo>
                  <a:cubicBezTo>
                    <a:pt x="13659" y="15120"/>
                    <a:pt x="13659" y="15120"/>
                    <a:pt x="13659" y="15120"/>
                  </a:cubicBezTo>
                  <a:cubicBezTo>
                    <a:pt x="13818" y="15006"/>
                    <a:pt x="13818" y="15006"/>
                    <a:pt x="13818" y="15006"/>
                  </a:cubicBezTo>
                  <a:cubicBezTo>
                    <a:pt x="13871" y="15006"/>
                    <a:pt x="13871" y="15006"/>
                    <a:pt x="13871" y="15006"/>
                  </a:cubicBezTo>
                  <a:close/>
                  <a:moveTo>
                    <a:pt x="12812" y="15234"/>
                  </a:moveTo>
                  <a:cubicBezTo>
                    <a:pt x="12812" y="15234"/>
                    <a:pt x="12812" y="15234"/>
                    <a:pt x="12812" y="15234"/>
                  </a:cubicBezTo>
                  <a:cubicBezTo>
                    <a:pt x="12971" y="15177"/>
                    <a:pt x="12971" y="15177"/>
                    <a:pt x="12971" y="15177"/>
                  </a:cubicBezTo>
                  <a:cubicBezTo>
                    <a:pt x="13129" y="15291"/>
                    <a:pt x="13129" y="15291"/>
                    <a:pt x="13129" y="15291"/>
                  </a:cubicBezTo>
                  <a:cubicBezTo>
                    <a:pt x="13129" y="15461"/>
                    <a:pt x="13129" y="15461"/>
                    <a:pt x="13129" y="15461"/>
                  </a:cubicBezTo>
                  <a:cubicBezTo>
                    <a:pt x="13129" y="15461"/>
                    <a:pt x="13024" y="15688"/>
                    <a:pt x="12971" y="15632"/>
                  </a:cubicBezTo>
                  <a:cubicBezTo>
                    <a:pt x="12918" y="15518"/>
                    <a:pt x="12918" y="15404"/>
                    <a:pt x="12918" y="15404"/>
                  </a:cubicBezTo>
                  <a:cubicBezTo>
                    <a:pt x="12812" y="15234"/>
                    <a:pt x="12812" y="15234"/>
                    <a:pt x="12812" y="15234"/>
                  </a:cubicBezTo>
                  <a:close/>
                  <a:moveTo>
                    <a:pt x="12124" y="14779"/>
                  </a:moveTo>
                  <a:cubicBezTo>
                    <a:pt x="12124" y="14779"/>
                    <a:pt x="12124" y="14779"/>
                    <a:pt x="12124" y="14779"/>
                  </a:cubicBezTo>
                  <a:cubicBezTo>
                    <a:pt x="12124" y="14779"/>
                    <a:pt x="12388" y="14722"/>
                    <a:pt x="12388" y="14779"/>
                  </a:cubicBezTo>
                  <a:cubicBezTo>
                    <a:pt x="12388" y="14779"/>
                    <a:pt x="12388" y="14893"/>
                    <a:pt x="12441" y="14893"/>
                  </a:cubicBezTo>
                  <a:cubicBezTo>
                    <a:pt x="12441" y="14949"/>
                    <a:pt x="12282" y="15120"/>
                    <a:pt x="12229" y="15120"/>
                  </a:cubicBezTo>
                  <a:cubicBezTo>
                    <a:pt x="12229" y="15120"/>
                    <a:pt x="12176" y="15063"/>
                    <a:pt x="12176" y="15063"/>
                  </a:cubicBezTo>
                  <a:cubicBezTo>
                    <a:pt x="12124" y="14779"/>
                    <a:pt x="12124" y="14779"/>
                    <a:pt x="12124" y="14779"/>
                  </a:cubicBezTo>
                  <a:close/>
                  <a:moveTo>
                    <a:pt x="11912" y="14040"/>
                  </a:moveTo>
                  <a:cubicBezTo>
                    <a:pt x="11912" y="14040"/>
                    <a:pt x="11912" y="14040"/>
                    <a:pt x="11912" y="14040"/>
                  </a:cubicBezTo>
                  <a:cubicBezTo>
                    <a:pt x="11912" y="14040"/>
                    <a:pt x="11965" y="13983"/>
                    <a:pt x="12018" y="13983"/>
                  </a:cubicBezTo>
                  <a:cubicBezTo>
                    <a:pt x="12071" y="14040"/>
                    <a:pt x="12071" y="14211"/>
                    <a:pt x="12071" y="14211"/>
                  </a:cubicBezTo>
                  <a:cubicBezTo>
                    <a:pt x="12018" y="14381"/>
                    <a:pt x="12018" y="14381"/>
                    <a:pt x="12018" y="14381"/>
                  </a:cubicBezTo>
                  <a:cubicBezTo>
                    <a:pt x="12018" y="14381"/>
                    <a:pt x="11912" y="14552"/>
                    <a:pt x="11912" y="14552"/>
                  </a:cubicBezTo>
                  <a:cubicBezTo>
                    <a:pt x="11912" y="14495"/>
                    <a:pt x="11859" y="14211"/>
                    <a:pt x="11859" y="14211"/>
                  </a:cubicBezTo>
                  <a:cubicBezTo>
                    <a:pt x="11912" y="14040"/>
                    <a:pt x="11912" y="14040"/>
                    <a:pt x="11912" y="14040"/>
                  </a:cubicBezTo>
                  <a:close/>
                  <a:moveTo>
                    <a:pt x="11594" y="13585"/>
                  </a:moveTo>
                  <a:cubicBezTo>
                    <a:pt x="11594" y="13585"/>
                    <a:pt x="11594" y="13585"/>
                    <a:pt x="11594" y="13585"/>
                  </a:cubicBezTo>
                  <a:cubicBezTo>
                    <a:pt x="11594" y="13585"/>
                    <a:pt x="11541" y="13756"/>
                    <a:pt x="11541" y="13813"/>
                  </a:cubicBezTo>
                  <a:cubicBezTo>
                    <a:pt x="11541" y="13813"/>
                    <a:pt x="11594" y="13926"/>
                    <a:pt x="11594" y="13926"/>
                  </a:cubicBezTo>
                  <a:cubicBezTo>
                    <a:pt x="11594" y="13983"/>
                    <a:pt x="11594" y="13926"/>
                    <a:pt x="11647" y="13869"/>
                  </a:cubicBezTo>
                  <a:cubicBezTo>
                    <a:pt x="11700" y="13813"/>
                    <a:pt x="11700" y="13756"/>
                    <a:pt x="11700" y="13756"/>
                  </a:cubicBezTo>
                  <a:cubicBezTo>
                    <a:pt x="11700" y="13756"/>
                    <a:pt x="11806" y="13699"/>
                    <a:pt x="11806" y="13642"/>
                  </a:cubicBezTo>
                  <a:cubicBezTo>
                    <a:pt x="11859" y="13642"/>
                    <a:pt x="11859" y="13472"/>
                    <a:pt x="11859" y="13472"/>
                  </a:cubicBezTo>
                  <a:cubicBezTo>
                    <a:pt x="11859" y="13472"/>
                    <a:pt x="11700" y="13358"/>
                    <a:pt x="11700" y="13415"/>
                  </a:cubicBezTo>
                  <a:cubicBezTo>
                    <a:pt x="11647" y="13415"/>
                    <a:pt x="11594" y="13585"/>
                    <a:pt x="11594" y="13585"/>
                  </a:cubicBezTo>
                  <a:close/>
                  <a:moveTo>
                    <a:pt x="12335" y="13472"/>
                  </a:moveTo>
                  <a:cubicBezTo>
                    <a:pt x="12335" y="13472"/>
                    <a:pt x="12335" y="13472"/>
                    <a:pt x="12335" y="13472"/>
                  </a:cubicBezTo>
                  <a:cubicBezTo>
                    <a:pt x="12388" y="13472"/>
                    <a:pt x="12388" y="13472"/>
                    <a:pt x="12388" y="13472"/>
                  </a:cubicBezTo>
                  <a:cubicBezTo>
                    <a:pt x="12388" y="13528"/>
                    <a:pt x="12388" y="13528"/>
                    <a:pt x="12388" y="13528"/>
                  </a:cubicBezTo>
                  <a:cubicBezTo>
                    <a:pt x="12388" y="13528"/>
                    <a:pt x="12547" y="13472"/>
                    <a:pt x="12600" y="13472"/>
                  </a:cubicBezTo>
                  <a:cubicBezTo>
                    <a:pt x="12653" y="13415"/>
                    <a:pt x="12600" y="13358"/>
                    <a:pt x="12600" y="13301"/>
                  </a:cubicBezTo>
                  <a:cubicBezTo>
                    <a:pt x="12547" y="13244"/>
                    <a:pt x="12335" y="13472"/>
                    <a:pt x="12335" y="13472"/>
                  </a:cubicBezTo>
                  <a:close/>
                  <a:moveTo>
                    <a:pt x="13076" y="13699"/>
                  </a:moveTo>
                  <a:cubicBezTo>
                    <a:pt x="13076" y="13699"/>
                    <a:pt x="13076" y="13699"/>
                    <a:pt x="13076" y="13699"/>
                  </a:cubicBezTo>
                  <a:cubicBezTo>
                    <a:pt x="12971" y="13642"/>
                    <a:pt x="12971" y="13642"/>
                    <a:pt x="12971" y="13642"/>
                  </a:cubicBezTo>
                  <a:cubicBezTo>
                    <a:pt x="12971" y="13756"/>
                    <a:pt x="12971" y="13756"/>
                    <a:pt x="12971" y="13756"/>
                  </a:cubicBezTo>
                  <a:cubicBezTo>
                    <a:pt x="12971" y="13756"/>
                    <a:pt x="13024" y="13869"/>
                    <a:pt x="13076" y="13926"/>
                  </a:cubicBezTo>
                  <a:cubicBezTo>
                    <a:pt x="13076" y="13926"/>
                    <a:pt x="12971" y="14040"/>
                    <a:pt x="12971" y="14040"/>
                  </a:cubicBezTo>
                  <a:cubicBezTo>
                    <a:pt x="13076" y="14211"/>
                    <a:pt x="13076" y="14211"/>
                    <a:pt x="13076" y="14211"/>
                  </a:cubicBezTo>
                  <a:cubicBezTo>
                    <a:pt x="13235" y="13926"/>
                    <a:pt x="13235" y="13926"/>
                    <a:pt x="13235" y="13926"/>
                  </a:cubicBezTo>
                  <a:cubicBezTo>
                    <a:pt x="13235" y="13926"/>
                    <a:pt x="13182" y="13813"/>
                    <a:pt x="13182" y="13813"/>
                  </a:cubicBezTo>
                  <a:cubicBezTo>
                    <a:pt x="13182" y="13756"/>
                    <a:pt x="13076" y="13699"/>
                    <a:pt x="13076" y="13699"/>
                  </a:cubicBezTo>
                  <a:close/>
                  <a:moveTo>
                    <a:pt x="13818" y="13699"/>
                  </a:moveTo>
                  <a:cubicBezTo>
                    <a:pt x="13818" y="13699"/>
                    <a:pt x="13818" y="13699"/>
                    <a:pt x="13818" y="13699"/>
                  </a:cubicBezTo>
                  <a:cubicBezTo>
                    <a:pt x="13871" y="13813"/>
                    <a:pt x="13871" y="13813"/>
                    <a:pt x="13871" y="13813"/>
                  </a:cubicBezTo>
                  <a:cubicBezTo>
                    <a:pt x="13871" y="13813"/>
                    <a:pt x="13818" y="13926"/>
                    <a:pt x="13765" y="13926"/>
                  </a:cubicBezTo>
                  <a:cubicBezTo>
                    <a:pt x="13765" y="13926"/>
                    <a:pt x="13712" y="13869"/>
                    <a:pt x="13712" y="13869"/>
                  </a:cubicBezTo>
                  <a:cubicBezTo>
                    <a:pt x="13818" y="13699"/>
                    <a:pt x="13818" y="13699"/>
                    <a:pt x="13818" y="13699"/>
                  </a:cubicBezTo>
                  <a:close/>
                  <a:moveTo>
                    <a:pt x="13976" y="13528"/>
                  </a:moveTo>
                  <a:cubicBezTo>
                    <a:pt x="13976" y="13528"/>
                    <a:pt x="13976" y="13528"/>
                    <a:pt x="13976" y="13528"/>
                  </a:cubicBezTo>
                  <a:cubicBezTo>
                    <a:pt x="14029" y="13642"/>
                    <a:pt x="14029" y="13642"/>
                    <a:pt x="14029" y="13642"/>
                  </a:cubicBezTo>
                  <a:cubicBezTo>
                    <a:pt x="14029" y="13642"/>
                    <a:pt x="14188" y="13585"/>
                    <a:pt x="14294" y="13528"/>
                  </a:cubicBezTo>
                  <a:cubicBezTo>
                    <a:pt x="14453" y="13472"/>
                    <a:pt x="14294" y="13415"/>
                    <a:pt x="14294" y="13415"/>
                  </a:cubicBezTo>
                  <a:cubicBezTo>
                    <a:pt x="14135" y="13415"/>
                    <a:pt x="14135" y="13415"/>
                    <a:pt x="14135" y="13415"/>
                  </a:cubicBezTo>
                  <a:cubicBezTo>
                    <a:pt x="14135" y="13415"/>
                    <a:pt x="13976" y="13472"/>
                    <a:pt x="13976" y="13528"/>
                  </a:cubicBezTo>
                  <a:close/>
                  <a:moveTo>
                    <a:pt x="13076" y="13074"/>
                  </a:moveTo>
                  <a:cubicBezTo>
                    <a:pt x="13076" y="13074"/>
                    <a:pt x="13076" y="13074"/>
                    <a:pt x="13076" y="13074"/>
                  </a:cubicBezTo>
                  <a:cubicBezTo>
                    <a:pt x="13235" y="13244"/>
                    <a:pt x="13235" y="13244"/>
                    <a:pt x="13235" y="13244"/>
                  </a:cubicBezTo>
                  <a:cubicBezTo>
                    <a:pt x="13235" y="13244"/>
                    <a:pt x="13447" y="13358"/>
                    <a:pt x="13500" y="13358"/>
                  </a:cubicBezTo>
                  <a:cubicBezTo>
                    <a:pt x="13500" y="13415"/>
                    <a:pt x="13606" y="13358"/>
                    <a:pt x="13712" y="13358"/>
                  </a:cubicBezTo>
                  <a:cubicBezTo>
                    <a:pt x="13765" y="13301"/>
                    <a:pt x="13765" y="13301"/>
                    <a:pt x="13765" y="13244"/>
                  </a:cubicBezTo>
                  <a:cubicBezTo>
                    <a:pt x="13765" y="13244"/>
                    <a:pt x="13712" y="13187"/>
                    <a:pt x="13712" y="13187"/>
                  </a:cubicBezTo>
                  <a:cubicBezTo>
                    <a:pt x="13712" y="13187"/>
                    <a:pt x="13659" y="13074"/>
                    <a:pt x="13500" y="13074"/>
                  </a:cubicBezTo>
                  <a:cubicBezTo>
                    <a:pt x="13394" y="13131"/>
                    <a:pt x="13394" y="13074"/>
                    <a:pt x="13394" y="13074"/>
                  </a:cubicBezTo>
                  <a:cubicBezTo>
                    <a:pt x="13394" y="13074"/>
                    <a:pt x="13341" y="13074"/>
                    <a:pt x="13182" y="13017"/>
                  </a:cubicBezTo>
                  <a:cubicBezTo>
                    <a:pt x="13076" y="13017"/>
                    <a:pt x="13129" y="13074"/>
                    <a:pt x="13076" y="13074"/>
                  </a:cubicBezTo>
                  <a:close/>
                  <a:moveTo>
                    <a:pt x="12971" y="13017"/>
                  </a:moveTo>
                  <a:cubicBezTo>
                    <a:pt x="12971" y="13017"/>
                    <a:pt x="12971" y="13017"/>
                    <a:pt x="12971" y="13017"/>
                  </a:cubicBezTo>
                  <a:cubicBezTo>
                    <a:pt x="13024" y="12960"/>
                    <a:pt x="13024" y="12960"/>
                    <a:pt x="13024" y="12960"/>
                  </a:cubicBezTo>
                  <a:cubicBezTo>
                    <a:pt x="13024" y="12960"/>
                    <a:pt x="13024" y="12846"/>
                    <a:pt x="13024" y="12676"/>
                  </a:cubicBezTo>
                  <a:cubicBezTo>
                    <a:pt x="13024" y="12562"/>
                    <a:pt x="12971" y="12619"/>
                    <a:pt x="12971" y="12619"/>
                  </a:cubicBezTo>
                  <a:cubicBezTo>
                    <a:pt x="12971" y="12562"/>
                    <a:pt x="12971" y="12505"/>
                    <a:pt x="12918" y="12392"/>
                  </a:cubicBezTo>
                  <a:cubicBezTo>
                    <a:pt x="12865" y="12335"/>
                    <a:pt x="12865" y="12392"/>
                    <a:pt x="12812" y="12392"/>
                  </a:cubicBezTo>
                  <a:cubicBezTo>
                    <a:pt x="12812" y="12392"/>
                    <a:pt x="12759" y="12448"/>
                    <a:pt x="12653" y="12448"/>
                  </a:cubicBezTo>
                  <a:cubicBezTo>
                    <a:pt x="12547" y="12448"/>
                    <a:pt x="12600" y="12335"/>
                    <a:pt x="12547" y="12278"/>
                  </a:cubicBezTo>
                  <a:cubicBezTo>
                    <a:pt x="12494" y="12221"/>
                    <a:pt x="12388" y="12221"/>
                    <a:pt x="12388" y="12221"/>
                  </a:cubicBezTo>
                  <a:cubicBezTo>
                    <a:pt x="12335" y="12221"/>
                    <a:pt x="12229" y="12392"/>
                    <a:pt x="12229" y="12448"/>
                  </a:cubicBezTo>
                  <a:cubicBezTo>
                    <a:pt x="12229" y="12505"/>
                    <a:pt x="12282" y="12505"/>
                    <a:pt x="12441" y="12676"/>
                  </a:cubicBezTo>
                  <a:cubicBezTo>
                    <a:pt x="12600" y="12789"/>
                    <a:pt x="12653" y="12789"/>
                    <a:pt x="12706" y="12789"/>
                  </a:cubicBezTo>
                  <a:cubicBezTo>
                    <a:pt x="12759" y="12846"/>
                    <a:pt x="12918" y="12960"/>
                    <a:pt x="12971" y="13017"/>
                  </a:cubicBezTo>
                  <a:close/>
                  <a:moveTo>
                    <a:pt x="11435" y="20463"/>
                  </a:moveTo>
                  <a:cubicBezTo>
                    <a:pt x="11435" y="20463"/>
                    <a:pt x="11435" y="20463"/>
                    <a:pt x="11435" y="20463"/>
                  </a:cubicBezTo>
                  <a:cubicBezTo>
                    <a:pt x="11488" y="20293"/>
                    <a:pt x="11488" y="20293"/>
                    <a:pt x="11488" y="20293"/>
                  </a:cubicBezTo>
                  <a:cubicBezTo>
                    <a:pt x="11382" y="20122"/>
                    <a:pt x="11382" y="20122"/>
                    <a:pt x="11382" y="20122"/>
                  </a:cubicBezTo>
                  <a:cubicBezTo>
                    <a:pt x="11382" y="19895"/>
                    <a:pt x="11382" y="19895"/>
                    <a:pt x="11382" y="19895"/>
                  </a:cubicBezTo>
                  <a:cubicBezTo>
                    <a:pt x="11435" y="19838"/>
                    <a:pt x="11435" y="19838"/>
                    <a:pt x="11435" y="19838"/>
                  </a:cubicBezTo>
                  <a:cubicBezTo>
                    <a:pt x="11435" y="19838"/>
                    <a:pt x="11541" y="19952"/>
                    <a:pt x="11541" y="20008"/>
                  </a:cubicBezTo>
                  <a:cubicBezTo>
                    <a:pt x="11541" y="20065"/>
                    <a:pt x="11541" y="20179"/>
                    <a:pt x="11541" y="20179"/>
                  </a:cubicBezTo>
                  <a:cubicBezTo>
                    <a:pt x="11541" y="20179"/>
                    <a:pt x="11700" y="20293"/>
                    <a:pt x="11700" y="20293"/>
                  </a:cubicBezTo>
                  <a:cubicBezTo>
                    <a:pt x="11753" y="20293"/>
                    <a:pt x="12071" y="20236"/>
                    <a:pt x="12071" y="20236"/>
                  </a:cubicBezTo>
                  <a:cubicBezTo>
                    <a:pt x="12071" y="20236"/>
                    <a:pt x="12176" y="20065"/>
                    <a:pt x="12176" y="20065"/>
                  </a:cubicBezTo>
                  <a:cubicBezTo>
                    <a:pt x="12229" y="20008"/>
                    <a:pt x="12388" y="19895"/>
                    <a:pt x="12388" y="19895"/>
                  </a:cubicBezTo>
                  <a:cubicBezTo>
                    <a:pt x="12388" y="19895"/>
                    <a:pt x="12388" y="19838"/>
                    <a:pt x="12494" y="19952"/>
                  </a:cubicBezTo>
                  <a:cubicBezTo>
                    <a:pt x="12600" y="20008"/>
                    <a:pt x="12494" y="20179"/>
                    <a:pt x="12494" y="20179"/>
                  </a:cubicBezTo>
                  <a:cubicBezTo>
                    <a:pt x="12441" y="20179"/>
                    <a:pt x="12441" y="20236"/>
                    <a:pt x="12441" y="20236"/>
                  </a:cubicBezTo>
                  <a:cubicBezTo>
                    <a:pt x="12547" y="20349"/>
                    <a:pt x="12547" y="20349"/>
                    <a:pt x="12547" y="20349"/>
                  </a:cubicBezTo>
                  <a:cubicBezTo>
                    <a:pt x="12547" y="20349"/>
                    <a:pt x="12547" y="20236"/>
                    <a:pt x="12600" y="20236"/>
                  </a:cubicBezTo>
                  <a:cubicBezTo>
                    <a:pt x="12653" y="20236"/>
                    <a:pt x="12653" y="20179"/>
                    <a:pt x="12706" y="20179"/>
                  </a:cubicBezTo>
                  <a:cubicBezTo>
                    <a:pt x="12706" y="20236"/>
                    <a:pt x="12812" y="20349"/>
                    <a:pt x="12812" y="20349"/>
                  </a:cubicBezTo>
                  <a:cubicBezTo>
                    <a:pt x="12812" y="20349"/>
                    <a:pt x="12812" y="20520"/>
                    <a:pt x="12865" y="20520"/>
                  </a:cubicBezTo>
                  <a:cubicBezTo>
                    <a:pt x="12918" y="20463"/>
                    <a:pt x="13024" y="20520"/>
                    <a:pt x="13076" y="20463"/>
                  </a:cubicBezTo>
                  <a:cubicBezTo>
                    <a:pt x="13129" y="20463"/>
                    <a:pt x="13659" y="20293"/>
                    <a:pt x="13659" y="20293"/>
                  </a:cubicBezTo>
                  <a:cubicBezTo>
                    <a:pt x="13818" y="20179"/>
                    <a:pt x="13818" y="20179"/>
                    <a:pt x="13818" y="20179"/>
                  </a:cubicBezTo>
                  <a:cubicBezTo>
                    <a:pt x="13818" y="20179"/>
                    <a:pt x="13924" y="20122"/>
                    <a:pt x="14029" y="20122"/>
                  </a:cubicBezTo>
                  <a:cubicBezTo>
                    <a:pt x="14082" y="20122"/>
                    <a:pt x="14400" y="20008"/>
                    <a:pt x="14400" y="20008"/>
                  </a:cubicBezTo>
                  <a:cubicBezTo>
                    <a:pt x="14400" y="20008"/>
                    <a:pt x="14559" y="19895"/>
                    <a:pt x="14665" y="19952"/>
                  </a:cubicBezTo>
                  <a:cubicBezTo>
                    <a:pt x="14718" y="20065"/>
                    <a:pt x="14929" y="20236"/>
                    <a:pt x="14929" y="20236"/>
                  </a:cubicBezTo>
                  <a:cubicBezTo>
                    <a:pt x="15247" y="20179"/>
                    <a:pt x="15247" y="20179"/>
                    <a:pt x="15247" y="20179"/>
                  </a:cubicBezTo>
                  <a:cubicBezTo>
                    <a:pt x="15247" y="20179"/>
                    <a:pt x="15353" y="20122"/>
                    <a:pt x="15353" y="20122"/>
                  </a:cubicBezTo>
                  <a:cubicBezTo>
                    <a:pt x="15406" y="20179"/>
                    <a:pt x="15724" y="20122"/>
                    <a:pt x="15724" y="20122"/>
                  </a:cubicBezTo>
                  <a:cubicBezTo>
                    <a:pt x="15724" y="20122"/>
                    <a:pt x="15882" y="19952"/>
                    <a:pt x="15935" y="19952"/>
                  </a:cubicBezTo>
                  <a:cubicBezTo>
                    <a:pt x="15935" y="19952"/>
                    <a:pt x="16306" y="19838"/>
                    <a:pt x="16306" y="19838"/>
                  </a:cubicBezTo>
                  <a:cubicBezTo>
                    <a:pt x="16306" y="19838"/>
                    <a:pt x="16359" y="19838"/>
                    <a:pt x="16359" y="19952"/>
                  </a:cubicBezTo>
                  <a:cubicBezTo>
                    <a:pt x="16359" y="20065"/>
                    <a:pt x="16359" y="20236"/>
                    <a:pt x="16359" y="20293"/>
                  </a:cubicBezTo>
                  <a:cubicBezTo>
                    <a:pt x="16412" y="20349"/>
                    <a:pt x="16359" y="20463"/>
                    <a:pt x="16465" y="20463"/>
                  </a:cubicBezTo>
                  <a:cubicBezTo>
                    <a:pt x="16571" y="20406"/>
                    <a:pt x="16676" y="20349"/>
                    <a:pt x="16676" y="20349"/>
                  </a:cubicBezTo>
                  <a:cubicBezTo>
                    <a:pt x="16676" y="20349"/>
                    <a:pt x="16571" y="20349"/>
                    <a:pt x="16782" y="20236"/>
                  </a:cubicBezTo>
                  <a:cubicBezTo>
                    <a:pt x="16941" y="20122"/>
                    <a:pt x="16994" y="20065"/>
                    <a:pt x="17047" y="20065"/>
                  </a:cubicBezTo>
                  <a:cubicBezTo>
                    <a:pt x="17100" y="20065"/>
                    <a:pt x="17100" y="20008"/>
                    <a:pt x="17153" y="20008"/>
                  </a:cubicBezTo>
                  <a:cubicBezTo>
                    <a:pt x="17259" y="20008"/>
                    <a:pt x="17259" y="20008"/>
                    <a:pt x="17312" y="20008"/>
                  </a:cubicBezTo>
                  <a:cubicBezTo>
                    <a:pt x="17365" y="19952"/>
                    <a:pt x="17471" y="19781"/>
                    <a:pt x="17471" y="19781"/>
                  </a:cubicBezTo>
                  <a:cubicBezTo>
                    <a:pt x="17471" y="19781"/>
                    <a:pt x="17524" y="19667"/>
                    <a:pt x="17576" y="19667"/>
                  </a:cubicBezTo>
                  <a:cubicBezTo>
                    <a:pt x="17576" y="19667"/>
                    <a:pt x="17682" y="19611"/>
                    <a:pt x="17682" y="19611"/>
                  </a:cubicBezTo>
                  <a:cubicBezTo>
                    <a:pt x="17629" y="19781"/>
                    <a:pt x="17629" y="19781"/>
                    <a:pt x="17629" y="19781"/>
                  </a:cubicBezTo>
                  <a:cubicBezTo>
                    <a:pt x="17629" y="19781"/>
                    <a:pt x="17735" y="20008"/>
                    <a:pt x="17735" y="20065"/>
                  </a:cubicBezTo>
                  <a:cubicBezTo>
                    <a:pt x="17735" y="20065"/>
                    <a:pt x="17735" y="20122"/>
                    <a:pt x="17682" y="20179"/>
                  </a:cubicBezTo>
                  <a:cubicBezTo>
                    <a:pt x="17682" y="20293"/>
                    <a:pt x="17682" y="20349"/>
                    <a:pt x="17682" y="20349"/>
                  </a:cubicBezTo>
                  <a:cubicBezTo>
                    <a:pt x="17629" y="20406"/>
                    <a:pt x="17629" y="20463"/>
                    <a:pt x="17629" y="20520"/>
                  </a:cubicBezTo>
                  <a:cubicBezTo>
                    <a:pt x="17576" y="20520"/>
                    <a:pt x="17418" y="20634"/>
                    <a:pt x="17418" y="20634"/>
                  </a:cubicBezTo>
                  <a:cubicBezTo>
                    <a:pt x="17153" y="20577"/>
                    <a:pt x="17153" y="20577"/>
                    <a:pt x="17153" y="20577"/>
                  </a:cubicBezTo>
                  <a:cubicBezTo>
                    <a:pt x="17153" y="20577"/>
                    <a:pt x="17047" y="20634"/>
                    <a:pt x="16994" y="20691"/>
                  </a:cubicBezTo>
                  <a:cubicBezTo>
                    <a:pt x="16888" y="20691"/>
                    <a:pt x="16729" y="20861"/>
                    <a:pt x="16676" y="20861"/>
                  </a:cubicBezTo>
                  <a:cubicBezTo>
                    <a:pt x="16624" y="20861"/>
                    <a:pt x="16465" y="20861"/>
                    <a:pt x="16306" y="20861"/>
                  </a:cubicBezTo>
                  <a:cubicBezTo>
                    <a:pt x="16147" y="20918"/>
                    <a:pt x="15724" y="21032"/>
                    <a:pt x="15724" y="21032"/>
                  </a:cubicBezTo>
                  <a:cubicBezTo>
                    <a:pt x="15724" y="21032"/>
                    <a:pt x="15671" y="21088"/>
                    <a:pt x="15618" y="21145"/>
                  </a:cubicBezTo>
                  <a:cubicBezTo>
                    <a:pt x="15512" y="21145"/>
                    <a:pt x="15300" y="21259"/>
                    <a:pt x="15247" y="21259"/>
                  </a:cubicBezTo>
                  <a:cubicBezTo>
                    <a:pt x="15194" y="21316"/>
                    <a:pt x="15035" y="21429"/>
                    <a:pt x="14982" y="21429"/>
                  </a:cubicBezTo>
                  <a:cubicBezTo>
                    <a:pt x="14929" y="21429"/>
                    <a:pt x="14876" y="21486"/>
                    <a:pt x="14665" y="21486"/>
                  </a:cubicBezTo>
                  <a:cubicBezTo>
                    <a:pt x="14400" y="21543"/>
                    <a:pt x="14347" y="21600"/>
                    <a:pt x="14347" y="21600"/>
                  </a:cubicBezTo>
                  <a:cubicBezTo>
                    <a:pt x="14188" y="21600"/>
                    <a:pt x="14188" y="21600"/>
                    <a:pt x="14188" y="21600"/>
                  </a:cubicBezTo>
                  <a:cubicBezTo>
                    <a:pt x="14188" y="21202"/>
                    <a:pt x="14188" y="21202"/>
                    <a:pt x="14188" y="21202"/>
                  </a:cubicBezTo>
                  <a:cubicBezTo>
                    <a:pt x="14188" y="21202"/>
                    <a:pt x="14188" y="21032"/>
                    <a:pt x="14029" y="21088"/>
                  </a:cubicBezTo>
                  <a:cubicBezTo>
                    <a:pt x="13871" y="21145"/>
                    <a:pt x="14082" y="21088"/>
                    <a:pt x="13765" y="21145"/>
                  </a:cubicBezTo>
                  <a:cubicBezTo>
                    <a:pt x="13500" y="21202"/>
                    <a:pt x="13341" y="21032"/>
                    <a:pt x="13341" y="21032"/>
                  </a:cubicBezTo>
                  <a:cubicBezTo>
                    <a:pt x="13341" y="21032"/>
                    <a:pt x="13076" y="21032"/>
                    <a:pt x="12971" y="21088"/>
                  </a:cubicBezTo>
                  <a:cubicBezTo>
                    <a:pt x="12865" y="21088"/>
                    <a:pt x="12706" y="21088"/>
                    <a:pt x="12653" y="21088"/>
                  </a:cubicBezTo>
                  <a:cubicBezTo>
                    <a:pt x="12600" y="21145"/>
                    <a:pt x="12600" y="21088"/>
                    <a:pt x="12441" y="21145"/>
                  </a:cubicBezTo>
                  <a:cubicBezTo>
                    <a:pt x="12282" y="21145"/>
                    <a:pt x="12124" y="21202"/>
                    <a:pt x="12124" y="21202"/>
                  </a:cubicBezTo>
                  <a:cubicBezTo>
                    <a:pt x="11965" y="21088"/>
                    <a:pt x="11965" y="21088"/>
                    <a:pt x="11965" y="21088"/>
                  </a:cubicBezTo>
                  <a:cubicBezTo>
                    <a:pt x="11965" y="21088"/>
                    <a:pt x="11806" y="21088"/>
                    <a:pt x="11753" y="21145"/>
                  </a:cubicBezTo>
                  <a:cubicBezTo>
                    <a:pt x="11647" y="21202"/>
                    <a:pt x="11700" y="21259"/>
                    <a:pt x="11594" y="21259"/>
                  </a:cubicBezTo>
                  <a:cubicBezTo>
                    <a:pt x="11488" y="21259"/>
                    <a:pt x="11541" y="21316"/>
                    <a:pt x="11435" y="21259"/>
                  </a:cubicBezTo>
                  <a:cubicBezTo>
                    <a:pt x="11276" y="21202"/>
                    <a:pt x="11171" y="21145"/>
                    <a:pt x="11171" y="21145"/>
                  </a:cubicBezTo>
                  <a:cubicBezTo>
                    <a:pt x="11118" y="20804"/>
                    <a:pt x="11118" y="20804"/>
                    <a:pt x="11118" y="20804"/>
                  </a:cubicBezTo>
                  <a:cubicBezTo>
                    <a:pt x="11118" y="20804"/>
                    <a:pt x="11118" y="20804"/>
                    <a:pt x="11118" y="20634"/>
                  </a:cubicBezTo>
                  <a:cubicBezTo>
                    <a:pt x="11065" y="20520"/>
                    <a:pt x="11012" y="20293"/>
                    <a:pt x="11012" y="20293"/>
                  </a:cubicBezTo>
                  <a:cubicBezTo>
                    <a:pt x="11118" y="20122"/>
                    <a:pt x="11118" y="20122"/>
                    <a:pt x="11118" y="20122"/>
                  </a:cubicBezTo>
                  <a:cubicBezTo>
                    <a:pt x="11118" y="20122"/>
                    <a:pt x="11171" y="20236"/>
                    <a:pt x="11171" y="20293"/>
                  </a:cubicBezTo>
                  <a:cubicBezTo>
                    <a:pt x="11171" y="20293"/>
                    <a:pt x="11171" y="20463"/>
                    <a:pt x="11224" y="20463"/>
                  </a:cubicBezTo>
                  <a:cubicBezTo>
                    <a:pt x="11329" y="20463"/>
                    <a:pt x="11435" y="20463"/>
                    <a:pt x="11435" y="20463"/>
                  </a:cubicBezTo>
                  <a:close/>
                  <a:moveTo>
                    <a:pt x="9106" y="18133"/>
                  </a:moveTo>
                  <a:cubicBezTo>
                    <a:pt x="9106" y="18133"/>
                    <a:pt x="9106" y="18133"/>
                    <a:pt x="9106" y="18133"/>
                  </a:cubicBezTo>
                  <a:cubicBezTo>
                    <a:pt x="9265" y="18076"/>
                    <a:pt x="9265" y="18076"/>
                    <a:pt x="9265" y="18076"/>
                  </a:cubicBezTo>
                  <a:cubicBezTo>
                    <a:pt x="9318" y="18246"/>
                    <a:pt x="9318" y="18246"/>
                    <a:pt x="9318" y="18246"/>
                  </a:cubicBezTo>
                  <a:cubicBezTo>
                    <a:pt x="9476" y="18303"/>
                    <a:pt x="9476" y="18303"/>
                    <a:pt x="9476" y="18303"/>
                  </a:cubicBezTo>
                  <a:cubicBezTo>
                    <a:pt x="9476" y="18303"/>
                    <a:pt x="9688" y="18417"/>
                    <a:pt x="9688" y="18474"/>
                  </a:cubicBezTo>
                  <a:cubicBezTo>
                    <a:pt x="9688" y="18474"/>
                    <a:pt x="9582" y="18644"/>
                    <a:pt x="9582" y="18644"/>
                  </a:cubicBezTo>
                  <a:cubicBezTo>
                    <a:pt x="9582" y="18644"/>
                    <a:pt x="9582" y="18758"/>
                    <a:pt x="9582" y="18815"/>
                  </a:cubicBezTo>
                  <a:cubicBezTo>
                    <a:pt x="9582" y="18815"/>
                    <a:pt x="9476" y="18815"/>
                    <a:pt x="9424" y="18815"/>
                  </a:cubicBezTo>
                  <a:cubicBezTo>
                    <a:pt x="9371" y="18758"/>
                    <a:pt x="9212" y="18701"/>
                    <a:pt x="9212" y="18701"/>
                  </a:cubicBezTo>
                  <a:cubicBezTo>
                    <a:pt x="9212" y="18474"/>
                    <a:pt x="9212" y="18474"/>
                    <a:pt x="9212" y="18474"/>
                  </a:cubicBezTo>
                  <a:cubicBezTo>
                    <a:pt x="9053" y="18303"/>
                    <a:pt x="9053" y="18303"/>
                    <a:pt x="9053" y="18303"/>
                  </a:cubicBezTo>
                  <a:cubicBezTo>
                    <a:pt x="9106" y="18133"/>
                    <a:pt x="9106" y="18133"/>
                    <a:pt x="9106" y="18133"/>
                  </a:cubicBezTo>
                  <a:close/>
                  <a:moveTo>
                    <a:pt x="4871" y="13187"/>
                  </a:moveTo>
                  <a:cubicBezTo>
                    <a:pt x="4871" y="13187"/>
                    <a:pt x="4871" y="13187"/>
                    <a:pt x="4871" y="13187"/>
                  </a:cubicBezTo>
                  <a:cubicBezTo>
                    <a:pt x="4871" y="13187"/>
                    <a:pt x="4765" y="13187"/>
                    <a:pt x="4765" y="13187"/>
                  </a:cubicBezTo>
                  <a:cubicBezTo>
                    <a:pt x="4712" y="13187"/>
                    <a:pt x="4659" y="13187"/>
                    <a:pt x="4606" y="13187"/>
                  </a:cubicBezTo>
                  <a:cubicBezTo>
                    <a:pt x="4553" y="13187"/>
                    <a:pt x="4606" y="13301"/>
                    <a:pt x="4606" y="13358"/>
                  </a:cubicBezTo>
                  <a:cubicBezTo>
                    <a:pt x="4606" y="13358"/>
                    <a:pt x="4606" y="13472"/>
                    <a:pt x="4606" y="13528"/>
                  </a:cubicBezTo>
                  <a:cubicBezTo>
                    <a:pt x="4553" y="13585"/>
                    <a:pt x="4500" y="13642"/>
                    <a:pt x="4500" y="13699"/>
                  </a:cubicBezTo>
                  <a:cubicBezTo>
                    <a:pt x="4500" y="13699"/>
                    <a:pt x="4500" y="13813"/>
                    <a:pt x="4500" y="13869"/>
                  </a:cubicBezTo>
                  <a:cubicBezTo>
                    <a:pt x="4447" y="13869"/>
                    <a:pt x="4341" y="13983"/>
                    <a:pt x="4288" y="13983"/>
                  </a:cubicBezTo>
                  <a:cubicBezTo>
                    <a:pt x="4235" y="14040"/>
                    <a:pt x="4129" y="14097"/>
                    <a:pt x="4129" y="14097"/>
                  </a:cubicBezTo>
                  <a:cubicBezTo>
                    <a:pt x="4235" y="14381"/>
                    <a:pt x="4235" y="14381"/>
                    <a:pt x="4235" y="14381"/>
                  </a:cubicBezTo>
                  <a:cubicBezTo>
                    <a:pt x="4235" y="14381"/>
                    <a:pt x="4341" y="14324"/>
                    <a:pt x="4394" y="14381"/>
                  </a:cubicBezTo>
                  <a:cubicBezTo>
                    <a:pt x="4447" y="14438"/>
                    <a:pt x="4606" y="14552"/>
                    <a:pt x="4659" y="14552"/>
                  </a:cubicBezTo>
                  <a:cubicBezTo>
                    <a:pt x="4659" y="14552"/>
                    <a:pt x="4765" y="14893"/>
                    <a:pt x="4765" y="14893"/>
                  </a:cubicBezTo>
                  <a:cubicBezTo>
                    <a:pt x="4818" y="14949"/>
                    <a:pt x="4871" y="14893"/>
                    <a:pt x="4871" y="14893"/>
                  </a:cubicBezTo>
                  <a:cubicBezTo>
                    <a:pt x="4871" y="14893"/>
                    <a:pt x="4976" y="14949"/>
                    <a:pt x="5029" y="15006"/>
                  </a:cubicBezTo>
                  <a:cubicBezTo>
                    <a:pt x="5082" y="15006"/>
                    <a:pt x="5188" y="15063"/>
                    <a:pt x="5241" y="15120"/>
                  </a:cubicBezTo>
                  <a:cubicBezTo>
                    <a:pt x="5294" y="15120"/>
                    <a:pt x="5400" y="15291"/>
                    <a:pt x="5453" y="15291"/>
                  </a:cubicBezTo>
                  <a:cubicBezTo>
                    <a:pt x="5506" y="15347"/>
                    <a:pt x="5612" y="15461"/>
                    <a:pt x="5612" y="15461"/>
                  </a:cubicBezTo>
                  <a:cubicBezTo>
                    <a:pt x="5612" y="15461"/>
                    <a:pt x="5718" y="15632"/>
                    <a:pt x="5771" y="15745"/>
                  </a:cubicBezTo>
                  <a:cubicBezTo>
                    <a:pt x="5771" y="15802"/>
                    <a:pt x="5771" y="15802"/>
                    <a:pt x="5718" y="15859"/>
                  </a:cubicBezTo>
                  <a:cubicBezTo>
                    <a:pt x="5665" y="15916"/>
                    <a:pt x="5665" y="15973"/>
                    <a:pt x="5612" y="16086"/>
                  </a:cubicBezTo>
                  <a:cubicBezTo>
                    <a:pt x="5559" y="16200"/>
                    <a:pt x="5665" y="16314"/>
                    <a:pt x="5665" y="16314"/>
                  </a:cubicBezTo>
                  <a:cubicBezTo>
                    <a:pt x="5665" y="16598"/>
                    <a:pt x="5665" y="16598"/>
                    <a:pt x="5665" y="16598"/>
                  </a:cubicBezTo>
                  <a:cubicBezTo>
                    <a:pt x="5718" y="16712"/>
                    <a:pt x="5718" y="16712"/>
                    <a:pt x="5718" y="16712"/>
                  </a:cubicBezTo>
                  <a:cubicBezTo>
                    <a:pt x="5718" y="16712"/>
                    <a:pt x="5771" y="16768"/>
                    <a:pt x="5824" y="16768"/>
                  </a:cubicBezTo>
                  <a:cubicBezTo>
                    <a:pt x="5876" y="16825"/>
                    <a:pt x="5876" y="16825"/>
                    <a:pt x="5876" y="16825"/>
                  </a:cubicBezTo>
                  <a:cubicBezTo>
                    <a:pt x="5876" y="16825"/>
                    <a:pt x="5982" y="16939"/>
                    <a:pt x="6035" y="16996"/>
                  </a:cubicBezTo>
                  <a:cubicBezTo>
                    <a:pt x="6035" y="17053"/>
                    <a:pt x="5982" y="17109"/>
                    <a:pt x="5982" y="17166"/>
                  </a:cubicBezTo>
                  <a:cubicBezTo>
                    <a:pt x="5982" y="17223"/>
                    <a:pt x="6035" y="17451"/>
                    <a:pt x="6035" y="17451"/>
                  </a:cubicBezTo>
                  <a:cubicBezTo>
                    <a:pt x="6035" y="17451"/>
                    <a:pt x="6141" y="17394"/>
                    <a:pt x="6247" y="17337"/>
                  </a:cubicBezTo>
                  <a:cubicBezTo>
                    <a:pt x="6300" y="17337"/>
                    <a:pt x="6353" y="17394"/>
                    <a:pt x="6406" y="17394"/>
                  </a:cubicBezTo>
                  <a:cubicBezTo>
                    <a:pt x="6459" y="17451"/>
                    <a:pt x="6459" y="17507"/>
                    <a:pt x="6459" y="17507"/>
                  </a:cubicBezTo>
                  <a:cubicBezTo>
                    <a:pt x="6459" y="17507"/>
                    <a:pt x="6618" y="17394"/>
                    <a:pt x="6618" y="17337"/>
                  </a:cubicBezTo>
                  <a:cubicBezTo>
                    <a:pt x="6618" y="17337"/>
                    <a:pt x="6618" y="17223"/>
                    <a:pt x="6618" y="17223"/>
                  </a:cubicBezTo>
                  <a:cubicBezTo>
                    <a:pt x="6618" y="17223"/>
                    <a:pt x="6618" y="16996"/>
                    <a:pt x="6618" y="16939"/>
                  </a:cubicBezTo>
                  <a:cubicBezTo>
                    <a:pt x="6618" y="16882"/>
                    <a:pt x="6565" y="16712"/>
                    <a:pt x="6565" y="16655"/>
                  </a:cubicBezTo>
                  <a:cubicBezTo>
                    <a:pt x="6565" y="16655"/>
                    <a:pt x="6618" y="16541"/>
                    <a:pt x="6618" y="16541"/>
                  </a:cubicBezTo>
                  <a:cubicBezTo>
                    <a:pt x="6618" y="16541"/>
                    <a:pt x="6776" y="16484"/>
                    <a:pt x="6829" y="16484"/>
                  </a:cubicBezTo>
                  <a:cubicBezTo>
                    <a:pt x="6882" y="16484"/>
                    <a:pt x="6935" y="16541"/>
                    <a:pt x="6988" y="16598"/>
                  </a:cubicBezTo>
                  <a:cubicBezTo>
                    <a:pt x="6988" y="16655"/>
                    <a:pt x="6988" y="16882"/>
                    <a:pt x="6988" y="16882"/>
                  </a:cubicBezTo>
                  <a:cubicBezTo>
                    <a:pt x="7306" y="16939"/>
                    <a:pt x="7306" y="16939"/>
                    <a:pt x="7306" y="16939"/>
                  </a:cubicBezTo>
                  <a:cubicBezTo>
                    <a:pt x="7306" y="16939"/>
                    <a:pt x="7412" y="16996"/>
                    <a:pt x="7412" y="16996"/>
                  </a:cubicBezTo>
                  <a:cubicBezTo>
                    <a:pt x="7412" y="17053"/>
                    <a:pt x="7465" y="17166"/>
                    <a:pt x="7518" y="17223"/>
                  </a:cubicBezTo>
                  <a:cubicBezTo>
                    <a:pt x="7571" y="17280"/>
                    <a:pt x="7624" y="17337"/>
                    <a:pt x="7624" y="17337"/>
                  </a:cubicBezTo>
                  <a:cubicBezTo>
                    <a:pt x="7624" y="17337"/>
                    <a:pt x="7729" y="17621"/>
                    <a:pt x="7782" y="17678"/>
                  </a:cubicBezTo>
                  <a:cubicBezTo>
                    <a:pt x="7782" y="17735"/>
                    <a:pt x="7782" y="17848"/>
                    <a:pt x="7782" y="17962"/>
                  </a:cubicBezTo>
                  <a:cubicBezTo>
                    <a:pt x="7782" y="18076"/>
                    <a:pt x="7782" y="18076"/>
                    <a:pt x="7782" y="18076"/>
                  </a:cubicBezTo>
                  <a:cubicBezTo>
                    <a:pt x="7782" y="18076"/>
                    <a:pt x="7941" y="18133"/>
                    <a:pt x="7994" y="18189"/>
                  </a:cubicBezTo>
                  <a:cubicBezTo>
                    <a:pt x="8100" y="18246"/>
                    <a:pt x="8047" y="18189"/>
                    <a:pt x="8100" y="18133"/>
                  </a:cubicBezTo>
                  <a:cubicBezTo>
                    <a:pt x="8153" y="18076"/>
                    <a:pt x="8100" y="18019"/>
                    <a:pt x="8100" y="17962"/>
                  </a:cubicBezTo>
                  <a:cubicBezTo>
                    <a:pt x="8100" y="17905"/>
                    <a:pt x="8100" y="17792"/>
                    <a:pt x="8047" y="17678"/>
                  </a:cubicBezTo>
                  <a:cubicBezTo>
                    <a:pt x="8047" y="17621"/>
                    <a:pt x="8047" y="17564"/>
                    <a:pt x="8047" y="17564"/>
                  </a:cubicBezTo>
                  <a:cubicBezTo>
                    <a:pt x="8047" y="17564"/>
                    <a:pt x="8100" y="17451"/>
                    <a:pt x="8100" y="17394"/>
                  </a:cubicBezTo>
                  <a:cubicBezTo>
                    <a:pt x="8100" y="17394"/>
                    <a:pt x="8100" y="17280"/>
                    <a:pt x="8100" y="17223"/>
                  </a:cubicBezTo>
                  <a:cubicBezTo>
                    <a:pt x="8100" y="17166"/>
                    <a:pt x="8206" y="17109"/>
                    <a:pt x="8206" y="17109"/>
                  </a:cubicBezTo>
                  <a:cubicBezTo>
                    <a:pt x="8206" y="17109"/>
                    <a:pt x="8206" y="17053"/>
                    <a:pt x="8259" y="16939"/>
                  </a:cubicBezTo>
                  <a:cubicBezTo>
                    <a:pt x="8312" y="16882"/>
                    <a:pt x="8259" y="16939"/>
                    <a:pt x="8312" y="16939"/>
                  </a:cubicBezTo>
                  <a:cubicBezTo>
                    <a:pt x="8365" y="16882"/>
                    <a:pt x="8418" y="16882"/>
                    <a:pt x="8524" y="16882"/>
                  </a:cubicBezTo>
                  <a:cubicBezTo>
                    <a:pt x="8576" y="16882"/>
                    <a:pt x="8629" y="16939"/>
                    <a:pt x="8629" y="16939"/>
                  </a:cubicBezTo>
                  <a:cubicBezTo>
                    <a:pt x="8735" y="17109"/>
                    <a:pt x="8735" y="17109"/>
                    <a:pt x="8735" y="17109"/>
                  </a:cubicBezTo>
                  <a:cubicBezTo>
                    <a:pt x="8735" y="17109"/>
                    <a:pt x="8735" y="17109"/>
                    <a:pt x="8735" y="17166"/>
                  </a:cubicBezTo>
                  <a:cubicBezTo>
                    <a:pt x="8735" y="17223"/>
                    <a:pt x="8841" y="17337"/>
                    <a:pt x="8841" y="17337"/>
                  </a:cubicBezTo>
                  <a:cubicBezTo>
                    <a:pt x="9053" y="17507"/>
                    <a:pt x="9053" y="17507"/>
                    <a:pt x="9053" y="17507"/>
                  </a:cubicBezTo>
                  <a:cubicBezTo>
                    <a:pt x="9053" y="17507"/>
                    <a:pt x="9053" y="17564"/>
                    <a:pt x="9053" y="17564"/>
                  </a:cubicBezTo>
                  <a:cubicBezTo>
                    <a:pt x="9053" y="17621"/>
                    <a:pt x="9106" y="17735"/>
                    <a:pt x="9159" y="17792"/>
                  </a:cubicBezTo>
                  <a:cubicBezTo>
                    <a:pt x="9212" y="17905"/>
                    <a:pt x="9159" y="17735"/>
                    <a:pt x="9212" y="17735"/>
                  </a:cubicBezTo>
                  <a:cubicBezTo>
                    <a:pt x="9212" y="17678"/>
                    <a:pt x="9265" y="17621"/>
                    <a:pt x="9265" y="17621"/>
                  </a:cubicBezTo>
                  <a:cubicBezTo>
                    <a:pt x="9371" y="17792"/>
                    <a:pt x="9371" y="17792"/>
                    <a:pt x="9371" y="17792"/>
                  </a:cubicBezTo>
                  <a:cubicBezTo>
                    <a:pt x="9371" y="17792"/>
                    <a:pt x="9582" y="17848"/>
                    <a:pt x="9635" y="17848"/>
                  </a:cubicBezTo>
                  <a:cubicBezTo>
                    <a:pt x="9688" y="17792"/>
                    <a:pt x="9741" y="17735"/>
                    <a:pt x="9741" y="17735"/>
                  </a:cubicBezTo>
                  <a:cubicBezTo>
                    <a:pt x="9635" y="17621"/>
                    <a:pt x="9635" y="17621"/>
                    <a:pt x="9635" y="17621"/>
                  </a:cubicBezTo>
                  <a:cubicBezTo>
                    <a:pt x="9529" y="17451"/>
                    <a:pt x="9529" y="17451"/>
                    <a:pt x="9529" y="17451"/>
                  </a:cubicBezTo>
                  <a:cubicBezTo>
                    <a:pt x="9529" y="17451"/>
                    <a:pt x="9371" y="17280"/>
                    <a:pt x="9318" y="17280"/>
                  </a:cubicBezTo>
                  <a:cubicBezTo>
                    <a:pt x="9265" y="17223"/>
                    <a:pt x="9212" y="17166"/>
                    <a:pt x="9212" y="17109"/>
                  </a:cubicBezTo>
                  <a:cubicBezTo>
                    <a:pt x="9159" y="17053"/>
                    <a:pt x="9159" y="16939"/>
                    <a:pt x="9159" y="16939"/>
                  </a:cubicBezTo>
                  <a:cubicBezTo>
                    <a:pt x="9212" y="16882"/>
                    <a:pt x="9212" y="16768"/>
                    <a:pt x="9265" y="16655"/>
                  </a:cubicBezTo>
                  <a:cubicBezTo>
                    <a:pt x="9318" y="16541"/>
                    <a:pt x="9212" y="16655"/>
                    <a:pt x="9212" y="16655"/>
                  </a:cubicBezTo>
                  <a:cubicBezTo>
                    <a:pt x="9212" y="16655"/>
                    <a:pt x="9106" y="16484"/>
                    <a:pt x="9159" y="16427"/>
                  </a:cubicBezTo>
                  <a:cubicBezTo>
                    <a:pt x="9159" y="16427"/>
                    <a:pt x="8947" y="16086"/>
                    <a:pt x="8947" y="16086"/>
                  </a:cubicBezTo>
                  <a:cubicBezTo>
                    <a:pt x="8947" y="16086"/>
                    <a:pt x="8894" y="15973"/>
                    <a:pt x="8894" y="15973"/>
                  </a:cubicBezTo>
                  <a:cubicBezTo>
                    <a:pt x="8894" y="15973"/>
                    <a:pt x="8735" y="15859"/>
                    <a:pt x="8682" y="15859"/>
                  </a:cubicBezTo>
                  <a:cubicBezTo>
                    <a:pt x="8629" y="15802"/>
                    <a:pt x="8576" y="15745"/>
                    <a:pt x="8576" y="15745"/>
                  </a:cubicBezTo>
                  <a:cubicBezTo>
                    <a:pt x="8576" y="15688"/>
                    <a:pt x="8576" y="15575"/>
                    <a:pt x="8576" y="15518"/>
                  </a:cubicBezTo>
                  <a:cubicBezTo>
                    <a:pt x="8524" y="15461"/>
                    <a:pt x="8471" y="15347"/>
                    <a:pt x="8418" y="15291"/>
                  </a:cubicBezTo>
                  <a:cubicBezTo>
                    <a:pt x="8365" y="15234"/>
                    <a:pt x="8312" y="15120"/>
                    <a:pt x="8259" y="15006"/>
                  </a:cubicBezTo>
                  <a:cubicBezTo>
                    <a:pt x="8206" y="14949"/>
                    <a:pt x="8153" y="14836"/>
                    <a:pt x="8153" y="14836"/>
                  </a:cubicBezTo>
                  <a:cubicBezTo>
                    <a:pt x="8100" y="14608"/>
                    <a:pt x="8100" y="14608"/>
                    <a:pt x="8100" y="14608"/>
                  </a:cubicBezTo>
                  <a:cubicBezTo>
                    <a:pt x="8100" y="14495"/>
                    <a:pt x="8100" y="14495"/>
                    <a:pt x="8100" y="14495"/>
                  </a:cubicBezTo>
                  <a:cubicBezTo>
                    <a:pt x="8259" y="14608"/>
                    <a:pt x="8259" y="14608"/>
                    <a:pt x="8259" y="14608"/>
                  </a:cubicBezTo>
                  <a:cubicBezTo>
                    <a:pt x="8259" y="14608"/>
                    <a:pt x="8365" y="14552"/>
                    <a:pt x="8418" y="14552"/>
                  </a:cubicBezTo>
                  <a:cubicBezTo>
                    <a:pt x="8471" y="14552"/>
                    <a:pt x="8629" y="14608"/>
                    <a:pt x="8629" y="14608"/>
                  </a:cubicBezTo>
                  <a:cubicBezTo>
                    <a:pt x="8629" y="14608"/>
                    <a:pt x="8735" y="14665"/>
                    <a:pt x="8788" y="14665"/>
                  </a:cubicBezTo>
                  <a:cubicBezTo>
                    <a:pt x="8788" y="14665"/>
                    <a:pt x="8841" y="14722"/>
                    <a:pt x="8894" y="14665"/>
                  </a:cubicBezTo>
                  <a:cubicBezTo>
                    <a:pt x="8947" y="14665"/>
                    <a:pt x="9000" y="14779"/>
                    <a:pt x="9000" y="14836"/>
                  </a:cubicBezTo>
                  <a:cubicBezTo>
                    <a:pt x="9000" y="14893"/>
                    <a:pt x="8947" y="14949"/>
                    <a:pt x="8947" y="14949"/>
                  </a:cubicBezTo>
                  <a:cubicBezTo>
                    <a:pt x="8947" y="15006"/>
                    <a:pt x="8947" y="15063"/>
                    <a:pt x="8947" y="15063"/>
                  </a:cubicBezTo>
                  <a:cubicBezTo>
                    <a:pt x="8947" y="15063"/>
                    <a:pt x="9053" y="15120"/>
                    <a:pt x="9106" y="15120"/>
                  </a:cubicBezTo>
                  <a:cubicBezTo>
                    <a:pt x="9106" y="15177"/>
                    <a:pt x="9053" y="15234"/>
                    <a:pt x="9053" y="15234"/>
                  </a:cubicBezTo>
                  <a:cubicBezTo>
                    <a:pt x="9053" y="15234"/>
                    <a:pt x="9053" y="15347"/>
                    <a:pt x="9053" y="15404"/>
                  </a:cubicBezTo>
                  <a:cubicBezTo>
                    <a:pt x="9106" y="15404"/>
                    <a:pt x="9159" y="15291"/>
                    <a:pt x="9159" y="15291"/>
                  </a:cubicBezTo>
                  <a:cubicBezTo>
                    <a:pt x="9159" y="15291"/>
                    <a:pt x="9212" y="15177"/>
                    <a:pt x="9212" y="15120"/>
                  </a:cubicBezTo>
                  <a:cubicBezTo>
                    <a:pt x="9212" y="15063"/>
                    <a:pt x="9318" y="15006"/>
                    <a:pt x="9318" y="15006"/>
                  </a:cubicBezTo>
                  <a:cubicBezTo>
                    <a:pt x="9424" y="14779"/>
                    <a:pt x="9424" y="14779"/>
                    <a:pt x="9424" y="14779"/>
                  </a:cubicBezTo>
                  <a:cubicBezTo>
                    <a:pt x="9529" y="14665"/>
                    <a:pt x="9529" y="14665"/>
                    <a:pt x="9529" y="14665"/>
                  </a:cubicBezTo>
                  <a:cubicBezTo>
                    <a:pt x="9529" y="14665"/>
                    <a:pt x="9741" y="14608"/>
                    <a:pt x="9794" y="14552"/>
                  </a:cubicBezTo>
                  <a:cubicBezTo>
                    <a:pt x="9847" y="14495"/>
                    <a:pt x="9847" y="14552"/>
                    <a:pt x="9847" y="14495"/>
                  </a:cubicBezTo>
                  <a:cubicBezTo>
                    <a:pt x="9900" y="14495"/>
                    <a:pt x="9900" y="14381"/>
                    <a:pt x="9900" y="14381"/>
                  </a:cubicBezTo>
                  <a:cubicBezTo>
                    <a:pt x="9794" y="14267"/>
                    <a:pt x="9794" y="14267"/>
                    <a:pt x="9794" y="14267"/>
                  </a:cubicBezTo>
                  <a:cubicBezTo>
                    <a:pt x="9582" y="14324"/>
                    <a:pt x="9582" y="14324"/>
                    <a:pt x="9582" y="14324"/>
                  </a:cubicBezTo>
                  <a:cubicBezTo>
                    <a:pt x="9529" y="14211"/>
                    <a:pt x="9529" y="14211"/>
                    <a:pt x="9529" y="14211"/>
                  </a:cubicBezTo>
                  <a:cubicBezTo>
                    <a:pt x="9529" y="14211"/>
                    <a:pt x="9529" y="14211"/>
                    <a:pt x="9582" y="14211"/>
                  </a:cubicBezTo>
                  <a:cubicBezTo>
                    <a:pt x="9582" y="14211"/>
                    <a:pt x="9582" y="13983"/>
                    <a:pt x="9582" y="13983"/>
                  </a:cubicBezTo>
                  <a:cubicBezTo>
                    <a:pt x="9582" y="13983"/>
                    <a:pt x="9476" y="14040"/>
                    <a:pt x="9424" y="14040"/>
                  </a:cubicBezTo>
                  <a:cubicBezTo>
                    <a:pt x="9371" y="14040"/>
                    <a:pt x="9424" y="14211"/>
                    <a:pt x="9424" y="14211"/>
                  </a:cubicBezTo>
                  <a:cubicBezTo>
                    <a:pt x="9424" y="14211"/>
                    <a:pt x="9159" y="14154"/>
                    <a:pt x="9106" y="14154"/>
                  </a:cubicBezTo>
                  <a:cubicBezTo>
                    <a:pt x="9053" y="14097"/>
                    <a:pt x="9053" y="14040"/>
                    <a:pt x="9053" y="14040"/>
                  </a:cubicBezTo>
                  <a:cubicBezTo>
                    <a:pt x="9000" y="13983"/>
                    <a:pt x="9106" y="13813"/>
                    <a:pt x="9106" y="13813"/>
                  </a:cubicBezTo>
                  <a:cubicBezTo>
                    <a:pt x="9159" y="13585"/>
                    <a:pt x="9159" y="13585"/>
                    <a:pt x="9159" y="13585"/>
                  </a:cubicBezTo>
                  <a:cubicBezTo>
                    <a:pt x="9159" y="13585"/>
                    <a:pt x="8894" y="13528"/>
                    <a:pt x="8894" y="13472"/>
                  </a:cubicBezTo>
                  <a:cubicBezTo>
                    <a:pt x="8894" y="13415"/>
                    <a:pt x="8629" y="13585"/>
                    <a:pt x="8524" y="13472"/>
                  </a:cubicBezTo>
                  <a:cubicBezTo>
                    <a:pt x="8471" y="13358"/>
                    <a:pt x="8471" y="13358"/>
                    <a:pt x="8471" y="13358"/>
                  </a:cubicBezTo>
                  <a:cubicBezTo>
                    <a:pt x="8365" y="13244"/>
                    <a:pt x="8365" y="13244"/>
                    <a:pt x="8365" y="13244"/>
                  </a:cubicBezTo>
                  <a:cubicBezTo>
                    <a:pt x="8259" y="13244"/>
                    <a:pt x="8259" y="13244"/>
                    <a:pt x="8259" y="13244"/>
                  </a:cubicBezTo>
                  <a:cubicBezTo>
                    <a:pt x="8259" y="13244"/>
                    <a:pt x="8100" y="13301"/>
                    <a:pt x="8047" y="13301"/>
                  </a:cubicBezTo>
                  <a:cubicBezTo>
                    <a:pt x="7994" y="13301"/>
                    <a:pt x="7994" y="13187"/>
                    <a:pt x="7994" y="13187"/>
                  </a:cubicBezTo>
                  <a:cubicBezTo>
                    <a:pt x="7729" y="13074"/>
                    <a:pt x="7729" y="13074"/>
                    <a:pt x="7729" y="13074"/>
                  </a:cubicBezTo>
                  <a:cubicBezTo>
                    <a:pt x="7465" y="13017"/>
                    <a:pt x="7465" y="13017"/>
                    <a:pt x="7465" y="13017"/>
                  </a:cubicBezTo>
                  <a:cubicBezTo>
                    <a:pt x="7465" y="13017"/>
                    <a:pt x="7147" y="12960"/>
                    <a:pt x="7041" y="12903"/>
                  </a:cubicBezTo>
                  <a:cubicBezTo>
                    <a:pt x="6988" y="12903"/>
                    <a:pt x="6724" y="12846"/>
                    <a:pt x="6618" y="12846"/>
                  </a:cubicBezTo>
                  <a:cubicBezTo>
                    <a:pt x="6512" y="12846"/>
                    <a:pt x="6406" y="12846"/>
                    <a:pt x="6300" y="12789"/>
                  </a:cubicBezTo>
                  <a:cubicBezTo>
                    <a:pt x="6247" y="12733"/>
                    <a:pt x="6088" y="12676"/>
                    <a:pt x="6088" y="12676"/>
                  </a:cubicBezTo>
                  <a:cubicBezTo>
                    <a:pt x="6088" y="12676"/>
                    <a:pt x="5771" y="12562"/>
                    <a:pt x="5771" y="12562"/>
                  </a:cubicBezTo>
                  <a:cubicBezTo>
                    <a:pt x="5718" y="12562"/>
                    <a:pt x="5665" y="12562"/>
                    <a:pt x="5665" y="12562"/>
                  </a:cubicBezTo>
                  <a:cubicBezTo>
                    <a:pt x="5612" y="12562"/>
                    <a:pt x="5506" y="12733"/>
                    <a:pt x="5400" y="12789"/>
                  </a:cubicBezTo>
                  <a:cubicBezTo>
                    <a:pt x="5347" y="12789"/>
                    <a:pt x="5347" y="12960"/>
                    <a:pt x="5294" y="13017"/>
                  </a:cubicBezTo>
                  <a:cubicBezTo>
                    <a:pt x="5294" y="13131"/>
                    <a:pt x="5241" y="13187"/>
                    <a:pt x="5188" y="13187"/>
                  </a:cubicBezTo>
                  <a:cubicBezTo>
                    <a:pt x="5188" y="13244"/>
                    <a:pt x="4871" y="13131"/>
                    <a:pt x="4871" y="13187"/>
                  </a:cubicBezTo>
                  <a:close/>
                  <a:moveTo>
                    <a:pt x="3176" y="14324"/>
                  </a:moveTo>
                  <a:cubicBezTo>
                    <a:pt x="3176" y="14324"/>
                    <a:pt x="3176" y="14324"/>
                    <a:pt x="3176" y="14324"/>
                  </a:cubicBezTo>
                  <a:cubicBezTo>
                    <a:pt x="3176" y="14324"/>
                    <a:pt x="3282" y="14267"/>
                    <a:pt x="3282" y="14324"/>
                  </a:cubicBezTo>
                  <a:cubicBezTo>
                    <a:pt x="3282" y="14324"/>
                    <a:pt x="3335" y="14381"/>
                    <a:pt x="3335" y="14438"/>
                  </a:cubicBezTo>
                  <a:cubicBezTo>
                    <a:pt x="3388" y="14438"/>
                    <a:pt x="3494" y="14552"/>
                    <a:pt x="3547" y="14552"/>
                  </a:cubicBezTo>
                  <a:cubicBezTo>
                    <a:pt x="3600" y="14552"/>
                    <a:pt x="3759" y="14552"/>
                    <a:pt x="3759" y="14552"/>
                  </a:cubicBezTo>
                  <a:cubicBezTo>
                    <a:pt x="3918" y="14722"/>
                    <a:pt x="3918" y="14722"/>
                    <a:pt x="3918" y="14722"/>
                  </a:cubicBezTo>
                  <a:cubicBezTo>
                    <a:pt x="3918" y="14722"/>
                    <a:pt x="4076" y="14779"/>
                    <a:pt x="4076" y="14836"/>
                  </a:cubicBezTo>
                  <a:cubicBezTo>
                    <a:pt x="4076" y="14836"/>
                    <a:pt x="3812" y="15006"/>
                    <a:pt x="3812" y="15006"/>
                  </a:cubicBezTo>
                  <a:cubicBezTo>
                    <a:pt x="3759" y="15063"/>
                    <a:pt x="3759" y="15063"/>
                    <a:pt x="3759" y="15063"/>
                  </a:cubicBezTo>
                  <a:cubicBezTo>
                    <a:pt x="3759" y="15063"/>
                    <a:pt x="3759" y="15177"/>
                    <a:pt x="3653" y="15120"/>
                  </a:cubicBezTo>
                  <a:cubicBezTo>
                    <a:pt x="3600" y="15120"/>
                    <a:pt x="3547" y="15120"/>
                    <a:pt x="3494" y="15063"/>
                  </a:cubicBezTo>
                  <a:cubicBezTo>
                    <a:pt x="3494" y="15006"/>
                    <a:pt x="3494" y="15006"/>
                    <a:pt x="3441" y="14949"/>
                  </a:cubicBezTo>
                  <a:cubicBezTo>
                    <a:pt x="3335" y="14893"/>
                    <a:pt x="3124" y="14722"/>
                    <a:pt x="3124" y="14722"/>
                  </a:cubicBezTo>
                  <a:cubicBezTo>
                    <a:pt x="3124" y="14552"/>
                    <a:pt x="3124" y="14552"/>
                    <a:pt x="3124" y="14552"/>
                  </a:cubicBezTo>
                  <a:cubicBezTo>
                    <a:pt x="3124" y="14438"/>
                    <a:pt x="3124" y="14438"/>
                    <a:pt x="3124" y="14438"/>
                  </a:cubicBezTo>
                  <a:cubicBezTo>
                    <a:pt x="3176" y="14324"/>
                    <a:pt x="3176" y="14324"/>
                    <a:pt x="3176" y="14324"/>
                  </a:cubicBezTo>
                  <a:close/>
                  <a:moveTo>
                    <a:pt x="2541" y="13301"/>
                  </a:moveTo>
                  <a:cubicBezTo>
                    <a:pt x="2541" y="13301"/>
                    <a:pt x="2541" y="13301"/>
                    <a:pt x="2541" y="13301"/>
                  </a:cubicBezTo>
                  <a:cubicBezTo>
                    <a:pt x="2382" y="13074"/>
                    <a:pt x="2382" y="13074"/>
                    <a:pt x="2382" y="13074"/>
                  </a:cubicBezTo>
                  <a:cubicBezTo>
                    <a:pt x="2276" y="13301"/>
                    <a:pt x="2276" y="13301"/>
                    <a:pt x="2276" y="13301"/>
                  </a:cubicBezTo>
                  <a:cubicBezTo>
                    <a:pt x="2224" y="13528"/>
                    <a:pt x="2224" y="13528"/>
                    <a:pt x="2224" y="13528"/>
                  </a:cubicBezTo>
                  <a:cubicBezTo>
                    <a:pt x="2382" y="13642"/>
                    <a:pt x="2382" y="13642"/>
                    <a:pt x="2382" y="13642"/>
                  </a:cubicBezTo>
                  <a:cubicBezTo>
                    <a:pt x="2435" y="13642"/>
                    <a:pt x="2435" y="13642"/>
                    <a:pt x="2435" y="13642"/>
                  </a:cubicBezTo>
                  <a:cubicBezTo>
                    <a:pt x="2541" y="13472"/>
                    <a:pt x="2541" y="13472"/>
                    <a:pt x="2541" y="13472"/>
                  </a:cubicBezTo>
                  <a:cubicBezTo>
                    <a:pt x="2647" y="13642"/>
                    <a:pt x="2647" y="13642"/>
                    <a:pt x="2647" y="13642"/>
                  </a:cubicBezTo>
                  <a:cubicBezTo>
                    <a:pt x="2753" y="13869"/>
                    <a:pt x="2753" y="13869"/>
                    <a:pt x="2753" y="13869"/>
                  </a:cubicBezTo>
                  <a:cubicBezTo>
                    <a:pt x="2753" y="13869"/>
                    <a:pt x="2859" y="13756"/>
                    <a:pt x="2912" y="13699"/>
                  </a:cubicBezTo>
                  <a:cubicBezTo>
                    <a:pt x="2965" y="13699"/>
                    <a:pt x="3176" y="13869"/>
                    <a:pt x="3176" y="13869"/>
                  </a:cubicBezTo>
                  <a:cubicBezTo>
                    <a:pt x="3176" y="13869"/>
                    <a:pt x="3388" y="13756"/>
                    <a:pt x="3441" y="13756"/>
                  </a:cubicBezTo>
                  <a:cubicBezTo>
                    <a:pt x="3494" y="13756"/>
                    <a:pt x="3335" y="13585"/>
                    <a:pt x="3335" y="13585"/>
                  </a:cubicBezTo>
                  <a:cubicBezTo>
                    <a:pt x="3176" y="13415"/>
                    <a:pt x="3176" y="13415"/>
                    <a:pt x="3176" y="13415"/>
                  </a:cubicBezTo>
                  <a:cubicBezTo>
                    <a:pt x="3071" y="13301"/>
                    <a:pt x="3071" y="13301"/>
                    <a:pt x="3071" y="13301"/>
                  </a:cubicBezTo>
                  <a:cubicBezTo>
                    <a:pt x="2859" y="13187"/>
                    <a:pt x="2859" y="13187"/>
                    <a:pt x="2859" y="13187"/>
                  </a:cubicBezTo>
                  <a:cubicBezTo>
                    <a:pt x="2859" y="13131"/>
                    <a:pt x="2859" y="13131"/>
                    <a:pt x="2859" y="13131"/>
                  </a:cubicBezTo>
                  <a:cubicBezTo>
                    <a:pt x="2912" y="13017"/>
                    <a:pt x="2912" y="13017"/>
                    <a:pt x="2912" y="13017"/>
                  </a:cubicBezTo>
                  <a:cubicBezTo>
                    <a:pt x="2912" y="13017"/>
                    <a:pt x="2912" y="13131"/>
                    <a:pt x="3018" y="13074"/>
                  </a:cubicBezTo>
                  <a:cubicBezTo>
                    <a:pt x="3124" y="13074"/>
                    <a:pt x="3124" y="13074"/>
                    <a:pt x="3124" y="13017"/>
                  </a:cubicBezTo>
                  <a:cubicBezTo>
                    <a:pt x="3176" y="13017"/>
                    <a:pt x="3124" y="12960"/>
                    <a:pt x="3124" y="12960"/>
                  </a:cubicBezTo>
                  <a:cubicBezTo>
                    <a:pt x="2965" y="12846"/>
                    <a:pt x="2965" y="12846"/>
                    <a:pt x="2965" y="12846"/>
                  </a:cubicBezTo>
                  <a:cubicBezTo>
                    <a:pt x="3018" y="12676"/>
                    <a:pt x="3018" y="12676"/>
                    <a:pt x="3018" y="12676"/>
                  </a:cubicBezTo>
                  <a:cubicBezTo>
                    <a:pt x="2859" y="12562"/>
                    <a:pt x="2859" y="12562"/>
                    <a:pt x="2859" y="12562"/>
                  </a:cubicBezTo>
                  <a:cubicBezTo>
                    <a:pt x="2806" y="12733"/>
                    <a:pt x="2806" y="12733"/>
                    <a:pt x="2806" y="12733"/>
                  </a:cubicBezTo>
                  <a:cubicBezTo>
                    <a:pt x="2647" y="12676"/>
                    <a:pt x="2647" y="12676"/>
                    <a:pt x="2647" y="12676"/>
                  </a:cubicBezTo>
                  <a:cubicBezTo>
                    <a:pt x="2647" y="12676"/>
                    <a:pt x="2594" y="12789"/>
                    <a:pt x="2594" y="12789"/>
                  </a:cubicBezTo>
                  <a:cubicBezTo>
                    <a:pt x="2594" y="12846"/>
                    <a:pt x="2647" y="13017"/>
                    <a:pt x="2647" y="13017"/>
                  </a:cubicBezTo>
                  <a:cubicBezTo>
                    <a:pt x="2541" y="13301"/>
                    <a:pt x="2541" y="13301"/>
                    <a:pt x="2541" y="13301"/>
                  </a:cubicBezTo>
                  <a:close/>
                  <a:moveTo>
                    <a:pt x="582" y="9152"/>
                  </a:moveTo>
                  <a:cubicBezTo>
                    <a:pt x="582" y="9152"/>
                    <a:pt x="582" y="9152"/>
                    <a:pt x="582" y="9152"/>
                  </a:cubicBezTo>
                  <a:cubicBezTo>
                    <a:pt x="476" y="9152"/>
                    <a:pt x="476" y="9152"/>
                    <a:pt x="476" y="9152"/>
                  </a:cubicBezTo>
                  <a:cubicBezTo>
                    <a:pt x="476" y="9152"/>
                    <a:pt x="476" y="9208"/>
                    <a:pt x="529" y="9265"/>
                  </a:cubicBezTo>
                  <a:cubicBezTo>
                    <a:pt x="582" y="9322"/>
                    <a:pt x="688" y="9663"/>
                    <a:pt x="688" y="9663"/>
                  </a:cubicBezTo>
                  <a:cubicBezTo>
                    <a:pt x="794" y="9720"/>
                    <a:pt x="794" y="9720"/>
                    <a:pt x="794" y="9720"/>
                  </a:cubicBezTo>
                  <a:cubicBezTo>
                    <a:pt x="1006" y="9834"/>
                    <a:pt x="1006" y="9834"/>
                    <a:pt x="1006" y="9834"/>
                  </a:cubicBezTo>
                  <a:cubicBezTo>
                    <a:pt x="1165" y="10004"/>
                    <a:pt x="1165" y="10004"/>
                    <a:pt x="1165" y="10004"/>
                  </a:cubicBezTo>
                  <a:cubicBezTo>
                    <a:pt x="1165" y="10004"/>
                    <a:pt x="1271" y="10175"/>
                    <a:pt x="1112" y="10118"/>
                  </a:cubicBezTo>
                  <a:cubicBezTo>
                    <a:pt x="953" y="10061"/>
                    <a:pt x="794" y="9947"/>
                    <a:pt x="741" y="9891"/>
                  </a:cubicBezTo>
                  <a:cubicBezTo>
                    <a:pt x="635" y="9891"/>
                    <a:pt x="529" y="9834"/>
                    <a:pt x="529" y="9834"/>
                  </a:cubicBezTo>
                  <a:cubicBezTo>
                    <a:pt x="529" y="9834"/>
                    <a:pt x="476" y="9549"/>
                    <a:pt x="476" y="9493"/>
                  </a:cubicBezTo>
                  <a:cubicBezTo>
                    <a:pt x="424" y="9493"/>
                    <a:pt x="318" y="9436"/>
                    <a:pt x="318" y="9436"/>
                  </a:cubicBezTo>
                  <a:cubicBezTo>
                    <a:pt x="0" y="9265"/>
                    <a:pt x="0" y="9265"/>
                    <a:pt x="0" y="9265"/>
                  </a:cubicBezTo>
                  <a:cubicBezTo>
                    <a:pt x="0" y="9265"/>
                    <a:pt x="0" y="9038"/>
                    <a:pt x="53" y="8981"/>
                  </a:cubicBezTo>
                  <a:cubicBezTo>
                    <a:pt x="53" y="8981"/>
                    <a:pt x="53" y="8867"/>
                    <a:pt x="159" y="8867"/>
                  </a:cubicBezTo>
                  <a:cubicBezTo>
                    <a:pt x="212" y="8811"/>
                    <a:pt x="371" y="8811"/>
                    <a:pt x="371" y="8811"/>
                  </a:cubicBezTo>
                  <a:cubicBezTo>
                    <a:pt x="371" y="8811"/>
                    <a:pt x="371" y="8640"/>
                    <a:pt x="424" y="8697"/>
                  </a:cubicBezTo>
                  <a:cubicBezTo>
                    <a:pt x="476" y="8754"/>
                    <a:pt x="582" y="8924"/>
                    <a:pt x="582" y="8924"/>
                  </a:cubicBezTo>
                  <a:lnTo>
                    <a:pt x="582" y="9152"/>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3" name="Shape 2266">
              <a:extLst>
                <a:ext uri="{FF2B5EF4-FFF2-40B4-BE49-F238E27FC236}">
                  <a16:creationId xmlns:a16="http://schemas.microsoft.com/office/drawing/2014/main" id="{C8491187-1074-BF09-D460-D0A01A3E3E84}"/>
                </a:ext>
              </a:extLst>
            </p:cNvPr>
            <p:cNvSpPr/>
            <p:nvPr/>
          </p:nvSpPr>
          <p:spPr>
            <a:xfrm>
              <a:off x="6460249" y="6056750"/>
              <a:ext cx="3273207" cy="1701216"/>
            </a:xfrm>
            <a:custGeom>
              <a:avLst/>
              <a:gdLst/>
              <a:ahLst/>
              <a:cxnLst>
                <a:cxn ang="0">
                  <a:pos x="wd2" y="hd2"/>
                </a:cxn>
                <a:cxn ang="5400000">
                  <a:pos x="wd2" y="hd2"/>
                </a:cxn>
                <a:cxn ang="10800000">
                  <a:pos x="wd2" y="hd2"/>
                </a:cxn>
                <a:cxn ang="16200000">
                  <a:pos x="wd2" y="hd2"/>
                </a:cxn>
              </a:cxnLst>
              <a:rect l="0" t="0" r="r" b="b"/>
              <a:pathLst>
                <a:path w="21589" h="21519" extrusionOk="0">
                  <a:moveTo>
                    <a:pt x="19777" y="4011"/>
                  </a:moveTo>
                  <a:cubicBezTo>
                    <a:pt x="19505" y="4213"/>
                    <a:pt x="19505" y="4213"/>
                    <a:pt x="19505" y="4213"/>
                  </a:cubicBezTo>
                  <a:cubicBezTo>
                    <a:pt x="19505" y="4314"/>
                    <a:pt x="19505" y="4314"/>
                    <a:pt x="19505" y="4314"/>
                  </a:cubicBezTo>
                  <a:cubicBezTo>
                    <a:pt x="19669" y="4668"/>
                    <a:pt x="19669" y="4668"/>
                    <a:pt x="19669" y="4668"/>
                  </a:cubicBezTo>
                  <a:cubicBezTo>
                    <a:pt x="19832" y="4770"/>
                    <a:pt x="19832" y="4770"/>
                    <a:pt x="19832" y="4770"/>
                  </a:cubicBezTo>
                  <a:cubicBezTo>
                    <a:pt x="19941" y="5275"/>
                    <a:pt x="19941" y="5275"/>
                    <a:pt x="19941" y="5275"/>
                  </a:cubicBezTo>
                  <a:cubicBezTo>
                    <a:pt x="20185" y="5832"/>
                    <a:pt x="20185" y="5832"/>
                    <a:pt x="20185" y="5832"/>
                  </a:cubicBezTo>
                  <a:cubicBezTo>
                    <a:pt x="20349" y="6490"/>
                    <a:pt x="20349" y="6490"/>
                    <a:pt x="20349" y="6490"/>
                  </a:cubicBezTo>
                  <a:cubicBezTo>
                    <a:pt x="20566" y="6540"/>
                    <a:pt x="20566" y="6540"/>
                    <a:pt x="20566" y="6540"/>
                  </a:cubicBezTo>
                  <a:cubicBezTo>
                    <a:pt x="20621" y="6793"/>
                    <a:pt x="20566" y="6439"/>
                    <a:pt x="20566" y="6844"/>
                  </a:cubicBezTo>
                  <a:cubicBezTo>
                    <a:pt x="20512" y="7451"/>
                    <a:pt x="20485" y="7046"/>
                    <a:pt x="20566" y="7754"/>
                  </a:cubicBezTo>
                  <a:cubicBezTo>
                    <a:pt x="20566" y="7957"/>
                    <a:pt x="20974" y="7855"/>
                    <a:pt x="21002" y="7855"/>
                  </a:cubicBezTo>
                  <a:cubicBezTo>
                    <a:pt x="20974" y="7906"/>
                    <a:pt x="21138" y="8058"/>
                    <a:pt x="21083" y="8311"/>
                  </a:cubicBezTo>
                  <a:cubicBezTo>
                    <a:pt x="21029" y="8513"/>
                    <a:pt x="21301" y="8412"/>
                    <a:pt x="21219" y="8715"/>
                  </a:cubicBezTo>
                  <a:cubicBezTo>
                    <a:pt x="21192" y="8816"/>
                    <a:pt x="21410" y="8715"/>
                    <a:pt x="21518" y="8816"/>
                  </a:cubicBezTo>
                  <a:cubicBezTo>
                    <a:pt x="21600" y="8867"/>
                    <a:pt x="21600" y="9120"/>
                    <a:pt x="21573" y="9171"/>
                  </a:cubicBezTo>
                  <a:cubicBezTo>
                    <a:pt x="21518" y="9322"/>
                    <a:pt x="21491" y="9221"/>
                    <a:pt x="21382" y="9423"/>
                  </a:cubicBezTo>
                  <a:cubicBezTo>
                    <a:pt x="21219" y="9626"/>
                    <a:pt x="21301" y="9778"/>
                    <a:pt x="21301" y="9828"/>
                  </a:cubicBezTo>
                  <a:cubicBezTo>
                    <a:pt x="21274" y="9980"/>
                    <a:pt x="21219" y="10031"/>
                    <a:pt x="21192" y="10081"/>
                  </a:cubicBezTo>
                  <a:cubicBezTo>
                    <a:pt x="21002" y="9879"/>
                    <a:pt x="21002" y="9879"/>
                    <a:pt x="21002" y="9879"/>
                  </a:cubicBezTo>
                  <a:cubicBezTo>
                    <a:pt x="20947" y="9474"/>
                    <a:pt x="20947" y="9474"/>
                    <a:pt x="20947" y="9474"/>
                  </a:cubicBezTo>
                  <a:cubicBezTo>
                    <a:pt x="20702" y="9474"/>
                    <a:pt x="20702" y="9474"/>
                    <a:pt x="20702" y="9474"/>
                  </a:cubicBezTo>
                  <a:cubicBezTo>
                    <a:pt x="20593" y="9879"/>
                    <a:pt x="20593" y="9879"/>
                    <a:pt x="20593" y="9879"/>
                  </a:cubicBezTo>
                  <a:cubicBezTo>
                    <a:pt x="20049" y="9980"/>
                    <a:pt x="20049" y="9980"/>
                    <a:pt x="20049" y="9980"/>
                  </a:cubicBezTo>
                  <a:cubicBezTo>
                    <a:pt x="19859" y="10233"/>
                    <a:pt x="19750" y="9778"/>
                    <a:pt x="19641" y="10182"/>
                  </a:cubicBezTo>
                  <a:cubicBezTo>
                    <a:pt x="19396" y="10233"/>
                    <a:pt x="19614" y="10334"/>
                    <a:pt x="19369" y="10283"/>
                  </a:cubicBezTo>
                  <a:cubicBezTo>
                    <a:pt x="19315" y="10283"/>
                    <a:pt x="19342" y="10890"/>
                    <a:pt x="19206" y="11042"/>
                  </a:cubicBezTo>
                  <a:cubicBezTo>
                    <a:pt x="19124" y="11093"/>
                    <a:pt x="19124" y="11194"/>
                    <a:pt x="19016" y="11194"/>
                  </a:cubicBezTo>
                  <a:cubicBezTo>
                    <a:pt x="18852" y="11143"/>
                    <a:pt x="18961" y="10941"/>
                    <a:pt x="18934" y="10941"/>
                  </a:cubicBezTo>
                  <a:cubicBezTo>
                    <a:pt x="18771" y="10890"/>
                    <a:pt x="18771" y="10890"/>
                    <a:pt x="18771" y="10890"/>
                  </a:cubicBezTo>
                  <a:cubicBezTo>
                    <a:pt x="18635" y="11497"/>
                    <a:pt x="18635" y="11497"/>
                    <a:pt x="18635" y="11497"/>
                  </a:cubicBezTo>
                  <a:cubicBezTo>
                    <a:pt x="18227" y="11801"/>
                    <a:pt x="18227" y="11801"/>
                    <a:pt x="18227" y="11801"/>
                  </a:cubicBezTo>
                  <a:cubicBezTo>
                    <a:pt x="17927" y="12105"/>
                    <a:pt x="17927" y="12105"/>
                    <a:pt x="17927" y="12105"/>
                  </a:cubicBezTo>
                  <a:cubicBezTo>
                    <a:pt x="17356" y="12408"/>
                    <a:pt x="17356" y="12408"/>
                    <a:pt x="17356" y="12408"/>
                  </a:cubicBezTo>
                  <a:cubicBezTo>
                    <a:pt x="17057" y="12914"/>
                    <a:pt x="17057" y="12914"/>
                    <a:pt x="17057" y="12914"/>
                  </a:cubicBezTo>
                  <a:cubicBezTo>
                    <a:pt x="16594" y="13167"/>
                    <a:pt x="17003" y="13167"/>
                    <a:pt x="16567" y="13926"/>
                  </a:cubicBezTo>
                  <a:cubicBezTo>
                    <a:pt x="16268" y="14482"/>
                    <a:pt x="15778" y="14634"/>
                    <a:pt x="15343" y="14887"/>
                  </a:cubicBezTo>
                  <a:cubicBezTo>
                    <a:pt x="14989" y="14533"/>
                    <a:pt x="14989" y="14533"/>
                    <a:pt x="14989" y="14533"/>
                  </a:cubicBezTo>
                  <a:cubicBezTo>
                    <a:pt x="14989" y="14533"/>
                    <a:pt x="14826" y="14634"/>
                    <a:pt x="14745" y="14634"/>
                  </a:cubicBezTo>
                  <a:cubicBezTo>
                    <a:pt x="14663" y="14684"/>
                    <a:pt x="14391" y="15241"/>
                    <a:pt x="14391" y="15241"/>
                  </a:cubicBezTo>
                  <a:cubicBezTo>
                    <a:pt x="14037" y="15848"/>
                    <a:pt x="14037" y="15848"/>
                    <a:pt x="14037" y="15848"/>
                  </a:cubicBezTo>
                  <a:cubicBezTo>
                    <a:pt x="13901" y="16000"/>
                    <a:pt x="13738" y="16151"/>
                    <a:pt x="13548" y="16151"/>
                  </a:cubicBezTo>
                  <a:cubicBezTo>
                    <a:pt x="13303" y="15848"/>
                    <a:pt x="13303" y="15848"/>
                    <a:pt x="13303" y="15848"/>
                  </a:cubicBezTo>
                  <a:cubicBezTo>
                    <a:pt x="13058" y="15848"/>
                    <a:pt x="12949" y="16101"/>
                    <a:pt x="13085" y="16455"/>
                  </a:cubicBezTo>
                  <a:cubicBezTo>
                    <a:pt x="13140" y="16607"/>
                    <a:pt x="13085" y="16708"/>
                    <a:pt x="13112" y="16860"/>
                  </a:cubicBezTo>
                  <a:cubicBezTo>
                    <a:pt x="13112" y="17112"/>
                    <a:pt x="13357" y="17214"/>
                    <a:pt x="13330" y="17416"/>
                  </a:cubicBezTo>
                  <a:cubicBezTo>
                    <a:pt x="13303" y="17517"/>
                    <a:pt x="13167" y="17517"/>
                    <a:pt x="13058" y="17669"/>
                  </a:cubicBezTo>
                  <a:cubicBezTo>
                    <a:pt x="12976" y="17770"/>
                    <a:pt x="13140" y="18327"/>
                    <a:pt x="13085" y="18327"/>
                  </a:cubicBezTo>
                  <a:cubicBezTo>
                    <a:pt x="13085" y="18327"/>
                    <a:pt x="12949" y="18934"/>
                    <a:pt x="12840" y="18832"/>
                  </a:cubicBezTo>
                  <a:cubicBezTo>
                    <a:pt x="12786" y="18731"/>
                    <a:pt x="12704" y="18579"/>
                    <a:pt x="12650" y="18377"/>
                  </a:cubicBezTo>
                  <a:cubicBezTo>
                    <a:pt x="12595" y="18225"/>
                    <a:pt x="12405" y="18074"/>
                    <a:pt x="12378" y="17871"/>
                  </a:cubicBezTo>
                  <a:cubicBezTo>
                    <a:pt x="12296" y="17669"/>
                    <a:pt x="12650" y="16860"/>
                    <a:pt x="12623" y="16809"/>
                  </a:cubicBezTo>
                  <a:cubicBezTo>
                    <a:pt x="12650" y="16657"/>
                    <a:pt x="12650" y="16657"/>
                    <a:pt x="12595" y="16354"/>
                  </a:cubicBezTo>
                  <a:cubicBezTo>
                    <a:pt x="12595" y="16202"/>
                    <a:pt x="12351" y="16151"/>
                    <a:pt x="12296" y="16000"/>
                  </a:cubicBezTo>
                  <a:cubicBezTo>
                    <a:pt x="12133" y="16556"/>
                    <a:pt x="12133" y="16556"/>
                    <a:pt x="12133" y="16556"/>
                  </a:cubicBezTo>
                  <a:cubicBezTo>
                    <a:pt x="11915" y="16809"/>
                    <a:pt x="11915" y="16809"/>
                    <a:pt x="11915" y="16809"/>
                  </a:cubicBezTo>
                  <a:cubicBezTo>
                    <a:pt x="11698" y="16860"/>
                    <a:pt x="12051" y="17315"/>
                    <a:pt x="11888" y="17264"/>
                  </a:cubicBezTo>
                  <a:cubicBezTo>
                    <a:pt x="11861" y="17214"/>
                    <a:pt x="11671" y="17517"/>
                    <a:pt x="11507" y="17365"/>
                  </a:cubicBezTo>
                  <a:cubicBezTo>
                    <a:pt x="11317" y="17163"/>
                    <a:pt x="11072" y="17112"/>
                    <a:pt x="10990" y="17112"/>
                  </a:cubicBezTo>
                  <a:cubicBezTo>
                    <a:pt x="10746" y="17315"/>
                    <a:pt x="10746" y="17315"/>
                    <a:pt x="10746" y="17315"/>
                  </a:cubicBezTo>
                  <a:cubicBezTo>
                    <a:pt x="10664" y="17568"/>
                    <a:pt x="10637" y="17871"/>
                    <a:pt x="10582" y="18023"/>
                  </a:cubicBezTo>
                  <a:cubicBezTo>
                    <a:pt x="10365" y="18579"/>
                    <a:pt x="10365" y="18579"/>
                    <a:pt x="10365" y="18579"/>
                  </a:cubicBezTo>
                  <a:cubicBezTo>
                    <a:pt x="10065" y="18782"/>
                    <a:pt x="10310" y="18934"/>
                    <a:pt x="10174" y="19035"/>
                  </a:cubicBezTo>
                  <a:cubicBezTo>
                    <a:pt x="10120" y="19085"/>
                    <a:pt x="10038" y="19439"/>
                    <a:pt x="9848" y="19541"/>
                  </a:cubicBezTo>
                  <a:cubicBezTo>
                    <a:pt x="9739" y="19591"/>
                    <a:pt x="9576" y="19844"/>
                    <a:pt x="9440" y="19844"/>
                  </a:cubicBezTo>
                  <a:cubicBezTo>
                    <a:pt x="9385" y="19844"/>
                    <a:pt x="9086" y="20249"/>
                    <a:pt x="9059" y="20350"/>
                  </a:cubicBezTo>
                  <a:cubicBezTo>
                    <a:pt x="8841" y="20249"/>
                    <a:pt x="8243" y="19945"/>
                    <a:pt x="8188" y="19541"/>
                  </a:cubicBezTo>
                  <a:cubicBezTo>
                    <a:pt x="8134" y="19186"/>
                    <a:pt x="7944" y="19692"/>
                    <a:pt x="7780" y="19338"/>
                  </a:cubicBezTo>
                  <a:cubicBezTo>
                    <a:pt x="7372" y="19085"/>
                    <a:pt x="7372" y="19085"/>
                    <a:pt x="7372" y="19085"/>
                  </a:cubicBezTo>
                  <a:cubicBezTo>
                    <a:pt x="7100" y="19085"/>
                    <a:pt x="7100" y="19085"/>
                    <a:pt x="7100" y="19085"/>
                  </a:cubicBezTo>
                  <a:cubicBezTo>
                    <a:pt x="6991" y="19085"/>
                    <a:pt x="6502" y="19186"/>
                    <a:pt x="6393" y="19288"/>
                  </a:cubicBezTo>
                  <a:cubicBezTo>
                    <a:pt x="6475" y="19844"/>
                    <a:pt x="6447" y="19439"/>
                    <a:pt x="6447" y="20097"/>
                  </a:cubicBezTo>
                  <a:cubicBezTo>
                    <a:pt x="6284" y="20148"/>
                    <a:pt x="6475" y="20805"/>
                    <a:pt x="6339" y="21008"/>
                  </a:cubicBezTo>
                  <a:cubicBezTo>
                    <a:pt x="5876" y="21210"/>
                    <a:pt x="5876" y="21210"/>
                    <a:pt x="5876" y="21210"/>
                  </a:cubicBezTo>
                  <a:cubicBezTo>
                    <a:pt x="5604" y="21513"/>
                    <a:pt x="5604" y="21513"/>
                    <a:pt x="5604" y="21513"/>
                  </a:cubicBezTo>
                  <a:cubicBezTo>
                    <a:pt x="5114" y="21513"/>
                    <a:pt x="5114" y="21513"/>
                    <a:pt x="5114" y="21513"/>
                  </a:cubicBezTo>
                  <a:cubicBezTo>
                    <a:pt x="5114" y="21564"/>
                    <a:pt x="4870" y="21260"/>
                    <a:pt x="4842" y="21058"/>
                  </a:cubicBezTo>
                  <a:cubicBezTo>
                    <a:pt x="4706" y="20401"/>
                    <a:pt x="4788" y="20502"/>
                    <a:pt x="4679" y="20401"/>
                  </a:cubicBezTo>
                  <a:cubicBezTo>
                    <a:pt x="4489" y="20299"/>
                    <a:pt x="4489" y="20451"/>
                    <a:pt x="4434" y="20401"/>
                  </a:cubicBezTo>
                  <a:cubicBezTo>
                    <a:pt x="4434" y="20350"/>
                    <a:pt x="4325" y="20401"/>
                    <a:pt x="4162" y="20653"/>
                  </a:cubicBezTo>
                  <a:cubicBezTo>
                    <a:pt x="4108" y="20805"/>
                    <a:pt x="3999" y="21210"/>
                    <a:pt x="3945" y="21260"/>
                  </a:cubicBezTo>
                  <a:cubicBezTo>
                    <a:pt x="3890" y="21362"/>
                    <a:pt x="3890" y="21008"/>
                    <a:pt x="3836" y="21058"/>
                  </a:cubicBezTo>
                  <a:cubicBezTo>
                    <a:pt x="3727" y="21159"/>
                    <a:pt x="3754" y="20856"/>
                    <a:pt x="3537" y="21109"/>
                  </a:cubicBezTo>
                  <a:cubicBezTo>
                    <a:pt x="3455" y="21210"/>
                    <a:pt x="3183" y="21058"/>
                    <a:pt x="3509" y="20856"/>
                  </a:cubicBezTo>
                  <a:cubicBezTo>
                    <a:pt x="3564" y="20856"/>
                    <a:pt x="3999" y="20249"/>
                    <a:pt x="3999" y="20198"/>
                  </a:cubicBezTo>
                  <a:cubicBezTo>
                    <a:pt x="4026" y="20097"/>
                    <a:pt x="3727" y="19844"/>
                    <a:pt x="3700" y="19844"/>
                  </a:cubicBezTo>
                  <a:cubicBezTo>
                    <a:pt x="3673" y="19844"/>
                    <a:pt x="3537" y="20249"/>
                    <a:pt x="3401" y="20350"/>
                  </a:cubicBezTo>
                  <a:cubicBezTo>
                    <a:pt x="3183" y="20451"/>
                    <a:pt x="3183" y="20502"/>
                    <a:pt x="3074" y="20552"/>
                  </a:cubicBezTo>
                  <a:cubicBezTo>
                    <a:pt x="2992" y="20603"/>
                    <a:pt x="2965" y="20401"/>
                    <a:pt x="2911" y="20451"/>
                  </a:cubicBezTo>
                  <a:cubicBezTo>
                    <a:pt x="2829" y="20502"/>
                    <a:pt x="2829" y="20603"/>
                    <a:pt x="2775" y="20603"/>
                  </a:cubicBezTo>
                  <a:cubicBezTo>
                    <a:pt x="2639" y="20603"/>
                    <a:pt x="2720" y="20249"/>
                    <a:pt x="2720" y="20249"/>
                  </a:cubicBezTo>
                  <a:cubicBezTo>
                    <a:pt x="2829" y="20148"/>
                    <a:pt x="2802" y="20249"/>
                    <a:pt x="2965" y="20148"/>
                  </a:cubicBezTo>
                  <a:cubicBezTo>
                    <a:pt x="3020" y="20097"/>
                    <a:pt x="3183" y="19996"/>
                    <a:pt x="3183" y="19844"/>
                  </a:cubicBezTo>
                  <a:cubicBezTo>
                    <a:pt x="3101" y="19288"/>
                    <a:pt x="2965" y="19794"/>
                    <a:pt x="2911" y="19591"/>
                  </a:cubicBezTo>
                  <a:cubicBezTo>
                    <a:pt x="2856" y="19389"/>
                    <a:pt x="2775" y="19490"/>
                    <a:pt x="2748" y="19389"/>
                  </a:cubicBezTo>
                  <a:cubicBezTo>
                    <a:pt x="2693" y="19136"/>
                    <a:pt x="2693" y="20097"/>
                    <a:pt x="2584" y="19389"/>
                  </a:cubicBezTo>
                  <a:cubicBezTo>
                    <a:pt x="2530" y="19035"/>
                    <a:pt x="2666" y="19035"/>
                    <a:pt x="2367" y="18883"/>
                  </a:cubicBezTo>
                  <a:cubicBezTo>
                    <a:pt x="2367" y="18883"/>
                    <a:pt x="2312" y="18832"/>
                    <a:pt x="2285" y="18832"/>
                  </a:cubicBezTo>
                  <a:cubicBezTo>
                    <a:pt x="2285" y="18782"/>
                    <a:pt x="2312" y="18731"/>
                    <a:pt x="2312" y="18731"/>
                  </a:cubicBezTo>
                  <a:cubicBezTo>
                    <a:pt x="2312" y="18731"/>
                    <a:pt x="2231" y="18579"/>
                    <a:pt x="2204" y="18579"/>
                  </a:cubicBezTo>
                  <a:cubicBezTo>
                    <a:pt x="2204" y="18579"/>
                    <a:pt x="2122" y="18681"/>
                    <a:pt x="2122" y="18681"/>
                  </a:cubicBezTo>
                  <a:cubicBezTo>
                    <a:pt x="2122" y="18681"/>
                    <a:pt x="2095" y="18681"/>
                    <a:pt x="2068" y="18681"/>
                  </a:cubicBezTo>
                  <a:cubicBezTo>
                    <a:pt x="2068" y="18630"/>
                    <a:pt x="2149" y="18630"/>
                    <a:pt x="2258" y="18529"/>
                  </a:cubicBezTo>
                  <a:cubicBezTo>
                    <a:pt x="2312" y="18529"/>
                    <a:pt x="2340" y="18681"/>
                    <a:pt x="2394" y="18681"/>
                  </a:cubicBezTo>
                  <a:cubicBezTo>
                    <a:pt x="2448" y="18731"/>
                    <a:pt x="2557" y="18681"/>
                    <a:pt x="2557" y="18630"/>
                  </a:cubicBezTo>
                  <a:cubicBezTo>
                    <a:pt x="2584" y="18579"/>
                    <a:pt x="2448" y="18428"/>
                    <a:pt x="2476" y="18175"/>
                  </a:cubicBezTo>
                  <a:cubicBezTo>
                    <a:pt x="2476" y="18074"/>
                    <a:pt x="2530" y="18074"/>
                    <a:pt x="2476" y="18023"/>
                  </a:cubicBezTo>
                  <a:cubicBezTo>
                    <a:pt x="2421" y="17972"/>
                    <a:pt x="2421" y="17922"/>
                    <a:pt x="2421" y="17922"/>
                  </a:cubicBezTo>
                  <a:cubicBezTo>
                    <a:pt x="2068" y="17871"/>
                    <a:pt x="2068" y="17871"/>
                    <a:pt x="2068" y="17871"/>
                  </a:cubicBezTo>
                  <a:cubicBezTo>
                    <a:pt x="2068" y="17871"/>
                    <a:pt x="2068" y="17871"/>
                    <a:pt x="2013" y="17821"/>
                  </a:cubicBezTo>
                  <a:cubicBezTo>
                    <a:pt x="1959" y="17770"/>
                    <a:pt x="1904" y="17720"/>
                    <a:pt x="1904" y="17720"/>
                  </a:cubicBezTo>
                  <a:cubicBezTo>
                    <a:pt x="1795" y="17568"/>
                    <a:pt x="1795" y="17568"/>
                    <a:pt x="1795" y="17568"/>
                  </a:cubicBezTo>
                  <a:cubicBezTo>
                    <a:pt x="1795" y="17568"/>
                    <a:pt x="1687" y="17618"/>
                    <a:pt x="1659" y="17618"/>
                  </a:cubicBezTo>
                  <a:cubicBezTo>
                    <a:pt x="1659" y="17618"/>
                    <a:pt x="1687" y="17821"/>
                    <a:pt x="1687" y="17821"/>
                  </a:cubicBezTo>
                  <a:cubicBezTo>
                    <a:pt x="1659" y="17871"/>
                    <a:pt x="1659" y="18074"/>
                    <a:pt x="1551" y="17922"/>
                  </a:cubicBezTo>
                  <a:cubicBezTo>
                    <a:pt x="1523" y="17871"/>
                    <a:pt x="1442" y="17720"/>
                    <a:pt x="1415" y="17720"/>
                  </a:cubicBezTo>
                  <a:cubicBezTo>
                    <a:pt x="1387" y="17770"/>
                    <a:pt x="1279" y="17720"/>
                    <a:pt x="1279" y="17669"/>
                  </a:cubicBezTo>
                  <a:cubicBezTo>
                    <a:pt x="1251" y="17618"/>
                    <a:pt x="1170" y="17568"/>
                    <a:pt x="1170" y="17568"/>
                  </a:cubicBezTo>
                  <a:cubicBezTo>
                    <a:pt x="1170" y="17568"/>
                    <a:pt x="1251" y="17365"/>
                    <a:pt x="1224" y="17315"/>
                  </a:cubicBezTo>
                  <a:cubicBezTo>
                    <a:pt x="1197" y="17315"/>
                    <a:pt x="1360" y="17416"/>
                    <a:pt x="1360" y="17416"/>
                  </a:cubicBezTo>
                  <a:cubicBezTo>
                    <a:pt x="1360" y="17416"/>
                    <a:pt x="1360" y="17163"/>
                    <a:pt x="1387" y="17163"/>
                  </a:cubicBezTo>
                  <a:cubicBezTo>
                    <a:pt x="1415" y="17112"/>
                    <a:pt x="1333" y="17112"/>
                    <a:pt x="1306" y="17062"/>
                  </a:cubicBezTo>
                  <a:cubicBezTo>
                    <a:pt x="1279" y="17011"/>
                    <a:pt x="1251" y="16860"/>
                    <a:pt x="1251" y="16860"/>
                  </a:cubicBezTo>
                  <a:cubicBezTo>
                    <a:pt x="1251" y="16860"/>
                    <a:pt x="1197" y="16809"/>
                    <a:pt x="1197" y="16758"/>
                  </a:cubicBezTo>
                  <a:cubicBezTo>
                    <a:pt x="1170" y="16556"/>
                    <a:pt x="1251" y="16404"/>
                    <a:pt x="1279" y="16404"/>
                  </a:cubicBezTo>
                  <a:cubicBezTo>
                    <a:pt x="1306" y="16455"/>
                    <a:pt x="1306" y="16455"/>
                    <a:pt x="1333" y="16455"/>
                  </a:cubicBezTo>
                  <a:cubicBezTo>
                    <a:pt x="1387" y="16505"/>
                    <a:pt x="1387" y="16505"/>
                    <a:pt x="1387" y="16505"/>
                  </a:cubicBezTo>
                  <a:cubicBezTo>
                    <a:pt x="1387" y="16505"/>
                    <a:pt x="1442" y="16657"/>
                    <a:pt x="1442" y="16657"/>
                  </a:cubicBezTo>
                  <a:cubicBezTo>
                    <a:pt x="1469" y="16657"/>
                    <a:pt x="1551" y="16809"/>
                    <a:pt x="1551" y="16809"/>
                  </a:cubicBezTo>
                  <a:cubicBezTo>
                    <a:pt x="1551" y="16809"/>
                    <a:pt x="1605" y="17011"/>
                    <a:pt x="1632" y="17062"/>
                  </a:cubicBezTo>
                  <a:cubicBezTo>
                    <a:pt x="1659" y="17062"/>
                    <a:pt x="1659" y="16961"/>
                    <a:pt x="1714" y="16961"/>
                  </a:cubicBezTo>
                  <a:cubicBezTo>
                    <a:pt x="1768" y="17011"/>
                    <a:pt x="1823" y="17112"/>
                    <a:pt x="1850" y="17062"/>
                  </a:cubicBezTo>
                  <a:cubicBezTo>
                    <a:pt x="1877" y="17062"/>
                    <a:pt x="1904" y="16809"/>
                    <a:pt x="1904" y="16809"/>
                  </a:cubicBezTo>
                  <a:cubicBezTo>
                    <a:pt x="1904" y="16809"/>
                    <a:pt x="1741" y="16607"/>
                    <a:pt x="1714" y="16607"/>
                  </a:cubicBezTo>
                  <a:cubicBezTo>
                    <a:pt x="1714" y="16556"/>
                    <a:pt x="1659" y="16505"/>
                    <a:pt x="1659" y="16455"/>
                  </a:cubicBezTo>
                  <a:cubicBezTo>
                    <a:pt x="1632" y="16455"/>
                    <a:pt x="1578" y="16404"/>
                    <a:pt x="1578" y="16404"/>
                  </a:cubicBezTo>
                  <a:cubicBezTo>
                    <a:pt x="1578" y="16404"/>
                    <a:pt x="1551" y="16253"/>
                    <a:pt x="1551" y="16253"/>
                  </a:cubicBezTo>
                  <a:cubicBezTo>
                    <a:pt x="1523" y="16202"/>
                    <a:pt x="1551" y="16101"/>
                    <a:pt x="1551" y="16101"/>
                  </a:cubicBezTo>
                  <a:cubicBezTo>
                    <a:pt x="1578" y="16050"/>
                    <a:pt x="1632" y="16000"/>
                    <a:pt x="1659" y="16000"/>
                  </a:cubicBezTo>
                  <a:cubicBezTo>
                    <a:pt x="1687" y="16000"/>
                    <a:pt x="1768" y="15949"/>
                    <a:pt x="1768" y="15949"/>
                  </a:cubicBezTo>
                  <a:cubicBezTo>
                    <a:pt x="1795" y="15696"/>
                    <a:pt x="1795" y="15696"/>
                    <a:pt x="1795" y="15696"/>
                  </a:cubicBezTo>
                  <a:cubicBezTo>
                    <a:pt x="1795" y="15696"/>
                    <a:pt x="1850" y="15494"/>
                    <a:pt x="1850" y="15494"/>
                  </a:cubicBezTo>
                  <a:cubicBezTo>
                    <a:pt x="1823" y="15494"/>
                    <a:pt x="1632" y="15645"/>
                    <a:pt x="1632" y="15595"/>
                  </a:cubicBezTo>
                  <a:cubicBezTo>
                    <a:pt x="1605" y="15595"/>
                    <a:pt x="1551" y="15595"/>
                    <a:pt x="1551" y="15544"/>
                  </a:cubicBezTo>
                  <a:cubicBezTo>
                    <a:pt x="1523" y="15494"/>
                    <a:pt x="1523" y="15393"/>
                    <a:pt x="1523" y="15342"/>
                  </a:cubicBezTo>
                  <a:cubicBezTo>
                    <a:pt x="1523" y="15291"/>
                    <a:pt x="1551" y="15190"/>
                    <a:pt x="1551" y="15190"/>
                  </a:cubicBezTo>
                  <a:cubicBezTo>
                    <a:pt x="1551" y="15190"/>
                    <a:pt x="1523" y="15089"/>
                    <a:pt x="1496" y="15089"/>
                  </a:cubicBezTo>
                  <a:cubicBezTo>
                    <a:pt x="1496" y="15038"/>
                    <a:pt x="1469" y="14937"/>
                    <a:pt x="1469" y="14937"/>
                  </a:cubicBezTo>
                  <a:cubicBezTo>
                    <a:pt x="1469" y="14937"/>
                    <a:pt x="1279" y="14735"/>
                    <a:pt x="1279" y="14735"/>
                  </a:cubicBezTo>
                  <a:cubicBezTo>
                    <a:pt x="1279" y="14684"/>
                    <a:pt x="1279" y="14533"/>
                    <a:pt x="1306" y="14533"/>
                  </a:cubicBezTo>
                  <a:cubicBezTo>
                    <a:pt x="1306" y="14482"/>
                    <a:pt x="1279" y="14381"/>
                    <a:pt x="1333" y="14280"/>
                  </a:cubicBezTo>
                  <a:cubicBezTo>
                    <a:pt x="1415" y="14179"/>
                    <a:pt x="1469" y="13875"/>
                    <a:pt x="1469" y="13875"/>
                  </a:cubicBezTo>
                  <a:cubicBezTo>
                    <a:pt x="1469" y="13875"/>
                    <a:pt x="1279" y="13824"/>
                    <a:pt x="1279" y="13824"/>
                  </a:cubicBezTo>
                  <a:cubicBezTo>
                    <a:pt x="1251" y="13824"/>
                    <a:pt x="1170" y="14027"/>
                    <a:pt x="1170" y="14027"/>
                  </a:cubicBezTo>
                  <a:cubicBezTo>
                    <a:pt x="1170" y="14027"/>
                    <a:pt x="1061" y="14077"/>
                    <a:pt x="1061" y="14128"/>
                  </a:cubicBezTo>
                  <a:cubicBezTo>
                    <a:pt x="1034" y="14128"/>
                    <a:pt x="898" y="14179"/>
                    <a:pt x="898" y="14229"/>
                  </a:cubicBezTo>
                  <a:cubicBezTo>
                    <a:pt x="871" y="14229"/>
                    <a:pt x="816" y="14330"/>
                    <a:pt x="789" y="14330"/>
                  </a:cubicBezTo>
                  <a:cubicBezTo>
                    <a:pt x="762" y="14381"/>
                    <a:pt x="653" y="14482"/>
                    <a:pt x="653" y="14482"/>
                  </a:cubicBezTo>
                  <a:cubicBezTo>
                    <a:pt x="653" y="14482"/>
                    <a:pt x="544" y="14482"/>
                    <a:pt x="544" y="14482"/>
                  </a:cubicBezTo>
                  <a:cubicBezTo>
                    <a:pt x="544" y="14431"/>
                    <a:pt x="544" y="14077"/>
                    <a:pt x="544" y="14077"/>
                  </a:cubicBezTo>
                  <a:cubicBezTo>
                    <a:pt x="544" y="14077"/>
                    <a:pt x="598" y="14027"/>
                    <a:pt x="598" y="13976"/>
                  </a:cubicBezTo>
                  <a:cubicBezTo>
                    <a:pt x="598" y="13976"/>
                    <a:pt x="571" y="13774"/>
                    <a:pt x="544" y="13723"/>
                  </a:cubicBezTo>
                  <a:cubicBezTo>
                    <a:pt x="544" y="13723"/>
                    <a:pt x="544" y="13470"/>
                    <a:pt x="544" y="13420"/>
                  </a:cubicBezTo>
                  <a:cubicBezTo>
                    <a:pt x="544" y="13319"/>
                    <a:pt x="517" y="13167"/>
                    <a:pt x="517" y="13167"/>
                  </a:cubicBezTo>
                  <a:cubicBezTo>
                    <a:pt x="490" y="12914"/>
                    <a:pt x="490" y="12914"/>
                    <a:pt x="490" y="12914"/>
                  </a:cubicBezTo>
                  <a:cubicBezTo>
                    <a:pt x="517" y="12712"/>
                    <a:pt x="517" y="12712"/>
                    <a:pt x="517" y="12712"/>
                  </a:cubicBezTo>
                  <a:cubicBezTo>
                    <a:pt x="544" y="12610"/>
                    <a:pt x="544" y="12610"/>
                    <a:pt x="544" y="12610"/>
                  </a:cubicBezTo>
                  <a:cubicBezTo>
                    <a:pt x="544" y="12610"/>
                    <a:pt x="598" y="12408"/>
                    <a:pt x="598" y="12408"/>
                  </a:cubicBezTo>
                  <a:cubicBezTo>
                    <a:pt x="598" y="12357"/>
                    <a:pt x="653" y="12155"/>
                    <a:pt x="653" y="12155"/>
                  </a:cubicBezTo>
                  <a:cubicBezTo>
                    <a:pt x="680" y="12105"/>
                    <a:pt x="843" y="11801"/>
                    <a:pt x="843" y="11801"/>
                  </a:cubicBezTo>
                  <a:cubicBezTo>
                    <a:pt x="925" y="11599"/>
                    <a:pt x="925" y="11599"/>
                    <a:pt x="925" y="11599"/>
                  </a:cubicBezTo>
                  <a:cubicBezTo>
                    <a:pt x="925" y="11599"/>
                    <a:pt x="1034" y="11599"/>
                    <a:pt x="1061" y="11599"/>
                  </a:cubicBezTo>
                  <a:cubicBezTo>
                    <a:pt x="1061" y="11599"/>
                    <a:pt x="1170" y="11447"/>
                    <a:pt x="1170" y="11447"/>
                  </a:cubicBezTo>
                  <a:cubicBezTo>
                    <a:pt x="1197" y="11346"/>
                    <a:pt x="1197" y="11346"/>
                    <a:pt x="1197" y="11346"/>
                  </a:cubicBezTo>
                  <a:cubicBezTo>
                    <a:pt x="1279" y="11346"/>
                    <a:pt x="1279" y="11346"/>
                    <a:pt x="1279" y="11346"/>
                  </a:cubicBezTo>
                  <a:cubicBezTo>
                    <a:pt x="1279" y="11346"/>
                    <a:pt x="1333" y="11245"/>
                    <a:pt x="1360" y="11245"/>
                  </a:cubicBezTo>
                  <a:cubicBezTo>
                    <a:pt x="1360" y="11245"/>
                    <a:pt x="1415" y="11245"/>
                    <a:pt x="1469" y="11245"/>
                  </a:cubicBezTo>
                  <a:cubicBezTo>
                    <a:pt x="1523" y="11245"/>
                    <a:pt x="1551" y="11194"/>
                    <a:pt x="1578" y="11194"/>
                  </a:cubicBezTo>
                  <a:cubicBezTo>
                    <a:pt x="1578" y="11245"/>
                    <a:pt x="1687" y="11447"/>
                    <a:pt x="1687" y="11447"/>
                  </a:cubicBezTo>
                  <a:cubicBezTo>
                    <a:pt x="2013" y="11346"/>
                    <a:pt x="2013" y="11346"/>
                    <a:pt x="2013" y="11346"/>
                  </a:cubicBezTo>
                  <a:cubicBezTo>
                    <a:pt x="2149" y="11245"/>
                    <a:pt x="2149" y="11245"/>
                    <a:pt x="2149" y="11245"/>
                  </a:cubicBezTo>
                  <a:cubicBezTo>
                    <a:pt x="2149" y="11245"/>
                    <a:pt x="2149" y="11093"/>
                    <a:pt x="2149" y="11093"/>
                  </a:cubicBezTo>
                  <a:cubicBezTo>
                    <a:pt x="2122" y="11042"/>
                    <a:pt x="1986" y="10992"/>
                    <a:pt x="1986" y="10992"/>
                  </a:cubicBezTo>
                  <a:cubicBezTo>
                    <a:pt x="1986" y="10992"/>
                    <a:pt x="1959" y="10992"/>
                    <a:pt x="1986" y="10992"/>
                  </a:cubicBezTo>
                  <a:cubicBezTo>
                    <a:pt x="1986" y="10941"/>
                    <a:pt x="2040" y="10739"/>
                    <a:pt x="2040" y="10739"/>
                  </a:cubicBezTo>
                  <a:cubicBezTo>
                    <a:pt x="2068" y="10739"/>
                    <a:pt x="2095" y="10739"/>
                    <a:pt x="2149" y="10739"/>
                  </a:cubicBezTo>
                  <a:cubicBezTo>
                    <a:pt x="2204" y="10739"/>
                    <a:pt x="2312" y="10739"/>
                    <a:pt x="2312" y="10739"/>
                  </a:cubicBezTo>
                  <a:cubicBezTo>
                    <a:pt x="2312" y="10739"/>
                    <a:pt x="2367" y="10840"/>
                    <a:pt x="2312" y="10890"/>
                  </a:cubicBezTo>
                  <a:cubicBezTo>
                    <a:pt x="2285" y="10941"/>
                    <a:pt x="2258" y="10941"/>
                    <a:pt x="2258" y="10992"/>
                  </a:cubicBezTo>
                  <a:cubicBezTo>
                    <a:pt x="2258" y="10992"/>
                    <a:pt x="2258" y="11093"/>
                    <a:pt x="2285" y="11093"/>
                  </a:cubicBezTo>
                  <a:cubicBezTo>
                    <a:pt x="2285" y="11093"/>
                    <a:pt x="2421" y="11042"/>
                    <a:pt x="2421" y="11042"/>
                  </a:cubicBezTo>
                  <a:cubicBezTo>
                    <a:pt x="2421" y="11042"/>
                    <a:pt x="2448" y="10941"/>
                    <a:pt x="2503" y="10941"/>
                  </a:cubicBezTo>
                  <a:cubicBezTo>
                    <a:pt x="2530" y="10890"/>
                    <a:pt x="2612" y="10840"/>
                    <a:pt x="2612" y="10840"/>
                  </a:cubicBezTo>
                  <a:cubicBezTo>
                    <a:pt x="2884" y="10789"/>
                    <a:pt x="2884" y="10789"/>
                    <a:pt x="2884" y="10789"/>
                  </a:cubicBezTo>
                  <a:cubicBezTo>
                    <a:pt x="3074" y="10688"/>
                    <a:pt x="3074" y="10688"/>
                    <a:pt x="3074" y="10688"/>
                  </a:cubicBezTo>
                  <a:cubicBezTo>
                    <a:pt x="3074" y="10688"/>
                    <a:pt x="3292" y="10435"/>
                    <a:pt x="3346" y="10435"/>
                  </a:cubicBezTo>
                  <a:cubicBezTo>
                    <a:pt x="3428" y="10486"/>
                    <a:pt x="3482" y="10486"/>
                    <a:pt x="3509" y="10435"/>
                  </a:cubicBezTo>
                  <a:cubicBezTo>
                    <a:pt x="3537" y="10385"/>
                    <a:pt x="3591" y="10233"/>
                    <a:pt x="3591" y="10233"/>
                  </a:cubicBezTo>
                  <a:cubicBezTo>
                    <a:pt x="3537" y="10182"/>
                    <a:pt x="3537" y="10182"/>
                    <a:pt x="3537" y="10182"/>
                  </a:cubicBezTo>
                  <a:cubicBezTo>
                    <a:pt x="3401" y="10182"/>
                    <a:pt x="3401" y="10182"/>
                    <a:pt x="3401" y="10182"/>
                  </a:cubicBezTo>
                  <a:cubicBezTo>
                    <a:pt x="3401" y="10182"/>
                    <a:pt x="3264" y="10233"/>
                    <a:pt x="3264" y="10233"/>
                  </a:cubicBezTo>
                  <a:cubicBezTo>
                    <a:pt x="3237" y="10182"/>
                    <a:pt x="3156" y="10182"/>
                    <a:pt x="3183" y="10132"/>
                  </a:cubicBezTo>
                  <a:cubicBezTo>
                    <a:pt x="3210" y="10031"/>
                    <a:pt x="3210" y="10031"/>
                    <a:pt x="3264" y="9929"/>
                  </a:cubicBezTo>
                  <a:cubicBezTo>
                    <a:pt x="3292" y="9879"/>
                    <a:pt x="3319" y="9828"/>
                    <a:pt x="3346" y="9778"/>
                  </a:cubicBezTo>
                  <a:cubicBezTo>
                    <a:pt x="3401" y="9778"/>
                    <a:pt x="3401" y="9727"/>
                    <a:pt x="3455" y="9676"/>
                  </a:cubicBezTo>
                  <a:cubicBezTo>
                    <a:pt x="3509" y="9626"/>
                    <a:pt x="3509" y="9626"/>
                    <a:pt x="3618" y="9525"/>
                  </a:cubicBezTo>
                  <a:cubicBezTo>
                    <a:pt x="3727" y="9474"/>
                    <a:pt x="3945" y="9171"/>
                    <a:pt x="3972" y="9171"/>
                  </a:cubicBezTo>
                  <a:cubicBezTo>
                    <a:pt x="3999" y="9171"/>
                    <a:pt x="4026" y="9221"/>
                    <a:pt x="4135" y="9120"/>
                  </a:cubicBezTo>
                  <a:cubicBezTo>
                    <a:pt x="4271" y="9069"/>
                    <a:pt x="4353" y="8918"/>
                    <a:pt x="4325" y="8918"/>
                  </a:cubicBezTo>
                  <a:cubicBezTo>
                    <a:pt x="4298" y="8918"/>
                    <a:pt x="4244" y="8867"/>
                    <a:pt x="4189" y="8918"/>
                  </a:cubicBezTo>
                  <a:cubicBezTo>
                    <a:pt x="4108" y="8968"/>
                    <a:pt x="4162" y="8867"/>
                    <a:pt x="4053" y="8968"/>
                  </a:cubicBezTo>
                  <a:cubicBezTo>
                    <a:pt x="3917" y="9120"/>
                    <a:pt x="3727" y="9221"/>
                    <a:pt x="3673" y="9221"/>
                  </a:cubicBezTo>
                  <a:cubicBezTo>
                    <a:pt x="3618" y="9171"/>
                    <a:pt x="3564" y="9120"/>
                    <a:pt x="3509" y="9019"/>
                  </a:cubicBezTo>
                  <a:cubicBezTo>
                    <a:pt x="3428" y="8918"/>
                    <a:pt x="3264" y="8918"/>
                    <a:pt x="3264" y="8867"/>
                  </a:cubicBezTo>
                  <a:cubicBezTo>
                    <a:pt x="3237" y="8867"/>
                    <a:pt x="3020" y="9019"/>
                    <a:pt x="3020" y="9019"/>
                  </a:cubicBezTo>
                  <a:cubicBezTo>
                    <a:pt x="3020" y="9019"/>
                    <a:pt x="2720" y="9069"/>
                    <a:pt x="2639" y="9069"/>
                  </a:cubicBezTo>
                  <a:cubicBezTo>
                    <a:pt x="2584" y="9069"/>
                    <a:pt x="2421" y="9019"/>
                    <a:pt x="2394" y="9019"/>
                  </a:cubicBezTo>
                  <a:cubicBezTo>
                    <a:pt x="2394" y="9019"/>
                    <a:pt x="2231" y="9120"/>
                    <a:pt x="2231" y="9120"/>
                  </a:cubicBezTo>
                  <a:cubicBezTo>
                    <a:pt x="2204" y="9120"/>
                    <a:pt x="2095" y="9423"/>
                    <a:pt x="2040" y="9474"/>
                  </a:cubicBezTo>
                  <a:cubicBezTo>
                    <a:pt x="1986" y="9525"/>
                    <a:pt x="1850" y="9474"/>
                    <a:pt x="1850" y="9474"/>
                  </a:cubicBezTo>
                  <a:cubicBezTo>
                    <a:pt x="1850" y="9474"/>
                    <a:pt x="1795" y="9575"/>
                    <a:pt x="1741" y="9626"/>
                  </a:cubicBezTo>
                  <a:cubicBezTo>
                    <a:pt x="1687" y="9676"/>
                    <a:pt x="1605" y="9778"/>
                    <a:pt x="1551" y="9828"/>
                  </a:cubicBezTo>
                  <a:cubicBezTo>
                    <a:pt x="1496" y="9879"/>
                    <a:pt x="1469" y="10283"/>
                    <a:pt x="1469" y="10334"/>
                  </a:cubicBezTo>
                  <a:cubicBezTo>
                    <a:pt x="1442" y="10435"/>
                    <a:pt x="1306" y="10789"/>
                    <a:pt x="1306" y="10789"/>
                  </a:cubicBezTo>
                  <a:cubicBezTo>
                    <a:pt x="1170" y="11042"/>
                    <a:pt x="1170" y="11042"/>
                    <a:pt x="1170" y="11042"/>
                  </a:cubicBezTo>
                  <a:cubicBezTo>
                    <a:pt x="1170" y="11042"/>
                    <a:pt x="1061" y="11245"/>
                    <a:pt x="1034" y="11245"/>
                  </a:cubicBezTo>
                  <a:cubicBezTo>
                    <a:pt x="1007" y="11295"/>
                    <a:pt x="843" y="11599"/>
                    <a:pt x="843" y="11599"/>
                  </a:cubicBezTo>
                  <a:cubicBezTo>
                    <a:pt x="843" y="11599"/>
                    <a:pt x="789" y="11548"/>
                    <a:pt x="789" y="11548"/>
                  </a:cubicBezTo>
                  <a:cubicBezTo>
                    <a:pt x="789" y="11548"/>
                    <a:pt x="680" y="11852"/>
                    <a:pt x="680" y="11852"/>
                  </a:cubicBezTo>
                  <a:cubicBezTo>
                    <a:pt x="680" y="11852"/>
                    <a:pt x="626" y="12105"/>
                    <a:pt x="598" y="12155"/>
                  </a:cubicBezTo>
                  <a:cubicBezTo>
                    <a:pt x="598" y="12206"/>
                    <a:pt x="490" y="12509"/>
                    <a:pt x="490" y="12509"/>
                  </a:cubicBezTo>
                  <a:cubicBezTo>
                    <a:pt x="462" y="12610"/>
                    <a:pt x="462" y="12610"/>
                    <a:pt x="462" y="12610"/>
                  </a:cubicBezTo>
                  <a:cubicBezTo>
                    <a:pt x="435" y="12813"/>
                    <a:pt x="435" y="12813"/>
                    <a:pt x="435" y="12813"/>
                  </a:cubicBezTo>
                  <a:cubicBezTo>
                    <a:pt x="435" y="12813"/>
                    <a:pt x="381" y="12914"/>
                    <a:pt x="381" y="12863"/>
                  </a:cubicBezTo>
                  <a:cubicBezTo>
                    <a:pt x="381" y="12813"/>
                    <a:pt x="381" y="12610"/>
                    <a:pt x="408" y="12560"/>
                  </a:cubicBezTo>
                  <a:cubicBezTo>
                    <a:pt x="435" y="12509"/>
                    <a:pt x="435" y="12408"/>
                    <a:pt x="435" y="12408"/>
                  </a:cubicBezTo>
                  <a:cubicBezTo>
                    <a:pt x="408" y="12155"/>
                    <a:pt x="408" y="12155"/>
                    <a:pt x="408" y="12155"/>
                  </a:cubicBezTo>
                  <a:cubicBezTo>
                    <a:pt x="408" y="12155"/>
                    <a:pt x="381" y="12256"/>
                    <a:pt x="408" y="12105"/>
                  </a:cubicBezTo>
                  <a:cubicBezTo>
                    <a:pt x="435" y="11953"/>
                    <a:pt x="408" y="11953"/>
                    <a:pt x="435" y="11902"/>
                  </a:cubicBezTo>
                  <a:cubicBezTo>
                    <a:pt x="490" y="11852"/>
                    <a:pt x="462" y="11852"/>
                    <a:pt x="544" y="11750"/>
                  </a:cubicBezTo>
                  <a:cubicBezTo>
                    <a:pt x="598" y="11649"/>
                    <a:pt x="571" y="11599"/>
                    <a:pt x="598" y="11599"/>
                  </a:cubicBezTo>
                  <a:cubicBezTo>
                    <a:pt x="653" y="11548"/>
                    <a:pt x="653" y="11548"/>
                    <a:pt x="707" y="11497"/>
                  </a:cubicBezTo>
                  <a:cubicBezTo>
                    <a:pt x="789" y="11396"/>
                    <a:pt x="816" y="11346"/>
                    <a:pt x="843" y="11295"/>
                  </a:cubicBezTo>
                  <a:cubicBezTo>
                    <a:pt x="843" y="11245"/>
                    <a:pt x="979" y="11143"/>
                    <a:pt x="952" y="11093"/>
                  </a:cubicBezTo>
                  <a:cubicBezTo>
                    <a:pt x="952" y="11042"/>
                    <a:pt x="979" y="10941"/>
                    <a:pt x="898" y="10941"/>
                  </a:cubicBezTo>
                  <a:cubicBezTo>
                    <a:pt x="843" y="10941"/>
                    <a:pt x="735" y="11042"/>
                    <a:pt x="680" y="11093"/>
                  </a:cubicBezTo>
                  <a:cubicBezTo>
                    <a:pt x="598" y="11143"/>
                    <a:pt x="517" y="11245"/>
                    <a:pt x="517" y="11245"/>
                  </a:cubicBezTo>
                  <a:cubicBezTo>
                    <a:pt x="517" y="11245"/>
                    <a:pt x="326" y="11346"/>
                    <a:pt x="299" y="11346"/>
                  </a:cubicBezTo>
                  <a:cubicBezTo>
                    <a:pt x="272" y="11295"/>
                    <a:pt x="218" y="11346"/>
                    <a:pt x="190" y="11346"/>
                  </a:cubicBezTo>
                  <a:cubicBezTo>
                    <a:pt x="136" y="11396"/>
                    <a:pt x="27" y="11295"/>
                    <a:pt x="27" y="11295"/>
                  </a:cubicBezTo>
                  <a:cubicBezTo>
                    <a:pt x="0" y="10941"/>
                    <a:pt x="0" y="10941"/>
                    <a:pt x="0" y="10941"/>
                  </a:cubicBezTo>
                  <a:cubicBezTo>
                    <a:pt x="0" y="10941"/>
                    <a:pt x="0" y="10941"/>
                    <a:pt x="0" y="10941"/>
                  </a:cubicBezTo>
                  <a:cubicBezTo>
                    <a:pt x="27" y="10941"/>
                    <a:pt x="27" y="10992"/>
                    <a:pt x="27" y="10992"/>
                  </a:cubicBezTo>
                  <a:cubicBezTo>
                    <a:pt x="27" y="10992"/>
                    <a:pt x="27" y="10992"/>
                    <a:pt x="27" y="10992"/>
                  </a:cubicBezTo>
                  <a:cubicBezTo>
                    <a:pt x="54" y="11042"/>
                    <a:pt x="190" y="11042"/>
                    <a:pt x="190" y="11042"/>
                  </a:cubicBezTo>
                  <a:cubicBezTo>
                    <a:pt x="299" y="10840"/>
                    <a:pt x="299" y="10840"/>
                    <a:pt x="299" y="10840"/>
                  </a:cubicBezTo>
                  <a:cubicBezTo>
                    <a:pt x="435" y="10486"/>
                    <a:pt x="435" y="10486"/>
                    <a:pt x="435" y="10486"/>
                  </a:cubicBezTo>
                  <a:cubicBezTo>
                    <a:pt x="299" y="9929"/>
                    <a:pt x="299" y="9929"/>
                    <a:pt x="299" y="9929"/>
                  </a:cubicBezTo>
                  <a:cubicBezTo>
                    <a:pt x="299" y="9929"/>
                    <a:pt x="299" y="9929"/>
                    <a:pt x="299" y="9929"/>
                  </a:cubicBezTo>
                  <a:cubicBezTo>
                    <a:pt x="299" y="9929"/>
                    <a:pt x="299" y="9929"/>
                    <a:pt x="299" y="9929"/>
                  </a:cubicBezTo>
                  <a:cubicBezTo>
                    <a:pt x="299" y="9929"/>
                    <a:pt x="299" y="9929"/>
                    <a:pt x="299" y="9929"/>
                  </a:cubicBezTo>
                  <a:cubicBezTo>
                    <a:pt x="299" y="9879"/>
                    <a:pt x="326" y="9676"/>
                    <a:pt x="326" y="9626"/>
                  </a:cubicBezTo>
                  <a:cubicBezTo>
                    <a:pt x="326" y="9575"/>
                    <a:pt x="381" y="9373"/>
                    <a:pt x="381" y="9373"/>
                  </a:cubicBezTo>
                  <a:cubicBezTo>
                    <a:pt x="435" y="9221"/>
                    <a:pt x="435" y="9221"/>
                    <a:pt x="435" y="9221"/>
                  </a:cubicBezTo>
                  <a:cubicBezTo>
                    <a:pt x="435" y="9221"/>
                    <a:pt x="544" y="9171"/>
                    <a:pt x="571" y="9171"/>
                  </a:cubicBezTo>
                  <a:cubicBezTo>
                    <a:pt x="626" y="9171"/>
                    <a:pt x="490" y="8867"/>
                    <a:pt x="490" y="8816"/>
                  </a:cubicBezTo>
                  <a:cubicBezTo>
                    <a:pt x="490" y="8766"/>
                    <a:pt x="435" y="8513"/>
                    <a:pt x="435" y="8513"/>
                  </a:cubicBezTo>
                  <a:cubicBezTo>
                    <a:pt x="435" y="8513"/>
                    <a:pt x="299" y="8361"/>
                    <a:pt x="272" y="8361"/>
                  </a:cubicBezTo>
                  <a:cubicBezTo>
                    <a:pt x="245" y="8361"/>
                    <a:pt x="109" y="8311"/>
                    <a:pt x="54" y="8260"/>
                  </a:cubicBezTo>
                  <a:cubicBezTo>
                    <a:pt x="54" y="8260"/>
                    <a:pt x="54" y="8260"/>
                    <a:pt x="54" y="8260"/>
                  </a:cubicBezTo>
                  <a:cubicBezTo>
                    <a:pt x="54" y="8260"/>
                    <a:pt x="54" y="8260"/>
                    <a:pt x="54" y="8260"/>
                  </a:cubicBezTo>
                  <a:cubicBezTo>
                    <a:pt x="54" y="8260"/>
                    <a:pt x="27" y="8209"/>
                    <a:pt x="27" y="8159"/>
                  </a:cubicBezTo>
                  <a:cubicBezTo>
                    <a:pt x="27" y="8159"/>
                    <a:pt x="27" y="8159"/>
                    <a:pt x="27" y="8159"/>
                  </a:cubicBezTo>
                  <a:cubicBezTo>
                    <a:pt x="27" y="8159"/>
                    <a:pt x="27" y="8159"/>
                    <a:pt x="27" y="8159"/>
                  </a:cubicBezTo>
                  <a:cubicBezTo>
                    <a:pt x="27" y="8108"/>
                    <a:pt x="27" y="8108"/>
                    <a:pt x="27" y="8108"/>
                  </a:cubicBezTo>
                  <a:cubicBezTo>
                    <a:pt x="27" y="8108"/>
                    <a:pt x="27" y="8108"/>
                    <a:pt x="27" y="8108"/>
                  </a:cubicBezTo>
                  <a:cubicBezTo>
                    <a:pt x="27" y="8108"/>
                    <a:pt x="27" y="8108"/>
                    <a:pt x="27" y="8108"/>
                  </a:cubicBezTo>
                  <a:cubicBezTo>
                    <a:pt x="27" y="8108"/>
                    <a:pt x="27" y="8108"/>
                    <a:pt x="27" y="8108"/>
                  </a:cubicBezTo>
                  <a:cubicBezTo>
                    <a:pt x="27" y="8108"/>
                    <a:pt x="27" y="8108"/>
                    <a:pt x="27" y="8108"/>
                  </a:cubicBezTo>
                  <a:cubicBezTo>
                    <a:pt x="54" y="8007"/>
                    <a:pt x="136" y="7957"/>
                    <a:pt x="136" y="7957"/>
                  </a:cubicBezTo>
                  <a:cubicBezTo>
                    <a:pt x="245" y="7805"/>
                    <a:pt x="245" y="7805"/>
                    <a:pt x="245" y="7805"/>
                  </a:cubicBezTo>
                  <a:cubicBezTo>
                    <a:pt x="218" y="7602"/>
                    <a:pt x="218" y="7602"/>
                    <a:pt x="218" y="7602"/>
                  </a:cubicBezTo>
                  <a:cubicBezTo>
                    <a:pt x="218" y="7602"/>
                    <a:pt x="326" y="7451"/>
                    <a:pt x="354" y="7400"/>
                  </a:cubicBezTo>
                  <a:cubicBezTo>
                    <a:pt x="408" y="7349"/>
                    <a:pt x="598" y="7248"/>
                    <a:pt x="598" y="7248"/>
                  </a:cubicBezTo>
                  <a:cubicBezTo>
                    <a:pt x="680" y="6995"/>
                    <a:pt x="680" y="6995"/>
                    <a:pt x="680" y="6995"/>
                  </a:cubicBezTo>
                  <a:cubicBezTo>
                    <a:pt x="816" y="6945"/>
                    <a:pt x="816" y="6945"/>
                    <a:pt x="816" y="6945"/>
                  </a:cubicBezTo>
                  <a:cubicBezTo>
                    <a:pt x="871" y="6793"/>
                    <a:pt x="871" y="6793"/>
                    <a:pt x="871" y="6793"/>
                  </a:cubicBezTo>
                  <a:cubicBezTo>
                    <a:pt x="1007" y="6844"/>
                    <a:pt x="1007" y="6844"/>
                    <a:pt x="1007" y="6844"/>
                  </a:cubicBezTo>
                  <a:cubicBezTo>
                    <a:pt x="1224" y="7097"/>
                    <a:pt x="1224" y="7097"/>
                    <a:pt x="1224" y="7097"/>
                  </a:cubicBezTo>
                  <a:cubicBezTo>
                    <a:pt x="1224" y="7097"/>
                    <a:pt x="1387" y="6945"/>
                    <a:pt x="1415" y="6894"/>
                  </a:cubicBezTo>
                  <a:cubicBezTo>
                    <a:pt x="1469" y="6844"/>
                    <a:pt x="1523" y="6844"/>
                    <a:pt x="1523" y="6844"/>
                  </a:cubicBezTo>
                  <a:cubicBezTo>
                    <a:pt x="1605" y="6742"/>
                    <a:pt x="1605" y="6742"/>
                    <a:pt x="1605" y="6742"/>
                  </a:cubicBezTo>
                  <a:cubicBezTo>
                    <a:pt x="1605" y="6742"/>
                    <a:pt x="1741" y="6641"/>
                    <a:pt x="1768" y="6591"/>
                  </a:cubicBezTo>
                  <a:cubicBezTo>
                    <a:pt x="1768" y="6591"/>
                    <a:pt x="1768" y="6591"/>
                    <a:pt x="1768" y="6591"/>
                  </a:cubicBezTo>
                  <a:cubicBezTo>
                    <a:pt x="1768" y="6591"/>
                    <a:pt x="1768" y="6591"/>
                    <a:pt x="1768" y="6591"/>
                  </a:cubicBezTo>
                  <a:cubicBezTo>
                    <a:pt x="1823" y="7552"/>
                    <a:pt x="1687" y="7046"/>
                    <a:pt x="1959" y="7400"/>
                  </a:cubicBezTo>
                  <a:cubicBezTo>
                    <a:pt x="1986" y="7451"/>
                    <a:pt x="1959" y="7501"/>
                    <a:pt x="1986" y="7552"/>
                  </a:cubicBezTo>
                  <a:cubicBezTo>
                    <a:pt x="1986" y="7653"/>
                    <a:pt x="2176" y="7805"/>
                    <a:pt x="2176" y="7805"/>
                  </a:cubicBezTo>
                  <a:cubicBezTo>
                    <a:pt x="2176" y="7805"/>
                    <a:pt x="2340" y="7805"/>
                    <a:pt x="2340" y="7855"/>
                  </a:cubicBezTo>
                  <a:cubicBezTo>
                    <a:pt x="2367" y="7906"/>
                    <a:pt x="2530" y="8058"/>
                    <a:pt x="2530" y="8058"/>
                  </a:cubicBezTo>
                  <a:cubicBezTo>
                    <a:pt x="2884" y="7906"/>
                    <a:pt x="2884" y="7906"/>
                    <a:pt x="2884" y="7906"/>
                  </a:cubicBezTo>
                  <a:cubicBezTo>
                    <a:pt x="3047" y="8209"/>
                    <a:pt x="3047" y="8209"/>
                    <a:pt x="3047" y="8209"/>
                  </a:cubicBezTo>
                  <a:cubicBezTo>
                    <a:pt x="3237" y="8108"/>
                    <a:pt x="3237" y="8108"/>
                    <a:pt x="3237" y="8108"/>
                  </a:cubicBezTo>
                  <a:cubicBezTo>
                    <a:pt x="3237" y="8108"/>
                    <a:pt x="3319" y="8159"/>
                    <a:pt x="3373" y="8209"/>
                  </a:cubicBezTo>
                  <a:cubicBezTo>
                    <a:pt x="3428" y="8260"/>
                    <a:pt x="3591" y="8209"/>
                    <a:pt x="3645" y="8159"/>
                  </a:cubicBezTo>
                  <a:cubicBezTo>
                    <a:pt x="3700" y="8159"/>
                    <a:pt x="3836" y="8007"/>
                    <a:pt x="3890" y="8058"/>
                  </a:cubicBezTo>
                  <a:cubicBezTo>
                    <a:pt x="3945" y="8058"/>
                    <a:pt x="4189" y="7957"/>
                    <a:pt x="4189" y="7957"/>
                  </a:cubicBezTo>
                  <a:cubicBezTo>
                    <a:pt x="4325" y="7754"/>
                    <a:pt x="4325" y="7754"/>
                    <a:pt x="4325" y="7754"/>
                  </a:cubicBezTo>
                  <a:cubicBezTo>
                    <a:pt x="4597" y="7501"/>
                    <a:pt x="4597" y="7501"/>
                    <a:pt x="4597" y="7501"/>
                  </a:cubicBezTo>
                  <a:cubicBezTo>
                    <a:pt x="4897" y="8108"/>
                    <a:pt x="4897" y="8108"/>
                    <a:pt x="4897" y="8108"/>
                  </a:cubicBezTo>
                  <a:cubicBezTo>
                    <a:pt x="4897" y="8108"/>
                    <a:pt x="5196" y="8007"/>
                    <a:pt x="5223" y="8007"/>
                  </a:cubicBezTo>
                  <a:cubicBezTo>
                    <a:pt x="5278" y="8007"/>
                    <a:pt x="5495" y="7855"/>
                    <a:pt x="5495" y="7855"/>
                  </a:cubicBezTo>
                  <a:cubicBezTo>
                    <a:pt x="5495" y="7855"/>
                    <a:pt x="5550" y="7704"/>
                    <a:pt x="5522" y="7552"/>
                  </a:cubicBezTo>
                  <a:cubicBezTo>
                    <a:pt x="5522" y="7451"/>
                    <a:pt x="5495" y="7349"/>
                    <a:pt x="5495" y="7349"/>
                  </a:cubicBezTo>
                  <a:cubicBezTo>
                    <a:pt x="5495" y="7349"/>
                    <a:pt x="5441" y="7248"/>
                    <a:pt x="5522" y="7198"/>
                  </a:cubicBezTo>
                  <a:cubicBezTo>
                    <a:pt x="5604" y="7147"/>
                    <a:pt x="5631" y="7046"/>
                    <a:pt x="5686" y="6995"/>
                  </a:cubicBezTo>
                  <a:cubicBezTo>
                    <a:pt x="5767" y="6894"/>
                    <a:pt x="5822" y="6742"/>
                    <a:pt x="5849" y="6692"/>
                  </a:cubicBezTo>
                  <a:cubicBezTo>
                    <a:pt x="5876" y="6692"/>
                    <a:pt x="5930" y="6490"/>
                    <a:pt x="5958" y="6490"/>
                  </a:cubicBezTo>
                  <a:cubicBezTo>
                    <a:pt x="5958" y="6439"/>
                    <a:pt x="6012" y="6287"/>
                    <a:pt x="6012" y="6237"/>
                  </a:cubicBezTo>
                  <a:cubicBezTo>
                    <a:pt x="6039" y="6237"/>
                    <a:pt x="6175" y="5984"/>
                    <a:pt x="6175" y="5984"/>
                  </a:cubicBezTo>
                  <a:cubicBezTo>
                    <a:pt x="6230" y="5832"/>
                    <a:pt x="6230" y="5832"/>
                    <a:pt x="6230" y="5832"/>
                  </a:cubicBezTo>
                  <a:cubicBezTo>
                    <a:pt x="6230" y="5832"/>
                    <a:pt x="6339" y="5427"/>
                    <a:pt x="6393" y="5377"/>
                  </a:cubicBezTo>
                  <a:cubicBezTo>
                    <a:pt x="6447" y="5377"/>
                    <a:pt x="6747" y="4921"/>
                    <a:pt x="6801" y="4972"/>
                  </a:cubicBezTo>
                  <a:cubicBezTo>
                    <a:pt x="6855" y="4972"/>
                    <a:pt x="7046" y="4668"/>
                    <a:pt x="7100" y="4567"/>
                  </a:cubicBezTo>
                  <a:cubicBezTo>
                    <a:pt x="7155" y="4517"/>
                    <a:pt x="7155" y="4416"/>
                    <a:pt x="7291" y="4365"/>
                  </a:cubicBezTo>
                  <a:cubicBezTo>
                    <a:pt x="7399" y="4365"/>
                    <a:pt x="8161" y="4163"/>
                    <a:pt x="8161" y="4163"/>
                  </a:cubicBezTo>
                  <a:cubicBezTo>
                    <a:pt x="8596" y="3910"/>
                    <a:pt x="8596" y="3910"/>
                    <a:pt x="8596" y="3910"/>
                  </a:cubicBezTo>
                  <a:cubicBezTo>
                    <a:pt x="8814" y="3606"/>
                    <a:pt x="8814" y="3606"/>
                    <a:pt x="8814" y="3606"/>
                  </a:cubicBezTo>
                  <a:cubicBezTo>
                    <a:pt x="8841" y="3454"/>
                    <a:pt x="8841" y="3454"/>
                    <a:pt x="8841" y="3454"/>
                  </a:cubicBezTo>
                  <a:cubicBezTo>
                    <a:pt x="9086" y="3454"/>
                    <a:pt x="9086" y="3454"/>
                    <a:pt x="9086" y="3454"/>
                  </a:cubicBezTo>
                  <a:cubicBezTo>
                    <a:pt x="9086" y="3454"/>
                    <a:pt x="9059" y="3657"/>
                    <a:pt x="9059" y="3657"/>
                  </a:cubicBezTo>
                  <a:cubicBezTo>
                    <a:pt x="9059" y="3707"/>
                    <a:pt x="9032" y="3758"/>
                    <a:pt x="9113" y="3808"/>
                  </a:cubicBezTo>
                  <a:cubicBezTo>
                    <a:pt x="9195" y="3910"/>
                    <a:pt x="9277" y="4011"/>
                    <a:pt x="9304" y="4011"/>
                  </a:cubicBezTo>
                  <a:cubicBezTo>
                    <a:pt x="9331" y="4011"/>
                    <a:pt x="9385" y="4061"/>
                    <a:pt x="9413" y="4061"/>
                  </a:cubicBezTo>
                  <a:cubicBezTo>
                    <a:pt x="9440" y="4112"/>
                    <a:pt x="9576" y="4163"/>
                    <a:pt x="9576" y="4163"/>
                  </a:cubicBezTo>
                  <a:cubicBezTo>
                    <a:pt x="9576" y="4163"/>
                    <a:pt x="9739" y="4061"/>
                    <a:pt x="9739" y="4061"/>
                  </a:cubicBezTo>
                  <a:cubicBezTo>
                    <a:pt x="9739" y="4011"/>
                    <a:pt x="9821" y="3960"/>
                    <a:pt x="9875" y="3910"/>
                  </a:cubicBezTo>
                  <a:cubicBezTo>
                    <a:pt x="9929" y="3859"/>
                    <a:pt x="10147" y="3758"/>
                    <a:pt x="10147" y="3758"/>
                  </a:cubicBezTo>
                  <a:cubicBezTo>
                    <a:pt x="10147" y="3758"/>
                    <a:pt x="10202" y="3910"/>
                    <a:pt x="10229" y="3910"/>
                  </a:cubicBezTo>
                  <a:cubicBezTo>
                    <a:pt x="10229" y="3960"/>
                    <a:pt x="10338" y="4061"/>
                    <a:pt x="10310" y="4163"/>
                  </a:cubicBezTo>
                  <a:cubicBezTo>
                    <a:pt x="10310" y="4213"/>
                    <a:pt x="10310" y="4365"/>
                    <a:pt x="10310" y="4365"/>
                  </a:cubicBezTo>
                  <a:cubicBezTo>
                    <a:pt x="10474" y="4517"/>
                    <a:pt x="10474" y="4517"/>
                    <a:pt x="10474" y="4517"/>
                  </a:cubicBezTo>
                  <a:cubicBezTo>
                    <a:pt x="10474" y="4517"/>
                    <a:pt x="10582" y="4618"/>
                    <a:pt x="10610" y="4668"/>
                  </a:cubicBezTo>
                  <a:cubicBezTo>
                    <a:pt x="10637" y="4668"/>
                    <a:pt x="10800" y="4719"/>
                    <a:pt x="10800" y="4719"/>
                  </a:cubicBezTo>
                  <a:cubicBezTo>
                    <a:pt x="10827" y="4365"/>
                    <a:pt x="10827" y="4365"/>
                    <a:pt x="10827" y="4365"/>
                  </a:cubicBezTo>
                  <a:cubicBezTo>
                    <a:pt x="10827" y="4365"/>
                    <a:pt x="10882" y="4264"/>
                    <a:pt x="10963" y="4264"/>
                  </a:cubicBezTo>
                  <a:cubicBezTo>
                    <a:pt x="11045" y="4264"/>
                    <a:pt x="11181" y="4264"/>
                    <a:pt x="11181" y="4264"/>
                  </a:cubicBezTo>
                  <a:cubicBezTo>
                    <a:pt x="11181" y="4264"/>
                    <a:pt x="11290" y="4314"/>
                    <a:pt x="11290" y="4365"/>
                  </a:cubicBezTo>
                  <a:cubicBezTo>
                    <a:pt x="11290" y="4416"/>
                    <a:pt x="11426" y="4567"/>
                    <a:pt x="11426" y="4567"/>
                  </a:cubicBezTo>
                  <a:cubicBezTo>
                    <a:pt x="11616" y="4466"/>
                    <a:pt x="11616" y="4466"/>
                    <a:pt x="11616" y="4466"/>
                  </a:cubicBezTo>
                  <a:cubicBezTo>
                    <a:pt x="11698" y="4517"/>
                    <a:pt x="11698" y="4517"/>
                    <a:pt x="11698" y="4517"/>
                  </a:cubicBezTo>
                  <a:cubicBezTo>
                    <a:pt x="11943" y="4567"/>
                    <a:pt x="11943" y="4567"/>
                    <a:pt x="11943" y="4567"/>
                  </a:cubicBezTo>
                  <a:cubicBezTo>
                    <a:pt x="11943" y="4567"/>
                    <a:pt x="11997" y="4567"/>
                    <a:pt x="11997" y="4517"/>
                  </a:cubicBezTo>
                  <a:cubicBezTo>
                    <a:pt x="12024" y="4466"/>
                    <a:pt x="12024" y="4314"/>
                    <a:pt x="12024" y="4314"/>
                  </a:cubicBezTo>
                  <a:cubicBezTo>
                    <a:pt x="12024" y="4314"/>
                    <a:pt x="11997" y="4314"/>
                    <a:pt x="12079" y="4264"/>
                  </a:cubicBezTo>
                  <a:cubicBezTo>
                    <a:pt x="12160" y="4264"/>
                    <a:pt x="12133" y="4213"/>
                    <a:pt x="12160" y="4264"/>
                  </a:cubicBezTo>
                  <a:cubicBezTo>
                    <a:pt x="12187" y="4314"/>
                    <a:pt x="12296" y="4314"/>
                    <a:pt x="12351" y="4365"/>
                  </a:cubicBezTo>
                  <a:cubicBezTo>
                    <a:pt x="12378" y="4365"/>
                    <a:pt x="12487" y="4416"/>
                    <a:pt x="12514" y="4416"/>
                  </a:cubicBezTo>
                  <a:cubicBezTo>
                    <a:pt x="12541" y="4416"/>
                    <a:pt x="12813" y="4365"/>
                    <a:pt x="12813" y="4365"/>
                  </a:cubicBezTo>
                  <a:cubicBezTo>
                    <a:pt x="12813" y="4365"/>
                    <a:pt x="12759" y="4416"/>
                    <a:pt x="12868" y="4314"/>
                  </a:cubicBezTo>
                  <a:cubicBezTo>
                    <a:pt x="12976" y="4213"/>
                    <a:pt x="13112" y="4061"/>
                    <a:pt x="13112" y="4061"/>
                  </a:cubicBezTo>
                  <a:cubicBezTo>
                    <a:pt x="13112" y="4061"/>
                    <a:pt x="13112" y="4061"/>
                    <a:pt x="13194" y="4011"/>
                  </a:cubicBezTo>
                  <a:cubicBezTo>
                    <a:pt x="13276" y="3960"/>
                    <a:pt x="13276" y="3758"/>
                    <a:pt x="13276" y="3758"/>
                  </a:cubicBezTo>
                  <a:cubicBezTo>
                    <a:pt x="13276" y="3758"/>
                    <a:pt x="13276" y="3758"/>
                    <a:pt x="13330" y="3758"/>
                  </a:cubicBezTo>
                  <a:cubicBezTo>
                    <a:pt x="13357" y="3707"/>
                    <a:pt x="13520" y="3657"/>
                    <a:pt x="13520" y="3657"/>
                  </a:cubicBezTo>
                  <a:cubicBezTo>
                    <a:pt x="13520" y="3657"/>
                    <a:pt x="13548" y="3556"/>
                    <a:pt x="13575" y="3505"/>
                  </a:cubicBezTo>
                  <a:cubicBezTo>
                    <a:pt x="13602" y="3505"/>
                    <a:pt x="13656" y="3404"/>
                    <a:pt x="13656" y="3404"/>
                  </a:cubicBezTo>
                  <a:cubicBezTo>
                    <a:pt x="13684" y="3404"/>
                    <a:pt x="13684" y="3404"/>
                    <a:pt x="13684" y="3404"/>
                  </a:cubicBezTo>
                  <a:cubicBezTo>
                    <a:pt x="13792" y="3353"/>
                    <a:pt x="13792" y="3353"/>
                    <a:pt x="13792" y="3353"/>
                  </a:cubicBezTo>
                  <a:cubicBezTo>
                    <a:pt x="13820" y="3252"/>
                    <a:pt x="13820" y="3252"/>
                    <a:pt x="13820" y="3252"/>
                  </a:cubicBezTo>
                  <a:cubicBezTo>
                    <a:pt x="14037" y="3353"/>
                    <a:pt x="14037" y="3353"/>
                    <a:pt x="14037" y="3353"/>
                  </a:cubicBezTo>
                  <a:cubicBezTo>
                    <a:pt x="14037" y="3353"/>
                    <a:pt x="14228" y="3404"/>
                    <a:pt x="14255" y="3353"/>
                  </a:cubicBezTo>
                  <a:cubicBezTo>
                    <a:pt x="14309" y="3353"/>
                    <a:pt x="14391" y="3100"/>
                    <a:pt x="14445" y="3151"/>
                  </a:cubicBezTo>
                  <a:cubicBezTo>
                    <a:pt x="14473" y="3151"/>
                    <a:pt x="14527" y="3252"/>
                    <a:pt x="14554" y="3201"/>
                  </a:cubicBezTo>
                  <a:cubicBezTo>
                    <a:pt x="14581" y="3201"/>
                    <a:pt x="14609" y="3303"/>
                    <a:pt x="14690" y="3201"/>
                  </a:cubicBezTo>
                  <a:cubicBezTo>
                    <a:pt x="14799" y="3050"/>
                    <a:pt x="14881" y="2847"/>
                    <a:pt x="14881" y="2847"/>
                  </a:cubicBezTo>
                  <a:cubicBezTo>
                    <a:pt x="14881" y="2847"/>
                    <a:pt x="14853" y="2746"/>
                    <a:pt x="14935" y="2696"/>
                  </a:cubicBezTo>
                  <a:cubicBezTo>
                    <a:pt x="15017" y="2594"/>
                    <a:pt x="15017" y="2544"/>
                    <a:pt x="15071" y="2544"/>
                  </a:cubicBezTo>
                  <a:cubicBezTo>
                    <a:pt x="15125" y="2493"/>
                    <a:pt x="15125" y="2544"/>
                    <a:pt x="15153" y="2443"/>
                  </a:cubicBezTo>
                  <a:cubicBezTo>
                    <a:pt x="15153" y="2342"/>
                    <a:pt x="15153" y="2240"/>
                    <a:pt x="15180" y="2190"/>
                  </a:cubicBezTo>
                  <a:cubicBezTo>
                    <a:pt x="15207" y="2190"/>
                    <a:pt x="15234" y="2089"/>
                    <a:pt x="15289" y="2089"/>
                  </a:cubicBezTo>
                  <a:cubicBezTo>
                    <a:pt x="15316" y="2038"/>
                    <a:pt x="15370" y="1987"/>
                    <a:pt x="15370" y="1886"/>
                  </a:cubicBezTo>
                  <a:cubicBezTo>
                    <a:pt x="15397" y="1785"/>
                    <a:pt x="15343" y="1836"/>
                    <a:pt x="15397" y="1785"/>
                  </a:cubicBezTo>
                  <a:cubicBezTo>
                    <a:pt x="15452" y="1684"/>
                    <a:pt x="15479" y="1633"/>
                    <a:pt x="15534" y="1532"/>
                  </a:cubicBezTo>
                  <a:cubicBezTo>
                    <a:pt x="15588" y="1482"/>
                    <a:pt x="15615" y="1431"/>
                    <a:pt x="15642" y="1330"/>
                  </a:cubicBezTo>
                  <a:cubicBezTo>
                    <a:pt x="15642" y="1229"/>
                    <a:pt x="15642" y="1178"/>
                    <a:pt x="15670" y="1026"/>
                  </a:cubicBezTo>
                  <a:cubicBezTo>
                    <a:pt x="15724" y="875"/>
                    <a:pt x="15670" y="773"/>
                    <a:pt x="15751" y="773"/>
                  </a:cubicBezTo>
                  <a:cubicBezTo>
                    <a:pt x="15778" y="773"/>
                    <a:pt x="15778" y="773"/>
                    <a:pt x="15806" y="773"/>
                  </a:cubicBezTo>
                  <a:cubicBezTo>
                    <a:pt x="15806" y="875"/>
                    <a:pt x="15860" y="925"/>
                    <a:pt x="15914" y="976"/>
                  </a:cubicBezTo>
                  <a:cubicBezTo>
                    <a:pt x="15996" y="1026"/>
                    <a:pt x="16214" y="824"/>
                    <a:pt x="16214" y="824"/>
                  </a:cubicBezTo>
                  <a:cubicBezTo>
                    <a:pt x="16350" y="723"/>
                    <a:pt x="16350" y="723"/>
                    <a:pt x="16350" y="723"/>
                  </a:cubicBezTo>
                  <a:cubicBezTo>
                    <a:pt x="16486" y="672"/>
                    <a:pt x="16486" y="672"/>
                    <a:pt x="16486" y="672"/>
                  </a:cubicBezTo>
                  <a:cubicBezTo>
                    <a:pt x="16486" y="672"/>
                    <a:pt x="16812" y="622"/>
                    <a:pt x="16866" y="571"/>
                  </a:cubicBezTo>
                  <a:cubicBezTo>
                    <a:pt x="16948" y="470"/>
                    <a:pt x="16948" y="369"/>
                    <a:pt x="16948" y="369"/>
                  </a:cubicBezTo>
                  <a:cubicBezTo>
                    <a:pt x="16921" y="217"/>
                    <a:pt x="16921" y="217"/>
                    <a:pt x="16921" y="217"/>
                  </a:cubicBezTo>
                  <a:cubicBezTo>
                    <a:pt x="16921" y="217"/>
                    <a:pt x="17084" y="65"/>
                    <a:pt x="17166" y="15"/>
                  </a:cubicBezTo>
                  <a:cubicBezTo>
                    <a:pt x="17220" y="-36"/>
                    <a:pt x="17275" y="65"/>
                    <a:pt x="17275" y="65"/>
                  </a:cubicBezTo>
                  <a:cubicBezTo>
                    <a:pt x="17356" y="217"/>
                    <a:pt x="17356" y="217"/>
                    <a:pt x="17356" y="217"/>
                  </a:cubicBezTo>
                  <a:cubicBezTo>
                    <a:pt x="17465" y="419"/>
                    <a:pt x="17465" y="419"/>
                    <a:pt x="17465" y="419"/>
                  </a:cubicBezTo>
                  <a:cubicBezTo>
                    <a:pt x="17601" y="470"/>
                    <a:pt x="17601" y="470"/>
                    <a:pt x="17601" y="470"/>
                  </a:cubicBezTo>
                  <a:cubicBezTo>
                    <a:pt x="17601" y="470"/>
                    <a:pt x="17683" y="622"/>
                    <a:pt x="17710" y="672"/>
                  </a:cubicBezTo>
                  <a:cubicBezTo>
                    <a:pt x="17710" y="773"/>
                    <a:pt x="17710" y="773"/>
                    <a:pt x="17710" y="773"/>
                  </a:cubicBezTo>
                  <a:cubicBezTo>
                    <a:pt x="17873" y="773"/>
                    <a:pt x="17873" y="773"/>
                    <a:pt x="17873" y="773"/>
                  </a:cubicBezTo>
                  <a:cubicBezTo>
                    <a:pt x="18009" y="672"/>
                    <a:pt x="18009" y="672"/>
                    <a:pt x="18009" y="672"/>
                  </a:cubicBezTo>
                  <a:cubicBezTo>
                    <a:pt x="18145" y="824"/>
                    <a:pt x="18145" y="824"/>
                    <a:pt x="18145" y="824"/>
                  </a:cubicBezTo>
                  <a:cubicBezTo>
                    <a:pt x="18254" y="773"/>
                    <a:pt x="18254" y="773"/>
                    <a:pt x="18254" y="773"/>
                  </a:cubicBezTo>
                  <a:cubicBezTo>
                    <a:pt x="18281" y="773"/>
                    <a:pt x="18281" y="824"/>
                    <a:pt x="18308" y="824"/>
                  </a:cubicBezTo>
                  <a:cubicBezTo>
                    <a:pt x="18308" y="875"/>
                    <a:pt x="18308" y="925"/>
                    <a:pt x="18308" y="976"/>
                  </a:cubicBezTo>
                  <a:cubicBezTo>
                    <a:pt x="18336" y="1077"/>
                    <a:pt x="18363" y="1077"/>
                    <a:pt x="18363" y="1077"/>
                  </a:cubicBezTo>
                  <a:cubicBezTo>
                    <a:pt x="18417" y="1229"/>
                    <a:pt x="18417" y="1229"/>
                    <a:pt x="18417" y="1229"/>
                  </a:cubicBezTo>
                  <a:cubicBezTo>
                    <a:pt x="18444" y="1380"/>
                    <a:pt x="18444" y="1380"/>
                    <a:pt x="18444" y="1380"/>
                  </a:cubicBezTo>
                  <a:cubicBezTo>
                    <a:pt x="18417" y="1633"/>
                    <a:pt x="18417" y="1633"/>
                    <a:pt x="18417" y="1633"/>
                  </a:cubicBezTo>
                  <a:cubicBezTo>
                    <a:pt x="18417" y="1633"/>
                    <a:pt x="18363" y="1886"/>
                    <a:pt x="18336" y="1987"/>
                  </a:cubicBezTo>
                  <a:cubicBezTo>
                    <a:pt x="18308" y="2089"/>
                    <a:pt x="18390" y="2190"/>
                    <a:pt x="18390" y="2190"/>
                  </a:cubicBezTo>
                  <a:cubicBezTo>
                    <a:pt x="18417" y="2291"/>
                    <a:pt x="18417" y="2291"/>
                    <a:pt x="18417" y="2291"/>
                  </a:cubicBezTo>
                  <a:cubicBezTo>
                    <a:pt x="18417" y="2291"/>
                    <a:pt x="18444" y="2443"/>
                    <a:pt x="18472" y="2493"/>
                  </a:cubicBezTo>
                  <a:cubicBezTo>
                    <a:pt x="18472" y="2544"/>
                    <a:pt x="18472" y="2544"/>
                    <a:pt x="18472" y="2544"/>
                  </a:cubicBezTo>
                  <a:cubicBezTo>
                    <a:pt x="18472" y="2544"/>
                    <a:pt x="18553" y="2645"/>
                    <a:pt x="18580" y="2696"/>
                  </a:cubicBezTo>
                  <a:cubicBezTo>
                    <a:pt x="18608" y="2696"/>
                    <a:pt x="18608" y="2746"/>
                    <a:pt x="18635" y="2797"/>
                  </a:cubicBezTo>
                  <a:cubicBezTo>
                    <a:pt x="18662" y="2847"/>
                    <a:pt x="18635" y="2949"/>
                    <a:pt x="18635" y="2949"/>
                  </a:cubicBezTo>
                  <a:cubicBezTo>
                    <a:pt x="18553" y="3100"/>
                    <a:pt x="18553" y="3100"/>
                    <a:pt x="18553" y="3100"/>
                  </a:cubicBezTo>
                  <a:cubicBezTo>
                    <a:pt x="18553" y="3100"/>
                    <a:pt x="18689" y="3100"/>
                    <a:pt x="18744" y="3100"/>
                  </a:cubicBezTo>
                  <a:cubicBezTo>
                    <a:pt x="18798" y="3100"/>
                    <a:pt x="18798" y="3100"/>
                    <a:pt x="18825" y="3100"/>
                  </a:cubicBezTo>
                  <a:cubicBezTo>
                    <a:pt x="18852" y="3100"/>
                    <a:pt x="18961" y="3151"/>
                    <a:pt x="18961" y="3151"/>
                  </a:cubicBezTo>
                  <a:cubicBezTo>
                    <a:pt x="18961" y="3151"/>
                    <a:pt x="19016" y="3100"/>
                    <a:pt x="19043" y="3100"/>
                  </a:cubicBezTo>
                  <a:cubicBezTo>
                    <a:pt x="19097" y="3050"/>
                    <a:pt x="19152" y="3050"/>
                    <a:pt x="19152" y="3050"/>
                  </a:cubicBezTo>
                  <a:cubicBezTo>
                    <a:pt x="19260" y="2898"/>
                    <a:pt x="19260" y="2898"/>
                    <a:pt x="19260" y="2898"/>
                  </a:cubicBezTo>
                  <a:cubicBezTo>
                    <a:pt x="19260" y="2898"/>
                    <a:pt x="19396" y="2949"/>
                    <a:pt x="19451" y="2949"/>
                  </a:cubicBezTo>
                  <a:cubicBezTo>
                    <a:pt x="19478" y="2949"/>
                    <a:pt x="19560" y="2949"/>
                    <a:pt x="19587" y="2898"/>
                  </a:cubicBezTo>
                  <a:cubicBezTo>
                    <a:pt x="19614" y="2898"/>
                    <a:pt x="19723" y="2999"/>
                    <a:pt x="19723" y="2999"/>
                  </a:cubicBezTo>
                  <a:cubicBezTo>
                    <a:pt x="19723" y="2999"/>
                    <a:pt x="19777" y="3100"/>
                    <a:pt x="19805" y="3151"/>
                  </a:cubicBezTo>
                  <a:cubicBezTo>
                    <a:pt x="19777" y="3303"/>
                    <a:pt x="19750" y="3404"/>
                    <a:pt x="19750" y="3454"/>
                  </a:cubicBezTo>
                  <a:cubicBezTo>
                    <a:pt x="19777" y="3505"/>
                    <a:pt x="19859" y="3606"/>
                    <a:pt x="19886" y="3707"/>
                  </a:cubicBezTo>
                  <a:cubicBezTo>
                    <a:pt x="19886" y="3758"/>
                    <a:pt x="19777" y="4011"/>
                    <a:pt x="19777" y="4011"/>
                  </a:cubicBezTo>
                  <a:close/>
                  <a:moveTo>
                    <a:pt x="0" y="8260"/>
                  </a:moveTo>
                  <a:cubicBezTo>
                    <a:pt x="0" y="8260"/>
                    <a:pt x="0" y="8260"/>
                    <a:pt x="0" y="8260"/>
                  </a:cubicBezTo>
                  <a:cubicBezTo>
                    <a:pt x="0" y="8260"/>
                    <a:pt x="0" y="8260"/>
                    <a:pt x="0" y="8260"/>
                  </a:cubicBezTo>
                  <a:cubicBezTo>
                    <a:pt x="0" y="8260"/>
                    <a:pt x="0" y="8260"/>
                    <a:pt x="0" y="8260"/>
                  </a:cubicBezTo>
                  <a:cubicBezTo>
                    <a:pt x="0" y="8260"/>
                    <a:pt x="0" y="8260"/>
                    <a:pt x="0" y="8260"/>
                  </a:cubicBezTo>
                  <a:cubicBezTo>
                    <a:pt x="0" y="8260"/>
                    <a:pt x="0" y="8260"/>
                    <a:pt x="0" y="8260"/>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4" name="Shape 2267">
              <a:extLst>
                <a:ext uri="{FF2B5EF4-FFF2-40B4-BE49-F238E27FC236}">
                  <a16:creationId xmlns:a16="http://schemas.microsoft.com/office/drawing/2014/main" id="{C4EBB195-A577-DDF4-6208-E27C6ADFBFD7}"/>
                </a:ext>
              </a:extLst>
            </p:cNvPr>
            <p:cNvSpPr/>
            <p:nvPr/>
          </p:nvSpPr>
          <p:spPr>
            <a:xfrm>
              <a:off x="4519891" y="721132"/>
              <a:ext cx="1304078" cy="2310622"/>
            </a:xfrm>
            <a:custGeom>
              <a:avLst/>
              <a:gdLst/>
              <a:ahLst/>
              <a:cxnLst>
                <a:cxn ang="0">
                  <a:pos x="wd2" y="hd2"/>
                </a:cxn>
                <a:cxn ang="5400000">
                  <a:pos x="wd2" y="hd2"/>
                </a:cxn>
                <a:cxn ang="10800000">
                  <a:pos x="wd2" y="hd2"/>
                </a:cxn>
                <a:cxn ang="16200000">
                  <a:pos x="wd2" y="hd2"/>
                </a:cxn>
              </a:cxnLst>
              <a:rect l="0" t="0" r="r" b="b"/>
              <a:pathLst>
                <a:path w="21562" h="21579" extrusionOk="0">
                  <a:moveTo>
                    <a:pt x="1325" y="3716"/>
                  </a:moveTo>
                  <a:cubicBezTo>
                    <a:pt x="1120" y="3529"/>
                    <a:pt x="1120" y="3529"/>
                    <a:pt x="1120" y="3529"/>
                  </a:cubicBezTo>
                  <a:cubicBezTo>
                    <a:pt x="848" y="3454"/>
                    <a:pt x="848" y="3454"/>
                    <a:pt x="848" y="3454"/>
                  </a:cubicBezTo>
                  <a:cubicBezTo>
                    <a:pt x="507" y="3380"/>
                    <a:pt x="507" y="3380"/>
                    <a:pt x="507" y="3380"/>
                  </a:cubicBezTo>
                  <a:cubicBezTo>
                    <a:pt x="507" y="3230"/>
                    <a:pt x="507" y="3230"/>
                    <a:pt x="507" y="3230"/>
                  </a:cubicBezTo>
                  <a:cubicBezTo>
                    <a:pt x="30" y="3081"/>
                    <a:pt x="30" y="3081"/>
                    <a:pt x="30" y="3081"/>
                  </a:cubicBezTo>
                  <a:cubicBezTo>
                    <a:pt x="30" y="3081"/>
                    <a:pt x="-38" y="3006"/>
                    <a:pt x="30" y="3006"/>
                  </a:cubicBezTo>
                  <a:cubicBezTo>
                    <a:pt x="98" y="2969"/>
                    <a:pt x="371" y="2969"/>
                    <a:pt x="439" y="2969"/>
                  </a:cubicBezTo>
                  <a:cubicBezTo>
                    <a:pt x="439" y="2931"/>
                    <a:pt x="439" y="2931"/>
                    <a:pt x="439" y="2931"/>
                  </a:cubicBezTo>
                  <a:cubicBezTo>
                    <a:pt x="507" y="2931"/>
                    <a:pt x="507" y="2931"/>
                    <a:pt x="507" y="2931"/>
                  </a:cubicBezTo>
                  <a:cubicBezTo>
                    <a:pt x="575" y="2931"/>
                    <a:pt x="575" y="2894"/>
                    <a:pt x="575" y="2894"/>
                  </a:cubicBezTo>
                  <a:cubicBezTo>
                    <a:pt x="575" y="2894"/>
                    <a:pt x="371" y="2670"/>
                    <a:pt x="507" y="2558"/>
                  </a:cubicBezTo>
                  <a:cubicBezTo>
                    <a:pt x="507" y="2520"/>
                    <a:pt x="507" y="2520"/>
                    <a:pt x="507" y="2520"/>
                  </a:cubicBezTo>
                  <a:cubicBezTo>
                    <a:pt x="507" y="2520"/>
                    <a:pt x="507" y="2520"/>
                    <a:pt x="507" y="2520"/>
                  </a:cubicBezTo>
                  <a:cubicBezTo>
                    <a:pt x="643" y="2445"/>
                    <a:pt x="916" y="2445"/>
                    <a:pt x="1052" y="2520"/>
                  </a:cubicBezTo>
                  <a:cubicBezTo>
                    <a:pt x="1325" y="2558"/>
                    <a:pt x="1325" y="2558"/>
                    <a:pt x="1325" y="2558"/>
                  </a:cubicBezTo>
                  <a:cubicBezTo>
                    <a:pt x="1802" y="2857"/>
                    <a:pt x="1802" y="2857"/>
                    <a:pt x="1802" y="2857"/>
                  </a:cubicBezTo>
                  <a:cubicBezTo>
                    <a:pt x="2211" y="3118"/>
                    <a:pt x="2211" y="3118"/>
                    <a:pt x="2211" y="3118"/>
                  </a:cubicBezTo>
                  <a:cubicBezTo>
                    <a:pt x="2211" y="3118"/>
                    <a:pt x="2824" y="3380"/>
                    <a:pt x="2960" y="3417"/>
                  </a:cubicBezTo>
                  <a:cubicBezTo>
                    <a:pt x="3096" y="3454"/>
                    <a:pt x="3846" y="3529"/>
                    <a:pt x="3914" y="3567"/>
                  </a:cubicBezTo>
                  <a:cubicBezTo>
                    <a:pt x="4118" y="3417"/>
                    <a:pt x="4118" y="3417"/>
                    <a:pt x="4118" y="3417"/>
                  </a:cubicBezTo>
                  <a:cubicBezTo>
                    <a:pt x="4391" y="3305"/>
                    <a:pt x="4391" y="3305"/>
                    <a:pt x="4391" y="3305"/>
                  </a:cubicBezTo>
                  <a:cubicBezTo>
                    <a:pt x="4323" y="3230"/>
                    <a:pt x="4323" y="3230"/>
                    <a:pt x="4323" y="3230"/>
                  </a:cubicBezTo>
                  <a:cubicBezTo>
                    <a:pt x="4664" y="3118"/>
                    <a:pt x="4664" y="3118"/>
                    <a:pt x="4664" y="3118"/>
                  </a:cubicBezTo>
                  <a:cubicBezTo>
                    <a:pt x="4936" y="3230"/>
                    <a:pt x="4936" y="3230"/>
                    <a:pt x="4936" y="3230"/>
                  </a:cubicBezTo>
                  <a:cubicBezTo>
                    <a:pt x="5618" y="3305"/>
                    <a:pt x="5618" y="3305"/>
                    <a:pt x="5618" y="3305"/>
                  </a:cubicBezTo>
                  <a:cubicBezTo>
                    <a:pt x="5890" y="3417"/>
                    <a:pt x="5890" y="3417"/>
                    <a:pt x="5890" y="3417"/>
                  </a:cubicBezTo>
                  <a:cubicBezTo>
                    <a:pt x="5890" y="3417"/>
                    <a:pt x="5958" y="3417"/>
                    <a:pt x="6026" y="3380"/>
                  </a:cubicBezTo>
                  <a:cubicBezTo>
                    <a:pt x="6026" y="3380"/>
                    <a:pt x="6026" y="3380"/>
                    <a:pt x="6026" y="3380"/>
                  </a:cubicBezTo>
                  <a:cubicBezTo>
                    <a:pt x="6094" y="3380"/>
                    <a:pt x="6094" y="3380"/>
                    <a:pt x="6163" y="3342"/>
                  </a:cubicBezTo>
                  <a:cubicBezTo>
                    <a:pt x="6163" y="3342"/>
                    <a:pt x="6163" y="3342"/>
                    <a:pt x="6163" y="3342"/>
                  </a:cubicBezTo>
                  <a:cubicBezTo>
                    <a:pt x="6163" y="3342"/>
                    <a:pt x="6163" y="3342"/>
                    <a:pt x="6163" y="3342"/>
                  </a:cubicBezTo>
                  <a:cubicBezTo>
                    <a:pt x="6163" y="3342"/>
                    <a:pt x="6163" y="3342"/>
                    <a:pt x="6163" y="3342"/>
                  </a:cubicBezTo>
                  <a:cubicBezTo>
                    <a:pt x="6163" y="3342"/>
                    <a:pt x="6163" y="3342"/>
                    <a:pt x="6163" y="3342"/>
                  </a:cubicBezTo>
                  <a:cubicBezTo>
                    <a:pt x="6163" y="3342"/>
                    <a:pt x="6163" y="3342"/>
                    <a:pt x="6163" y="3342"/>
                  </a:cubicBezTo>
                  <a:cubicBezTo>
                    <a:pt x="6163" y="3305"/>
                    <a:pt x="6163" y="3305"/>
                    <a:pt x="6163" y="3305"/>
                  </a:cubicBezTo>
                  <a:cubicBezTo>
                    <a:pt x="6163" y="3268"/>
                    <a:pt x="6163" y="3043"/>
                    <a:pt x="6163" y="3043"/>
                  </a:cubicBezTo>
                  <a:cubicBezTo>
                    <a:pt x="6163" y="3043"/>
                    <a:pt x="5958" y="2969"/>
                    <a:pt x="6163" y="2894"/>
                  </a:cubicBezTo>
                  <a:cubicBezTo>
                    <a:pt x="6367" y="2782"/>
                    <a:pt x="6640" y="2670"/>
                    <a:pt x="6640" y="2670"/>
                  </a:cubicBezTo>
                  <a:cubicBezTo>
                    <a:pt x="6640" y="2670"/>
                    <a:pt x="6776" y="2632"/>
                    <a:pt x="6776" y="2520"/>
                  </a:cubicBezTo>
                  <a:cubicBezTo>
                    <a:pt x="6776" y="2408"/>
                    <a:pt x="6640" y="2109"/>
                    <a:pt x="6640" y="2109"/>
                  </a:cubicBezTo>
                  <a:cubicBezTo>
                    <a:pt x="6640" y="2109"/>
                    <a:pt x="6503" y="1922"/>
                    <a:pt x="6503" y="1848"/>
                  </a:cubicBezTo>
                  <a:cubicBezTo>
                    <a:pt x="6640" y="1399"/>
                    <a:pt x="6299" y="1063"/>
                    <a:pt x="6503" y="1025"/>
                  </a:cubicBezTo>
                  <a:cubicBezTo>
                    <a:pt x="6503" y="1025"/>
                    <a:pt x="6503" y="1025"/>
                    <a:pt x="6503" y="1025"/>
                  </a:cubicBezTo>
                  <a:cubicBezTo>
                    <a:pt x="6640" y="988"/>
                    <a:pt x="6640" y="988"/>
                    <a:pt x="6640" y="988"/>
                  </a:cubicBezTo>
                  <a:cubicBezTo>
                    <a:pt x="6844" y="913"/>
                    <a:pt x="6844" y="913"/>
                    <a:pt x="6844" y="913"/>
                  </a:cubicBezTo>
                  <a:cubicBezTo>
                    <a:pt x="6844" y="913"/>
                    <a:pt x="6844" y="876"/>
                    <a:pt x="6844" y="876"/>
                  </a:cubicBezTo>
                  <a:cubicBezTo>
                    <a:pt x="6844" y="689"/>
                    <a:pt x="6435" y="502"/>
                    <a:pt x="6912" y="465"/>
                  </a:cubicBezTo>
                  <a:cubicBezTo>
                    <a:pt x="7117" y="390"/>
                    <a:pt x="7117" y="390"/>
                    <a:pt x="7117" y="390"/>
                  </a:cubicBezTo>
                  <a:cubicBezTo>
                    <a:pt x="7730" y="390"/>
                    <a:pt x="7730" y="390"/>
                    <a:pt x="7730" y="390"/>
                  </a:cubicBezTo>
                  <a:cubicBezTo>
                    <a:pt x="7866" y="166"/>
                    <a:pt x="7866" y="166"/>
                    <a:pt x="7866" y="166"/>
                  </a:cubicBezTo>
                  <a:cubicBezTo>
                    <a:pt x="8139" y="16"/>
                    <a:pt x="8139" y="16"/>
                    <a:pt x="8139" y="16"/>
                  </a:cubicBezTo>
                  <a:cubicBezTo>
                    <a:pt x="8343" y="16"/>
                    <a:pt x="8616" y="-21"/>
                    <a:pt x="8752" y="16"/>
                  </a:cubicBezTo>
                  <a:cubicBezTo>
                    <a:pt x="8888" y="128"/>
                    <a:pt x="8888" y="203"/>
                    <a:pt x="9161" y="241"/>
                  </a:cubicBezTo>
                  <a:cubicBezTo>
                    <a:pt x="9978" y="390"/>
                    <a:pt x="9978" y="390"/>
                    <a:pt x="9978" y="390"/>
                  </a:cubicBezTo>
                  <a:cubicBezTo>
                    <a:pt x="10455" y="427"/>
                    <a:pt x="10455" y="427"/>
                    <a:pt x="10455" y="427"/>
                  </a:cubicBezTo>
                  <a:cubicBezTo>
                    <a:pt x="10592" y="502"/>
                    <a:pt x="10592" y="502"/>
                    <a:pt x="10592" y="502"/>
                  </a:cubicBezTo>
                  <a:cubicBezTo>
                    <a:pt x="10592" y="502"/>
                    <a:pt x="10592" y="502"/>
                    <a:pt x="10592" y="502"/>
                  </a:cubicBezTo>
                  <a:cubicBezTo>
                    <a:pt x="10592" y="577"/>
                    <a:pt x="10592" y="652"/>
                    <a:pt x="10660" y="689"/>
                  </a:cubicBezTo>
                  <a:cubicBezTo>
                    <a:pt x="10660" y="764"/>
                    <a:pt x="10728" y="876"/>
                    <a:pt x="10728" y="876"/>
                  </a:cubicBezTo>
                  <a:cubicBezTo>
                    <a:pt x="10728" y="876"/>
                    <a:pt x="10660" y="988"/>
                    <a:pt x="10660" y="1063"/>
                  </a:cubicBezTo>
                  <a:cubicBezTo>
                    <a:pt x="10592" y="1100"/>
                    <a:pt x="10592" y="1212"/>
                    <a:pt x="10592" y="1250"/>
                  </a:cubicBezTo>
                  <a:cubicBezTo>
                    <a:pt x="10592" y="1287"/>
                    <a:pt x="10592" y="1324"/>
                    <a:pt x="10592" y="1362"/>
                  </a:cubicBezTo>
                  <a:cubicBezTo>
                    <a:pt x="10592" y="1436"/>
                    <a:pt x="10660" y="1549"/>
                    <a:pt x="10728" y="1586"/>
                  </a:cubicBezTo>
                  <a:cubicBezTo>
                    <a:pt x="10728" y="1623"/>
                    <a:pt x="11069" y="1735"/>
                    <a:pt x="11069" y="1735"/>
                  </a:cubicBezTo>
                  <a:cubicBezTo>
                    <a:pt x="11069" y="1735"/>
                    <a:pt x="11069" y="1773"/>
                    <a:pt x="10728" y="1922"/>
                  </a:cubicBezTo>
                  <a:cubicBezTo>
                    <a:pt x="10455" y="2109"/>
                    <a:pt x="10455" y="2109"/>
                    <a:pt x="10455" y="2109"/>
                  </a:cubicBezTo>
                  <a:cubicBezTo>
                    <a:pt x="10932" y="2184"/>
                    <a:pt x="10932" y="2184"/>
                    <a:pt x="10932" y="2184"/>
                  </a:cubicBezTo>
                  <a:cubicBezTo>
                    <a:pt x="10932" y="2371"/>
                    <a:pt x="10932" y="2371"/>
                    <a:pt x="10932" y="2371"/>
                  </a:cubicBezTo>
                  <a:cubicBezTo>
                    <a:pt x="10932" y="2520"/>
                    <a:pt x="10932" y="2520"/>
                    <a:pt x="10932" y="2520"/>
                  </a:cubicBezTo>
                  <a:cubicBezTo>
                    <a:pt x="10864" y="2744"/>
                    <a:pt x="10864" y="2744"/>
                    <a:pt x="10864" y="2744"/>
                  </a:cubicBezTo>
                  <a:cubicBezTo>
                    <a:pt x="10660" y="2894"/>
                    <a:pt x="10660" y="2894"/>
                    <a:pt x="10660" y="2894"/>
                  </a:cubicBezTo>
                  <a:cubicBezTo>
                    <a:pt x="10932" y="3118"/>
                    <a:pt x="10932" y="3118"/>
                    <a:pt x="10932" y="3118"/>
                  </a:cubicBezTo>
                  <a:cubicBezTo>
                    <a:pt x="11273" y="3417"/>
                    <a:pt x="11273" y="3417"/>
                    <a:pt x="11273" y="3417"/>
                  </a:cubicBezTo>
                  <a:cubicBezTo>
                    <a:pt x="11750" y="3567"/>
                    <a:pt x="11750" y="3567"/>
                    <a:pt x="11750" y="3567"/>
                  </a:cubicBezTo>
                  <a:cubicBezTo>
                    <a:pt x="11750" y="3567"/>
                    <a:pt x="11818" y="3529"/>
                    <a:pt x="12295" y="3567"/>
                  </a:cubicBezTo>
                  <a:cubicBezTo>
                    <a:pt x="12772" y="3641"/>
                    <a:pt x="12908" y="3866"/>
                    <a:pt x="12908" y="3866"/>
                  </a:cubicBezTo>
                  <a:cubicBezTo>
                    <a:pt x="13181" y="4052"/>
                    <a:pt x="13181" y="4052"/>
                    <a:pt x="13181" y="4052"/>
                  </a:cubicBezTo>
                  <a:cubicBezTo>
                    <a:pt x="13590" y="4202"/>
                    <a:pt x="13590" y="4202"/>
                    <a:pt x="13590" y="4202"/>
                  </a:cubicBezTo>
                  <a:cubicBezTo>
                    <a:pt x="13794" y="4314"/>
                    <a:pt x="13794" y="4314"/>
                    <a:pt x="13794" y="4314"/>
                  </a:cubicBezTo>
                  <a:cubicBezTo>
                    <a:pt x="13726" y="4650"/>
                    <a:pt x="13726" y="4650"/>
                    <a:pt x="13726" y="4650"/>
                  </a:cubicBezTo>
                  <a:cubicBezTo>
                    <a:pt x="13726" y="4650"/>
                    <a:pt x="13522" y="4837"/>
                    <a:pt x="13590" y="4987"/>
                  </a:cubicBezTo>
                  <a:cubicBezTo>
                    <a:pt x="13590" y="5173"/>
                    <a:pt x="13385" y="5435"/>
                    <a:pt x="13385" y="5510"/>
                  </a:cubicBezTo>
                  <a:cubicBezTo>
                    <a:pt x="13385" y="5547"/>
                    <a:pt x="13249" y="5846"/>
                    <a:pt x="13249" y="5846"/>
                  </a:cubicBezTo>
                  <a:cubicBezTo>
                    <a:pt x="13453" y="6108"/>
                    <a:pt x="13453" y="6108"/>
                    <a:pt x="13453" y="6108"/>
                  </a:cubicBezTo>
                  <a:cubicBezTo>
                    <a:pt x="13726" y="6257"/>
                    <a:pt x="13726" y="6257"/>
                    <a:pt x="13726" y="6257"/>
                  </a:cubicBezTo>
                  <a:cubicBezTo>
                    <a:pt x="14135" y="6519"/>
                    <a:pt x="14135" y="6519"/>
                    <a:pt x="14135" y="6519"/>
                  </a:cubicBezTo>
                  <a:cubicBezTo>
                    <a:pt x="14680" y="6855"/>
                    <a:pt x="14680" y="6855"/>
                    <a:pt x="14680" y="6855"/>
                  </a:cubicBezTo>
                  <a:cubicBezTo>
                    <a:pt x="14884" y="7117"/>
                    <a:pt x="14884" y="7117"/>
                    <a:pt x="14884" y="7117"/>
                  </a:cubicBezTo>
                  <a:cubicBezTo>
                    <a:pt x="14884" y="7117"/>
                    <a:pt x="15430" y="7304"/>
                    <a:pt x="15430" y="7341"/>
                  </a:cubicBezTo>
                  <a:cubicBezTo>
                    <a:pt x="15430" y="7378"/>
                    <a:pt x="15634" y="7565"/>
                    <a:pt x="15634" y="7565"/>
                  </a:cubicBezTo>
                  <a:cubicBezTo>
                    <a:pt x="15906" y="7827"/>
                    <a:pt x="15906" y="7827"/>
                    <a:pt x="15906" y="7827"/>
                  </a:cubicBezTo>
                  <a:cubicBezTo>
                    <a:pt x="15838" y="8014"/>
                    <a:pt x="15838" y="8014"/>
                    <a:pt x="15838" y="8014"/>
                  </a:cubicBezTo>
                  <a:cubicBezTo>
                    <a:pt x="15634" y="8200"/>
                    <a:pt x="15634" y="8200"/>
                    <a:pt x="15634" y="8200"/>
                  </a:cubicBezTo>
                  <a:cubicBezTo>
                    <a:pt x="15634" y="8313"/>
                    <a:pt x="15634" y="8313"/>
                    <a:pt x="15634" y="8313"/>
                  </a:cubicBezTo>
                  <a:cubicBezTo>
                    <a:pt x="15838" y="8462"/>
                    <a:pt x="15838" y="8462"/>
                    <a:pt x="15838" y="8462"/>
                  </a:cubicBezTo>
                  <a:cubicBezTo>
                    <a:pt x="15770" y="8612"/>
                    <a:pt x="15770" y="8612"/>
                    <a:pt x="15770" y="8612"/>
                  </a:cubicBezTo>
                  <a:cubicBezTo>
                    <a:pt x="15975" y="8836"/>
                    <a:pt x="15975" y="8836"/>
                    <a:pt x="15975" y="8836"/>
                  </a:cubicBezTo>
                  <a:cubicBezTo>
                    <a:pt x="15838" y="8985"/>
                    <a:pt x="15838" y="8985"/>
                    <a:pt x="15838" y="8985"/>
                  </a:cubicBezTo>
                  <a:cubicBezTo>
                    <a:pt x="16179" y="9060"/>
                    <a:pt x="16179" y="9060"/>
                    <a:pt x="16179" y="9060"/>
                  </a:cubicBezTo>
                  <a:cubicBezTo>
                    <a:pt x="16179" y="9060"/>
                    <a:pt x="16247" y="9097"/>
                    <a:pt x="16179" y="9172"/>
                  </a:cubicBezTo>
                  <a:cubicBezTo>
                    <a:pt x="16111" y="9209"/>
                    <a:pt x="16043" y="9471"/>
                    <a:pt x="16043" y="9471"/>
                  </a:cubicBezTo>
                  <a:cubicBezTo>
                    <a:pt x="16383" y="9770"/>
                    <a:pt x="16383" y="9770"/>
                    <a:pt x="16383" y="9770"/>
                  </a:cubicBezTo>
                  <a:cubicBezTo>
                    <a:pt x="16860" y="9807"/>
                    <a:pt x="16860" y="9807"/>
                    <a:pt x="16860" y="9807"/>
                  </a:cubicBezTo>
                  <a:cubicBezTo>
                    <a:pt x="16860" y="9807"/>
                    <a:pt x="17133" y="9807"/>
                    <a:pt x="17133" y="9845"/>
                  </a:cubicBezTo>
                  <a:cubicBezTo>
                    <a:pt x="17201" y="9882"/>
                    <a:pt x="17269" y="9994"/>
                    <a:pt x="17269" y="9994"/>
                  </a:cubicBezTo>
                  <a:cubicBezTo>
                    <a:pt x="17065" y="10218"/>
                    <a:pt x="17065" y="10218"/>
                    <a:pt x="17065" y="10218"/>
                  </a:cubicBezTo>
                  <a:cubicBezTo>
                    <a:pt x="17065" y="10218"/>
                    <a:pt x="17133" y="10331"/>
                    <a:pt x="17337" y="10405"/>
                  </a:cubicBezTo>
                  <a:cubicBezTo>
                    <a:pt x="17474" y="10443"/>
                    <a:pt x="17610" y="10443"/>
                    <a:pt x="17610" y="10517"/>
                  </a:cubicBezTo>
                  <a:cubicBezTo>
                    <a:pt x="17678" y="10592"/>
                    <a:pt x="17678" y="10704"/>
                    <a:pt x="17746" y="10667"/>
                  </a:cubicBezTo>
                  <a:cubicBezTo>
                    <a:pt x="17883" y="10667"/>
                    <a:pt x="18155" y="10704"/>
                    <a:pt x="18155" y="10704"/>
                  </a:cubicBezTo>
                  <a:cubicBezTo>
                    <a:pt x="18359" y="10891"/>
                    <a:pt x="18359" y="10891"/>
                    <a:pt x="18359" y="10891"/>
                  </a:cubicBezTo>
                  <a:cubicBezTo>
                    <a:pt x="18496" y="11041"/>
                    <a:pt x="18496" y="11041"/>
                    <a:pt x="18496" y="11041"/>
                  </a:cubicBezTo>
                  <a:cubicBezTo>
                    <a:pt x="18496" y="11041"/>
                    <a:pt x="18496" y="11153"/>
                    <a:pt x="18496" y="11190"/>
                  </a:cubicBezTo>
                  <a:cubicBezTo>
                    <a:pt x="18496" y="11265"/>
                    <a:pt x="18428" y="11489"/>
                    <a:pt x="18428" y="11489"/>
                  </a:cubicBezTo>
                  <a:cubicBezTo>
                    <a:pt x="18087" y="11788"/>
                    <a:pt x="18087" y="11788"/>
                    <a:pt x="18087" y="11788"/>
                  </a:cubicBezTo>
                  <a:cubicBezTo>
                    <a:pt x="18087" y="11788"/>
                    <a:pt x="18359" y="11975"/>
                    <a:pt x="18564" y="12050"/>
                  </a:cubicBezTo>
                  <a:cubicBezTo>
                    <a:pt x="18768" y="12124"/>
                    <a:pt x="19041" y="12236"/>
                    <a:pt x="19109" y="12236"/>
                  </a:cubicBezTo>
                  <a:cubicBezTo>
                    <a:pt x="19177" y="12236"/>
                    <a:pt x="19518" y="12274"/>
                    <a:pt x="19654" y="12311"/>
                  </a:cubicBezTo>
                  <a:cubicBezTo>
                    <a:pt x="19722" y="12311"/>
                    <a:pt x="19995" y="12386"/>
                    <a:pt x="20063" y="12423"/>
                  </a:cubicBezTo>
                  <a:cubicBezTo>
                    <a:pt x="20131" y="12461"/>
                    <a:pt x="20608" y="12610"/>
                    <a:pt x="20608" y="12610"/>
                  </a:cubicBezTo>
                  <a:cubicBezTo>
                    <a:pt x="21017" y="12722"/>
                    <a:pt x="21017" y="12722"/>
                    <a:pt x="21017" y="12722"/>
                  </a:cubicBezTo>
                  <a:cubicBezTo>
                    <a:pt x="21426" y="12909"/>
                    <a:pt x="21426" y="12909"/>
                    <a:pt x="21426" y="12909"/>
                  </a:cubicBezTo>
                  <a:cubicBezTo>
                    <a:pt x="21562" y="13358"/>
                    <a:pt x="21562" y="13358"/>
                    <a:pt x="21562" y="13358"/>
                  </a:cubicBezTo>
                  <a:cubicBezTo>
                    <a:pt x="21562" y="13358"/>
                    <a:pt x="21426" y="14030"/>
                    <a:pt x="21358" y="14105"/>
                  </a:cubicBezTo>
                  <a:cubicBezTo>
                    <a:pt x="21358" y="14180"/>
                    <a:pt x="21153" y="14516"/>
                    <a:pt x="21085" y="14553"/>
                  </a:cubicBezTo>
                  <a:cubicBezTo>
                    <a:pt x="20949" y="14591"/>
                    <a:pt x="20812" y="14628"/>
                    <a:pt x="20812" y="14703"/>
                  </a:cubicBezTo>
                  <a:cubicBezTo>
                    <a:pt x="20812" y="14778"/>
                    <a:pt x="20608" y="15189"/>
                    <a:pt x="20608" y="15189"/>
                  </a:cubicBezTo>
                  <a:cubicBezTo>
                    <a:pt x="20608" y="15189"/>
                    <a:pt x="20404" y="15450"/>
                    <a:pt x="20404" y="15525"/>
                  </a:cubicBezTo>
                  <a:cubicBezTo>
                    <a:pt x="20404" y="15600"/>
                    <a:pt x="20199" y="15824"/>
                    <a:pt x="20199" y="15899"/>
                  </a:cubicBezTo>
                  <a:cubicBezTo>
                    <a:pt x="20131" y="15936"/>
                    <a:pt x="19995" y="16235"/>
                    <a:pt x="19995" y="16235"/>
                  </a:cubicBezTo>
                  <a:cubicBezTo>
                    <a:pt x="19109" y="17207"/>
                    <a:pt x="19109" y="17207"/>
                    <a:pt x="19109" y="17207"/>
                  </a:cubicBezTo>
                  <a:cubicBezTo>
                    <a:pt x="18905" y="17580"/>
                    <a:pt x="18905" y="17580"/>
                    <a:pt x="18905" y="17580"/>
                  </a:cubicBezTo>
                  <a:cubicBezTo>
                    <a:pt x="18905" y="17580"/>
                    <a:pt x="18700" y="17618"/>
                    <a:pt x="18632" y="17692"/>
                  </a:cubicBezTo>
                  <a:cubicBezTo>
                    <a:pt x="18564" y="17805"/>
                    <a:pt x="18496" y="17879"/>
                    <a:pt x="18428" y="17991"/>
                  </a:cubicBezTo>
                  <a:cubicBezTo>
                    <a:pt x="18428" y="18066"/>
                    <a:pt x="18087" y="18403"/>
                    <a:pt x="18087" y="18403"/>
                  </a:cubicBezTo>
                  <a:cubicBezTo>
                    <a:pt x="17951" y="18589"/>
                    <a:pt x="17951" y="18589"/>
                    <a:pt x="17951" y="18589"/>
                  </a:cubicBezTo>
                  <a:cubicBezTo>
                    <a:pt x="17678" y="18776"/>
                    <a:pt x="17678" y="18776"/>
                    <a:pt x="17678" y="18776"/>
                  </a:cubicBezTo>
                  <a:cubicBezTo>
                    <a:pt x="17678" y="18776"/>
                    <a:pt x="17474" y="18851"/>
                    <a:pt x="17474" y="18851"/>
                  </a:cubicBezTo>
                  <a:cubicBezTo>
                    <a:pt x="17474" y="18851"/>
                    <a:pt x="17337" y="18851"/>
                    <a:pt x="17337" y="18851"/>
                  </a:cubicBezTo>
                  <a:cubicBezTo>
                    <a:pt x="16997" y="18851"/>
                    <a:pt x="16997" y="18851"/>
                    <a:pt x="16997" y="18851"/>
                  </a:cubicBezTo>
                  <a:cubicBezTo>
                    <a:pt x="16792" y="18776"/>
                    <a:pt x="16792" y="18776"/>
                    <a:pt x="16792" y="18776"/>
                  </a:cubicBezTo>
                  <a:cubicBezTo>
                    <a:pt x="16792" y="18776"/>
                    <a:pt x="16588" y="18851"/>
                    <a:pt x="16588" y="18851"/>
                  </a:cubicBezTo>
                  <a:cubicBezTo>
                    <a:pt x="16588" y="18888"/>
                    <a:pt x="16452" y="18926"/>
                    <a:pt x="16452" y="18963"/>
                  </a:cubicBezTo>
                  <a:cubicBezTo>
                    <a:pt x="16452" y="18963"/>
                    <a:pt x="16383" y="19038"/>
                    <a:pt x="16315" y="19038"/>
                  </a:cubicBezTo>
                  <a:cubicBezTo>
                    <a:pt x="16247" y="19075"/>
                    <a:pt x="16179" y="19113"/>
                    <a:pt x="16111" y="19113"/>
                  </a:cubicBezTo>
                  <a:cubicBezTo>
                    <a:pt x="16111" y="19150"/>
                    <a:pt x="15975" y="19150"/>
                    <a:pt x="15975" y="19150"/>
                  </a:cubicBezTo>
                  <a:cubicBezTo>
                    <a:pt x="15975" y="19150"/>
                    <a:pt x="15975" y="19187"/>
                    <a:pt x="15906" y="19225"/>
                  </a:cubicBezTo>
                  <a:cubicBezTo>
                    <a:pt x="15906" y="19225"/>
                    <a:pt x="15702" y="19225"/>
                    <a:pt x="15634" y="19187"/>
                  </a:cubicBezTo>
                  <a:cubicBezTo>
                    <a:pt x="15566" y="19150"/>
                    <a:pt x="15430" y="19113"/>
                    <a:pt x="15498" y="19113"/>
                  </a:cubicBezTo>
                  <a:cubicBezTo>
                    <a:pt x="15498" y="19150"/>
                    <a:pt x="15430" y="19225"/>
                    <a:pt x="15430" y="19225"/>
                  </a:cubicBezTo>
                  <a:cubicBezTo>
                    <a:pt x="15430" y="19262"/>
                    <a:pt x="15293" y="19374"/>
                    <a:pt x="15225" y="19374"/>
                  </a:cubicBezTo>
                  <a:cubicBezTo>
                    <a:pt x="15157" y="19374"/>
                    <a:pt x="15021" y="19337"/>
                    <a:pt x="14953" y="19299"/>
                  </a:cubicBezTo>
                  <a:cubicBezTo>
                    <a:pt x="14884" y="19299"/>
                    <a:pt x="14816" y="19299"/>
                    <a:pt x="14816" y="19299"/>
                  </a:cubicBezTo>
                  <a:cubicBezTo>
                    <a:pt x="14816" y="19337"/>
                    <a:pt x="14816" y="19449"/>
                    <a:pt x="14816" y="19486"/>
                  </a:cubicBezTo>
                  <a:cubicBezTo>
                    <a:pt x="14816" y="19486"/>
                    <a:pt x="14816" y="19524"/>
                    <a:pt x="14816" y="19561"/>
                  </a:cubicBezTo>
                  <a:cubicBezTo>
                    <a:pt x="14748" y="19561"/>
                    <a:pt x="14612" y="19598"/>
                    <a:pt x="14612" y="19598"/>
                  </a:cubicBezTo>
                  <a:cubicBezTo>
                    <a:pt x="14612" y="19598"/>
                    <a:pt x="14680" y="19673"/>
                    <a:pt x="14612" y="19673"/>
                  </a:cubicBezTo>
                  <a:cubicBezTo>
                    <a:pt x="14544" y="19710"/>
                    <a:pt x="14476" y="19748"/>
                    <a:pt x="14407" y="19748"/>
                  </a:cubicBezTo>
                  <a:cubicBezTo>
                    <a:pt x="14407" y="19710"/>
                    <a:pt x="14271" y="19673"/>
                    <a:pt x="14271" y="19673"/>
                  </a:cubicBezTo>
                  <a:cubicBezTo>
                    <a:pt x="14203" y="19710"/>
                    <a:pt x="14135" y="19785"/>
                    <a:pt x="14135" y="19785"/>
                  </a:cubicBezTo>
                  <a:cubicBezTo>
                    <a:pt x="14135" y="19823"/>
                    <a:pt x="14067" y="19860"/>
                    <a:pt x="14067" y="19860"/>
                  </a:cubicBezTo>
                  <a:cubicBezTo>
                    <a:pt x="14067" y="19860"/>
                    <a:pt x="13590" y="20159"/>
                    <a:pt x="13590" y="20159"/>
                  </a:cubicBezTo>
                  <a:cubicBezTo>
                    <a:pt x="13522" y="20159"/>
                    <a:pt x="13385" y="20047"/>
                    <a:pt x="13385" y="20047"/>
                  </a:cubicBezTo>
                  <a:cubicBezTo>
                    <a:pt x="13385" y="20084"/>
                    <a:pt x="13385" y="20159"/>
                    <a:pt x="13385" y="20159"/>
                  </a:cubicBezTo>
                  <a:cubicBezTo>
                    <a:pt x="13317" y="20196"/>
                    <a:pt x="13181" y="20234"/>
                    <a:pt x="13181" y="20234"/>
                  </a:cubicBezTo>
                  <a:cubicBezTo>
                    <a:pt x="13181" y="20271"/>
                    <a:pt x="13113" y="20234"/>
                    <a:pt x="13045" y="20234"/>
                  </a:cubicBezTo>
                  <a:cubicBezTo>
                    <a:pt x="13045" y="20271"/>
                    <a:pt x="12977" y="20271"/>
                    <a:pt x="12977" y="20308"/>
                  </a:cubicBezTo>
                  <a:cubicBezTo>
                    <a:pt x="12977" y="20346"/>
                    <a:pt x="12908" y="20383"/>
                    <a:pt x="12908" y="20383"/>
                  </a:cubicBezTo>
                  <a:cubicBezTo>
                    <a:pt x="12908" y="20383"/>
                    <a:pt x="12772" y="20421"/>
                    <a:pt x="12772" y="20458"/>
                  </a:cubicBezTo>
                  <a:cubicBezTo>
                    <a:pt x="12704" y="20495"/>
                    <a:pt x="12568" y="20533"/>
                    <a:pt x="12568" y="20533"/>
                  </a:cubicBezTo>
                  <a:cubicBezTo>
                    <a:pt x="12568" y="20533"/>
                    <a:pt x="12500" y="20570"/>
                    <a:pt x="12431" y="20533"/>
                  </a:cubicBezTo>
                  <a:cubicBezTo>
                    <a:pt x="12363" y="20533"/>
                    <a:pt x="12227" y="20421"/>
                    <a:pt x="12227" y="20421"/>
                  </a:cubicBezTo>
                  <a:cubicBezTo>
                    <a:pt x="12227" y="20421"/>
                    <a:pt x="12091" y="20421"/>
                    <a:pt x="12091" y="20458"/>
                  </a:cubicBezTo>
                  <a:cubicBezTo>
                    <a:pt x="12023" y="20495"/>
                    <a:pt x="12023" y="20533"/>
                    <a:pt x="11954" y="20533"/>
                  </a:cubicBezTo>
                  <a:cubicBezTo>
                    <a:pt x="11886" y="20570"/>
                    <a:pt x="11818" y="20570"/>
                    <a:pt x="11750" y="20570"/>
                  </a:cubicBezTo>
                  <a:cubicBezTo>
                    <a:pt x="11682" y="20607"/>
                    <a:pt x="11546" y="20607"/>
                    <a:pt x="11546" y="20645"/>
                  </a:cubicBezTo>
                  <a:cubicBezTo>
                    <a:pt x="11477" y="20645"/>
                    <a:pt x="11409" y="20719"/>
                    <a:pt x="11409" y="20757"/>
                  </a:cubicBezTo>
                  <a:cubicBezTo>
                    <a:pt x="11409" y="20794"/>
                    <a:pt x="11546" y="20794"/>
                    <a:pt x="11409" y="20794"/>
                  </a:cubicBezTo>
                  <a:cubicBezTo>
                    <a:pt x="11273" y="20832"/>
                    <a:pt x="11069" y="20832"/>
                    <a:pt x="11069" y="20832"/>
                  </a:cubicBezTo>
                  <a:cubicBezTo>
                    <a:pt x="11069" y="20832"/>
                    <a:pt x="10932" y="20869"/>
                    <a:pt x="10932" y="20906"/>
                  </a:cubicBezTo>
                  <a:cubicBezTo>
                    <a:pt x="10864" y="20944"/>
                    <a:pt x="10932" y="20944"/>
                    <a:pt x="10796" y="20981"/>
                  </a:cubicBezTo>
                  <a:cubicBezTo>
                    <a:pt x="10728" y="20981"/>
                    <a:pt x="10660" y="21018"/>
                    <a:pt x="10660" y="21018"/>
                  </a:cubicBezTo>
                  <a:cubicBezTo>
                    <a:pt x="10524" y="20944"/>
                    <a:pt x="10524" y="20944"/>
                    <a:pt x="10524" y="20944"/>
                  </a:cubicBezTo>
                  <a:cubicBezTo>
                    <a:pt x="10592" y="20869"/>
                    <a:pt x="10592" y="20869"/>
                    <a:pt x="10592" y="20869"/>
                  </a:cubicBezTo>
                  <a:cubicBezTo>
                    <a:pt x="10592" y="20869"/>
                    <a:pt x="10524" y="20794"/>
                    <a:pt x="10524" y="20832"/>
                  </a:cubicBezTo>
                  <a:cubicBezTo>
                    <a:pt x="10455" y="20906"/>
                    <a:pt x="10524" y="20944"/>
                    <a:pt x="10524" y="20944"/>
                  </a:cubicBezTo>
                  <a:cubicBezTo>
                    <a:pt x="10524" y="20944"/>
                    <a:pt x="10455" y="20944"/>
                    <a:pt x="10455" y="20981"/>
                  </a:cubicBezTo>
                  <a:cubicBezTo>
                    <a:pt x="10387" y="21018"/>
                    <a:pt x="10455" y="21018"/>
                    <a:pt x="10387" y="21056"/>
                  </a:cubicBezTo>
                  <a:cubicBezTo>
                    <a:pt x="10387" y="21093"/>
                    <a:pt x="10319" y="21131"/>
                    <a:pt x="10251" y="21131"/>
                  </a:cubicBezTo>
                  <a:cubicBezTo>
                    <a:pt x="10251" y="21168"/>
                    <a:pt x="10183" y="21168"/>
                    <a:pt x="10115" y="21168"/>
                  </a:cubicBezTo>
                  <a:cubicBezTo>
                    <a:pt x="10115" y="21168"/>
                    <a:pt x="9978" y="21168"/>
                    <a:pt x="9978" y="21168"/>
                  </a:cubicBezTo>
                  <a:cubicBezTo>
                    <a:pt x="9910" y="21168"/>
                    <a:pt x="9842" y="21131"/>
                    <a:pt x="9910" y="21131"/>
                  </a:cubicBezTo>
                  <a:cubicBezTo>
                    <a:pt x="9910" y="21131"/>
                    <a:pt x="10047" y="21093"/>
                    <a:pt x="10047" y="21093"/>
                  </a:cubicBezTo>
                  <a:cubicBezTo>
                    <a:pt x="10047" y="21093"/>
                    <a:pt x="10115" y="21056"/>
                    <a:pt x="10047" y="21056"/>
                  </a:cubicBezTo>
                  <a:cubicBezTo>
                    <a:pt x="9978" y="21018"/>
                    <a:pt x="9910" y="20981"/>
                    <a:pt x="9910" y="20981"/>
                  </a:cubicBezTo>
                  <a:cubicBezTo>
                    <a:pt x="9910" y="20981"/>
                    <a:pt x="9978" y="21018"/>
                    <a:pt x="9774" y="21018"/>
                  </a:cubicBezTo>
                  <a:cubicBezTo>
                    <a:pt x="9638" y="21056"/>
                    <a:pt x="9570" y="21056"/>
                    <a:pt x="9570" y="21018"/>
                  </a:cubicBezTo>
                  <a:cubicBezTo>
                    <a:pt x="9570" y="21018"/>
                    <a:pt x="9433" y="21018"/>
                    <a:pt x="9501" y="20981"/>
                  </a:cubicBezTo>
                  <a:cubicBezTo>
                    <a:pt x="9638" y="20944"/>
                    <a:pt x="9638" y="20906"/>
                    <a:pt x="9706" y="20906"/>
                  </a:cubicBezTo>
                  <a:cubicBezTo>
                    <a:pt x="9774" y="20906"/>
                    <a:pt x="9774" y="20832"/>
                    <a:pt x="9774" y="20794"/>
                  </a:cubicBezTo>
                  <a:cubicBezTo>
                    <a:pt x="9774" y="20794"/>
                    <a:pt x="9910" y="20869"/>
                    <a:pt x="9706" y="20794"/>
                  </a:cubicBezTo>
                  <a:cubicBezTo>
                    <a:pt x="9570" y="20682"/>
                    <a:pt x="9570" y="20682"/>
                    <a:pt x="9570" y="20682"/>
                  </a:cubicBezTo>
                  <a:cubicBezTo>
                    <a:pt x="9570" y="20682"/>
                    <a:pt x="9501" y="20719"/>
                    <a:pt x="9501" y="20757"/>
                  </a:cubicBezTo>
                  <a:cubicBezTo>
                    <a:pt x="9570" y="20794"/>
                    <a:pt x="9706" y="20832"/>
                    <a:pt x="9501" y="20869"/>
                  </a:cubicBezTo>
                  <a:cubicBezTo>
                    <a:pt x="9297" y="20869"/>
                    <a:pt x="9297" y="20869"/>
                    <a:pt x="9297" y="20869"/>
                  </a:cubicBezTo>
                  <a:cubicBezTo>
                    <a:pt x="9229" y="20906"/>
                    <a:pt x="9024" y="20906"/>
                    <a:pt x="9024" y="20906"/>
                  </a:cubicBezTo>
                  <a:cubicBezTo>
                    <a:pt x="9024" y="20906"/>
                    <a:pt x="8888" y="20906"/>
                    <a:pt x="8956" y="20944"/>
                  </a:cubicBezTo>
                  <a:cubicBezTo>
                    <a:pt x="8956" y="20981"/>
                    <a:pt x="9093" y="21018"/>
                    <a:pt x="9093" y="21018"/>
                  </a:cubicBezTo>
                  <a:cubicBezTo>
                    <a:pt x="9093" y="21018"/>
                    <a:pt x="9093" y="21056"/>
                    <a:pt x="8956" y="21056"/>
                  </a:cubicBezTo>
                  <a:cubicBezTo>
                    <a:pt x="8888" y="21093"/>
                    <a:pt x="8752" y="21093"/>
                    <a:pt x="8752" y="21093"/>
                  </a:cubicBezTo>
                  <a:cubicBezTo>
                    <a:pt x="8684" y="21131"/>
                    <a:pt x="8684" y="21131"/>
                    <a:pt x="8684" y="21131"/>
                  </a:cubicBezTo>
                  <a:cubicBezTo>
                    <a:pt x="8684" y="21131"/>
                    <a:pt x="8616" y="21131"/>
                    <a:pt x="8616" y="21093"/>
                  </a:cubicBezTo>
                  <a:cubicBezTo>
                    <a:pt x="8616" y="21093"/>
                    <a:pt x="8684" y="21056"/>
                    <a:pt x="8684" y="21018"/>
                  </a:cubicBezTo>
                  <a:cubicBezTo>
                    <a:pt x="8684" y="20981"/>
                    <a:pt x="8752" y="21018"/>
                    <a:pt x="8684" y="20981"/>
                  </a:cubicBezTo>
                  <a:cubicBezTo>
                    <a:pt x="8616" y="20906"/>
                    <a:pt x="8547" y="20906"/>
                    <a:pt x="8547" y="20869"/>
                  </a:cubicBezTo>
                  <a:cubicBezTo>
                    <a:pt x="8616" y="20832"/>
                    <a:pt x="8752" y="20794"/>
                    <a:pt x="8752" y="20794"/>
                  </a:cubicBezTo>
                  <a:cubicBezTo>
                    <a:pt x="8752" y="20757"/>
                    <a:pt x="8752" y="20719"/>
                    <a:pt x="8752" y="20719"/>
                  </a:cubicBezTo>
                  <a:cubicBezTo>
                    <a:pt x="8752" y="20719"/>
                    <a:pt x="8684" y="20719"/>
                    <a:pt x="8752" y="20682"/>
                  </a:cubicBezTo>
                  <a:cubicBezTo>
                    <a:pt x="8820" y="20607"/>
                    <a:pt x="8888" y="20570"/>
                    <a:pt x="8888" y="20570"/>
                  </a:cubicBezTo>
                  <a:cubicBezTo>
                    <a:pt x="8888" y="20533"/>
                    <a:pt x="8820" y="20495"/>
                    <a:pt x="8752" y="20495"/>
                  </a:cubicBezTo>
                  <a:cubicBezTo>
                    <a:pt x="8752" y="20495"/>
                    <a:pt x="8684" y="20570"/>
                    <a:pt x="8684" y="20607"/>
                  </a:cubicBezTo>
                  <a:cubicBezTo>
                    <a:pt x="8684" y="20607"/>
                    <a:pt x="8752" y="20682"/>
                    <a:pt x="8547" y="20645"/>
                  </a:cubicBezTo>
                  <a:cubicBezTo>
                    <a:pt x="8343" y="20645"/>
                    <a:pt x="8207" y="20645"/>
                    <a:pt x="8139" y="20607"/>
                  </a:cubicBezTo>
                  <a:cubicBezTo>
                    <a:pt x="8139" y="20570"/>
                    <a:pt x="8002" y="20533"/>
                    <a:pt x="8207" y="20533"/>
                  </a:cubicBezTo>
                  <a:cubicBezTo>
                    <a:pt x="8411" y="20495"/>
                    <a:pt x="8411" y="20495"/>
                    <a:pt x="8411" y="20495"/>
                  </a:cubicBezTo>
                  <a:cubicBezTo>
                    <a:pt x="8479" y="20458"/>
                    <a:pt x="8479" y="20421"/>
                    <a:pt x="8479" y="20383"/>
                  </a:cubicBezTo>
                  <a:cubicBezTo>
                    <a:pt x="8411" y="20383"/>
                    <a:pt x="8343" y="20308"/>
                    <a:pt x="8343" y="20346"/>
                  </a:cubicBezTo>
                  <a:cubicBezTo>
                    <a:pt x="8275" y="20421"/>
                    <a:pt x="8275" y="20458"/>
                    <a:pt x="8275" y="20458"/>
                  </a:cubicBezTo>
                  <a:cubicBezTo>
                    <a:pt x="8275" y="20458"/>
                    <a:pt x="8002" y="20458"/>
                    <a:pt x="8002" y="20458"/>
                  </a:cubicBezTo>
                  <a:cubicBezTo>
                    <a:pt x="8002" y="20458"/>
                    <a:pt x="7934" y="20421"/>
                    <a:pt x="7934" y="20383"/>
                  </a:cubicBezTo>
                  <a:cubicBezTo>
                    <a:pt x="7934" y="20383"/>
                    <a:pt x="8002" y="20234"/>
                    <a:pt x="8002" y="20234"/>
                  </a:cubicBezTo>
                  <a:cubicBezTo>
                    <a:pt x="8002" y="20234"/>
                    <a:pt x="8139" y="20196"/>
                    <a:pt x="8071" y="20196"/>
                  </a:cubicBezTo>
                  <a:cubicBezTo>
                    <a:pt x="8071" y="20196"/>
                    <a:pt x="7934" y="20159"/>
                    <a:pt x="7934" y="20196"/>
                  </a:cubicBezTo>
                  <a:cubicBezTo>
                    <a:pt x="7866" y="20196"/>
                    <a:pt x="7934" y="20234"/>
                    <a:pt x="7934" y="20271"/>
                  </a:cubicBezTo>
                  <a:cubicBezTo>
                    <a:pt x="7934" y="20308"/>
                    <a:pt x="7934" y="20346"/>
                    <a:pt x="7866" y="20346"/>
                  </a:cubicBezTo>
                  <a:cubicBezTo>
                    <a:pt x="7798" y="20383"/>
                    <a:pt x="7525" y="20383"/>
                    <a:pt x="7525" y="20383"/>
                  </a:cubicBezTo>
                  <a:cubicBezTo>
                    <a:pt x="7525" y="20346"/>
                    <a:pt x="7457" y="20346"/>
                    <a:pt x="7525" y="20308"/>
                  </a:cubicBezTo>
                  <a:cubicBezTo>
                    <a:pt x="7525" y="20271"/>
                    <a:pt x="7525" y="20234"/>
                    <a:pt x="7525" y="20234"/>
                  </a:cubicBezTo>
                  <a:cubicBezTo>
                    <a:pt x="7525" y="20234"/>
                    <a:pt x="7457" y="20159"/>
                    <a:pt x="7457" y="20196"/>
                  </a:cubicBezTo>
                  <a:cubicBezTo>
                    <a:pt x="7389" y="20196"/>
                    <a:pt x="7321" y="20196"/>
                    <a:pt x="7321" y="20196"/>
                  </a:cubicBezTo>
                  <a:cubicBezTo>
                    <a:pt x="7321" y="20122"/>
                    <a:pt x="7321" y="20122"/>
                    <a:pt x="7321" y="20122"/>
                  </a:cubicBezTo>
                  <a:cubicBezTo>
                    <a:pt x="7185" y="20122"/>
                    <a:pt x="7185" y="20122"/>
                    <a:pt x="7185" y="20122"/>
                  </a:cubicBezTo>
                  <a:cubicBezTo>
                    <a:pt x="7117" y="20122"/>
                    <a:pt x="7117" y="20122"/>
                    <a:pt x="7117" y="20122"/>
                  </a:cubicBezTo>
                  <a:cubicBezTo>
                    <a:pt x="7117" y="20122"/>
                    <a:pt x="7048" y="20084"/>
                    <a:pt x="7048" y="20084"/>
                  </a:cubicBezTo>
                  <a:cubicBezTo>
                    <a:pt x="6980" y="20084"/>
                    <a:pt x="6980" y="20084"/>
                    <a:pt x="6980" y="20122"/>
                  </a:cubicBezTo>
                  <a:cubicBezTo>
                    <a:pt x="6912" y="20122"/>
                    <a:pt x="6708" y="20159"/>
                    <a:pt x="6708" y="20159"/>
                  </a:cubicBezTo>
                  <a:cubicBezTo>
                    <a:pt x="6708" y="20159"/>
                    <a:pt x="6708" y="20084"/>
                    <a:pt x="6640" y="20159"/>
                  </a:cubicBezTo>
                  <a:cubicBezTo>
                    <a:pt x="6640" y="20196"/>
                    <a:pt x="6299" y="20196"/>
                    <a:pt x="6299" y="20196"/>
                  </a:cubicBezTo>
                  <a:cubicBezTo>
                    <a:pt x="6299" y="20196"/>
                    <a:pt x="6231" y="20122"/>
                    <a:pt x="6231" y="20084"/>
                  </a:cubicBezTo>
                  <a:cubicBezTo>
                    <a:pt x="6231" y="20084"/>
                    <a:pt x="6299" y="19972"/>
                    <a:pt x="6299" y="19972"/>
                  </a:cubicBezTo>
                  <a:cubicBezTo>
                    <a:pt x="6367" y="19935"/>
                    <a:pt x="6367" y="19935"/>
                    <a:pt x="6367" y="19935"/>
                  </a:cubicBezTo>
                  <a:cubicBezTo>
                    <a:pt x="6299" y="19897"/>
                    <a:pt x="6299" y="19897"/>
                    <a:pt x="6299" y="19897"/>
                  </a:cubicBezTo>
                  <a:cubicBezTo>
                    <a:pt x="6299" y="19897"/>
                    <a:pt x="6094" y="19897"/>
                    <a:pt x="6163" y="19897"/>
                  </a:cubicBezTo>
                  <a:cubicBezTo>
                    <a:pt x="6163" y="19860"/>
                    <a:pt x="6299" y="19785"/>
                    <a:pt x="6299" y="19785"/>
                  </a:cubicBezTo>
                  <a:cubicBezTo>
                    <a:pt x="6299" y="19785"/>
                    <a:pt x="6367" y="19748"/>
                    <a:pt x="6367" y="19748"/>
                  </a:cubicBezTo>
                  <a:cubicBezTo>
                    <a:pt x="6435" y="19710"/>
                    <a:pt x="6571" y="19710"/>
                    <a:pt x="6503" y="19673"/>
                  </a:cubicBezTo>
                  <a:cubicBezTo>
                    <a:pt x="6435" y="19673"/>
                    <a:pt x="6367" y="19636"/>
                    <a:pt x="6367" y="19636"/>
                  </a:cubicBezTo>
                  <a:cubicBezTo>
                    <a:pt x="6367" y="19636"/>
                    <a:pt x="6299" y="19636"/>
                    <a:pt x="6299" y="19598"/>
                  </a:cubicBezTo>
                  <a:cubicBezTo>
                    <a:pt x="6299" y="19598"/>
                    <a:pt x="6367" y="19524"/>
                    <a:pt x="6367" y="19486"/>
                  </a:cubicBezTo>
                  <a:cubicBezTo>
                    <a:pt x="6367" y="19449"/>
                    <a:pt x="6299" y="19412"/>
                    <a:pt x="6299" y="19412"/>
                  </a:cubicBezTo>
                  <a:cubicBezTo>
                    <a:pt x="6231" y="19412"/>
                    <a:pt x="6299" y="19449"/>
                    <a:pt x="6163" y="19449"/>
                  </a:cubicBezTo>
                  <a:cubicBezTo>
                    <a:pt x="6094" y="19486"/>
                    <a:pt x="5890" y="19561"/>
                    <a:pt x="5890" y="19561"/>
                  </a:cubicBezTo>
                  <a:cubicBezTo>
                    <a:pt x="5890" y="19524"/>
                    <a:pt x="5890" y="19486"/>
                    <a:pt x="5890" y="19449"/>
                  </a:cubicBezTo>
                  <a:cubicBezTo>
                    <a:pt x="5958" y="19412"/>
                    <a:pt x="6163" y="19412"/>
                    <a:pt x="6231" y="19374"/>
                  </a:cubicBezTo>
                  <a:cubicBezTo>
                    <a:pt x="6231" y="19337"/>
                    <a:pt x="6094" y="19225"/>
                    <a:pt x="6094" y="19225"/>
                  </a:cubicBezTo>
                  <a:cubicBezTo>
                    <a:pt x="6094" y="19225"/>
                    <a:pt x="6231" y="19262"/>
                    <a:pt x="6163" y="19187"/>
                  </a:cubicBezTo>
                  <a:cubicBezTo>
                    <a:pt x="6026" y="19150"/>
                    <a:pt x="6026" y="19150"/>
                    <a:pt x="6026" y="19150"/>
                  </a:cubicBezTo>
                  <a:cubicBezTo>
                    <a:pt x="6026" y="19113"/>
                    <a:pt x="6026" y="19075"/>
                    <a:pt x="6094" y="19038"/>
                  </a:cubicBezTo>
                  <a:cubicBezTo>
                    <a:pt x="6163" y="18963"/>
                    <a:pt x="6231" y="18963"/>
                    <a:pt x="6231" y="18926"/>
                  </a:cubicBezTo>
                  <a:cubicBezTo>
                    <a:pt x="6231" y="18926"/>
                    <a:pt x="6026" y="18888"/>
                    <a:pt x="6026" y="18851"/>
                  </a:cubicBezTo>
                  <a:cubicBezTo>
                    <a:pt x="6026" y="18814"/>
                    <a:pt x="5890" y="18814"/>
                    <a:pt x="6026" y="18739"/>
                  </a:cubicBezTo>
                  <a:cubicBezTo>
                    <a:pt x="6094" y="18701"/>
                    <a:pt x="6163" y="18701"/>
                    <a:pt x="6163" y="18701"/>
                  </a:cubicBezTo>
                  <a:cubicBezTo>
                    <a:pt x="6163" y="18701"/>
                    <a:pt x="6163" y="18589"/>
                    <a:pt x="6163" y="18552"/>
                  </a:cubicBezTo>
                  <a:cubicBezTo>
                    <a:pt x="6163" y="18515"/>
                    <a:pt x="6231" y="18515"/>
                    <a:pt x="6231" y="18477"/>
                  </a:cubicBezTo>
                  <a:cubicBezTo>
                    <a:pt x="6163" y="18440"/>
                    <a:pt x="6094" y="18440"/>
                    <a:pt x="6026" y="18365"/>
                  </a:cubicBezTo>
                  <a:cubicBezTo>
                    <a:pt x="6026" y="18328"/>
                    <a:pt x="6026" y="18328"/>
                    <a:pt x="6026" y="18290"/>
                  </a:cubicBezTo>
                  <a:cubicBezTo>
                    <a:pt x="6094" y="18290"/>
                    <a:pt x="6163" y="18253"/>
                    <a:pt x="6094" y="18253"/>
                  </a:cubicBezTo>
                  <a:cubicBezTo>
                    <a:pt x="6094" y="18216"/>
                    <a:pt x="6094" y="18178"/>
                    <a:pt x="6094" y="18178"/>
                  </a:cubicBezTo>
                  <a:cubicBezTo>
                    <a:pt x="6094" y="18178"/>
                    <a:pt x="6094" y="18178"/>
                    <a:pt x="6026" y="18104"/>
                  </a:cubicBezTo>
                  <a:cubicBezTo>
                    <a:pt x="5958" y="18066"/>
                    <a:pt x="5958" y="17991"/>
                    <a:pt x="5958" y="17954"/>
                  </a:cubicBezTo>
                  <a:cubicBezTo>
                    <a:pt x="5958" y="17917"/>
                    <a:pt x="6026" y="17767"/>
                    <a:pt x="6026" y="17767"/>
                  </a:cubicBezTo>
                  <a:cubicBezTo>
                    <a:pt x="6026" y="17767"/>
                    <a:pt x="6026" y="17655"/>
                    <a:pt x="5890" y="17618"/>
                  </a:cubicBezTo>
                  <a:cubicBezTo>
                    <a:pt x="5822" y="17543"/>
                    <a:pt x="5686" y="17506"/>
                    <a:pt x="5686" y="17506"/>
                  </a:cubicBezTo>
                  <a:cubicBezTo>
                    <a:pt x="5686" y="17506"/>
                    <a:pt x="5686" y="17431"/>
                    <a:pt x="5686" y="17394"/>
                  </a:cubicBezTo>
                  <a:cubicBezTo>
                    <a:pt x="5686" y="17394"/>
                    <a:pt x="5549" y="17356"/>
                    <a:pt x="5549" y="17319"/>
                  </a:cubicBezTo>
                  <a:cubicBezTo>
                    <a:pt x="5549" y="17281"/>
                    <a:pt x="5481" y="17207"/>
                    <a:pt x="5481" y="17207"/>
                  </a:cubicBezTo>
                  <a:cubicBezTo>
                    <a:pt x="5481" y="17207"/>
                    <a:pt x="5413" y="17207"/>
                    <a:pt x="5481" y="17132"/>
                  </a:cubicBezTo>
                  <a:cubicBezTo>
                    <a:pt x="5481" y="17020"/>
                    <a:pt x="5481" y="16982"/>
                    <a:pt x="5481" y="16945"/>
                  </a:cubicBezTo>
                  <a:cubicBezTo>
                    <a:pt x="5413" y="16908"/>
                    <a:pt x="5345" y="16833"/>
                    <a:pt x="5345" y="16796"/>
                  </a:cubicBezTo>
                  <a:cubicBezTo>
                    <a:pt x="5345" y="16758"/>
                    <a:pt x="5345" y="16683"/>
                    <a:pt x="5345" y="16683"/>
                  </a:cubicBezTo>
                  <a:cubicBezTo>
                    <a:pt x="5345" y="16683"/>
                    <a:pt x="5345" y="16646"/>
                    <a:pt x="5277" y="16609"/>
                  </a:cubicBezTo>
                  <a:cubicBezTo>
                    <a:pt x="5209" y="16571"/>
                    <a:pt x="5004" y="16385"/>
                    <a:pt x="5004" y="16385"/>
                  </a:cubicBezTo>
                  <a:cubicBezTo>
                    <a:pt x="5004" y="16385"/>
                    <a:pt x="4936" y="16385"/>
                    <a:pt x="4936" y="16310"/>
                  </a:cubicBezTo>
                  <a:cubicBezTo>
                    <a:pt x="4868" y="16235"/>
                    <a:pt x="4868" y="16160"/>
                    <a:pt x="4868" y="16160"/>
                  </a:cubicBezTo>
                  <a:cubicBezTo>
                    <a:pt x="4868" y="16160"/>
                    <a:pt x="4868" y="16048"/>
                    <a:pt x="4868" y="16048"/>
                  </a:cubicBezTo>
                  <a:cubicBezTo>
                    <a:pt x="4664" y="15936"/>
                    <a:pt x="4664" y="15936"/>
                    <a:pt x="4664" y="15936"/>
                  </a:cubicBezTo>
                  <a:cubicBezTo>
                    <a:pt x="4732" y="15787"/>
                    <a:pt x="4732" y="15787"/>
                    <a:pt x="4732" y="15787"/>
                  </a:cubicBezTo>
                  <a:cubicBezTo>
                    <a:pt x="4732" y="15637"/>
                    <a:pt x="4732" y="15637"/>
                    <a:pt x="4732" y="15637"/>
                  </a:cubicBezTo>
                  <a:cubicBezTo>
                    <a:pt x="4732" y="15637"/>
                    <a:pt x="4732" y="15450"/>
                    <a:pt x="4800" y="15450"/>
                  </a:cubicBezTo>
                  <a:cubicBezTo>
                    <a:pt x="4868" y="15450"/>
                    <a:pt x="5004" y="15338"/>
                    <a:pt x="5004" y="15338"/>
                  </a:cubicBezTo>
                  <a:cubicBezTo>
                    <a:pt x="5004" y="15338"/>
                    <a:pt x="5141" y="15226"/>
                    <a:pt x="5072" y="15189"/>
                  </a:cubicBezTo>
                  <a:cubicBezTo>
                    <a:pt x="5072" y="15151"/>
                    <a:pt x="5004" y="15002"/>
                    <a:pt x="5004" y="15002"/>
                  </a:cubicBezTo>
                  <a:cubicBezTo>
                    <a:pt x="5004" y="15002"/>
                    <a:pt x="5141" y="14890"/>
                    <a:pt x="5072" y="14890"/>
                  </a:cubicBezTo>
                  <a:cubicBezTo>
                    <a:pt x="5072" y="14852"/>
                    <a:pt x="4936" y="14703"/>
                    <a:pt x="4936" y="14703"/>
                  </a:cubicBezTo>
                  <a:cubicBezTo>
                    <a:pt x="4732" y="14815"/>
                    <a:pt x="4732" y="14815"/>
                    <a:pt x="4732" y="14815"/>
                  </a:cubicBezTo>
                  <a:cubicBezTo>
                    <a:pt x="4595" y="14778"/>
                    <a:pt x="4595" y="14778"/>
                    <a:pt x="4595" y="14778"/>
                  </a:cubicBezTo>
                  <a:cubicBezTo>
                    <a:pt x="4664" y="14628"/>
                    <a:pt x="4664" y="14628"/>
                    <a:pt x="4664" y="14628"/>
                  </a:cubicBezTo>
                  <a:cubicBezTo>
                    <a:pt x="4664" y="14628"/>
                    <a:pt x="4527" y="14553"/>
                    <a:pt x="4527" y="14516"/>
                  </a:cubicBezTo>
                  <a:cubicBezTo>
                    <a:pt x="4527" y="14479"/>
                    <a:pt x="4664" y="14404"/>
                    <a:pt x="4664" y="14404"/>
                  </a:cubicBezTo>
                  <a:cubicBezTo>
                    <a:pt x="4664" y="14404"/>
                    <a:pt x="4800" y="14553"/>
                    <a:pt x="4800" y="14591"/>
                  </a:cubicBezTo>
                  <a:cubicBezTo>
                    <a:pt x="4800" y="14628"/>
                    <a:pt x="4936" y="14666"/>
                    <a:pt x="4936" y="14666"/>
                  </a:cubicBezTo>
                  <a:cubicBezTo>
                    <a:pt x="5004" y="14628"/>
                    <a:pt x="5004" y="14553"/>
                    <a:pt x="5072" y="14553"/>
                  </a:cubicBezTo>
                  <a:cubicBezTo>
                    <a:pt x="5141" y="14553"/>
                    <a:pt x="5209" y="14591"/>
                    <a:pt x="5209" y="14628"/>
                  </a:cubicBezTo>
                  <a:cubicBezTo>
                    <a:pt x="5209" y="14628"/>
                    <a:pt x="5481" y="14591"/>
                    <a:pt x="5481" y="14591"/>
                  </a:cubicBezTo>
                  <a:cubicBezTo>
                    <a:pt x="5481" y="14591"/>
                    <a:pt x="5413" y="14553"/>
                    <a:pt x="5618" y="14553"/>
                  </a:cubicBezTo>
                  <a:cubicBezTo>
                    <a:pt x="5822" y="14591"/>
                    <a:pt x="5822" y="14553"/>
                    <a:pt x="5822" y="14479"/>
                  </a:cubicBezTo>
                  <a:cubicBezTo>
                    <a:pt x="5822" y="14441"/>
                    <a:pt x="5618" y="14292"/>
                    <a:pt x="5754" y="14292"/>
                  </a:cubicBezTo>
                  <a:cubicBezTo>
                    <a:pt x="5958" y="14292"/>
                    <a:pt x="6026" y="14329"/>
                    <a:pt x="6026" y="14329"/>
                  </a:cubicBezTo>
                  <a:cubicBezTo>
                    <a:pt x="6026" y="14329"/>
                    <a:pt x="6026" y="14367"/>
                    <a:pt x="6026" y="14404"/>
                  </a:cubicBezTo>
                  <a:cubicBezTo>
                    <a:pt x="6026" y="14479"/>
                    <a:pt x="6231" y="14553"/>
                    <a:pt x="6231" y="14479"/>
                  </a:cubicBezTo>
                  <a:cubicBezTo>
                    <a:pt x="6299" y="14404"/>
                    <a:pt x="6299" y="14441"/>
                    <a:pt x="6299" y="14367"/>
                  </a:cubicBezTo>
                  <a:cubicBezTo>
                    <a:pt x="6299" y="14292"/>
                    <a:pt x="6163" y="14292"/>
                    <a:pt x="6094" y="14217"/>
                  </a:cubicBezTo>
                  <a:cubicBezTo>
                    <a:pt x="6094" y="14180"/>
                    <a:pt x="6026" y="14254"/>
                    <a:pt x="6026" y="14142"/>
                  </a:cubicBezTo>
                  <a:cubicBezTo>
                    <a:pt x="6094" y="14030"/>
                    <a:pt x="6094" y="13993"/>
                    <a:pt x="6163" y="13993"/>
                  </a:cubicBezTo>
                  <a:cubicBezTo>
                    <a:pt x="6299" y="13955"/>
                    <a:pt x="6163" y="13993"/>
                    <a:pt x="6299" y="13955"/>
                  </a:cubicBezTo>
                  <a:cubicBezTo>
                    <a:pt x="6435" y="13955"/>
                    <a:pt x="6503" y="13881"/>
                    <a:pt x="6435" y="13769"/>
                  </a:cubicBezTo>
                  <a:cubicBezTo>
                    <a:pt x="6435" y="13694"/>
                    <a:pt x="6367" y="13657"/>
                    <a:pt x="6435" y="13619"/>
                  </a:cubicBezTo>
                  <a:cubicBezTo>
                    <a:pt x="6571" y="13582"/>
                    <a:pt x="6503" y="13544"/>
                    <a:pt x="6640" y="13582"/>
                  </a:cubicBezTo>
                  <a:cubicBezTo>
                    <a:pt x="6776" y="13619"/>
                    <a:pt x="6708" y="13619"/>
                    <a:pt x="6844" y="13619"/>
                  </a:cubicBezTo>
                  <a:cubicBezTo>
                    <a:pt x="6912" y="13582"/>
                    <a:pt x="6912" y="13395"/>
                    <a:pt x="6912" y="13395"/>
                  </a:cubicBezTo>
                  <a:cubicBezTo>
                    <a:pt x="6844" y="13432"/>
                    <a:pt x="6708" y="13358"/>
                    <a:pt x="6708" y="13358"/>
                  </a:cubicBezTo>
                  <a:cubicBezTo>
                    <a:pt x="6640" y="13358"/>
                    <a:pt x="6640" y="13283"/>
                    <a:pt x="6708" y="13245"/>
                  </a:cubicBezTo>
                  <a:cubicBezTo>
                    <a:pt x="6708" y="13245"/>
                    <a:pt x="6708" y="13171"/>
                    <a:pt x="6776" y="13171"/>
                  </a:cubicBezTo>
                  <a:cubicBezTo>
                    <a:pt x="6912" y="13171"/>
                    <a:pt x="6912" y="13208"/>
                    <a:pt x="7048" y="13171"/>
                  </a:cubicBezTo>
                  <a:cubicBezTo>
                    <a:pt x="7117" y="13133"/>
                    <a:pt x="7117" y="13133"/>
                    <a:pt x="7185" y="13096"/>
                  </a:cubicBezTo>
                  <a:cubicBezTo>
                    <a:pt x="7253" y="13059"/>
                    <a:pt x="7321" y="13059"/>
                    <a:pt x="7389" y="12984"/>
                  </a:cubicBezTo>
                  <a:cubicBezTo>
                    <a:pt x="7389" y="12946"/>
                    <a:pt x="7457" y="12722"/>
                    <a:pt x="7457" y="12722"/>
                  </a:cubicBezTo>
                  <a:cubicBezTo>
                    <a:pt x="7389" y="12685"/>
                    <a:pt x="7525" y="12722"/>
                    <a:pt x="7662" y="12685"/>
                  </a:cubicBezTo>
                  <a:cubicBezTo>
                    <a:pt x="7730" y="12648"/>
                    <a:pt x="7798" y="12423"/>
                    <a:pt x="7866" y="12386"/>
                  </a:cubicBezTo>
                  <a:cubicBezTo>
                    <a:pt x="7934" y="12311"/>
                    <a:pt x="8139" y="12162"/>
                    <a:pt x="8139" y="12124"/>
                  </a:cubicBezTo>
                  <a:cubicBezTo>
                    <a:pt x="8139" y="12087"/>
                    <a:pt x="8343" y="11825"/>
                    <a:pt x="8343" y="11825"/>
                  </a:cubicBezTo>
                  <a:cubicBezTo>
                    <a:pt x="8616" y="11564"/>
                    <a:pt x="8616" y="11564"/>
                    <a:pt x="8616" y="11564"/>
                  </a:cubicBezTo>
                  <a:cubicBezTo>
                    <a:pt x="8616" y="11564"/>
                    <a:pt x="8616" y="11489"/>
                    <a:pt x="8547" y="11414"/>
                  </a:cubicBezTo>
                  <a:cubicBezTo>
                    <a:pt x="8547" y="11377"/>
                    <a:pt x="8479" y="11227"/>
                    <a:pt x="8547" y="11190"/>
                  </a:cubicBezTo>
                  <a:cubicBezTo>
                    <a:pt x="8616" y="11190"/>
                    <a:pt x="8684" y="11078"/>
                    <a:pt x="8684" y="11078"/>
                  </a:cubicBezTo>
                  <a:cubicBezTo>
                    <a:pt x="8684" y="10928"/>
                    <a:pt x="8684" y="10928"/>
                    <a:pt x="8684" y="10928"/>
                  </a:cubicBezTo>
                  <a:cubicBezTo>
                    <a:pt x="8684" y="10928"/>
                    <a:pt x="9024" y="10816"/>
                    <a:pt x="9024" y="10816"/>
                  </a:cubicBezTo>
                  <a:cubicBezTo>
                    <a:pt x="9433" y="10779"/>
                    <a:pt x="9161" y="10667"/>
                    <a:pt x="9638" y="10779"/>
                  </a:cubicBezTo>
                  <a:cubicBezTo>
                    <a:pt x="9638" y="10779"/>
                    <a:pt x="9910" y="10742"/>
                    <a:pt x="9842" y="10704"/>
                  </a:cubicBezTo>
                  <a:cubicBezTo>
                    <a:pt x="9842" y="10704"/>
                    <a:pt x="9570" y="10555"/>
                    <a:pt x="9570" y="10555"/>
                  </a:cubicBezTo>
                  <a:cubicBezTo>
                    <a:pt x="9706" y="10443"/>
                    <a:pt x="9706" y="10443"/>
                    <a:pt x="9706" y="10443"/>
                  </a:cubicBezTo>
                  <a:cubicBezTo>
                    <a:pt x="9706" y="10443"/>
                    <a:pt x="9910" y="10368"/>
                    <a:pt x="9706" y="10331"/>
                  </a:cubicBezTo>
                  <a:cubicBezTo>
                    <a:pt x="9570" y="10293"/>
                    <a:pt x="9433" y="10256"/>
                    <a:pt x="9433" y="10218"/>
                  </a:cubicBezTo>
                  <a:cubicBezTo>
                    <a:pt x="9433" y="10218"/>
                    <a:pt x="9365" y="10069"/>
                    <a:pt x="9365" y="10032"/>
                  </a:cubicBezTo>
                  <a:cubicBezTo>
                    <a:pt x="9365" y="9994"/>
                    <a:pt x="9297" y="9882"/>
                    <a:pt x="9297" y="9882"/>
                  </a:cubicBezTo>
                  <a:cubicBezTo>
                    <a:pt x="9297" y="9882"/>
                    <a:pt x="9297" y="9733"/>
                    <a:pt x="9297" y="9695"/>
                  </a:cubicBezTo>
                  <a:cubicBezTo>
                    <a:pt x="9297" y="9658"/>
                    <a:pt x="9229" y="9546"/>
                    <a:pt x="9161" y="9508"/>
                  </a:cubicBezTo>
                  <a:cubicBezTo>
                    <a:pt x="9093" y="9471"/>
                    <a:pt x="8820" y="9359"/>
                    <a:pt x="8820" y="9359"/>
                  </a:cubicBezTo>
                  <a:cubicBezTo>
                    <a:pt x="8343" y="9247"/>
                    <a:pt x="8343" y="9247"/>
                    <a:pt x="8343" y="9247"/>
                  </a:cubicBezTo>
                  <a:cubicBezTo>
                    <a:pt x="8207" y="9322"/>
                    <a:pt x="8207" y="9322"/>
                    <a:pt x="8207" y="9322"/>
                  </a:cubicBezTo>
                  <a:cubicBezTo>
                    <a:pt x="7866" y="9135"/>
                    <a:pt x="7866" y="9135"/>
                    <a:pt x="7866" y="9135"/>
                  </a:cubicBezTo>
                  <a:cubicBezTo>
                    <a:pt x="7594" y="9097"/>
                    <a:pt x="7594" y="9097"/>
                    <a:pt x="7594" y="9097"/>
                  </a:cubicBezTo>
                  <a:cubicBezTo>
                    <a:pt x="7321" y="9097"/>
                    <a:pt x="7321" y="9097"/>
                    <a:pt x="7321" y="9097"/>
                  </a:cubicBezTo>
                  <a:cubicBezTo>
                    <a:pt x="6844" y="8537"/>
                    <a:pt x="6844" y="8537"/>
                    <a:pt x="6844" y="8537"/>
                  </a:cubicBezTo>
                  <a:cubicBezTo>
                    <a:pt x="6435" y="8425"/>
                    <a:pt x="6435" y="8425"/>
                    <a:pt x="6435" y="8425"/>
                  </a:cubicBezTo>
                  <a:cubicBezTo>
                    <a:pt x="6163" y="8275"/>
                    <a:pt x="6163" y="8275"/>
                    <a:pt x="6163" y="8275"/>
                  </a:cubicBezTo>
                  <a:cubicBezTo>
                    <a:pt x="6163" y="8088"/>
                    <a:pt x="6163" y="8088"/>
                    <a:pt x="6163" y="8088"/>
                  </a:cubicBezTo>
                  <a:cubicBezTo>
                    <a:pt x="5958" y="7939"/>
                    <a:pt x="5958" y="7939"/>
                    <a:pt x="5958" y="7939"/>
                  </a:cubicBezTo>
                  <a:cubicBezTo>
                    <a:pt x="5958" y="7939"/>
                    <a:pt x="6026" y="7827"/>
                    <a:pt x="6026" y="7789"/>
                  </a:cubicBezTo>
                  <a:cubicBezTo>
                    <a:pt x="6094" y="7752"/>
                    <a:pt x="6231" y="7565"/>
                    <a:pt x="6231" y="7565"/>
                  </a:cubicBezTo>
                  <a:cubicBezTo>
                    <a:pt x="6231" y="7565"/>
                    <a:pt x="6163" y="7416"/>
                    <a:pt x="6163" y="7378"/>
                  </a:cubicBezTo>
                  <a:cubicBezTo>
                    <a:pt x="6163" y="7341"/>
                    <a:pt x="6231" y="7154"/>
                    <a:pt x="6231" y="7154"/>
                  </a:cubicBezTo>
                  <a:cubicBezTo>
                    <a:pt x="6163" y="6967"/>
                    <a:pt x="6163" y="6967"/>
                    <a:pt x="6163" y="6967"/>
                  </a:cubicBezTo>
                  <a:cubicBezTo>
                    <a:pt x="5345" y="6444"/>
                    <a:pt x="5345" y="6444"/>
                    <a:pt x="5345" y="6444"/>
                  </a:cubicBezTo>
                  <a:cubicBezTo>
                    <a:pt x="5413" y="6220"/>
                    <a:pt x="5413" y="6220"/>
                    <a:pt x="5413" y="6220"/>
                  </a:cubicBezTo>
                  <a:cubicBezTo>
                    <a:pt x="5345" y="6108"/>
                    <a:pt x="5345" y="6108"/>
                    <a:pt x="5345" y="6108"/>
                  </a:cubicBezTo>
                  <a:cubicBezTo>
                    <a:pt x="5277" y="5996"/>
                    <a:pt x="5277" y="5996"/>
                    <a:pt x="5345" y="5921"/>
                  </a:cubicBezTo>
                  <a:cubicBezTo>
                    <a:pt x="5345" y="5883"/>
                    <a:pt x="5345" y="5883"/>
                    <a:pt x="5345" y="5883"/>
                  </a:cubicBezTo>
                  <a:cubicBezTo>
                    <a:pt x="5072" y="5921"/>
                    <a:pt x="5072" y="5921"/>
                    <a:pt x="5072" y="5921"/>
                  </a:cubicBezTo>
                  <a:cubicBezTo>
                    <a:pt x="4868" y="5771"/>
                    <a:pt x="4868" y="5771"/>
                    <a:pt x="4868" y="5771"/>
                  </a:cubicBezTo>
                  <a:cubicBezTo>
                    <a:pt x="4936" y="5585"/>
                    <a:pt x="4936" y="5585"/>
                    <a:pt x="4936" y="5585"/>
                  </a:cubicBezTo>
                  <a:cubicBezTo>
                    <a:pt x="4800" y="5136"/>
                    <a:pt x="4800" y="5136"/>
                    <a:pt x="4800" y="5136"/>
                  </a:cubicBezTo>
                  <a:cubicBezTo>
                    <a:pt x="4936" y="4912"/>
                    <a:pt x="4936" y="4912"/>
                    <a:pt x="4936" y="4912"/>
                  </a:cubicBezTo>
                  <a:cubicBezTo>
                    <a:pt x="4527" y="4800"/>
                    <a:pt x="4527" y="4800"/>
                    <a:pt x="4527" y="4800"/>
                  </a:cubicBezTo>
                  <a:cubicBezTo>
                    <a:pt x="4255" y="4576"/>
                    <a:pt x="4255" y="4576"/>
                    <a:pt x="4255" y="4576"/>
                  </a:cubicBezTo>
                  <a:cubicBezTo>
                    <a:pt x="4255" y="4576"/>
                    <a:pt x="4187" y="4650"/>
                    <a:pt x="4118" y="4613"/>
                  </a:cubicBezTo>
                  <a:cubicBezTo>
                    <a:pt x="4050" y="4576"/>
                    <a:pt x="3710" y="4277"/>
                    <a:pt x="3710" y="4277"/>
                  </a:cubicBezTo>
                  <a:cubicBezTo>
                    <a:pt x="3096" y="4164"/>
                    <a:pt x="3096" y="4164"/>
                    <a:pt x="3096" y="4164"/>
                  </a:cubicBezTo>
                  <a:cubicBezTo>
                    <a:pt x="2824" y="4090"/>
                    <a:pt x="2824" y="4090"/>
                    <a:pt x="2824" y="4090"/>
                  </a:cubicBezTo>
                  <a:cubicBezTo>
                    <a:pt x="2483" y="4052"/>
                    <a:pt x="2483" y="4052"/>
                    <a:pt x="2483" y="4052"/>
                  </a:cubicBezTo>
                  <a:cubicBezTo>
                    <a:pt x="2483" y="4052"/>
                    <a:pt x="2415" y="4127"/>
                    <a:pt x="2347" y="4052"/>
                  </a:cubicBezTo>
                  <a:cubicBezTo>
                    <a:pt x="2279" y="3978"/>
                    <a:pt x="2142" y="3903"/>
                    <a:pt x="2142" y="3903"/>
                  </a:cubicBezTo>
                  <a:cubicBezTo>
                    <a:pt x="1870" y="3940"/>
                    <a:pt x="1870" y="3940"/>
                    <a:pt x="1870" y="3940"/>
                  </a:cubicBezTo>
                  <a:cubicBezTo>
                    <a:pt x="1665" y="3791"/>
                    <a:pt x="1665" y="3791"/>
                    <a:pt x="1665" y="3791"/>
                  </a:cubicBezTo>
                  <a:cubicBezTo>
                    <a:pt x="1665" y="3791"/>
                    <a:pt x="1597" y="3791"/>
                    <a:pt x="1529" y="3791"/>
                  </a:cubicBezTo>
                  <a:cubicBezTo>
                    <a:pt x="1461" y="3753"/>
                    <a:pt x="1325" y="3716"/>
                    <a:pt x="1325" y="3716"/>
                  </a:cubicBezTo>
                  <a:close/>
                  <a:moveTo>
                    <a:pt x="9638" y="21205"/>
                  </a:moveTo>
                  <a:cubicBezTo>
                    <a:pt x="9638" y="21205"/>
                    <a:pt x="9638" y="21205"/>
                    <a:pt x="9638" y="21205"/>
                  </a:cubicBezTo>
                  <a:cubicBezTo>
                    <a:pt x="9638" y="21205"/>
                    <a:pt x="9638" y="21243"/>
                    <a:pt x="9638" y="21280"/>
                  </a:cubicBezTo>
                  <a:cubicBezTo>
                    <a:pt x="9638" y="21280"/>
                    <a:pt x="9706" y="21317"/>
                    <a:pt x="9774" y="21317"/>
                  </a:cubicBezTo>
                  <a:cubicBezTo>
                    <a:pt x="9774" y="21317"/>
                    <a:pt x="9910" y="21280"/>
                    <a:pt x="9978" y="21243"/>
                  </a:cubicBezTo>
                  <a:cubicBezTo>
                    <a:pt x="10115" y="21205"/>
                    <a:pt x="9978" y="21243"/>
                    <a:pt x="9978" y="21243"/>
                  </a:cubicBezTo>
                  <a:cubicBezTo>
                    <a:pt x="9842" y="21168"/>
                    <a:pt x="9842" y="21168"/>
                    <a:pt x="9842" y="21168"/>
                  </a:cubicBezTo>
                  <a:cubicBezTo>
                    <a:pt x="9842" y="21168"/>
                    <a:pt x="9706" y="21205"/>
                    <a:pt x="9638" y="21205"/>
                  </a:cubicBezTo>
                  <a:close/>
                  <a:moveTo>
                    <a:pt x="8752" y="21205"/>
                  </a:moveTo>
                  <a:cubicBezTo>
                    <a:pt x="8752" y="21205"/>
                    <a:pt x="8752" y="21205"/>
                    <a:pt x="8752" y="21205"/>
                  </a:cubicBezTo>
                  <a:cubicBezTo>
                    <a:pt x="8752" y="21205"/>
                    <a:pt x="8752" y="21280"/>
                    <a:pt x="8752" y="21280"/>
                  </a:cubicBezTo>
                  <a:cubicBezTo>
                    <a:pt x="8752" y="21317"/>
                    <a:pt x="8820" y="21317"/>
                    <a:pt x="8888" y="21280"/>
                  </a:cubicBezTo>
                  <a:cubicBezTo>
                    <a:pt x="8888" y="21280"/>
                    <a:pt x="8956" y="21280"/>
                    <a:pt x="9024" y="21243"/>
                  </a:cubicBezTo>
                  <a:cubicBezTo>
                    <a:pt x="9093" y="21205"/>
                    <a:pt x="9024" y="21168"/>
                    <a:pt x="8956" y="21168"/>
                  </a:cubicBezTo>
                  <a:cubicBezTo>
                    <a:pt x="8956" y="21131"/>
                    <a:pt x="8888" y="21168"/>
                    <a:pt x="8888" y="21168"/>
                  </a:cubicBezTo>
                  <a:cubicBezTo>
                    <a:pt x="8820" y="21168"/>
                    <a:pt x="8752" y="21205"/>
                    <a:pt x="8752" y="21205"/>
                  </a:cubicBezTo>
                  <a:close/>
                  <a:moveTo>
                    <a:pt x="7117" y="20757"/>
                  </a:moveTo>
                  <a:cubicBezTo>
                    <a:pt x="7117" y="20757"/>
                    <a:pt x="7117" y="20757"/>
                    <a:pt x="7117" y="20757"/>
                  </a:cubicBezTo>
                  <a:cubicBezTo>
                    <a:pt x="7048" y="20794"/>
                    <a:pt x="7048" y="20794"/>
                    <a:pt x="7048" y="20794"/>
                  </a:cubicBezTo>
                  <a:cubicBezTo>
                    <a:pt x="7048" y="20794"/>
                    <a:pt x="6980" y="20832"/>
                    <a:pt x="7048" y="20869"/>
                  </a:cubicBezTo>
                  <a:cubicBezTo>
                    <a:pt x="7048" y="20944"/>
                    <a:pt x="7117" y="20944"/>
                    <a:pt x="7117" y="20944"/>
                  </a:cubicBezTo>
                  <a:cubicBezTo>
                    <a:pt x="7117" y="20944"/>
                    <a:pt x="7185" y="20906"/>
                    <a:pt x="7321" y="20906"/>
                  </a:cubicBezTo>
                  <a:cubicBezTo>
                    <a:pt x="7389" y="20906"/>
                    <a:pt x="7525" y="20832"/>
                    <a:pt x="7525" y="20794"/>
                  </a:cubicBezTo>
                  <a:cubicBezTo>
                    <a:pt x="7594" y="20794"/>
                    <a:pt x="7594" y="20719"/>
                    <a:pt x="7662" y="20719"/>
                  </a:cubicBezTo>
                  <a:cubicBezTo>
                    <a:pt x="7730" y="20719"/>
                    <a:pt x="7934" y="20757"/>
                    <a:pt x="8002" y="20757"/>
                  </a:cubicBezTo>
                  <a:cubicBezTo>
                    <a:pt x="8071" y="20757"/>
                    <a:pt x="7934" y="20645"/>
                    <a:pt x="7934" y="20645"/>
                  </a:cubicBezTo>
                  <a:cubicBezTo>
                    <a:pt x="7934" y="20607"/>
                    <a:pt x="7730" y="20645"/>
                    <a:pt x="7730" y="20645"/>
                  </a:cubicBezTo>
                  <a:cubicBezTo>
                    <a:pt x="7730" y="20645"/>
                    <a:pt x="7594" y="20645"/>
                    <a:pt x="7525" y="20607"/>
                  </a:cubicBezTo>
                  <a:cubicBezTo>
                    <a:pt x="7457" y="20607"/>
                    <a:pt x="7457" y="20607"/>
                    <a:pt x="7457" y="20607"/>
                  </a:cubicBezTo>
                  <a:cubicBezTo>
                    <a:pt x="7389" y="20645"/>
                    <a:pt x="7389" y="20682"/>
                    <a:pt x="7321" y="20719"/>
                  </a:cubicBezTo>
                  <a:cubicBezTo>
                    <a:pt x="7253" y="20757"/>
                    <a:pt x="7253" y="20719"/>
                    <a:pt x="7253" y="20682"/>
                  </a:cubicBezTo>
                  <a:cubicBezTo>
                    <a:pt x="7253" y="20682"/>
                    <a:pt x="7117" y="20645"/>
                    <a:pt x="7048" y="20682"/>
                  </a:cubicBezTo>
                  <a:cubicBezTo>
                    <a:pt x="7048" y="20682"/>
                    <a:pt x="7117" y="20719"/>
                    <a:pt x="7117" y="20757"/>
                  </a:cubicBezTo>
                  <a:close/>
                  <a:moveTo>
                    <a:pt x="6571" y="20757"/>
                  </a:moveTo>
                  <a:cubicBezTo>
                    <a:pt x="6571" y="20757"/>
                    <a:pt x="6571" y="20757"/>
                    <a:pt x="6571" y="20757"/>
                  </a:cubicBezTo>
                  <a:cubicBezTo>
                    <a:pt x="6571" y="20757"/>
                    <a:pt x="6708" y="20794"/>
                    <a:pt x="6844" y="20794"/>
                  </a:cubicBezTo>
                  <a:cubicBezTo>
                    <a:pt x="6912" y="20794"/>
                    <a:pt x="6844" y="20757"/>
                    <a:pt x="6912" y="20719"/>
                  </a:cubicBezTo>
                  <a:cubicBezTo>
                    <a:pt x="6912" y="20682"/>
                    <a:pt x="6844" y="20719"/>
                    <a:pt x="6776" y="20682"/>
                  </a:cubicBezTo>
                  <a:cubicBezTo>
                    <a:pt x="6708" y="20682"/>
                    <a:pt x="6708" y="20682"/>
                    <a:pt x="6640" y="20682"/>
                  </a:cubicBezTo>
                  <a:cubicBezTo>
                    <a:pt x="6503" y="20682"/>
                    <a:pt x="6571" y="20757"/>
                    <a:pt x="6571" y="20757"/>
                  </a:cubicBezTo>
                  <a:close/>
                  <a:moveTo>
                    <a:pt x="5958" y="20346"/>
                  </a:moveTo>
                  <a:cubicBezTo>
                    <a:pt x="5958" y="20346"/>
                    <a:pt x="5958" y="20346"/>
                    <a:pt x="5958" y="20346"/>
                  </a:cubicBezTo>
                  <a:cubicBezTo>
                    <a:pt x="5890" y="20533"/>
                    <a:pt x="6231" y="20421"/>
                    <a:pt x="6231" y="20308"/>
                  </a:cubicBezTo>
                  <a:cubicBezTo>
                    <a:pt x="6163" y="20234"/>
                    <a:pt x="6231" y="20234"/>
                    <a:pt x="6094" y="20159"/>
                  </a:cubicBezTo>
                  <a:cubicBezTo>
                    <a:pt x="6026" y="20047"/>
                    <a:pt x="6026" y="20159"/>
                    <a:pt x="5958" y="20196"/>
                  </a:cubicBezTo>
                  <a:cubicBezTo>
                    <a:pt x="5890" y="20271"/>
                    <a:pt x="6026" y="20271"/>
                    <a:pt x="6026" y="20308"/>
                  </a:cubicBezTo>
                  <a:cubicBezTo>
                    <a:pt x="6026" y="20346"/>
                    <a:pt x="5958" y="20308"/>
                    <a:pt x="5958" y="20346"/>
                  </a:cubicBezTo>
                  <a:close/>
                  <a:moveTo>
                    <a:pt x="5413" y="20794"/>
                  </a:moveTo>
                  <a:cubicBezTo>
                    <a:pt x="5413" y="20794"/>
                    <a:pt x="5413" y="20794"/>
                    <a:pt x="5413" y="20794"/>
                  </a:cubicBezTo>
                  <a:cubicBezTo>
                    <a:pt x="5413" y="20794"/>
                    <a:pt x="5345" y="20832"/>
                    <a:pt x="5413" y="20906"/>
                  </a:cubicBezTo>
                  <a:cubicBezTo>
                    <a:pt x="5413" y="20944"/>
                    <a:pt x="5413" y="20906"/>
                    <a:pt x="5618" y="20832"/>
                  </a:cubicBezTo>
                  <a:cubicBezTo>
                    <a:pt x="5754" y="20757"/>
                    <a:pt x="5549" y="20794"/>
                    <a:pt x="5549" y="20794"/>
                  </a:cubicBezTo>
                  <a:cubicBezTo>
                    <a:pt x="5549" y="20757"/>
                    <a:pt x="5481" y="20794"/>
                    <a:pt x="5413" y="20794"/>
                  </a:cubicBezTo>
                  <a:close/>
                  <a:moveTo>
                    <a:pt x="5413" y="21018"/>
                  </a:moveTo>
                  <a:cubicBezTo>
                    <a:pt x="5413" y="21018"/>
                    <a:pt x="5413" y="21018"/>
                    <a:pt x="5413" y="21018"/>
                  </a:cubicBezTo>
                  <a:cubicBezTo>
                    <a:pt x="5413" y="21018"/>
                    <a:pt x="5413" y="21093"/>
                    <a:pt x="5481" y="21093"/>
                  </a:cubicBezTo>
                  <a:cubicBezTo>
                    <a:pt x="5549" y="21093"/>
                    <a:pt x="5549" y="21056"/>
                    <a:pt x="5618" y="21018"/>
                  </a:cubicBezTo>
                  <a:cubicBezTo>
                    <a:pt x="5618" y="20981"/>
                    <a:pt x="5549" y="20981"/>
                    <a:pt x="5549" y="20944"/>
                  </a:cubicBezTo>
                  <a:cubicBezTo>
                    <a:pt x="5481" y="20944"/>
                    <a:pt x="5413" y="20981"/>
                    <a:pt x="5413" y="21018"/>
                  </a:cubicBezTo>
                  <a:close/>
                  <a:moveTo>
                    <a:pt x="5209" y="21205"/>
                  </a:moveTo>
                  <a:cubicBezTo>
                    <a:pt x="5209" y="21205"/>
                    <a:pt x="5209" y="21205"/>
                    <a:pt x="5209" y="21205"/>
                  </a:cubicBezTo>
                  <a:cubicBezTo>
                    <a:pt x="5072" y="21205"/>
                    <a:pt x="5072" y="21205"/>
                    <a:pt x="5072" y="21205"/>
                  </a:cubicBezTo>
                  <a:cubicBezTo>
                    <a:pt x="5072" y="21205"/>
                    <a:pt x="5072" y="21205"/>
                    <a:pt x="4868" y="21280"/>
                  </a:cubicBezTo>
                  <a:cubicBezTo>
                    <a:pt x="4664" y="21317"/>
                    <a:pt x="4800" y="21355"/>
                    <a:pt x="4800" y="21392"/>
                  </a:cubicBezTo>
                  <a:cubicBezTo>
                    <a:pt x="4800" y="21467"/>
                    <a:pt x="5004" y="21392"/>
                    <a:pt x="5141" y="21355"/>
                  </a:cubicBezTo>
                  <a:cubicBezTo>
                    <a:pt x="5209" y="21355"/>
                    <a:pt x="5141" y="21317"/>
                    <a:pt x="5209" y="21317"/>
                  </a:cubicBezTo>
                  <a:cubicBezTo>
                    <a:pt x="5209" y="21317"/>
                    <a:pt x="5209" y="21317"/>
                    <a:pt x="5345" y="21280"/>
                  </a:cubicBezTo>
                  <a:cubicBezTo>
                    <a:pt x="5481" y="21243"/>
                    <a:pt x="5413" y="21243"/>
                    <a:pt x="5413" y="21205"/>
                  </a:cubicBezTo>
                  <a:cubicBezTo>
                    <a:pt x="5413" y="21205"/>
                    <a:pt x="5277" y="21168"/>
                    <a:pt x="5209" y="21205"/>
                  </a:cubicBezTo>
                  <a:close/>
                  <a:moveTo>
                    <a:pt x="3437" y="21392"/>
                  </a:moveTo>
                  <a:cubicBezTo>
                    <a:pt x="3437" y="21392"/>
                    <a:pt x="3437" y="21392"/>
                    <a:pt x="3437" y="21392"/>
                  </a:cubicBezTo>
                  <a:cubicBezTo>
                    <a:pt x="3505" y="21392"/>
                    <a:pt x="3573" y="21355"/>
                    <a:pt x="3641" y="21392"/>
                  </a:cubicBezTo>
                  <a:cubicBezTo>
                    <a:pt x="3710" y="21430"/>
                    <a:pt x="3641" y="21504"/>
                    <a:pt x="3641" y="21504"/>
                  </a:cubicBezTo>
                  <a:cubicBezTo>
                    <a:pt x="3573" y="21542"/>
                    <a:pt x="3505" y="21579"/>
                    <a:pt x="3437" y="21579"/>
                  </a:cubicBezTo>
                  <a:cubicBezTo>
                    <a:pt x="3369" y="21579"/>
                    <a:pt x="3301" y="21579"/>
                    <a:pt x="3233" y="21542"/>
                  </a:cubicBezTo>
                  <a:cubicBezTo>
                    <a:pt x="3233" y="21504"/>
                    <a:pt x="3233" y="21392"/>
                    <a:pt x="3233" y="21392"/>
                  </a:cubicBezTo>
                  <a:cubicBezTo>
                    <a:pt x="3301" y="21392"/>
                    <a:pt x="3437" y="21392"/>
                    <a:pt x="3437" y="21392"/>
                  </a:cubicBezTo>
                  <a:close/>
                  <a:moveTo>
                    <a:pt x="3982" y="20832"/>
                  </a:moveTo>
                  <a:cubicBezTo>
                    <a:pt x="3982" y="20832"/>
                    <a:pt x="3982" y="20832"/>
                    <a:pt x="3982" y="20832"/>
                  </a:cubicBezTo>
                  <a:cubicBezTo>
                    <a:pt x="3982" y="20832"/>
                    <a:pt x="3982" y="20832"/>
                    <a:pt x="3982" y="20832"/>
                  </a:cubicBezTo>
                  <a:cubicBezTo>
                    <a:pt x="3982" y="20832"/>
                    <a:pt x="3982" y="20906"/>
                    <a:pt x="3914" y="20906"/>
                  </a:cubicBezTo>
                  <a:cubicBezTo>
                    <a:pt x="3778" y="20944"/>
                    <a:pt x="3846" y="20832"/>
                    <a:pt x="3846" y="20794"/>
                  </a:cubicBezTo>
                  <a:cubicBezTo>
                    <a:pt x="3846" y="20757"/>
                    <a:pt x="3573" y="20832"/>
                    <a:pt x="3573" y="20832"/>
                  </a:cubicBezTo>
                  <a:cubicBezTo>
                    <a:pt x="3573" y="20832"/>
                    <a:pt x="3573" y="20944"/>
                    <a:pt x="3505" y="20981"/>
                  </a:cubicBezTo>
                  <a:cubicBezTo>
                    <a:pt x="3437" y="20981"/>
                    <a:pt x="3437" y="20981"/>
                    <a:pt x="3369" y="21018"/>
                  </a:cubicBezTo>
                  <a:cubicBezTo>
                    <a:pt x="3301" y="21056"/>
                    <a:pt x="3301" y="21131"/>
                    <a:pt x="3301" y="21131"/>
                  </a:cubicBezTo>
                  <a:cubicBezTo>
                    <a:pt x="3369" y="21168"/>
                    <a:pt x="3505" y="21168"/>
                    <a:pt x="3505" y="21168"/>
                  </a:cubicBezTo>
                  <a:cubicBezTo>
                    <a:pt x="3573" y="21168"/>
                    <a:pt x="3573" y="21168"/>
                    <a:pt x="3778" y="21243"/>
                  </a:cubicBezTo>
                  <a:cubicBezTo>
                    <a:pt x="4050" y="21280"/>
                    <a:pt x="3846" y="21243"/>
                    <a:pt x="4050" y="21243"/>
                  </a:cubicBezTo>
                  <a:cubicBezTo>
                    <a:pt x="4187" y="21243"/>
                    <a:pt x="4118" y="21280"/>
                    <a:pt x="4187" y="21280"/>
                  </a:cubicBezTo>
                  <a:cubicBezTo>
                    <a:pt x="4255" y="21280"/>
                    <a:pt x="4323" y="21355"/>
                    <a:pt x="4391" y="21392"/>
                  </a:cubicBezTo>
                  <a:cubicBezTo>
                    <a:pt x="4527" y="21430"/>
                    <a:pt x="4595" y="21355"/>
                    <a:pt x="4664" y="21355"/>
                  </a:cubicBezTo>
                  <a:cubicBezTo>
                    <a:pt x="4664" y="21317"/>
                    <a:pt x="4800" y="21205"/>
                    <a:pt x="4800" y="21205"/>
                  </a:cubicBezTo>
                  <a:cubicBezTo>
                    <a:pt x="4800" y="21205"/>
                    <a:pt x="4391" y="21131"/>
                    <a:pt x="4391" y="21131"/>
                  </a:cubicBezTo>
                  <a:cubicBezTo>
                    <a:pt x="4323" y="21131"/>
                    <a:pt x="4255" y="21018"/>
                    <a:pt x="4391" y="21018"/>
                  </a:cubicBezTo>
                  <a:cubicBezTo>
                    <a:pt x="4459" y="21018"/>
                    <a:pt x="4459" y="21056"/>
                    <a:pt x="4527" y="21093"/>
                  </a:cubicBezTo>
                  <a:cubicBezTo>
                    <a:pt x="4527" y="21131"/>
                    <a:pt x="4595" y="21131"/>
                    <a:pt x="4664" y="21131"/>
                  </a:cubicBezTo>
                  <a:cubicBezTo>
                    <a:pt x="4732" y="21131"/>
                    <a:pt x="4800" y="21093"/>
                    <a:pt x="4800" y="21056"/>
                  </a:cubicBezTo>
                  <a:cubicBezTo>
                    <a:pt x="4800" y="21018"/>
                    <a:pt x="4732" y="21056"/>
                    <a:pt x="4595" y="20944"/>
                  </a:cubicBezTo>
                  <a:cubicBezTo>
                    <a:pt x="4391" y="20832"/>
                    <a:pt x="4595" y="20869"/>
                    <a:pt x="4664" y="20869"/>
                  </a:cubicBezTo>
                  <a:cubicBezTo>
                    <a:pt x="4664" y="20832"/>
                    <a:pt x="4800" y="20757"/>
                    <a:pt x="4800" y="20757"/>
                  </a:cubicBezTo>
                  <a:cubicBezTo>
                    <a:pt x="4868" y="20719"/>
                    <a:pt x="4664" y="20719"/>
                    <a:pt x="4595" y="20682"/>
                  </a:cubicBezTo>
                  <a:cubicBezTo>
                    <a:pt x="4527" y="20682"/>
                    <a:pt x="4527" y="20682"/>
                    <a:pt x="4527" y="20682"/>
                  </a:cubicBezTo>
                  <a:cubicBezTo>
                    <a:pt x="4527" y="20719"/>
                    <a:pt x="4323" y="20682"/>
                    <a:pt x="4255" y="20645"/>
                  </a:cubicBezTo>
                  <a:cubicBezTo>
                    <a:pt x="4255" y="20645"/>
                    <a:pt x="4255" y="20570"/>
                    <a:pt x="4187" y="20533"/>
                  </a:cubicBezTo>
                  <a:cubicBezTo>
                    <a:pt x="4187" y="20533"/>
                    <a:pt x="4050" y="20533"/>
                    <a:pt x="3914" y="20533"/>
                  </a:cubicBezTo>
                  <a:cubicBezTo>
                    <a:pt x="3778" y="20533"/>
                    <a:pt x="3846" y="20645"/>
                    <a:pt x="3846" y="20645"/>
                  </a:cubicBezTo>
                  <a:cubicBezTo>
                    <a:pt x="3846" y="20645"/>
                    <a:pt x="3914" y="20719"/>
                    <a:pt x="3982" y="20757"/>
                  </a:cubicBezTo>
                  <a:cubicBezTo>
                    <a:pt x="3982" y="20757"/>
                    <a:pt x="3982" y="20832"/>
                    <a:pt x="3982" y="20832"/>
                  </a:cubicBez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5" name="Shape 2268">
              <a:extLst>
                <a:ext uri="{FF2B5EF4-FFF2-40B4-BE49-F238E27FC236}">
                  <a16:creationId xmlns:a16="http://schemas.microsoft.com/office/drawing/2014/main" id="{000C99EE-DCF5-08F1-1004-9D3984B0703D}"/>
                </a:ext>
              </a:extLst>
            </p:cNvPr>
            <p:cNvSpPr/>
            <p:nvPr/>
          </p:nvSpPr>
          <p:spPr>
            <a:xfrm>
              <a:off x="9136610" y="2943095"/>
              <a:ext cx="2115639" cy="2603878"/>
            </a:xfrm>
            <a:custGeom>
              <a:avLst/>
              <a:gdLst/>
              <a:ahLst/>
              <a:cxnLst>
                <a:cxn ang="0">
                  <a:pos x="wd2" y="hd2"/>
                </a:cxn>
                <a:cxn ang="5400000">
                  <a:pos x="wd2" y="hd2"/>
                </a:cxn>
                <a:cxn ang="10800000">
                  <a:pos x="wd2" y="hd2"/>
                </a:cxn>
                <a:cxn ang="16200000">
                  <a:pos x="wd2" y="hd2"/>
                </a:cxn>
              </a:cxnLst>
              <a:rect l="0" t="0" r="r" b="b"/>
              <a:pathLst>
                <a:path w="21600" h="21600" extrusionOk="0">
                  <a:moveTo>
                    <a:pt x="6358" y="14632"/>
                  </a:moveTo>
                  <a:cubicBezTo>
                    <a:pt x="7621" y="14002"/>
                    <a:pt x="7621" y="14002"/>
                    <a:pt x="7621" y="14002"/>
                  </a:cubicBezTo>
                  <a:cubicBezTo>
                    <a:pt x="9137" y="13106"/>
                    <a:pt x="9137" y="13106"/>
                    <a:pt x="9137" y="13106"/>
                  </a:cubicBezTo>
                  <a:cubicBezTo>
                    <a:pt x="10779" y="13040"/>
                    <a:pt x="10779" y="13040"/>
                    <a:pt x="10779" y="13040"/>
                  </a:cubicBezTo>
                  <a:cubicBezTo>
                    <a:pt x="11200" y="13106"/>
                    <a:pt x="11326" y="13338"/>
                    <a:pt x="12084" y="12874"/>
                  </a:cubicBezTo>
                  <a:cubicBezTo>
                    <a:pt x="12884" y="13305"/>
                    <a:pt x="12884" y="13305"/>
                    <a:pt x="12884" y="13305"/>
                  </a:cubicBezTo>
                  <a:cubicBezTo>
                    <a:pt x="13389" y="14101"/>
                    <a:pt x="13389" y="14101"/>
                    <a:pt x="13389" y="14101"/>
                  </a:cubicBezTo>
                  <a:cubicBezTo>
                    <a:pt x="13642" y="15263"/>
                    <a:pt x="13642" y="15263"/>
                    <a:pt x="13642" y="15263"/>
                  </a:cubicBezTo>
                  <a:cubicBezTo>
                    <a:pt x="14821" y="15263"/>
                    <a:pt x="14821" y="15263"/>
                    <a:pt x="14821" y="15263"/>
                  </a:cubicBezTo>
                  <a:cubicBezTo>
                    <a:pt x="15621" y="14997"/>
                    <a:pt x="15621" y="14997"/>
                    <a:pt x="15621" y="14997"/>
                  </a:cubicBezTo>
                  <a:cubicBezTo>
                    <a:pt x="16168" y="15362"/>
                    <a:pt x="16042" y="15229"/>
                    <a:pt x="16168" y="15528"/>
                  </a:cubicBezTo>
                  <a:cubicBezTo>
                    <a:pt x="15663" y="15860"/>
                    <a:pt x="15747" y="15794"/>
                    <a:pt x="15158" y="16059"/>
                  </a:cubicBezTo>
                  <a:cubicBezTo>
                    <a:pt x="14905" y="16855"/>
                    <a:pt x="14905" y="16855"/>
                    <a:pt x="14905" y="16855"/>
                  </a:cubicBezTo>
                  <a:cubicBezTo>
                    <a:pt x="14611" y="16888"/>
                    <a:pt x="14611" y="16888"/>
                    <a:pt x="14611" y="16888"/>
                  </a:cubicBezTo>
                  <a:cubicBezTo>
                    <a:pt x="14611" y="16092"/>
                    <a:pt x="14526" y="16391"/>
                    <a:pt x="14989" y="15661"/>
                  </a:cubicBezTo>
                  <a:cubicBezTo>
                    <a:pt x="14737" y="15561"/>
                    <a:pt x="14737" y="15561"/>
                    <a:pt x="14737" y="15561"/>
                  </a:cubicBezTo>
                  <a:cubicBezTo>
                    <a:pt x="13474" y="15561"/>
                    <a:pt x="13474" y="15561"/>
                    <a:pt x="13474" y="15561"/>
                  </a:cubicBezTo>
                  <a:cubicBezTo>
                    <a:pt x="12337" y="15561"/>
                    <a:pt x="12884" y="15495"/>
                    <a:pt x="11663" y="15727"/>
                  </a:cubicBezTo>
                  <a:cubicBezTo>
                    <a:pt x="11621" y="15827"/>
                    <a:pt x="11158" y="15694"/>
                    <a:pt x="11074" y="15794"/>
                  </a:cubicBezTo>
                  <a:cubicBezTo>
                    <a:pt x="10526" y="16490"/>
                    <a:pt x="10316" y="16656"/>
                    <a:pt x="11705" y="16988"/>
                  </a:cubicBezTo>
                  <a:cubicBezTo>
                    <a:pt x="11537" y="17353"/>
                    <a:pt x="11537" y="17353"/>
                    <a:pt x="11537" y="17353"/>
                  </a:cubicBezTo>
                  <a:cubicBezTo>
                    <a:pt x="10947" y="17088"/>
                    <a:pt x="11242" y="17154"/>
                    <a:pt x="10316" y="17187"/>
                  </a:cubicBezTo>
                  <a:cubicBezTo>
                    <a:pt x="9726" y="17220"/>
                    <a:pt x="9726" y="17220"/>
                    <a:pt x="9726" y="17220"/>
                  </a:cubicBezTo>
                  <a:cubicBezTo>
                    <a:pt x="9726" y="17618"/>
                    <a:pt x="9726" y="17618"/>
                    <a:pt x="9726" y="17618"/>
                  </a:cubicBezTo>
                  <a:cubicBezTo>
                    <a:pt x="10358" y="17585"/>
                    <a:pt x="10358" y="17585"/>
                    <a:pt x="10358" y="17585"/>
                  </a:cubicBezTo>
                  <a:cubicBezTo>
                    <a:pt x="10947" y="17851"/>
                    <a:pt x="10947" y="17851"/>
                    <a:pt x="10947" y="17851"/>
                  </a:cubicBezTo>
                  <a:cubicBezTo>
                    <a:pt x="11326" y="18182"/>
                    <a:pt x="11326" y="18182"/>
                    <a:pt x="11326" y="18182"/>
                  </a:cubicBezTo>
                  <a:cubicBezTo>
                    <a:pt x="12253" y="18846"/>
                    <a:pt x="12253" y="18846"/>
                    <a:pt x="12253" y="18846"/>
                  </a:cubicBezTo>
                  <a:cubicBezTo>
                    <a:pt x="12379" y="19443"/>
                    <a:pt x="12379" y="19443"/>
                    <a:pt x="12379" y="19443"/>
                  </a:cubicBezTo>
                  <a:cubicBezTo>
                    <a:pt x="12884" y="19377"/>
                    <a:pt x="12842" y="19344"/>
                    <a:pt x="13305" y="19510"/>
                  </a:cubicBezTo>
                  <a:cubicBezTo>
                    <a:pt x="14063" y="19775"/>
                    <a:pt x="14189" y="19676"/>
                    <a:pt x="15074" y="19543"/>
                  </a:cubicBezTo>
                  <a:cubicBezTo>
                    <a:pt x="15242" y="19841"/>
                    <a:pt x="15242" y="19841"/>
                    <a:pt x="15242" y="19841"/>
                  </a:cubicBezTo>
                  <a:cubicBezTo>
                    <a:pt x="15242" y="20505"/>
                    <a:pt x="15242" y="20505"/>
                    <a:pt x="15242" y="20505"/>
                  </a:cubicBezTo>
                  <a:cubicBezTo>
                    <a:pt x="15368" y="21102"/>
                    <a:pt x="15368" y="21102"/>
                    <a:pt x="15368" y="21102"/>
                  </a:cubicBezTo>
                  <a:cubicBezTo>
                    <a:pt x="16042" y="20771"/>
                    <a:pt x="16042" y="20771"/>
                    <a:pt x="16042" y="20771"/>
                  </a:cubicBezTo>
                  <a:cubicBezTo>
                    <a:pt x="16337" y="20406"/>
                    <a:pt x="16337" y="20406"/>
                    <a:pt x="16337" y="20406"/>
                  </a:cubicBezTo>
                  <a:cubicBezTo>
                    <a:pt x="17389" y="20140"/>
                    <a:pt x="17389" y="20140"/>
                    <a:pt x="17389" y="20140"/>
                  </a:cubicBezTo>
                  <a:cubicBezTo>
                    <a:pt x="18611" y="20206"/>
                    <a:pt x="18611" y="20206"/>
                    <a:pt x="18611" y="20206"/>
                  </a:cubicBezTo>
                  <a:cubicBezTo>
                    <a:pt x="18611" y="20240"/>
                    <a:pt x="20084" y="20970"/>
                    <a:pt x="20295" y="21135"/>
                  </a:cubicBezTo>
                  <a:cubicBezTo>
                    <a:pt x="20463" y="21301"/>
                    <a:pt x="20716" y="21600"/>
                    <a:pt x="20716" y="21600"/>
                  </a:cubicBezTo>
                  <a:cubicBezTo>
                    <a:pt x="21516" y="21434"/>
                    <a:pt x="21516" y="21434"/>
                    <a:pt x="21516" y="21434"/>
                  </a:cubicBezTo>
                  <a:cubicBezTo>
                    <a:pt x="21600" y="21368"/>
                    <a:pt x="21600" y="21368"/>
                    <a:pt x="21600" y="21368"/>
                  </a:cubicBezTo>
                  <a:cubicBezTo>
                    <a:pt x="21600" y="20505"/>
                    <a:pt x="21600" y="20505"/>
                    <a:pt x="21600" y="20505"/>
                  </a:cubicBezTo>
                  <a:cubicBezTo>
                    <a:pt x="18905" y="15429"/>
                    <a:pt x="18905" y="15429"/>
                    <a:pt x="18905" y="15429"/>
                  </a:cubicBezTo>
                  <a:cubicBezTo>
                    <a:pt x="21600" y="14466"/>
                    <a:pt x="21600" y="14466"/>
                    <a:pt x="21600" y="14466"/>
                  </a:cubicBezTo>
                  <a:cubicBezTo>
                    <a:pt x="21600" y="5408"/>
                    <a:pt x="21600" y="5408"/>
                    <a:pt x="21600" y="5408"/>
                  </a:cubicBezTo>
                  <a:cubicBezTo>
                    <a:pt x="21474" y="5408"/>
                    <a:pt x="21305" y="5441"/>
                    <a:pt x="21095" y="5441"/>
                  </a:cubicBezTo>
                  <a:cubicBezTo>
                    <a:pt x="20800" y="5840"/>
                    <a:pt x="20800" y="5840"/>
                    <a:pt x="20800" y="5840"/>
                  </a:cubicBezTo>
                  <a:cubicBezTo>
                    <a:pt x="18653" y="5541"/>
                    <a:pt x="18653" y="5541"/>
                    <a:pt x="18653" y="5541"/>
                  </a:cubicBezTo>
                  <a:cubicBezTo>
                    <a:pt x="17937" y="5209"/>
                    <a:pt x="17937" y="5209"/>
                    <a:pt x="17937" y="5209"/>
                  </a:cubicBezTo>
                  <a:cubicBezTo>
                    <a:pt x="17389" y="5508"/>
                    <a:pt x="17516" y="5375"/>
                    <a:pt x="17053" y="5773"/>
                  </a:cubicBezTo>
                  <a:cubicBezTo>
                    <a:pt x="15789" y="5508"/>
                    <a:pt x="15789" y="5508"/>
                    <a:pt x="15789" y="5508"/>
                  </a:cubicBezTo>
                  <a:cubicBezTo>
                    <a:pt x="14989" y="5806"/>
                    <a:pt x="14989" y="5806"/>
                    <a:pt x="14989" y="5806"/>
                  </a:cubicBezTo>
                  <a:cubicBezTo>
                    <a:pt x="14063" y="6536"/>
                    <a:pt x="14063" y="6536"/>
                    <a:pt x="14063" y="6536"/>
                  </a:cubicBezTo>
                  <a:cubicBezTo>
                    <a:pt x="12505" y="6470"/>
                    <a:pt x="12505" y="6470"/>
                    <a:pt x="12505" y="6470"/>
                  </a:cubicBezTo>
                  <a:cubicBezTo>
                    <a:pt x="12168" y="6105"/>
                    <a:pt x="12168" y="6105"/>
                    <a:pt x="12168" y="6105"/>
                  </a:cubicBezTo>
                  <a:cubicBezTo>
                    <a:pt x="12084" y="6437"/>
                    <a:pt x="12084" y="6437"/>
                    <a:pt x="12084" y="6437"/>
                  </a:cubicBezTo>
                  <a:cubicBezTo>
                    <a:pt x="12421" y="6769"/>
                    <a:pt x="12421" y="6769"/>
                    <a:pt x="12421" y="6769"/>
                  </a:cubicBezTo>
                  <a:cubicBezTo>
                    <a:pt x="11832" y="7001"/>
                    <a:pt x="11832" y="7001"/>
                    <a:pt x="11832" y="7001"/>
                  </a:cubicBezTo>
                  <a:cubicBezTo>
                    <a:pt x="11621" y="6536"/>
                    <a:pt x="11621" y="6536"/>
                    <a:pt x="11621" y="6536"/>
                  </a:cubicBezTo>
                  <a:cubicBezTo>
                    <a:pt x="11116" y="6039"/>
                    <a:pt x="11116" y="6039"/>
                    <a:pt x="11116" y="6039"/>
                  </a:cubicBezTo>
                  <a:cubicBezTo>
                    <a:pt x="10358" y="5906"/>
                    <a:pt x="10358" y="5906"/>
                    <a:pt x="10358" y="5906"/>
                  </a:cubicBezTo>
                  <a:cubicBezTo>
                    <a:pt x="9937" y="5674"/>
                    <a:pt x="9937" y="5674"/>
                    <a:pt x="9937" y="5674"/>
                  </a:cubicBezTo>
                  <a:cubicBezTo>
                    <a:pt x="9853" y="5641"/>
                    <a:pt x="8295" y="5773"/>
                    <a:pt x="8000" y="5806"/>
                  </a:cubicBezTo>
                  <a:cubicBezTo>
                    <a:pt x="7621" y="5607"/>
                    <a:pt x="7579" y="5607"/>
                    <a:pt x="7158" y="5441"/>
                  </a:cubicBezTo>
                  <a:cubicBezTo>
                    <a:pt x="6737" y="5707"/>
                    <a:pt x="6737" y="5707"/>
                    <a:pt x="6737" y="5707"/>
                  </a:cubicBezTo>
                  <a:cubicBezTo>
                    <a:pt x="6737" y="5707"/>
                    <a:pt x="6526" y="6006"/>
                    <a:pt x="6189" y="6006"/>
                  </a:cubicBezTo>
                  <a:cubicBezTo>
                    <a:pt x="5811" y="6006"/>
                    <a:pt x="5853" y="5607"/>
                    <a:pt x="5853" y="5607"/>
                  </a:cubicBezTo>
                  <a:cubicBezTo>
                    <a:pt x="5305" y="5674"/>
                    <a:pt x="5305" y="5674"/>
                    <a:pt x="5305" y="5674"/>
                  </a:cubicBezTo>
                  <a:cubicBezTo>
                    <a:pt x="4589" y="6470"/>
                    <a:pt x="4589" y="6470"/>
                    <a:pt x="4589" y="6470"/>
                  </a:cubicBezTo>
                  <a:cubicBezTo>
                    <a:pt x="3705" y="7067"/>
                    <a:pt x="3705" y="7067"/>
                    <a:pt x="3705" y="7067"/>
                  </a:cubicBezTo>
                  <a:cubicBezTo>
                    <a:pt x="3200" y="7665"/>
                    <a:pt x="3200" y="7665"/>
                    <a:pt x="3200" y="7665"/>
                  </a:cubicBezTo>
                  <a:cubicBezTo>
                    <a:pt x="2232" y="7963"/>
                    <a:pt x="2232" y="7963"/>
                    <a:pt x="2232" y="7963"/>
                  </a:cubicBezTo>
                  <a:cubicBezTo>
                    <a:pt x="2274" y="8229"/>
                    <a:pt x="2274" y="8229"/>
                    <a:pt x="2274" y="8229"/>
                  </a:cubicBezTo>
                  <a:cubicBezTo>
                    <a:pt x="3242" y="8892"/>
                    <a:pt x="3242" y="8892"/>
                    <a:pt x="3242" y="8892"/>
                  </a:cubicBezTo>
                  <a:cubicBezTo>
                    <a:pt x="2568" y="9257"/>
                    <a:pt x="2568" y="9257"/>
                    <a:pt x="2568" y="9257"/>
                  </a:cubicBezTo>
                  <a:cubicBezTo>
                    <a:pt x="1558" y="8428"/>
                    <a:pt x="1937" y="9058"/>
                    <a:pt x="674" y="8295"/>
                  </a:cubicBezTo>
                  <a:cubicBezTo>
                    <a:pt x="463" y="8892"/>
                    <a:pt x="421" y="8726"/>
                    <a:pt x="547" y="9224"/>
                  </a:cubicBezTo>
                  <a:cubicBezTo>
                    <a:pt x="0" y="9523"/>
                    <a:pt x="0" y="9523"/>
                    <a:pt x="0" y="9523"/>
                  </a:cubicBezTo>
                  <a:cubicBezTo>
                    <a:pt x="295" y="10418"/>
                    <a:pt x="84" y="10120"/>
                    <a:pt x="800" y="10717"/>
                  </a:cubicBezTo>
                  <a:cubicBezTo>
                    <a:pt x="379" y="11414"/>
                    <a:pt x="463" y="11115"/>
                    <a:pt x="505" y="11945"/>
                  </a:cubicBezTo>
                  <a:cubicBezTo>
                    <a:pt x="1474" y="12177"/>
                    <a:pt x="1474" y="12177"/>
                    <a:pt x="1474" y="12177"/>
                  </a:cubicBezTo>
                  <a:cubicBezTo>
                    <a:pt x="1726" y="12641"/>
                    <a:pt x="1726" y="12641"/>
                    <a:pt x="1726" y="12641"/>
                  </a:cubicBezTo>
                  <a:cubicBezTo>
                    <a:pt x="2358" y="12874"/>
                    <a:pt x="2358" y="12874"/>
                    <a:pt x="2358" y="12874"/>
                  </a:cubicBezTo>
                  <a:cubicBezTo>
                    <a:pt x="2989" y="12542"/>
                    <a:pt x="2989" y="12542"/>
                    <a:pt x="2989" y="12542"/>
                  </a:cubicBezTo>
                  <a:cubicBezTo>
                    <a:pt x="3916" y="12907"/>
                    <a:pt x="3916" y="12907"/>
                    <a:pt x="3916" y="12907"/>
                  </a:cubicBezTo>
                  <a:cubicBezTo>
                    <a:pt x="5137" y="13637"/>
                    <a:pt x="5137" y="13637"/>
                    <a:pt x="5137" y="13637"/>
                  </a:cubicBezTo>
                  <a:cubicBezTo>
                    <a:pt x="5853" y="14334"/>
                    <a:pt x="5853" y="14334"/>
                    <a:pt x="5853" y="14334"/>
                  </a:cubicBezTo>
                  <a:cubicBezTo>
                    <a:pt x="5432" y="14068"/>
                    <a:pt x="5432" y="14068"/>
                    <a:pt x="5432" y="14068"/>
                  </a:cubicBezTo>
                  <a:cubicBezTo>
                    <a:pt x="5179" y="14168"/>
                    <a:pt x="5179" y="14168"/>
                    <a:pt x="5179" y="14168"/>
                  </a:cubicBezTo>
                  <a:cubicBezTo>
                    <a:pt x="5347" y="14400"/>
                    <a:pt x="5347" y="14400"/>
                    <a:pt x="5347" y="14400"/>
                  </a:cubicBezTo>
                  <a:cubicBezTo>
                    <a:pt x="6358" y="14632"/>
                    <a:pt x="6358" y="14632"/>
                    <a:pt x="6358" y="14632"/>
                  </a:cubicBezTo>
                  <a:close/>
                  <a:moveTo>
                    <a:pt x="21600" y="0"/>
                  </a:moveTo>
                  <a:cubicBezTo>
                    <a:pt x="21600" y="0"/>
                    <a:pt x="21600" y="0"/>
                    <a:pt x="21600" y="0"/>
                  </a:cubicBezTo>
                  <a:cubicBezTo>
                    <a:pt x="21011" y="166"/>
                    <a:pt x="21011" y="166"/>
                    <a:pt x="21011" y="166"/>
                  </a:cubicBezTo>
                  <a:cubicBezTo>
                    <a:pt x="20926" y="166"/>
                    <a:pt x="19747" y="33"/>
                    <a:pt x="19789" y="332"/>
                  </a:cubicBezTo>
                  <a:cubicBezTo>
                    <a:pt x="19832" y="498"/>
                    <a:pt x="20042" y="531"/>
                    <a:pt x="20042" y="531"/>
                  </a:cubicBezTo>
                  <a:cubicBezTo>
                    <a:pt x="20589" y="929"/>
                    <a:pt x="20589" y="929"/>
                    <a:pt x="20589" y="929"/>
                  </a:cubicBezTo>
                  <a:cubicBezTo>
                    <a:pt x="20547" y="1161"/>
                    <a:pt x="20547" y="1161"/>
                    <a:pt x="20547" y="1161"/>
                  </a:cubicBezTo>
                  <a:cubicBezTo>
                    <a:pt x="20884" y="1228"/>
                    <a:pt x="20884" y="1228"/>
                    <a:pt x="20884" y="1228"/>
                  </a:cubicBezTo>
                  <a:cubicBezTo>
                    <a:pt x="21600" y="1228"/>
                    <a:pt x="21600" y="1228"/>
                    <a:pt x="21600" y="1228"/>
                  </a:cubicBezTo>
                  <a:cubicBezTo>
                    <a:pt x="21600" y="0"/>
                    <a:pt x="21600" y="0"/>
                    <a:pt x="21600" y="0"/>
                  </a:cubicBezTo>
                  <a:close/>
                  <a:moveTo>
                    <a:pt x="21600" y="1626"/>
                  </a:moveTo>
                  <a:cubicBezTo>
                    <a:pt x="21600" y="1626"/>
                    <a:pt x="21600" y="1626"/>
                    <a:pt x="21600" y="1626"/>
                  </a:cubicBezTo>
                  <a:cubicBezTo>
                    <a:pt x="21179" y="1659"/>
                    <a:pt x="20716" y="1725"/>
                    <a:pt x="20632" y="1759"/>
                  </a:cubicBezTo>
                  <a:cubicBezTo>
                    <a:pt x="20168" y="2157"/>
                    <a:pt x="20168" y="2157"/>
                    <a:pt x="20168" y="2157"/>
                  </a:cubicBezTo>
                  <a:cubicBezTo>
                    <a:pt x="20716" y="2721"/>
                    <a:pt x="20716" y="2721"/>
                    <a:pt x="20716" y="2721"/>
                  </a:cubicBezTo>
                  <a:cubicBezTo>
                    <a:pt x="20674" y="3086"/>
                    <a:pt x="20674" y="3086"/>
                    <a:pt x="20674" y="3086"/>
                  </a:cubicBezTo>
                  <a:cubicBezTo>
                    <a:pt x="20211" y="3351"/>
                    <a:pt x="20211" y="3351"/>
                    <a:pt x="20211" y="3351"/>
                  </a:cubicBezTo>
                  <a:cubicBezTo>
                    <a:pt x="20589" y="3650"/>
                    <a:pt x="20589" y="3650"/>
                    <a:pt x="20589" y="3650"/>
                  </a:cubicBezTo>
                  <a:cubicBezTo>
                    <a:pt x="21263" y="3650"/>
                    <a:pt x="21263" y="3650"/>
                    <a:pt x="21263" y="3650"/>
                  </a:cubicBezTo>
                  <a:cubicBezTo>
                    <a:pt x="21600" y="3849"/>
                    <a:pt x="21600" y="3849"/>
                    <a:pt x="21600" y="3849"/>
                  </a:cubicBezTo>
                  <a:lnTo>
                    <a:pt x="21600" y="1626"/>
                  </a:lnTo>
                  <a:close/>
                </a:path>
              </a:pathLst>
            </a:custGeom>
            <a:grpFill/>
            <a:ln w="6350" cap="rnd">
              <a:solidFill>
                <a:schemeClr val="bg1"/>
              </a:solidFill>
              <a:prstDash val="solid"/>
              <a:round/>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grpSp>
      <p:sp>
        <p:nvSpPr>
          <p:cNvPr id="447" name="Text Placeholder 10">
            <a:extLst>
              <a:ext uri="{FF2B5EF4-FFF2-40B4-BE49-F238E27FC236}">
                <a16:creationId xmlns:a16="http://schemas.microsoft.com/office/drawing/2014/main" id="{07EE2AF5-29C5-B465-E411-00CDA15D3BBF}"/>
              </a:ext>
            </a:extLst>
          </p:cNvPr>
          <p:cNvSpPr>
            <a:spLocks noGrp="1"/>
          </p:cNvSpPr>
          <p:nvPr>
            <p:ph type="body" sz="quarter" idx="17" hasCustomPrompt="1"/>
          </p:nvPr>
        </p:nvSpPr>
        <p:spPr>
          <a:xfrm>
            <a:off x="469362" y="2491705"/>
            <a:ext cx="3794824" cy="276999"/>
          </a:xfrm>
        </p:spPr>
        <p:txBody>
          <a:bodyPr/>
          <a:lstStyle>
            <a:lvl1pPr algn="l">
              <a:defRPr sz="1800" b="1"/>
            </a:lvl1pPr>
          </a:lstStyle>
          <a:p>
            <a:r>
              <a:rPr lang="en-US"/>
              <a:t>Subtitle Here</a:t>
            </a:r>
          </a:p>
        </p:txBody>
      </p:sp>
      <p:sp>
        <p:nvSpPr>
          <p:cNvPr id="449" name="Text Placeholder 10">
            <a:extLst>
              <a:ext uri="{FF2B5EF4-FFF2-40B4-BE49-F238E27FC236}">
                <a16:creationId xmlns:a16="http://schemas.microsoft.com/office/drawing/2014/main" id="{068F4535-A7FF-0DA7-2180-6FF07B287019}"/>
              </a:ext>
            </a:extLst>
          </p:cNvPr>
          <p:cNvSpPr>
            <a:spLocks noGrp="1"/>
          </p:cNvSpPr>
          <p:nvPr>
            <p:ph type="body" sz="quarter" idx="19" hasCustomPrompt="1"/>
          </p:nvPr>
        </p:nvSpPr>
        <p:spPr>
          <a:xfrm>
            <a:off x="469362" y="4454745"/>
            <a:ext cx="3794824" cy="276999"/>
          </a:xfrm>
        </p:spPr>
        <p:txBody>
          <a:bodyPr/>
          <a:lstStyle>
            <a:lvl1pPr algn="l">
              <a:defRPr sz="1800" b="1"/>
            </a:lvl1pPr>
          </a:lstStyle>
          <a:p>
            <a:r>
              <a:rPr lang="en-US"/>
              <a:t>Subtitle Here</a:t>
            </a:r>
          </a:p>
        </p:txBody>
      </p:sp>
      <p:sp>
        <p:nvSpPr>
          <p:cNvPr id="450" name="Inhaltsplatzhalter 18">
            <a:extLst>
              <a:ext uri="{FF2B5EF4-FFF2-40B4-BE49-F238E27FC236}">
                <a16:creationId xmlns:a16="http://schemas.microsoft.com/office/drawing/2014/main" id="{D837D0DF-CF2E-4004-8BBF-C8A9E52C3ED6}"/>
              </a:ext>
            </a:extLst>
          </p:cNvPr>
          <p:cNvSpPr>
            <a:spLocks noGrp="1"/>
          </p:cNvSpPr>
          <p:nvPr>
            <p:ph sz="quarter" idx="13" hasCustomPrompt="1"/>
          </p:nvPr>
        </p:nvSpPr>
        <p:spPr>
          <a:xfrm>
            <a:off x="442913" y="897608"/>
            <a:ext cx="3833417"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6" name="Title 5">
            <a:extLst>
              <a:ext uri="{FF2B5EF4-FFF2-40B4-BE49-F238E27FC236}">
                <a16:creationId xmlns:a16="http://schemas.microsoft.com/office/drawing/2014/main" id="{7A3CAD00-E096-74BF-72C8-196FB4446206}"/>
              </a:ext>
            </a:extLst>
          </p:cNvPr>
          <p:cNvSpPr>
            <a:spLocks noGrp="1"/>
          </p:cNvSpPr>
          <p:nvPr>
            <p:ph type="title" hasCustomPrompt="1"/>
          </p:nvPr>
        </p:nvSpPr>
        <p:spPr/>
        <p:txBody>
          <a:bodyPr/>
          <a:lstStyle/>
          <a:p>
            <a:r>
              <a:rPr lang="en-US"/>
              <a:t>Map of Europe</a:t>
            </a:r>
          </a:p>
        </p:txBody>
      </p:sp>
      <p:sp>
        <p:nvSpPr>
          <p:cNvPr id="8" name="Text Placeholder 7">
            <a:extLst>
              <a:ext uri="{FF2B5EF4-FFF2-40B4-BE49-F238E27FC236}">
                <a16:creationId xmlns:a16="http://schemas.microsoft.com/office/drawing/2014/main" id="{8A7B6C87-5A2F-C453-FCB2-1878AC8CD4CB}"/>
              </a:ext>
            </a:extLst>
          </p:cNvPr>
          <p:cNvSpPr>
            <a:spLocks noGrp="1"/>
          </p:cNvSpPr>
          <p:nvPr>
            <p:ph type="body" sz="quarter" idx="21"/>
          </p:nvPr>
        </p:nvSpPr>
        <p:spPr>
          <a:xfrm>
            <a:off x="465138" y="2861585"/>
            <a:ext cx="3798887" cy="137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B75C0055-7AD1-BE14-0E54-B0F7B9914219}"/>
              </a:ext>
            </a:extLst>
          </p:cNvPr>
          <p:cNvSpPr>
            <a:spLocks noGrp="1"/>
          </p:cNvSpPr>
          <p:nvPr>
            <p:ph type="body" sz="quarter" idx="22"/>
          </p:nvPr>
        </p:nvSpPr>
        <p:spPr>
          <a:xfrm>
            <a:off x="465138" y="4841306"/>
            <a:ext cx="3798887" cy="137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5">
            <a:extLst>
              <a:ext uri="{FF2B5EF4-FFF2-40B4-BE49-F238E27FC236}">
                <a16:creationId xmlns:a16="http://schemas.microsoft.com/office/drawing/2014/main" id="{B3D7E86C-4347-97D3-CBB3-B04583F06AC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57483465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ap of U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7" name="Text Placeholder 10">
            <a:extLst>
              <a:ext uri="{FF2B5EF4-FFF2-40B4-BE49-F238E27FC236}">
                <a16:creationId xmlns:a16="http://schemas.microsoft.com/office/drawing/2014/main" id="{07EE2AF5-29C5-B465-E411-00CDA15D3BBF}"/>
              </a:ext>
            </a:extLst>
          </p:cNvPr>
          <p:cNvSpPr>
            <a:spLocks noGrp="1"/>
          </p:cNvSpPr>
          <p:nvPr>
            <p:ph type="body" sz="quarter" idx="17" hasCustomPrompt="1"/>
          </p:nvPr>
        </p:nvSpPr>
        <p:spPr>
          <a:xfrm>
            <a:off x="469362" y="2491705"/>
            <a:ext cx="3794824" cy="276999"/>
          </a:xfrm>
        </p:spPr>
        <p:txBody>
          <a:bodyPr/>
          <a:lstStyle>
            <a:lvl1pPr algn="l">
              <a:defRPr sz="1800" b="1"/>
            </a:lvl1pPr>
          </a:lstStyle>
          <a:p>
            <a:r>
              <a:rPr lang="en-US"/>
              <a:t>Subtitle Here</a:t>
            </a:r>
          </a:p>
        </p:txBody>
      </p:sp>
      <p:sp>
        <p:nvSpPr>
          <p:cNvPr id="449" name="Text Placeholder 10">
            <a:extLst>
              <a:ext uri="{FF2B5EF4-FFF2-40B4-BE49-F238E27FC236}">
                <a16:creationId xmlns:a16="http://schemas.microsoft.com/office/drawing/2014/main" id="{068F4535-A7FF-0DA7-2180-6FF07B287019}"/>
              </a:ext>
            </a:extLst>
          </p:cNvPr>
          <p:cNvSpPr>
            <a:spLocks noGrp="1"/>
          </p:cNvSpPr>
          <p:nvPr>
            <p:ph type="body" sz="quarter" idx="19" hasCustomPrompt="1"/>
          </p:nvPr>
        </p:nvSpPr>
        <p:spPr>
          <a:xfrm>
            <a:off x="469362" y="4454745"/>
            <a:ext cx="3794824" cy="276999"/>
          </a:xfrm>
        </p:spPr>
        <p:txBody>
          <a:bodyPr/>
          <a:lstStyle>
            <a:lvl1pPr algn="l">
              <a:defRPr sz="1800" b="1"/>
            </a:lvl1pPr>
          </a:lstStyle>
          <a:p>
            <a:r>
              <a:rPr lang="en-US"/>
              <a:t>Subtitle Here</a:t>
            </a:r>
          </a:p>
        </p:txBody>
      </p:sp>
      <p:grpSp>
        <p:nvGrpSpPr>
          <p:cNvPr id="2" name="Group 2331">
            <a:extLst>
              <a:ext uri="{FF2B5EF4-FFF2-40B4-BE49-F238E27FC236}">
                <a16:creationId xmlns:a16="http://schemas.microsoft.com/office/drawing/2014/main" id="{90A69069-878D-64E0-97B9-8CE1B71A201A}"/>
              </a:ext>
            </a:extLst>
          </p:cNvPr>
          <p:cNvGrpSpPr/>
          <p:nvPr userDrawn="1"/>
        </p:nvGrpSpPr>
        <p:grpSpPr>
          <a:xfrm>
            <a:off x="4850296" y="1265839"/>
            <a:ext cx="7159779" cy="4680745"/>
            <a:chOff x="0" y="0"/>
            <a:chExt cx="10014356" cy="6546940"/>
          </a:xfrm>
          <a:solidFill>
            <a:schemeClr val="accent5"/>
          </a:solidFill>
        </p:grpSpPr>
        <p:sp>
          <p:nvSpPr>
            <p:cNvPr id="5" name="Shape 2280">
              <a:extLst>
                <a:ext uri="{FF2B5EF4-FFF2-40B4-BE49-F238E27FC236}">
                  <a16:creationId xmlns:a16="http://schemas.microsoft.com/office/drawing/2014/main" id="{BA119A05-CC83-46E9-8F4C-BACBDCF35D0D}"/>
                </a:ext>
              </a:extLst>
            </p:cNvPr>
            <p:cNvSpPr/>
            <p:nvPr/>
          </p:nvSpPr>
          <p:spPr>
            <a:xfrm>
              <a:off x="754379" y="0"/>
              <a:ext cx="1248085" cy="926240"/>
            </a:xfrm>
            <a:custGeom>
              <a:avLst/>
              <a:gdLst/>
              <a:ahLst/>
              <a:cxnLst>
                <a:cxn ang="0">
                  <a:pos x="wd2" y="hd2"/>
                </a:cxn>
                <a:cxn ang="5400000">
                  <a:pos x="wd2" y="hd2"/>
                </a:cxn>
                <a:cxn ang="10800000">
                  <a:pos x="wd2" y="hd2"/>
                </a:cxn>
                <a:cxn ang="16200000">
                  <a:pos x="wd2" y="hd2"/>
                </a:cxn>
              </a:cxnLst>
              <a:rect l="0" t="0" r="r" b="b"/>
              <a:pathLst>
                <a:path w="21600" h="21600" extrusionOk="0">
                  <a:moveTo>
                    <a:pt x="21600" y="5343"/>
                  </a:moveTo>
                  <a:cubicBezTo>
                    <a:pt x="21600" y="5343"/>
                    <a:pt x="19583" y="18303"/>
                    <a:pt x="19163" y="18985"/>
                  </a:cubicBezTo>
                  <a:cubicBezTo>
                    <a:pt x="18826" y="19781"/>
                    <a:pt x="19247" y="19554"/>
                    <a:pt x="19247" y="20349"/>
                  </a:cubicBezTo>
                  <a:cubicBezTo>
                    <a:pt x="19247" y="21032"/>
                    <a:pt x="19079" y="21600"/>
                    <a:pt x="19079" y="21600"/>
                  </a:cubicBezTo>
                  <a:cubicBezTo>
                    <a:pt x="13532" y="19667"/>
                    <a:pt x="13532" y="19667"/>
                    <a:pt x="13532" y="19667"/>
                  </a:cubicBezTo>
                  <a:cubicBezTo>
                    <a:pt x="12607" y="19554"/>
                    <a:pt x="12607" y="19554"/>
                    <a:pt x="12607" y="19554"/>
                  </a:cubicBezTo>
                  <a:cubicBezTo>
                    <a:pt x="12271" y="19667"/>
                    <a:pt x="12271" y="19667"/>
                    <a:pt x="12271" y="19667"/>
                  </a:cubicBezTo>
                  <a:cubicBezTo>
                    <a:pt x="11851" y="19554"/>
                    <a:pt x="11851" y="19554"/>
                    <a:pt x="11851" y="19554"/>
                  </a:cubicBezTo>
                  <a:cubicBezTo>
                    <a:pt x="11514" y="19667"/>
                    <a:pt x="11514" y="19667"/>
                    <a:pt x="11514" y="19667"/>
                  </a:cubicBezTo>
                  <a:cubicBezTo>
                    <a:pt x="9077" y="19781"/>
                    <a:pt x="9077" y="19781"/>
                    <a:pt x="9077" y="19781"/>
                  </a:cubicBezTo>
                  <a:cubicBezTo>
                    <a:pt x="8825" y="19554"/>
                    <a:pt x="8825" y="19554"/>
                    <a:pt x="8825" y="19554"/>
                  </a:cubicBezTo>
                  <a:cubicBezTo>
                    <a:pt x="8573" y="19667"/>
                    <a:pt x="8573" y="19667"/>
                    <a:pt x="8573" y="19667"/>
                  </a:cubicBezTo>
                  <a:cubicBezTo>
                    <a:pt x="8321" y="19781"/>
                    <a:pt x="8321" y="19781"/>
                    <a:pt x="8321" y="19781"/>
                  </a:cubicBezTo>
                  <a:cubicBezTo>
                    <a:pt x="8153" y="19781"/>
                    <a:pt x="8153" y="19781"/>
                    <a:pt x="8153" y="19781"/>
                  </a:cubicBezTo>
                  <a:cubicBezTo>
                    <a:pt x="7900" y="19667"/>
                    <a:pt x="7900" y="19667"/>
                    <a:pt x="7900" y="19667"/>
                  </a:cubicBezTo>
                  <a:cubicBezTo>
                    <a:pt x="7900" y="19554"/>
                    <a:pt x="7900" y="19554"/>
                    <a:pt x="7900" y="19554"/>
                  </a:cubicBezTo>
                  <a:cubicBezTo>
                    <a:pt x="7480" y="19554"/>
                    <a:pt x="7480" y="19554"/>
                    <a:pt x="7480" y="19554"/>
                  </a:cubicBezTo>
                  <a:cubicBezTo>
                    <a:pt x="7228" y="19440"/>
                    <a:pt x="7228" y="19440"/>
                    <a:pt x="7228" y="19440"/>
                  </a:cubicBezTo>
                  <a:cubicBezTo>
                    <a:pt x="7144" y="19213"/>
                    <a:pt x="7144" y="19213"/>
                    <a:pt x="7144" y="19213"/>
                  </a:cubicBezTo>
                  <a:cubicBezTo>
                    <a:pt x="7144" y="19099"/>
                    <a:pt x="7144" y="19099"/>
                    <a:pt x="7144" y="19099"/>
                  </a:cubicBezTo>
                  <a:cubicBezTo>
                    <a:pt x="6808" y="18985"/>
                    <a:pt x="6808" y="18985"/>
                    <a:pt x="6808" y="18985"/>
                  </a:cubicBezTo>
                  <a:cubicBezTo>
                    <a:pt x="6135" y="18758"/>
                    <a:pt x="6135" y="18758"/>
                    <a:pt x="6135" y="18758"/>
                  </a:cubicBezTo>
                  <a:cubicBezTo>
                    <a:pt x="5715" y="18531"/>
                    <a:pt x="5715" y="18531"/>
                    <a:pt x="5715" y="18531"/>
                  </a:cubicBezTo>
                  <a:cubicBezTo>
                    <a:pt x="5547" y="18417"/>
                    <a:pt x="5547" y="18417"/>
                    <a:pt x="5547" y="18417"/>
                  </a:cubicBezTo>
                  <a:cubicBezTo>
                    <a:pt x="5043" y="18531"/>
                    <a:pt x="5043" y="18531"/>
                    <a:pt x="5043" y="18531"/>
                  </a:cubicBezTo>
                  <a:cubicBezTo>
                    <a:pt x="4286" y="18758"/>
                    <a:pt x="4286" y="18758"/>
                    <a:pt x="4286" y="18758"/>
                  </a:cubicBezTo>
                  <a:cubicBezTo>
                    <a:pt x="3362" y="18417"/>
                    <a:pt x="3362" y="18417"/>
                    <a:pt x="3362" y="18417"/>
                  </a:cubicBezTo>
                  <a:cubicBezTo>
                    <a:pt x="2774" y="17735"/>
                    <a:pt x="2774" y="17735"/>
                    <a:pt x="2774" y="17735"/>
                  </a:cubicBezTo>
                  <a:cubicBezTo>
                    <a:pt x="2774" y="17735"/>
                    <a:pt x="3026" y="16939"/>
                    <a:pt x="2942" y="15916"/>
                  </a:cubicBezTo>
                  <a:cubicBezTo>
                    <a:pt x="2858" y="14779"/>
                    <a:pt x="2437" y="14552"/>
                    <a:pt x="2437" y="14552"/>
                  </a:cubicBezTo>
                  <a:cubicBezTo>
                    <a:pt x="2017" y="14552"/>
                    <a:pt x="2017" y="14552"/>
                    <a:pt x="2017" y="14552"/>
                  </a:cubicBezTo>
                  <a:cubicBezTo>
                    <a:pt x="1681" y="14324"/>
                    <a:pt x="1681" y="14324"/>
                    <a:pt x="1681" y="14324"/>
                  </a:cubicBezTo>
                  <a:cubicBezTo>
                    <a:pt x="1681" y="14324"/>
                    <a:pt x="1681" y="13642"/>
                    <a:pt x="1261" y="13642"/>
                  </a:cubicBezTo>
                  <a:cubicBezTo>
                    <a:pt x="840" y="13642"/>
                    <a:pt x="840" y="13642"/>
                    <a:pt x="840" y="13642"/>
                  </a:cubicBezTo>
                  <a:cubicBezTo>
                    <a:pt x="336" y="13528"/>
                    <a:pt x="336" y="13528"/>
                    <a:pt x="336" y="13528"/>
                  </a:cubicBezTo>
                  <a:cubicBezTo>
                    <a:pt x="0" y="13187"/>
                    <a:pt x="0" y="13187"/>
                    <a:pt x="0" y="13187"/>
                  </a:cubicBezTo>
                  <a:cubicBezTo>
                    <a:pt x="84" y="12392"/>
                    <a:pt x="84" y="12392"/>
                    <a:pt x="84" y="12392"/>
                  </a:cubicBezTo>
                  <a:cubicBezTo>
                    <a:pt x="252" y="11709"/>
                    <a:pt x="252" y="11709"/>
                    <a:pt x="252" y="11709"/>
                  </a:cubicBezTo>
                  <a:cubicBezTo>
                    <a:pt x="336" y="11596"/>
                    <a:pt x="336" y="11596"/>
                    <a:pt x="336" y="11596"/>
                  </a:cubicBezTo>
                  <a:cubicBezTo>
                    <a:pt x="420" y="11937"/>
                    <a:pt x="420" y="11937"/>
                    <a:pt x="420" y="11937"/>
                  </a:cubicBezTo>
                  <a:cubicBezTo>
                    <a:pt x="504" y="12051"/>
                    <a:pt x="504" y="12051"/>
                    <a:pt x="504" y="12051"/>
                  </a:cubicBezTo>
                  <a:cubicBezTo>
                    <a:pt x="588" y="11937"/>
                    <a:pt x="588" y="11937"/>
                    <a:pt x="588" y="11937"/>
                  </a:cubicBezTo>
                  <a:cubicBezTo>
                    <a:pt x="588" y="11482"/>
                    <a:pt x="588" y="11482"/>
                    <a:pt x="588" y="11482"/>
                  </a:cubicBezTo>
                  <a:cubicBezTo>
                    <a:pt x="925" y="11255"/>
                    <a:pt x="925" y="11255"/>
                    <a:pt x="925" y="11255"/>
                  </a:cubicBezTo>
                  <a:cubicBezTo>
                    <a:pt x="925" y="11141"/>
                    <a:pt x="925" y="11141"/>
                    <a:pt x="925" y="11141"/>
                  </a:cubicBezTo>
                  <a:cubicBezTo>
                    <a:pt x="756" y="10914"/>
                    <a:pt x="756" y="10914"/>
                    <a:pt x="756" y="10914"/>
                  </a:cubicBezTo>
                  <a:cubicBezTo>
                    <a:pt x="672" y="10800"/>
                    <a:pt x="672" y="10800"/>
                    <a:pt x="672" y="10800"/>
                  </a:cubicBezTo>
                  <a:cubicBezTo>
                    <a:pt x="588" y="10004"/>
                    <a:pt x="588" y="10004"/>
                    <a:pt x="588" y="10004"/>
                  </a:cubicBezTo>
                  <a:cubicBezTo>
                    <a:pt x="1177" y="9891"/>
                    <a:pt x="1177" y="9891"/>
                    <a:pt x="1177" y="9891"/>
                  </a:cubicBezTo>
                  <a:cubicBezTo>
                    <a:pt x="1345" y="9663"/>
                    <a:pt x="1345" y="9663"/>
                    <a:pt x="1345" y="9663"/>
                  </a:cubicBezTo>
                  <a:cubicBezTo>
                    <a:pt x="840" y="9095"/>
                    <a:pt x="840" y="9095"/>
                    <a:pt x="840" y="9095"/>
                  </a:cubicBezTo>
                  <a:cubicBezTo>
                    <a:pt x="672" y="8867"/>
                    <a:pt x="672" y="8867"/>
                    <a:pt x="672" y="8867"/>
                  </a:cubicBezTo>
                  <a:cubicBezTo>
                    <a:pt x="504" y="7276"/>
                    <a:pt x="504" y="7276"/>
                    <a:pt x="504" y="7276"/>
                  </a:cubicBezTo>
                  <a:cubicBezTo>
                    <a:pt x="504" y="6821"/>
                    <a:pt x="504" y="6821"/>
                    <a:pt x="504" y="6821"/>
                  </a:cubicBezTo>
                  <a:cubicBezTo>
                    <a:pt x="672" y="6707"/>
                    <a:pt x="672" y="6707"/>
                    <a:pt x="672" y="6707"/>
                  </a:cubicBezTo>
                  <a:cubicBezTo>
                    <a:pt x="672" y="4661"/>
                    <a:pt x="672" y="4661"/>
                    <a:pt x="672" y="4661"/>
                  </a:cubicBezTo>
                  <a:cubicBezTo>
                    <a:pt x="252" y="4206"/>
                    <a:pt x="252" y="4206"/>
                    <a:pt x="252" y="4206"/>
                  </a:cubicBezTo>
                  <a:cubicBezTo>
                    <a:pt x="252" y="2615"/>
                    <a:pt x="252" y="2615"/>
                    <a:pt x="252" y="2615"/>
                  </a:cubicBezTo>
                  <a:cubicBezTo>
                    <a:pt x="672" y="1933"/>
                    <a:pt x="672" y="1933"/>
                    <a:pt x="672" y="1933"/>
                  </a:cubicBezTo>
                  <a:cubicBezTo>
                    <a:pt x="840" y="1137"/>
                    <a:pt x="840" y="1137"/>
                    <a:pt x="840" y="1137"/>
                  </a:cubicBezTo>
                  <a:cubicBezTo>
                    <a:pt x="1765" y="2387"/>
                    <a:pt x="1765" y="2387"/>
                    <a:pt x="1765" y="2387"/>
                  </a:cubicBezTo>
                  <a:cubicBezTo>
                    <a:pt x="2774" y="3411"/>
                    <a:pt x="2774" y="3411"/>
                    <a:pt x="2774" y="3411"/>
                  </a:cubicBezTo>
                  <a:cubicBezTo>
                    <a:pt x="3530" y="3865"/>
                    <a:pt x="3530" y="3865"/>
                    <a:pt x="3530" y="3865"/>
                  </a:cubicBezTo>
                  <a:cubicBezTo>
                    <a:pt x="4118" y="4093"/>
                    <a:pt x="4118" y="4093"/>
                    <a:pt x="4118" y="4093"/>
                  </a:cubicBezTo>
                  <a:cubicBezTo>
                    <a:pt x="4370" y="4093"/>
                    <a:pt x="4370" y="4093"/>
                    <a:pt x="4370" y="4093"/>
                  </a:cubicBezTo>
                  <a:cubicBezTo>
                    <a:pt x="4623" y="4093"/>
                    <a:pt x="4623" y="4093"/>
                    <a:pt x="4623" y="4093"/>
                  </a:cubicBezTo>
                  <a:cubicBezTo>
                    <a:pt x="4791" y="4888"/>
                    <a:pt x="4791" y="4888"/>
                    <a:pt x="4791" y="4888"/>
                  </a:cubicBezTo>
                  <a:cubicBezTo>
                    <a:pt x="5463" y="4775"/>
                    <a:pt x="5463" y="4775"/>
                    <a:pt x="5463" y="4775"/>
                  </a:cubicBezTo>
                  <a:cubicBezTo>
                    <a:pt x="5547" y="5912"/>
                    <a:pt x="5547" y="5912"/>
                    <a:pt x="5547" y="5912"/>
                  </a:cubicBezTo>
                  <a:cubicBezTo>
                    <a:pt x="5295" y="6366"/>
                    <a:pt x="5295" y="6366"/>
                    <a:pt x="5295" y="6366"/>
                  </a:cubicBezTo>
                  <a:cubicBezTo>
                    <a:pt x="4539" y="6935"/>
                    <a:pt x="4539" y="6935"/>
                    <a:pt x="4539" y="6935"/>
                  </a:cubicBezTo>
                  <a:cubicBezTo>
                    <a:pt x="4034" y="7844"/>
                    <a:pt x="4034" y="7844"/>
                    <a:pt x="4034" y="7844"/>
                  </a:cubicBezTo>
                  <a:cubicBezTo>
                    <a:pt x="3866" y="8299"/>
                    <a:pt x="3866" y="8299"/>
                    <a:pt x="3866" y="8299"/>
                  </a:cubicBezTo>
                  <a:cubicBezTo>
                    <a:pt x="4034" y="8413"/>
                    <a:pt x="4034" y="8413"/>
                    <a:pt x="4034" y="8413"/>
                  </a:cubicBezTo>
                  <a:cubicBezTo>
                    <a:pt x="4370" y="7958"/>
                    <a:pt x="4370" y="7958"/>
                    <a:pt x="4370" y="7958"/>
                  </a:cubicBezTo>
                  <a:cubicBezTo>
                    <a:pt x="4623" y="7503"/>
                    <a:pt x="4623" y="7503"/>
                    <a:pt x="4623" y="7503"/>
                  </a:cubicBezTo>
                  <a:cubicBezTo>
                    <a:pt x="5379" y="6821"/>
                    <a:pt x="5379" y="6821"/>
                    <a:pt x="5379" y="6821"/>
                  </a:cubicBezTo>
                  <a:cubicBezTo>
                    <a:pt x="5883" y="6480"/>
                    <a:pt x="5883" y="6480"/>
                    <a:pt x="5883" y="6480"/>
                  </a:cubicBezTo>
                  <a:cubicBezTo>
                    <a:pt x="5799" y="6935"/>
                    <a:pt x="5799" y="6935"/>
                    <a:pt x="5799" y="6935"/>
                  </a:cubicBezTo>
                  <a:cubicBezTo>
                    <a:pt x="5547" y="7276"/>
                    <a:pt x="5547" y="7276"/>
                    <a:pt x="5547" y="7276"/>
                  </a:cubicBezTo>
                  <a:cubicBezTo>
                    <a:pt x="5211" y="8413"/>
                    <a:pt x="5211" y="8413"/>
                    <a:pt x="5211" y="8413"/>
                  </a:cubicBezTo>
                  <a:cubicBezTo>
                    <a:pt x="4370" y="9095"/>
                    <a:pt x="4370" y="9095"/>
                    <a:pt x="4370" y="9095"/>
                  </a:cubicBezTo>
                  <a:cubicBezTo>
                    <a:pt x="3866" y="9777"/>
                    <a:pt x="3866" y="9777"/>
                    <a:pt x="3866" y="9777"/>
                  </a:cubicBezTo>
                  <a:cubicBezTo>
                    <a:pt x="3866" y="10345"/>
                    <a:pt x="3866" y="10345"/>
                    <a:pt x="3866" y="10345"/>
                  </a:cubicBezTo>
                  <a:cubicBezTo>
                    <a:pt x="4202" y="10459"/>
                    <a:pt x="4202" y="10459"/>
                    <a:pt x="4202" y="10459"/>
                  </a:cubicBezTo>
                  <a:cubicBezTo>
                    <a:pt x="4623" y="9891"/>
                    <a:pt x="4623" y="9891"/>
                    <a:pt x="4623" y="9891"/>
                  </a:cubicBezTo>
                  <a:cubicBezTo>
                    <a:pt x="5043" y="9436"/>
                    <a:pt x="5043" y="9436"/>
                    <a:pt x="5043" y="9436"/>
                  </a:cubicBezTo>
                  <a:cubicBezTo>
                    <a:pt x="5463" y="9322"/>
                    <a:pt x="5463" y="9322"/>
                    <a:pt x="5463" y="9322"/>
                  </a:cubicBezTo>
                  <a:cubicBezTo>
                    <a:pt x="5799" y="8867"/>
                    <a:pt x="5799" y="8867"/>
                    <a:pt x="5799" y="8867"/>
                  </a:cubicBezTo>
                  <a:cubicBezTo>
                    <a:pt x="5967" y="7731"/>
                    <a:pt x="5967" y="7731"/>
                    <a:pt x="5967" y="7731"/>
                  </a:cubicBezTo>
                  <a:cubicBezTo>
                    <a:pt x="6304" y="6821"/>
                    <a:pt x="6304" y="6821"/>
                    <a:pt x="6304" y="6821"/>
                  </a:cubicBezTo>
                  <a:cubicBezTo>
                    <a:pt x="6724" y="6139"/>
                    <a:pt x="6724" y="6139"/>
                    <a:pt x="6724" y="6139"/>
                  </a:cubicBezTo>
                  <a:cubicBezTo>
                    <a:pt x="6808" y="5684"/>
                    <a:pt x="6808" y="5684"/>
                    <a:pt x="6808" y="5684"/>
                  </a:cubicBezTo>
                  <a:cubicBezTo>
                    <a:pt x="6556" y="4775"/>
                    <a:pt x="6556" y="4775"/>
                    <a:pt x="6556" y="4775"/>
                  </a:cubicBezTo>
                  <a:cubicBezTo>
                    <a:pt x="6556" y="3865"/>
                    <a:pt x="6556" y="3865"/>
                    <a:pt x="6556" y="3865"/>
                  </a:cubicBezTo>
                  <a:cubicBezTo>
                    <a:pt x="6304" y="3979"/>
                    <a:pt x="6304" y="3979"/>
                    <a:pt x="6304" y="3979"/>
                  </a:cubicBezTo>
                  <a:cubicBezTo>
                    <a:pt x="6135" y="4320"/>
                    <a:pt x="6135" y="4320"/>
                    <a:pt x="6135" y="4320"/>
                  </a:cubicBezTo>
                  <a:cubicBezTo>
                    <a:pt x="6219" y="5229"/>
                    <a:pt x="6219" y="5229"/>
                    <a:pt x="6219" y="5229"/>
                  </a:cubicBezTo>
                  <a:cubicBezTo>
                    <a:pt x="6388" y="5912"/>
                    <a:pt x="6388" y="5912"/>
                    <a:pt x="6388" y="5912"/>
                  </a:cubicBezTo>
                  <a:cubicBezTo>
                    <a:pt x="6388" y="6139"/>
                    <a:pt x="6388" y="6139"/>
                    <a:pt x="6388" y="6139"/>
                  </a:cubicBezTo>
                  <a:cubicBezTo>
                    <a:pt x="6219" y="6025"/>
                    <a:pt x="6219" y="6025"/>
                    <a:pt x="6219" y="6025"/>
                  </a:cubicBezTo>
                  <a:cubicBezTo>
                    <a:pt x="6051" y="5798"/>
                    <a:pt x="6051" y="5798"/>
                    <a:pt x="6051" y="5798"/>
                  </a:cubicBezTo>
                  <a:cubicBezTo>
                    <a:pt x="5883" y="5229"/>
                    <a:pt x="5883" y="5229"/>
                    <a:pt x="5883" y="5229"/>
                  </a:cubicBezTo>
                  <a:cubicBezTo>
                    <a:pt x="5715" y="4661"/>
                    <a:pt x="5715" y="4661"/>
                    <a:pt x="5715" y="4661"/>
                  </a:cubicBezTo>
                  <a:cubicBezTo>
                    <a:pt x="5715" y="4206"/>
                    <a:pt x="5715" y="4206"/>
                    <a:pt x="5715" y="4206"/>
                  </a:cubicBezTo>
                  <a:cubicBezTo>
                    <a:pt x="6135" y="3638"/>
                    <a:pt x="6135" y="3638"/>
                    <a:pt x="6135" y="3638"/>
                  </a:cubicBezTo>
                  <a:cubicBezTo>
                    <a:pt x="6304" y="3183"/>
                    <a:pt x="6304" y="3183"/>
                    <a:pt x="6304" y="3183"/>
                  </a:cubicBezTo>
                  <a:cubicBezTo>
                    <a:pt x="6219" y="2728"/>
                    <a:pt x="6219" y="2728"/>
                    <a:pt x="6219" y="2728"/>
                  </a:cubicBezTo>
                  <a:cubicBezTo>
                    <a:pt x="6640" y="3297"/>
                    <a:pt x="6640" y="3297"/>
                    <a:pt x="6640" y="3297"/>
                  </a:cubicBezTo>
                  <a:cubicBezTo>
                    <a:pt x="6724" y="3411"/>
                    <a:pt x="6724" y="3411"/>
                    <a:pt x="6724" y="3411"/>
                  </a:cubicBezTo>
                  <a:cubicBezTo>
                    <a:pt x="6808" y="2728"/>
                    <a:pt x="6808" y="2728"/>
                    <a:pt x="6808" y="2728"/>
                  </a:cubicBezTo>
                  <a:cubicBezTo>
                    <a:pt x="6640" y="1705"/>
                    <a:pt x="6640" y="1705"/>
                    <a:pt x="6640" y="1705"/>
                  </a:cubicBezTo>
                  <a:cubicBezTo>
                    <a:pt x="6724" y="1364"/>
                    <a:pt x="6724" y="1364"/>
                    <a:pt x="6724" y="1364"/>
                  </a:cubicBezTo>
                  <a:cubicBezTo>
                    <a:pt x="6472" y="1251"/>
                    <a:pt x="6472" y="1251"/>
                    <a:pt x="6472" y="1251"/>
                  </a:cubicBezTo>
                  <a:cubicBezTo>
                    <a:pt x="6388" y="0"/>
                    <a:pt x="6388" y="0"/>
                    <a:pt x="6388" y="0"/>
                  </a:cubicBezTo>
                  <a:cubicBezTo>
                    <a:pt x="6388" y="0"/>
                    <a:pt x="11178" y="1819"/>
                    <a:pt x="12187" y="2160"/>
                  </a:cubicBezTo>
                  <a:cubicBezTo>
                    <a:pt x="13111" y="2501"/>
                    <a:pt x="19331" y="4775"/>
                    <a:pt x="19751" y="4888"/>
                  </a:cubicBezTo>
                  <a:cubicBezTo>
                    <a:pt x="20171" y="5116"/>
                    <a:pt x="20675" y="5116"/>
                    <a:pt x="20675" y="5116"/>
                  </a:cubicBezTo>
                  <a:lnTo>
                    <a:pt x="21600" y="534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 name="Shape 2281">
              <a:extLst>
                <a:ext uri="{FF2B5EF4-FFF2-40B4-BE49-F238E27FC236}">
                  <a16:creationId xmlns:a16="http://schemas.microsoft.com/office/drawing/2014/main" id="{9D091748-B925-0417-9366-1DA58AF74E52}"/>
                </a:ext>
              </a:extLst>
            </p:cNvPr>
            <p:cNvSpPr/>
            <p:nvPr/>
          </p:nvSpPr>
          <p:spPr>
            <a:xfrm>
              <a:off x="2617878" y="3261965"/>
              <a:ext cx="1311353" cy="1346207"/>
            </a:xfrm>
            <a:custGeom>
              <a:avLst/>
              <a:gdLst/>
              <a:ahLst/>
              <a:cxnLst>
                <a:cxn ang="0">
                  <a:pos x="wd2" y="hd2"/>
                </a:cxn>
                <a:cxn ang="5400000">
                  <a:pos x="wd2" y="hd2"/>
                </a:cxn>
                <a:cxn ang="10800000">
                  <a:pos x="wd2" y="hd2"/>
                </a:cxn>
                <a:cxn ang="16200000">
                  <a:pos x="wd2" y="hd2"/>
                </a:cxn>
              </a:cxnLst>
              <a:rect l="0" t="0" r="r" b="b"/>
              <a:pathLst>
                <a:path w="21600" h="21600" extrusionOk="0">
                  <a:moveTo>
                    <a:pt x="3221" y="0"/>
                  </a:moveTo>
                  <a:lnTo>
                    <a:pt x="21600" y="2123"/>
                  </a:lnTo>
                  <a:lnTo>
                    <a:pt x="21505" y="4062"/>
                  </a:lnTo>
                  <a:lnTo>
                    <a:pt x="21221" y="4062"/>
                  </a:lnTo>
                  <a:lnTo>
                    <a:pt x="19895" y="20862"/>
                  </a:lnTo>
                  <a:lnTo>
                    <a:pt x="8621" y="19846"/>
                  </a:lnTo>
                  <a:lnTo>
                    <a:pt x="8526" y="20677"/>
                  </a:lnTo>
                  <a:lnTo>
                    <a:pt x="3032" y="20123"/>
                  </a:lnTo>
                  <a:lnTo>
                    <a:pt x="2747" y="21600"/>
                  </a:lnTo>
                  <a:lnTo>
                    <a:pt x="0" y="21231"/>
                  </a:lnTo>
                  <a:lnTo>
                    <a:pt x="3221"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7" name="Shape 2282">
              <a:extLst>
                <a:ext uri="{FF2B5EF4-FFF2-40B4-BE49-F238E27FC236}">
                  <a16:creationId xmlns:a16="http://schemas.microsoft.com/office/drawing/2014/main" id="{7F40A789-1581-DB67-CE95-FDECE39CECA1}"/>
                </a:ext>
              </a:extLst>
            </p:cNvPr>
            <p:cNvSpPr/>
            <p:nvPr/>
          </p:nvSpPr>
          <p:spPr>
            <a:xfrm>
              <a:off x="3106753" y="3515100"/>
              <a:ext cx="2599698" cy="2565852"/>
            </a:xfrm>
            <a:custGeom>
              <a:avLst/>
              <a:gdLst/>
              <a:ahLst/>
              <a:cxnLst>
                <a:cxn ang="0">
                  <a:pos x="wd2" y="hd2"/>
                </a:cxn>
                <a:cxn ang="5400000">
                  <a:pos x="wd2" y="hd2"/>
                </a:cxn>
                <a:cxn ang="10800000">
                  <a:pos x="wd2" y="hd2"/>
                </a:cxn>
                <a:cxn ang="16200000">
                  <a:pos x="wd2" y="hd2"/>
                </a:cxn>
              </a:cxnLst>
              <a:rect l="0" t="0" r="r" b="b"/>
              <a:pathLst>
                <a:path w="21600" h="21600" extrusionOk="0">
                  <a:moveTo>
                    <a:pt x="21313" y="12253"/>
                  </a:moveTo>
                  <a:lnTo>
                    <a:pt x="21409" y="11865"/>
                  </a:lnTo>
                  <a:lnTo>
                    <a:pt x="21600" y="11623"/>
                  </a:lnTo>
                  <a:lnTo>
                    <a:pt x="21504" y="11333"/>
                  </a:lnTo>
                  <a:lnTo>
                    <a:pt x="21409" y="10945"/>
                  </a:lnTo>
                  <a:lnTo>
                    <a:pt x="21361" y="10800"/>
                  </a:lnTo>
                  <a:lnTo>
                    <a:pt x="21361" y="10509"/>
                  </a:lnTo>
                  <a:lnTo>
                    <a:pt x="21313" y="10413"/>
                  </a:lnTo>
                  <a:lnTo>
                    <a:pt x="21122" y="9977"/>
                  </a:lnTo>
                  <a:lnTo>
                    <a:pt x="21122" y="9880"/>
                  </a:lnTo>
                  <a:lnTo>
                    <a:pt x="20788" y="9589"/>
                  </a:lnTo>
                  <a:lnTo>
                    <a:pt x="20788" y="6344"/>
                  </a:lnTo>
                  <a:lnTo>
                    <a:pt x="20310" y="6296"/>
                  </a:lnTo>
                  <a:lnTo>
                    <a:pt x="20214" y="6393"/>
                  </a:lnTo>
                  <a:lnTo>
                    <a:pt x="20071" y="6344"/>
                  </a:lnTo>
                  <a:lnTo>
                    <a:pt x="19927" y="6199"/>
                  </a:lnTo>
                  <a:lnTo>
                    <a:pt x="19736" y="6102"/>
                  </a:lnTo>
                  <a:lnTo>
                    <a:pt x="19497" y="6102"/>
                  </a:lnTo>
                  <a:lnTo>
                    <a:pt x="19211" y="5909"/>
                  </a:lnTo>
                  <a:lnTo>
                    <a:pt x="19019" y="5666"/>
                  </a:lnTo>
                  <a:lnTo>
                    <a:pt x="18781" y="5618"/>
                  </a:lnTo>
                  <a:lnTo>
                    <a:pt x="18398" y="5715"/>
                  </a:lnTo>
                  <a:lnTo>
                    <a:pt x="18303" y="5666"/>
                  </a:lnTo>
                  <a:lnTo>
                    <a:pt x="18064" y="5618"/>
                  </a:lnTo>
                  <a:lnTo>
                    <a:pt x="17873" y="5763"/>
                  </a:lnTo>
                  <a:lnTo>
                    <a:pt x="17777" y="5812"/>
                  </a:lnTo>
                  <a:lnTo>
                    <a:pt x="17634" y="5715"/>
                  </a:lnTo>
                  <a:lnTo>
                    <a:pt x="17442" y="5715"/>
                  </a:lnTo>
                  <a:lnTo>
                    <a:pt x="17347" y="5860"/>
                  </a:lnTo>
                  <a:lnTo>
                    <a:pt x="17108" y="6005"/>
                  </a:lnTo>
                  <a:lnTo>
                    <a:pt x="16917" y="6054"/>
                  </a:lnTo>
                  <a:lnTo>
                    <a:pt x="16821" y="5909"/>
                  </a:lnTo>
                  <a:lnTo>
                    <a:pt x="16678" y="5763"/>
                  </a:lnTo>
                  <a:lnTo>
                    <a:pt x="16296" y="5812"/>
                  </a:lnTo>
                  <a:lnTo>
                    <a:pt x="16057" y="5666"/>
                  </a:lnTo>
                  <a:lnTo>
                    <a:pt x="15865" y="5715"/>
                  </a:lnTo>
                  <a:lnTo>
                    <a:pt x="15770" y="5909"/>
                  </a:lnTo>
                  <a:lnTo>
                    <a:pt x="15674" y="5957"/>
                  </a:lnTo>
                  <a:lnTo>
                    <a:pt x="15627" y="5715"/>
                  </a:lnTo>
                  <a:lnTo>
                    <a:pt x="15531" y="5618"/>
                  </a:lnTo>
                  <a:lnTo>
                    <a:pt x="15244" y="5812"/>
                  </a:lnTo>
                  <a:lnTo>
                    <a:pt x="15196" y="5618"/>
                  </a:lnTo>
                  <a:lnTo>
                    <a:pt x="14910" y="5424"/>
                  </a:lnTo>
                  <a:lnTo>
                    <a:pt x="14814" y="5424"/>
                  </a:lnTo>
                  <a:lnTo>
                    <a:pt x="14719" y="5570"/>
                  </a:lnTo>
                  <a:lnTo>
                    <a:pt x="14575" y="5666"/>
                  </a:lnTo>
                  <a:lnTo>
                    <a:pt x="14432" y="5618"/>
                  </a:lnTo>
                  <a:lnTo>
                    <a:pt x="14384" y="5376"/>
                  </a:lnTo>
                  <a:lnTo>
                    <a:pt x="14241" y="5376"/>
                  </a:lnTo>
                  <a:lnTo>
                    <a:pt x="14097" y="5085"/>
                  </a:lnTo>
                  <a:lnTo>
                    <a:pt x="13715" y="5085"/>
                  </a:lnTo>
                  <a:lnTo>
                    <a:pt x="13572" y="5182"/>
                  </a:lnTo>
                  <a:lnTo>
                    <a:pt x="13428" y="5037"/>
                  </a:lnTo>
                  <a:lnTo>
                    <a:pt x="13381" y="5037"/>
                  </a:lnTo>
                  <a:lnTo>
                    <a:pt x="13142" y="5085"/>
                  </a:lnTo>
                  <a:lnTo>
                    <a:pt x="12855" y="4891"/>
                  </a:lnTo>
                  <a:lnTo>
                    <a:pt x="12473" y="4891"/>
                  </a:lnTo>
                  <a:lnTo>
                    <a:pt x="12377" y="4552"/>
                  </a:lnTo>
                  <a:lnTo>
                    <a:pt x="12186" y="4456"/>
                  </a:lnTo>
                  <a:lnTo>
                    <a:pt x="12090" y="4504"/>
                  </a:lnTo>
                  <a:lnTo>
                    <a:pt x="11947" y="4456"/>
                  </a:lnTo>
                  <a:lnTo>
                    <a:pt x="11804" y="4504"/>
                  </a:lnTo>
                  <a:lnTo>
                    <a:pt x="11660" y="4504"/>
                  </a:lnTo>
                  <a:lnTo>
                    <a:pt x="11565" y="4359"/>
                  </a:lnTo>
                  <a:lnTo>
                    <a:pt x="11230" y="4020"/>
                  </a:lnTo>
                  <a:lnTo>
                    <a:pt x="11421" y="291"/>
                  </a:lnTo>
                  <a:lnTo>
                    <a:pt x="6642" y="0"/>
                  </a:lnTo>
                  <a:lnTo>
                    <a:pt x="5973" y="8814"/>
                  </a:lnTo>
                  <a:lnTo>
                    <a:pt x="287" y="8282"/>
                  </a:lnTo>
                  <a:lnTo>
                    <a:pt x="239" y="8717"/>
                  </a:lnTo>
                  <a:lnTo>
                    <a:pt x="0" y="8717"/>
                  </a:lnTo>
                  <a:lnTo>
                    <a:pt x="96" y="8863"/>
                  </a:lnTo>
                  <a:lnTo>
                    <a:pt x="335" y="9008"/>
                  </a:lnTo>
                  <a:lnTo>
                    <a:pt x="478" y="9202"/>
                  </a:lnTo>
                  <a:lnTo>
                    <a:pt x="526" y="9347"/>
                  </a:lnTo>
                  <a:lnTo>
                    <a:pt x="621" y="9541"/>
                  </a:lnTo>
                  <a:lnTo>
                    <a:pt x="717" y="9589"/>
                  </a:lnTo>
                  <a:lnTo>
                    <a:pt x="1004" y="9783"/>
                  </a:lnTo>
                  <a:lnTo>
                    <a:pt x="1051" y="9928"/>
                  </a:lnTo>
                  <a:lnTo>
                    <a:pt x="1242" y="10170"/>
                  </a:lnTo>
                  <a:lnTo>
                    <a:pt x="1434" y="10316"/>
                  </a:lnTo>
                  <a:lnTo>
                    <a:pt x="1816" y="10848"/>
                  </a:lnTo>
                  <a:lnTo>
                    <a:pt x="1959" y="10848"/>
                  </a:lnTo>
                  <a:lnTo>
                    <a:pt x="2103" y="10994"/>
                  </a:lnTo>
                  <a:lnTo>
                    <a:pt x="2294" y="11139"/>
                  </a:lnTo>
                  <a:lnTo>
                    <a:pt x="2533" y="11333"/>
                  </a:lnTo>
                  <a:lnTo>
                    <a:pt x="2628" y="11526"/>
                  </a:lnTo>
                  <a:lnTo>
                    <a:pt x="2628" y="11865"/>
                  </a:lnTo>
                  <a:lnTo>
                    <a:pt x="2819" y="12156"/>
                  </a:lnTo>
                  <a:lnTo>
                    <a:pt x="2867" y="12350"/>
                  </a:lnTo>
                  <a:lnTo>
                    <a:pt x="2819" y="12543"/>
                  </a:lnTo>
                  <a:lnTo>
                    <a:pt x="2819" y="12786"/>
                  </a:lnTo>
                  <a:lnTo>
                    <a:pt x="2867" y="13076"/>
                  </a:lnTo>
                  <a:lnTo>
                    <a:pt x="3106" y="13318"/>
                  </a:lnTo>
                  <a:lnTo>
                    <a:pt x="3154" y="13464"/>
                  </a:lnTo>
                  <a:lnTo>
                    <a:pt x="3536" y="13851"/>
                  </a:lnTo>
                  <a:lnTo>
                    <a:pt x="3727" y="13996"/>
                  </a:lnTo>
                  <a:lnTo>
                    <a:pt x="3871" y="14142"/>
                  </a:lnTo>
                  <a:lnTo>
                    <a:pt x="4014" y="14190"/>
                  </a:lnTo>
                  <a:lnTo>
                    <a:pt x="4205" y="14335"/>
                  </a:lnTo>
                  <a:lnTo>
                    <a:pt x="4492" y="14481"/>
                  </a:lnTo>
                  <a:lnTo>
                    <a:pt x="4827" y="14723"/>
                  </a:lnTo>
                  <a:lnTo>
                    <a:pt x="4970" y="14771"/>
                  </a:lnTo>
                  <a:lnTo>
                    <a:pt x="5209" y="14868"/>
                  </a:lnTo>
                  <a:lnTo>
                    <a:pt x="5400" y="14868"/>
                  </a:lnTo>
                  <a:lnTo>
                    <a:pt x="5496" y="14674"/>
                  </a:lnTo>
                  <a:lnTo>
                    <a:pt x="5735" y="14432"/>
                  </a:lnTo>
                  <a:lnTo>
                    <a:pt x="5878" y="14384"/>
                  </a:lnTo>
                  <a:lnTo>
                    <a:pt x="5878" y="14142"/>
                  </a:lnTo>
                  <a:lnTo>
                    <a:pt x="5973" y="13948"/>
                  </a:lnTo>
                  <a:lnTo>
                    <a:pt x="6069" y="13706"/>
                  </a:lnTo>
                  <a:lnTo>
                    <a:pt x="6308" y="13415"/>
                  </a:lnTo>
                  <a:lnTo>
                    <a:pt x="6642" y="13367"/>
                  </a:lnTo>
                  <a:lnTo>
                    <a:pt x="6834" y="13318"/>
                  </a:lnTo>
                  <a:lnTo>
                    <a:pt x="7073" y="13318"/>
                  </a:lnTo>
                  <a:lnTo>
                    <a:pt x="7312" y="13415"/>
                  </a:lnTo>
                  <a:lnTo>
                    <a:pt x="7598" y="13464"/>
                  </a:lnTo>
                  <a:lnTo>
                    <a:pt x="7742" y="13464"/>
                  </a:lnTo>
                  <a:lnTo>
                    <a:pt x="8124" y="13512"/>
                  </a:lnTo>
                  <a:lnTo>
                    <a:pt x="8267" y="13609"/>
                  </a:lnTo>
                  <a:lnTo>
                    <a:pt x="8411" y="13900"/>
                  </a:lnTo>
                  <a:lnTo>
                    <a:pt x="8506" y="13900"/>
                  </a:lnTo>
                  <a:lnTo>
                    <a:pt x="8745" y="14142"/>
                  </a:lnTo>
                  <a:lnTo>
                    <a:pt x="8936" y="14239"/>
                  </a:lnTo>
                  <a:lnTo>
                    <a:pt x="9080" y="14529"/>
                  </a:lnTo>
                  <a:lnTo>
                    <a:pt x="9366" y="14917"/>
                  </a:lnTo>
                  <a:lnTo>
                    <a:pt x="9558" y="15498"/>
                  </a:lnTo>
                  <a:lnTo>
                    <a:pt x="9701" y="15691"/>
                  </a:lnTo>
                  <a:lnTo>
                    <a:pt x="9892" y="16079"/>
                  </a:lnTo>
                  <a:lnTo>
                    <a:pt x="9892" y="16224"/>
                  </a:lnTo>
                  <a:lnTo>
                    <a:pt x="10035" y="16612"/>
                  </a:lnTo>
                  <a:lnTo>
                    <a:pt x="10418" y="16951"/>
                  </a:lnTo>
                  <a:lnTo>
                    <a:pt x="10513" y="17338"/>
                  </a:lnTo>
                  <a:lnTo>
                    <a:pt x="10991" y="17919"/>
                  </a:lnTo>
                  <a:lnTo>
                    <a:pt x="11230" y="18016"/>
                  </a:lnTo>
                  <a:lnTo>
                    <a:pt x="11182" y="18452"/>
                  </a:lnTo>
                  <a:lnTo>
                    <a:pt x="11087" y="18549"/>
                  </a:lnTo>
                  <a:lnTo>
                    <a:pt x="11326" y="18791"/>
                  </a:lnTo>
                  <a:lnTo>
                    <a:pt x="11326" y="19082"/>
                  </a:lnTo>
                  <a:lnTo>
                    <a:pt x="11612" y="19614"/>
                  </a:lnTo>
                  <a:lnTo>
                    <a:pt x="11756" y="19905"/>
                  </a:lnTo>
                  <a:lnTo>
                    <a:pt x="11899" y="20147"/>
                  </a:lnTo>
                  <a:lnTo>
                    <a:pt x="11995" y="20389"/>
                  </a:lnTo>
                  <a:lnTo>
                    <a:pt x="12377" y="20438"/>
                  </a:lnTo>
                  <a:lnTo>
                    <a:pt x="12616" y="20680"/>
                  </a:lnTo>
                  <a:lnTo>
                    <a:pt x="13046" y="20680"/>
                  </a:lnTo>
                  <a:lnTo>
                    <a:pt x="13381" y="21019"/>
                  </a:lnTo>
                  <a:lnTo>
                    <a:pt x="13572" y="21019"/>
                  </a:lnTo>
                  <a:lnTo>
                    <a:pt x="13667" y="21164"/>
                  </a:lnTo>
                  <a:lnTo>
                    <a:pt x="13906" y="21213"/>
                  </a:lnTo>
                  <a:lnTo>
                    <a:pt x="13954" y="21116"/>
                  </a:lnTo>
                  <a:lnTo>
                    <a:pt x="14432" y="21213"/>
                  </a:lnTo>
                  <a:lnTo>
                    <a:pt x="14432" y="21261"/>
                  </a:lnTo>
                  <a:lnTo>
                    <a:pt x="14575" y="21406"/>
                  </a:lnTo>
                  <a:lnTo>
                    <a:pt x="14814" y="21600"/>
                  </a:lnTo>
                  <a:lnTo>
                    <a:pt x="14958" y="21503"/>
                  </a:lnTo>
                  <a:lnTo>
                    <a:pt x="15005" y="21406"/>
                  </a:lnTo>
                  <a:lnTo>
                    <a:pt x="15340" y="21358"/>
                  </a:lnTo>
                  <a:lnTo>
                    <a:pt x="15244" y="21116"/>
                  </a:lnTo>
                  <a:lnTo>
                    <a:pt x="15244" y="20970"/>
                  </a:lnTo>
                  <a:lnTo>
                    <a:pt x="15149" y="20583"/>
                  </a:lnTo>
                  <a:lnTo>
                    <a:pt x="15005" y="20486"/>
                  </a:lnTo>
                  <a:lnTo>
                    <a:pt x="14910" y="20196"/>
                  </a:lnTo>
                  <a:lnTo>
                    <a:pt x="14862" y="19905"/>
                  </a:lnTo>
                  <a:lnTo>
                    <a:pt x="14719" y="19566"/>
                  </a:lnTo>
                  <a:lnTo>
                    <a:pt x="14719" y="19275"/>
                  </a:lnTo>
                  <a:lnTo>
                    <a:pt x="15005" y="18404"/>
                  </a:lnTo>
                  <a:lnTo>
                    <a:pt x="15196" y="17919"/>
                  </a:lnTo>
                  <a:lnTo>
                    <a:pt x="15149" y="17822"/>
                  </a:lnTo>
                  <a:lnTo>
                    <a:pt x="15005" y="17726"/>
                  </a:lnTo>
                  <a:lnTo>
                    <a:pt x="14862" y="17580"/>
                  </a:lnTo>
                  <a:lnTo>
                    <a:pt x="14862" y="17483"/>
                  </a:lnTo>
                  <a:lnTo>
                    <a:pt x="14958" y="17532"/>
                  </a:lnTo>
                  <a:lnTo>
                    <a:pt x="15388" y="17483"/>
                  </a:lnTo>
                  <a:lnTo>
                    <a:pt x="15435" y="17483"/>
                  </a:lnTo>
                  <a:lnTo>
                    <a:pt x="15579" y="17193"/>
                  </a:lnTo>
                  <a:lnTo>
                    <a:pt x="15435" y="17193"/>
                  </a:lnTo>
                  <a:lnTo>
                    <a:pt x="15388" y="17096"/>
                  </a:lnTo>
                  <a:lnTo>
                    <a:pt x="15388" y="16999"/>
                  </a:lnTo>
                  <a:lnTo>
                    <a:pt x="15483" y="16951"/>
                  </a:lnTo>
                  <a:lnTo>
                    <a:pt x="15913" y="16951"/>
                  </a:lnTo>
                  <a:lnTo>
                    <a:pt x="16009" y="16999"/>
                  </a:lnTo>
                  <a:lnTo>
                    <a:pt x="16152" y="16951"/>
                  </a:lnTo>
                  <a:lnTo>
                    <a:pt x="16391" y="16757"/>
                  </a:lnTo>
                  <a:lnTo>
                    <a:pt x="16296" y="16757"/>
                  </a:lnTo>
                  <a:lnTo>
                    <a:pt x="16104" y="16902"/>
                  </a:lnTo>
                  <a:lnTo>
                    <a:pt x="16057" y="16709"/>
                  </a:lnTo>
                  <a:lnTo>
                    <a:pt x="16152" y="16418"/>
                  </a:lnTo>
                  <a:lnTo>
                    <a:pt x="16248" y="16515"/>
                  </a:lnTo>
                  <a:lnTo>
                    <a:pt x="16343" y="16563"/>
                  </a:lnTo>
                  <a:lnTo>
                    <a:pt x="16582" y="16563"/>
                  </a:lnTo>
                  <a:lnTo>
                    <a:pt x="16678" y="16466"/>
                  </a:lnTo>
                  <a:lnTo>
                    <a:pt x="16630" y="16273"/>
                  </a:lnTo>
                  <a:lnTo>
                    <a:pt x="16487" y="16079"/>
                  </a:lnTo>
                  <a:lnTo>
                    <a:pt x="16535" y="16030"/>
                  </a:lnTo>
                  <a:lnTo>
                    <a:pt x="16678" y="16030"/>
                  </a:lnTo>
                  <a:lnTo>
                    <a:pt x="16821" y="15934"/>
                  </a:lnTo>
                  <a:lnTo>
                    <a:pt x="16917" y="16030"/>
                  </a:lnTo>
                  <a:lnTo>
                    <a:pt x="17060" y="15934"/>
                  </a:lnTo>
                  <a:lnTo>
                    <a:pt x="17108" y="16030"/>
                  </a:lnTo>
                  <a:lnTo>
                    <a:pt x="17251" y="16127"/>
                  </a:lnTo>
                  <a:lnTo>
                    <a:pt x="17538" y="15934"/>
                  </a:lnTo>
                  <a:lnTo>
                    <a:pt x="17873" y="15837"/>
                  </a:lnTo>
                  <a:lnTo>
                    <a:pt x="18207" y="15788"/>
                  </a:lnTo>
                  <a:lnTo>
                    <a:pt x="18733" y="15498"/>
                  </a:lnTo>
                  <a:lnTo>
                    <a:pt x="18876" y="15207"/>
                  </a:lnTo>
                  <a:lnTo>
                    <a:pt x="18924" y="14965"/>
                  </a:lnTo>
                  <a:lnTo>
                    <a:pt x="19067" y="14868"/>
                  </a:lnTo>
                  <a:lnTo>
                    <a:pt x="19211" y="14820"/>
                  </a:lnTo>
                  <a:lnTo>
                    <a:pt x="19258" y="14771"/>
                  </a:lnTo>
                  <a:lnTo>
                    <a:pt x="19402" y="14674"/>
                  </a:lnTo>
                  <a:lnTo>
                    <a:pt x="19306" y="14384"/>
                  </a:lnTo>
                  <a:lnTo>
                    <a:pt x="19258" y="14335"/>
                  </a:lnTo>
                  <a:lnTo>
                    <a:pt x="19211" y="14239"/>
                  </a:lnTo>
                  <a:lnTo>
                    <a:pt x="19258" y="14093"/>
                  </a:lnTo>
                  <a:lnTo>
                    <a:pt x="19450" y="13948"/>
                  </a:lnTo>
                  <a:lnTo>
                    <a:pt x="19593" y="13851"/>
                  </a:lnTo>
                  <a:lnTo>
                    <a:pt x="19688" y="13851"/>
                  </a:lnTo>
                  <a:lnTo>
                    <a:pt x="19688" y="14481"/>
                  </a:lnTo>
                  <a:lnTo>
                    <a:pt x="19736" y="14529"/>
                  </a:lnTo>
                  <a:lnTo>
                    <a:pt x="20023" y="14287"/>
                  </a:lnTo>
                  <a:lnTo>
                    <a:pt x="20262" y="14239"/>
                  </a:lnTo>
                  <a:lnTo>
                    <a:pt x="20979" y="13948"/>
                  </a:lnTo>
                  <a:lnTo>
                    <a:pt x="21074" y="13900"/>
                  </a:lnTo>
                  <a:lnTo>
                    <a:pt x="21218" y="13657"/>
                  </a:lnTo>
                  <a:lnTo>
                    <a:pt x="21361" y="13173"/>
                  </a:lnTo>
                  <a:lnTo>
                    <a:pt x="21361" y="12979"/>
                  </a:lnTo>
                  <a:lnTo>
                    <a:pt x="21218" y="12640"/>
                  </a:lnTo>
                  <a:lnTo>
                    <a:pt x="21313" y="12398"/>
                  </a:lnTo>
                  <a:lnTo>
                    <a:pt x="21313" y="12253"/>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8" name="Shape 2283">
              <a:extLst>
                <a:ext uri="{FF2B5EF4-FFF2-40B4-BE49-F238E27FC236}">
                  <a16:creationId xmlns:a16="http://schemas.microsoft.com/office/drawing/2014/main" id="{EED20EDA-AAC7-9601-AA88-209394BDF218}"/>
                </a:ext>
              </a:extLst>
            </p:cNvPr>
            <p:cNvSpPr/>
            <p:nvPr/>
          </p:nvSpPr>
          <p:spPr>
            <a:xfrm>
              <a:off x="1553839" y="3100878"/>
              <a:ext cx="1259585" cy="1484281"/>
            </a:xfrm>
            <a:custGeom>
              <a:avLst/>
              <a:gdLst/>
              <a:ahLst/>
              <a:cxnLst>
                <a:cxn ang="0">
                  <a:pos x="wd2" y="hd2"/>
                </a:cxn>
                <a:cxn ang="5400000">
                  <a:pos x="wd2" y="hd2"/>
                </a:cxn>
                <a:cxn ang="10800000">
                  <a:pos x="wd2" y="hd2"/>
                </a:cxn>
                <a:cxn ang="16200000">
                  <a:pos x="wd2" y="hd2"/>
                </a:cxn>
              </a:cxnLst>
              <a:rect l="0" t="0" r="r" b="b"/>
              <a:pathLst>
                <a:path w="21600" h="21600" extrusionOk="0">
                  <a:moveTo>
                    <a:pt x="6088" y="0"/>
                  </a:moveTo>
                  <a:cubicBezTo>
                    <a:pt x="6088" y="0"/>
                    <a:pt x="5754" y="1350"/>
                    <a:pt x="5671" y="1776"/>
                  </a:cubicBezTo>
                  <a:cubicBezTo>
                    <a:pt x="5504" y="2061"/>
                    <a:pt x="5171" y="3055"/>
                    <a:pt x="5171" y="3055"/>
                  </a:cubicBezTo>
                  <a:cubicBezTo>
                    <a:pt x="4920" y="3197"/>
                    <a:pt x="4920" y="3197"/>
                    <a:pt x="4920" y="3197"/>
                  </a:cubicBezTo>
                  <a:cubicBezTo>
                    <a:pt x="4670" y="3055"/>
                    <a:pt x="4670" y="3055"/>
                    <a:pt x="4670" y="3055"/>
                  </a:cubicBezTo>
                  <a:cubicBezTo>
                    <a:pt x="4253" y="2771"/>
                    <a:pt x="4253" y="2771"/>
                    <a:pt x="4253" y="2771"/>
                  </a:cubicBezTo>
                  <a:cubicBezTo>
                    <a:pt x="3920" y="2913"/>
                    <a:pt x="3920" y="2913"/>
                    <a:pt x="3920" y="2913"/>
                  </a:cubicBezTo>
                  <a:cubicBezTo>
                    <a:pt x="3753" y="2629"/>
                    <a:pt x="3753" y="2629"/>
                    <a:pt x="3753" y="2629"/>
                  </a:cubicBezTo>
                  <a:cubicBezTo>
                    <a:pt x="3169" y="2771"/>
                    <a:pt x="3169" y="2771"/>
                    <a:pt x="3169" y="2771"/>
                  </a:cubicBezTo>
                  <a:cubicBezTo>
                    <a:pt x="2919" y="2984"/>
                    <a:pt x="2919" y="2984"/>
                    <a:pt x="2919" y="2984"/>
                  </a:cubicBezTo>
                  <a:cubicBezTo>
                    <a:pt x="2919" y="3766"/>
                    <a:pt x="2919" y="3766"/>
                    <a:pt x="2919" y="3766"/>
                  </a:cubicBezTo>
                  <a:cubicBezTo>
                    <a:pt x="2919" y="4761"/>
                    <a:pt x="2919" y="4761"/>
                    <a:pt x="2919" y="4761"/>
                  </a:cubicBezTo>
                  <a:cubicBezTo>
                    <a:pt x="2919" y="5684"/>
                    <a:pt x="2919" y="5684"/>
                    <a:pt x="2919" y="5684"/>
                  </a:cubicBezTo>
                  <a:cubicBezTo>
                    <a:pt x="2836" y="5968"/>
                    <a:pt x="2836" y="5968"/>
                    <a:pt x="2836" y="5968"/>
                  </a:cubicBezTo>
                  <a:cubicBezTo>
                    <a:pt x="2585" y="6324"/>
                    <a:pt x="2585" y="6324"/>
                    <a:pt x="2585" y="6324"/>
                  </a:cubicBezTo>
                  <a:cubicBezTo>
                    <a:pt x="2502" y="6679"/>
                    <a:pt x="2502" y="6679"/>
                    <a:pt x="2502" y="6679"/>
                  </a:cubicBezTo>
                  <a:cubicBezTo>
                    <a:pt x="2502" y="7176"/>
                    <a:pt x="2502" y="7176"/>
                    <a:pt x="2502" y="7176"/>
                  </a:cubicBezTo>
                  <a:cubicBezTo>
                    <a:pt x="2836" y="7816"/>
                    <a:pt x="2836" y="7816"/>
                    <a:pt x="2836" y="7816"/>
                  </a:cubicBezTo>
                  <a:cubicBezTo>
                    <a:pt x="2919" y="8455"/>
                    <a:pt x="2919" y="8455"/>
                    <a:pt x="2919" y="8455"/>
                  </a:cubicBezTo>
                  <a:cubicBezTo>
                    <a:pt x="3086" y="8668"/>
                    <a:pt x="3086" y="8668"/>
                    <a:pt x="3086" y="8668"/>
                  </a:cubicBezTo>
                  <a:cubicBezTo>
                    <a:pt x="3503" y="9095"/>
                    <a:pt x="3503" y="9095"/>
                    <a:pt x="3503" y="9095"/>
                  </a:cubicBezTo>
                  <a:cubicBezTo>
                    <a:pt x="3253" y="9237"/>
                    <a:pt x="3253" y="9237"/>
                    <a:pt x="3253" y="9237"/>
                  </a:cubicBezTo>
                  <a:cubicBezTo>
                    <a:pt x="2836" y="9521"/>
                    <a:pt x="2836" y="9521"/>
                    <a:pt x="2836" y="9521"/>
                  </a:cubicBezTo>
                  <a:cubicBezTo>
                    <a:pt x="2002" y="10018"/>
                    <a:pt x="2002" y="10018"/>
                    <a:pt x="2002" y="10018"/>
                  </a:cubicBezTo>
                  <a:cubicBezTo>
                    <a:pt x="1751" y="10942"/>
                    <a:pt x="1751" y="10942"/>
                    <a:pt x="1751" y="10942"/>
                  </a:cubicBezTo>
                  <a:cubicBezTo>
                    <a:pt x="1418" y="11511"/>
                    <a:pt x="1418" y="11511"/>
                    <a:pt x="1418" y="11511"/>
                  </a:cubicBezTo>
                  <a:cubicBezTo>
                    <a:pt x="1084" y="11795"/>
                    <a:pt x="1084" y="11795"/>
                    <a:pt x="1084" y="11795"/>
                  </a:cubicBezTo>
                  <a:cubicBezTo>
                    <a:pt x="917" y="11866"/>
                    <a:pt x="917" y="11866"/>
                    <a:pt x="917" y="11866"/>
                  </a:cubicBezTo>
                  <a:cubicBezTo>
                    <a:pt x="751" y="12150"/>
                    <a:pt x="751" y="12150"/>
                    <a:pt x="751" y="12150"/>
                  </a:cubicBezTo>
                  <a:cubicBezTo>
                    <a:pt x="834" y="12647"/>
                    <a:pt x="834" y="12647"/>
                    <a:pt x="834" y="12647"/>
                  </a:cubicBezTo>
                  <a:cubicBezTo>
                    <a:pt x="751" y="13003"/>
                    <a:pt x="751" y="13003"/>
                    <a:pt x="751" y="13003"/>
                  </a:cubicBezTo>
                  <a:cubicBezTo>
                    <a:pt x="1251" y="13358"/>
                    <a:pt x="1251" y="13358"/>
                    <a:pt x="1251" y="13358"/>
                  </a:cubicBezTo>
                  <a:cubicBezTo>
                    <a:pt x="1084" y="13642"/>
                    <a:pt x="1084" y="13642"/>
                    <a:pt x="1084" y="13642"/>
                  </a:cubicBezTo>
                  <a:cubicBezTo>
                    <a:pt x="417" y="13926"/>
                    <a:pt x="417" y="13926"/>
                    <a:pt x="417" y="13926"/>
                  </a:cubicBezTo>
                  <a:cubicBezTo>
                    <a:pt x="250" y="14211"/>
                    <a:pt x="250" y="14211"/>
                    <a:pt x="250" y="14211"/>
                  </a:cubicBezTo>
                  <a:cubicBezTo>
                    <a:pt x="0" y="14637"/>
                    <a:pt x="0" y="14637"/>
                    <a:pt x="0" y="14637"/>
                  </a:cubicBezTo>
                  <a:cubicBezTo>
                    <a:pt x="11592" y="20676"/>
                    <a:pt x="11592" y="20676"/>
                    <a:pt x="11592" y="20676"/>
                  </a:cubicBezTo>
                  <a:cubicBezTo>
                    <a:pt x="15178" y="21245"/>
                    <a:pt x="15178" y="21245"/>
                    <a:pt x="15178" y="21245"/>
                  </a:cubicBezTo>
                  <a:cubicBezTo>
                    <a:pt x="18181" y="21600"/>
                    <a:pt x="18181" y="21600"/>
                    <a:pt x="18181" y="21600"/>
                  </a:cubicBezTo>
                  <a:cubicBezTo>
                    <a:pt x="18264" y="21600"/>
                    <a:pt x="18264" y="21600"/>
                    <a:pt x="18264" y="21600"/>
                  </a:cubicBezTo>
                  <a:cubicBezTo>
                    <a:pt x="21600" y="2345"/>
                    <a:pt x="21600" y="2345"/>
                    <a:pt x="21600" y="2345"/>
                  </a:cubicBezTo>
                  <a:lnTo>
                    <a:pt x="6088"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9" name="Shape 2284">
              <a:extLst>
                <a:ext uri="{FF2B5EF4-FFF2-40B4-BE49-F238E27FC236}">
                  <a16:creationId xmlns:a16="http://schemas.microsoft.com/office/drawing/2014/main" id="{5A417774-8127-7DC9-9C9E-D2E24653A42A}"/>
                </a:ext>
              </a:extLst>
            </p:cNvPr>
            <p:cNvSpPr/>
            <p:nvPr/>
          </p:nvSpPr>
          <p:spPr>
            <a:xfrm>
              <a:off x="276997" y="1501541"/>
              <a:ext cx="1478145" cy="2560101"/>
            </a:xfrm>
            <a:custGeom>
              <a:avLst/>
              <a:gdLst/>
              <a:ahLst/>
              <a:cxnLst>
                <a:cxn ang="0">
                  <a:pos x="wd2" y="hd2"/>
                </a:cxn>
                <a:cxn ang="5400000">
                  <a:pos x="wd2" y="hd2"/>
                </a:cxn>
                <a:cxn ang="10800000">
                  <a:pos x="wd2" y="hd2"/>
                </a:cxn>
                <a:cxn ang="16200000">
                  <a:pos x="wd2" y="hd2"/>
                </a:cxn>
              </a:cxnLst>
              <a:rect l="0" t="0" r="r" b="b"/>
              <a:pathLst>
                <a:path w="21600" h="21600" extrusionOk="0">
                  <a:moveTo>
                    <a:pt x="19583" y="21406"/>
                  </a:moveTo>
                  <a:lnTo>
                    <a:pt x="19667" y="21260"/>
                  </a:lnTo>
                  <a:lnTo>
                    <a:pt x="19247" y="21018"/>
                  </a:lnTo>
                  <a:lnTo>
                    <a:pt x="19331" y="20823"/>
                  </a:lnTo>
                  <a:lnTo>
                    <a:pt x="19247" y="20532"/>
                  </a:lnTo>
                  <a:lnTo>
                    <a:pt x="19415" y="20387"/>
                  </a:lnTo>
                  <a:lnTo>
                    <a:pt x="19583" y="20338"/>
                  </a:lnTo>
                  <a:lnTo>
                    <a:pt x="19835" y="20192"/>
                  </a:lnTo>
                  <a:lnTo>
                    <a:pt x="20087" y="19853"/>
                  </a:lnTo>
                  <a:lnTo>
                    <a:pt x="20339" y="19319"/>
                  </a:lnTo>
                  <a:lnTo>
                    <a:pt x="21012" y="19027"/>
                  </a:lnTo>
                  <a:lnTo>
                    <a:pt x="21432" y="18833"/>
                  </a:lnTo>
                  <a:lnTo>
                    <a:pt x="21600" y="18785"/>
                  </a:lnTo>
                  <a:lnTo>
                    <a:pt x="21264" y="18542"/>
                  </a:lnTo>
                  <a:lnTo>
                    <a:pt x="21096" y="18396"/>
                  </a:lnTo>
                  <a:lnTo>
                    <a:pt x="21012" y="18057"/>
                  </a:lnTo>
                  <a:lnTo>
                    <a:pt x="20760" y="17668"/>
                  </a:lnTo>
                  <a:lnTo>
                    <a:pt x="20760" y="17377"/>
                  </a:lnTo>
                  <a:lnTo>
                    <a:pt x="20844" y="17183"/>
                  </a:lnTo>
                  <a:lnTo>
                    <a:pt x="20844" y="17134"/>
                  </a:lnTo>
                  <a:lnTo>
                    <a:pt x="9918" y="7669"/>
                  </a:lnTo>
                  <a:lnTo>
                    <a:pt x="9665" y="7572"/>
                  </a:lnTo>
                  <a:lnTo>
                    <a:pt x="9581" y="7524"/>
                  </a:lnTo>
                  <a:lnTo>
                    <a:pt x="9497" y="7427"/>
                  </a:lnTo>
                  <a:lnTo>
                    <a:pt x="9413" y="7281"/>
                  </a:lnTo>
                  <a:lnTo>
                    <a:pt x="9497" y="7135"/>
                  </a:lnTo>
                  <a:lnTo>
                    <a:pt x="9833" y="7087"/>
                  </a:lnTo>
                  <a:lnTo>
                    <a:pt x="10002" y="7038"/>
                  </a:lnTo>
                  <a:lnTo>
                    <a:pt x="12439" y="1699"/>
                  </a:lnTo>
                  <a:lnTo>
                    <a:pt x="2185" y="0"/>
                  </a:lnTo>
                  <a:lnTo>
                    <a:pt x="2101" y="194"/>
                  </a:lnTo>
                  <a:lnTo>
                    <a:pt x="1933" y="243"/>
                  </a:lnTo>
                  <a:lnTo>
                    <a:pt x="1933" y="1019"/>
                  </a:lnTo>
                  <a:lnTo>
                    <a:pt x="1849" y="1213"/>
                  </a:lnTo>
                  <a:lnTo>
                    <a:pt x="1597" y="1456"/>
                  </a:lnTo>
                  <a:lnTo>
                    <a:pt x="1429" y="1602"/>
                  </a:lnTo>
                  <a:lnTo>
                    <a:pt x="1429" y="1942"/>
                  </a:lnTo>
                  <a:lnTo>
                    <a:pt x="1093" y="2184"/>
                  </a:lnTo>
                  <a:lnTo>
                    <a:pt x="588" y="2427"/>
                  </a:lnTo>
                  <a:lnTo>
                    <a:pt x="168" y="2670"/>
                  </a:lnTo>
                  <a:lnTo>
                    <a:pt x="84" y="2767"/>
                  </a:lnTo>
                  <a:lnTo>
                    <a:pt x="0" y="3009"/>
                  </a:lnTo>
                  <a:lnTo>
                    <a:pt x="0" y="3204"/>
                  </a:lnTo>
                  <a:lnTo>
                    <a:pt x="84" y="3446"/>
                  </a:lnTo>
                  <a:lnTo>
                    <a:pt x="252" y="3640"/>
                  </a:lnTo>
                  <a:lnTo>
                    <a:pt x="588" y="3932"/>
                  </a:lnTo>
                  <a:lnTo>
                    <a:pt x="672" y="4126"/>
                  </a:lnTo>
                  <a:lnTo>
                    <a:pt x="756" y="4369"/>
                  </a:lnTo>
                  <a:lnTo>
                    <a:pt x="756" y="4757"/>
                  </a:lnTo>
                  <a:lnTo>
                    <a:pt x="504" y="5048"/>
                  </a:lnTo>
                  <a:lnTo>
                    <a:pt x="420" y="5339"/>
                  </a:lnTo>
                  <a:lnTo>
                    <a:pt x="420" y="5679"/>
                  </a:lnTo>
                  <a:lnTo>
                    <a:pt x="336" y="5825"/>
                  </a:lnTo>
                  <a:lnTo>
                    <a:pt x="168" y="5922"/>
                  </a:lnTo>
                  <a:lnTo>
                    <a:pt x="252" y="6116"/>
                  </a:lnTo>
                  <a:lnTo>
                    <a:pt x="588" y="6456"/>
                  </a:lnTo>
                  <a:lnTo>
                    <a:pt x="925" y="7038"/>
                  </a:lnTo>
                  <a:lnTo>
                    <a:pt x="1261" y="7427"/>
                  </a:lnTo>
                  <a:lnTo>
                    <a:pt x="1429" y="7572"/>
                  </a:lnTo>
                  <a:lnTo>
                    <a:pt x="1429" y="7815"/>
                  </a:lnTo>
                  <a:lnTo>
                    <a:pt x="1345" y="7960"/>
                  </a:lnTo>
                  <a:lnTo>
                    <a:pt x="1177" y="8058"/>
                  </a:lnTo>
                  <a:lnTo>
                    <a:pt x="1177" y="8203"/>
                  </a:lnTo>
                  <a:lnTo>
                    <a:pt x="1513" y="8203"/>
                  </a:lnTo>
                  <a:lnTo>
                    <a:pt x="1681" y="8349"/>
                  </a:lnTo>
                  <a:lnTo>
                    <a:pt x="1933" y="8543"/>
                  </a:lnTo>
                  <a:lnTo>
                    <a:pt x="2017" y="8640"/>
                  </a:lnTo>
                  <a:lnTo>
                    <a:pt x="2269" y="8689"/>
                  </a:lnTo>
                  <a:lnTo>
                    <a:pt x="2437" y="8494"/>
                  </a:lnTo>
                  <a:lnTo>
                    <a:pt x="2437" y="8252"/>
                  </a:lnTo>
                  <a:lnTo>
                    <a:pt x="2858" y="8203"/>
                  </a:lnTo>
                  <a:lnTo>
                    <a:pt x="3110" y="8349"/>
                  </a:lnTo>
                  <a:lnTo>
                    <a:pt x="3698" y="8349"/>
                  </a:lnTo>
                  <a:lnTo>
                    <a:pt x="4034" y="8543"/>
                  </a:lnTo>
                  <a:lnTo>
                    <a:pt x="4286" y="8591"/>
                  </a:lnTo>
                  <a:lnTo>
                    <a:pt x="4454" y="8640"/>
                  </a:lnTo>
                  <a:lnTo>
                    <a:pt x="4286" y="8737"/>
                  </a:lnTo>
                  <a:lnTo>
                    <a:pt x="3782" y="8591"/>
                  </a:lnTo>
                  <a:lnTo>
                    <a:pt x="3698" y="8591"/>
                  </a:lnTo>
                  <a:lnTo>
                    <a:pt x="3362" y="8543"/>
                  </a:lnTo>
                  <a:lnTo>
                    <a:pt x="3194" y="8494"/>
                  </a:lnTo>
                  <a:lnTo>
                    <a:pt x="2942" y="8446"/>
                  </a:lnTo>
                  <a:lnTo>
                    <a:pt x="2774" y="8494"/>
                  </a:lnTo>
                  <a:lnTo>
                    <a:pt x="2774" y="8931"/>
                  </a:lnTo>
                  <a:lnTo>
                    <a:pt x="2942" y="9077"/>
                  </a:lnTo>
                  <a:lnTo>
                    <a:pt x="2858" y="9417"/>
                  </a:lnTo>
                  <a:lnTo>
                    <a:pt x="2774" y="9417"/>
                  </a:lnTo>
                  <a:lnTo>
                    <a:pt x="2521" y="9320"/>
                  </a:lnTo>
                  <a:lnTo>
                    <a:pt x="2437" y="9222"/>
                  </a:lnTo>
                  <a:lnTo>
                    <a:pt x="2437" y="8980"/>
                  </a:lnTo>
                  <a:lnTo>
                    <a:pt x="2353" y="8931"/>
                  </a:lnTo>
                  <a:lnTo>
                    <a:pt x="2101" y="8883"/>
                  </a:lnTo>
                  <a:lnTo>
                    <a:pt x="2017" y="9077"/>
                  </a:lnTo>
                  <a:lnTo>
                    <a:pt x="1933" y="9174"/>
                  </a:lnTo>
                  <a:lnTo>
                    <a:pt x="1933" y="10145"/>
                  </a:lnTo>
                  <a:lnTo>
                    <a:pt x="2185" y="10387"/>
                  </a:lnTo>
                  <a:lnTo>
                    <a:pt x="2858" y="10679"/>
                  </a:lnTo>
                  <a:lnTo>
                    <a:pt x="2942" y="10921"/>
                  </a:lnTo>
                  <a:lnTo>
                    <a:pt x="2942" y="11116"/>
                  </a:lnTo>
                  <a:lnTo>
                    <a:pt x="2858" y="11310"/>
                  </a:lnTo>
                  <a:lnTo>
                    <a:pt x="2605" y="11358"/>
                  </a:lnTo>
                  <a:lnTo>
                    <a:pt x="2353" y="11358"/>
                  </a:lnTo>
                  <a:lnTo>
                    <a:pt x="2353" y="11844"/>
                  </a:lnTo>
                  <a:lnTo>
                    <a:pt x="2437" y="11989"/>
                  </a:lnTo>
                  <a:lnTo>
                    <a:pt x="2858" y="12378"/>
                  </a:lnTo>
                  <a:lnTo>
                    <a:pt x="2942" y="12669"/>
                  </a:lnTo>
                  <a:lnTo>
                    <a:pt x="3362" y="13009"/>
                  </a:lnTo>
                  <a:lnTo>
                    <a:pt x="3530" y="13348"/>
                  </a:lnTo>
                  <a:lnTo>
                    <a:pt x="3782" y="13591"/>
                  </a:lnTo>
                  <a:lnTo>
                    <a:pt x="4034" y="13931"/>
                  </a:lnTo>
                  <a:lnTo>
                    <a:pt x="4202" y="13979"/>
                  </a:lnTo>
                  <a:lnTo>
                    <a:pt x="4202" y="14465"/>
                  </a:lnTo>
                  <a:lnTo>
                    <a:pt x="4370" y="14562"/>
                  </a:lnTo>
                  <a:lnTo>
                    <a:pt x="4454" y="14707"/>
                  </a:lnTo>
                  <a:lnTo>
                    <a:pt x="4454" y="14902"/>
                  </a:lnTo>
                  <a:lnTo>
                    <a:pt x="4370" y="15338"/>
                  </a:lnTo>
                  <a:lnTo>
                    <a:pt x="4286" y="15630"/>
                  </a:lnTo>
                  <a:lnTo>
                    <a:pt x="4202" y="15872"/>
                  </a:lnTo>
                  <a:lnTo>
                    <a:pt x="4959" y="16115"/>
                  </a:lnTo>
                  <a:lnTo>
                    <a:pt x="5631" y="16261"/>
                  </a:lnTo>
                  <a:lnTo>
                    <a:pt x="6135" y="16455"/>
                  </a:lnTo>
                  <a:lnTo>
                    <a:pt x="6892" y="16600"/>
                  </a:lnTo>
                  <a:lnTo>
                    <a:pt x="7144" y="16746"/>
                  </a:lnTo>
                  <a:lnTo>
                    <a:pt x="7648" y="17231"/>
                  </a:lnTo>
                  <a:lnTo>
                    <a:pt x="8321" y="17571"/>
                  </a:lnTo>
                  <a:lnTo>
                    <a:pt x="9329" y="17717"/>
                  </a:lnTo>
                  <a:lnTo>
                    <a:pt x="9413" y="18154"/>
                  </a:lnTo>
                  <a:lnTo>
                    <a:pt x="9581" y="18348"/>
                  </a:lnTo>
                  <a:lnTo>
                    <a:pt x="10170" y="18445"/>
                  </a:lnTo>
                  <a:lnTo>
                    <a:pt x="10758" y="18833"/>
                  </a:lnTo>
                  <a:lnTo>
                    <a:pt x="11430" y="19416"/>
                  </a:lnTo>
                  <a:lnTo>
                    <a:pt x="11767" y="19658"/>
                  </a:lnTo>
                  <a:lnTo>
                    <a:pt x="12019" y="20095"/>
                  </a:lnTo>
                  <a:lnTo>
                    <a:pt x="11767" y="20484"/>
                  </a:lnTo>
                  <a:lnTo>
                    <a:pt x="11767" y="20726"/>
                  </a:lnTo>
                  <a:lnTo>
                    <a:pt x="12019" y="21066"/>
                  </a:lnTo>
                  <a:lnTo>
                    <a:pt x="12355" y="21115"/>
                  </a:lnTo>
                  <a:lnTo>
                    <a:pt x="18911" y="21600"/>
                  </a:lnTo>
                  <a:lnTo>
                    <a:pt x="18995" y="21551"/>
                  </a:lnTo>
                  <a:lnTo>
                    <a:pt x="19583" y="21406"/>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0" name="Shape 2285">
              <a:extLst>
                <a:ext uri="{FF2B5EF4-FFF2-40B4-BE49-F238E27FC236}">
                  <a16:creationId xmlns:a16="http://schemas.microsoft.com/office/drawing/2014/main" id="{8FBA058B-58EA-23E3-6930-D3DAAC1D19FD}"/>
                </a:ext>
              </a:extLst>
            </p:cNvPr>
            <p:cNvSpPr/>
            <p:nvPr/>
          </p:nvSpPr>
          <p:spPr>
            <a:xfrm>
              <a:off x="3906223" y="3394288"/>
              <a:ext cx="1616183" cy="868712"/>
            </a:xfrm>
            <a:custGeom>
              <a:avLst/>
              <a:gdLst/>
              <a:ahLst/>
              <a:cxnLst>
                <a:cxn ang="0">
                  <a:pos x="wd2" y="hd2"/>
                </a:cxn>
                <a:cxn ang="5400000">
                  <a:pos x="wd2" y="hd2"/>
                </a:cxn>
                <a:cxn ang="10800000">
                  <a:pos x="wd2" y="hd2"/>
                </a:cxn>
                <a:cxn ang="16200000">
                  <a:pos x="wd2" y="hd2"/>
                </a:cxn>
              </a:cxnLst>
              <a:rect l="0" t="0" r="r" b="b"/>
              <a:pathLst>
                <a:path w="21600" h="21600" extrusionOk="0">
                  <a:moveTo>
                    <a:pt x="0" y="3034"/>
                  </a:moveTo>
                  <a:cubicBezTo>
                    <a:pt x="0" y="3398"/>
                    <a:pt x="0" y="3398"/>
                    <a:pt x="0" y="3398"/>
                  </a:cubicBezTo>
                  <a:cubicBezTo>
                    <a:pt x="0" y="3034"/>
                    <a:pt x="0" y="3034"/>
                    <a:pt x="0" y="3034"/>
                  </a:cubicBezTo>
                  <a:cubicBezTo>
                    <a:pt x="7677" y="3883"/>
                    <a:pt x="7677" y="3883"/>
                    <a:pt x="7677" y="3883"/>
                  </a:cubicBezTo>
                  <a:cubicBezTo>
                    <a:pt x="7352" y="14926"/>
                    <a:pt x="7352" y="14926"/>
                    <a:pt x="7352" y="14926"/>
                  </a:cubicBezTo>
                  <a:cubicBezTo>
                    <a:pt x="7872" y="15897"/>
                    <a:pt x="7872" y="15897"/>
                    <a:pt x="7872" y="15897"/>
                  </a:cubicBezTo>
                  <a:cubicBezTo>
                    <a:pt x="8067" y="16261"/>
                    <a:pt x="8067" y="16261"/>
                    <a:pt x="8067" y="16261"/>
                  </a:cubicBezTo>
                  <a:cubicBezTo>
                    <a:pt x="8263" y="16261"/>
                    <a:pt x="8263" y="16261"/>
                    <a:pt x="8263" y="16261"/>
                  </a:cubicBezTo>
                  <a:cubicBezTo>
                    <a:pt x="8523" y="16139"/>
                    <a:pt x="8523" y="16139"/>
                    <a:pt x="8523" y="16139"/>
                  </a:cubicBezTo>
                  <a:cubicBezTo>
                    <a:pt x="8718" y="16261"/>
                    <a:pt x="8718" y="16261"/>
                    <a:pt x="8718" y="16261"/>
                  </a:cubicBezTo>
                  <a:cubicBezTo>
                    <a:pt x="8913" y="16139"/>
                    <a:pt x="8913" y="16139"/>
                    <a:pt x="8913" y="16139"/>
                  </a:cubicBezTo>
                  <a:cubicBezTo>
                    <a:pt x="9173" y="16382"/>
                    <a:pt x="9173" y="16382"/>
                    <a:pt x="9173" y="16382"/>
                  </a:cubicBezTo>
                  <a:cubicBezTo>
                    <a:pt x="9369" y="17474"/>
                    <a:pt x="9369" y="17474"/>
                    <a:pt x="9369" y="17474"/>
                  </a:cubicBezTo>
                  <a:cubicBezTo>
                    <a:pt x="9954" y="17474"/>
                    <a:pt x="9954" y="17474"/>
                    <a:pt x="9954" y="17474"/>
                  </a:cubicBezTo>
                  <a:cubicBezTo>
                    <a:pt x="10410" y="17960"/>
                    <a:pt x="10410" y="17960"/>
                    <a:pt x="10410" y="17960"/>
                  </a:cubicBezTo>
                  <a:cubicBezTo>
                    <a:pt x="10800" y="17838"/>
                    <a:pt x="10800" y="17838"/>
                    <a:pt x="10800" y="17838"/>
                  </a:cubicBezTo>
                  <a:cubicBezTo>
                    <a:pt x="10865" y="17838"/>
                    <a:pt x="10865" y="17838"/>
                    <a:pt x="10865" y="17838"/>
                  </a:cubicBezTo>
                  <a:cubicBezTo>
                    <a:pt x="11125" y="18324"/>
                    <a:pt x="11125" y="18324"/>
                    <a:pt x="11125" y="18324"/>
                  </a:cubicBezTo>
                  <a:cubicBezTo>
                    <a:pt x="11386" y="17960"/>
                    <a:pt x="11386" y="17960"/>
                    <a:pt x="11386" y="17960"/>
                  </a:cubicBezTo>
                  <a:cubicBezTo>
                    <a:pt x="11971" y="18081"/>
                    <a:pt x="11971" y="18081"/>
                    <a:pt x="11971" y="18081"/>
                  </a:cubicBezTo>
                  <a:cubicBezTo>
                    <a:pt x="12231" y="18930"/>
                    <a:pt x="12231" y="18930"/>
                    <a:pt x="12231" y="18930"/>
                  </a:cubicBezTo>
                  <a:cubicBezTo>
                    <a:pt x="12427" y="18930"/>
                    <a:pt x="12427" y="18930"/>
                    <a:pt x="12427" y="18930"/>
                  </a:cubicBezTo>
                  <a:cubicBezTo>
                    <a:pt x="12492" y="19658"/>
                    <a:pt x="12492" y="19658"/>
                    <a:pt x="12492" y="19658"/>
                  </a:cubicBezTo>
                  <a:cubicBezTo>
                    <a:pt x="12752" y="19780"/>
                    <a:pt x="12752" y="19780"/>
                    <a:pt x="12752" y="19780"/>
                  </a:cubicBezTo>
                  <a:cubicBezTo>
                    <a:pt x="13012" y="19416"/>
                    <a:pt x="13012" y="19416"/>
                    <a:pt x="13012" y="19416"/>
                  </a:cubicBezTo>
                  <a:cubicBezTo>
                    <a:pt x="13142" y="19052"/>
                    <a:pt x="13142" y="19052"/>
                    <a:pt x="13142" y="19052"/>
                  </a:cubicBezTo>
                  <a:cubicBezTo>
                    <a:pt x="13272" y="19052"/>
                    <a:pt x="13272" y="19052"/>
                    <a:pt x="13272" y="19052"/>
                  </a:cubicBezTo>
                  <a:cubicBezTo>
                    <a:pt x="13728" y="19658"/>
                    <a:pt x="13728" y="19658"/>
                    <a:pt x="13728" y="19658"/>
                  </a:cubicBezTo>
                  <a:cubicBezTo>
                    <a:pt x="13858" y="20144"/>
                    <a:pt x="13858" y="20144"/>
                    <a:pt x="13858" y="20144"/>
                  </a:cubicBezTo>
                  <a:cubicBezTo>
                    <a:pt x="14313" y="19658"/>
                    <a:pt x="14313" y="19658"/>
                    <a:pt x="14313" y="19658"/>
                  </a:cubicBezTo>
                  <a:cubicBezTo>
                    <a:pt x="14443" y="19901"/>
                    <a:pt x="14443" y="19901"/>
                    <a:pt x="14443" y="19901"/>
                  </a:cubicBezTo>
                  <a:cubicBezTo>
                    <a:pt x="14508" y="20629"/>
                    <a:pt x="14508" y="20629"/>
                    <a:pt x="14508" y="20629"/>
                  </a:cubicBezTo>
                  <a:cubicBezTo>
                    <a:pt x="14639" y="20508"/>
                    <a:pt x="14639" y="20508"/>
                    <a:pt x="14639" y="20508"/>
                  </a:cubicBezTo>
                  <a:cubicBezTo>
                    <a:pt x="14834" y="19901"/>
                    <a:pt x="14834" y="19901"/>
                    <a:pt x="14834" y="19901"/>
                  </a:cubicBezTo>
                  <a:cubicBezTo>
                    <a:pt x="15159" y="19780"/>
                    <a:pt x="15159" y="19780"/>
                    <a:pt x="15159" y="19780"/>
                  </a:cubicBezTo>
                  <a:cubicBezTo>
                    <a:pt x="15549" y="20144"/>
                    <a:pt x="15549" y="20144"/>
                    <a:pt x="15549" y="20144"/>
                  </a:cubicBezTo>
                  <a:cubicBezTo>
                    <a:pt x="16135" y="20022"/>
                    <a:pt x="16135" y="20022"/>
                    <a:pt x="16135" y="20022"/>
                  </a:cubicBezTo>
                  <a:cubicBezTo>
                    <a:pt x="16395" y="20508"/>
                    <a:pt x="16395" y="20508"/>
                    <a:pt x="16395" y="20508"/>
                  </a:cubicBezTo>
                  <a:cubicBezTo>
                    <a:pt x="16525" y="20872"/>
                    <a:pt x="16525" y="20872"/>
                    <a:pt x="16525" y="20872"/>
                  </a:cubicBezTo>
                  <a:cubicBezTo>
                    <a:pt x="16851" y="20751"/>
                    <a:pt x="16851" y="20751"/>
                    <a:pt x="16851" y="20751"/>
                  </a:cubicBezTo>
                  <a:cubicBezTo>
                    <a:pt x="17176" y="20265"/>
                    <a:pt x="17176" y="20265"/>
                    <a:pt x="17176" y="20265"/>
                  </a:cubicBezTo>
                  <a:cubicBezTo>
                    <a:pt x="17371" y="19901"/>
                    <a:pt x="17371" y="19901"/>
                    <a:pt x="17371" y="19901"/>
                  </a:cubicBezTo>
                  <a:cubicBezTo>
                    <a:pt x="17631" y="19901"/>
                    <a:pt x="17631" y="19901"/>
                    <a:pt x="17631" y="19901"/>
                  </a:cubicBezTo>
                  <a:cubicBezTo>
                    <a:pt x="17892" y="20144"/>
                    <a:pt x="17892" y="20144"/>
                    <a:pt x="17892" y="20144"/>
                  </a:cubicBezTo>
                  <a:cubicBezTo>
                    <a:pt x="18087" y="20022"/>
                    <a:pt x="18087" y="20022"/>
                    <a:pt x="18087" y="20022"/>
                  </a:cubicBezTo>
                  <a:cubicBezTo>
                    <a:pt x="18347" y="19658"/>
                    <a:pt x="18347" y="19658"/>
                    <a:pt x="18347" y="19658"/>
                  </a:cubicBezTo>
                  <a:cubicBezTo>
                    <a:pt x="18737" y="19780"/>
                    <a:pt x="18737" y="19780"/>
                    <a:pt x="18737" y="19780"/>
                  </a:cubicBezTo>
                  <a:cubicBezTo>
                    <a:pt x="18933" y="19901"/>
                    <a:pt x="18933" y="19901"/>
                    <a:pt x="18933" y="19901"/>
                  </a:cubicBezTo>
                  <a:cubicBezTo>
                    <a:pt x="19518" y="19537"/>
                    <a:pt x="19518" y="19537"/>
                    <a:pt x="19518" y="19537"/>
                  </a:cubicBezTo>
                  <a:cubicBezTo>
                    <a:pt x="19908" y="19780"/>
                    <a:pt x="19908" y="19780"/>
                    <a:pt x="19908" y="19780"/>
                  </a:cubicBezTo>
                  <a:cubicBezTo>
                    <a:pt x="20234" y="20387"/>
                    <a:pt x="20234" y="20387"/>
                    <a:pt x="20234" y="20387"/>
                  </a:cubicBezTo>
                  <a:cubicBezTo>
                    <a:pt x="20689" y="20993"/>
                    <a:pt x="20689" y="20993"/>
                    <a:pt x="20689" y="20993"/>
                  </a:cubicBezTo>
                  <a:cubicBezTo>
                    <a:pt x="21080" y="20993"/>
                    <a:pt x="21080" y="20993"/>
                    <a:pt x="21080" y="20993"/>
                  </a:cubicBezTo>
                  <a:cubicBezTo>
                    <a:pt x="21340" y="21357"/>
                    <a:pt x="21340" y="21357"/>
                    <a:pt x="21340" y="21357"/>
                  </a:cubicBezTo>
                  <a:cubicBezTo>
                    <a:pt x="21535" y="21600"/>
                    <a:pt x="21535" y="21600"/>
                    <a:pt x="21535" y="21600"/>
                  </a:cubicBezTo>
                  <a:cubicBezTo>
                    <a:pt x="21600" y="10679"/>
                    <a:pt x="21600" y="10679"/>
                    <a:pt x="21600" y="10679"/>
                  </a:cubicBezTo>
                  <a:cubicBezTo>
                    <a:pt x="21080" y="4490"/>
                    <a:pt x="21080" y="4490"/>
                    <a:pt x="21080" y="4490"/>
                  </a:cubicBezTo>
                  <a:cubicBezTo>
                    <a:pt x="21080" y="1456"/>
                    <a:pt x="21080" y="1456"/>
                    <a:pt x="21080" y="1456"/>
                  </a:cubicBezTo>
                  <a:cubicBezTo>
                    <a:pt x="21080" y="1456"/>
                    <a:pt x="13728" y="1213"/>
                    <a:pt x="11386" y="1092"/>
                  </a:cubicBezTo>
                  <a:cubicBezTo>
                    <a:pt x="8523" y="849"/>
                    <a:pt x="260" y="0"/>
                    <a:pt x="260" y="0"/>
                  </a:cubicBezTo>
                  <a:cubicBezTo>
                    <a:pt x="195" y="3034"/>
                    <a:pt x="195" y="3034"/>
                    <a:pt x="195" y="3034"/>
                  </a:cubicBezTo>
                  <a:lnTo>
                    <a:pt x="0" y="3034"/>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1" name="Shape 2286">
              <a:extLst>
                <a:ext uri="{FF2B5EF4-FFF2-40B4-BE49-F238E27FC236}">
                  <a16:creationId xmlns:a16="http://schemas.microsoft.com/office/drawing/2014/main" id="{028A4F53-6E67-ADE0-D8AA-BC4A53D261CB}"/>
                </a:ext>
              </a:extLst>
            </p:cNvPr>
            <p:cNvSpPr/>
            <p:nvPr/>
          </p:nvSpPr>
          <p:spPr>
            <a:xfrm>
              <a:off x="4113279" y="2692419"/>
              <a:ext cx="1368866" cy="75940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7200"/>
                    <a:pt x="21600" y="7200"/>
                    <a:pt x="21600" y="7200"/>
                  </a:cubicBezTo>
                  <a:cubicBezTo>
                    <a:pt x="21140" y="6785"/>
                    <a:pt x="21140" y="6785"/>
                    <a:pt x="21140" y="6785"/>
                  </a:cubicBezTo>
                  <a:cubicBezTo>
                    <a:pt x="20911" y="6508"/>
                    <a:pt x="20911" y="6508"/>
                    <a:pt x="20911" y="6508"/>
                  </a:cubicBezTo>
                  <a:cubicBezTo>
                    <a:pt x="20757" y="5677"/>
                    <a:pt x="20757" y="5677"/>
                    <a:pt x="20757" y="5677"/>
                  </a:cubicBezTo>
                  <a:cubicBezTo>
                    <a:pt x="20298" y="4846"/>
                    <a:pt x="20298" y="4846"/>
                    <a:pt x="20298" y="4846"/>
                  </a:cubicBezTo>
                  <a:cubicBezTo>
                    <a:pt x="20528" y="4154"/>
                    <a:pt x="20528" y="4154"/>
                    <a:pt x="20528" y="4154"/>
                  </a:cubicBezTo>
                  <a:cubicBezTo>
                    <a:pt x="20757" y="3323"/>
                    <a:pt x="20757" y="3323"/>
                    <a:pt x="20757" y="3323"/>
                  </a:cubicBezTo>
                  <a:cubicBezTo>
                    <a:pt x="20757" y="2631"/>
                    <a:pt x="20757" y="2631"/>
                    <a:pt x="20757" y="2631"/>
                  </a:cubicBezTo>
                  <a:cubicBezTo>
                    <a:pt x="20604" y="2631"/>
                    <a:pt x="20604" y="2631"/>
                    <a:pt x="20604" y="2631"/>
                  </a:cubicBezTo>
                  <a:cubicBezTo>
                    <a:pt x="19915" y="2631"/>
                    <a:pt x="19915" y="2631"/>
                    <a:pt x="19915" y="2631"/>
                  </a:cubicBezTo>
                  <a:cubicBezTo>
                    <a:pt x="19762" y="2077"/>
                    <a:pt x="19762" y="2077"/>
                    <a:pt x="19762" y="2077"/>
                  </a:cubicBezTo>
                  <a:cubicBezTo>
                    <a:pt x="19455" y="1246"/>
                    <a:pt x="19455" y="1246"/>
                    <a:pt x="19455" y="1246"/>
                  </a:cubicBezTo>
                  <a:cubicBezTo>
                    <a:pt x="19455" y="1246"/>
                    <a:pt x="14323" y="969"/>
                    <a:pt x="12638" y="831"/>
                  </a:cubicBezTo>
                  <a:cubicBezTo>
                    <a:pt x="9651" y="692"/>
                    <a:pt x="766" y="0"/>
                    <a:pt x="766" y="0"/>
                  </a:cubicBezTo>
                  <a:cubicBezTo>
                    <a:pt x="0" y="20215"/>
                    <a:pt x="0" y="20215"/>
                    <a:pt x="0" y="20215"/>
                  </a:cubicBezTo>
                  <a:cubicBezTo>
                    <a:pt x="3140" y="20492"/>
                    <a:pt x="7966" y="20908"/>
                    <a:pt x="10187" y="21185"/>
                  </a:cubicBezTo>
                  <a:cubicBezTo>
                    <a:pt x="12945" y="21323"/>
                    <a:pt x="21600" y="21600"/>
                    <a:pt x="21600"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2" name="Shape 2287">
              <a:extLst>
                <a:ext uri="{FF2B5EF4-FFF2-40B4-BE49-F238E27FC236}">
                  <a16:creationId xmlns:a16="http://schemas.microsoft.com/office/drawing/2014/main" id="{11D4DB64-A61F-8E60-0FA9-0E0929CE26F2}"/>
                </a:ext>
              </a:extLst>
            </p:cNvPr>
            <p:cNvSpPr/>
            <p:nvPr/>
          </p:nvSpPr>
          <p:spPr>
            <a:xfrm>
              <a:off x="3825701" y="1967536"/>
              <a:ext cx="1524159" cy="77090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21600"/>
                    <a:pt x="21600" y="21600"/>
                    <a:pt x="21600" y="21600"/>
                  </a:cubicBezTo>
                  <a:cubicBezTo>
                    <a:pt x="21600" y="21600"/>
                    <a:pt x="21600" y="21600"/>
                    <a:pt x="21600" y="21600"/>
                  </a:cubicBezTo>
                  <a:cubicBezTo>
                    <a:pt x="21462" y="21053"/>
                    <a:pt x="21462" y="21053"/>
                    <a:pt x="21462" y="21053"/>
                  </a:cubicBezTo>
                  <a:cubicBezTo>
                    <a:pt x="21393" y="20233"/>
                    <a:pt x="21393" y="20233"/>
                    <a:pt x="21393" y="20233"/>
                  </a:cubicBezTo>
                  <a:cubicBezTo>
                    <a:pt x="21393" y="20233"/>
                    <a:pt x="21048" y="20096"/>
                    <a:pt x="20979" y="19959"/>
                  </a:cubicBezTo>
                  <a:cubicBezTo>
                    <a:pt x="20910" y="19823"/>
                    <a:pt x="20979" y="19823"/>
                    <a:pt x="20979" y="19823"/>
                  </a:cubicBezTo>
                  <a:cubicBezTo>
                    <a:pt x="20841" y="19413"/>
                    <a:pt x="20841" y="19413"/>
                    <a:pt x="20841" y="19413"/>
                  </a:cubicBezTo>
                  <a:cubicBezTo>
                    <a:pt x="20979" y="19139"/>
                    <a:pt x="20979" y="19139"/>
                    <a:pt x="20979" y="19139"/>
                  </a:cubicBezTo>
                  <a:cubicBezTo>
                    <a:pt x="20910" y="18456"/>
                    <a:pt x="20910" y="18456"/>
                    <a:pt x="20910" y="18456"/>
                  </a:cubicBezTo>
                  <a:cubicBezTo>
                    <a:pt x="20703" y="18182"/>
                    <a:pt x="20703" y="18182"/>
                    <a:pt x="20703" y="18182"/>
                  </a:cubicBezTo>
                  <a:cubicBezTo>
                    <a:pt x="20634" y="17772"/>
                    <a:pt x="20634" y="17772"/>
                    <a:pt x="20634" y="17772"/>
                  </a:cubicBezTo>
                  <a:cubicBezTo>
                    <a:pt x="20496" y="16815"/>
                    <a:pt x="20496" y="16815"/>
                    <a:pt x="20496" y="16815"/>
                  </a:cubicBezTo>
                  <a:cubicBezTo>
                    <a:pt x="20496" y="15448"/>
                    <a:pt x="20496" y="15448"/>
                    <a:pt x="20496" y="15448"/>
                  </a:cubicBezTo>
                  <a:cubicBezTo>
                    <a:pt x="20427" y="15175"/>
                    <a:pt x="20427" y="15175"/>
                    <a:pt x="20427" y="15175"/>
                  </a:cubicBezTo>
                  <a:cubicBezTo>
                    <a:pt x="20289" y="14765"/>
                    <a:pt x="20289" y="14765"/>
                    <a:pt x="20289" y="14765"/>
                  </a:cubicBezTo>
                  <a:cubicBezTo>
                    <a:pt x="20358" y="14218"/>
                    <a:pt x="20358" y="14218"/>
                    <a:pt x="20358" y="14218"/>
                  </a:cubicBezTo>
                  <a:cubicBezTo>
                    <a:pt x="20358" y="12851"/>
                    <a:pt x="20358" y="12851"/>
                    <a:pt x="20358" y="12851"/>
                  </a:cubicBezTo>
                  <a:cubicBezTo>
                    <a:pt x="20220" y="11894"/>
                    <a:pt x="20220" y="11894"/>
                    <a:pt x="20220" y="11894"/>
                  </a:cubicBezTo>
                  <a:cubicBezTo>
                    <a:pt x="20082" y="11620"/>
                    <a:pt x="20082" y="11620"/>
                    <a:pt x="20082" y="11620"/>
                  </a:cubicBezTo>
                  <a:cubicBezTo>
                    <a:pt x="19944" y="11620"/>
                    <a:pt x="19944" y="11620"/>
                    <a:pt x="19944" y="11620"/>
                  </a:cubicBezTo>
                  <a:cubicBezTo>
                    <a:pt x="19875" y="11347"/>
                    <a:pt x="19875" y="11347"/>
                    <a:pt x="19875" y="11347"/>
                  </a:cubicBezTo>
                  <a:cubicBezTo>
                    <a:pt x="19806" y="10663"/>
                    <a:pt x="19806" y="10663"/>
                    <a:pt x="19806" y="10663"/>
                  </a:cubicBezTo>
                  <a:cubicBezTo>
                    <a:pt x="19737" y="10116"/>
                    <a:pt x="19737" y="10116"/>
                    <a:pt x="19737" y="10116"/>
                  </a:cubicBezTo>
                  <a:cubicBezTo>
                    <a:pt x="19944" y="9980"/>
                    <a:pt x="19944" y="9980"/>
                    <a:pt x="19944" y="9980"/>
                  </a:cubicBezTo>
                  <a:cubicBezTo>
                    <a:pt x="19944" y="9843"/>
                    <a:pt x="19944" y="9843"/>
                    <a:pt x="19944" y="9843"/>
                  </a:cubicBezTo>
                  <a:cubicBezTo>
                    <a:pt x="19875" y="9706"/>
                    <a:pt x="19875" y="9706"/>
                    <a:pt x="19875" y="9706"/>
                  </a:cubicBezTo>
                  <a:cubicBezTo>
                    <a:pt x="19806" y="9296"/>
                    <a:pt x="19806" y="9296"/>
                    <a:pt x="19806" y="9296"/>
                  </a:cubicBezTo>
                  <a:cubicBezTo>
                    <a:pt x="19668" y="8886"/>
                    <a:pt x="19668" y="8886"/>
                    <a:pt x="19668" y="8886"/>
                  </a:cubicBezTo>
                  <a:cubicBezTo>
                    <a:pt x="19530" y="8203"/>
                    <a:pt x="19530" y="8203"/>
                    <a:pt x="19530" y="8203"/>
                  </a:cubicBezTo>
                  <a:cubicBezTo>
                    <a:pt x="19392" y="7382"/>
                    <a:pt x="19392" y="7382"/>
                    <a:pt x="19392" y="7382"/>
                  </a:cubicBezTo>
                  <a:cubicBezTo>
                    <a:pt x="19185" y="6699"/>
                    <a:pt x="19185" y="6699"/>
                    <a:pt x="19185" y="6699"/>
                  </a:cubicBezTo>
                  <a:cubicBezTo>
                    <a:pt x="18978" y="5468"/>
                    <a:pt x="18978" y="5468"/>
                    <a:pt x="18978" y="5468"/>
                  </a:cubicBezTo>
                  <a:cubicBezTo>
                    <a:pt x="18771" y="4922"/>
                    <a:pt x="18771" y="4922"/>
                    <a:pt x="18771" y="4922"/>
                  </a:cubicBezTo>
                  <a:cubicBezTo>
                    <a:pt x="18702" y="4785"/>
                    <a:pt x="18702" y="4785"/>
                    <a:pt x="18702" y="4785"/>
                  </a:cubicBezTo>
                  <a:cubicBezTo>
                    <a:pt x="18426" y="4375"/>
                    <a:pt x="18426" y="4375"/>
                    <a:pt x="18426" y="4375"/>
                  </a:cubicBezTo>
                  <a:cubicBezTo>
                    <a:pt x="17942" y="3691"/>
                    <a:pt x="17942" y="3691"/>
                    <a:pt x="17942" y="3691"/>
                  </a:cubicBezTo>
                  <a:cubicBezTo>
                    <a:pt x="17597" y="3418"/>
                    <a:pt x="17597" y="3418"/>
                    <a:pt x="17597" y="3418"/>
                  </a:cubicBezTo>
                  <a:cubicBezTo>
                    <a:pt x="17252" y="3144"/>
                    <a:pt x="17252" y="3144"/>
                    <a:pt x="17252" y="3144"/>
                  </a:cubicBezTo>
                  <a:cubicBezTo>
                    <a:pt x="16976" y="2597"/>
                    <a:pt x="16976" y="2597"/>
                    <a:pt x="16976" y="2597"/>
                  </a:cubicBezTo>
                  <a:cubicBezTo>
                    <a:pt x="16493" y="2461"/>
                    <a:pt x="16493" y="2461"/>
                    <a:pt x="16493" y="2461"/>
                  </a:cubicBezTo>
                  <a:cubicBezTo>
                    <a:pt x="15872" y="2597"/>
                    <a:pt x="15872" y="2597"/>
                    <a:pt x="15872" y="2597"/>
                  </a:cubicBezTo>
                  <a:cubicBezTo>
                    <a:pt x="15665" y="2597"/>
                    <a:pt x="15665" y="2597"/>
                    <a:pt x="15665" y="2597"/>
                  </a:cubicBezTo>
                  <a:cubicBezTo>
                    <a:pt x="15458" y="2734"/>
                    <a:pt x="15458" y="2734"/>
                    <a:pt x="15458" y="2734"/>
                  </a:cubicBezTo>
                  <a:cubicBezTo>
                    <a:pt x="15320" y="3008"/>
                    <a:pt x="15320" y="3008"/>
                    <a:pt x="15320" y="3008"/>
                  </a:cubicBezTo>
                  <a:cubicBezTo>
                    <a:pt x="15113" y="2871"/>
                    <a:pt x="15113" y="2871"/>
                    <a:pt x="15113" y="2871"/>
                  </a:cubicBezTo>
                  <a:cubicBezTo>
                    <a:pt x="14906" y="2597"/>
                    <a:pt x="14906" y="2597"/>
                    <a:pt x="14906" y="2597"/>
                  </a:cubicBezTo>
                  <a:cubicBezTo>
                    <a:pt x="14492" y="2187"/>
                    <a:pt x="14492" y="2187"/>
                    <a:pt x="14492" y="2187"/>
                  </a:cubicBezTo>
                  <a:cubicBezTo>
                    <a:pt x="13940" y="1641"/>
                    <a:pt x="13940" y="1641"/>
                    <a:pt x="13940" y="1641"/>
                  </a:cubicBezTo>
                  <a:cubicBezTo>
                    <a:pt x="690" y="0"/>
                    <a:pt x="690" y="0"/>
                    <a:pt x="690" y="0"/>
                  </a:cubicBezTo>
                  <a:cubicBezTo>
                    <a:pt x="0" y="12987"/>
                    <a:pt x="0" y="12987"/>
                    <a:pt x="0" y="12987"/>
                  </a:cubicBezTo>
                  <a:cubicBezTo>
                    <a:pt x="5038" y="13944"/>
                    <a:pt x="5038" y="13944"/>
                    <a:pt x="5038" y="13944"/>
                  </a:cubicBezTo>
                  <a:cubicBezTo>
                    <a:pt x="4762" y="20370"/>
                    <a:pt x="4762" y="20370"/>
                    <a:pt x="4762" y="20370"/>
                  </a:cubicBezTo>
                  <a:cubicBezTo>
                    <a:pt x="4762" y="20370"/>
                    <a:pt x="4762" y="20370"/>
                    <a:pt x="4762" y="20370"/>
                  </a:cubicBezTo>
                  <a:cubicBezTo>
                    <a:pt x="5176" y="20370"/>
                    <a:pt x="12836" y="21053"/>
                    <a:pt x="15458" y="21190"/>
                  </a:cubicBezTo>
                  <a:cubicBezTo>
                    <a:pt x="16976" y="21327"/>
                    <a:pt x="21600" y="21600"/>
                    <a:pt x="21600"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3" name="Shape 2288">
              <a:extLst>
                <a:ext uri="{FF2B5EF4-FFF2-40B4-BE49-F238E27FC236}">
                  <a16:creationId xmlns:a16="http://schemas.microsoft.com/office/drawing/2014/main" id="{188C8EFD-5940-3196-5175-E0055B93824A}"/>
                </a:ext>
              </a:extLst>
            </p:cNvPr>
            <p:cNvSpPr/>
            <p:nvPr/>
          </p:nvSpPr>
          <p:spPr>
            <a:xfrm>
              <a:off x="3871713" y="1277174"/>
              <a:ext cx="1311353" cy="874463"/>
            </a:xfrm>
            <a:custGeom>
              <a:avLst/>
              <a:gdLst/>
              <a:ahLst/>
              <a:cxnLst>
                <a:cxn ang="0">
                  <a:pos x="wd2" y="hd2"/>
                </a:cxn>
                <a:cxn ang="5400000">
                  <a:pos x="wd2" y="hd2"/>
                </a:cxn>
                <a:cxn ang="10800000">
                  <a:pos x="wd2" y="hd2"/>
                </a:cxn>
                <a:cxn ang="16200000">
                  <a:pos x="wd2" y="hd2"/>
                </a:cxn>
              </a:cxnLst>
              <a:rect l="0" t="0" r="r" b="b"/>
              <a:pathLst>
                <a:path w="21600" h="21600" extrusionOk="0">
                  <a:moveTo>
                    <a:pt x="16059" y="18960"/>
                  </a:moveTo>
                  <a:cubicBezTo>
                    <a:pt x="16541" y="19320"/>
                    <a:pt x="16541" y="19320"/>
                    <a:pt x="16541" y="19320"/>
                  </a:cubicBezTo>
                  <a:cubicBezTo>
                    <a:pt x="16782" y="19560"/>
                    <a:pt x="16782" y="19560"/>
                    <a:pt x="16782" y="19560"/>
                  </a:cubicBezTo>
                  <a:cubicBezTo>
                    <a:pt x="17023" y="19680"/>
                    <a:pt x="17023" y="19680"/>
                    <a:pt x="17023" y="19680"/>
                  </a:cubicBezTo>
                  <a:cubicBezTo>
                    <a:pt x="17184" y="19440"/>
                    <a:pt x="17184" y="19440"/>
                    <a:pt x="17184" y="19440"/>
                  </a:cubicBezTo>
                  <a:cubicBezTo>
                    <a:pt x="17425" y="19320"/>
                    <a:pt x="17425" y="19320"/>
                    <a:pt x="17425" y="19320"/>
                  </a:cubicBezTo>
                  <a:cubicBezTo>
                    <a:pt x="17665" y="19320"/>
                    <a:pt x="17665" y="19320"/>
                    <a:pt x="17665" y="19320"/>
                  </a:cubicBezTo>
                  <a:cubicBezTo>
                    <a:pt x="18388" y="19200"/>
                    <a:pt x="18388" y="19200"/>
                    <a:pt x="18388" y="19200"/>
                  </a:cubicBezTo>
                  <a:cubicBezTo>
                    <a:pt x="18950" y="19320"/>
                    <a:pt x="18950" y="19320"/>
                    <a:pt x="18950" y="19320"/>
                  </a:cubicBezTo>
                  <a:cubicBezTo>
                    <a:pt x="19271" y="19800"/>
                    <a:pt x="19271" y="19800"/>
                    <a:pt x="19271" y="19800"/>
                  </a:cubicBezTo>
                  <a:cubicBezTo>
                    <a:pt x="19673" y="20040"/>
                    <a:pt x="19673" y="20040"/>
                    <a:pt x="19673" y="20040"/>
                  </a:cubicBezTo>
                  <a:cubicBezTo>
                    <a:pt x="20074" y="20280"/>
                    <a:pt x="20074" y="20280"/>
                    <a:pt x="20074" y="20280"/>
                  </a:cubicBezTo>
                  <a:cubicBezTo>
                    <a:pt x="20636" y="20880"/>
                    <a:pt x="20636" y="20880"/>
                    <a:pt x="20636" y="20880"/>
                  </a:cubicBezTo>
                  <a:cubicBezTo>
                    <a:pt x="20958" y="21240"/>
                    <a:pt x="20958" y="21240"/>
                    <a:pt x="20958" y="21240"/>
                  </a:cubicBezTo>
                  <a:cubicBezTo>
                    <a:pt x="21038" y="21360"/>
                    <a:pt x="21038" y="21360"/>
                    <a:pt x="21038" y="21360"/>
                  </a:cubicBezTo>
                  <a:cubicBezTo>
                    <a:pt x="21118" y="21600"/>
                    <a:pt x="21118" y="21600"/>
                    <a:pt x="21118" y="21600"/>
                  </a:cubicBezTo>
                  <a:cubicBezTo>
                    <a:pt x="21118" y="21600"/>
                    <a:pt x="21118" y="21600"/>
                    <a:pt x="21118" y="21600"/>
                  </a:cubicBezTo>
                  <a:cubicBezTo>
                    <a:pt x="21118" y="21240"/>
                    <a:pt x="21118" y="21240"/>
                    <a:pt x="21118" y="21240"/>
                  </a:cubicBezTo>
                  <a:cubicBezTo>
                    <a:pt x="21118" y="20760"/>
                    <a:pt x="21118" y="20760"/>
                    <a:pt x="21118" y="20760"/>
                  </a:cubicBezTo>
                  <a:cubicBezTo>
                    <a:pt x="20797" y="20400"/>
                    <a:pt x="20797" y="20400"/>
                    <a:pt x="20797" y="20400"/>
                  </a:cubicBezTo>
                  <a:cubicBezTo>
                    <a:pt x="20797" y="20040"/>
                    <a:pt x="20797" y="20040"/>
                    <a:pt x="20797" y="20040"/>
                  </a:cubicBezTo>
                  <a:cubicBezTo>
                    <a:pt x="20877" y="19680"/>
                    <a:pt x="20877" y="19680"/>
                    <a:pt x="20877" y="19680"/>
                  </a:cubicBezTo>
                  <a:cubicBezTo>
                    <a:pt x="21118" y="19560"/>
                    <a:pt x="21118" y="19560"/>
                    <a:pt x="21118" y="19560"/>
                  </a:cubicBezTo>
                  <a:cubicBezTo>
                    <a:pt x="21118" y="18720"/>
                    <a:pt x="21118" y="18720"/>
                    <a:pt x="21118" y="18720"/>
                  </a:cubicBezTo>
                  <a:cubicBezTo>
                    <a:pt x="21199" y="18360"/>
                    <a:pt x="21199" y="18360"/>
                    <a:pt x="21199" y="18360"/>
                  </a:cubicBezTo>
                  <a:cubicBezTo>
                    <a:pt x="21359" y="18240"/>
                    <a:pt x="21359" y="18240"/>
                    <a:pt x="21359" y="18240"/>
                  </a:cubicBezTo>
                  <a:cubicBezTo>
                    <a:pt x="21359" y="17760"/>
                    <a:pt x="21359" y="17760"/>
                    <a:pt x="21359" y="17760"/>
                  </a:cubicBezTo>
                  <a:cubicBezTo>
                    <a:pt x="21199" y="17160"/>
                    <a:pt x="21199" y="17160"/>
                    <a:pt x="21199" y="17160"/>
                  </a:cubicBezTo>
                  <a:cubicBezTo>
                    <a:pt x="21038" y="17040"/>
                    <a:pt x="21038" y="17040"/>
                    <a:pt x="21038" y="17040"/>
                  </a:cubicBezTo>
                  <a:cubicBezTo>
                    <a:pt x="21118" y="16440"/>
                    <a:pt x="21118" y="16440"/>
                    <a:pt x="21118" y="16440"/>
                  </a:cubicBezTo>
                  <a:cubicBezTo>
                    <a:pt x="21118" y="16080"/>
                    <a:pt x="21118" y="16080"/>
                    <a:pt x="21118" y="16080"/>
                  </a:cubicBezTo>
                  <a:cubicBezTo>
                    <a:pt x="21359" y="16080"/>
                    <a:pt x="21359" y="16080"/>
                    <a:pt x="21359" y="16080"/>
                  </a:cubicBezTo>
                  <a:cubicBezTo>
                    <a:pt x="21600" y="5640"/>
                    <a:pt x="21600" y="5640"/>
                    <a:pt x="21600" y="5640"/>
                  </a:cubicBezTo>
                  <a:cubicBezTo>
                    <a:pt x="21359" y="5280"/>
                    <a:pt x="21359" y="5280"/>
                    <a:pt x="21359" y="5280"/>
                  </a:cubicBezTo>
                  <a:cubicBezTo>
                    <a:pt x="21199" y="4920"/>
                    <a:pt x="21199" y="4920"/>
                    <a:pt x="21199" y="4920"/>
                  </a:cubicBezTo>
                  <a:cubicBezTo>
                    <a:pt x="20797" y="4680"/>
                    <a:pt x="20797" y="4680"/>
                    <a:pt x="20797" y="4680"/>
                  </a:cubicBezTo>
                  <a:cubicBezTo>
                    <a:pt x="20717" y="4320"/>
                    <a:pt x="20717" y="4320"/>
                    <a:pt x="20717" y="4320"/>
                  </a:cubicBezTo>
                  <a:cubicBezTo>
                    <a:pt x="20476" y="3960"/>
                    <a:pt x="20476" y="3960"/>
                    <a:pt x="20476" y="3960"/>
                  </a:cubicBezTo>
                  <a:cubicBezTo>
                    <a:pt x="20396" y="3720"/>
                    <a:pt x="20396" y="3720"/>
                    <a:pt x="20396" y="3720"/>
                  </a:cubicBezTo>
                  <a:cubicBezTo>
                    <a:pt x="20396" y="3480"/>
                    <a:pt x="20396" y="3480"/>
                    <a:pt x="20396" y="3480"/>
                  </a:cubicBezTo>
                  <a:cubicBezTo>
                    <a:pt x="20396" y="3240"/>
                    <a:pt x="20396" y="3240"/>
                    <a:pt x="20396" y="3240"/>
                  </a:cubicBezTo>
                  <a:cubicBezTo>
                    <a:pt x="20636" y="2880"/>
                    <a:pt x="20636" y="2880"/>
                    <a:pt x="20636" y="2880"/>
                  </a:cubicBezTo>
                  <a:cubicBezTo>
                    <a:pt x="20877" y="2520"/>
                    <a:pt x="20877" y="2520"/>
                    <a:pt x="20877" y="2520"/>
                  </a:cubicBezTo>
                  <a:cubicBezTo>
                    <a:pt x="21199" y="2040"/>
                    <a:pt x="21199" y="2040"/>
                    <a:pt x="21199" y="2040"/>
                  </a:cubicBezTo>
                  <a:cubicBezTo>
                    <a:pt x="21118" y="1800"/>
                    <a:pt x="21118" y="1800"/>
                    <a:pt x="21118" y="1800"/>
                  </a:cubicBezTo>
                  <a:cubicBezTo>
                    <a:pt x="21118" y="1680"/>
                    <a:pt x="21118" y="1680"/>
                    <a:pt x="21118" y="1680"/>
                  </a:cubicBezTo>
                  <a:cubicBezTo>
                    <a:pt x="21118" y="1680"/>
                    <a:pt x="13410" y="1200"/>
                    <a:pt x="10920" y="960"/>
                  </a:cubicBezTo>
                  <a:cubicBezTo>
                    <a:pt x="8431" y="720"/>
                    <a:pt x="1124" y="0"/>
                    <a:pt x="1124" y="0"/>
                  </a:cubicBezTo>
                  <a:cubicBezTo>
                    <a:pt x="0" y="17040"/>
                    <a:pt x="0" y="17040"/>
                    <a:pt x="0" y="17040"/>
                  </a:cubicBezTo>
                  <a:cubicBezTo>
                    <a:pt x="15417" y="18480"/>
                    <a:pt x="15417" y="18480"/>
                    <a:pt x="15417" y="18480"/>
                  </a:cubicBezTo>
                  <a:lnTo>
                    <a:pt x="16059" y="1896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4" name="Shape 2289">
              <a:extLst>
                <a:ext uri="{FF2B5EF4-FFF2-40B4-BE49-F238E27FC236}">
                  <a16:creationId xmlns:a16="http://schemas.microsoft.com/office/drawing/2014/main" id="{CDB4D876-004A-B759-EECF-00679591CBA1}"/>
                </a:ext>
              </a:extLst>
            </p:cNvPr>
            <p:cNvSpPr/>
            <p:nvPr/>
          </p:nvSpPr>
          <p:spPr>
            <a:xfrm>
              <a:off x="2606374" y="1340454"/>
              <a:ext cx="1317103" cy="1087324"/>
            </a:xfrm>
            <a:custGeom>
              <a:avLst/>
              <a:gdLst/>
              <a:ahLst/>
              <a:cxnLst>
                <a:cxn ang="0">
                  <a:pos x="wd2" y="hd2"/>
                </a:cxn>
                <a:cxn ang="5400000">
                  <a:pos x="wd2" y="hd2"/>
                </a:cxn>
                <a:cxn ang="10800000">
                  <a:pos x="wd2" y="hd2"/>
                </a:cxn>
                <a:cxn ang="16200000">
                  <a:pos x="wd2" y="hd2"/>
                </a:cxn>
              </a:cxnLst>
              <a:rect l="0" t="0" r="r" b="b"/>
              <a:pathLst>
                <a:path w="21600" h="21600" extrusionOk="0">
                  <a:moveTo>
                    <a:pt x="21600" y="3086"/>
                  </a:moveTo>
                  <a:lnTo>
                    <a:pt x="21506" y="3086"/>
                  </a:lnTo>
                  <a:lnTo>
                    <a:pt x="2641" y="0"/>
                  </a:lnTo>
                  <a:lnTo>
                    <a:pt x="2264" y="2629"/>
                  </a:lnTo>
                  <a:lnTo>
                    <a:pt x="660" y="13943"/>
                  </a:lnTo>
                  <a:lnTo>
                    <a:pt x="0" y="18514"/>
                  </a:lnTo>
                  <a:lnTo>
                    <a:pt x="5754" y="19657"/>
                  </a:lnTo>
                  <a:lnTo>
                    <a:pt x="19997" y="21600"/>
                  </a:lnTo>
                  <a:lnTo>
                    <a:pt x="20751" y="12457"/>
                  </a:lnTo>
                  <a:lnTo>
                    <a:pt x="21600" y="3086"/>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5" name="Shape 2290">
              <a:extLst>
                <a:ext uri="{FF2B5EF4-FFF2-40B4-BE49-F238E27FC236}">
                  <a16:creationId xmlns:a16="http://schemas.microsoft.com/office/drawing/2014/main" id="{44471A44-62A0-E5FD-B4FD-908D4AB2F32E}"/>
                </a:ext>
              </a:extLst>
            </p:cNvPr>
            <p:cNvSpPr/>
            <p:nvPr/>
          </p:nvSpPr>
          <p:spPr>
            <a:xfrm>
              <a:off x="3940733" y="558040"/>
              <a:ext cx="1225078" cy="788170"/>
            </a:xfrm>
            <a:custGeom>
              <a:avLst/>
              <a:gdLst/>
              <a:ahLst/>
              <a:cxnLst>
                <a:cxn ang="0">
                  <a:pos x="wd2" y="hd2"/>
                </a:cxn>
                <a:cxn ang="5400000">
                  <a:pos x="wd2" y="hd2"/>
                </a:cxn>
                <a:cxn ang="10800000">
                  <a:pos x="wd2" y="hd2"/>
                </a:cxn>
                <a:cxn ang="16200000">
                  <a:pos x="wd2" y="hd2"/>
                </a:cxn>
              </a:cxnLst>
              <a:rect l="0" t="0" r="r" b="b"/>
              <a:pathLst>
                <a:path w="21600" h="21600" extrusionOk="0">
                  <a:moveTo>
                    <a:pt x="21428" y="21467"/>
                  </a:moveTo>
                  <a:cubicBezTo>
                    <a:pt x="21428" y="21600"/>
                    <a:pt x="21428" y="21600"/>
                    <a:pt x="21428" y="21600"/>
                  </a:cubicBezTo>
                  <a:cubicBezTo>
                    <a:pt x="21428" y="21600"/>
                    <a:pt x="21428" y="21600"/>
                    <a:pt x="21428" y="21600"/>
                  </a:cubicBezTo>
                  <a:cubicBezTo>
                    <a:pt x="21600" y="21333"/>
                    <a:pt x="21600" y="21333"/>
                    <a:pt x="21600" y="21333"/>
                  </a:cubicBezTo>
                  <a:cubicBezTo>
                    <a:pt x="21600" y="20667"/>
                    <a:pt x="21600" y="20667"/>
                    <a:pt x="21600" y="20667"/>
                  </a:cubicBezTo>
                  <a:cubicBezTo>
                    <a:pt x="21600" y="20000"/>
                    <a:pt x="21600" y="20000"/>
                    <a:pt x="21600" y="20000"/>
                  </a:cubicBezTo>
                  <a:cubicBezTo>
                    <a:pt x="21514" y="19200"/>
                    <a:pt x="21514" y="19200"/>
                    <a:pt x="21514" y="19200"/>
                  </a:cubicBezTo>
                  <a:cubicBezTo>
                    <a:pt x="21342" y="18800"/>
                    <a:pt x="21342" y="18800"/>
                    <a:pt x="21342" y="18800"/>
                  </a:cubicBezTo>
                  <a:cubicBezTo>
                    <a:pt x="21084" y="18400"/>
                    <a:pt x="21084" y="18400"/>
                    <a:pt x="21084" y="18400"/>
                  </a:cubicBezTo>
                  <a:cubicBezTo>
                    <a:pt x="21084" y="17467"/>
                    <a:pt x="21084" y="17467"/>
                    <a:pt x="21084" y="17467"/>
                  </a:cubicBezTo>
                  <a:cubicBezTo>
                    <a:pt x="20998" y="17200"/>
                    <a:pt x="20998" y="17200"/>
                    <a:pt x="20998" y="17200"/>
                  </a:cubicBezTo>
                  <a:cubicBezTo>
                    <a:pt x="20825" y="16800"/>
                    <a:pt x="20825" y="16800"/>
                    <a:pt x="20825" y="16800"/>
                  </a:cubicBezTo>
                  <a:cubicBezTo>
                    <a:pt x="20825" y="15600"/>
                    <a:pt x="20825" y="15600"/>
                    <a:pt x="20825" y="15600"/>
                  </a:cubicBezTo>
                  <a:cubicBezTo>
                    <a:pt x="20825" y="13733"/>
                    <a:pt x="20825" y="13733"/>
                    <a:pt x="20825" y="13733"/>
                  </a:cubicBezTo>
                  <a:cubicBezTo>
                    <a:pt x="20739" y="11467"/>
                    <a:pt x="20739" y="11467"/>
                    <a:pt x="20739" y="11467"/>
                  </a:cubicBezTo>
                  <a:cubicBezTo>
                    <a:pt x="20739" y="10267"/>
                    <a:pt x="20739" y="10267"/>
                    <a:pt x="20739" y="10267"/>
                  </a:cubicBezTo>
                  <a:cubicBezTo>
                    <a:pt x="20395" y="9333"/>
                    <a:pt x="20395" y="9333"/>
                    <a:pt x="20395" y="9333"/>
                  </a:cubicBezTo>
                  <a:cubicBezTo>
                    <a:pt x="20137" y="8000"/>
                    <a:pt x="20137" y="8000"/>
                    <a:pt x="20137" y="8000"/>
                  </a:cubicBezTo>
                  <a:cubicBezTo>
                    <a:pt x="19965" y="7200"/>
                    <a:pt x="19965" y="7200"/>
                    <a:pt x="19965" y="7200"/>
                  </a:cubicBezTo>
                  <a:cubicBezTo>
                    <a:pt x="20137" y="6267"/>
                    <a:pt x="20137" y="6267"/>
                    <a:pt x="20137" y="6267"/>
                  </a:cubicBezTo>
                  <a:cubicBezTo>
                    <a:pt x="20051" y="5467"/>
                    <a:pt x="20051" y="5467"/>
                    <a:pt x="20051" y="5467"/>
                  </a:cubicBezTo>
                  <a:cubicBezTo>
                    <a:pt x="19965" y="5200"/>
                    <a:pt x="19965" y="5200"/>
                    <a:pt x="19965" y="5200"/>
                  </a:cubicBezTo>
                  <a:cubicBezTo>
                    <a:pt x="19965" y="4533"/>
                    <a:pt x="19965" y="4533"/>
                    <a:pt x="19965" y="4533"/>
                  </a:cubicBezTo>
                  <a:cubicBezTo>
                    <a:pt x="19965" y="4400"/>
                    <a:pt x="19965" y="4400"/>
                    <a:pt x="19965" y="4400"/>
                  </a:cubicBezTo>
                  <a:cubicBezTo>
                    <a:pt x="20137" y="4133"/>
                    <a:pt x="20137" y="4133"/>
                    <a:pt x="20137" y="4133"/>
                  </a:cubicBezTo>
                  <a:cubicBezTo>
                    <a:pt x="20223" y="3867"/>
                    <a:pt x="20223" y="3867"/>
                    <a:pt x="20223" y="3867"/>
                  </a:cubicBezTo>
                  <a:cubicBezTo>
                    <a:pt x="20223" y="3333"/>
                    <a:pt x="20223" y="3333"/>
                    <a:pt x="20223" y="3333"/>
                  </a:cubicBezTo>
                  <a:cubicBezTo>
                    <a:pt x="19965" y="2933"/>
                    <a:pt x="19965" y="2933"/>
                    <a:pt x="19965" y="2933"/>
                  </a:cubicBezTo>
                  <a:cubicBezTo>
                    <a:pt x="19965" y="2800"/>
                    <a:pt x="19965" y="2800"/>
                    <a:pt x="19965" y="2800"/>
                  </a:cubicBezTo>
                  <a:cubicBezTo>
                    <a:pt x="19879" y="2400"/>
                    <a:pt x="19879" y="2400"/>
                    <a:pt x="19879" y="2400"/>
                  </a:cubicBezTo>
                  <a:cubicBezTo>
                    <a:pt x="19793" y="1733"/>
                    <a:pt x="19793" y="1733"/>
                    <a:pt x="19793" y="1733"/>
                  </a:cubicBezTo>
                  <a:cubicBezTo>
                    <a:pt x="19793" y="1733"/>
                    <a:pt x="11187" y="1200"/>
                    <a:pt x="8347" y="933"/>
                  </a:cubicBezTo>
                  <a:cubicBezTo>
                    <a:pt x="6540" y="800"/>
                    <a:pt x="1205" y="0"/>
                    <a:pt x="1205" y="0"/>
                  </a:cubicBezTo>
                  <a:cubicBezTo>
                    <a:pt x="0" y="19600"/>
                    <a:pt x="0" y="19600"/>
                    <a:pt x="0" y="19600"/>
                  </a:cubicBezTo>
                  <a:cubicBezTo>
                    <a:pt x="0" y="19600"/>
                    <a:pt x="7831" y="20400"/>
                    <a:pt x="10499" y="20667"/>
                  </a:cubicBezTo>
                  <a:cubicBezTo>
                    <a:pt x="13167" y="20933"/>
                    <a:pt x="21428" y="21467"/>
                    <a:pt x="21428" y="21467"/>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6" name="Shape 2291">
              <a:extLst>
                <a:ext uri="{FF2B5EF4-FFF2-40B4-BE49-F238E27FC236}">
                  <a16:creationId xmlns:a16="http://schemas.microsoft.com/office/drawing/2014/main" id="{50F5E6E1-FB79-90AE-B500-80EE0EC51436}"/>
                </a:ext>
              </a:extLst>
            </p:cNvPr>
            <p:cNvSpPr/>
            <p:nvPr/>
          </p:nvSpPr>
          <p:spPr>
            <a:xfrm>
              <a:off x="2813430" y="2329977"/>
              <a:ext cx="1368866" cy="1075818"/>
            </a:xfrm>
            <a:custGeom>
              <a:avLst/>
              <a:gdLst/>
              <a:ahLst/>
              <a:cxnLst>
                <a:cxn ang="0">
                  <a:pos x="wd2" y="hd2"/>
                </a:cxn>
                <a:cxn ang="5400000">
                  <a:pos x="wd2" y="hd2"/>
                </a:cxn>
                <a:cxn ang="10800000">
                  <a:pos x="wd2" y="hd2"/>
                </a:cxn>
                <a:cxn ang="16200000">
                  <a:pos x="wd2" y="hd2"/>
                </a:cxn>
              </a:cxnLst>
              <a:rect l="0" t="0" r="r" b="b"/>
              <a:pathLst>
                <a:path w="21600" h="21600" extrusionOk="0">
                  <a:moveTo>
                    <a:pt x="20524" y="21600"/>
                  </a:moveTo>
                  <a:cubicBezTo>
                    <a:pt x="21293" y="7330"/>
                    <a:pt x="21293" y="7330"/>
                    <a:pt x="21293" y="7330"/>
                  </a:cubicBezTo>
                  <a:cubicBezTo>
                    <a:pt x="21293" y="7330"/>
                    <a:pt x="21293" y="7330"/>
                    <a:pt x="21293" y="7330"/>
                  </a:cubicBezTo>
                  <a:cubicBezTo>
                    <a:pt x="21293" y="7330"/>
                    <a:pt x="21293" y="7330"/>
                    <a:pt x="21293" y="7330"/>
                  </a:cubicBezTo>
                  <a:cubicBezTo>
                    <a:pt x="21600" y="2737"/>
                    <a:pt x="21600" y="2737"/>
                    <a:pt x="21600" y="2737"/>
                  </a:cubicBezTo>
                  <a:cubicBezTo>
                    <a:pt x="15989" y="2052"/>
                    <a:pt x="15989" y="2052"/>
                    <a:pt x="15989" y="2052"/>
                  </a:cubicBezTo>
                  <a:cubicBezTo>
                    <a:pt x="2306" y="0"/>
                    <a:pt x="2306" y="0"/>
                    <a:pt x="2306" y="0"/>
                  </a:cubicBezTo>
                  <a:cubicBezTo>
                    <a:pt x="0" y="18766"/>
                    <a:pt x="0" y="18766"/>
                    <a:pt x="0" y="18766"/>
                  </a:cubicBezTo>
                  <a:cubicBezTo>
                    <a:pt x="17603" y="21405"/>
                    <a:pt x="17603" y="21405"/>
                    <a:pt x="17603" y="21405"/>
                  </a:cubicBezTo>
                  <a:cubicBezTo>
                    <a:pt x="17603" y="21405"/>
                    <a:pt x="18833" y="21502"/>
                    <a:pt x="20524"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7" name="Shape 2292">
              <a:extLst>
                <a:ext uri="{FF2B5EF4-FFF2-40B4-BE49-F238E27FC236}">
                  <a16:creationId xmlns:a16="http://schemas.microsoft.com/office/drawing/2014/main" id="{4282A628-B8A3-D0D7-DB98-A3F593A88C01}"/>
                </a:ext>
              </a:extLst>
            </p:cNvPr>
            <p:cNvSpPr/>
            <p:nvPr/>
          </p:nvSpPr>
          <p:spPr>
            <a:xfrm>
              <a:off x="1904686" y="1944524"/>
              <a:ext cx="1052533" cy="1317446"/>
            </a:xfrm>
            <a:custGeom>
              <a:avLst/>
              <a:gdLst/>
              <a:ahLst/>
              <a:cxnLst>
                <a:cxn ang="0">
                  <a:pos x="wd2" y="hd2"/>
                </a:cxn>
                <a:cxn ang="5400000">
                  <a:pos x="wd2" y="hd2"/>
                </a:cxn>
                <a:cxn ang="10800000">
                  <a:pos x="wd2" y="hd2"/>
                </a:cxn>
                <a:cxn ang="16200000">
                  <a:pos x="wd2" y="hd2"/>
                </a:cxn>
              </a:cxnLst>
              <a:rect l="0" t="0" r="r" b="b"/>
              <a:pathLst>
                <a:path w="21600" h="21600" extrusionOk="0">
                  <a:moveTo>
                    <a:pt x="21600" y="6320"/>
                  </a:moveTo>
                  <a:lnTo>
                    <a:pt x="14400" y="5376"/>
                  </a:lnTo>
                  <a:lnTo>
                    <a:pt x="15226" y="1603"/>
                  </a:lnTo>
                  <a:lnTo>
                    <a:pt x="4603" y="0"/>
                  </a:lnTo>
                  <a:lnTo>
                    <a:pt x="0" y="18959"/>
                  </a:lnTo>
                  <a:lnTo>
                    <a:pt x="18649" y="21600"/>
                  </a:lnTo>
                  <a:lnTo>
                    <a:pt x="21600" y="632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8" name="Shape 2293">
              <a:extLst>
                <a:ext uri="{FF2B5EF4-FFF2-40B4-BE49-F238E27FC236}">
                  <a16:creationId xmlns:a16="http://schemas.microsoft.com/office/drawing/2014/main" id="{82E7B42C-50BB-539D-3D2A-5B817669149D}"/>
                </a:ext>
              </a:extLst>
            </p:cNvPr>
            <p:cNvSpPr/>
            <p:nvPr/>
          </p:nvSpPr>
          <p:spPr>
            <a:xfrm>
              <a:off x="921171" y="1702899"/>
              <a:ext cx="1207825" cy="1829460"/>
            </a:xfrm>
            <a:custGeom>
              <a:avLst/>
              <a:gdLst/>
              <a:ahLst/>
              <a:cxnLst>
                <a:cxn ang="0">
                  <a:pos x="wd2" y="hd2"/>
                </a:cxn>
                <a:cxn ang="5400000">
                  <a:pos x="wd2" y="hd2"/>
                </a:cxn>
                <a:cxn ang="10800000">
                  <a:pos x="wd2" y="hd2"/>
                </a:cxn>
                <a:cxn ang="16200000">
                  <a:pos x="wd2" y="hd2"/>
                </a:cxn>
              </a:cxnLst>
              <a:rect l="0" t="0" r="r" b="b"/>
              <a:pathLst>
                <a:path w="21600" h="21600" extrusionOk="0">
                  <a:moveTo>
                    <a:pt x="435" y="7546"/>
                  </a:moveTo>
                  <a:cubicBezTo>
                    <a:pt x="87" y="7603"/>
                    <a:pt x="87" y="7603"/>
                    <a:pt x="87" y="7603"/>
                  </a:cubicBezTo>
                  <a:cubicBezTo>
                    <a:pt x="0" y="7776"/>
                    <a:pt x="0" y="7776"/>
                    <a:pt x="0" y="7776"/>
                  </a:cubicBezTo>
                  <a:cubicBezTo>
                    <a:pt x="87" y="8006"/>
                    <a:pt x="87" y="8006"/>
                    <a:pt x="87" y="8006"/>
                  </a:cubicBezTo>
                  <a:cubicBezTo>
                    <a:pt x="174" y="8179"/>
                    <a:pt x="174" y="8179"/>
                    <a:pt x="174" y="8179"/>
                  </a:cubicBezTo>
                  <a:cubicBezTo>
                    <a:pt x="261" y="8237"/>
                    <a:pt x="261" y="8237"/>
                    <a:pt x="261" y="8237"/>
                  </a:cubicBezTo>
                  <a:cubicBezTo>
                    <a:pt x="610" y="8352"/>
                    <a:pt x="610" y="8352"/>
                    <a:pt x="610" y="8352"/>
                  </a:cubicBezTo>
                  <a:cubicBezTo>
                    <a:pt x="13935" y="21600"/>
                    <a:pt x="13935" y="21600"/>
                    <a:pt x="13935" y="21600"/>
                  </a:cubicBezTo>
                  <a:cubicBezTo>
                    <a:pt x="14197" y="21370"/>
                    <a:pt x="14197" y="21370"/>
                    <a:pt x="14197" y="21370"/>
                  </a:cubicBezTo>
                  <a:cubicBezTo>
                    <a:pt x="14284" y="21139"/>
                    <a:pt x="14284" y="21139"/>
                    <a:pt x="14284" y="21139"/>
                  </a:cubicBezTo>
                  <a:cubicBezTo>
                    <a:pt x="14284" y="20390"/>
                    <a:pt x="14284" y="20390"/>
                    <a:pt x="14284" y="20390"/>
                  </a:cubicBezTo>
                  <a:cubicBezTo>
                    <a:pt x="14284" y="19584"/>
                    <a:pt x="14284" y="19584"/>
                    <a:pt x="14284" y="19584"/>
                  </a:cubicBezTo>
                  <a:cubicBezTo>
                    <a:pt x="14284" y="18950"/>
                    <a:pt x="14284" y="18950"/>
                    <a:pt x="14284" y="18950"/>
                  </a:cubicBezTo>
                  <a:cubicBezTo>
                    <a:pt x="14545" y="18778"/>
                    <a:pt x="14545" y="18778"/>
                    <a:pt x="14545" y="18778"/>
                  </a:cubicBezTo>
                  <a:cubicBezTo>
                    <a:pt x="15155" y="18662"/>
                    <a:pt x="15155" y="18662"/>
                    <a:pt x="15155" y="18662"/>
                  </a:cubicBezTo>
                  <a:cubicBezTo>
                    <a:pt x="15329" y="18893"/>
                    <a:pt x="15329" y="18893"/>
                    <a:pt x="15329" y="18893"/>
                  </a:cubicBezTo>
                  <a:cubicBezTo>
                    <a:pt x="15677" y="18778"/>
                    <a:pt x="15677" y="18778"/>
                    <a:pt x="15677" y="18778"/>
                  </a:cubicBezTo>
                  <a:cubicBezTo>
                    <a:pt x="16113" y="19008"/>
                    <a:pt x="16113" y="19008"/>
                    <a:pt x="16113" y="19008"/>
                  </a:cubicBezTo>
                  <a:cubicBezTo>
                    <a:pt x="16374" y="19123"/>
                    <a:pt x="16374" y="19123"/>
                    <a:pt x="16374" y="19123"/>
                  </a:cubicBezTo>
                  <a:cubicBezTo>
                    <a:pt x="16635" y="19008"/>
                    <a:pt x="16635" y="19008"/>
                    <a:pt x="16635" y="19008"/>
                  </a:cubicBezTo>
                  <a:cubicBezTo>
                    <a:pt x="16635" y="19008"/>
                    <a:pt x="16984" y="18202"/>
                    <a:pt x="17158" y="17971"/>
                  </a:cubicBezTo>
                  <a:cubicBezTo>
                    <a:pt x="17245" y="17626"/>
                    <a:pt x="17594" y="16531"/>
                    <a:pt x="17594" y="16531"/>
                  </a:cubicBezTo>
                  <a:cubicBezTo>
                    <a:pt x="21600" y="2822"/>
                    <a:pt x="21600" y="2822"/>
                    <a:pt x="21600" y="2822"/>
                  </a:cubicBezTo>
                  <a:cubicBezTo>
                    <a:pt x="21600" y="2822"/>
                    <a:pt x="14197" y="1786"/>
                    <a:pt x="11671" y="1382"/>
                  </a:cubicBezTo>
                  <a:cubicBezTo>
                    <a:pt x="9668" y="1094"/>
                    <a:pt x="3658" y="0"/>
                    <a:pt x="3658" y="0"/>
                  </a:cubicBezTo>
                  <a:cubicBezTo>
                    <a:pt x="697" y="7488"/>
                    <a:pt x="697" y="7488"/>
                    <a:pt x="697" y="7488"/>
                  </a:cubicBezTo>
                  <a:lnTo>
                    <a:pt x="435" y="754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19" name="Shape 2294">
              <a:extLst>
                <a:ext uri="{FF2B5EF4-FFF2-40B4-BE49-F238E27FC236}">
                  <a16:creationId xmlns:a16="http://schemas.microsoft.com/office/drawing/2014/main" id="{BC191889-2F50-4FF5-2358-5A866C09429F}"/>
                </a:ext>
              </a:extLst>
            </p:cNvPr>
            <p:cNvSpPr/>
            <p:nvPr/>
          </p:nvSpPr>
          <p:spPr>
            <a:xfrm>
              <a:off x="409286" y="563798"/>
              <a:ext cx="1501151" cy="1271421"/>
            </a:xfrm>
            <a:custGeom>
              <a:avLst/>
              <a:gdLst/>
              <a:ahLst/>
              <a:cxnLst>
                <a:cxn ang="0">
                  <a:pos x="wd2" y="hd2"/>
                </a:cxn>
                <a:cxn ang="5400000">
                  <a:pos x="wd2" y="hd2"/>
                </a:cxn>
                <a:cxn ang="10800000">
                  <a:pos x="wd2" y="hd2"/>
                </a:cxn>
                <a:cxn ang="16200000">
                  <a:pos x="wd2" y="hd2"/>
                </a:cxn>
              </a:cxnLst>
              <a:rect l="0" t="0" r="r" b="b"/>
              <a:pathLst>
                <a:path w="21600" h="21600" extrusionOk="0">
                  <a:moveTo>
                    <a:pt x="17603" y="21600"/>
                  </a:moveTo>
                  <a:cubicBezTo>
                    <a:pt x="18865" y="15062"/>
                    <a:pt x="18865" y="15062"/>
                    <a:pt x="18865" y="15062"/>
                  </a:cubicBezTo>
                  <a:cubicBezTo>
                    <a:pt x="18865" y="14648"/>
                    <a:pt x="18865" y="14648"/>
                    <a:pt x="18865" y="14648"/>
                  </a:cubicBezTo>
                  <a:cubicBezTo>
                    <a:pt x="18935" y="14483"/>
                    <a:pt x="18935" y="14483"/>
                    <a:pt x="18935" y="14483"/>
                  </a:cubicBezTo>
                  <a:cubicBezTo>
                    <a:pt x="19286" y="14317"/>
                    <a:pt x="19286" y="14317"/>
                    <a:pt x="19286" y="14317"/>
                  </a:cubicBezTo>
                  <a:cubicBezTo>
                    <a:pt x="19286" y="14152"/>
                    <a:pt x="19286" y="14152"/>
                    <a:pt x="19286" y="14152"/>
                  </a:cubicBezTo>
                  <a:cubicBezTo>
                    <a:pt x="19356" y="13821"/>
                    <a:pt x="19356" y="13821"/>
                    <a:pt x="19356" y="13821"/>
                  </a:cubicBezTo>
                  <a:cubicBezTo>
                    <a:pt x="19356" y="13159"/>
                    <a:pt x="19356" y="13159"/>
                    <a:pt x="19356" y="13159"/>
                  </a:cubicBezTo>
                  <a:cubicBezTo>
                    <a:pt x="19426" y="12993"/>
                    <a:pt x="19426" y="12993"/>
                    <a:pt x="19426" y="12993"/>
                  </a:cubicBezTo>
                  <a:cubicBezTo>
                    <a:pt x="19216" y="12745"/>
                    <a:pt x="19216" y="12745"/>
                    <a:pt x="19216" y="12745"/>
                  </a:cubicBezTo>
                  <a:cubicBezTo>
                    <a:pt x="19145" y="12745"/>
                    <a:pt x="19145" y="12745"/>
                    <a:pt x="19145" y="12745"/>
                  </a:cubicBezTo>
                  <a:cubicBezTo>
                    <a:pt x="19005" y="12662"/>
                    <a:pt x="19005" y="12662"/>
                    <a:pt x="19005" y="12662"/>
                  </a:cubicBezTo>
                  <a:cubicBezTo>
                    <a:pt x="18865" y="12414"/>
                    <a:pt x="18865" y="12414"/>
                    <a:pt x="18865" y="12414"/>
                  </a:cubicBezTo>
                  <a:cubicBezTo>
                    <a:pt x="18935" y="12000"/>
                    <a:pt x="18935" y="12000"/>
                    <a:pt x="18935" y="12000"/>
                  </a:cubicBezTo>
                  <a:cubicBezTo>
                    <a:pt x="19005" y="11752"/>
                    <a:pt x="19005" y="11752"/>
                    <a:pt x="19005" y="11752"/>
                  </a:cubicBezTo>
                  <a:cubicBezTo>
                    <a:pt x="19426" y="11338"/>
                    <a:pt x="19426" y="11338"/>
                    <a:pt x="19426" y="11338"/>
                  </a:cubicBezTo>
                  <a:cubicBezTo>
                    <a:pt x="19987" y="10676"/>
                    <a:pt x="19987" y="10676"/>
                    <a:pt x="19987" y="10676"/>
                  </a:cubicBezTo>
                  <a:cubicBezTo>
                    <a:pt x="20197" y="10345"/>
                    <a:pt x="20197" y="10345"/>
                    <a:pt x="20197" y="10345"/>
                  </a:cubicBezTo>
                  <a:cubicBezTo>
                    <a:pt x="20268" y="10014"/>
                    <a:pt x="20268" y="10014"/>
                    <a:pt x="20268" y="10014"/>
                  </a:cubicBezTo>
                  <a:cubicBezTo>
                    <a:pt x="20408" y="9931"/>
                    <a:pt x="20408" y="9931"/>
                    <a:pt x="20408" y="9931"/>
                  </a:cubicBezTo>
                  <a:cubicBezTo>
                    <a:pt x="20548" y="9517"/>
                    <a:pt x="20548" y="9517"/>
                    <a:pt x="20548" y="9517"/>
                  </a:cubicBezTo>
                  <a:cubicBezTo>
                    <a:pt x="20829" y="9186"/>
                    <a:pt x="20829" y="9186"/>
                    <a:pt x="20829" y="9186"/>
                  </a:cubicBezTo>
                  <a:cubicBezTo>
                    <a:pt x="21039" y="8855"/>
                    <a:pt x="21039" y="8855"/>
                    <a:pt x="21039" y="8855"/>
                  </a:cubicBezTo>
                  <a:cubicBezTo>
                    <a:pt x="21319" y="8607"/>
                    <a:pt x="21319" y="8607"/>
                    <a:pt x="21319" y="8607"/>
                  </a:cubicBezTo>
                  <a:cubicBezTo>
                    <a:pt x="21390" y="8193"/>
                    <a:pt x="21390" y="8193"/>
                    <a:pt x="21390" y="8193"/>
                  </a:cubicBezTo>
                  <a:cubicBezTo>
                    <a:pt x="21600" y="8110"/>
                    <a:pt x="21600" y="8110"/>
                    <a:pt x="21600" y="8110"/>
                  </a:cubicBezTo>
                  <a:cubicBezTo>
                    <a:pt x="21600" y="7779"/>
                    <a:pt x="21600" y="7779"/>
                    <a:pt x="21600" y="7779"/>
                  </a:cubicBezTo>
                  <a:cubicBezTo>
                    <a:pt x="21530" y="7448"/>
                    <a:pt x="21530" y="7448"/>
                    <a:pt x="21530" y="7448"/>
                  </a:cubicBezTo>
                  <a:cubicBezTo>
                    <a:pt x="21390" y="7200"/>
                    <a:pt x="21390" y="7200"/>
                    <a:pt x="21390" y="7200"/>
                  </a:cubicBezTo>
                  <a:cubicBezTo>
                    <a:pt x="21039" y="6869"/>
                    <a:pt x="21039" y="6869"/>
                    <a:pt x="21039" y="6869"/>
                  </a:cubicBezTo>
                  <a:cubicBezTo>
                    <a:pt x="20829" y="6455"/>
                    <a:pt x="20829" y="6455"/>
                    <a:pt x="20829" y="6455"/>
                  </a:cubicBezTo>
                  <a:cubicBezTo>
                    <a:pt x="20829" y="6124"/>
                    <a:pt x="20829" y="6124"/>
                    <a:pt x="20829" y="6124"/>
                  </a:cubicBezTo>
                  <a:cubicBezTo>
                    <a:pt x="16200" y="4717"/>
                    <a:pt x="16200" y="4717"/>
                    <a:pt x="16200" y="4717"/>
                  </a:cubicBezTo>
                  <a:cubicBezTo>
                    <a:pt x="15429" y="4634"/>
                    <a:pt x="15429" y="4634"/>
                    <a:pt x="15429" y="4634"/>
                  </a:cubicBezTo>
                  <a:cubicBezTo>
                    <a:pt x="15148" y="4717"/>
                    <a:pt x="15148" y="4717"/>
                    <a:pt x="15148" y="4717"/>
                  </a:cubicBezTo>
                  <a:cubicBezTo>
                    <a:pt x="14797" y="4634"/>
                    <a:pt x="14797" y="4634"/>
                    <a:pt x="14797" y="4634"/>
                  </a:cubicBezTo>
                  <a:cubicBezTo>
                    <a:pt x="14517" y="4717"/>
                    <a:pt x="14517" y="4717"/>
                    <a:pt x="14517" y="4717"/>
                  </a:cubicBezTo>
                  <a:cubicBezTo>
                    <a:pt x="12483" y="4800"/>
                    <a:pt x="12483" y="4800"/>
                    <a:pt x="12483" y="4800"/>
                  </a:cubicBezTo>
                  <a:cubicBezTo>
                    <a:pt x="12273" y="4634"/>
                    <a:pt x="12273" y="4634"/>
                    <a:pt x="12273" y="4634"/>
                  </a:cubicBezTo>
                  <a:cubicBezTo>
                    <a:pt x="12062" y="4717"/>
                    <a:pt x="12062" y="4717"/>
                    <a:pt x="12062" y="4717"/>
                  </a:cubicBezTo>
                  <a:cubicBezTo>
                    <a:pt x="11852" y="4800"/>
                    <a:pt x="11852" y="4800"/>
                    <a:pt x="11852" y="4800"/>
                  </a:cubicBezTo>
                  <a:cubicBezTo>
                    <a:pt x="11712" y="4800"/>
                    <a:pt x="11712" y="4800"/>
                    <a:pt x="11712" y="4800"/>
                  </a:cubicBezTo>
                  <a:cubicBezTo>
                    <a:pt x="11501" y="4717"/>
                    <a:pt x="11501" y="4717"/>
                    <a:pt x="11501" y="4717"/>
                  </a:cubicBezTo>
                  <a:cubicBezTo>
                    <a:pt x="11501" y="4634"/>
                    <a:pt x="11501" y="4634"/>
                    <a:pt x="11501" y="4634"/>
                  </a:cubicBezTo>
                  <a:cubicBezTo>
                    <a:pt x="11151" y="4634"/>
                    <a:pt x="11151" y="4634"/>
                    <a:pt x="11151" y="4634"/>
                  </a:cubicBezTo>
                  <a:cubicBezTo>
                    <a:pt x="10940" y="4552"/>
                    <a:pt x="10940" y="4552"/>
                    <a:pt x="10940" y="4552"/>
                  </a:cubicBezTo>
                  <a:cubicBezTo>
                    <a:pt x="10870" y="4386"/>
                    <a:pt x="10870" y="4386"/>
                    <a:pt x="10870" y="4386"/>
                  </a:cubicBezTo>
                  <a:cubicBezTo>
                    <a:pt x="10870" y="4303"/>
                    <a:pt x="10870" y="4303"/>
                    <a:pt x="10870" y="4303"/>
                  </a:cubicBezTo>
                  <a:cubicBezTo>
                    <a:pt x="10590" y="4221"/>
                    <a:pt x="10590" y="4221"/>
                    <a:pt x="10590" y="4221"/>
                  </a:cubicBezTo>
                  <a:cubicBezTo>
                    <a:pt x="10029" y="4055"/>
                    <a:pt x="10029" y="4055"/>
                    <a:pt x="10029" y="4055"/>
                  </a:cubicBezTo>
                  <a:cubicBezTo>
                    <a:pt x="9678" y="3890"/>
                    <a:pt x="9678" y="3890"/>
                    <a:pt x="9678" y="3890"/>
                  </a:cubicBezTo>
                  <a:cubicBezTo>
                    <a:pt x="9538" y="3807"/>
                    <a:pt x="9538" y="3807"/>
                    <a:pt x="9538" y="3807"/>
                  </a:cubicBezTo>
                  <a:cubicBezTo>
                    <a:pt x="9117" y="3890"/>
                    <a:pt x="9117" y="3890"/>
                    <a:pt x="9117" y="3890"/>
                  </a:cubicBezTo>
                  <a:cubicBezTo>
                    <a:pt x="8486" y="4055"/>
                    <a:pt x="8486" y="4055"/>
                    <a:pt x="8486" y="4055"/>
                  </a:cubicBezTo>
                  <a:cubicBezTo>
                    <a:pt x="7714" y="3807"/>
                    <a:pt x="7714" y="3807"/>
                    <a:pt x="7714" y="3807"/>
                  </a:cubicBezTo>
                  <a:cubicBezTo>
                    <a:pt x="7223" y="3310"/>
                    <a:pt x="7223" y="3310"/>
                    <a:pt x="7223" y="3310"/>
                  </a:cubicBezTo>
                  <a:cubicBezTo>
                    <a:pt x="7223" y="3310"/>
                    <a:pt x="7434" y="2731"/>
                    <a:pt x="7364" y="1986"/>
                  </a:cubicBezTo>
                  <a:cubicBezTo>
                    <a:pt x="7294" y="1159"/>
                    <a:pt x="6943" y="993"/>
                    <a:pt x="6943" y="993"/>
                  </a:cubicBezTo>
                  <a:cubicBezTo>
                    <a:pt x="6592" y="993"/>
                    <a:pt x="6592" y="993"/>
                    <a:pt x="6592" y="993"/>
                  </a:cubicBezTo>
                  <a:cubicBezTo>
                    <a:pt x="6312" y="828"/>
                    <a:pt x="6312" y="828"/>
                    <a:pt x="6312" y="828"/>
                  </a:cubicBezTo>
                  <a:cubicBezTo>
                    <a:pt x="6312" y="828"/>
                    <a:pt x="6312" y="331"/>
                    <a:pt x="5961" y="331"/>
                  </a:cubicBezTo>
                  <a:cubicBezTo>
                    <a:pt x="5610" y="331"/>
                    <a:pt x="5610" y="331"/>
                    <a:pt x="5610" y="331"/>
                  </a:cubicBezTo>
                  <a:cubicBezTo>
                    <a:pt x="5190" y="248"/>
                    <a:pt x="5190" y="248"/>
                    <a:pt x="5190" y="248"/>
                  </a:cubicBezTo>
                  <a:cubicBezTo>
                    <a:pt x="4909" y="0"/>
                    <a:pt x="4909" y="0"/>
                    <a:pt x="4909" y="0"/>
                  </a:cubicBezTo>
                  <a:cubicBezTo>
                    <a:pt x="4909" y="579"/>
                    <a:pt x="4909" y="579"/>
                    <a:pt x="4909" y="579"/>
                  </a:cubicBezTo>
                  <a:cubicBezTo>
                    <a:pt x="4769" y="1076"/>
                    <a:pt x="4769" y="1076"/>
                    <a:pt x="4769" y="1076"/>
                  </a:cubicBezTo>
                  <a:cubicBezTo>
                    <a:pt x="4418" y="1821"/>
                    <a:pt x="4418" y="1821"/>
                    <a:pt x="4418" y="1821"/>
                  </a:cubicBezTo>
                  <a:cubicBezTo>
                    <a:pt x="4488" y="2317"/>
                    <a:pt x="4488" y="2317"/>
                    <a:pt x="4488" y="2317"/>
                  </a:cubicBezTo>
                  <a:cubicBezTo>
                    <a:pt x="4418" y="2731"/>
                    <a:pt x="4418" y="2731"/>
                    <a:pt x="4418" y="2731"/>
                  </a:cubicBezTo>
                  <a:cubicBezTo>
                    <a:pt x="4208" y="3145"/>
                    <a:pt x="4208" y="3145"/>
                    <a:pt x="4208" y="3145"/>
                  </a:cubicBezTo>
                  <a:cubicBezTo>
                    <a:pt x="4068" y="3559"/>
                    <a:pt x="4068" y="3559"/>
                    <a:pt x="4068" y="3559"/>
                  </a:cubicBezTo>
                  <a:cubicBezTo>
                    <a:pt x="3857" y="4138"/>
                    <a:pt x="3857" y="4138"/>
                    <a:pt x="3857" y="4138"/>
                  </a:cubicBezTo>
                  <a:cubicBezTo>
                    <a:pt x="3717" y="4552"/>
                    <a:pt x="3717" y="4552"/>
                    <a:pt x="3717" y="4552"/>
                  </a:cubicBezTo>
                  <a:cubicBezTo>
                    <a:pt x="3296" y="5545"/>
                    <a:pt x="3296" y="5545"/>
                    <a:pt x="3296" y="5545"/>
                  </a:cubicBezTo>
                  <a:cubicBezTo>
                    <a:pt x="2805" y="7034"/>
                    <a:pt x="2805" y="7034"/>
                    <a:pt x="2805" y="7034"/>
                  </a:cubicBezTo>
                  <a:cubicBezTo>
                    <a:pt x="2455" y="8110"/>
                    <a:pt x="2455" y="8110"/>
                    <a:pt x="2455" y="8110"/>
                  </a:cubicBezTo>
                  <a:cubicBezTo>
                    <a:pt x="2104" y="9186"/>
                    <a:pt x="2104" y="9186"/>
                    <a:pt x="2104" y="9186"/>
                  </a:cubicBezTo>
                  <a:cubicBezTo>
                    <a:pt x="1683" y="9931"/>
                    <a:pt x="1683" y="9931"/>
                    <a:pt x="1683" y="9931"/>
                  </a:cubicBezTo>
                  <a:cubicBezTo>
                    <a:pt x="1543" y="10262"/>
                    <a:pt x="1543" y="10262"/>
                    <a:pt x="1543" y="10262"/>
                  </a:cubicBezTo>
                  <a:cubicBezTo>
                    <a:pt x="1262" y="10759"/>
                    <a:pt x="1262" y="10759"/>
                    <a:pt x="1262" y="10759"/>
                  </a:cubicBezTo>
                  <a:cubicBezTo>
                    <a:pt x="1052" y="11007"/>
                    <a:pt x="1052" y="11007"/>
                    <a:pt x="1052" y="11007"/>
                  </a:cubicBezTo>
                  <a:cubicBezTo>
                    <a:pt x="982" y="11255"/>
                    <a:pt x="982" y="11255"/>
                    <a:pt x="982" y="11255"/>
                  </a:cubicBezTo>
                  <a:cubicBezTo>
                    <a:pt x="771" y="11669"/>
                    <a:pt x="771" y="11669"/>
                    <a:pt x="771" y="11669"/>
                  </a:cubicBezTo>
                  <a:cubicBezTo>
                    <a:pt x="351" y="12248"/>
                    <a:pt x="351" y="12248"/>
                    <a:pt x="351" y="12248"/>
                  </a:cubicBezTo>
                  <a:cubicBezTo>
                    <a:pt x="210" y="12579"/>
                    <a:pt x="210" y="12579"/>
                    <a:pt x="210" y="12579"/>
                  </a:cubicBezTo>
                  <a:cubicBezTo>
                    <a:pt x="351" y="13241"/>
                    <a:pt x="351" y="13241"/>
                    <a:pt x="351" y="13241"/>
                  </a:cubicBezTo>
                  <a:cubicBezTo>
                    <a:pt x="351" y="13407"/>
                    <a:pt x="351" y="13407"/>
                    <a:pt x="351" y="13407"/>
                  </a:cubicBezTo>
                  <a:cubicBezTo>
                    <a:pt x="351" y="13572"/>
                    <a:pt x="351" y="13572"/>
                    <a:pt x="351" y="13572"/>
                  </a:cubicBezTo>
                  <a:cubicBezTo>
                    <a:pt x="281" y="13655"/>
                    <a:pt x="281" y="13655"/>
                    <a:pt x="281" y="13655"/>
                  </a:cubicBezTo>
                  <a:cubicBezTo>
                    <a:pt x="210" y="13986"/>
                    <a:pt x="210" y="13986"/>
                    <a:pt x="210" y="13986"/>
                  </a:cubicBezTo>
                  <a:cubicBezTo>
                    <a:pt x="70" y="14069"/>
                    <a:pt x="70" y="14069"/>
                    <a:pt x="70" y="14069"/>
                  </a:cubicBezTo>
                  <a:cubicBezTo>
                    <a:pt x="70" y="14400"/>
                    <a:pt x="70" y="14400"/>
                    <a:pt x="70" y="14400"/>
                  </a:cubicBezTo>
                  <a:cubicBezTo>
                    <a:pt x="0" y="15062"/>
                    <a:pt x="0" y="15062"/>
                    <a:pt x="0" y="15062"/>
                  </a:cubicBezTo>
                  <a:cubicBezTo>
                    <a:pt x="0" y="15476"/>
                    <a:pt x="0" y="15476"/>
                    <a:pt x="0" y="15476"/>
                  </a:cubicBezTo>
                  <a:cubicBezTo>
                    <a:pt x="140" y="15724"/>
                    <a:pt x="140" y="15724"/>
                    <a:pt x="140" y="15724"/>
                  </a:cubicBezTo>
                  <a:cubicBezTo>
                    <a:pt x="210" y="15972"/>
                    <a:pt x="210" y="15972"/>
                    <a:pt x="210" y="15972"/>
                  </a:cubicBezTo>
                  <a:cubicBezTo>
                    <a:pt x="10309" y="19366"/>
                    <a:pt x="10309" y="19366"/>
                    <a:pt x="10309" y="19366"/>
                  </a:cubicBezTo>
                  <a:cubicBezTo>
                    <a:pt x="10309" y="19366"/>
                    <a:pt x="15148" y="20938"/>
                    <a:pt x="16761" y="21352"/>
                  </a:cubicBezTo>
                  <a:cubicBezTo>
                    <a:pt x="16971" y="21434"/>
                    <a:pt x="17252" y="21517"/>
                    <a:pt x="17603" y="2160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0" name="Shape 2295">
              <a:extLst>
                <a:ext uri="{FF2B5EF4-FFF2-40B4-BE49-F238E27FC236}">
                  <a16:creationId xmlns:a16="http://schemas.microsoft.com/office/drawing/2014/main" id="{8A15F0F0-0D26-8AFF-8249-14CDFFA2A7E8}"/>
                </a:ext>
              </a:extLst>
            </p:cNvPr>
            <p:cNvSpPr/>
            <p:nvPr/>
          </p:nvSpPr>
          <p:spPr>
            <a:xfrm>
              <a:off x="1634359" y="224366"/>
              <a:ext cx="1110047" cy="1817958"/>
            </a:xfrm>
            <a:custGeom>
              <a:avLst/>
              <a:gdLst/>
              <a:ahLst/>
              <a:cxnLst>
                <a:cxn ang="0">
                  <a:pos x="wd2" y="hd2"/>
                </a:cxn>
                <a:cxn ang="5400000">
                  <a:pos x="wd2" y="hd2"/>
                </a:cxn>
                <a:cxn ang="10800000">
                  <a:pos x="wd2" y="hd2"/>
                </a:cxn>
                <a:cxn ang="16200000">
                  <a:pos x="wd2" y="hd2"/>
                </a:cxn>
              </a:cxnLst>
              <a:rect l="0" t="0" r="r" b="b"/>
              <a:pathLst>
                <a:path w="21600" h="21600" extrusionOk="0">
                  <a:moveTo>
                    <a:pt x="4547" y="7644"/>
                  </a:moveTo>
                  <a:cubicBezTo>
                    <a:pt x="4547" y="7991"/>
                    <a:pt x="4358" y="8281"/>
                    <a:pt x="4358" y="8281"/>
                  </a:cubicBezTo>
                  <a:cubicBezTo>
                    <a:pt x="4358" y="8513"/>
                    <a:pt x="4358" y="8513"/>
                    <a:pt x="4358" y="8513"/>
                  </a:cubicBezTo>
                  <a:cubicBezTo>
                    <a:pt x="4642" y="8802"/>
                    <a:pt x="4642" y="8802"/>
                    <a:pt x="4642" y="8802"/>
                  </a:cubicBezTo>
                  <a:cubicBezTo>
                    <a:pt x="5116" y="9034"/>
                    <a:pt x="5116" y="9034"/>
                    <a:pt x="5116" y="9034"/>
                  </a:cubicBezTo>
                  <a:cubicBezTo>
                    <a:pt x="5305" y="9208"/>
                    <a:pt x="5305" y="9208"/>
                    <a:pt x="5305" y="9208"/>
                  </a:cubicBezTo>
                  <a:cubicBezTo>
                    <a:pt x="5400" y="9439"/>
                    <a:pt x="5400" y="9439"/>
                    <a:pt x="5400" y="9439"/>
                  </a:cubicBezTo>
                  <a:cubicBezTo>
                    <a:pt x="5400" y="9671"/>
                    <a:pt x="5400" y="9671"/>
                    <a:pt x="5400" y="9671"/>
                  </a:cubicBezTo>
                  <a:cubicBezTo>
                    <a:pt x="5116" y="9729"/>
                    <a:pt x="5116" y="9729"/>
                    <a:pt x="5116" y="9729"/>
                  </a:cubicBezTo>
                  <a:cubicBezTo>
                    <a:pt x="5021" y="10018"/>
                    <a:pt x="5021" y="10018"/>
                    <a:pt x="5021" y="10018"/>
                  </a:cubicBezTo>
                  <a:cubicBezTo>
                    <a:pt x="4642" y="10192"/>
                    <a:pt x="4642" y="10192"/>
                    <a:pt x="4642" y="10192"/>
                  </a:cubicBezTo>
                  <a:cubicBezTo>
                    <a:pt x="4358" y="10424"/>
                    <a:pt x="4358" y="10424"/>
                    <a:pt x="4358" y="10424"/>
                  </a:cubicBezTo>
                  <a:cubicBezTo>
                    <a:pt x="3979" y="10655"/>
                    <a:pt x="3979" y="10655"/>
                    <a:pt x="3979" y="10655"/>
                  </a:cubicBezTo>
                  <a:cubicBezTo>
                    <a:pt x="3789" y="10945"/>
                    <a:pt x="3789" y="10945"/>
                    <a:pt x="3789" y="10945"/>
                  </a:cubicBezTo>
                  <a:cubicBezTo>
                    <a:pt x="3600" y="11003"/>
                    <a:pt x="3600" y="11003"/>
                    <a:pt x="3600" y="11003"/>
                  </a:cubicBezTo>
                  <a:cubicBezTo>
                    <a:pt x="3505" y="11234"/>
                    <a:pt x="3505" y="11234"/>
                    <a:pt x="3505" y="11234"/>
                  </a:cubicBezTo>
                  <a:cubicBezTo>
                    <a:pt x="3221" y="11466"/>
                    <a:pt x="3221" y="11466"/>
                    <a:pt x="3221" y="11466"/>
                  </a:cubicBezTo>
                  <a:cubicBezTo>
                    <a:pt x="2463" y="11929"/>
                    <a:pt x="2463" y="11929"/>
                    <a:pt x="2463" y="11929"/>
                  </a:cubicBezTo>
                  <a:cubicBezTo>
                    <a:pt x="1895" y="12219"/>
                    <a:pt x="1895" y="12219"/>
                    <a:pt x="1895" y="12219"/>
                  </a:cubicBezTo>
                  <a:cubicBezTo>
                    <a:pt x="1800" y="12392"/>
                    <a:pt x="1800" y="12392"/>
                    <a:pt x="1800" y="12392"/>
                  </a:cubicBezTo>
                  <a:cubicBezTo>
                    <a:pt x="1705" y="12682"/>
                    <a:pt x="1705" y="12682"/>
                    <a:pt x="1705" y="12682"/>
                  </a:cubicBezTo>
                  <a:cubicBezTo>
                    <a:pt x="1895" y="12856"/>
                    <a:pt x="1895" y="12856"/>
                    <a:pt x="1895" y="12856"/>
                  </a:cubicBezTo>
                  <a:cubicBezTo>
                    <a:pt x="2084" y="12914"/>
                    <a:pt x="2084" y="12914"/>
                    <a:pt x="2084" y="12914"/>
                  </a:cubicBezTo>
                  <a:cubicBezTo>
                    <a:pt x="2179" y="12914"/>
                    <a:pt x="2179" y="12914"/>
                    <a:pt x="2179" y="12914"/>
                  </a:cubicBezTo>
                  <a:cubicBezTo>
                    <a:pt x="2463" y="13087"/>
                    <a:pt x="2463" y="13087"/>
                    <a:pt x="2463" y="13087"/>
                  </a:cubicBezTo>
                  <a:cubicBezTo>
                    <a:pt x="2368" y="13203"/>
                    <a:pt x="2368" y="13203"/>
                    <a:pt x="2368" y="13203"/>
                  </a:cubicBezTo>
                  <a:cubicBezTo>
                    <a:pt x="2368" y="13666"/>
                    <a:pt x="2368" y="13666"/>
                    <a:pt x="2368" y="13666"/>
                  </a:cubicBezTo>
                  <a:cubicBezTo>
                    <a:pt x="2274" y="13898"/>
                    <a:pt x="2274" y="13898"/>
                    <a:pt x="2274" y="13898"/>
                  </a:cubicBezTo>
                  <a:cubicBezTo>
                    <a:pt x="2274" y="14014"/>
                    <a:pt x="2274" y="14014"/>
                    <a:pt x="2274" y="14014"/>
                  </a:cubicBezTo>
                  <a:cubicBezTo>
                    <a:pt x="1800" y="14130"/>
                    <a:pt x="1800" y="14130"/>
                    <a:pt x="1800" y="14130"/>
                  </a:cubicBezTo>
                  <a:cubicBezTo>
                    <a:pt x="1705" y="14246"/>
                    <a:pt x="1705" y="14246"/>
                    <a:pt x="1705" y="14246"/>
                  </a:cubicBezTo>
                  <a:cubicBezTo>
                    <a:pt x="1705" y="14535"/>
                    <a:pt x="1705" y="14535"/>
                    <a:pt x="1705" y="14535"/>
                  </a:cubicBezTo>
                  <a:cubicBezTo>
                    <a:pt x="0" y="19110"/>
                    <a:pt x="0" y="19110"/>
                    <a:pt x="0" y="19110"/>
                  </a:cubicBezTo>
                  <a:cubicBezTo>
                    <a:pt x="3316" y="19573"/>
                    <a:pt x="9663" y="20384"/>
                    <a:pt x="9663" y="20384"/>
                  </a:cubicBezTo>
                  <a:cubicBezTo>
                    <a:pt x="19705" y="21600"/>
                    <a:pt x="19705" y="21600"/>
                    <a:pt x="19705" y="21600"/>
                  </a:cubicBezTo>
                  <a:cubicBezTo>
                    <a:pt x="21600" y="14825"/>
                    <a:pt x="21600" y="14825"/>
                    <a:pt x="21600" y="14825"/>
                  </a:cubicBezTo>
                  <a:cubicBezTo>
                    <a:pt x="21411" y="14709"/>
                    <a:pt x="21411" y="14709"/>
                    <a:pt x="21411" y="14709"/>
                  </a:cubicBezTo>
                  <a:cubicBezTo>
                    <a:pt x="21221" y="14593"/>
                    <a:pt x="21221" y="14593"/>
                    <a:pt x="21221" y="14593"/>
                  </a:cubicBezTo>
                  <a:cubicBezTo>
                    <a:pt x="21221" y="14535"/>
                    <a:pt x="21221" y="14535"/>
                    <a:pt x="21221" y="14535"/>
                  </a:cubicBezTo>
                  <a:cubicBezTo>
                    <a:pt x="21126" y="14303"/>
                    <a:pt x="21126" y="14303"/>
                    <a:pt x="21126" y="14303"/>
                  </a:cubicBezTo>
                  <a:cubicBezTo>
                    <a:pt x="20937" y="14130"/>
                    <a:pt x="20937" y="14130"/>
                    <a:pt x="20937" y="14130"/>
                  </a:cubicBezTo>
                  <a:cubicBezTo>
                    <a:pt x="20653" y="13956"/>
                    <a:pt x="20653" y="13956"/>
                    <a:pt x="20653" y="13956"/>
                  </a:cubicBezTo>
                  <a:cubicBezTo>
                    <a:pt x="20274" y="13956"/>
                    <a:pt x="20274" y="13956"/>
                    <a:pt x="20274" y="13956"/>
                  </a:cubicBezTo>
                  <a:cubicBezTo>
                    <a:pt x="20179" y="14246"/>
                    <a:pt x="20179" y="14246"/>
                    <a:pt x="20179" y="14246"/>
                  </a:cubicBezTo>
                  <a:cubicBezTo>
                    <a:pt x="20084" y="14419"/>
                    <a:pt x="20084" y="14419"/>
                    <a:pt x="20084" y="14419"/>
                  </a:cubicBezTo>
                  <a:cubicBezTo>
                    <a:pt x="19137" y="14361"/>
                    <a:pt x="19137" y="14361"/>
                    <a:pt x="19137" y="14361"/>
                  </a:cubicBezTo>
                  <a:cubicBezTo>
                    <a:pt x="18663" y="14246"/>
                    <a:pt x="18663" y="14246"/>
                    <a:pt x="18663" y="14246"/>
                  </a:cubicBezTo>
                  <a:cubicBezTo>
                    <a:pt x="17905" y="14188"/>
                    <a:pt x="17905" y="14188"/>
                    <a:pt x="17905" y="14188"/>
                  </a:cubicBezTo>
                  <a:cubicBezTo>
                    <a:pt x="17526" y="14188"/>
                    <a:pt x="17526" y="14188"/>
                    <a:pt x="17526" y="14188"/>
                  </a:cubicBezTo>
                  <a:cubicBezTo>
                    <a:pt x="17432" y="14303"/>
                    <a:pt x="17432" y="14303"/>
                    <a:pt x="17432" y="14303"/>
                  </a:cubicBezTo>
                  <a:cubicBezTo>
                    <a:pt x="17432" y="14419"/>
                    <a:pt x="17432" y="14419"/>
                    <a:pt x="17432" y="14419"/>
                  </a:cubicBezTo>
                  <a:cubicBezTo>
                    <a:pt x="16958" y="14303"/>
                    <a:pt x="16958" y="14303"/>
                    <a:pt x="16958" y="14303"/>
                  </a:cubicBezTo>
                  <a:cubicBezTo>
                    <a:pt x="16484" y="14130"/>
                    <a:pt x="16484" y="14130"/>
                    <a:pt x="16484" y="14130"/>
                  </a:cubicBezTo>
                  <a:cubicBezTo>
                    <a:pt x="16200" y="14130"/>
                    <a:pt x="16200" y="14130"/>
                    <a:pt x="16200" y="14130"/>
                  </a:cubicBezTo>
                  <a:cubicBezTo>
                    <a:pt x="16011" y="14130"/>
                    <a:pt x="16011" y="14130"/>
                    <a:pt x="16011" y="14130"/>
                  </a:cubicBezTo>
                  <a:cubicBezTo>
                    <a:pt x="15916" y="14303"/>
                    <a:pt x="15916" y="14303"/>
                    <a:pt x="15916" y="14303"/>
                  </a:cubicBezTo>
                  <a:cubicBezTo>
                    <a:pt x="15916" y="14419"/>
                    <a:pt x="15916" y="14419"/>
                    <a:pt x="15916" y="14419"/>
                  </a:cubicBezTo>
                  <a:cubicBezTo>
                    <a:pt x="15537" y="14419"/>
                    <a:pt x="15537" y="14419"/>
                    <a:pt x="15537" y="14419"/>
                  </a:cubicBezTo>
                  <a:cubicBezTo>
                    <a:pt x="15347" y="14188"/>
                    <a:pt x="15347" y="14188"/>
                    <a:pt x="15347" y="14188"/>
                  </a:cubicBezTo>
                  <a:cubicBezTo>
                    <a:pt x="15347" y="14014"/>
                    <a:pt x="15347" y="14014"/>
                    <a:pt x="15347" y="14014"/>
                  </a:cubicBezTo>
                  <a:cubicBezTo>
                    <a:pt x="15347" y="13782"/>
                    <a:pt x="15347" y="13782"/>
                    <a:pt x="15347" y="13782"/>
                  </a:cubicBezTo>
                  <a:cubicBezTo>
                    <a:pt x="15158" y="13435"/>
                    <a:pt x="15158" y="13435"/>
                    <a:pt x="15158" y="13435"/>
                  </a:cubicBezTo>
                  <a:cubicBezTo>
                    <a:pt x="15158" y="13087"/>
                    <a:pt x="15158" y="13087"/>
                    <a:pt x="15158" y="13087"/>
                  </a:cubicBezTo>
                  <a:cubicBezTo>
                    <a:pt x="14779" y="13087"/>
                    <a:pt x="14779" y="13087"/>
                    <a:pt x="14779" y="13087"/>
                  </a:cubicBezTo>
                  <a:cubicBezTo>
                    <a:pt x="14305" y="12914"/>
                    <a:pt x="14305" y="12914"/>
                    <a:pt x="14305" y="12914"/>
                  </a:cubicBezTo>
                  <a:cubicBezTo>
                    <a:pt x="14116" y="12740"/>
                    <a:pt x="14116" y="12740"/>
                    <a:pt x="14116" y="12740"/>
                  </a:cubicBezTo>
                  <a:cubicBezTo>
                    <a:pt x="14116" y="12624"/>
                    <a:pt x="14116" y="12624"/>
                    <a:pt x="14116" y="12624"/>
                  </a:cubicBezTo>
                  <a:cubicBezTo>
                    <a:pt x="14116" y="12335"/>
                    <a:pt x="14116" y="12335"/>
                    <a:pt x="14116" y="12335"/>
                  </a:cubicBezTo>
                  <a:cubicBezTo>
                    <a:pt x="14116" y="12045"/>
                    <a:pt x="14116" y="12045"/>
                    <a:pt x="14116" y="12045"/>
                  </a:cubicBezTo>
                  <a:cubicBezTo>
                    <a:pt x="13737" y="11813"/>
                    <a:pt x="13737" y="11813"/>
                    <a:pt x="13737" y="11813"/>
                  </a:cubicBezTo>
                  <a:cubicBezTo>
                    <a:pt x="13737" y="11640"/>
                    <a:pt x="13737" y="11640"/>
                    <a:pt x="13737" y="11640"/>
                  </a:cubicBezTo>
                  <a:cubicBezTo>
                    <a:pt x="13737" y="11292"/>
                    <a:pt x="13737" y="11292"/>
                    <a:pt x="13737" y="11292"/>
                  </a:cubicBezTo>
                  <a:cubicBezTo>
                    <a:pt x="13642" y="10829"/>
                    <a:pt x="13642" y="10829"/>
                    <a:pt x="13642" y="10829"/>
                  </a:cubicBezTo>
                  <a:cubicBezTo>
                    <a:pt x="13453" y="10597"/>
                    <a:pt x="13453" y="10597"/>
                    <a:pt x="13453" y="10597"/>
                  </a:cubicBezTo>
                  <a:cubicBezTo>
                    <a:pt x="13358" y="10366"/>
                    <a:pt x="13358" y="10366"/>
                    <a:pt x="13358" y="10366"/>
                  </a:cubicBezTo>
                  <a:cubicBezTo>
                    <a:pt x="13168" y="10366"/>
                    <a:pt x="13168" y="10366"/>
                    <a:pt x="13168" y="10366"/>
                  </a:cubicBezTo>
                  <a:cubicBezTo>
                    <a:pt x="12789" y="10539"/>
                    <a:pt x="12789" y="10539"/>
                    <a:pt x="12789" y="10539"/>
                  </a:cubicBezTo>
                  <a:cubicBezTo>
                    <a:pt x="12600" y="10539"/>
                    <a:pt x="12600" y="10539"/>
                    <a:pt x="12600" y="10539"/>
                  </a:cubicBezTo>
                  <a:cubicBezTo>
                    <a:pt x="12316" y="10597"/>
                    <a:pt x="12316" y="10597"/>
                    <a:pt x="12316" y="10597"/>
                  </a:cubicBezTo>
                  <a:cubicBezTo>
                    <a:pt x="12032" y="10771"/>
                    <a:pt x="12032" y="10771"/>
                    <a:pt x="12032" y="10771"/>
                  </a:cubicBezTo>
                  <a:cubicBezTo>
                    <a:pt x="11842" y="10771"/>
                    <a:pt x="11842" y="10771"/>
                    <a:pt x="11842" y="10771"/>
                  </a:cubicBezTo>
                  <a:cubicBezTo>
                    <a:pt x="11842" y="10597"/>
                    <a:pt x="11842" y="10597"/>
                    <a:pt x="11842" y="10597"/>
                  </a:cubicBezTo>
                  <a:cubicBezTo>
                    <a:pt x="11463" y="10482"/>
                    <a:pt x="11463" y="10482"/>
                    <a:pt x="11463" y="10482"/>
                  </a:cubicBezTo>
                  <a:cubicBezTo>
                    <a:pt x="11274" y="10366"/>
                    <a:pt x="11274" y="10366"/>
                    <a:pt x="11274" y="10366"/>
                  </a:cubicBezTo>
                  <a:cubicBezTo>
                    <a:pt x="11558" y="9960"/>
                    <a:pt x="11558" y="9960"/>
                    <a:pt x="11558" y="9960"/>
                  </a:cubicBezTo>
                  <a:cubicBezTo>
                    <a:pt x="11842" y="9729"/>
                    <a:pt x="11842" y="9729"/>
                    <a:pt x="11842" y="9729"/>
                  </a:cubicBezTo>
                  <a:cubicBezTo>
                    <a:pt x="12126" y="9729"/>
                    <a:pt x="12126" y="9729"/>
                    <a:pt x="12126" y="9729"/>
                  </a:cubicBezTo>
                  <a:cubicBezTo>
                    <a:pt x="12221" y="9613"/>
                    <a:pt x="12221" y="9613"/>
                    <a:pt x="12221" y="9613"/>
                  </a:cubicBezTo>
                  <a:cubicBezTo>
                    <a:pt x="12032" y="9265"/>
                    <a:pt x="12032" y="9265"/>
                    <a:pt x="12032" y="9265"/>
                  </a:cubicBezTo>
                  <a:cubicBezTo>
                    <a:pt x="12126" y="8918"/>
                    <a:pt x="12126" y="8918"/>
                    <a:pt x="12126" y="8918"/>
                  </a:cubicBezTo>
                  <a:cubicBezTo>
                    <a:pt x="12411" y="8513"/>
                    <a:pt x="12411" y="8513"/>
                    <a:pt x="12411" y="8513"/>
                  </a:cubicBezTo>
                  <a:cubicBezTo>
                    <a:pt x="12695" y="8165"/>
                    <a:pt x="12695" y="8165"/>
                    <a:pt x="12695" y="8165"/>
                  </a:cubicBezTo>
                  <a:cubicBezTo>
                    <a:pt x="12979" y="7818"/>
                    <a:pt x="12979" y="7818"/>
                    <a:pt x="12979" y="7818"/>
                  </a:cubicBezTo>
                  <a:cubicBezTo>
                    <a:pt x="12979" y="7586"/>
                    <a:pt x="12979" y="7586"/>
                    <a:pt x="12979" y="7586"/>
                  </a:cubicBezTo>
                  <a:cubicBezTo>
                    <a:pt x="12126" y="7470"/>
                    <a:pt x="12126" y="7470"/>
                    <a:pt x="12126" y="7470"/>
                  </a:cubicBezTo>
                  <a:cubicBezTo>
                    <a:pt x="12126" y="7412"/>
                    <a:pt x="12126" y="7412"/>
                    <a:pt x="12126" y="7412"/>
                  </a:cubicBezTo>
                  <a:cubicBezTo>
                    <a:pt x="11842" y="7181"/>
                    <a:pt x="11842" y="7181"/>
                    <a:pt x="11842" y="7181"/>
                  </a:cubicBezTo>
                  <a:cubicBezTo>
                    <a:pt x="11653" y="6833"/>
                    <a:pt x="11653" y="6833"/>
                    <a:pt x="11653" y="6833"/>
                  </a:cubicBezTo>
                  <a:cubicBezTo>
                    <a:pt x="11558" y="6428"/>
                    <a:pt x="11558" y="6428"/>
                    <a:pt x="11558" y="6428"/>
                  </a:cubicBezTo>
                  <a:cubicBezTo>
                    <a:pt x="11274" y="6138"/>
                    <a:pt x="11274" y="6138"/>
                    <a:pt x="11274" y="6138"/>
                  </a:cubicBezTo>
                  <a:cubicBezTo>
                    <a:pt x="10800" y="5849"/>
                    <a:pt x="10800" y="5849"/>
                    <a:pt x="10800" y="5849"/>
                  </a:cubicBezTo>
                  <a:cubicBezTo>
                    <a:pt x="10326" y="5386"/>
                    <a:pt x="10326" y="5386"/>
                    <a:pt x="10326" y="5386"/>
                  </a:cubicBezTo>
                  <a:cubicBezTo>
                    <a:pt x="10232" y="5096"/>
                    <a:pt x="10232" y="5096"/>
                    <a:pt x="10232" y="5096"/>
                  </a:cubicBezTo>
                  <a:cubicBezTo>
                    <a:pt x="9853" y="4749"/>
                    <a:pt x="9853" y="4749"/>
                    <a:pt x="9853" y="4749"/>
                  </a:cubicBezTo>
                  <a:cubicBezTo>
                    <a:pt x="9853" y="4575"/>
                    <a:pt x="9853" y="4575"/>
                    <a:pt x="9853" y="4575"/>
                  </a:cubicBezTo>
                  <a:cubicBezTo>
                    <a:pt x="9568" y="4401"/>
                    <a:pt x="9568" y="4401"/>
                    <a:pt x="9568" y="4401"/>
                  </a:cubicBezTo>
                  <a:cubicBezTo>
                    <a:pt x="9568" y="4169"/>
                    <a:pt x="9568" y="4169"/>
                    <a:pt x="9568" y="4169"/>
                  </a:cubicBezTo>
                  <a:cubicBezTo>
                    <a:pt x="9568" y="3996"/>
                    <a:pt x="9568" y="3996"/>
                    <a:pt x="9568" y="3996"/>
                  </a:cubicBezTo>
                  <a:cubicBezTo>
                    <a:pt x="9379" y="3706"/>
                    <a:pt x="9379" y="3706"/>
                    <a:pt x="9379" y="3706"/>
                  </a:cubicBezTo>
                  <a:cubicBezTo>
                    <a:pt x="9189" y="3590"/>
                    <a:pt x="9189" y="3590"/>
                    <a:pt x="9189" y="3590"/>
                  </a:cubicBezTo>
                  <a:cubicBezTo>
                    <a:pt x="9189" y="3417"/>
                    <a:pt x="9189" y="3417"/>
                    <a:pt x="9189" y="3417"/>
                  </a:cubicBezTo>
                  <a:cubicBezTo>
                    <a:pt x="9284" y="2780"/>
                    <a:pt x="9284" y="2780"/>
                    <a:pt x="9284" y="2780"/>
                  </a:cubicBezTo>
                  <a:cubicBezTo>
                    <a:pt x="9568" y="2085"/>
                    <a:pt x="9568" y="2085"/>
                    <a:pt x="9568" y="2085"/>
                  </a:cubicBezTo>
                  <a:cubicBezTo>
                    <a:pt x="9853" y="1448"/>
                    <a:pt x="9853" y="1448"/>
                    <a:pt x="9853" y="1448"/>
                  </a:cubicBezTo>
                  <a:cubicBezTo>
                    <a:pt x="10042" y="1042"/>
                    <a:pt x="10042" y="1042"/>
                    <a:pt x="10042" y="1042"/>
                  </a:cubicBezTo>
                  <a:cubicBezTo>
                    <a:pt x="10232" y="463"/>
                    <a:pt x="10232" y="463"/>
                    <a:pt x="10232" y="463"/>
                  </a:cubicBezTo>
                  <a:cubicBezTo>
                    <a:pt x="7200" y="0"/>
                    <a:pt x="7200" y="0"/>
                    <a:pt x="7200" y="0"/>
                  </a:cubicBezTo>
                  <a:cubicBezTo>
                    <a:pt x="7200" y="0"/>
                    <a:pt x="4926" y="6602"/>
                    <a:pt x="4453" y="6949"/>
                  </a:cubicBezTo>
                  <a:cubicBezTo>
                    <a:pt x="4074" y="7354"/>
                    <a:pt x="4547" y="7239"/>
                    <a:pt x="4547" y="7644"/>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1" name="Shape 2296">
              <a:extLst>
                <a:ext uri="{FF2B5EF4-FFF2-40B4-BE49-F238E27FC236}">
                  <a16:creationId xmlns:a16="http://schemas.microsoft.com/office/drawing/2014/main" id="{8D9D4C9B-609B-207C-A7A8-50597930F1D1}"/>
                </a:ext>
              </a:extLst>
            </p:cNvPr>
            <p:cNvSpPr/>
            <p:nvPr/>
          </p:nvSpPr>
          <p:spPr>
            <a:xfrm>
              <a:off x="2105988" y="264638"/>
              <a:ext cx="1903760" cy="1231149"/>
            </a:xfrm>
            <a:custGeom>
              <a:avLst/>
              <a:gdLst/>
              <a:ahLst/>
              <a:cxnLst>
                <a:cxn ang="0">
                  <a:pos x="wd2" y="hd2"/>
                </a:cxn>
                <a:cxn ang="5400000">
                  <a:pos x="wd2" y="hd2"/>
                </a:cxn>
                <a:cxn ang="10800000">
                  <a:pos x="wd2" y="hd2"/>
                </a:cxn>
                <a:cxn ang="16200000">
                  <a:pos x="wd2" y="hd2"/>
                </a:cxn>
              </a:cxnLst>
              <a:rect l="0" t="0" r="r" b="b"/>
              <a:pathLst>
                <a:path w="21600" h="21600" extrusionOk="0">
                  <a:moveTo>
                    <a:pt x="21600" y="5143"/>
                  </a:moveTo>
                  <a:cubicBezTo>
                    <a:pt x="21600" y="5143"/>
                    <a:pt x="13424" y="3600"/>
                    <a:pt x="10165" y="2829"/>
                  </a:cubicBezTo>
                  <a:cubicBezTo>
                    <a:pt x="6187" y="1886"/>
                    <a:pt x="608" y="0"/>
                    <a:pt x="608" y="0"/>
                  </a:cubicBezTo>
                  <a:cubicBezTo>
                    <a:pt x="497" y="857"/>
                    <a:pt x="497" y="857"/>
                    <a:pt x="497" y="857"/>
                  </a:cubicBezTo>
                  <a:cubicBezTo>
                    <a:pt x="387" y="1457"/>
                    <a:pt x="387" y="1457"/>
                    <a:pt x="387" y="1457"/>
                  </a:cubicBezTo>
                  <a:cubicBezTo>
                    <a:pt x="221" y="2400"/>
                    <a:pt x="221" y="2400"/>
                    <a:pt x="221" y="2400"/>
                  </a:cubicBezTo>
                  <a:cubicBezTo>
                    <a:pt x="55" y="3429"/>
                    <a:pt x="55" y="3429"/>
                    <a:pt x="55" y="3429"/>
                  </a:cubicBezTo>
                  <a:cubicBezTo>
                    <a:pt x="0" y="4371"/>
                    <a:pt x="0" y="4371"/>
                    <a:pt x="0" y="4371"/>
                  </a:cubicBezTo>
                  <a:cubicBezTo>
                    <a:pt x="0" y="4629"/>
                    <a:pt x="0" y="4629"/>
                    <a:pt x="0" y="4629"/>
                  </a:cubicBezTo>
                  <a:cubicBezTo>
                    <a:pt x="110" y="4800"/>
                    <a:pt x="110" y="4800"/>
                    <a:pt x="110" y="4800"/>
                  </a:cubicBezTo>
                  <a:cubicBezTo>
                    <a:pt x="221" y="5229"/>
                    <a:pt x="221" y="5229"/>
                    <a:pt x="221" y="5229"/>
                  </a:cubicBezTo>
                  <a:cubicBezTo>
                    <a:pt x="221" y="5486"/>
                    <a:pt x="221" y="5486"/>
                    <a:pt x="221" y="5486"/>
                  </a:cubicBezTo>
                  <a:cubicBezTo>
                    <a:pt x="221" y="5829"/>
                    <a:pt x="221" y="5829"/>
                    <a:pt x="221" y="5829"/>
                  </a:cubicBezTo>
                  <a:cubicBezTo>
                    <a:pt x="387" y="6086"/>
                    <a:pt x="387" y="6086"/>
                    <a:pt x="387" y="6086"/>
                  </a:cubicBezTo>
                  <a:cubicBezTo>
                    <a:pt x="387" y="6343"/>
                    <a:pt x="387" y="6343"/>
                    <a:pt x="387" y="6343"/>
                  </a:cubicBezTo>
                  <a:cubicBezTo>
                    <a:pt x="608" y="6857"/>
                    <a:pt x="608" y="6857"/>
                    <a:pt x="608" y="6857"/>
                  </a:cubicBezTo>
                  <a:cubicBezTo>
                    <a:pt x="663" y="7286"/>
                    <a:pt x="663" y="7286"/>
                    <a:pt x="663" y="7286"/>
                  </a:cubicBezTo>
                  <a:cubicBezTo>
                    <a:pt x="939" y="7971"/>
                    <a:pt x="939" y="7971"/>
                    <a:pt x="939" y="7971"/>
                  </a:cubicBezTo>
                  <a:cubicBezTo>
                    <a:pt x="1215" y="8400"/>
                    <a:pt x="1215" y="8400"/>
                    <a:pt x="1215" y="8400"/>
                  </a:cubicBezTo>
                  <a:cubicBezTo>
                    <a:pt x="1381" y="8829"/>
                    <a:pt x="1381" y="8829"/>
                    <a:pt x="1381" y="8829"/>
                  </a:cubicBezTo>
                  <a:cubicBezTo>
                    <a:pt x="1436" y="9429"/>
                    <a:pt x="1436" y="9429"/>
                    <a:pt x="1436" y="9429"/>
                  </a:cubicBezTo>
                  <a:cubicBezTo>
                    <a:pt x="1547" y="9943"/>
                    <a:pt x="1547" y="9943"/>
                    <a:pt x="1547" y="9943"/>
                  </a:cubicBezTo>
                  <a:cubicBezTo>
                    <a:pt x="1713" y="10286"/>
                    <a:pt x="1713" y="10286"/>
                    <a:pt x="1713" y="10286"/>
                  </a:cubicBezTo>
                  <a:cubicBezTo>
                    <a:pt x="1713" y="10371"/>
                    <a:pt x="1713" y="10371"/>
                    <a:pt x="1713" y="10371"/>
                  </a:cubicBezTo>
                  <a:cubicBezTo>
                    <a:pt x="2210" y="10543"/>
                    <a:pt x="2210" y="10543"/>
                    <a:pt x="2210" y="10543"/>
                  </a:cubicBezTo>
                  <a:cubicBezTo>
                    <a:pt x="2210" y="10886"/>
                    <a:pt x="2210" y="10886"/>
                    <a:pt x="2210" y="10886"/>
                  </a:cubicBezTo>
                  <a:cubicBezTo>
                    <a:pt x="2044" y="11400"/>
                    <a:pt x="2044" y="11400"/>
                    <a:pt x="2044" y="11400"/>
                  </a:cubicBezTo>
                  <a:cubicBezTo>
                    <a:pt x="1878" y="11914"/>
                    <a:pt x="1878" y="11914"/>
                    <a:pt x="1878" y="11914"/>
                  </a:cubicBezTo>
                  <a:cubicBezTo>
                    <a:pt x="1713" y="12514"/>
                    <a:pt x="1713" y="12514"/>
                    <a:pt x="1713" y="12514"/>
                  </a:cubicBezTo>
                  <a:cubicBezTo>
                    <a:pt x="1657" y="13029"/>
                    <a:pt x="1657" y="13029"/>
                    <a:pt x="1657" y="13029"/>
                  </a:cubicBezTo>
                  <a:cubicBezTo>
                    <a:pt x="1768" y="13543"/>
                    <a:pt x="1768" y="13543"/>
                    <a:pt x="1768" y="13543"/>
                  </a:cubicBezTo>
                  <a:cubicBezTo>
                    <a:pt x="1713" y="13714"/>
                    <a:pt x="1713" y="13714"/>
                    <a:pt x="1713" y="13714"/>
                  </a:cubicBezTo>
                  <a:cubicBezTo>
                    <a:pt x="1547" y="13714"/>
                    <a:pt x="1547" y="13714"/>
                    <a:pt x="1547" y="13714"/>
                  </a:cubicBezTo>
                  <a:cubicBezTo>
                    <a:pt x="1381" y="14057"/>
                    <a:pt x="1381" y="14057"/>
                    <a:pt x="1381" y="14057"/>
                  </a:cubicBezTo>
                  <a:cubicBezTo>
                    <a:pt x="1215" y="14657"/>
                    <a:pt x="1215" y="14657"/>
                    <a:pt x="1215" y="14657"/>
                  </a:cubicBezTo>
                  <a:cubicBezTo>
                    <a:pt x="1326" y="14829"/>
                    <a:pt x="1326" y="14829"/>
                    <a:pt x="1326" y="14829"/>
                  </a:cubicBezTo>
                  <a:cubicBezTo>
                    <a:pt x="1547" y="15000"/>
                    <a:pt x="1547" y="15000"/>
                    <a:pt x="1547" y="15000"/>
                  </a:cubicBezTo>
                  <a:cubicBezTo>
                    <a:pt x="1547" y="15257"/>
                    <a:pt x="1547" y="15257"/>
                    <a:pt x="1547" y="15257"/>
                  </a:cubicBezTo>
                  <a:cubicBezTo>
                    <a:pt x="1657" y="15257"/>
                    <a:pt x="1657" y="15257"/>
                    <a:pt x="1657" y="15257"/>
                  </a:cubicBezTo>
                  <a:cubicBezTo>
                    <a:pt x="1823" y="15000"/>
                    <a:pt x="1823" y="15000"/>
                    <a:pt x="1823" y="15000"/>
                  </a:cubicBezTo>
                  <a:cubicBezTo>
                    <a:pt x="1989" y="14914"/>
                    <a:pt x="1989" y="14914"/>
                    <a:pt x="1989" y="14914"/>
                  </a:cubicBezTo>
                  <a:cubicBezTo>
                    <a:pt x="2099" y="14914"/>
                    <a:pt x="2099" y="14914"/>
                    <a:pt x="2099" y="14914"/>
                  </a:cubicBezTo>
                  <a:cubicBezTo>
                    <a:pt x="2320" y="14657"/>
                    <a:pt x="2320" y="14657"/>
                    <a:pt x="2320" y="14657"/>
                  </a:cubicBezTo>
                  <a:cubicBezTo>
                    <a:pt x="2431" y="14657"/>
                    <a:pt x="2431" y="14657"/>
                    <a:pt x="2431" y="14657"/>
                  </a:cubicBezTo>
                  <a:cubicBezTo>
                    <a:pt x="2486" y="15000"/>
                    <a:pt x="2486" y="15000"/>
                    <a:pt x="2486" y="15000"/>
                  </a:cubicBezTo>
                  <a:cubicBezTo>
                    <a:pt x="2596" y="15343"/>
                    <a:pt x="2596" y="15343"/>
                    <a:pt x="2596" y="15343"/>
                  </a:cubicBezTo>
                  <a:cubicBezTo>
                    <a:pt x="2652" y="16029"/>
                    <a:pt x="2652" y="16029"/>
                    <a:pt x="2652" y="16029"/>
                  </a:cubicBezTo>
                  <a:cubicBezTo>
                    <a:pt x="2652" y="16543"/>
                    <a:pt x="2652" y="16543"/>
                    <a:pt x="2652" y="16543"/>
                  </a:cubicBezTo>
                  <a:cubicBezTo>
                    <a:pt x="2652" y="16800"/>
                    <a:pt x="2652" y="16800"/>
                    <a:pt x="2652" y="16800"/>
                  </a:cubicBezTo>
                  <a:cubicBezTo>
                    <a:pt x="2873" y="17143"/>
                    <a:pt x="2873" y="17143"/>
                    <a:pt x="2873" y="17143"/>
                  </a:cubicBezTo>
                  <a:cubicBezTo>
                    <a:pt x="2873" y="17571"/>
                    <a:pt x="2873" y="17571"/>
                    <a:pt x="2873" y="17571"/>
                  </a:cubicBezTo>
                  <a:cubicBezTo>
                    <a:pt x="2873" y="18000"/>
                    <a:pt x="2873" y="18000"/>
                    <a:pt x="2873" y="18000"/>
                  </a:cubicBezTo>
                  <a:cubicBezTo>
                    <a:pt x="2873" y="18171"/>
                    <a:pt x="2873" y="18171"/>
                    <a:pt x="2873" y="18171"/>
                  </a:cubicBezTo>
                  <a:cubicBezTo>
                    <a:pt x="2983" y="18429"/>
                    <a:pt x="2983" y="18429"/>
                    <a:pt x="2983" y="18429"/>
                  </a:cubicBezTo>
                  <a:cubicBezTo>
                    <a:pt x="3259" y="18686"/>
                    <a:pt x="3259" y="18686"/>
                    <a:pt x="3259" y="18686"/>
                  </a:cubicBezTo>
                  <a:cubicBezTo>
                    <a:pt x="3480" y="18686"/>
                    <a:pt x="3480" y="18686"/>
                    <a:pt x="3480" y="18686"/>
                  </a:cubicBezTo>
                  <a:cubicBezTo>
                    <a:pt x="3480" y="19200"/>
                    <a:pt x="3480" y="19200"/>
                    <a:pt x="3480" y="19200"/>
                  </a:cubicBezTo>
                  <a:cubicBezTo>
                    <a:pt x="3591" y="19714"/>
                    <a:pt x="3591" y="19714"/>
                    <a:pt x="3591" y="19714"/>
                  </a:cubicBezTo>
                  <a:cubicBezTo>
                    <a:pt x="3591" y="20057"/>
                    <a:pt x="3591" y="20057"/>
                    <a:pt x="3591" y="20057"/>
                  </a:cubicBezTo>
                  <a:cubicBezTo>
                    <a:pt x="3591" y="20314"/>
                    <a:pt x="3591" y="20314"/>
                    <a:pt x="3591" y="20314"/>
                  </a:cubicBezTo>
                  <a:cubicBezTo>
                    <a:pt x="3701" y="20657"/>
                    <a:pt x="3701" y="20657"/>
                    <a:pt x="3701" y="20657"/>
                  </a:cubicBezTo>
                  <a:cubicBezTo>
                    <a:pt x="3922" y="20657"/>
                    <a:pt x="3922" y="20657"/>
                    <a:pt x="3922" y="20657"/>
                  </a:cubicBezTo>
                  <a:cubicBezTo>
                    <a:pt x="3922" y="20486"/>
                    <a:pt x="3922" y="20486"/>
                    <a:pt x="3922" y="20486"/>
                  </a:cubicBezTo>
                  <a:cubicBezTo>
                    <a:pt x="3977" y="20229"/>
                    <a:pt x="3977" y="20229"/>
                    <a:pt x="3977" y="20229"/>
                  </a:cubicBezTo>
                  <a:cubicBezTo>
                    <a:pt x="4088" y="20229"/>
                    <a:pt x="4088" y="20229"/>
                    <a:pt x="4088" y="20229"/>
                  </a:cubicBezTo>
                  <a:cubicBezTo>
                    <a:pt x="4254" y="20229"/>
                    <a:pt x="4254" y="20229"/>
                    <a:pt x="4254" y="20229"/>
                  </a:cubicBezTo>
                  <a:cubicBezTo>
                    <a:pt x="4530" y="20486"/>
                    <a:pt x="4530" y="20486"/>
                    <a:pt x="4530" y="20486"/>
                  </a:cubicBezTo>
                  <a:cubicBezTo>
                    <a:pt x="4806" y="20657"/>
                    <a:pt x="4806" y="20657"/>
                    <a:pt x="4806" y="20657"/>
                  </a:cubicBezTo>
                  <a:cubicBezTo>
                    <a:pt x="4806" y="20486"/>
                    <a:pt x="4806" y="20486"/>
                    <a:pt x="4806" y="20486"/>
                  </a:cubicBezTo>
                  <a:cubicBezTo>
                    <a:pt x="4861" y="20314"/>
                    <a:pt x="4861" y="20314"/>
                    <a:pt x="4861" y="20314"/>
                  </a:cubicBezTo>
                  <a:cubicBezTo>
                    <a:pt x="5082" y="20314"/>
                    <a:pt x="5082" y="20314"/>
                    <a:pt x="5082" y="20314"/>
                  </a:cubicBezTo>
                  <a:cubicBezTo>
                    <a:pt x="5524" y="20400"/>
                    <a:pt x="5524" y="20400"/>
                    <a:pt x="5524" y="20400"/>
                  </a:cubicBezTo>
                  <a:cubicBezTo>
                    <a:pt x="5801" y="20571"/>
                    <a:pt x="5801" y="20571"/>
                    <a:pt x="5801" y="20571"/>
                  </a:cubicBezTo>
                  <a:cubicBezTo>
                    <a:pt x="6353" y="20657"/>
                    <a:pt x="6353" y="20657"/>
                    <a:pt x="6353" y="20657"/>
                  </a:cubicBezTo>
                  <a:cubicBezTo>
                    <a:pt x="6408" y="20400"/>
                    <a:pt x="6408" y="20400"/>
                    <a:pt x="6408" y="20400"/>
                  </a:cubicBezTo>
                  <a:cubicBezTo>
                    <a:pt x="6463" y="19971"/>
                    <a:pt x="6463" y="19971"/>
                    <a:pt x="6463" y="19971"/>
                  </a:cubicBezTo>
                  <a:cubicBezTo>
                    <a:pt x="6684" y="19971"/>
                    <a:pt x="6684" y="19971"/>
                    <a:pt x="6684" y="19971"/>
                  </a:cubicBezTo>
                  <a:cubicBezTo>
                    <a:pt x="6850" y="20229"/>
                    <a:pt x="6850" y="20229"/>
                    <a:pt x="6850" y="20229"/>
                  </a:cubicBezTo>
                  <a:cubicBezTo>
                    <a:pt x="6961" y="20486"/>
                    <a:pt x="6961" y="20486"/>
                    <a:pt x="6961" y="20486"/>
                  </a:cubicBezTo>
                  <a:cubicBezTo>
                    <a:pt x="7016" y="20829"/>
                    <a:pt x="7016" y="20829"/>
                    <a:pt x="7016" y="20829"/>
                  </a:cubicBezTo>
                  <a:cubicBezTo>
                    <a:pt x="7016" y="20914"/>
                    <a:pt x="7016" y="20914"/>
                    <a:pt x="7016" y="20914"/>
                  </a:cubicBezTo>
                  <a:cubicBezTo>
                    <a:pt x="7126" y="21086"/>
                    <a:pt x="7126" y="21086"/>
                    <a:pt x="7126" y="21086"/>
                  </a:cubicBezTo>
                  <a:cubicBezTo>
                    <a:pt x="7237" y="21257"/>
                    <a:pt x="7237" y="21257"/>
                    <a:pt x="7237" y="21257"/>
                  </a:cubicBezTo>
                  <a:cubicBezTo>
                    <a:pt x="7513" y="18943"/>
                    <a:pt x="7513" y="18943"/>
                    <a:pt x="7513" y="18943"/>
                  </a:cubicBezTo>
                  <a:cubicBezTo>
                    <a:pt x="20550" y="21600"/>
                    <a:pt x="20550" y="21600"/>
                    <a:pt x="20550" y="21600"/>
                  </a:cubicBezTo>
                  <a:cubicBezTo>
                    <a:pt x="20606" y="21600"/>
                    <a:pt x="20606" y="21600"/>
                    <a:pt x="20606" y="21600"/>
                  </a:cubicBezTo>
                  <a:cubicBezTo>
                    <a:pt x="20827" y="17743"/>
                    <a:pt x="20827" y="17743"/>
                    <a:pt x="20827" y="17743"/>
                  </a:cubicBezTo>
                  <a:lnTo>
                    <a:pt x="21600" y="514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2" name="Shape 2297">
              <a:extLst>
                <a:ext uri="{FF2B5EF4-FFF2-40B4-BE49-F238E27FC236}">
                  <a16:creationId xmlns:a16="http://schemas.microsoft.com/office/drawing/2014/main" id="{3E1D1BA1-1A9F-B1A4-1DB4-69403A12F62F}"/>
                </a:ext>
              </a:extLst>
            </p:cNvPr>
            <p:cNvSpPr/>
            <p:nvPr/>
          </p:nvSpPr>
          <p:spPr>
            <a:xfrm>
              <a:off x="9341425" y="414218"/>
              <a:ext cx="672932" cy="1075818"/>
            </a:xfrm>
            <a:custGeom>
              <a:avLst/>
              <a:gdLst/>
              <a:ahLst/>
              <a:cxnLst>
                <a:cxn ang="0">
                  <a:pos x="wd2" y="hd2"/>
                </a:cxn>
                <a:cxn ang="5400000">
                  <a:pos x="wd2" y="hd2"/>
                </a:cxn>
                <a:cxn ang="10800000">
                  <a:pos x="wd2" y="hd2"/>
                </a:cxn>
                <a:cxn ang="16200000">
                  <a:pos x="wd2" y="hd2"/>
                </a:cxn>
              </a:cxnLst>
              <a:rect l="0" t="0" r="r" b="b"/>
              <a:pathLst>
                <a:path w="21600" h="21600" extrusionOk="0">
                  <a:moveTo>
                    <a:pt x="6092" y="21600"/>
                  </a:moveTo>
                  <a:lnTo>
                    <a:pt x="6092" y="21369"/>
                  </a:lnTo>
                  <a:lnTo>
                    <a:pt x="6277" y="21022"/>
                  </a:lnTo>
                  <a:lnTo>
                    <a:pt x="6277" y="20329"/>
                  </a:lnTo>
                  <a:lnTo>
                    <a:pt x="6462" y="20098"/>
                  </a:lnTo>
                  <a:lnTo>
                    <a:pt x="6831" y="20098"/>
                  </a:lnTo>
                  <a:lnTo>
                    <a:pt x="6831" y="19752"/>
                  </a:lnTo>
                  <a:lnTo>
                    <a:pt x="7015" y="19521"/>
                  </a:lnTo>
                  <a:lnTo>
                    <a:pt x="7015" y="19174"/>
                  </a:lnTo>
                  <a:lnTo>
                    <a:pt x="8123" y="19174"/>
                  </a:lnTo>
                  <a:lnTo>
                    <a:pt x="8123" y="18597"/>
                  </a:lnTo>
                  <a:lnTo>
                    <a:pt x="7385" y="18597"/>
                  </a:lnTo>
                  <a:lnTo>
                    <a:pt x="7385" y="18250"/>
                  </a:lnTo>
                  <a:lnTo>
                    <a:pt x="7754" y="18019"/>
                  </a:lnTo>
                  <a:lnTo>
                    <a:pt x="7754" y="17904"/>
                  </a:lnTo>
                  <a:lnTo>
                    <a:pt x="8123" y="17673"/>
                  </a:lnTo>
                  <a:lnTo>
                    <a:pt x="8308" y="17788"/>
                  </a:lnTo>
                  <a:lnTo>
                    <a:pt x="8308" y="17904"/>
                  </a:lnTo>
                  <a:lnTo>
                    <a:pt x="8677" y="17788"/>
                  </a:lnTo>
                  <a:lnTo>
                    <a:pt x="8862" y="17673"/>
                  </a:lnTo>
                  <a:lnTo>
                    <a:pt x="8862" y="17326"/>
                  </a:lnTo>
                  <a:lnTo>
                    <a:pt x="9415" y="17673"/>
                  </a:lnTo>
                  <a:lnTo>
                    <a:pt x="9600" y="17673"/>
                  </a:lnTo>
                  <a:lnTo>
                    <a:pt x="9600" y="17211"/>
                  </a:lnTo>
                  <a:lnTo>
                    <a:pt x="9415" y="17211"/>
                  </a:lnTo>
                  <a:lnTo>
                    <a:pt x="9231" y="16980"/>
                  </a:lnTo>
                  <a:lnTo>
                    <a:pt x="9969" y="16980"/>
                  </a:lnTo>
                  <a:lnTo>
                    <a:pt x="10338" y="17095"/>
                  </a:lnTo>
                  <a:lnTo>
                    <a:pt x="10892" y="16980"/>
                  </a:lnTo>
                  <a:lnTo>
                    <a:pt x="11077" y="16633"/>
                  </a:lnTo>
                  <a:lnTo>
                    <a:pt x="10892" y="16056"/>
                  </a:lnTo>
                  <a:lnTo>
                    <a:pt x="11262" y="16056"/>
                  </a:lnTo>
                  <a:lnTo>
                    <a:pt x="11815" y="16402"/>
                  </a:lnTo>
                  <a:lnTo>
                    <a:pt x="12369" y="16287"/>
                  </a:lnTo>
                  <a:lnTo>
                    <a:pt x="12554" y="16056"/>
                  </a:lnTo>
                  <a:lnTo>
                    <a:pt x="12738" y="15594"/>
                  </a:lnTo>
                  <a:lnTo>
                    <a:pt x="12554" y="15247"/>
                  </a:lnTo>
                  <a:lnTo>
                    <a:pt x="12738" y="14785"/>
                  </a:lnTo>
                  <a:lnTo>
                    <a:pt x="12738" y="14554"/>
                  </a:lnTo>
                  <a:lnTo>
                    <a:pt x="12554" y="14207"/>
                  </a:lnTo>
                  <a:lnTo>
                    <a:pt x="12554" y="13976"/>
                  </a:lnTo>
                  <a:lnTo>
                    <a:pt x="12738" y="13630"/>
                  </a:lnTo>
                  <a:lnTo>
                    <a:pt x="12738" y="13399"/>
                  </a:lnTo>
                  <a:lnTo>
                    <a:pt x="13477" y="13861"/>
                  </a:lnTo>
                  <a:lnTo>
                    <a:pt x="13662" y="14092"/>
                  </a:lnTo>
                  <a:lnTo>
                    <a:pt x="14585" y="14092"/>
                  </a:lnTo>
                  <a:lnTo>
                    <a:pt x="14585" y="13399"/>
                  </a:lnTo>
                  <a:lnTo>
                    <a:pt x="14954" y="13283"/>
                  </a:lnTo>
                  <a:lnTo>
                    <a:pt x="15508" y="13399"/>
                  </a:lnTo>
                  <a:lnTo>
                    <a:pt x="15508" y="14092"/>
                  </a:lnTo>
                  <a:lnTo>
                    <a:pt x="16062" y="13976"/>
                  </a:lnTo>
                  <a:lnTo>
                    <a:pt x="16615" y="13630"/>
                  </a:lnTo>
                  <a:lnTo>
                    <a:pt x="15877" y="13168"/>
                  </a:lnTo>
                  <a:lnTo>
                    <a:pt x="15877" y="12937"/>
                  </a:lnTo>
                  <a:lnTo>
                    <a:pt x="16062" y="12821"/>
                  </a:lnTo>
                  <a:lnTo>
                    <a:pt x="16615" y="13168"/>
                  </a:lnTo>
                  <a:lnTo>
                    <a:pt x="17169" y="13399"/>
                  </a:lnTo>
                  <a:lnTo>
                    <a:pt x="17538" y="13283"/>
                  </a:lnTo>
                  <a:lnTo>
                    <a:pt x="17354" y="12821"/>
                  </a:lnTo>
                  <a:lnTo>
                    <a:pt x="17908" y="12821"/>
                  </a:lnTo>
                  <a:lnTo>
                    <a:pt x="17908" y="12128"/>
                  </a:lnTo>
                  <a:lnTo>
                    <a:pt x="19015" y="12128"/>
                  </a:lnTo>
                  <a:lnTo>
                    <a:pt x="19200" y="12013"/>
                  </a:lnTo>
                  <a:lnTo>
                    <a:pt x="19200" y="11666"/>
                  </a:lnTo>
                  <a:lnTo>
                    <a:pt x="19569" y="11666"/>
                  </a:lnTo>
                  <a:lnTo>
                    <a:pt x="20308" y="11204"/>
                  </a:lnTo>
                  <a:lnTo>
                    <a:pt x="21046" y="11204"/>
                  </a:lnTo>
                  <a:lnTo>
                    <a:pt x="21415" y="10973"/>
                  </a:lnTo>
                  <a:lnTo>
                    <a:pt x="21600" y="10280"/>
                  </a:lnTo>
                  <a:lnTo>
                    <a:pt x="21415" y="10165"/>
                  </a:lnTo>
                  <a:lnTo>
                    <a:pt x="20862" y="10165"/>
                  </a:lnTo>
                  <a:lnTo>
                    <a:pt x="20677" y="9934"/>
                  </a:lnTo>
                  <a:lnTo>
                    <a:pt x="21046" y="9703"/>
                  </a:lnTo>
                  <a:lnTo>
                    <a:pt x="21046" y="9587"/>
                  </a:lnTo>
                  <a:lnTo>
                    <a:pt x="20677" y="9472"/>
                  </a:lnTo>
                  <a:lnTo>
                    <a:pt x="20308" y="8894"/>
                  </a:lnTo>
                  <a:lnTo>
                    <a:pt x="19200" y="8894"/>
                  </a:lnTo>
                  <a:lnTo>
                    <a:pt x="18831" y="8432"/>
                  </a:lnTo>
                  <a:lnTo>
                    <a:pt x="18646" y="7855"/>
                  </a:lnTo>
                  <a:lnTo>
                    <a:pt x="18646" y="7393"/>
                  </a:lnTo>
                  <a:lnTo>
                    <a:pt x="18462" y="7046"/>
                  </a:lnTo>
                  <a:lnTo>
                    <a:pt x="17908" y="7161"/>
                  </a:lnTo>
                  <a:lnTo>
                    <a:pt x="17538" y="7277"/>
                  </a:lnTo>
                  <a:lnTo>
                    <a:pt x="16800" y="7277"/>
                  </a:lnTo>
                  <a:lnTo>
                    <a:pt x="16062" y="7046"/>
                  </a:lnTo>
                  <a:lnTo>
                    <a:pt x="15508" y="6468"/>
                  </a:lnTo>
                  <a:lnTo>
                    <a:pt x="15323" y="5660"/>
                  </a:lnTo>
                  <a:lnTo>
                    <a:pt x="14585" y="4620"/>
                  </a:lnTo>
                  <a:lnTo>
                    <a:pt x="14215" y="3581"/>
                  </a:lnTo>
                  <a:lnTo>
                    <a:pt x="13846" y="3003"/>
                  </a:lnTo>
                  <a:lnTo>
                    <a:pt x="13477" y="2079"/>
                  </a:lnTo>
                  <a:lnTo>
                    <a:pt x="13108" y="1271"/>
                  </a:lnTo>
                  <a:lnTo>
                    <a:pt x="12738" y="924"/>
                  </a:lnTo>
                  <a:lnTo>
                    <a:pt x="10338" y="0"/>
                  </a:lnTo>
                  <a:lnTo>
                    <a:pt x="9785" y="347"/>
                  </a:lnTo>
                  <a:lnTo>
                    <a:pt x="9231" y="809"/>
                  </a:lnTo>
                  <a:lnTo>
                    <a:pt x="8308" y="1271"/>
                  </a:lnTo>
                  <a:lnTo>
                    <a:pt x="7754" y="1271"/>
                  </a:lnTo>
                  <a:lnTo>
                    <a:pt x="7200" y="1040"/>
                  </a:lnTo>
                  <a:lnTo>
                    <a:pt x="6277" y="693"/>
                  </a:lnTo>
                  <a:lnTo>
                    <a:pt x="5538" y="578"/>
                  </a:lnTo>
                  <a:lnTo>
                    <a:pt x="5354" y="578"/>
                  </a:lnTo>
                  <a:lnTo>
                    <a:pt x="4985" y="809"/>
                  </a:lnTo>
                  <a:lnTo>
                    <a:pt x="4062" y="2541"/>
                  </a:lnTo>
                  <a:lnTo>
                    <a:pt x="3692" y="3812"/>
                  </a:lnTo>
                  <a:lnTo>
                    <a:pt x="2769" y="5198"/>
                  </a:lnTo>
                  <a:lnTo>
                    <a:pt x="2400" y="6237"/>
                  </a:lnTo>
                  <a:lnTo>
                    <a:pt x="2215" y="7393"/>
                  </a:lnTo>
                  <a:lnTo>
                    <a:pt x="2400" y="7970"/>
                  </a:lnTo>
                  <a:lnTo>
                    <a:pt x="2769" y="8201"/>
                  </a:lnTo>
                  <a:lnTo>
                    <a:pt x="2585" y="8432"/>
                  </a:lnTo>
                  <a:lnTo>
                    <a:pt x="2215" y="8779"/>
                  </a:lnTo>
                  <a:lnTo>
                    <a:pt x="2215" y="9472"/>
                  </a:lnTo>
                  <a:lnTo>
                    <a:pt x="1846" y="10049"/>
                  </a:lnTo>
                  <a:lnTo>
                    <a:pt x="1846" y="10858"/>
                  </a:lnTo>
                  <a:lnTo>
                    <a:pt x="1292" y="10973"/>
                  </a:lnTo>
                  <a:lnTo>
                    <a:pt x="1292" y="11551"/>
                  </a:lnTo>
                  <a:lnTo>
                    <a:pt x="185" y="11551"/>
                  </a:lnTo>
                  <a:lnTo>
                    <a:pt x="0" y="11897"/>
                  </a:lnTo>
                  <a:lnTo>
                    <a:pt x="4246" y="20560"/>
                  </a:lnTo>
                  <a:lnTo>
                    <a:pt x="6092" y="216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3" name="Shape 2298">
              <a:extLst>
                <a:ext uri="{FF2B5EF4-FFF2-40B4-BE49-F238E27FC236}">
                  <a16:creationId xmlns:a16="http://schemas.microsoft.com/office/drawing/2014/main" id="{606011DA-985B-37B3-B7AD-C508D739F06D}"/>
                </a:ext>
              </a:extLst>
            </p:cNvPr>
            <p:cNvSpPr/>
            <p:nvPr/>
          </p:nvSpPr>
          <p:spPr>
            <a:xfrm>
              <a:off x="8047333" y="1150610"/>
              <a:ext cx="1391874" cy="1024040"/>
            </a:xfrm>
            <a:custGeom>
              <a:avLst/>
              <a:gdLst/>
              <a:ahLst/>
              <a:cxnLst>
                <a:cxn ang="0">
                  <a:pos x="wd2" y="hd2"/>
                </a:cxn>
                <a:cxn ang="5400000">
                  <a:pos x="wd2" y="hd2"/>
                </a:cxn>
                <a:cxn ang="10800000">
                  <a:pos x="wd2" y="hd2"/>
                </a:cxn>
                <a:cxn ang="16200000">
                  <a:pos x="wd2" y="hd2"/>
                </a:cxn>
              </a:cxnLst>
              <a:rect l="0" t="0" r="r" b="b"/>
              <a:pathLst>
                <a:path w="21600" h="21600" extrusionOk="0">
                  <a:moveTo>
                    <a:pt x="0" y="17717"/>
                  </a:moveTo>
                  <a:lnTo>
                    <a:pt x="893" y="16503"/>
                  </a:lnTo>
                  <a:lnTo>
                    <a:pt x="1071" y="16139"/>
                  </a:lnTo>
                  <a:lnTo>
                    <a:pt x="1607" y="15411"/>
                  </a:lnTo>
                  <a:lnTo>
                    <a:pt x="1964" y="15047"/>
                  </a:lnTo>
                  <a:lnTo>
                    <a:pt x="1964" y="14440"/>
                  </a:lnTo>
                  <a:lnTo>
                    <a:pt x="1517" y="13227"/>
                  </a:lnTo>
                  <a:lnTo>
                    <a:pt x="1250" y="12378"/>
                  </a:lnTo>
                  <a:lnTo>
                    <a:pt x="1607" y="12013"/>
                  </a:lnTo>
                  <a:lnTo>
                    <a:pt x="2767" y="11649"/>
                  </a:lnTo>
                  <a:lnTo>
                    <a:pt x="4998" y="11649"/>
                  </a:lnTo>
                  <a:lnTo>
                    <a:pt x="5623" y="11285"/>
                  </a:lnTo>
                  <a:lnTo>
                    <a:pt x="5980" y="11285"/>
                  </a:lnTo>
                  <a:lnTo>
                    <a:pt x="6873" y="10921"/>
                  </a:lnTo>
                  <a:lnTo>
                    <a:pt x="7408" y="10072"/>
                  </a:lnTo>
                  <a:lnTo>
                    <a:pt x="7944" y="9708"/>
                  </a:lnTo>
                  <a:lnTo>
                    <a:pt x="8301" y="9344"/>
                  </a:lnTo>
                  <a:lnTo>
                    <a:pt x="8301" y="8616"/>
                  </a:lnTo>
                  <a:lnTo>
                    <a:pt x="7944" y="8009"/>
                  </a:lnTo>
                  <a:lnTo>
                    <a:pt x="8301" y="7645"/>
                  </a:lnTo>
                  <a:lnTo>
                    <a:pt x="8390" y="7160"/>
                  </a:lnTo>
                  <a:lnTo>
                    <a:pt x="7944" y="7402"/>
                  </a:lnTo>
                  <a:lnTo>
                    <a:pt x="7765" y="7160"/>
                  </a:lnTo>
                  <a:lnTo>
                    <a:pt x="7587" y="6674"/>
                  </a:lnTo>
                  <a:lnTo>
                    <a:pt x="8033" y="6189"/>
                  </a:lnTo>
                  <a:lnTo>
                    <a:pt x="8747" y="5339"/>
                  </a:lnTo>
                  <a:lnTo>
                    <a:pt x="9015" y="4611"/>
                  </a:lnTo>
                  <a:lnTo>
                    <a:pt x="9104" y="4004"/>
                  </a:lnTo>
                  <a:lnTo>
                    <a:pt x="9818" y="2791"/>
                  </a:lnTo>
                  <a:lnTo>
                    <a:pt x="10354" y="1820"/>
                  </a:lnTo>
                  <a:lnTo>
                    <a:pt x="10979" y="1213"/>
                  </a:lnTo>
                  <a:lnTo>
                    <a:pt x="11603" y="971"/>
                  </a:lnTo>
                  <a:lnTo>
                    <a:pt x="12585" y="607"/>
                  </a:lnTo>
                  <a:lnTo>
                    <a:pt x="13121" y="243"/>
                  </a:lnTo>
                  <a:lnTo>
                    <a:pt x="14549" y="0"/>
                  </a:lnTo>
                  <a:lnTo>
                    <a:pt x="14549" y="1335"/>
                  </a:lnTo>
                  <a:lnTo>
                    <a:pt x="14727" y="1942"/>
                  </a:lnTo>
                  <a:lnTo>
                    <a:pt x="14995" y="2791"/>
                  </a:lnTo>
                  <a:lnTo>
                    <a:pt x="15263" y="2912"/>
                  </a:lnTo>
                  <a:lnTo>
                    <a:pt x="15531" y="3883"/>
                  </a:lnTo>
                  <a:lnTo>
                    <a:pt x="15263" y="4126"/>
                  </a:lnTo>
                  <a:lnTo>
                    <a:pt x="15174" y="4975"/>
                  </a:lnTo>
                  <a:lnTo>
                    <a:pt x="15531" y="5825"/>
                  </a:lnTo>
                  <a:lnTo>
                    <a:pt x="15798" y="6796"/>
                  </a:lnTo>
                  <a:lnTo>
                    <a:pt x="16155" y="7160"/>
                  </a:lnTo>
                  <a:lnTo>
                    <a:pt x="16245" y="8494"/>
                  </a:lnTo>
                  <a:lnTo>
                    <a:pt x="16423" y="9587"/>
                  </a:lnTo>
                  <a:lnTo>
                    <a:pt x="16780" y="10679"/>
                  </a:lnTo>
                  <a:lnTo>
                    <a:pt x="16780" y="14562"/>
                  </a:lnTo>
                  <a:lnTo>
                    <a:pt x="17137" y="16867"/>
                  </a:lnTo>
                  <a:lnTo>
                    <a:pt x="17137" y="17717"/>
                  </a:lnTo>
                  <a:lnTo>
                    <a:pt x="17494" y="18445"/>
                  </a:lnTo>
                  <a:lnTo>
                    <a:pt x="17137" y="19173"/>
                  </a:lnTo>
                  <a:lnTo>
                    <a:pt x="17226" y="19537"/>
                  </a:lnTo>
                  <a:lnTo>
                    <a:pt x="16602" y="20751"/>
                  </a:lnTo>
                  <a:lnTo>
                    <a:pt x="17226" y="20387"/>
                  </a:lnTo>
                  <a:lnTo>
                    <a:pt x="17673" y="20144"/>
                  </a:lnTo>
                  <a:lnTo>
                    <a:pt x="18208" y="19658"/>
                  </a:lnTo>
                  <a:lnTo>
                    <a:pt x="18387" y="19416"/>
                  </a:lnTo>
                  <a:lnTo>
                    <a:pt x="18922" y="19294"/>
                  </a:lnTo>
                  <a:lnTo>
                    <a:pt x="19369" y="19173"/>
                  </a:lnTo>
                  <a:lnTo>
                    <a:pt x="19547" y="18930"/>
                  </a:lnTo>
                  <a:lnTo>
                    <a:pt x="20083" y="18566"/>
                  </a:lnTo>
                  <a:lnTo>
                    <a:pt x="20529" y="17838"/>
                  </a:lnTo>
                  <a:lnTo>
                    <a:pt x="20083" y="19052"/>
                  </a:lnTo>
                  <a:lnTo>
                    <a:pt x="20529" y="18809"/>
                  </a:lnTo>
                  <a:lnTo>
                    <a:pt x="20797" y="18324"/>
                  </a:lnTo>
                  <a:lnTo>
                    <a:pt x="21064" y="18202"/>
                  </a:lnTo>
                  <a:lnTo>
                    <a:pt x="21421" y="18081"/>
                  </a:lnTo>
                  <a:lnTo>
                    <a:pt x="21600" y="18081"/>
                  </a:lnTo>
                  <a:lnTo>
                    <a:pt x="20797" y="19052"/>
                  </a:lnTo>
                  <a:lnTo>
                    <a:pt x="20083" y="19780"/>
                  </a:lnTo>
                  <a:lnTo>
                    <a:pt x="19547" y="20144"/>
                  </a:lnTo>
                  <a:lnTo>
                    <a:pt x="19101" y="20751"/>
                  </a:lnTo>
                  <a:lnTo>
                    <a:pt x="18387" y="20993"/>
                  </a:lnTo>
                  <a:lnTo>
                    <a:pt x="17583" y="21357"/>
                  </a:lnTo>
                  <a:lnTo>
                    <a:pt x="16869" y="21600"/>
                  </a:lnTo>
                  <a:lnTo>
                    <a:pt x="16423" y="21236"/>
                  </a:lnTo>
                  <a:lnTo>
                    <a:pt x="16245" y="20751"/>
                  </a:lnTo>
                  <a:lnTo>
                    <a:pt x="16245" y="20265"/>
                  </a:lnTo>
                  <a:lnTo>
                    <a:pt x="16066" y="20022"/>
                  </a:lnTo>
                  <a:lnTo>
                    <a:pt x="14906" y="19537"/>
                  </a:lnTo>
                  <a:lnTo>
                    <a:pt x="13835" y="19173"/>
                  </a:lnTo>
                  <a:lnTo>
                    <a:pt x="14013" y="18566"/>
                  </a:lnTo>
                  <a:lnTo>
                    <a:pt x="13745" y="18324"/>
                  </a:lnTo>
                  <a:lnTo>
                    <a:pt x="13478" y="18324"/>
                  </a:lnTo>
                  <a:lnTo>
                    <a:pt x="13210" y="18202"/>
                  </a:lnTo>
                  <a:lnTo>
                    <a:pt x="12853" y="17353"/>
                  </a:lnTo>
                  <a:lnTo>
                    <a:pt x="12496" y="16746"/>
                  </a:lnTo>
                  <a:lnTo>
                    <a:pt x="11782" y="16139"/>
                  </a:lnTo>
                  <a:lnTo>
                    <a:pt x="179" y="18930"/>
                  </a:lnTo>
                  <a:lnTo>
                    <a:pt x="0" y="1771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4" name="Shape 2299">
              <a:extLst>
                <a:ext uri="{FF2B5EF4-FFF2-40B4-BE49-F238E27FC236}">
                  <a16:creationId xmlns:a16="http://schemas.microsoft.com/office/drawing/2014/main" id="{DA4588FE-BB17-A755-220A-174194D82F35}"/>
                </a:ext>
              </a:extLst>
            </p:cNvPr>
            <p:cNvSpPr/>
            <p:nvPr/>
          </p:nvSpPr>
          <p:spPr>
            <a:xfrm>
              <a:off x="8984834" y="1081568"/>
              <a:ext cx="322088" cy="581057"/>
            </a:xfrm>
            <a:custGeom>
              <a:avLst/>
              <a:gdLst/>
              <a:ahLst/>
              <a:cxnLst>
                <a:cxn ang="0">
                  <a:pos x="wd2" y="hd2"/>
                </a:cxn>
                <a:cxn ang="5400000">
                  <a:pos x="wd2" y="hd2"/>
                </a:cxn>
                <a:cxn ang="10800000">
                  <a:pos x="wd2" y="hd2"/>
                </a:cxn>
                <a:cxn ang="16200000">
                  <a:pos x="wd2" y="hd2"/>
                </a:cxn>
              </a:cxnLst>
              <a:rect l="0" t="0" r="r" b="b"/>
              <a:pathLst>
                <a:path w="21600" h="21600" extrusionOk="0">
                  <a:moveTo>
                    <a:pt x="0" y="4919"/>
                  </a:moveTo>
                  <a:lnTo>
                    <a:pt x="771" y="5988"/>
                  </a:lnTo>
                  <a:lnTo>
                    <a:pt x="1929" y="7485"/>
                  </a:lnTo>
                  <a:lnTo>
                    <a:pt x="3086" y="7699"/>
                  </a:lnTo>
                  <a:lnTo>
                    <a:pt x="4243" y="9410"/>
                  </a:lnTo>
                  <a:lnTo>
                    <a:pt x="3086" y="9838"/>
                  </a:lnTo>
                  <a:lnTo>
                    <a:pt x="2700" y="11335"/>
                  </a:lnTo>
                  <a:lnTo>
                    <a:pt x="4243" y="12832"/>
                  </a:lnTo>
                  <a:lnTo>
                    <a:pt x="5400" y="14543"/>
                  </a:lnTo>
                  <a:lnTo>
                    <a:pt x="6943" y="15184"/>
                  </a:lnTo>
                  <a:lnTo>
                    <a:pt x="7329" y="17537"/>
                  </a:lnTo>
                  <a:lnTo>
                    <a:pt x="8100" y="19461"/>
                  </a:lnTo>
                  <a:lnTo>
                    <a:pt x="9643" y="21386"/>
                  </a:lnTo>
                  <a:lnTo>
                    <a:pt x="9643" y="21600"/>
                  </a:lnTo>
                  <a:lnTo>
                    <a:pt x="18129" y="20958"/>
                  </a:lnTo>
                  <a:lnTo>
                    <a:pt x="17357" y="19461"/>
                  </a:lnTo>
                  <a:lnTo>
                    <a:pt x="17743" y="17537"/>
                  </a:lnTo>
                  <a:lnTo>
                    <a:pt x="16971" y="12832"/>
                  </a:lnTo>
                  <a:lnTo>
                    <a:pt x="18129" y="9624"/>
                  </a:lnTo>
                  <a:lnTo>
                    <a:pt x="18129" y="6844"/>
                  </a:lnTo>
                  <a:lnTo>
                    <a:pt x="21600" y="5347"/>
                  </a:lnTo>
                  <a:lnTo>
                    <a:pt x="21600" y="4491"/>
                  </a:lnTo>
                  <a:lnTo>
                    <a:pt x="20443" y="3636"/>
                  </a:lnTo>
                  <a:lnTo>
                    <a:pt x="20443" y="855"/>
                  </a:lnTo>
                  <a:lnTo>
                    <a:pt x="19286" y="0"/>
                  </a:lnTo>
                  <a:lnTo>
                    <a:pt x="13886" y="855"/>
                  </a:lnTo>
                  <a:lnTo>
                    <a:pt x="8486" y="1283"/>
                  </a:lnTo>
                  <a:lnTo>
                    <a:pt x="5786" y="1711"/>
                  </a:lnTo>
                  <a:lnTo>
                    <a:pt x="1929" y="2566"/>
                  </a:lnTo>
                  <a:lnTo>
                    <a:pt x="0" y="2566"/>
                  </a:lnTo>
                  <a:lnTo>
                    <a:pt x="0" y="4919"/>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5" name="Shape 2300">
              <a:extLst>
                <a:ext uri="{FF2B5EF4-FFF2-40B4-BE49-F238E27FC236}">
                  <a16:creationId xmlns:a16="http://schemas.microsoft.com/office/drawing/2014/main" id="{37AE57C3-B244-0D45-0AD5-617E7C4ADBC6}"/>
                </a:ext>
              </a:extLst>
            </p:cNvPr>
            <p:cNvSpPr/>
            <p:nvPr/>
          </p:nvSpPr>
          <p:spPr>
            <a:xfrm>
              <a:off x="9237901" y="1006777"/>
              <a:ext cx="287577" cy="638587"/>
            </a:xfrm>
            <a:custGeom>
              <a:avLst/>
              <a:gdLst/>
              <a:ahLst/>
              <a:cxnLst>
                <a:cxn ang="0">
                  <a:pos x="wd2" y="hd2"/>
                </a:cxn>
                <a:cxn ang="5400000">
                  <a:pos x="wd2" y="hd2"/>
                </a:cxn>
                <a:cxn ang="10800000">
                  <a:pos x="wd2" y="hd2"/>
                </a:cxn>
                <a:cxn ang="16200000">
                  <a:pos x="wd2" y="hd2"/>
                </a:cxn>
              </a:cxnLst>
              <a:rect l="0" t="0" r="r" b="b"/>
              <a:pathLst>
                <a:path w="21600" h="21600" extrusionOk="0">
                  <a:moveTo>
                    <a:pt x="7776" y="0"/>
                  </a:moveTo>
                  <a:lnTo>
                    <a:pt x="6048" y="195"/>
                  </a:lnTo>
                  <a:lnTo>
                    <a:pt x="3888" y="195"/>
                  </a:lnTo>
                  <a:lnTo>
                    <a:pt x="3888" y="1168"/>
                  </a:lnTo>
                  <a:lnTo>
                    <a:pt x="3456" y="1751"/>
                  </a:lnTo>
                  <a:lnTo>
                    <a:pt x="2592" y="2530"/>
                  </a:lnTo>
                  <a:lnTo>
                    <a:pt x="3888" y="3308"/>
                  </a:lnTo>
                  <a:lnTo>
                    <a:pt x="3888" y="5838"/>
                  </a:lnTo>
                  <a:lnTo>
                    <a:pt x="5184" y="6616"/>
                  </a:lnTo>
                  <a:lnTo>
                    <a:pt x="5184" y="7395"/>
                  </a:lnTo>
                  <a:lnTo>
                    <a:pt x="1296" y="8757"/>
                  </a:lnTo>
                  <a:lnTo>
                    <a:pt x="1296" y="11286"/>
                  </a:lnTo>
                  <a:lnTo>
                    <a:pt x="0" y="14205"/>
                  </a:lnTo>
                  <a:lnTo>
                    <a:pt x="864" y="18486"/>
                  </a:lnTo>
                  <a:lnTo>
                    <a:pt x="432" y="20238"/>
                  </a:lnTo>
                  <a:lnTo>
                    <a:pt x="1296" y="21600"/>
                  </a:lnTo>
                  <a:lnTo>
                    <a:pt x="17280" y="19849"/>
                  </a:lnTo>
                  <a:lnTo>
                    <a:pt x="17712" y="18876"/>
                  </a:lnTo>
                  <a:lnTo>
                    <a:pt x="21168" y="18292"/>
                  </a:lnTo>
                  <a:lnTo>
                    <a:pt x="20736" y="17708"/>
                  </a:lnTo>
                  <a:lnTo>
                    <a:pt x="21600" y="16151"/>
                  </a:lnTo>
                  <a:lnTo>
                    <a:pt x="17712" y="14595"/>
                  </a:lnTo>
                  <a:lnTo>
                    <a:pt x="7776"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6" name="Shape 2301">
              <a:extLst>
                <a:ext uri="{FF2B5EF4-FFF2-40B4-BE49-F238E27FC236}">
                  <a16:creationId xmlns:a16="http://schemas.microsoft.com/office/drawing/2014/main" id="{273D3F72-5F4A-9ED6-1599-6310EE7CCF54}"/>
                </a:ext>
              </a:extLst>
            </p:cNvPr>
            <p:cNvSpPr/>
            <p:nvPr/>
          </p:nvSpPr>
          <p:spPr>
            <a:xfrm>
              <a:off x="9128625" y="1783440"/>
              <a:ext cx="322088" cy="293407"/>
            </a:xfrm>
            <a:custGeom>
              <a:avLst/>
              <a:gdLst/>
              <a:ahLst/>
              <a:cxnLst>
                <a:cxn ang="0">
                  <a:pos x="wd2" y="hd2"/>
                </a:cxn>
                <a:cxn ang="5400000">
                  <a:pos x="wd2" y="hd2"/>
                </a:cxn>
                <a:cxn ang="10800000">
                  <a:pos x="wd2" y="hd2"/>
                </a:cxn>
                <a:cxn ang="16200000">
                  <a:pos x="wd2" y="hd2"/>
                </a:cxn>
              </a:cxnLst>
              <a:rect l="0" t="0" r="r" b="b"/>
              <a:pathLst>
                <a:path w="21600" h="21600" extrusionOk="0">
                  <a:moveTo>
                    <a:pt x="1543" y="12282"/>
                  </a:moveTo>
                  <a:lnTo>
                    <a:pt x="1543" y="15247"/>
                  </a:lnTo>
                  <a:lnTo>
                    <a:pt x="3086" y="17788"/>
                  </a:lnTo>
                  <a:lnTo>
                    <a:pt x="1543" y="20329"/>
                  </a:lnTo>
                  <a:lnTo>
                    <a:pt x="1929" y="21600"/>
                  </a:lnTo>
                  <a:lnTo>
                    <a:pt x="3471" y="21176"/>
                  </a:lnTo>
                  <a:lnTo>
                    <a:pt x="5014" y="19059"/>
                  </a:lnTo>
                  <a:lnTo>
                    <a:pt x="5786" y="18635"/>
                  </a:lnTo>
                  <a:lnTo>
                    <a:pt x="7714" y="16518"/>
                  </a:lnTo>
                  <a:lnTo>
                    <a:pt x="9643" y="15247"/>
                  </a:lnTo>
                  <a:lnTo>
                    <a:pt x="12729" y="15247"/>
                  </a:lnTo>
                  <a:lnTo>
                    <a:pt x="14271" y="14400"/>
                  </a:lnTo>
                  <a:lnTo>
                    <a:pt x="15043" y="13553"/>
                  </a:lnTo>
                  <a:lnTo>
                    <a:pt x="18900" y="11859"/>
                  </a:lnTo>
                  <a:lnTo>
                    <a:pt x="21214" y="11859"/>
                  </a:lnTo>
                  <a:lnTo>
                    <a:pt x="21600" y="11012"/>
                  </a:lnTo>
                  <a:lnTo>
                    <a:pt x="19286" y="0"/>
                  </a:lnTo>
                  <a:lnTo>
                    <a:pt x="9257" y="2118"/>
                  </a:lnTo>
                  <a:lnTo>
                    <a:pt x="0" y="3812"/>
                  </a:lnTo>
                  <a:lnTo>
                    <a:pt x="0" y="4235"/>
                  </a:lnTo>
                  <a:lnTo>
                    <a:pt x="1543" y="1228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7" name="Shape 2302">
              <a:extLst>
                <a:ext uri="{FF2B5EF4-FFF2-40B4-BE49-F238E27FC236}">
                  <a16:creationId xmlns:a16="http://schemas.microsoft.com/office/drawing/2014/main" id="{BADBDFB4-23F7-A7BA-5A94-0D754B8D73A8}"/>
                </a:ext>
              </a:extLst>
            </p:cNvPr>
            <p:cNvSpPr/>
            <p:nvPr/>
          </p:nvSpPr>
          <p:spPr>
            <a:xfrm>
              <a:off x="9416202" y="1754672"/>
              <a:ext cx="138040" cy="178346"/>
            </a:xfrm>
            <a:custGeom>
              <a:avLst/>
              <a:gdLst/>
              <a:ahLst/>
              <a:cxnLst>
                <a:cxn ang="0">
                  <a:pos x="wd2" y="hd2"/>
                </a:cxn>
                <a:cxn ang="5400000">
                  <a:pos x="wd2" y="hd2"/>
                </a:cxn>
                <a:cxn ang="10800000">
                  <a:pos x="wd2" y="hd2"/>
                </a:cxn>
                <a:cxn ang="16200000">
                  <a:pos x="wd2" y="hd2"/>
                </a:cxn>
              </a:cxnLst>
              <a:rect l="0" t="0" r="r" b="b"/>
              <a:pathLst>
                <a:path w="21600" h="21600" extrusionOk="0">
                  <a:moveTo>
                    <a:pt x="20700" y="10452"/>
                  </a:moveTo>
                  <a:lnTo>
                    <a:pt x="18900" y="9058"/>
                  </a:lnTo>
                  <a:lnTo>
                    <a:pt x="18900" y="8361"/>
                  </a:lnTo>
                  <a:lnTo>
                    <a:pt x="16200" y="7665"/>
                  </a:lnTo>
                  <a:lnTo>
                    <a:pt x="14400" y="6968"/>
                  </a:lnTo>
                  <a:lnTo>
                    <a:pt x="14400" y="4877"/>
                  </a:lnTo>
                  <a:lnTo>
                    <a:pt x="11700" y="3484"/>
                  </a:lnTo>
                  <a:lnTo>
                    <a:pt x="9000" y="0"/>
                  </a:lnTo>
                  <a:lnTo>
                    <a:pt x="0" y="3484"/>
                  </a:lnTo>
                  <a:lnTo>
                    <a:pt x="5400" y="21600"/>
                  </a:lnTo>
                  <a:lnTo>
                    <a:pt x="7200" y="20206"/>
                  </a:lnTo>
                  <a:lnTo>
                    <a:pt x="12600" y="18116"/>
                  </a:lnTo>
                  <a:lnTo>
                    <a:pt x="12600" y="9755"/>
                  </a:lnTo>
                  <a:lnTo>
                    <a:pt x="13500" y="9058"/>
                  </a:lnTo>
                  <a:lnTo>
                    <a:pt x="14400" y="9058"/>
                  </a:lnTo>
                  <a:lnTo>
                    <a:pt x="17100" y="9755"/>
                  </a:lnTo>
                  <a:lnTo>
                    <a:pt x="17100" y="11148"/>
                  </a:lnTo>
                  <a:lnTo>
                    <a:pt x="18900" y="13935"/>
                  </a:lnTo>
                  <a:lnTo>
                    <a:pt x="18900" y="14632"/>
                  </a:lnTo>
                  <a:lnTo>
                    <a:pt x="19800" y="15329"/>
                  </a:lnTo>
                  <a:lnTo>
                    <a:pt x="21600" y="14632"/>
                  </a:lnTo>
                  <a:lnTo>
                    <a:pt x="21600" y="13239"/>
                  </a:lnTo>
                  <a:lnTo>
                    <a:pt x="20700" y="1045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8" name="Shape 2303">
              <a:extLst>
                <a:ext uri="{FF2B5EF4-FFF2-40B4-BE49-F238E27FC236}">
                  <a16:creationId xmlns:a16="http://schemas.microsoft.com/office/drawing/2014/main" id="{267F9356-D2B1-8321-D64E-45E3CC4D9025}"/>
                </a:ext>
              </a:extLst>
            </p:cNvPr>
            <p:cNvSpPr/>
            <p:nvPr/>
          </p:nvSpPr>
          <p:spPr>
            <a:xfrm>
              <a:off x="9128625" y="1547560"/>
              <a:ext cx="626918" cy="316419"/>
            </a:xfrm>
            <a:custGeom>
              <a:avLst/>
              <a:gdLst/>
              <a:ahLst/>
              <a:cxnLst>
                <a:cxn ang="0">
                  <a:pos x="wd2" y="hd2"/>
                </a:cxn>
                <a:cxn ang="5400000">
                  <a:pos x="wd2" y="hd2"/>
                </a:cxn>
                <a:cxn ang="10800000">
                  <a:pos x="wd2" y="hd2"/>
                </a:cxn>
                <a:cxn ang="16200000">
                  <a:pos x="wd2" y="hd2"/>
                </a:cxn>
              </a:cxnLst>
              <a:rect l="0" t="0" r="r" b="b"/>
              <a:pathLst>
                <a:path w="21600" h="21600" extrusionOk="0">
                  <a:moveTo>
                    <a:pt x="21204" y="13745"/>
                  </a:moveTo>
                  <a:lnTo>
                    <a:pt x="20807" y="12567"/>
                  </a:lnTo>
                  <a:lnTo>
                    <a:pt x="20609" y="12175"/>
                  </a:lnTo>
                  <a:lnTo>
                    <a:pt x="19420" y="10604"/>
                  </a:lnTo>
                  <a:lnTo>
                    <a:pt x="19222" y="9818"/>
                  </a:lnTo>
                  <a:lnTo>
                    <a:pt x="19024" y="10604"/>
                  </a:lnTo>
                  <a:lnTo>
                    <a:pt x="19222" y="11389"/>
                  </a:lnTo>
                  <a:lnTo>
                    <a:pt x="19817" y="12567"/>
                  </a:lnTo>
                  <a:lnTo>
                    <a:pt x="20213" y="13745"/>
                  </a:lnTo>
                  <a:lnTo>
                    <a:pt x="19618" y="14138"/>
                  </a:lnTo>
                  <a:lnTo>
                    <a:pt x="18826" y="14138"/>
                  </a:lnTo>
                  <a:lnTo>
                    <a:pt x="17637" y="15316"/>
                  </a:lnTo>
                  <a:lnTo>
                    <a:pt x="17439" y="14531"/>
                  </a:lnTo>
                  <a:lnTo>
                    <a:pt x="17240" y="14138"/>
                  </a:lnTo>
                  <a:lnTo>
                    <a:pt x="16844" y="13745"/>
                  </a:lnTo>
                  <a:lnTo>
                    <a:pt x="16250" y="12960"/>
                  </a:lnTo>
                  <a:lnTo>
                    <a:pt x="16051" y="12567"/>
                  </a:lnTo>
                  <a:lnTo>
                    <a:pt x="16250" y="11782"/>
                  </a:lnTo>
                  <a:lnTo>
                    <a:pt x="16051" y="10604"/>
                  </a:lnTo>
                  <a:lnTo>
                    <a:pt x="15259" y="9425"/>
                  </a:lnTo>
                  <a:lnTo>
                    <a:pt x="14466" y="8640"/>
                  </a:lnTo>
                  <a:lnTo>
                    <a:pt x="13673" y="8640"/>
                  </a:lnTo>
                  <a:lnTo>
                    <a:pt x="13475" y="7855"/>
                  </a:lnTo>
                  <a:lnTo>
                    <a:pt x="13475" y="6284"/>
                  </a:lnTo>
                  <a:lnTo>
                    <a:pt x="14466" y="4320"/>
                  </a:lnTo>
                  <a:lnTo>
                    <a:pt x="15259" y="3535"/>
                  </a:lnTo>
                  <a:lnTo>
                    <a:pt x="15259" y="3142"/>
                  </a:lnTo>
                  <a:lnTo>
                    <a:pt x="15061" y="2356"/>
                  </a:lnTo>
                  <a:lnTo>
                    <a:pt x="14070" y="2356"/>
                  </a:lnTo>
                  <a:lnTo>
                    <a:pt x="13872" y="1178"/>
                  </a:lnTo>
                  <a:lnTo>
                    <a:pt x="13475" y="0"/>
                  </a:lnTo>
                  <a:lnTo>
                    <a:pt x="11890" y="1178"/>
                  </a:lnTo>
                  <a:lnTo>
                    <a:pt x="11692" y="3142"/>
                  </a:lnTo>
                  <a:lnTo>
                    <a:pt x="4360" y="6676"/>
                  </a:lnTo>
                  <a:lnTo>
                    <a:pt x="0" y="7855"/>
                  </a:lnTo>
                  <a:lnTo>
                    <a:pt x="0" y="19636"/>
                  </a:lnTo>
                  <a:lnTo>
                    <a:pt x="4756" y="18065"/>
                  </a:lnTo>
                  <a:lnTo>
                    <a:pt x="9908" y="16102"/>
                  </a:lnTo>
                  <a:lnTo>
                    <a:pt x="11890" y="14138"/>
                  </a:lnTo>
                  <a:lnTo>
                    <a:pt x="12484" y="16102"/>
                  </a:lnTo>
                  <a:lnTo>
                    <a:pt x="13079" y="16887"/>
                  </a:lnTo>
                  <a:lnTo>
                    <a:pt x="13079" y="18065"/>
                  </a:lnTo>
                  <a:lnTo>
                    <a:pt x="13475" y="18458"/>
                  </a:lnTo>
                  <a:lnTo>
                    <a:pt x="14070" y="18851"/>
                  </a:lnTo>
                  <a:lnTo>
                    <a:pt x="14070" y="19244"/>
                  </a:lnTo>
                  <a:lnTo>
                    <a:pt x="14466" y="20029"/>
                  </a:lnTo>
                  <a:lnTo>
                    <a:pt x="14664" y="21600"/>
                  </a:lnTo>
                  <a:lnTo>
                    <a:pt x="15259" y="21600"/>
                  </a:lnTo>
                  <a:lnTo>
                    <a:pt x="15655" y="20815"/>
                  </a:lnTo>
                  <a:lnTo>
                    <a:pt x="15655" y="19244"/>
                  </a:lnTo>
                  <a:lnTo>
                    <a:pt x="16250" y="18458"/>
                  </a:lnTo>
                  <a:lnTo>
                    <a:pt x="16250" y="17673"/>
                  </a:lnTo>
                  <a:lnTo>
                    <a:pt x="16844" y="16887"/>
                  </a:lnTo>
                  <a:lnTo>
                    <a:pt x="17240" y="19244"/>
                  </a:lnTo>
                  <a:lnTo>
                    <a:pt x="17240" y="20029"/>
                  </a:lnTo>
                  <a:lnTo>
                    <a:pt x="17835" y="19244"/>
                  </a:lnTo>
                  <a:lnTo>
                    <a:pt x="18231" y="18458"/>
                  </a:lnTo>
                  <a:lnTo>
                    <a:pt x="18231" y="17673"/>
                  </a:lnTo>
                  <a:lnTo>
                    <a:pt x="18628" y="17673"/>
                  </a:lnTo>
                  <a:lnTo>
                    <a:pt x="19222" y="16887"/>
                  </a:lnTo>
                  <a:lnTo>
                    <a:pt x="20015" y="16887"/>
                  </a:lnTo>
                  <a:lnTo>
                    <a:pt x="20411" y="16102"/>
                  </a:lnTo>
                  <a:lnTo>
                    <a:pt x="21006" y="15709"/>
                  </a:lnTo>
                  <a:lnTo>
                    <a:pt x="21402" y="14924"/>
                  </a:lnTo>
                  <a:lnTo>
                    <a:pt x="21600" y="14138"/>
                  </a:lnTo>
                  <a:lnTo>
                    <a:pt x="21204" y="13745"/>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29" name="Shape 2304">
              <a:extLst>
                <a:ext uri="{FF2B5EF4-FFF2-40B4-BE49-F238E27FC236}">
                  <a16:creationId xmlns:a16="http://schemas.microsoft.com/office/drawing/2014/main" id="{1BC60520-7D90-66A9-CD3E-4539A3B2493D}"/>
                </a:ext>
              </a:extLst>
            </p:cNvPr>
            <p:cNvSpPr/>
            <p:nvPr/>
          </p:nvSpPr>
          <p:spPr>
            <a:xfrm>
              <a:off x="9611755" y="1844191"/>
              <a:ext cx="57515" cy="37053"/>
            </a:xfrm>
            <a:custGeom>
              <a:avLst/>
              <a:gdLst/>
              <a:ahLst/>
              <a:cxnLst>
                <a:cxn ang="0">
                  <a:pos x="wd2" y="hd2"/>
                </a:cxn>
                <a:cxn ang="5400000">
                  <a:pos x="wd2" y="hd2"/>
                </a:cxn>
                <a:cxn ang="10800000">
                  <a:pos x="wd2" y="hd2"/>
                </a:cxn>
                <a:cxn ang="16200000">
                  <a:pos x="wd2" y="hd2"/>
                </a:cxn>
              </a:cxnLst>
              <a:rect l="0" t="0" r="r" b="b"/>
              <a:pathLst>
                <a:path w="21600" h="19872" extrusionOk="0">
                  <a:moveTo>
                    <a:pt x="5400" y="19872"/>
                  </a:moveTo>
                  <a:cubicBezTo>
                    <a:pt x="12600" y="19872"/>
                    <a:pt x="12600" y="19872"/>
                    <a:pt x="12600" y="19872"/>
                  </a:cubicBezTo>
                  <a:cubicBezTo>
                    <a:pt x="18000" y="12672"/>
                    <a:pt x="18000" y="12672"/>
                    <a:pt x="18000" y="12672"/>
                  </a:cubicBezTo>
                  <a:cubicBezTo>
                    <a:pt x="21600" y="7872"/>
                    <a:pt x="21600" y="7872"/>
                    <a:pt x="21600" y="7872"/>
                  </a:cubicBezTo>
                  <a:cubicBezTo>
                    <a:pt x="14400" y="3072"/>
                    <a:pt x="14400" y="3072"/>
                    <a:pt x="14400" y="3072"/>
                  </a:cubicBezTo>
                  <a:cubicBezTo>
                    <a:pt x="14400" y="3072"/>
                    <a:pt x="9000" y="-1728"/>
                    <a:pt x="7200" y="672"/>
                  </a:cubicBezTo>
                  <a:cubicBezTo>
                    <a:pt x="7200" y="3072"/>
                    <a:pt x="0" y="15072"/>
                    <a:pt x="0" y="15072"/>
                  </a:cubicBezTo>
                  <a:lnTo>
                    <a:pt x="5400" y="1987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0" name="Shape 2305">
              <a:extLst>
                <a:ext uri="{FF2B5EF4-FFF2-40B4-BE49-F238E27FC236}">
                  <a16:creationId xmlns:a16="http://schemas.microsoft.com/office/drawing/2014/main" id="{514AE529-0F3C-0E08-E15D-BA60FE700B74}"/>
                </a:ext>
              </a:extLst>
            </p:cNvPr>
            <p:cNvSpPr/>
            <p:nvPr/>
          </p:nvSpPr>
          <p:spPr>
            <a:xfrm>
              <a:off x="8887057" y="2059588"/>
              <a:ext cx="241564" cy="540783"/>
            </a:xfrm>
            <a:custGeom>
              <a:avLst/>
              <a:gdLst/>
              <a:ahLst/>
              <a:cxnLst>
                <a:cxn ang="0">
                  <a:pos x="wd2" y="hd2"/>
                </a:cxn>
                <a:cxn ang="5400000">
                  <a:pos x="wd2" y="hd2"/>
                </a:cxn>
                <a:cxn ang="10800000">
                  <a:pos x="wd2" y="hd2"/>
                </a:cxn>
                <a:cxn ang="16200000">
                  <a:pos x="wd2" y="hd2"/>
                </a:cxn>
              </a:cxnLst>
              <a:rect l="0" t="0" r="r" b="b"/>
              <a:pathLst>
                <a:path w="21600" h="21600" extrusionOk="0">
                  <a:moveTo>
                    <a:pt x="18514" y="2987"/>
                  </a:moveTo>
                  <a:lnTo>
                    <a:pt x="18514" y="2068"/>
                  </a:lnTo>
                  <a:lnTo>
                    <a:pt x="17486" y="1609"/>
                  </a:lnTo>
                  <a:lnTo>
                    <a:pt x="10800" y="689"/>
                  </a:lnTo>
                  <a:lnTo>
                    <a:pt x="4629" y="0"/>
                  </a:lnTo>
                  <a:lnTo>
                    <a:pt x="4114" y="689"/>
                  </a:lnTo>
                  <a:lnTo>
                    <a:pt x="3086" y="1609"/>
                  </a:lnTo>
                  <a:lnTo>
                    <a:pt x="1543" y="2068"/>
                  </a:lnTo>
                  <a:lnTo>
                    <a:pt x="1029" y="3217"/>
                  </a:lnTo>
                  <a:lnTo>
                    <a:pt x="1543" y="4596"/>
                  </a:lnTo>
                  <a:lnTo>
                    <a:pt x="1543" y="5745"/>
                  </a:lnTo>
                  <a:lnTo>
                    <a:pt x="1029" y="6894"/>
                  </a:lnTo>
                  <a:lnTo>
                    <a:pt x="2571" y="7353"/>
                  </a:lnTo>
                  <a:lnTo>
                    <a:pt x="4629" y="7813"/>
                  </a:lnTo>
                  <a:lnTo>
                    <a:pt x="5657" y="8732"/>
                  </a:lnTo>
                  <a:lnTo>
                    <a:pt x="7714" y="9651"/>
                  </a:lnTo>
                  <a:lnTo>
                    <a:pt x="10286" y="10570"/>
                  </a:lnTo>
                  <a:lnTo>
                    <a:pt x="10286" y="10800"/>
                  </a:lnTo>
                  <a:lnTo>
                    <a:pt x="9257" y="12179"/>
                  </a:lnTo>
                  <a:lnTo>
                    <a:pt x="5143" y="13328"/>
                  </a:lnTo>
                  <a:lnTo>
                    <a:pt x="1543" y="14706"/>
                  </a:lnTo>
                  <a:lnTo>
                    <a:pt x="1029" y="15396"/>
                  </a:lnTo>
                  <a:lnTo>
                    <a:pt x="0" y="16545"/>
                  </a:lnTo>
                  <a:lnTo>
                    <a:pt x="514" y="17234"/>
                  </a:lnTo>
                  <a:lnTo>
                    <a:pt x="1543" y="18153"/>
                  </a:lnTo>
                  <a:lnTo>
                    <a:pt x="4114" y="19072"/>
                  </a:lnTo>
                  <a:lnTo>
                    <a:pt x="6171" y="19532"/>
                  </a:lnTo>
                  <a:lnTo>
                    <a:pt x="7714" y="19762"/>
                  </a:lnTo>
                  <a:lnTo>
                    <a:pt x="12857" y="19762"/>
                  </a:lnTo>
                  <a:lnTo>
                    <a:pt x="12343" y="20681"/>
                  </a:lnTo>
                  <a:lnTo>
                    <a:pt x="12343" y="21370"/>
                  </a:lnTo>
                  <a:lnTo>
                    <a:pt x="12857" y="21600"/>
                  </a:lnTo>
                  <a:lnTo>
                    <a:pt x="13371" y="21600"/>
                  </a:lnTo>
                  <a:lnTo>
                    <a:pt x="13886" y="19991"/>
                  </a:lnTo>
                  <a:lnTo>
                    <a:pt x="14400" y="19762"/>
                  </a:lnTo>
                  <a:lnTo>
                    <a:pt x="15943" y="18843"/>
                  </a:lnTo>
                  <a:lnTo>
                    <a:pt x="18514" y="17923"/>
                  </a:lnTo>
                  <a:lnTo>
                    <a:pt x="18514" y="14936"/>
                  </a:lnTo>
                  <a:lnTo>
                    <a:pt x="20571" y="14017"/>
                  </a:lnTo>
                  <a:lnTo>
                    <a:pt x="21086" y="12179"/>
                  </a:lnTo>
                  <a:lnTo>
                    <a:pt x="21600" y="11030"/>
                  </a:lnTo>
                  <a:lnTo>
                    <a:pt x="21600" y="8272"/>
                  </a:lnTo>
                  <a:lnTo>
                    <a:pt x="20571" y="6894"/>
                  </a:lnTo>
                  <a:lnTo>
                    <a:pt x="17486" y="6894"/>
                  </a:lnTo>
                  <a:lnTo>
                    <a:pt x="18000" y="5745"/>
                  </a:lnTo>
                  <a:lnTo>
                    <a:pt x="19029" y="4596"/>
                  </a:lnTo>
                  <a:lnTo>
                    <a:pt x="20057" y="4136"/>
                  </a:lnTo>
                  <a:lnTo>
                    <a:pt x="19543" y="3906"/>
                  </a:lnTo>
                  <a:lnTo>
                    <a:pt x="18514" y="298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1" name="Shape 2306">
              <a:extLst>
                <a:ext uri="{FF2B5EF4-FFF2-40B4-BE49-F238E27FC236}">
                  <a16:creationId xmlns:a16="http://schemas.microsoft.com/office/drawing/2014/main" id="{E20BF181-5264-1B19-336F-1021C51A015F}"/>
                </a:ext>
              </a:extLst>
            </p:cNvPr>
            <p:cNvSpPr/>
            <p:nvPr/>
          </p:nvSpPr>
          <p:spPr>
            <a:xfrm>
              <a:off x="8841046" y="2433532"/>
              <a:ext cx="189800" cy="310665"/>
            </a:xfrm>
            <a:custGeom>
              <a:avLst/>
              <a:gdLst/>
              <a:ahLst/>
              <a:cxnLst>
                <a:cxn ang="0">
                  <a:pos x="wd2" y="hd2"/>
                </a:cxn>
                <a:cxn ang="5400000">
                  <a:pos x="wd2" y="hd2"/>
                </a:cxn>
                <a:cxn ang="10800000">
                  <a:pos x="wd2" y="hd2"/>
                </a:cxn>
                <a:cxn ang="16200000">
                  <a:pos x="wd2" y="hd2"/>
                </a:cxn>
              </a:cxnLst>
              <a:rect l="0" t="0" r="r" b="b"/>
              <a:pathLst>
                <a:path w="21600" h="21600" extrusionOk="0">
                  <a:moveTo>
                    <a:pt x="5891" y="4000"/>
                  </a:moveTo>
                  <a:lnTo>
                    <a:pt x="5236" y="2800"/>
                  </a:lnTo>
                  <a:lnTo>
                    <a:pt x="6545" y="800"/>
                  </a:lnTo>
                  <a:lnTo>
                    <a:pt x="7200" y="400"/>
                  </a:lnTo>
                  <a:lnTo>
                    <a:pt x="5891" y="0"/>
                  </a:lnTo>
                  <a:lnTo>
                    <a:pt x="3273" y="0"/>
                  </a:lnTo>
                  <a:lnTo>
                    <a:pt x="1309" y="800"/>
                  </a:lnTo>
                  <a:lnTo>
                    <a:pt x="0" y="2000"/>
                  </a:lnTo>
                  <a:lnTo>
                    <a:pt x="7855" y="21600"/>
                  </a:lnTo>
                  <a:lnTo>
                    <a:pt x="21600" y="20400"/>
                  </a:lnTo>
                  <a:lnTo>
                    <a:pt x="20945" y="17200"/>
                  </a:lnTo>
                  <a:lnTo>
                    <a:pt x="18982" y="16000"/>
                  </a:lnTo>
                  <a:lnTo>
                    <a:pt x="18327" y="15200"/>
                  </a:lnTo>
                  <a:lnTo>
                    <a:pt x="17018" y="14800"/>
                  </a:lnTo>
                  <a:lnTo>
                    <a:pt x="15055" y="13600"/>
                  </a:lnTo>
                  <a:lnTo>
                    <a:pt x="13091" y="12800"/>
                  </a:lnTo>
                  <a:lnTo>
                    <a:pt x="9164" y="8000"/>
                  </a:lnTo>
                  <a:lnTo>
                    <a:pt x="10473" y="6800"/>
                  </a:lnTo>
                  <a:lnTo>
                    <a:pt x="7200" y="5600"/>
                  </a:lnTo>
                  <a:lnTo>
                    <a:pt x="5891" y="40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2" name="Shape 2307">
              <a:extLst>
                <a:ext uri="{FF2B5EF4-FFF2-40B4-BE49-F238E27FC236}">
                  <a16:creationId xmlns:a16="http://schemas.microsoft.com/office/drawing/2014/main" id="{E3FEE381-D948-5A50-B521-BEBA693EC5A5}"/>
                </a:ext>
              </a:extLst>
            </p:cNvPr>
            <p:cNvSpPr/>
            <p:nvPr/>
          </p:nvSpPr>
          <p:spPr>
            <a:xfrm>
              <a:off x="7920799" y="1915756"/>
              <a:ext cx="1081290" cy="701870"/>
            </a:xfrm>
            <a:custGeom>
              <a:avLst/>
              <a:gdLst/>
              <a:ahLst/>
              <a:cxnLst>
                <a:cxn ang="0">
                  <a:pos x="wd2" y="hd2"/>
                </a:cxn>
                <a:cxn ang="5400000">
                  <a:pos x="wd2" y="hd2"/>
                </a:cxn>
                <a:cxn ang="10800000">
                  <a:pos x="wd2" y="hd2"/>
                </a:cxn>
                <a:cxn ang="16200000">
                  <a:pos x="wd2" y="hd2"/>
                </a:cxn>
              </a:cxnLst>
              <a:rect l="0" t="0" r="r" b="b"/>
              <a:pathLst>
                <a:path w="21600" h="21600" extrusionOk="0">
                  <a:moveTo>
                    <a:pt x="18957" y="15934"/>
                  </a:moveTo>
                  <a:lnTo>
                    <a:pt x="19417" y="15934"/>
                  </a:lnTo>
                  <a:lnTo>
                    <a:pt x="19647" y="16111"/>
                  </a:lnTo>
                  <a:lnTo>
                    <a:pt x="19647" y="15757"/>
                  </a:lnTo>
                  <a:lnTo>
                    <a:pt x="20451" y="14695"/>
                  </a:lnTo>
                  <a:lnTo>
                    <a:pt x="21370" y="13810"/>
                  </a:lnTo>
                  <a:lnTo>
                    <a:pt x="21600" y="12748"/>
                  </a:lnTo>
                  <a:lnTo>
                    <a:pt x="21600" y="12570"/>
                  </a:lnTo>
                  <a:lnTo>
                    <a:pt x="21026" y="11862"/>
                  </a:lnTo>
                  <a:lnTo>
                    <a:pt x="20566" y="11154"/>
                  </a:lnTo>
                  <a:lnTo>
                    <a:pt x="20336" y="10446"/>
                  </a:lnTo>
                  <a:lnTo>
                    <a:pt x="19877" y="10092"/>
                  </a:lnTo>
                  <a:lnTo>
                    <a:pt x="19532" y="9738"/>
                  </a:lnTo>
                  <a:lnTo>
                    <a:pt x="19647" y="8852"/>
                  </a:lnTo>
                  <a:lnTo>
                    <a:pt x="19647" y="7967"/>
                  </a:lnTo>
                  <a:lnTo>
                    <a:pt x="19532" y="6905"/>
                  </a:lnTo>
                  <a:lnTo>
                    <a:pt x="19647" y="6020"/>
                  </a:lnTo>
                  <a:lnTo>
                    <a:pt x="19991" y="5666"/>
                  </a:lnTo>
                  <a:lnTo>
                    <a:pt x="20221" y="4957"/>
                  </a:lnTo>
                  <a:lnTo>
                    <a:pt x="20336" y="4426"/>
                  </a:lnTo>
                  <a:lnTo>
                    <a:pt x="20566" y="3541"/>
                  </a:lnTo>
                  <a:lnTo>
                    <a:pt x="20221" y="3187"/>
                  </a:lnTo>
                  <a:lnTo>
                    <a:pt x="19877" y="3187"/>
                  </a:lnTo>
                  <a:lnTo>
                    <a:pt x="19532" y="3010"/>
                  </a:lnTo>
                  <a:lnTo>
                    <a:pt x="19072" y="1770"/>
                  </a:lnTo>
                  <a:lnTo>
                    <a:pt x="18613" y="885"/>
                  </a:lnTo>
                  <a:lnTo>
                    <a:pt x="17694" y="0"/>
                  </a:lnTo>
                  <a:lnTo>
                    <a:pt x="2757" y="4072"/>
                  </a:lnTo>
                  <a:lnTo>
                    <a:pt x="2528" y="2302"/>
                  </a:lnTo>
                  <a:lnTo>
                    <a:pt x="1838" y="3010"/>
                  </a:lnTo>
                  <a:lnTo>
                    <a:pt x="1264" y="3718"/>
                  </a:lnTo>
                  <a:lnTo>
                    <a:pt x="689" y="4249"/>
                  </a:lnTo>
                  <a:lnTo>
                    <a:pt x="0" y="4957"/>
                  </a:lnTo>
                  <a:lnTo>
                    <a:pt x="1838" y="21600"/>
                  </a:lnTo>
                  <a:lnTo>
                    <a:pt x="18383" y="16820"/>
                  </a:lnTo>
                  <a:lnTo>
                    <a:pt x="18613" y="16289"/>
                  </a:lnTo>
                  <a:lnTo>
                    <a:pt x="18957" y="15934"/>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3" name="Shape 2308">
              <a:extLst>
                <a:ext uri="{FF2B5EF4-FFF2-40B4-BE49-F238E27FC236}">
                  <a16:creationId xmlns:a16="http://schemas.microsoft.com/office/drawing/2014/main" id="{E4011C8C-A4F0-30F0-6284-84FA6901DC53}"/>
                </a:ext>
              </a:extLst>
            </p:cNvPr>
            <p:cNvSpPr/>
            <p:nvPr/>
          </p:nvSpPr>
          <p:spPr>
            <a:xfrm>
              <a:off x="6908527" y="4728991"/>
              <a:ext cx="1673697" cy="1311691"/>
            </a:xfrm>
            <a:custGeom>
              <a:avLst/>
              <a:gdLst/>
              <a:ahLst/>
              <a:cxnLst>
                <a:cxn ang="0">
                  <a:pos x="wd2" y="hd2"/>
                </a:cxn>
                <a:cxn ang="5400000">
                  <a:pos x="wd2" y="hd2"/>
                </a:cxn>
                <a:cxn ang="10800000">
                  <a:pos x="wd2" y="hd2"/>
                </a:cxn>
                <a:cxn ang="16200000">
                  <a:pos x="wd2" y="hd2"/>
                </a:cxn>
              </a:cxnLst>
              <a:rect l="0" t="0" r="r" b="b"/>
              <a:pathLst>
                <a:path w="21600" h="21600" extrusionOk="0">
                  <a:moveTo>
                    <a:pt x="14400" y="0"/>
                  </a:moveTo>
                  <a:lnTo>
                    <a:pt x="14845" y="0"/>
                  </a:lnTo>
                  <a:lnTo>
                    <a:pt x="15513" y="189"/>
                  </a:lnTo>
                  <a:lnTo>
                    <a:pt x="15588" y="663"/>
                  </a:lnTo>
                  <a:lnTo>
                    <a:pt x="15662" y="947"/>
                  </a:lnTo>
                  <a:lnTo>
                    <a:pt x="15959" y="1137"/>
                  </a:lnTo>
                  <a:lnTo>
                    <a:pt x="16181" y="1611"/>
                  </a:lnTo>
                  <a:lnTo>
                    <a:pt x="16553" y="2842"/>
                  </a:lnTo>
                  <a:lnTo>
                    <a:pt x="16998" y="3789"/>
                  </a:lnTo>
                  <a:lnTo>
                    <a:pt x="17592" y="5211"/>
                  </a:lnTo>
                  <a:lnTo>
                    <a:pt x="17889" y="5874"/>
                  </a:lnTo>
                  <a:lnTo>
                    <a:pt x="18631" y="7295"/>
                  </a:lnTo>
                  <a:lnTo>
                    <a:pt x="19002" y="7674"/>
                  </a:lnTo>
                  <a:lnTo>
                    <a:pt x="19225" y="7958"/>
                  </a:lnTo>
                  <a:lnTo>
                    <a:pt x="19225" y="9095"/>
                  </a:lnTo>
                  <a:lnTo>
                    <a:pt x="19002" y="8147"/>
                  </a:lnTo>
                  <a:lnTo>
                    <a:pt x="18928" y="9095"/>
                  </a:lnTo>
                  <a:lnTo>
                    <a:pt x="19373" y="10042"/>
                  </a:lnTo>
                  <a:lnTo>
                    <a:pt x="19893" y="10989"/>
                  </a:lnTo>
                  <a:lnTo>
                    <a:pt x="20412" y="12221"/>
                  </a:lnTo>
                  <a:lnTo>
                    <a:pt x="20784" y="12979"/>
                  </a:lnTo>
                  <a:lnTo>
                    <a:pt x="21229" y="13642"/>
                  </a:lnTo>
                  <a:lnTo>
                    <a:pt x="21452" y="14495"/>
                  </a:lnTo>
                  <a:lnTo>
                    <a:pt x="21600" y="15916"/>
                  </a:lnTo>
                  <a:lnTo>
                    <a:pt x="21600" y="18284"/>
                  </a:lnTo>
                  <a:lnTo>
                    <a:pt x="21377" y="18568"/>
                  </a:lnTo>
                  <a:lnTo>
                    <a:pt x="21229" y="18947"/>
                  </a:lnTo>
                  <a:lnTo>
                    <a:pt x="21229" y="19421"/>
                  </a:lnTo>
                  <a:lnTo>
                    <a:pt x="21303" y="19989"/>
                  </a:lnTo>
                  <a:lnTo>
                    <a:pt x="21229" y="20653"/>
                  </a:lnTo>
                  <a:lnTo>
                    <a:pt x="21006" y="21316"/>
                  </a:lnTo>
                  <a:lnTo>
                    <a:pt x="20784" y="21505"/>
                  </a:lnTo>
                  <a:lnTo>
                    <a:pt x="20561" y="21600"/>
                  </a:lnTo>
                  <a:lnTo>
                    <a:pt x="20709" y="21221"/>
                  </a:lnTo>
                  <a:lnTo>
                    <a:pt x="20858" y="21032"/>
                  </a:lnTo>
                  <a:lnTo>
                    <a:pt x="20858" y="20558"/>
                  </a:lnTo>
                  <a:lnTo>
                    <a:pt x="20784" y="20558"/>
                  </a:lnTo>
                  <a:lnTo>
                    <a:pt x="20338" y="20937"/>
                  </a:lnTo>
                  <a:lnTo>
                    <a:pt x="20041" y="21032"/>
                  </a:lnTo>
                  <a:lnTo>
                    <a:pt x="19819" y="20937"/>
                  </a:lnTo>
                  <a:lnTo>
                    <a:pt x="19596" y="21032"/>
                  </a:lnTo>
                  <a:lnTo>
                    <a:pt x="19373" y="21221"/>
                  </a:lnTo>
                  <a:lnTo>
                    <a:pt x="19225" y="21126"/>
                  </a:lnTo>
                  <a:lnTo>
                    <a:pt x="18928" y="21032"/>
                  </a:lnTo>
                  <a:lnTo>
                    <a:pt x="18779" y="20747"/>
                  </a:lnTo>
                  <a:lnTo>
                    <a:pt x="18854" y="20558"/>
                  </a:lnTo>
                  <a:lnTo>
                    <a:pt x="18928" y="20558"/>
                  </a:lnTo>
                  <a:lnTo>
                    <a:pt x="19447" y="20653"/>
                  </a:lnTo>
                  <a:lnTo>
                    <a:pt x="19596" y="20558"/>
                  </a:lnTo>
                  <a:lnTo>
                    <a:pt x="19522" y="20463"/>
                  </a:lnTo>
                  <a:lnTo>
                    <a:pt x="19299" y="20274"/>
                  </a:lnTo>
                  <a:lnTo>
                    <a:pt x="19002" y="20368"/>
                  </a:lnTo>
                  <a:lnTo>
                    <a:pt x="18779" y="20084"/>
                  </a:lnTo>
                  <a:lnTo>
                    <a:pt x="18557" y="19611"/>
                  </a:lnTo>
                  <a:lnTo>
                    <a:pt x="18260" y="19232"/>
                  </a:lnTo>
                  <a:lnTo>
                    <a:pt x="18186" y="18947"/>
                  </a:lnTo>
                  <a:lnTo>
                    <a:pt x="17963" y="18568"/>
                  </a:lnTo>
                  <a:lnTo>
                    <a:pt x="17592" y="18474"/>
                  </a:lnTo>
                  <a:lnTo>
                    <a:pt x="17295" y="18284"/>
                  </a:lnTo>
                  <a:lnTo>
                    <a:pt x="16998" y="18189"/>
                  </a:lnTo>
                  <a:lnTo>
                    <a:pt x="16701" y="17147"/>
                  </a:lnTo>
                  <a:lnTo>
                    <a:pt x="16553" y="16768"/>
                  </a:lnTo>
                  <a:lnTo>
                    <a:pt x="16330" y="16484"/>
                  </a:lnTo>
                  <a:lnTo>
                    <a:pt x="16256" y="16295"/>
                  </a:lnTo>
                  <a:lnTo>
                    <a:pt x="16033" y="16011"/>
                  </a:lnTo>
                  <a:lnTo>
                    <a:pt x="15810" y="15821"/>
                  </a:lnTo>
                  <a:lnTo>
                    <a:pt x="15885" y="15442"/>
                  </a:lnTo>
                  <a:lnTo>
                    <a:pt x="15959" y="15253"/>
                  </a:lnTo>
                  <a:lnTo>
                    <a:pt x="15736" y="14684"/>
                  </a:lnTo>
                  <a:lnTo>
                    <a:pt x="15513" y="14779"/>
                  </a:lnTo>
                  <a:lnTo>
                    <a:pt x="15513" y="15442"/>
                  </a:lnTo>
                  <a:lnTo>
                    <a:pt x="15365" y="15442"/>
                  </a:lnTo>
                  <a:lnTo>
                    <a:pt x="14994" y="14968"/>
                  </a:lnTo>
                  <a:lnTo>
                    <a:pt x="14623" y="14211"/>
                  </a:lnTo>
                  <a:lnTo>
                    <a:pt x="14326" y="13832"/>
                  </a:lnTo>
                  <a:lnTo>
                    <a:pt x="14400" y="13642"/>
                  </a:lnTo>
                  <a:lnTo>
                    <a:pt x="14252" y="13263"/>
                  </a:lnTo>
                  <a:lnTo>
                    <a:pt x="14029" y="13168"/>
                  </a:lnTo>
                  <a:lnTo>
                    <a:pt x="14252" y="12600"/>
                  </a:lnTo>
                  <a:lnTo>
                    <a:pt x="14400" y="12316"/>
                  </a:lnTo>
                  <a:lnTo>
                    <a:pt x="14548" y="11747"/>
                  </a:lnTo>
                  <a:lnTo>
                    <a:pt x="14400" y="11463"/>
                  </a:lnTo>
                  <a:lnTo>
                    <a:pt x="14326" y="11842"/>
                  </a:lnTo>
                  <a:lnTo>
                    <a:pt x="14177" y="11747"/>
                  </a:lnTo>
                  <a:lnTo>
                    <a:pt x="14177" y="11558"/>
                  </a:lnTo>
                  <a:lnTo>
                    <a:pt x="13955" y="11179"/>
                  </a:lnTo>
                  <a:lnTo>
                    <a:pt x="13880" y="11179"/>
                  </a:lnTo>
                  <a:lnTo>
                    <a:pt x="13880" y="11274"/>
                  </a:lnTo>
                  <a:lnTo>
                    <a:pt x="13955" y="11463"/>
                  </a:lnTo>
                  <a:lnTo>
                    <a:pt x="14029" y="11747"/>
                  </a:lnTo>
                  <a:lnTo>
                    <a:pt x="14029" y="12126"/>
                  </a:lnTo>
                  <a:lnTo>
                    <a:pt x="13880" y="12316"/>
                  </a:lnTo>
                  <a:lnTo>
                    <a:pt x="13658" y="12032"/>
                  </a:lnTo>
                  <a:lnTo>
                    <a:pt x="13435" y="11558"/>
                  </a:lnTo>
                  <a:lnTo>
                    <a:pt x="13361" y="11368"/>
                  </a:lnTo>
                  <a:lnTo>
                    <a:pt x="13361" y="10421"/>
                  </a:lnTo>
                  <a:lnTo>
                    <a:pt x="13509" y="10042"/>
                  </a:lnTo>
                  <a:lnTo>
                    <a:pt x="13584" y="9284"/>
                  </a:lnTo>
                  <a:lnTo>
                    <a:pt x="13584" y="8811"/>
                  </a:lnTo>
                  <a:lnTo>
                    <a:pt x="13509" y="8147"/>
                  </a:lnTo>
                  <a:lnTo>
                    <a:pt x="13361" y="7484"/>
                  </a:lnTo>
                  <a:lnTo>
                    <a:pt x="13138" y="7295"/>
                  </a:lnTo>
                  <a:lnTo>
                    <a:pt x="12915" y="6821"/>
                  </a:lnTo>
                  <a:lnTo>
                    <a:pt x="12470" y="6726"/>
                  </a:lnTo>
                  <a:lnTo>
                    <a:pt x="12247" y="6726"/>
                  </a:lnTo>
                  <a:lnTo>
                    <a:pt x="12099" y="6347"/>
                  </a:lnTo>
                  <a:lnTo>
                    <a:pt x="11876" y="6253"/>
                  </a:lnTo>
                  <a:lnTo>
                    <a:pt x="11579" y="5779"/>
                  </a:lnTo>
                  <a:lnTo>
                    <a:pt x="11282" y="5684"/>
                  </a:lnTo>
                  <a:lnTo>
                    <a:pt x="11208" y="5211"/>
                  </a:lnTo>
                  <a:lnTo>
                    <a:pt x="11060" y="5021"/>
                  </a:lnTo>
                  <a:lnTo>
                    <a:pt x="10614" y="4547"/>
                  </a:lnTo>
                  <a:lnTo>
                    <a:pt x="10243" y="4168"/>
                  </a:lnTo>
                  <a:lnTo>
                    <a:pt x="9946" y="3979"/>
                  </a:lnTo>
                  <a:lnTo>
                    <a:pt x="9649" y="3695"/>
                  </a:lnTo>
                  <a:lnTo>
                    <a:pt x="9427" y="3600"/>
                  </a:lnTo>
                  <a:lnTo>
                    <a:pt x="9056" y="3600"/>
                  </a:lnTo>
                  <a:lnTo>
                    <a:pt x="8685" y="3695"/>
                  </a:lnTo>
                  <a:lnTo>
                    <a:pt x="8610" y="3979"/>
                  </a:lnTo>
                  <a:lnTo>
                    <a:pt x="8685" y="4263"/>
                  </a:lnTo>
                  <a:lnTo>
                    <a:pt x="8610" y="4453"/>
                  </a:lnTo>
                  <a:lnTo>
                    <a:pt x="8462" y="4453"/>
                  </a:lnTo>
                  <a:lnTo>
                    <a:pt x="8313" y="4263"/>
                  </a:lnTo>
                  <a:lnTo>
                    <a:pt x="7942" y="4642"/>
                  </a:lnTo>
                  <a:lnTo>
                    <a:pt x="7497" y="5116"/>
                  </a:lnTo>
                  <a:lnTo>
                    <a:pt x="6977" y="5305"/>
                  </a:lnTo>
                  <a:lnTo>
                    <a:pt x="6161" y="5589"/>
                  </a:lnTo>
                  <a:lnTo>
                    <a:pt x="6161" y="5021"/>
                  </a:lnTo>
                  <a:lnTo>
                    <a:pt x="5938" y="4737"/>
                  </a:lnTo>
                  <a:lnTo>
                    <a:pt x="5715" y="4642"/>
                  </a:lnTo>
                  <a:lnTo>
                    <a:pt x="5344" y="4358"/>
                  </a:lnTo>
                  <a:lnTo>
                    <a:pt x="5641" y="4168"/>
                  </a:lnTo>
                  <a:lnTo>
                    <a:pt x="5715" y="4074"/>
                  </a:lnTo>
                  <a:lnTo>
                    <a:pt x="5196" y="3979"/>
                  </a:lnTo>
                  <a:lnTo>
                    <a:pt x="5196" y="3695"/>
                  </a:lnTo>
                  <a:lnTo>
                    <a:pt x="5344" y="3695"/>
                  </a:lnTo>
                  <a:lnTo>
                    <a:pt x="5419" y="3505"/>
                  </a:lnTo>
                  <a:lnTo>
                    <a:pt x="5419" y="3316"/>
                  </a:lnTo>
                  <a:lnTo>
                    <a:pt x="5344" y="3316"/>
                  </a:lnTo>
                  <a:lnTo>
                    <a:pt x="5196" y="3411"/>
                  </a:lnTo>
                  <a:lnTo>
                    <a:pt x="5196" y="3505"/>
                  </a:lnTo>
                  <a:lnTo>
                    <a:pt x="5122" y="3600"/>
                  </a:lnTo>
                  <a:lnTo>
                    <a:pt x="4973" y="3411"/>
                  </a:lnTo>
                  <a:lnTo>
                    <a:pt x="4602" y="3411"/>
                  </a:lnTo>
                  <a:lnTo>
                    <a:pt x="4751" y="3695"/>
                  </a:lnTo>
                  <a:lnTo>
                    <a:pt x="4825" y="3695"/>
                  </a:lnTo>
                  <a:lnTo>
                    <a:pt x="4899" y="4074"/>
                  </a:lnTo>
                  <a:lnTo>
                    <a:pt x="4825" y="4074"/>
                  </a:lnTo>
                  <a:lnTo>
                    <a:pt x="4528" y="3884"/>
                  </a:lnTo>
                  <a:lnTo>
                    <a:pt x="4231" y="3600"/>
                  </a:lnTo>
                  <a:lnTo>
                    <a:pt x="3934" y="3505"/>
                  </a:lnTo>
                  <a:lnTo>
                    <a:pt x="3266" y="3505"/>
                  </a:lnTo>
                  <a:lnTo>
                    <a:pt x="3043" y="3316"/>
                  </a:lnTo>
                  <a:lnTo>
                    <a:pt x="2895" y="3126"/>
                  </a:lnTo>
                  <a:lnTo>
                    <a:pt x="2672" y="3126"/>
                  </a:lnTo>
                  <a:lnTo>
                    <a:pt x="1930" y="3316"/>
                  </a:lnTo>
                  <a:lnTo>
                    <a:pt x="1410" y="3316"/>
                  </a:lnTo>
                  <a:lnTo>
                    <a:pt x="1039" y="3600"/>
                  </a:lnTo>
                  <a:lnTo>
                    <a:pt x="816" y="3695"/>
                  </a:lnTo>
                  <a:lnTo>
                    <a:pt x="520" y="3032"/>
                  </a:lnTo>
                  <a:lnTo>
                    <a:pt x="445" y="2558"/>
                  </a:lnTo>
                  <a:lnTo>
                    <a:pt x="148" y="2084"/>
                  </a:lnTo>
                  <a:lnTo>
                    <a:pt x="0" y="1895"/>
                  </a:lnTo>
                  <a:lnTo>
                    <a:pt x="0" y="1611"/>
                  </a:lnTo>
                  <a:lnTo>
                    <a:pt x="223" y="1516"/>
                  </a:lnTo>
                  <a:lnTo>
                    <a:pt x="742" y="1326"/>
                  </a:lnTo>
                  <a:lnTo>
                    <a:pt x="1336" y="1137"/>
                  </a:lnTo>
                  <a:lnTo>
                    <a:pt x="6903" y="568"/>
                  </a:lnTo>
                  <a:lnTo>
                    <a:pt x="7274" y="1516"/>
                  </a:lnTo>
                  <a:lnTo>
                    <a:pt x="14029" y="1042"/>
                  </a:lnTo>
                  <a:lnTo>
                    <a:pt x="14103" y="1800"/>
                  </a:lnTo>
                  <a:lnTo>
                    <a:pt x="14623" y="1800"/>
                  </a:lnTo>
                  <a:lnTo>
                    <a:pt x="14400"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4" name="Shape 2309">
              <a:extLst>
                <a:ext uri="{FF2B5EF4-FFF2-40B4-BE49-F238E27FC236}">
                  <a16:creationId xmlns:a16="http://schemas.microsoft.com/office/drawing/2014/main" id="{A40B5BD9-AB4F-48A7-B8E9-24FEEE304131}"/>
                </a:ext>
              </a:extLst>
            </p:cNvPr>
            <p:cNvSpPr/>
            <p:nvPr/>
          </p:nvSpPr>
          <p:spPr>
            <a:xfrm>
              <a:off x="5608679" y="4383804"/>
              <a:ext cx="1046783" cy="926241"/>
            </a:xfrm>
            <a:custGeom>
              <a:avLst/>
              <a:gdLst/>
              <a:ahLst/>
              <a:cxnLst>
                <a:cxn ang="0">
                  <a:pos x="wd2" y="hd2"/>
                </a:cxn>
                <a:cxn ang="5400000">
                  <a:pos x="wd2" y="hd2"/>
                </a:cxn>
                <a:cxn ang="10800000">
                  <a:pos x="wd2" y="hd2"/>
                </a:cxn>
                <a:cxn ang="16200000">
                  <a:pos x="wd2" y="hd2"/>
                </a:cxn>
              </a:cxnLst>
              <a:rect l="0" t="0" r="r" b="b"/>
              <a:pathLst>
                <a:path w="21600" h="21600" extrusionOk="0">
                  <a:moveTo>
                    <a:pt x="21481" y="19990"/>
                  </a:moveTo>
                  <a:lnTo>
                    <a:pt x="21244" y="19990"/>
                  </a:lnTo>
                  <a:lnTo>
                    <a:pt x="20888" y="19722"/>
                  </a:lnTo>
                  <a:lnTo>
                    <a:pt x="20532" y="19722"/>
                  </a:lnTo>
                  <a:lnTo>
                    <a:pt x="20295" y="19588"/>
                  </a:lnTo>
                  <a:lnTo>
                    <a:pt x="19701" y="19185"/>
                  </a:lnTo>
                  <a:lnTo>
                    <a:pt x="19582" y="19185"/>
                  </a:lnTo>
                  <a:lnTo>
                    <a:pt x="18989" y="18648"/>
                  </a:lnTo>
                  <a:lnTo>
                    <a:pt x="18752" y="18380"/>
                  </a:lnTo>
                  <a:lnTo>
                    <a:pt x="18396" y="18246"/>
                  </a:lnTo>
                  <a:lnTo>
                    <a:pt x="18040" y="17978"/>
                  </a:lnTo>
                  <a:lnTo>
                    <a:pt x="17802" y="17709"/>
                  </a:lnTo>
                  <a:lnTo>
                    <a:pt x="18158" y="17709"/>
                  </a:lnTo>
                  <a:lnTo>
                    <a:pt x="18396" y="17441"/>
                  </a:lnTo>
                  <a:lnTo>
                    <a:pt x="18989" y="17441"/>
                  </a:lnTo>
                  <a:lnTo>
                    <a:pt x="19108" y="17173"/>
                  </a:lnTo>
                  <a:lnTo>
                    <a:pt x="19701" y="17173"/>
                  </a:lnTo>
                  <a:lnTo>
                    <a:pt x="19938" y="16904"/>
                  </a:lnTo>
                  <a:lnTo>
                    <a:pt x="19582" y="16234"/>
                  </a:lnTo>
                  <a:lnTo>
                    <a:pt x="19226" y="15831"/>
                  </a:lnTo>
                  <a:lnTo>
                    <a:pt x="19108" y="15831"/>
                  </a:lnTo>
                  <a:lnTo>
                    <a:pt x="17921" y="16234"/>
                  </a:lnTo>
                  <a:lnTo>
                    <a:pt x="17565" y="16368"/>
                  </a:lnTo>
                  <a:lnTo>
                    <a:pt x="17209" y="16368"/>
                  </a:lnTo>
                  <a:lnTo>
                    <a:pt x="17209" y="16234"/>
                  </a:lnTo>
                  <a:lnTo>
                    <a:pt x="17565" y="15965"/>
                  </a:lnTo>
                  <a:lnTo>
                    <a:pt x="17921" y="15831"/>
                  </a:lnTo>
                  <a:lnTo>
                    <a:pt x="18277" y="15563"/>
                  </a:lnTo>
                  <a:lnTo>
                    <a:pt x="18277" y="14758"/>
                  </a:lnTo>
                  <a:lnTo>
                    <a:pt x="18158" y="13819"/>
                  </a:lnTo>
                  <a:lnTo>
                    <a:pt x="17802" y="13282"/>
                  </a:lnTo>
                  <a:lnTo>
                    <a:pt x="17565" y="12745"/>
                  </a:lnTo>
                  <a:lnTo>
                    <a:pt x="17684" y="10599"/>
                  </a:lnTo>
                  <a:lnTo>
                    <a:pt x="9969" y="11001"/>
                  </a:lnTo>
                  <a:lnTo>
                    <a:pt x="9851" y="10465"/>
                  </a:lnTo>
                  <a:lnTo>
                    <a:pt x="9851" y="10062"/>
                  </a:lnTo>
                  <a:lnTo>
                    <a:pt x="9969" y="9794"/>
                  </a:lnTo>
                  <a:lnTo>
                    <a:pt x="10325" y="9525"/>
                  </a:lnTo>
                  <a:lnTo>
                    <a:pt x="10325" y="8586"/>
                  </a:lnTo>
                  <a:lnTo>
                    <a:pt x="10444" y="8184"/>
                  </a:lnTo>
                  <a:lnTo>
                    <a:pt x="10563" y="8050"/>
                  </a:lnTo>
                  <a:lnTo>
                    <a:pt x="10681" y="7781"/>
                  </a:lnTo>
                  <a:lnTo>
                    <a:pt x="10800" y="6842"/>
                  </a:lnTo>
                  <a:lnTo>
                    <a:pt x="11037" y="6574"/>
                  </a:lnTo>
                  <a:lnTo>
                    <a:pt x="11512" y="5769"/>
                  </a:lnTo>
                  <a:lnTo>
                    <a:pt x="11631" y="5501"/>
                  </a:lnTo>
                  <a:lnTo>
                    <a:pt x="11631" y="4964"/>
                  </a:lnTo>
                  <a:lnTo>
                    <a:pt x="11749" y="4964"/>
                  </a:lnTo>
                  <a:lnTo>
                    <a:pt x="12105" y="4561"/>
                  </a:lnTo>
                  <a:lnTo>
                    <a:pt x="12224" y="3488"/>
                  </a:lnTo>
                  <a:lnTo>
                    <a:pt x="12105" y="3086"/>
                  </a:lnTo>
                  <a:lnTo>
                    <a:pt x="11749" y="2817"/>
                  </a:lnTo>
                  <a:lnTo>
                    <a:pt x="11749" y="2549"/>
                  </a:lnTo>
                  <a:lnTo>
                    <a:pt x="11631" y="1878"/>
                  </a:lnTo>
                  <a:lnTo>
                    <a:pt x="11631" y="1744"/>
                  </a:lnTo>
                  <a:lnTo>
                    <a:pt x="11512" y="1476"/>
                  </a:lnTo>
                  <a:lnTo>
                    <a:pt x="11156" y="1207"/>
                  </a:lnTo>
                  <a:lnTo>
                    <a:pt x="11631" y="939"/>
                  </a:lnTo>
                  <a:lnTo>
                    <a:pt x="11631" y="671"/>
                  </a:lnTo>
                  <a:lnTo>
                    <a:pt x="11512" y="268"/>
                  </a:lnTo>
                  <a:lnTo>
                    <a:pt x="11156" y="0"/>
                  </a:lnTo>
                  <a:lnTo>
                    <a:pt x="0" y="402"/>
                  </a:lnTo>
                  <a:lnTo>
                    <a:pt x="0" y="6306"/>
                  </a:lnTo>
                  <a:lnTo>
                    <a:pt x="831" y="7111"/>
                  </a:lnTo>
                  <a:lnTo>
                    <a:pt x="831" y="7379"/>
                  </a:lnTo>
                  <a:lnTo>
                    <a:pt x="1305" y="8586"/>
                  </a:lnTo>
                  <a:lnTo>
                    <a:pt x="1424" y="8855"/>
                  </a:lnTo>
                  <a:lnTo>
                    <a:pt x="1424" y="9660"/>
                  </a:lnTo>
                  <a:lnTo>
                    <a:pt x="1543" y="10062"/>
                  </a:lnTo>
                  <a:lnTo>
                    <a:pt x="1780" y="11135"/>
                  </a:lnTo>
                  <a:lnTo>
                    <a:pt x="2018" y="11940"/>
                  </a:lnTo>
                  <a:lnTo>
                    <a:pt x="1543" y="12611"/>
                  </a:lnTo>
                  <a:lnTo>
                    <a:pt x="1305" y="13684"/>
                  </a:lnTo>
                  <a:lnTo>
                    <a:pt x="1305" y="14087"/>
                  </a:lnTo>
                  <a:lnTo>
                    <a:pt x="1068" y="14758"/>
                  </a:lnTo>
                  <a:lnTo>
                    <a:pt x="1424" y="15697"/>
                  </a:lnTo>
                  <a:lnTo>
                    <a:pt x="1424" y="16234"/>
                  </a:lnTo>
                  <a:lnTo>
                    <a:pt x="1068" y="17575"/>
                  </a:lnTo>
                  <a:lnTo>
                    <a:pt x="712" y="18246"/>
                  </a:lnTo>
                  <a:lnTo>
                    <a:pt x="1780" y="18246"/>
                  </a:lnTo>
                  <a:lnTo>
                    <a:pt x="2136" y="17978"/>
                  </a:lnTo>
                  <a:lnTo>
                    <a:pt x="2967" y="17978"/>
                  </a:lnTo>
                  <a:lnTo>
                    <a:pt x="4035" y="18246"/>
                  </a:lnTo>
                  <a:lnTo>
                    <a:pt x="4629" y="18380"/>
                  </a:lnTo>
                  <a:lnTo>
                    <a:pt x="5222" y="18648"/>
                  </a:lnTo>
                  <a:lnTo>
                    <a:pt x="6053" y="19051"/>
                  </a:lnTo>
                  <a:lnTo>
                    <a:pt x="9376" y="19051"/>
                  </a:lnTo>
                  <a:lnTo>
                    <a:pt x="9495" y="18917"/>
                  </a:lnTo>
                  <a:lnTo>
                    <a:pt x="9257" y="18514"/>
                  </a:lnTo>
                  <a:lnTo>
                    <a:pt x="8545" y="18514"/>
                  </a:lnTo>
                  <a:lnTo>
                    <a:pt x="8308" y="18380"/>
                  </a:lnTo>
                  <a:lnTo>
                    <a:pt x="8426" y="17978"/>
                  </a:lnTo>
                  <a:lnTo>
                    <a:pt x="8545" y="17709"/>
                  </a:lnTo>
                  <a:lnTo>
                    <a:pt x="9138" y="17709"/>
                  </a:lnTo>
                  <a:lnTo>
                    <a:pt x="9969" y="18112"/>
                  </a:lnTo>
                  <a:lnTo>
                    <a:pt x="10800" y="18917"/>
                  </a:lnTo>
                  <a:lnTo>
                    <a:pt x="11512" y="19051"/>
                  </a:lnTo>
                  <a:lnTo>
                    <a:pt x="11987" y="18783"/>
                  </a:lnTo>
                  <a:lnTo>
                    <a:pt x="11868" y="19319"/>
                  </a:lnTo>
                  <a:lnTo>
                    <a:pt x="11631" y="20124"/>
                  </a:lnTo>
                  <a:lnTo>
                    <a:pt x="11868" y="20527"/>
                  </a:lnTo>
                  <a:lnTo>
                    <a:pt x="12580" y="20795"/>
                  </a:lnTo>
                  <a:lnTo>
                    <a:pt x="13174" y="20795"/>
                  </a:lnTo>
                  <a:lnTo>
                    <a:pt x="13648" y="21198"/>
                  </a:lnTo>
                  <a:lnTo>
                    <a:pt x="14123" y="21198"/>
                  </a:lnTo>
                  <a:lnTo>
                    <a:pt x="14360" y="20661"/>
                  </a:lnTo>
                  <a:lnTo>
                    <a:pt x="14835" y="20124"/>
                  </a:lnTo>
                  <a:lnTo>
                    <a:pt x="15191" y="19990"/>
                  </a:lnTo>
                  <a:lnTo>
                    <a:pt x="15666" y="20124"/>
                  </a:lnTo>
                  <a:lnTo>
                    <a:pt x="16141" y="20795"/>
                  </a:lnTo>
                  <a:lnTo>
                    <a:pt x="16615" y="20795"/>
                  </a:lnTo>
                  <a:lnTo>
                    <a:pt x="16853" y="20527"/>
                  </a:lnTo>
                  <a:lnTo>
                    <a:pt x="16615" y="19453"/>
                  </a:lnTo>
                  <a:lnTo>
                    <a:pt x="16615" y="19185"/>
                  </a:lnTo>
                  <a:lnTo>
                    <a:pt x="16853" y="18917"/>
                  </a:lnTo>
                  <a:lnTo>
                    <a:pt x="17327" y="18917"/>
                  </a:lnTo>
                  <a:lnTo>
                    <a:pt x="17802" y="19185"/>
                  </a:lnTo>
                  <a:lnTo>
                    <a:pt x="17802" y="19722"/>
                  </a:lnTo>
                  <a:lnTo>
                    <a:pt x="18752" y="19856"/>
                  </a:lnTo>
                  <a:lnTo>
                    <a:pt x="19582" y="20258"/>
                  </a:lnTo>
                  <a:lnTo>
                    <a:pt x="19938" y="20661"/>
                  </a:lnTo>
                  <a:lnTo>
                    <a:pt x="19701" y="21063"/>
                  </a:lnTo>
                  <a:lnTo>
                    <a:pt x="19582" y="21600"/>
                  </a:lnTo>
                  <a:lnTo>
                    <a:pt x="20057" y="21600"/>
                  </a:lnTo>
                  <a:lnTo>
                    <a:pt x="20295" y="21198"/>
                  </a:lnTo>
                  <a:lnTo>
                    <a:pt x="20532" y="20929"/>
                  </a:lnTo>
                  <a:lnTo>
                    <a:pt x="20888" y="21198"/>
                  </a:lnTo>
                  <a:lnTo>
                    <a:pt x="20888" y="21466"/>
                  </a:lnTo>
                  <a:lnTo>
                    <a:pt x="21125" y="21063"/>
                  </a:lnTo>
                  <a:lnTo>
                    <a:pt x="21600" y="20527"/>
                  </a:lnTo>
                  <a:lnTo>
                    <a:pt x="21481" y="1999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5" name="Shape 2310">
              <a:extLst>
                <a:ext uri="{FF2B5EF4-FFF2-40B4-BE49-F238E27FC236}">
                  <a16:creationId xmlns:a16="http://schemas.microsoft.com/office/drawing/2014/main" id="{6C970E08-000E-F2FF-6991-DFEA24ACEB3D}"/>
                </a:ext>
              </a:extLst>
            </p:cNvPr>
            <p:cNvSpPr/>
            <p:nvPr/>
          </p:nvSpPr>
          <p:spPr>
            <a:xfrm>
              <a:off x="5482144" y="3555370"/>
              <a:ext cx="937501" cy="845699"/>
            </a:xfrm>
            <a:custGeom>
              <a:avLst/>
              <a:gdLst/>
              <a:ahLst/>
              <a:cxnLst>
                <a:cxn ang="0">
                  <a:pos x="wd2" y="hd2"/>
                </a:cxn>
                <a:cxn ang="5400000">
                  <a:pos x="wd2" y="hd2"/>
                </a:cxn>
                <a:cxn ang="10800000">
                  <a:pos x="wd2" y="hd2"/>
                </a:cxn>
                <a:cxn ang="16200000">
                  <a:pos x="wd2" y="hd2"/>
                </a:cxn>
              </a:cxnLst>
              <a:rect l="0" t="0" r="r" b="b"/>
              <a:pathLst>
                <a:path w="21600" h="21600" extrusionOk="0">
                  <a:moveTo>
                    <a:pt x="795" y="18073"/>
                  </a:moveTo>
                  <a:lnTo>
                    <a:pt x="530" y="17780"/>
                  </a:lnTo>
                  <a:lnTo>
                    <a:pt x="928" y="18220"/>
                  </a:lnTo>
                  <a:lnTo>
                    <a:pt x="1325" y="18367"/>
                  </a:lnTo>
                  <a:lnTo>
                    <a:pt x="1590" y="18073"/>
                  </a:lnTo>
                  <a:lnTo>
                    <a:pt x="2915" y="18220"/>
                  </a:lnTo>
                  <a:lnTo>
                    <a:pt x="2915" y="21600"/>
                  </a:lnTo>
                  <a:lnTo>
                    <a:pt x="15372" y="21159"/>
                  </a:lnTo>
                  <a:lnTo>
                    <a:pt x="15504" y="21159"/>
                  </a:lnTo>
                  <a:lnTo>
                    <a:pt x="15769" y="20424"/>
                  </a:lnTo>
                  <a:lnTo>
                    <a:pt x="15902" y="19984"/>
                  </a:lnTo>
                  <a:lnTo>
                    <a:pt x="15769" y="19543"/>
                  </a:lnTo>
                  <a:lnTo>
                    <a:pt x="15769" y="18367"/>
                  </a:lnTo>
                  <a:lnTo>
                    <a:pt x="15504" y="17927"/>
                  </a:lnTo>
                  <a:lnTo>
                    <a:pt x="15372" y="17780"/>
                  </a:lnTo>
                  <a:lnTo>
                    <a:pt x="15372" y="17486"/>
                  </a:lnTo>
                  <a:lnTo>
                    <a:pt x="15504" y="17192"/>
                  </a:lnTo>
                  <a:lnTo>
                    <a:pt x="15372" y="17045"/>
                  </a:lnTo>
                  <a:lnTo>
                    <a:pt x="15637" y="16604"/>
                  </a:lnTo>
                  <a:lnTo>
                    <a:pt x="16034" y="16016"/>
                  </a:lnTo>
                  <a:lnTo>
                    <a:pt x="16167" y="16016"/>
                  </a:lnTo>
                  <a:lnTo>
                    <a:pt x="16034" y="15722"/>
                  </a:lnTo>
                  <a:lnTo>
                    <a:pt x="16299" y="15135"/>
                  </a:lnTo>
                  <a:lnTo>
                    <a:pt x="16564" y="14694"/>
                  </a:lnTo>
                  <a:lnTo>
                    <a:pt x="16299" y="14547"/>
                  </a:lnTo>
                  <a:lnTo>
                    <a:pt x="16432" y="13959"/>
                  </a:lnTo>
                  <a:lnTo>
                    <a:pt x="16829" y="13518"/>
                  </a:lnTo>
                  <a:lnTo>
                    <a:pt x="17492" y="12637"/>
                  </a:lnTo>
                  <a:lnTo>
                    <a:pt x="17890" y="11902"/>
                  </a:lnTo>
                  <a:lnTo>
                    <a:pt x="17890" y="11314"/>
                  </a:lnTo>
                  <a:lnTo>
                    <a:pt x="18155" y="10580"/>
                  </a:lnTo>
                  <a:lnTo>
                    <a:pt x="18287" y="10580"/>
                  </a:lnTo>
                  <a:lnTo>
                    <a:pt x="18552" y="10286"/>
                  </a:lnTo>
                  <a:lnTo>
                    <a:pt x="18685" y="9845"/>
                  </a:lnTo>
                  <a:lnTo>
                    <a:pt x="18950" y="9551"/>
                  </a:lnTo>
                  <a:lnTo>
                    <a:pt x="19480" y="9257"/>
                  </a:lnTo>
                  <a:lnTo>
                    <a:pt x="19347" y="8816"/>
                  </a:lnTo>
                  <a:lnTo>
                    <a:pt x="19612" y="8522"/>
                  </a:lnTo>
                  <a:lnTo>
                    <a:pt x="19877" y="7935"/>
                  </a:lnTo>
                  <a:lnTo>
                    <a:pt x="19877" y="6318"/>
                  </a:lnTo>
                  <a:lnTo>
                    <a:pt x="20275" y="5731"/>
                  </a:lnTo>
                  <a:lnTo>
                    <a:pt x="20672" y="5437"/>
                  </a:lnTo>
                  <a:lnTo>
                    <a:pt x="20672" y="5143"/>
                  </a:lnTo>
                  <a:lnTo>
                    <a:pt x="20805" y="4849"/>
                  </a:lnTo>
                  <a:lnTo>
                    <a:pt x="20805" y="4261"/>
                  </a:lnTo>
                  <a:lnTo>
                    <a:pt x="21202" y="4114"/>
                  </a:lnTo>
                  <a:lnTo>
                    <a:pt x="21600" y="3233"/>
                  </a:lnTo>
                  <a:lnTo>
                    <a:pt x="21600" y="2792"/>
                  </a:lnTo>
                  <a:lnTo>
                    <a:pt x="18287" y="2939"/>
                  </a:lnTo>
                  <a:lnTo>
                    <a:pt x="19612" y="735"/>
                  </a:lnTo>
                  <a:lnTo>
                    <a:pt x="19480" y="0"/>
                  </a:lnTo>
                  <a:lnTo>
                    <a:pt x="0" y="588"/>
                  </a:lnTo>
                  <a:lnTo>
                    <a:pt x="928" y="6906"/>
                  </a:lnTo>
                  <a:lnTo>
                    <a:pt x="795" y="1807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6" name="Shape 2311">
              <a:extLst>
                <a:ext uri="{FF2B5EF4-FFF2-40B4-BE49-F238E27FC236}">
                  <a16:creationId xmlns:a16="http://schemas.microsoft.com/office/drawing/2014/main" id="{0626A1FA-1D3D-0486-909F-140A9F86C357}"/>
                </a:ext>
              </a:extLst>
            </p:cNvPr>
            <p:cNvSpPr/>
            <p:nvPr/>
          </p:nvSpPr>
          <p:spPr>
            <a:xfrm>
              <a:off x="6321871" y="3382781"/>
              <a:ext cx="1587426" cy="517771"/>
            </a:xfrm>
            <a:custGeom>
              <a:avLst/>
              <a:gdLst/>
              <a:ahLst/>
              <a:cxnLst>
                <a:cxn ang="0">
                  <a:pos x="wd2" y="hd2"/>
                </a:cxn>
                <a:cxn ang="5400000">
                  <a:pos x="wd2" y="hd2"/>
                </a:cxn>
                <a:cxn ang="10800000">
                  <a:pos x="wd2" y="hd2"/>
                </a:cxn>
                <a:cxn ang="16200000">
                  <a:pos x="wd2" y="hd2"/>
                </a:cxn>
              </a:cxnLst>
              <a:rect l="0" t="0" r="r" b="b"/>
              <a:pathLst>
                <a:path w="21600" h="21600" extrusionOk="0">
                  <a:moveTo>
                    <a:pt x="12788" y="2826"/>
                  </a:moveTo>
                  <a:cubicBezTo>
                    <a:pt x="5499" y="4239"/>
                    <a:pt x="5499" y="4239"/>
                    <a:pt x="5499" y="4239"/>
                  </a:cubicBezTo>
                  <a:cubicBezTo>
                    <a:pt x="5632" y="6258"/>
                    <a:pt x="5632" y="6258"/>
                    <a:pt x="5632" y="6258"/>
                  </a:cubicBezTo>
                  <a:cubicBezTo>
                    <a:pt x="1723" y="6460"/>
                    <a:pt x="1723" y="6460"/>
                    <a:pt x="1723" y="6460"/>
                  </a:cubicBezTo>
                  <a:cubicBezTo>
                    <a:pt x="1590" y="6662"/>
                    <a:pt x="1590" y="6662"/>
                    <a:pt x="1590" y="6662"/>
                  </a:cubicBezTo>
                  <a:cubicBezTo>
                    <a:pt x="1590" y="7267"/>
                    <a:pt x="1590" y="7267"/>
                    <a:pt x="1590" y="7267"/>
                  </a:cubicBezTo>
                  <a:cubicBezTo>
                    <a:pt x="1590" y="7873"/>
                    <a:pt x="1590" y="7873"/>
                    <a:pt x="1590" y="7873"/>
                  </a:cubicBezTo>
                  <a:cubicBezTo>
                    <a:pt x="1524" y="8479"/>
                    <a:pt x="1524" y="8479"/>
                    <a:pt x="1524" y="8479"/>
                  </a:cubicBezTo>
                  <a:cubicBezTo>
                    <a:pt x="1391" y="8680"/>
                    <a:pt x="1391" y="8680"/>
                    <a:pt x="1391" y="8680"/>
                  </a:cubicBezTo>
                  <a:cubicBezTo>
                    <a:pt x="1325" y="9084"/>
                    <a:pt x="1325" y="9084"/>
                    <a:pt x="1325" y="9084"/>
                  </a:cubicBezTo>
                  <a:cubicBezTo>
                    <a:pt x="1391" y="9286"/>
                    <a:pt x="1391" y="9286"/>
                    <a:pt x="1391" y="9286"/>
                  </a:cubicBezTo>
                  <a:cubicBezTo>
                    <a:pt x="1391" y="9286"/>
                    <a:pt x="1524" y="9892"/>
                    <a:pt x="1524" y="10093"/>
                  </a:cubicBezTo>
                  <a:cubicBezTo>
                    <a:pt x="1590" y="10295"/>
                    <a:pt x="1458" y="10497"/>
                    <a:pt x="1458" y="10497"/>
                  </a:cubicBezTo>
                  <a:cubicBezTo>
                    <a:pt x="1325" y="11103"/>
                    <a:pt x="1325" y="11103"/>
                    <a:pt x="1325" y="11103"/>
                  </a:cubicBezTo>
                  <a:cubicBezTo>
                    <a:pt x="1259" y="11708"/>
                    <a:pt x="1259" y="11708"/>
                    <a:pt x="1259" y="11708"/>
                  </a:cubicBezTo>
                  <a:cubicBezTo>
                    <a:pt x="1325" y="11708"/>
                    <a:pt x="1325" y="11708"/>
                    <a:pt x="1325" y="11708"/>
                  </a:cubicBezTo>
                  <a:cubicBezTo>
                    <a:pt x="1325" y="12516"/>
                    <a:pt x="1325" y="12516"/>
                    <a:pt x="1325" y="12516"/>
                  </a:cubicBezTo>
                  <a:cubicBezTo>
                    <a:pt x="1259" y="12920"/>
                    <a:pt x="1259" y="12920"/>
                    <a:pt x="1259" y="12920"/>
                  </a:cubicBezTo>
                  <a:cubicBezTo>
                    <a:pt x="1193" y="13323"/>
                    <a:pt x="1193" y="13323"/>
                    <a:pt x="1193" y="13323"/>
                  </a:cubicBezTo>
                  <a:cubicBezTo>
                    <a:pt x="1060" y="13929"/>
                    <a:pt x="1060" y="13929"/>
                    <a:pt x="1060" y="13929"/>
                  </a:cubicBezTo>
                  <a:cubicBezTo>
                    <a:pt x="861" y="14131"/>
                    <a:pt x="861" y="14131"/>
                    <a:pt x="861" y="14131"/>
                  </a:cubicBezTo>
                  <a:cubicBezTo>
                    <a:pt x="861" y="15140"/>
                    <a:pt x="861" y="15140"/>
                    <a:pt x="861" y="15140"/>
                  </a:cubicBezTo>
                  <a:cubicBezTo>
                    <a:pt x="795" y="15544"/>
                    <a:pt x="795" y="15544"/>
                    <a:pt x="795" y="15544"/>
                  </a:cubicBezTo>
                  <a:cubicBezTo>
                    <a:pt x="795" y="15948"/>
                    <a:pt x="795" y="15948"/>
                    <a:pt x="795" y="15948"/>
                  </a:cubicBezTo>
                  <a:cubicBezTo>
                    <a:pt x="530" y="16553"/>
                    <a:pt x="530" y="16553"/>
                    <a:pt x="530" y="16553"/>
                  </a:cubicBezTo>
                  <a:cubicBezTo>
                    <a:pt x="331" y="17563"/>
                    <a:pt x="331" y="17563"/>
                    <a:pt x="331" y="17563"/>
                  </a:cubicBezTo>
                  <a:cubicBezTo>
                    <a:pt x="331" y="18572"/>
                    <a:pt x="331" y="18572"/>
                    <a:pt x="331" y="18572"/>
                  </a:cubicBezTo>
                  <a:cubicBezTo>
                    <a:pt x="331" y="19985"/>
                    <a:pt x="331" y="19985"/>
                    <a:pt x="331" y="19985"/>
                  </a:cubicBezTo>
                  <a:cubicBezTo>
                    <a:pt x="133" y="20994"/>
                    <a:pt x="133" y="20994"/>
                    <a:pt x="133" y="20994"/>
                  </a:cubicBezTo>
                  <a:cubicBezTo>
                    <a:pt x="0" y="21600"/>
                    <a:pt x="0" y="21600"/>
                    <a:pt x="0" y="21600"/>
                  </a:cubicBezTo>
                  <a:cubicBezTo>
                    <a:pt x="0" y="21600"/>
                    <a:pt x="0" y="21600"/>
                    <a:pt x="0" y="21600"/>
                  </a:cubicBezTo>
                  <a:cubicBezTo>
                    <a:pt x="15372" y="17966"/>
                    <a:pt x="15372" y="17966"/>
                    <a:pt x="15372" y="17966"/>
                  </a:cubicBezTo>
                  <a:cubicBezTo>
                    <a:pt x="15372" y="17966"/>
                    <a:pt x="15372" y="17966"/>
                    <a:pt x="15372" y="17966"/>
                  </a:cubicBezTo>
                  <a:cubicBezTo>
                    <a:pt x="15372" y="17764"/>
                    <a:pt x="15372" y="17764"/>
                    <a:pt x="15372" y="17764"/>
                  </a:cubicBezTo>
                  <a:cubicBezTo>
                    <a:pt x="15438" y="16553"/>
                    <a:pt x="15438" y="16553"/>
                    <a:pt x="15438" y="16553"/>
                  </a:cubicBezTo>
                  <a:cubicBezTo>
                    <a:pt x="15438" y="15948"/>
                    <a:pt x="15438" y="15948"/>
                    <a:pt x="15438" y="15948"/>
                  </a:cubicBezTo>
                  <a:cubicBezTo>
                    <a:pt x="15703" y="15140"/>
                    <a:pt x="15703" y="15140"/>
                    <a:pt x="15703" y="15140"/>
                  </a:cubicBezTo>
                  <a:cubicBezTo>
                    <a:pt x="15902" y="15140"/>
                    <a:pt x="15902" y="15140"/>
                    <a:pt x="15902" y="15140"/>
                  </a:cubicBezTo>
                  <a:cubicBezTo>
                    <a:pt x="16167" y="14535"/>
                    <a:pt x="16167" y="14535"/>
                    <a:pt x="16167" y="14535"/>
                  </a:cubicBezTo>
                  <a:cubicBezTo>
                    <a:pt x="16101" y="13727"/>
                    <a:pt x="16101" y="13727"/>
                    <a:pt x="16101" y="13727"/>
                  </a:cubicBezTo>
                  <a:cubicBezTo>
                    <a:pt x="16299" y="12920"/>
                    <a:pt x="16299" y="12920"/>
                    <a:pt x="16299" y="12920"/>
                  </a:cubicBezTo>
                  <a:cubicBezTo>
                    <a:pt x="18552" y="8882"/>
                    <a:pt x="18552" y="8882"/>
                    <a:pt x="18552" y="8882"/>
                  </a:cubicBezTo>
                  <a:cubicBezTo>
                    <a:pt x="18883" y="8277"/>
                    <a:pt x="18883" y="8277"/>
                    <a:pt x="18883" y="8277"/>
                  </a:cubicBezTo>
                  <a:cubicBezTo>
                    <a:pt x="19016" y="7469"/>
                    <a:pt x="19016" y="7469"/>
                    <a:pt x="19016" y="7469"/>
                  </a:cubicBezTo>
                  <a:cubicBezTo>
                    <a:pt x="19281" y="6258"/>
                    <a:pt x="19281" y="6258"/>
                    <a:pt x="19281" y="6258"/>
                  </a:cubicBezTo>
                  <a:cubicBezTo>
                    <a:pt x="19480" y="6258"/>
                    <a:pt x="19480" y="6258"/>
                    <a:pt x="19480" y="6258"/>
                  </a:cubicBezTo>
                  <a:cubicBezTo>
                    <a:pt x="19679" y="7065"/>
                    <a:pt x="19679" y="7065"/>
                    <a:pt x="19679" y="7065"/>
                  </a:cubicBezTo>
                  <a:cubicBezTo>
                    <a:pt x="19944" y="6258"/>
                    <a:pt x="19944" y="6258"/>
                    <a:pt x="19944" y="6258"/>
                  </a:cubicBezTo>
                  <a:cubicBezTo>
                    <a:pt x="20275" y="5047"/>
                    <a:pt x="20275" y="5047"/>
                    <a:pt x="20275" y="5047"/>
                  </a:cubicBezTo>
                  <a:cubicBezTo>
                    <a:pt x="21004" y="4643"/>
                    <a:pt x="21004" y="4643"/>
                    <a:pt x="21004" y="4643"/>
                  </a:cubicBezTo>
                  <a:cubicBezTo>
                    <a:pt x="21070" y="3836"/>
                    <a:pt x="21070" y="3836"/>
                    <a:pt x="21070" y="3836"/>
                  </a:cubicBezTo>
                  <a:cubicBezTo>
                    <a:pt x="21269" y="2826"/>
                    <a:pt x="21269" y="2826"/>
                    <a:pt x="21269" y="2826"/>
                  </a:cubicBezTo>
                  <a:cubicBezTo>
                    <a:pt x="21534" y="2422"/>
                    <a:pt x="21534" y="2422"/>
                    <a:pt x="21534" y="2422"/>
                  </a:cubicBezTo>
                  <a:cubicBezTo>
                    <a:pt x="21600" y="2422"/>
                    <a:pt x="21600" y="2422"/>
                    <a:pt x="21600" y="2422"/>
                  </a:cubicBezTo>
                  <a:cubicBezTo>
                    <a:pt x="21600" y="0"/>
                    <a:pt x="21600" y="0"/>
                    <a:pt x="21600" y="0"/>
                  </a:cubicBezTo>
                  <a:lnTo>
                    <a:pt x="12788" y="282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7" name="Shape 2312">
              <a:extLst>
                <a:ext uri="{FF2B5EF4-FFF2-40B4-BE49-F238E27FC236}">
                  <a16:creationId xmlns:a16="http://schemas.microsoft.com/office/drawing/2014/main" id="{D8F1E01A-4C19-B8B6-5285-1B06EB344BF8}"/>
                </a:ext>
              </a:extLst>
            </p:cNvPr>
            <p:cNvSpPr/>
            <p:nvPr/>
          </p:nvSpPr>
          <p:spPr>
            <a:xfrm>
              <a:off x="7449173" y="3210188"/>
              <a:ext cx="1587426" cy="701870"/>
            </a:xfrm>
            <a:custGeom>
              <a:avLst/>
              <a:gdLst/>
              <a:ahLst/>
              <a:cxnLst>
                <a:cxn ang="0">
                  <a:pos x="wd2" y="hd2"/>
                </a:cxn>
                <a:cxn ang="5400000">
                  <a:pos x="wd2" y="hd2"/>
                </a:cxn>
                <a:cxn ang="10800000">
                  <a:pos x="wd2" y="hd2"/>
                </a:cxn>
                <a:cxn ang="16200000">
                  <a:pos x="wd2" y="hd2"/>
                </a:cxn>
              </a:cxnLst>
              <a:rect l="0" t="0" r="r" b="b"/>
              <a:pathLst>
                <a:path w="21600" h="21600" extrusionOk="0">
                  <a:moveTo>
                    <a:pt x="21467" y="5100"/>
                  </a:moveTo>
                  <a:cubicBezTo>
                    <a:pt x="21335" y="4650"/>
                    <a:pt x="21335" y="4650"/>
                    <a:pt x="21335" y="4650"/>
                  </a:cubicBezTo>
                  <a:cubicBezTo>
                    <a:pt x="21202" y="4200"/>
                    <a:pt x="21202" y="4200"/>
                    <a:pt x="21202" y="4200"/>
                  </a:cubicBezTo>
                  <a:cubicBezTo>
                    <a:pt x="21004" y="4200"/>
                    <a:pt x="21004" y="4200"/>
                    <a:pt x="21004" y="4200"/>
                  </a:cubicBezTo>
                  <a:cubicBezTo>
                    <a:pt x="20937" y="4350"/>
                    <a:pt x="20937" y="4350"/>
                    <a:pt x="20937" y="4350"/>
                  </a:cubicBezTo>
                  <a:cubicBezTo>
                    <a:pt x="20871" y="5700"/>
                    <a:pt x="20871" y="5700"/>
                    <a:pt x="20871" y="5700"/>
                  </a:cubicBezTo>
                  <a:cubicBezTo>
                    <a:pt x="20871" y="6000"/>
                    <a:pt x="20871" y="6000"/>
                    <a:pt x="20871" y="6000"/>
                  </a:cubicBezTo>
                  <a:cubicBezTo>
                    <a:pt x="20672" y="5700"/>
                    <a:pt x="20672" y="5700"/>
                    <a:pt x="20672" y="5700"/>
                  </a:cubicBezTo>
                  <a:cubicBezTo>
                    <a:pt x="20606" y="4800"/>
                    <a:pt x="20606" y="4800"/>
                    <a:pt x="20606" y="4800"/>
                  </a:cubicBezTo>
                  <a:cubicBezTo>
                    <a:pt x="20474" y="4200"/>
                    <a:pt x="20474" y="4200"/>
                    <a:pt x="20474" y="4200"/>
                  </a:cubicBezTo>
                  <a:cubicBezTo>
                    <a:pt x="20275" y="4050"/>
                    <a:pt x="20275" y="4050"/>
                    <a:pt x="20275" y="4050"/>
                  </a:cubicBezTo>
                  <a:cubicBezTo>
                    <a:pt x="19877" y="4500"/>
                    <a:pt x="19877" y="4500"/>
                    <a:pt x="19877" y="4500"/>
                  </a:cubicBezTo>
                  <a:cubicBezTo>
                    <a:pt x="19745" y="4500"/>
                    <a:pt x="19745" y="4500"/>
                    <a:pt x="19745" y="4500"/>
                  </a:cubicBezTo>
                  <a:cubicBezTo>
                    <a:pt x="19347" y="4800"/>
                    <a:pt x="19347" y="4800"/>
                    <a:pt x="19347" y="4800"/>
                  </a:cubicBezTo>
                  <a:cubicBezTo>
                    <a:pt x="19148" y="5250"/>
                    <a:pt x="19148" y="5250"/>
                    <a:pt x="19148" y="5250"/>
                  </a:cubicBezTo>
                  <a:cubicBezTo>
                    <a:pt x="18950" y="5850"/>
                    <a:pt x="18950" y="5850"/>
                    <a:pt x="18950" y="5850"/>
                  </a:cubicBezTo>
                  <a:cubicBezTo>
                    <a:pt x="18883" y="5550"/>
                    <a:pt x="18883" y="5550"/>
                    <a:pt x="18883" y="5550"/>
                  </a:cubicBezTo>
                  <a:cubicBezTo>
                    <a:pt x="18883" y="4800"/>
                    <a:pt x="18883" y="4800"/>
                    <a:pt x="18883" y="4800"/>
                  </a:cubicBezTo>
                  <a:cubicBezTo>
                    <a:pt x="18883" y="4500"/>
                    <a:pt x="18883" y="4500"/>
                    <a:pt x="18883" y="4500"/>
                  </a:cubicBezTo>
                  <a:cubicBezTo>
                    <a:pt x="18751" y="4050"/>
                    <a:pt x="18751" y="4050"/>
                    <a:pt x="18751" y="4050"/>
                  </a:cubicBezTo>
                  <a:cubicBezTo>
                    <a:pt x="18685" y="3750"/>
                    <a:pt x="18685" y="3750"/>
                    <a:pt x="18685" y="3750"/>
                  </a:cubicBezTo>
                  <a:cubicBezTo>
                    <a:pt x="18618" y="3450"/>
                    <a:pt x="18618" y="3450"/>
                    <a:pt x="18618" y="3450"/>
                  </a:cubicBezTo>
                  <a:cubicBezTo>
                    <a:pt x="18618" y="3000"/>
                    <a:pt x="18618" y="3000"/>
                    <a:pt x="18618" y="3000"/>
                  </a:cubicBezTo>
                  <a:cubicBezTo>
                    <a:pt x="18618" y="2700"/>
                    <a:pt x="18618" y="2700"/>
                    <a:pt x="18618" y="2700"/>
                  </a:cubicBezTo>
                  <a:cubicBezTo>
                    <a:pt x="18751" y="2400"/>
                    <a:pt x="18751" y="2400"/>
                    <a:pt x="18751" y="2400"/>
                  </a:cubicBezTo>
                  <a:cubicBezTo>
                    <a:pt x="18751" y="2400"/>
                    <a:pt x="18751" y="2400"/>
                    <a:pt x="18751" y="2400"/>
                  </a:cubicBezTo>
                  <a:cubicBezTo>
                    <a:pt x="18817" y="3000"/>
                    <a:pt x="18817" y="3000"/>
                    <a:pt x="18817" y="3000"/>
                  </a:cubicBezTo>
                  <a:cubicBezTo>
                    <a:pt x="18883" y="3900"/>
                    <a:pt x="18883" y="3900"/>
                    <a:pt x="18883" y="3900"/>
                  </a:cubicBezTo>
                  <a:cubicBezTo>
                    <a:pt x="19016" y="4650"/>
                    <a:pt x="19016" y="4650"/>
                    <a:pt x="19016" y="4650"/>
                  </a:cubicBezTo>
                  <a:cubicBezTo>
                    <a:pt x="19215" y="4350"/>
                    <a:pt x="19215" y="4350"/>
                    <a:pt x="19215" y="4350"/>
                  </a:cubicBezTo>
                  <a:cubicBezTo>
                    <a:pt x="19281" y="4200"/>
                    <a:pt x="19281" y="4200"/>
                    <a:pt x="19281" y="4200"/>
                  </a:cubicBezTo>
                  <a:cubicBezTo>
                    <a:pt x="19480" y="3900"/>
                    <a:pt x="19480" y="3900"/>
                    <a:pt x="19480" y="3900"/>
                  </a:cubicBezTo>
                  <a:cubicBezTo>
                    <a:pt x="19546" y="3900"/>
                    <a:pt x="19546" y="3900"/>
                    <a:pt x="19546" y="3900"/>
                  </a:cubicBezTo>
                  <a:cubicBezTo>
                    <a:pt x="19811" y="3600"/>
                    <a:pt x="19811" y="3600"/>
                    <a:pt x="19811" y="3600"/>
                  </a:cubicBezTo>
                  <a:cubicBezTo>
                    <a:pt x="19877" y="3300"/>
                    <a:pt x="19877" y="3300"/>
                    <a:pt x="19877" y="3300"/>
                  </a:cubicBezTo>
                  <a:cubicBezTo>
                    <a:pt x="20209" y="3300"/>
                    <a:pt x="20209" y="3300"/>
                    <a:pt x="20209" y="3300"/>
                  </a:cubicBezTo>
                  <a:cubicBezTo>
                    <a:pt x="20275" y="2850"/>
                    <a:pt x="20275" y="2850"/>
                    <a:pt x="20275" y="2850"/>
                  </a:cubicBezTo>
                  <a:cubicBezTo>
                    <a:pt x="20341" y="2700"/>
                    <a:pt x="20341" y="2700"/>
                    <a:pt x="20341" y="2700"/>
                  </a:cubicBezTo>
                  <a:cubicBezTo>
                    <a:pt x="20341" y="2700"/>
                    <a:pt x="20275" y="2550"/>
                    <a:pt x="20275" y="2400"/>
                  </a:cubicBezTo>
                  <a:cubicBezTo>
                    <a:pt x="20209" y="2400"/>
                    <a:pt x="20209" y="2400"/>
                    <a:pt x="20209" y="2400"/>
                  </a:cubicBezTo>
                  <a:cubicBezTo>
                    <a:pt x="20076" y="1950"/>
                    <a:pt x="20076" y="1950"/>
                    <a:pt x="20076" y="1950"/>
                  </a:cubicBezTo>
                  <a:cubicBezTo>
                    <a:pt x="20076" y="1800"/>
                    <a:pt x="20076" y="1800"/>
                    <a:pt x="20076" y="1800"/>
                  </a:cubicBezTo>
                  <a:cubicBezTo>
                    <a:pt x="20142" y="1800"/>
                    <a:pt x="20142" y="1800"/>
                    <a:pt x="20142" y="1800"/>
                  </a:cubicBezTo>
                  <a:cubicBezTo>
                    <a:pt x="20474" y="2100"/>
                    <a:pt x="20474" y="2100"/>
                    <a:pt x="20474" y="2100"/>
                  </a:cubicBezTo>
                  <a:cubicBezTo>
                    <a:pt x="20672" y="2100"/>
                    <a:pt x="20672" y="2100"/>
                    <a:pt x="20672" y="2100"/>
                  </a:cubicBezTo>
                  <a:cubicBezTo>
                    <a:pt x="20672" y="1650"/>
                    <a:pt x="20672" y="1650"/>
                    <a:pt x="20672" y="1650"/>
                  </a:cubicBezTo>
                  <a:cubicBezTo>
                    <a:pt x="20474" y="1050"/>
                    <a:pt x="20474" y="1050"/>
                    <a:pt x="20474" y="1050"/>
                  </a:cubicBezTo>
                  <a:cubicBezTo>
                    <a:pt x="20407" y="600"/>
                    <a:pt x="20407" y="600"/>
                    <a:pt x="20407" y="600"/>
                  </a:cubicBezTo>
                  <a:cubicBezTo>
                    <a:pt x="20209" y="0"/>
                    <a:pt x="20209" y="0"/>
                    <a:pt x="20209" y="0"/>
                  </a:cubicBezTo>
                  <a:cubicBezTo>
                    <a:pt x="14444" y="2700"/>
                    <a:pt x="14444" y="2700"/>
                    <a:pt x="14444" y="2700"/>
                  </a:cubicBezTo>
                  <a:cubicBezTo>
                    <a:pt x="10270" y="4200"/>
                    <a:pt x="10270" y="4200"/>
                    <a:pt x="10270" y="4200"/>
                  </a:cubicBezTo>
                  <a:cubicBezTo>
                    <a:pt x="6228" y="5250"/>
                    <a:pt x="6228" y="5250"/>
                    <a:pt x="6228" y="5250"/>
                  </a:cubicBezTo>
                  <a:cubicBezTo>
                    <a:pt x="6228" y="7050"/>
                    <a:pt x="6228" y="7050"/>
                    <a:pt x="6228" y="7050"/>
                  </a:cubicBezTo>
                  <a:cubicBezTo>
                    <a:pt x="6162" y="7050"/>
                    <a:pt x="6162" y="7050"/>
                    <a:pt x="6162" y="7050"/>
                  </a:cubicBezTo>
                  <a:cubicBezTo>
                    <a:pt x="5897" y="7350"/>
                    <a:pt x="5897" y="7350"/>
                    <a:pt x="5897" y="7350"/>
                  </a:cubicBezTo>
                  <a:cubicBezTo>
                    <a:pt x="5698" y="8100"/>
                    <a:pt x="5698" y="8100"/>
                    <a:pt x="5698" y="8100"/>
                  </a:cubicBezTo>
                  <a:cubicBezTo>
                    <a:pt x="5632" y="8700"/>
                    <a:pt x="5632" y="8700"/>
                    <a:pt x="5632" y="8700"/>
                  </a:cubicBezTo>
                  <a:cubicBezTo>
                    <a:pt x="4903" y="9000"/>
                    <a:pt x="4903" y="9000"/>
                    <a:pt x="4903" y="9000"/>
                  </a:cubicBezTo>
                  <a:cubicBezTo>
                    <a:pt x="4572" y="9900"/>
                    <a:pt x="4572" y="9900"/>
                    <a:pt x="4572" y="9900"/>
                  </a:cubicBezTo>
                  <a:cubicBezTo>
                    <a:pt x="4307" y="10500"/>
                    <a:pt x="4307" y="10500"/>
                    <a:pt x="4307" y="10500"/>
                  </a:cubicBezTo>
                  <a:cubicBezTo>
                    <a:pt x="4108" y="9900"/>
                    <a:pt x="4108" y="9900"/>
                    <a:pt x="4108" y="9900"/>
                  </a:cubicBezTo>
                  <a:cubicBezTo>
                    <a:pt x="3909" y="9900"/>
                    <a:pt x="3909" y="9900"/>
                    <a:pt x="3909" y="9900"/>
                  </a:cubicBezTo>
                  <a:cubicBezTo>
                    <a:pt x="3644" y="10800"/>
                    <a:pt x="3644" y="10800"/>
                    <a:pt x="3644" y="10800"/>
                  </a:cubicBezTo>
                  <a:cubicBezTo>
                    <a:pt x="3512" y="11400"/>
                    <a:pt x="3512" y="11400"/>
                    <a:pt x="3512" y="11400"/>
                  </a:cubicBezTo>
                  <a:cubicBezTo>
                    <a:pt x="3180" y="11850"/>
                    <a:pt x="3180" y="11850"/>
                    <a:pt x="3180" y="11850"/>
                  </a:cubicBezTo>
                  <a:cubicBezTo>
                    <a:pt x="928" y="14850"/>
                    <a:pt x="928" y="14850"/>
                    <a:pt x="928" y="14850"/>
                  </a:cubicBezTo>
                  <a:cubicBezTo>
                    <a:pt x="729" y="15450"/>
                    <a:pt x="729" y="15450"/>
                    <a:pt x="729" y="15450"/>
                  </a:cubicBezTo>
                  <a:cubicBezTo>
                    <a:pt x="795" y="16050"/>
                    <a:pt x="795" y="16050"/>
                    <a:pt x="795" y="16050"/>
                  </a:cubicBezTo>
                  <a:cubicBezTo>
                    <a:pt x="530" y="16500"/>
                    <a:pt x="530" y="16500"/>
                    <a:pt x="530" y="16500"/>
                  </a:cubicBezTo>
                  <a:cubicBezTo>
                    <a:pt x="331" y="16500"/>
                    <a:pt x="331" y="16500"/>
                    <a:pt x="331" y="16500"/>
                  </a:cubicBezTo>
                  <a:cubicBezTo>
                    <a:pt x="66" y="17100"/>
                    <a:pt x="66" y="17100"/>
                    <a:pt x="66" y="17100"/>
                  </a:cubicBezTo>
                  <a:cubicBezTo>
                    <a:pt x="66" y="17550"/>
                    <a:pt x="66" y="17550"/>
                    <a:pt x="66" y="17550"/>
                  </a:cubicBezTo>
                  <a:cubicBezTo>
                    <a:pt x="0" y="18450"/>
                    <a:pt x="0" y="18450"/>
                    <a:pt x="0" y="18450"/>
                  </a:cubicBezTo>
                  <a:cubicBezTo>
                    <a:pt x="0" y="18600"/>
                    <a:pt x="0" y="18600"/>
                    <a:pt x="0" y="18600"/>
                  </a:cubicBezTo>
                  <a:cubicBezTo>
                    <a:pt x="0" y="18600"/>
                    <a:pt x="0" y="18600"/>
                    <a:pt x="0" y="18600"/>
                  </a:cubicBezTo>
                  <a:cubicBezTo>
                    <a:pt x="3710" y="17700"/>
                    <a:pt x="3710" y="17700"/>
                    <a:pt x="3710" y="17700"/>
                  </a:cubicBezTo>
                  <a:cubicBezTo>
                    <a:pt x="4837" y="15750"/>
                    <a:pt x="4837" y="15750"/>
                    <a:pt x="4837" y="15750"/>
                  </a:cubicBezTo>
                  <a:cubicBezTo>
                    <a:pt x="5499" y="15600"/>
                    <a:pt x="5499" y="15600"/>
                    <a:pt x="5499" y="15600"/>
                  </a:cubicBezTo>
                  <a:cubicBezTo>
                    <a:pt x="5963" y="15600"/>
                    <a:pt x="5963" y="15600"/>
                    <a:pt x="5963" y="15600"/>
                  </a:cubicBezTo>
                  <a:cubicBezTo>
                    <a:pt x="6758" y="15900"/>
                    <a:pt x="6758" y="15900"/>
                    <a:pt x="6758" y="15900"/>
                  </a:cubicBezTo>
                  <a:cubicBezTo>
                    <a:pt x="7156" y="15750"/>
                    <a:pt x="7156" y="15750"/>
                    <a:pt x="7156" y="15750"/>
                  </a:cubicBezTo>
                  <a:cubicBezTo>
                    <a:pt x="7355" y="15600"/>
                    <a:pt x="7355" y="15600"/>
                    <a:pt x="7355" y="15600"/>
                  </a:cubicBezTo>
                  <a:cubicBezTo>
                    <a:pt x="7686" y="15150"/>
                    <a:pt x="7686" y="15150"/>
                    <a:pt x="7686" y="15150"/>
                  </a:cubicBezTo>
                  <a:cubicBezTo>
                    <a:pt x="8150" y="15000"/>
                    <a:pt x="8150" y="15000"/>
                    <a:pt x="8150" y="15000"/>
                  </a:cubicBezTo>
                  <a:cubicBezTo>
                    <a:pt x="8746" y="15150"/>
                    <a:pt x="8746" y="15150"/>
                    <a:pt x="8746" y="15150"/>
                  </a:cubicBezTo>
                  <a:cubicBezTo>
                    <a:pt x="9144" y="15600"/>
                    <a:pt x="9144" y="15600"/>
                    <a:pt x="9144" y="15600"/>
                  </a:cubicBezTo>
                  <a:cubicBezTo>
                    <a:pt x="9409" y="17100"/>
                    <a:pt x="9409" y="17100"/>
                    <a:pt x="9409" y="17100"/>
                  </a:cubicBezTo>
                  <a:cubicBezTo>
                    <a:pt x="12059" y="15900"/>
                    <a:pt x="12059" y="15900"/>
                    <a:pt x="12059" y="15900"/>
                  </a:cubicBezTo>
                  <a:cubicBezTo>
                    <a:pt x="15504" y="21600"/>
                    <a:pt x="15504" y="21600"/>
                    <a:pt x="15504" y="21600"/>
                  </a:cubicBezTo>
                  <a:cubicBezTo>
                    <a:pt x="16101" y="21000"/>
                    <a:pt x="16101" y="21000"/>
                    <a:pt x="16101" y="21000"/>
                  </a:cubicBezTo>
                  <a:cubicBezTo>
                    <a:pt x="16233" y="21000"/>
                    <a:pt x="16233" y="21000"/>
                    <a:pt x="16233" y="21000"/>
                  </a:cubicBezTo>
                  <a:cubicBezTo>
                    <a:pt x="16829" y="20850"/>
                    <a:pt x="16829" y="20850"/>
                    <a:pt x="16829" y="20850"/>
                  </a:cubicBezTo>
                  <a:cubicBezTo>
                    <a:pt x="16962" y="20400"/>
                    <a:pt x="16962" y="20400"/>
                    <a:pt x="16962" y="20400"/>
                  </a:cubicBezTo>
                  <a:cubicBezTo>
                    <a:pt x="17161" y="19950"/>
                    <a:pt x="17161" y="19950"/>
                    <a:pt x="17161" y="19950"/>
                  </a:cubicBezTo>
                  <a:cubicBezTo>
                    <a:pt x="17227" y="18600"/>
                    <a:pt x="17227" y="18600"/>
                    <a:pt x="17227" y="18600"/>
                  </a:cubicBezTo>
                  <a:cubicBezTo>
                    <a:pt x="17426" y="17550"/>
                    <a:pt x="17426" y="17550"/>
                    <a:pt x="17426" y="17550"/>
                  </a:cubicBezTo>
                  <a:cubicBezTo>
                    <a:pt x="17691" y="16650"/>
                    <a:pt x="17691" y="16650"/>
                    <a:pt x="17691" y="16650"/>
                  </a:cubicBezTo>
                  <a:cubicBezTo>
                    <a:pt x="17956" y="16200"/>
                    <a:pt x="17956" y="16200"/>
                    <a:pt x="17956" y="16200"/>
                  </a:cubicBezTo>
                  <a:cubicBezTo>
                    <a:pt x="17956" y="15900"/>
                    <a:pt x="17956" y="15900"/>
                    <a:pt x="17956" y="15900"/>
                  </a:cubicBezTo>
                  <a:cubicBezTo>
                    <a:pt x="17890" y="15450"/>
                    <a:pt x="17890" y="15450"/>
                    <a:pt x="17890" y="15450"/>
                  </a:cubicBezTo>
                  <a:cubicBezTo>
                    <a:pt x="17823" y="15150"/>
                    <a:pt x="17823" y="15150"/>
                    <a:pt x="17823" y="15150"/>
                  </a:cubicBezTo>
                  <a:cubicBezTo>
                    <a:pt x="17890" y="15000"/>
                    <a:pt x="17890" y="15000"/>
                    <a:pt x="17890" y="15000"/>
                  </a:cubicBezTo>
                  <a:cubicBezTo>
                    <a:pt x="17890" y="14700"/>
                    <a:pt x="17890" y="14700"/>
                    <a:pt x="17890" y="14700"/>
                  </a:cubicBezTo>
                  <a:cubicBezTo>
                    <a:pt x="17956" y="14550"/>
                    <a:pt x="17956" y="14550"/>
                    <a:pt x="17956" y="14550"/>
                  </a:cubicBezTo>
                  <a:cubicBezTo>
                    <a:pt x="18022" y="14550"/>
                    <a:pt x="18022" y="14550"/>
                    <a:pt x="18022" y="14550"/>
                  </a:cubicBezTo>
                  <a:cubicBezTo>
                    <a:pt x="18088" y="14700"/>
                    <a:pt x="18088" y="14700"/>
                    <a:pt x="18088" y="14700"/>
                  </a:cubicBezTo>
                  <a:cubicBezTo>
                    <a:pt x="18155" y="15300"/>
                    <a:pt x="18155" y="15300"/>
                    <a:pt x="18155" y="15300"/>
                  </a:cubicBezTo>
                  <a:cubicBezTo>
                    <a:pt x="18420" y="15000"/>
                    <a:pt x="18420" y="15000"/>
                    <a:pt x="18420" y="15000"/>
                  </a:cubicBezTo>
                  <a:cubicBezTo>
                    <a:pt x="18618" y="14850"/>
                    <a:pt x="18618" y="14850"/>
                    <a:pt x="18618" y="14850"/>
                  </a:cubicBezTo>
                  <a:cubicBezTo>
                    <a:pt x="18618" y="14550"/>
                    <a:pt x="18618" y="14550"/>
                    <a:pt x="18618" y="14550"/>
                  </a:cubicBezTo>
                  <a:cubicBezTo>
                    <a:pt x="18618" y="14250"/>
                    <a:pt x="18618" y="14250"/>
                    <a:pt x="18618" y="14250"/>
                  </a:cubicBezTo>
                  <a:cubicBezTo>
                    <a:pt x="18751" y="14100"/>
                    <a:pt x="18751" y="14100"/>
                    <a:pt x="18751" y="14100"/>
                  </a:cubicBezTo>
                  <a:cubicBezTo>
                    <a:pt x="18751" y="13950"/>
                    <a:pt x="18751" y="13950"/>
                    <a:pt x="18751" y="13950"/>
                  </a:cubicBezTo>
                  <a:cubicBezTo>
                    <a:pt x="18883" y="14250"/>
                    <a:pt x="18883" y="14250"/>
                    <a:pt x="18883" y="14250"/>
                  </a:cubicBezTo>
                  <a:cubicBezTo>
                    <a:pt x="19215" y="13950"/>
                    <a:pt x="19215" y="13950"/>
                    <a:pt x="19215" y="13950"/>
                  </a:cubicBezTo>
                  <a:cubicBezTo>
                    <a:pt x="19480" y="13650"/>
                    <a:pt x="19480" y="13650"/>
                    <a:pt x="19480" y="13650"/>
                  </a:cubicBezTo>
                  <a:cubicBezTo>
                    <a:pt x="19612" y="13650"/>
                    <a:pt x="19612" y="13650"/>
                    <a:pt x="19612" y="13650"/>
                  </a:cubicBezTo>
                  <a:cubicBezTo>
                    <a:pt x="19811" y="13350"/>
                    <a:pt x="19811" y="13350"/>
                    <a:pt x="19811" y="13350"/>
                  </a:cubicBezTo>
                  <a:cubicBezTo>
                    <a:pt x="19944" y="13200"/>
                    <a:pt x="19944" y="13200"/>
                    <a:pt x="19944" y="13200"/>
                  </a:cubicBezTo>
                  <a:cubicBezTo>
                    <a:pt x="19944" y="13050"/>
                    <a:pt x="19944" y="13050"/>
                    <a:pt x="19944" y="13050"/>
                  </a:cubicBezTo>
                  <a:cubicBezTo>
                    <a:pt x="20209" y="13500"/>
                    <a:pt x="20209" y="13500"/>
                    <a:pt x="20209" y="13500"/>
                  </a:cubicBezTo>
                  <a:cubicBezTo>
                    <a:pt x="20341" y="12900"/>
                    <a:pt x="20341" y="12900"/>
                    <a:pt x="20341" y="12900"/>
                  </a:cubicBezTo>
                  <a:cubicBezTo>
                    <a:pt x="20407" y="12150"/>
                    <a:pt x="20407" y="12150"/>
                    <a:pt x="20407" y="12150"/>
                  </a:cubicBezTo>
                  <a:cubicBezTo>
                    <a:pt x="20474" y="11850"/>
                    <a:pt x="20474" y="11850"/>
                    <a:pt x="20474" y="11850"/>
                  </a:cubicBezTo>
                  <a:cubicBezTo>
                    <a:pt x="20540" y="11550"/>
                    <a:pt x="20540" y="11550"/>
                    <a:pt x="20540" y="11550"/>
                  </a:cubicBezTo>
                  <a:cubicBezTo>
                    <a:pt x="20540" y="11550"/>
                    <a:pt x="20474" y="11100"/>
                    <a:pt x="20407" y="11250"/>
                  </a:cubicBezTo>
                  <a:cubicBezTo>
                    <a:pt x="20341" y="11250"/>
                    <a:pt x="20142" y="11400"/>
                    <a:pt x="20142" y="11400"/>
                  </a:cubicBezTo>
                  <a:cubicBezTo>
                    <a:pt x="20076" y="11700"/>
                    <a:pt x="20076" y="11700"/>
                    <a:pt x="20076" y="11700"/>
                  </a:cubicBezTo>
                  <a:cubicBezTo>
                    <a:pt x="19944" y="11700"/>
                    <a:pt x="19944" y="11700"/>
                    <a:pt x="19944" y="11700"/>
                  </a:cubicBezTo>
                  <a:cubicBezTo>
                    <a:pt x="19811" y="12000"/>
                    <a:pt x="19811" y="12000"/>
                    <a:pt x="19811" y="12000"/>
                  </a:cubicBezTo>
                  <a:cubicBezTo>
                    <a:pt x="19480" y="12450"/>
                    <a:pt x="19480" y="12450"/>
                    <a:pt x="19480" y="12450"/>
                  </a:cubicBezTo>
                  <a:cubicBezTo>
                    <a:pt x="19281" y="12450"/>
                    <a:pt x="19281" y="12450"/>
                    <a:pt x="19281" y="12450"/>
                  </a:cubicBezTo>
                  <a:cubicBezTo>
                    <a:pt x="18751" y="12150"/>
                    <a:pt x="18751" y="12150"/>
                    <a:pt x="18751" y="12150"/>
                  </a:cubicBezTo>
                  <a:cubicBezTo>
                    <a:pt x="18751" y="11850"/>
                    <a:pt x="18751" y="11850"/>
                    <a:pt x="18751" y="11850"/>
                  </a:cubicBezTo>
                  <a:cubicBezTo>
                    <a:pt x="18751" y="11550"/>
                    <a:pt x="18751" y="11550"/>
                    <a:pt x="18751" y="11550"/>
                  </a:cubicBezTo>
                  <a:cubicBezTo>
                    <a:pt x="18817" y="11400"/>
                    <a:pt x="18817" y="11400"/>
                    <a:pt x="18817" y="11400"/>
                  </a:cubicBezTo>
                  <a:cubicBezTo>
                    <a:pt x="18950" y="11400"/>
                    <a:pt x="18950" y="11400"/>
                    <a:pt x="18950" y="11400"/>
                  </a:cubicBezTo>
                  <a:cubicBezTo>
                    <a:pt x="19082" y="11550"/>
                    <a:pt x="19082" y="11550"/>
                    <a:pt x="19082" y="11550"/>
                  </a:cubicBezTo>
                  <a:cubicBezTo>
                    <a:pt x="19413" y="11550"/>
                    <a:pt x="19413" y="11550"/>
                    <a:pt x="19413" y="11550"/>
                  </a:cubicBezTo>
                  <a:cubicBezTo>
                    <a:pt x="19612" y="11250"/>
                    <a:pt x="19612" y="11250"/>
                    <a:pt x="19612" y="11250"/>
                  </a:cubicBezTo>
                  <a:cubicBezTo>
                    <a:pt x="19612" y="10950"/>
                    <a:pt x="19612" y="10950"/>
                    <a:pt x="19612" y="10950"/>
                  </a:cubicBezTo>
                  <a:cubicBezTo>
                    <a:pt x="19546" y="10650"/>
                    <a:pt x="19546" y="10650"/>
                    <a:pt x="19546" y="10650"/>
                  </a:cubicBezTo>
                  <a:cubicBezTo>
                    <a:pt x="19612" y="10200"/>
                    <a:pt x="19612" y="10200"/>
                    <a:pt x="19612" y="10200"/>
                  </a:cubicBezTo>
                  <a:cubicBezTo>
                    <a:pt x="19679" y="10200"/>
                    <a:pt x="19679" y="10200"/>
                    <a:pt x="19679" y="10200"/>
                  </a:cubicBezTo>
                  <a:cubicBezTo>
                    <a:pt x="19811" y="9900"/>
                    <a:pt x="19811" y="9900"/>
                    <a:pt x="19811" y="9900"/>
                  </a:cubicBezTo>
                  <a:cubicBezTo>
                    <a:pt x="19811" y="9600"/>
                    <a:pt x="19811" y="9600"/>
                    <a:pt x="19811" y="9600"/>
                  </a:cubicBezTo>
                  <a:cubicBezTo>
                    <a:pt x="19612" y="9600"/>
                    <a:pt x="19612" y="9600"/>
                    <a:pt x="19612" y="9600"/>
                  </a:cubicBezTo>
                  <a:cubicBezTo>
                    <a:pt x="19215" y="9150"/>
                    <a:pt x="19215" y="9150"/>
                    <a:pt x="19215" y="9150"/>
                  </a:cubicBezTo>
                  <a:cubicBezTo>
                    <a:pt x="18751" y="9000"/>
                    <a:pt x="18751" y="9000"/>
                    <a:pt x="18751" y="9000"/>
                  </a:cubicBezTo>
                  <a:cubicBezTo>
                    <a:pt x="18552" y="8700"/>
                    <a:pt x="18552" y="8700"/>
                    <a:pt x="18552" y="8700"/>
                  </a:cubicBezTo>
                  <a:cubicBezTo>
                    <a:pt x="18552" y="8550"/>
                    <a:pt x="18552" y="8550"/>
                    <a:pt x="18552" y="8550"/>
                  </a:cubicBezTo>
                  <a:cubicBezTo>
                    <a:pt x="18817" y="8550"/>
                    <a:pt x="18817" y="8550"/>
                    <a:pt x="18817" y="8550"/>
                  </a:cubicBezTo>
                  <a:cubicBezTo>
                    <a:pt x="19215" y="8550"/>
                    <a:pt x="19215" y="8550"/>
                    <a:pt x="19215" y="8550"/>
                  </a:cubicBezTo>
                  <a:cubicBezTo>
                    <a:pt x="19480" y="8850"/>
                    <a:pt x="19480" y="8850"/>
                    <a:pt x="19480" y="8850"/>
                  </a:cubicBezTo>
                  <a:cubicBezTo>
                    <a:pt x="19546" y="8550"/>
                    <a:pt x="19546" y="8550"/>
                    <a:pt x="19546" y="8550"/>
                  </a:cubicBezTo>
                  <a:cubicBezTo>
                    <a:pt x="19480" y="8250"/>
                    <a:pt x="19480" y="8250"/>
                    <a:pt x="19480" y="8250"/>
                  </a:cubicBezTo>
                  <a:cubicBezTo>
                    <a:pt x="19413" y="8100"/>
                    <a:pt x="19413" y="8100"/>
                    <a:pt x="19413" y="8100"/>
                  </a:cubicBezTo>
                  <a:cubicBezTo>
                    <a:pt x="19347" y="7800"/>
                    <a:pt x="19347" y="7800"/>
                    <a:pt x="19347" y="7800"/>
                  </a:cubicBezTo>
                  <a:cubicBezTo>
                    <a:pt x="19480" y="7650"/>
                    <a:pt x="19480" y="7650"/>
                    <a:pt x="19480" y="7650"/>
                  </a:cubicBezTo>
                  <a:cubicBezTo>
                    <a:pt x="19679" y="7650"/>
                    <a:pt x="19679" y="7650"/>
                    <a:pt x="19679" y="7650"/>
                  </a:cubicBezTo>
                  <a:cubicBezTo>
                    <a:pt x="19745" y="8400"/>
                    <a:pt x="19745" y="8400"/>
                    <a:pt x="19745" y="8400"/>
                  </a:cubicBezTo>
                  <a:cubicBezTo>
                    <a:pt x="19877" y="8700"/>
                    <a:pt x="19877" y="8700"/>
                    <a:pt x="19877" y="8700"/>
                  </a:cubicBezTo>
                  <a:cubicBezTo>
                    <a:pt x="20076" y="8700"/>
                    <a:pt x="20076" y="8700"/>
                    <a:pt x="20076" y="8700"/>
                  </a:cubicBezTo>
                  <a:cubicBezTo>
                    <a:pt x="20142" y="8550"/>
                    <a:pt x="20142" y="8550"/>
                    <a:pt x="20142" y="8550"/>
                  </a:cubicBezTo>
                  <a:cubicBezTo>
                    <a:pt x="20275" y="8700"/>
                    <a:pt x="20275" y="8700"/>
                    <a:pt x="20275" y="8700"/>
                  </a:cubicBezTo>
                  <a:cubicBezTo>
                    <a:pt x="20540" y="8700"/>
                    <a:pt x="20540" y="8700"/>
                    <a:pt x="20540" y="8700"/>
                  </a:cubicBezTo>
                  <a:cubicBezTo>
                    <a:pt x="20937" y="8700"/>
                    <a:pt x="20937" y="8700"/>
                    <a:pt x="20937" y="8700"/>
                  </a:cubicBezTo>
                  <a:cubicBezTo>
                    <a:pt x="21004" y="8550"/>
                    <a:pt x="21004" y="8550"/>
                    <a:pt x="21004" y="8550"/>
                  </a:cubicBezTo>
                  <a:cubicBezTo>
                    <a:pt x="21004" y="7950"/>
                    <a:pt x="21004" y="7950"/>
                    <a:pt x="21004" y="7950"/>
                  </a:cubicBezTo>
                  <a:cubicBezTo>
                    <a:pt x="21070" y="7650"/>
                    <a:pt x="21070" y="7650"/>
                    <a:pt x="21070" y="7650"/>
                  </a:cubicBezTo>
                  <a:cubicBezTo>
                    <a:pt x="21136" y="7200"/>
                    <a:pt x="21136" y="7200"/>
                    <a:pt x="21136" y="7200"/>
                  </a:cubicBezTo>
                  <a:cubicBezTo>
                    <a:pt x="21136" y="6900"/>
                    <a:pt x="21136" y="6900"/>
                    <a:pt x="21136" y="6900"/>
                  </a:cubicBezTo>
                  <a:cubicBezTo>
                    <a:pt x="21202" y="6300"/>
                    <a:pt x="21202" y="6300"/>
                    <a:pt x="21202" y="6300"/>
                  </a:cubicBezTo>
                  <a:cubicBezTo>
                    <a:pt x="21335" y="6300"/>
                    <a:pt x="21335" y="6300"/>
                    <a:pt x="21335" y="6300"/>
                  </a:cubicBezTo>
                  <a:cubicBezTo>
                    <a:pt x="21401" y="6600"/>
                    <a:pt x="21401" y="6600"/>
                    <a:pt x="21401" y="6600"/>
                  </a:cubicBezTo>
                  <a:cubicBezTo>
                    <a:pt x="21534" y="6300"/>
                    <a:pt x="21534" y="6300"/>
                    <a:pt x="21534" y="6300"/>
                  </a:cubicBezTo>
                  <a:cubicBezTo>
                    <a:pt x="21534" y="5850"/>
                    <a:pt x="21534" y="5850"/>
                    <a:pt x="21534" y="5850"/>
                  </a:cubicBezTo>
                  <a:cubicBezTo>
                    <a:pt x="21600" y="5550"/>
                    <a:pt x="21600" y="5550"/>
                    <a:pt x="21600" y="5550"/>
                  </a:cubicBezTo>
                  <a:lnTo>
                    <a:pt x="21467" y="51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 name="Shape 2313">
              <a:extLst>
                <a:ext uri="{FF2B5EF4-FFF2-40B4-BE49-F238E27FC236}">
                  <a16:creationId xmlns:a16="http://schemas.microsoft.com/office/drawing/2014/main" id="{B61989C7-9DC8-D9BB-7B15-90739677EE1E}"/>
                </a:ext>
              </a:extLst>
            </p:cNvPr>
            <p:cNvSpPr/>
            <p:nvPr/>
          </p:nvSpPr>
          <p:spPr>
            <a:xfrm>
              <a:off x="7219111" y="3785492"/>
              <a:ext cx="977762" cy="1052808"/>
            </a:xfrm>
            <a:custGeom>
              <a:avLst/>
              <a:gdLst/>
              <a:ahLst/>
              <a:cxnLst>
                <a:cxn ang="0">
                  <a:pos x="wd2" y="hd2"/>
                </a:cxn>
                <a:cxn ang="5400000">
                  <a:pos x="wd2" y="hd2"/>
                </a:cxn>
                <a:cxn ang="10800000">
                  <a:pos x="wd2" y="hd2"/>
                </a:cxn>
                <a:cxn ang="16200000">
                  <a:pos x="wd2" y="hd2"/>
                </a:cxn>
              </a:cxnLst>
              <a:rect l="0" t="0" r="r" b="b"/>
              <a:pathLst>
                <a:path w="21600" h="21600" extrusionOk="0">
                  <a:moveTo>
                    <a:pt x="21278" y="12800"/>
                  </a:moveTo>
                  <a:cubicBezTo>
                    <a:pt x="21063" y="12700"/>
                    <a:pt x="21063" y="12700"/>
                    <a:pt x="21063" y="12700"/>
                  </a:cubicBezTo>
                  <a:cubicBezTo>
                    <a:pt x="20955" y="12400"/>
                    <a:pt x="20955" y="12400"/>
                    <a:pt x="20955" y="12400"/>
                  </a:cubicBezTo>
                  <a:cubicBezTo>
                    <a:pt x="20955" y="12000"/>
                    <a:pt x="20955" y="12000"/>
                    <a:pt x="20955" y="12000"/>
                  </a:cubicBezTo>
                  <a:cubicBezTo>
                    <a:pt x="20955" y="11900"/>
                    <a:pt x="20955" y="11900"/>
                    <a:pt x="20955" y="11900"/>
                  </a:cubicBezTo>
                  <a:cubicBezTo>
                    <a:pt x="20525" y="11500"/>
                    <a:pt x="20525" y="11500"/>
                    <a:pt x="20525" y="11500"/>
                  </a:cubicBezTo>
                  <a:cubicBezTo>
                    <a:pt x="20418" y="11200"/>
                    <a:pt x="20418" y="11200"/>
                    <a:pt x="20418" y="11200"/>
                  </a:cubicBezTo>
                  <a:cubicBezTo>
                    <a:pt x="20418" y="11000"/>
                    <a:pt x="20418" y="11000"/>
                    <a:pt x="20418" y="11000"/>
                  </a:cubicBezTo>
                  <a:cubicBezTo>
                    <a:pt x="20418" y="10900"/>
                    <a:pt x="20418" y="10900"/>
                    <a:pt x="20418" y="10900"/>
                  </a:cubicBezTo>
                  <a:cubicBezTo>
                    <a:pt x="20096" y="10700"/>
                    <a:pt x="20096" y="10700"/>
                    <a:pt x="20096" y="10700"/>
                  </a:cubicBezTo>
                  <a:cubicBezTo>
                    <a:pt x="19773" y="10600"/>
                    <a:pt x="19773" y="10600"/>
                    <a:pt x="19773" y="10600"/>
                  </a:cubicBezTo>
                  <a:cubicBezTo>
                    <a:pt x="19666" y="10600"/>
                    <a:pt x="19666" y="10600"/>
                    <a:pt x="19666" y="10600"/>
                  </a:cubicBezTo>
                  <a:cubicBezTo>
                    <a:pt x="19558" y="10400"/>
                    <a:pt x="19558" y="10400"/>
                    <a:pt x="19558" y="10400"/>
                  </a:cubicBezTo>
                  <a:cubicBezTo>
                    <a:pt x="19451" y="10100"/>
                    <a:pt x="19451" y="10100"/>
                    <a:pt x="19451" y="10100"/>
                  </a:cubicBezTo>
                  <a:cubicBezTo>
                    <a:pt x="19451" y="9900"/>
                    <a:pt x="19451" y="9900"/>
                    <a:pt x="19451" y="9900"/>
                  </a:cubicBezTo>
                  <a:cubicBezTo>
                    <a:pt x="19236" y="9600"/>
                    <a:pt x="19236" y="9600"/>
                    <a:pt x="19236" y="9600"/>
                  </a:cubicBezTo>
                  <a:cubicBezTo>
                    <a:pt x="18913" y="9100"/>
                    <a:pt x="18913" y="9100"/>
                    <a:pt x="18913" y="9100"/>
                  </a:cubicBezTo>
                  <a:cubicBezTo>
                    <a:pt x="18699" y="8900"/>
                    <a:pt x="18699" y="8900"/>
                    <a:pt x="18699" y="8900"/>
                  </a:cubicBezTo>
                  <a:cubicBezTo>
                    <a:pt x="18376" y="8700"/>
                    <a:pt x="18376" y="8700"/>
                    <a:pt x="18376" y="8700"/>
                  </a:cubicBezTo>
                  <a:cubicBezTo>
                    <a:pt x="18054" y="8400"/>
                    <a:pt x="18054" y="8400"/>
                    <a:pt x="18054" y="8400"/>
                  </a:cubicBezTo>
                  <a:cubicBezTo>
                    <a:pt x="17731" y="8100"/>
                    <a:pt x="17731" y="8100"/>
                    <a:pt x="17731" y="8100"/>
                  </a:cubicBezTo>
                  <a:cubicBezTo>
                    <a:pt x="16979" y="7800"/>
                    <a:pt x="16979" y="7800"/>
                    <a:pt x="16979" y="7800"/>
                  </a:cubicBezTo>
                  <a:cubicBezTo>
                    <a:pt x="16442" y="7100"/>
                    <a:pt x="16442" y="7100"/>
                    <a:pt x="16442" y="7100"/>
                  </a:cubicBezTo>
                  <a:cubicBezTo>
                    <a:pt x="15797" y="6300"/>
                    <a:pt x="15797" y="6300"/>
                    <a:pt x="15797" y="6300"/>
                  </a:cubicBezTo>
                  <a:cubicBezTo>
                    <a:pt x="15260" y="5900"/>
                    <a:pt x="15260" y="5900"/>
                    <a:pt x="15260" y="5900"/>
                  </a:cubicBezTo>
                  <a:cubicBezTo>
                    <a:pt x="13540" y="4600"/>
                    <a:pt x="13540" y="4600"/>
                    <a:pt x="13540" y="4600"/>
                  </a:cubicBezTo>
                  <a:cubicBezTo>
                    <a:pt x="13003" y="4000"/>
                    <a:pt x="13003" y="4000"/>
                    <a:pt x="13003" y="4000"/>
                  </a:cubicBezTo>
                  <a:cubicBezTo>
                    <a:pt x="12466" y="3500"/>
                    <a:pt x="12466" y="3500"/>
                    <a:pt x="12466" y="3500"/>
                  </a:cubicBezTo>
                  <a:cubicBezTo>
                    <a:pt x="12251" y="3100"/>
                    <a:pt x="12251" y="3100"/>
                    <a:pt x="12251" y="3100"/>
                  </a:cubicBezTo>
                  <a:cubicBezTo>
                    <a:pt x="11928" y="2700"/>
                    <a:pt x="11928" y="2700"/>
                    <a:pt x="11928" y="2700"/>
                  </a:cubicBezTo>
                  <a:cubicBezTo>
                    <a:pt x="11606" y="2400"/>
                    <a:pt x="11606" y="2400"/>
                    <a:pt x="11606" y="2400"/>
                  </a:cubicBezTo>
                  <a:cubicBezTo>
                    <a:pt x="10316" y="1900"/>
                    <a:pt x="10316" y="1900"/>
                    <a:pt x="10316" y="1900"/>
                  </a:cubicBezTo>
                  <a:cubicBezTo>
                    <a:pt x="10101" y="1600"/>
                    <a:pt x="10101" y="1600"/>
                    <a:pt x="10101" y="1600"/>
                  </a:cubicBezTo>
                  <a:cubicBezTo>
                    <a:pt x="9887" y="1400"/>
                    <a:pt x="9887" y="1400"/>
                    <a:pt x="9887" y="1400"/>
                  </a:cubicBezTo>
                  <a:cubicBezTo>
                    <a:pt x="9887" y="1100"/>
                    <a:pt x="9887" y="1100"/>
                    <a:pt x="9887" y="1100"/>
                  </a:cubicBezTo>
                  <a:cubicBezTo>
                    <a:pt x="10424" y="800"/>
                    <a:pt x="10424" y="800"/>
                    <a:pt x="10424" y="800"/>
                  </a:cubicBezTo>
                  <a:cubicBezTo>
                    <a:pt x="10854" y="500"/>
                    <a:pt x="10854" y="500"/>
                    <a:pt x="10854" y="500"/>
                  </a:cubicBezTo>
                  <a:cubicBezTo>
                    <a:pt x="11069" y="400"/>
                    <a:pt x="11069" y="400"/>
                    <a:pt x="11069" y="400"/>
                  </a:cubicBezTo>
                  <a:cubicBezTo>
                    <a:pt x="11069" y="200"/>
                    <a:pt x="11069" y="200"/>
                    <a:pt x="11069" y="200"/>
                  </a:cubicBezTo>
                  <a:cubicBezTo>
                    <a:pt x="11176" y="0"/>
                    <a:pt x="11176" y="0"/>
                    <a:pt x="11176" y="0"/>
                  </a:cubicBezTo>
                  <a:cubicBezTo>
                    <a:pt x="11176" y="0"/>
                    <a:pt x="11176" y="0"/>
                    <a:pt x="11176" y="0"/>
                  </a:cubicBezTo>
                  <a:cubicBezTo>
                    <a:pt x="5158" y="600"/>
                    <a:pt x="5158" y="600"/>
                    <a:pt x="5158" y="600"/>
                  </a:cubicBezTo>
                  <a:cubicBezTo>
                    <a:pt x="5158" y="600"/>
                    <a:pt x="5158" y="600"/>
                    <a:pt x="5158" y="600"/>
                  </a:cubicBezTo>
                  <a:cubicBezTo>
                    <a:pt x="0" y="1000"/>
                    <a:pt x="0" y="1000"/>
                    <a:pt x="0" y="1000"/>
                  </a:cubicBezTo>
                  <a:cubicBezTo>
                    <a:pt x="322" y="2400"/>
                    <a:pt x="322" y="2400"/>
                    <a:pt x="322" y="2400"/>
                  </a:cubicBezTo>
                  <a:cubicBezTo>
                    <a:pt x="1182" y="5800"/>
                    <a:pt x="1182" y="5800"/>
                    <a:pt x="1182" y="5800"/>
                  </a:cubicBezTo>
                  <a:cubicBezTo>
                    <a:pt x="2472" y="9800"/>
                    <a:pt x="2472" y="9800"/>
                    <a:pt x="2472" y="9800"/>
                  </a:cubicBezTo>
                  <a:cubicBezTo>
                    <a:pt x="2687" y="10700"/>
                    <a:pt x="2687" y="10700"/>
                    <a:pt x="2687" y="10700"/>
                  </a:cubicBezTo>
                  <a:cubicBezTo>
                    <a:pt x="3546" y="12200"/>
                    <a:pt x="3546" y="12200"/>
                    <a:pt x="3546" y="12200"/>
                  </a:cubicBezTo>
                  <a:cubicBezTo>
                    <a:pt x="4084" y="12800"/>
                    <a:pt x="4084" y="12800"/>
                    <a:pt x="4084" y="12800"/>
                  </a:cubicBezTo>
                  <a:cubicBezTo>
                    <a:pt x="4084" y="13200"/>
                    <a:pt x="4084" y="13200"/>
                    <a:pt x="4084" y="13200"/>
                  </a:cubicBezTo>
                  <a:cubicBezTo>
                    <a:pt x="4191" y="13700"/>
                    <a:pt x="4191" y="13700"/>
                    <a:pt x="4191" y="13700"/>
                  </a:cubicBezTo>
                  <a:cubicBezTo>
                    <a:pt x="4513" y="13900"/>
                    <a:pt x="4513" y="13900"/>
                    <a:pt x="4513" y="13900"/>
                  </a:cubicBezTo>
                  <a:cubicBezTo>
                    <a:pt x="4299" y="14400"/>
                    <a:pt x="4299" y="14400"/>
                    <a:pt x="4299" y="14400"/>
                  </a:cubicBezTo>
                  <a:cubicBezTo>
                    <a:pt x="3761" y="14700"/>
                    <a:pt x="3761" y="14700"/>
                    <a:pt x="3761" y="14700"/>
                  </a:cubicBezTo>
                  <a:cubicBezTo>
                    <a:pt x="4191" y="15000"/>
                    <a:pt x="4191" y="15000"/>
                    <a:pt x="4191" y="15000"/>
                  </a:cubicBezTo>
                  <a:cubicBezTo>
                    <a:pt x="4084" y="15500"/>
                    <a:pt x="4084" y="15500"/>
                    <a:pt x="4084" y="15500"/>
                  </a:cubicBezTo>
                  <a:cubicBezTo>
                    <a:pt x="3761" y="15700"/>
                    <a:pt x="3761" y="15700"/>
                    <a:pt x="3761" y="15700"/>
                  </a:cubicBezTo>
                  <a:cubicBezTo>
                    <a:pt x="3761" y="16300"/>
                    <a:pt x="3761" y="16300"/>
                    <a:pt x="3761" y="16300"/>
                  </a:cubicBezTo>
                  <a:cubicBezTo>
                    <a:pt x="3976" y="17200"/>
                    <a:pt x="3976" y="17200"/>
                    <a:pt x="3976" y="17200"/>
                  </a:cubicBezTo>
                  <a:cubicBezTo>
                    <a:pt x="4191" y="17600"/>
                    <a:pt x="4191" y="17600"/>
                    <a:pt x="4191" y="17600"/>
                  </a:cubicBezTo>
                  <a:cubicBezTo>
                    <a:pt x="4299" y="18200"/>
                    <a:pt x="4299" y="18200"/>
                    <a:pt x="4299" y="18200"/>
                  </a:cubicBezTo>
                  <a:cubicBezTo>
                    <a:pt x="4084" y="18400"/>
                    <a:pt x="4084" y="18400"/>
                    <a:pt x="4084" y="18400"/>
                  </a:cubicBezTo>
                  <a:cubicBezTo>
                    <a:pt x="3976" y="18600"/>
                    <a:pt x="3976" y="18600"/>
                    <a:pt x="3976" y="18600"/>
                  </a:cubicBezTo>
                  <a:cubicBezTo>
                    <a:pt x="4191" y="19000"/>
                    <a:pt x="4191" y="19000"/>
                    <a:pt x="4191" y="19000"/>
                  </a:cubicBezTo>
                  <a:cubicBezTo>
                    <a:pt x="4406" y="19300"/>
                    <a:pt x="4406" y="19300"/>
                    <a:pt x="4406" y="19300"/>
                  </a:cubicBezTo>
                  <a:cubicBezTo>
                    <a:pt x="4836" y="19900"/>
                    <a:pt x="4836" y="19900"/>
                    <a:pt x="4836" y="19900"/>
                  </a:cubicBezTo>
                  <a:cubicBezTo>
                    <a:pt x="4943" y="20100"/>
                    <a:pt x="4943" y="20100"/>
                    <a:pt x="4943" y="20100"/>
                  </a:cubicBezTo>
                  <a:cubicBezTo>
                    <a:pt x="5588" y="21300"/>
                    <a:pt x="5588" y="21300"/>
                    <a:pt x="5588" y="21300"/>
                  </a:cubicBezTo>
                  <a:cubicBezTo>
                    <a:pt x="17194" y="20700"/>
                    <a:pt x="17194" y="20700"/>
                    <a:pt x="17194" y="20700"/>
                  </a:cubicBezTo>
                  <a:cubicBezTo>
                    <a:pt x="17301" y="21600"/>
                    <a:pt x="17301" y="21600"/>
                    <a:pt x="17301" y="21600"/>
                  </a:cubicBezTo>
                  <a:cubicBezTo>
                    <a:pt x="18161" y="21600"/>
                    <a:pt x="18161" y="21600"/>
                    <a:pt x="18161" y="21600"/>
                  </a:cubicBezTo>
                  <a:cubicBezTo>
                    <a:pt x="17839" y="19300"/>
                    <a:pt x="17839" y="19300"/>
                    <a:pt x="17839" y="19300"/>
                  </a:cubicBezTo>
                  <a:cubicBezTo>
                    <a:pt x="17839" y="19300"/>
                    <a:pt x="17839" y="19300"/>
                    <a:pt x="17839" y="19300"/>
                  </a:cubicBezTo>
                  <a:cubicBezTo>
                    <a:pt x="18591" y="19400"/>
                    <a:pt x="18591" y="19400"/>
                    <a:pt x="18591" y="19400"/>
                  </a:cubicBezTo>
                  <a:cubicBezTo>
                    <a:pt x="19666" y="19600"/>
                    <a:pt x="19666" y="19600"/>
                    <a:pt x="19666" y="19600"/>
                  </a:cubicBezTo>
                  <a:cubicBezTo>
                    <a:pt x="19773" y="19300"/>
                    <a:pt x="19773" y="19300"/>
                    <a:pt x="19773" y="19300"/>
                  </a:cubicBezTo>
                  <a:cubicBezTo>
                    <a:pt x="19773" y="19300"/>
                    <a:pt x="19881" y="18900"/>
                    <a:pt x="19881" y="18900"/>
                  </a:cubicBezTo>
                  <a:cubicBezTo>
                    <a:pt x="19881" y="18800"/>
                    <a:pt x="19773" y="18800"/>
                    <a:pt x="19773" y="18800"/>
                  </a:cubicBezTo>
                  <a:cubicBezTo>
                    <a:pt x="19773" y="18800"/>
                    <a:pt x="19666" y="18700"/>
                    <a:pt x="19558" y="18700"/>
                  </a:cubicBezTo>
                  <a:cubicBezTo>
                    <a:pt x="19451" y="18600"/>
                    <a:pt x="19451" y="18500"/>
                    <a:pt x="19343" y="18400"/>
                  </a:cubicBezTo>
                  <a:cubicBezTo>
                    <a:pt x="19236" y="18300"/>
                    <a:pt x="19343" y="18300"/>
                    <a:pt x="19343" y="18300"/>
                  </a:cubicBezTo>
                  <a:cubicBezTo>
                    <a:pt x="19558" y="18300"/>
                    <a:pt x="19558" y="18300"/>
                    <a:pt x="19558" y="18300"/>
                  </a:cubicBezTo>
                  <a:cubicBezTo>
                    <a:pt x="19881" y="18300"/>
                    <a:pt x="19881" y="18300"/>
                    <a:pt x="19881" y="18300"/>
                  </a:cubicBezTo>
                  <a:cubicBezTo>
                    <a:pt x="19881" y="18300"/>
                    <a:pt x="19773" y="18100"/>
                    <a:pt x="19773" y="17900"/>
                  </a:cubicBezTo>
                  <a:cubicBezTo>
                    <a:pt x="19666" y="17700"/>
                    <a:pt x="19666" y="17700"/>
                    <a:pt x="19666" y="17700"/>
                  </a:cubicBezTo>
                  <a:cubicBezTo>
                    <a:pt x="19988" y="17600"/>
                    <a:pt x="19988" y="17600"/>
                    <a:pt x="19988" y="17600"/>
                  </a:cubicBezTo>
                  <a:cubicBezTo>
                    <a:pt x="20203" y="17400"/>
                    <a:pt x="20203" y="17400"/>
                    <a:pt x="20203" y="17400"/>
                  </a:cubicBezTo>
                  <a:cubicBezTo>
                    <a:pt x="20418" y="16900"/>
                    <a:pt x="20418" y="16900"/>
                    <a:pt x="20418" y="16900"/>
                  </a:cubicBezTo>
                  <a:cubicBezTo>
                    <a:pt x="20096" y="16800"/>
                    <a:pt x="20096" y="16800"/>
                    <a:pt x="20096" y="16800"/>
                  </a:cubicBezTo>
                  <a:cubicBezTo>
                    <a:pt x="20096" y="16800"/>
                    <a:pt x="20096" y="16700"/>
                    <a:pt x="20096" y="16700"/>
                  </a:cubicBezTo>
                  <a:cubicBezTo>
                    <a:pt x="20096" y="16600"/>
                    <a:pt x="20203" y="16600"/>
                    <a:pt x="20203" y="16500"/>
                  </a:cubicBezTo>
                  <a:cubicBezTo>
                    <a:pt x="20203" y="16500"/>
                    <a:pt x="20310" y="16400"/>
                    <a:pt x="20310" y="16400"/>
                  </a:cubicBezTo>
                  <a:cubicBezTo>
                    <a:pt x="20310" y="16100"/>
                    <a:pt x="20310" y="16100"/>
                    <a:pt x="20310" y="16100"/>
                  </a:cubicBezTo>
                  <a:cubicBezTo>
                    <a:pt x="20310" y="15400"/>
                    <a:pt x="20310" y="15400"/>
                    <a:pt x="20310" y="15400"/>
                  </a:cubicBezTo>
                  <a:cubicBezTo>
                    <a:pt x="20310" y="15100"/>
                    <a:pt x="20310" y="15100"/>
                    <a:pt x="20310" y="15100"/>
                  </a:cubicBezTo>
                  <a:cubicBezTo>
                    <a:pt x="20310" y="15100"/>
                    <a:pt x="20525" y="15100"/>
                    <a:pt x="20633" y="15100"/>
                  </a:cubicBezTo>
                  <a:cubicBezTo>
                    <a:pt x="20633" y="15100"/>
                    <a:pt x="20848" y="15200"/>
                    <a:pt x="20848" y="15200"/>
                  </a:cubicBezTo>
                  <a:cubicBezTo>
                    <a:pt x="20848" y="15200"/>
                    <a:pt x="20955" y="15100"/>
                    <a:pt x="20955" y="15000"/>
                  </a:cubicBezTo>
                  <a:cubicBezTo>
                    <a:pt x="20955" y="15000"/>
                    <a:pt x="20955" y="15000"/>
                    <a:pt x="20740" y="14900"/>
                  </a:cubicBezTo>
                  <a:cubicBezTo>
                    <a:pt x="20633" y="14800"/>
                    <a:pt x="20418" y="14700"/>
                    <a:pt x="20418" y="14700"/>
                  </a:cubicBezTo>
                  <a:cubicBezTo>
                    <a:pt x="20418" y="14600"/>
                    <a:pt x="20310" y="14400"/>
                    <a:pt x="20310" y="14400"/>
                  </a:cubicBezTo>
                  <a:cubicBezTo>
                    <a:pt x="20525" y="14400"/>
                    <a:pt x="20525" y="14400"/>
                    <a:pt x="20525" y="14400"/>
                  </a:cubicBezTo>
                  <a:cubicBezTo>
                    <a:pt x="21063" y="14400"/>
                    <a:pt x="21063" y="14400"/>
                    <a:pt x="21063" y="14400"/>
                  </a:cubicBezTo>
                  <a:cubicBezTo>
                    <a:pt x="21170" y="14100"/>
                    <a:pt x="21170" y="14100"/>
                    <a:pt x="21170" y="14100"/>
                  </a:cubicBezTo>
                  <a:cubicBezTo>
                    <a:pt x="21170" y="14100"/>
                    <a:pt x="20740" y="14100"/>
                    <a:pt x="20740" y="14100"/>
                  </a:cubicBezTo>
                  <a:cubicBezTo>
                    <a:pt x="20740" y="14100"/>
                    <a:pt x="20525" y="13900"/>
                    <a:pt x="20525" y="13900"/>
                  </a:cubicBezTo>
                  <a:cubicBezTo>
                    <a:pt x="20633" y="13700"/>
                    <a:pt x="20633" y="13700"/>
                    <a:pt x="20633" y="13700"/>
                  </a:cubicBezTo>
                  <a:cubicBezTo>
                    <a:pt x="20740" y="13800"/>
                    <a:pt x="20740" y="13800"/>
                    <a:pt x="20740" y="13800"/>
                  </a:cubicBezTo>
                  <a:cubicBezTo>
                    <a:pt x="21170" y="13800"/>
                    <a:pt x="21170" y="13800"/>
                    <a:pt x="21170" y="13800"/>
                  </a:cubicBezTo>
                  <a:cubicBezTo>
                    <a:pt x="21385" y="13700"/>
                    <a:pt x="21385" y="13700"/>
                    <a:pt x="21385" y="13700"/>
                  </a:cubicBezTo>
                  <a:cubicBezTo>
                    <a:pt x="21385" y="13400"/>
                    <a:pt x="21385" y="13400"/>
                    <a:pt x="21385" y="13400"/>
                  </a:cubicBezTo>
                  <a:cubicBezTo>
                    <a:pt x="21385" y="13200"/>
                    <a:pt x="21385" y="13200"/>
                    <a:pt x="21385" y="13200"/>
                  </a:cubicBezTo>
                  <a:cubicBezTo>
                    <a:pt x="21600" y="13000"/>
                    <a:pt x="21600" y="13000"/>
                    <a:pt x="21600" y="13000"/>
                  </a:cubicBezTo>
                  <a:cubicBezTo>
                    <a:pt x="21493" y="12900"/>
                    <a:pt x="21493" y="12900"/>
                    <a:pt x="21493" y="12900"/>
                  </a:cubicBezTo>
                  <a:lnTo>
                    <a:pt x="21278" y="12800"/>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91969B"/>
                  </a:solidFill>
                  <a:uFill>
                    <a:solidFill>
                      <a:srgbClr val="91969B"/>
                    </a:solidFill>
                  </a:uFill>
                  <a:latin typeface="Lato Regular"/>
                  <a:ea typeface="Lato Regular"/>
                  <a:cs typeface="Lato Regular"/>
                  <a:sym typeface="Lato Regular"/>
                </a:defRPr>
              </a:pPr>
              <a:endParaRPr sz="3600" b="0" i="0">
                <a:solidFill>
                  <a:srgbClr val="91969B"/>
                </a:solidFill>
                <a:uFill>
                  <a:solidFill>
                    <a:srgbClr val="91969B"/>
                  </a:solidFill>
                </a:uFill>
                <a:latin typeface="DM Sans" pitchFamily="2" charset="77"/>
                <a:ea typeface="Lato Regular"/>
                <a:cs typeface="Lato Regular"/>
                <a:sym typeface="Lato Regular"/>
              </a:endParaRPr>
            </a:p>
          </p:txBody>
        </p:sp>
        <p:sp>
          <p:nvSpPr>
            <p:cNvPr id="39" name="Shape 2314">
              <a:extLst>
                <a:ext uri="{FF2B5EF4-FFF2-40B4-BE49-F238E27FC236}">
                  <a16:creationId xmlns:a16="http://schemas.microsoft.com/office/drawing/2014/main" id="{4F1973F2-00EB-E3CC-F3E5-E5620B28BCA1}"/>
                </a:ext>
              </a:extLst>
            </p:cNvPr>
            <p:cNvSpPr/>
            <p:nvPr/>
          </p:nvSpPr>
          <p:spPr>
            <a:xfrm>
              <a:off x="7541198" y="2617628"/>
              <a:ext cx="1426384" cy="799673"/>
            </a:xfrm>
            <a:custGeom>
              <a:avLst/>
              <a:gdLst/>
              <a:ahLst/>
              <a:cxnLst>
                <a:cxn ang="0">
                  <a:pos x="wd2" y="hd2"/>
                </a:cxn>
                <a:cxn ang="5400000">
                  <a:pos x="wd2" y="hd2"/>
                </a:cxn>
                <a:cxn ang="10800000">
                  <a:pos x="wd2" y="hd2"/>
                </a:cxn>
                <a:cxn ang="16200000">
                  <a:pos x="wd2" y="hd2"/>
                </a:cxn>
              </a:cxnLst>
              <a:rect l="0" t="0" r="r" b="b"/>
              <a:pathLst>
                <a:path w="21600" h="21600" extrusionOk="0">
                  <a:moveTo>
                    <a:pt x="10103" y="19735"/>
                  </a:moveTo>
                  <a:lnTo>
                    <a:pt x="14719" y="18337"/>
                  </a:lnTo>
                  <a:lnTo>
                    <a:pt x="21165" y="16006"/>
                  </a:lnTo>
                  <a:lnTo>
                    <a:pt x="21600" y="15695"/>
                  </a:lnTo>
                  <a:lnTo>
                    <a:pt x="21600" y="15229"/>
                  </a:lnTo>
                  <a:lnTo>
                    <a:pt x="21426" y="14452"/>
                  </a:lnTo>
                  <a:lnTo>
                    <a:pt x="21165" y="13830"/>
                  </a:lnTo>
                  <a:lnTo>
                    <a:pt x="20816" y="13364"/>
                  </a:lnTo>
                  <a:lnTo>
                    <a:pt x="20642" y="13364"/>
                  </a:lnTo>
                  <a:lnTo>
                    <a:pt x="20206" y="12898"/>
                  </a:lnTo>
                  <a:lnTo>
                    <a:pt x="20119" y="12432"/>
                  </a:lnTo>
                  <a:lnTo>
                    <a:pt x="19858" y="12121"/>
                  </a:lnTo>
                  <a:lnTo>
                    <a:pt x="19684" y="11499"/>
                  </a:lnTo>
                  <a:lnTo>
                    <a:pt x="19510" y="11188"/>
                  </a:lnTo>
                  <a:lnTo>
                    <a:pt x="19510" y="10878"/>
                  </a:lnTo>
                  <a:lnTo>
                    <a:pt x="19684" y="10567"/>
                  </a:lnTo>
                  <a:lnTo>
                    <a:pt x="20032" y="10878"/>
                  </a:lnTo>
                  <a:lnTo>
                    <a:pt x="19684" y="9945"/>
                  </a:lnTo>
                  <a:lnTo>
                    <a:pt x="19510" y="9790"/>
                  </a:lnTo>
                  <a:lnTo>
                    <a:pt x="18726" y="9324"/>
                  </a:lnTo>
                  <a:lnTo>
                    <a:pt x="18377" y="8391"/>
                  </a:lnTo>
                  <a:lnTo>
                    <a:pt x="18377" y="8236"/>
                  </a:lnTo>
                  <a:lnTo>
                    <a:pt x="18726" y="8547"/>
                  </a:lnTo>
                  <a:lnTo>
                    <a:pt x="19161" y="8702"/>
                  </a:lnTo>
                  <a:lnTo>
                    <a:pt x="19248" y="9168"/>
                  </a:lnTo>
                  <a:lnTo>
                    <a:pt x="19771" y="9324"/>
                  </a:lnTo>
                  <a:lnTo>
                    <a:pt x="19597" y="8702"/>
                  </a:lnTo>
                  <a:lnTo>
                    <a:pt x="19597" y="7459"/>
                  </a:lnTo>
                  <a:lnTo>
                    <a:pt x="19248" y="7614"/>
                  </a:lnTo>
                  <a:lnTo>
                    <a:pt x="18726" y="6993"/>
                  </a:lnTo>
                  <a:lnTo>
                    <a:pt x="18465" y="6371"/>
                  </a:lnTo>
                  <a:lnTo>
                    <a:pt x="18377" y="6371"/>
                  </a:lnTo>
                  <a:lnTo>
                    <a:pt x="18290" y="6682"/>
                  </a:lnTo>
                  <a:lnTo>
                    <a:pt x="18029" y="6682"/>
                  </a:lnTo>
                  <a:lnTo>
                    <a:pt x="17681" y="6060"/>
                  </a:lnTo>
                  <a:lnTo>
                    <a:pt x="17332" y="5750"/>
                  </a:lnTo>
                  <a:lnTo>
                    <a:pt x="16984" y="5594"/>
                  </a:lnTo>
                  <a:lnTo>
                    <a:pt x="16810" y="5750"/>
                  </a:lnTo>
                  <a:lnTo>
                    <a:pt x="16548" y="5905"/>
                  </a:lnTo>
                  <a:lnTo>
                    <a:pt x="16374" y="5594"/>
                  </a:lnTo>
                  <a:lnTo>
                    <a:pt x="16374" y="3885"/>
                  </a:lnTo>
                  <a:lnTo>
                    <a:pt x="16635" y="3729"/>
                  </a:lnTo>
                  <a:lnTo>
                    <a:pt x="16810" y="3263"/>
                  </a:lnTo>
                  <a:lnTo>
                    <a:pt x="16723" y="2642"/>
                  </a:lnTo>
                  <a:lnTo>
                    <a:pt x="16374" y="2176"/>
                  </a:lnTo>
                  <a:lnTo>
                    <a:pt x="15939" y="1554"/>
                  </a:lnTo>
                  <a:lnTo>
                    <a:pt x="15068" y="622"/>
                  </a:lnTo>
                  <a:lnTo>
                    <a:pt x="14894" y="777"/>
                  </a:lnTo>
                  <a:lnTo>
                    <a:pt x="14632" y="1243"/>
                  </a:lnTo>
                  <a:lnTo>
                    <a:pt x="14458" y="1243"/>
                  </a:lnTo>
                  <a:lnTo>
                    <a:pt x="13935" y="777"/>
                  </a:lnTo>
                  <a:lnTo>
                    <a:pt x="13152" y="0"/>
                  </a:lnTo>
                  <a:lnTo>
                    <a:pt x="13152" y="1243"/>
                  </a:lnTo>
                  <a:lnTo>
                    <a:pt x="12977" y="2331"/>
                  </a:lnTo>
                  <a:lnTo>
                    <a:pt x="12803" y="2797"/>
                  </a:lnTo>
                  <a:lnTo>
                    <a:pt x="12542" y="3263"/>
                  </a:lnTo>
                  <a:lnTo>
                    <a:pt x="12106" y="4662"/>
                  </a:lnTo>
                  <a:lnTo>
                    <a:pt x="12019" y="4351"/>
                  </a:lnTo>
                  <a:lnTo>
                    <a:pt x="11671" y="4351"/>
                  </a:lnTo>
                  <a:lnTo>
                    <a:pt x="11584" y="4973"/>
                  </a:lnTo>
                  <a:lnTo>
                    <a:pt x="11410" y="5594"/>
                  </a:lnTo>
                  <a:lnTo>
                    <a:pt x="11148" y="6837"/>
                  </a:lnTo>
                  <a:lnTo>
                    <a:pt x="11061" y="7148"/>
                  </a:lnTo>
                  <a:lnTo>
                    <a:pt x="10887" y="6993"/>
                  </a:lnTo>
                  <a:lnTo>
                    <a:pt x="10452" y="6682"/>
                  </a:lnTo>
                  <a:lnTo>
                    <a:pt x="10103" y="6371"/>
                  </a:lnTo>
                  <a:lnTo>
                    <a:pt x="10016" y="7459"/>
                  </a:lnTo>
                  <a:lnTo>
                    <a:pt x="9755" y="9324"/>
                  </a:lnTo>
                  <a:lnTo>
                    <a:pt x="9494" y="10567"/>
                  </a:lnTo>
                  <a:lnTo>
                    <a:pt x="9058" y="11344"/>
                  </a:lnTo>
                  <a:lnTo>
                    <a:pt x="8971" y="12121"/>
                  </a:lnTo>
                  <a:lnTo>
                    <a:pt x="9058" y="13364"/>
                  </a:lnTo>
                  <a:lnTo>
                    <a:pt x="8710" y="13830"/>
                  </a:lnTo>
                  <a:lnTo>
                    <a:pt x="7752" y="14763"/>
                  </a:lnTo>
                  <a:lnTo>
                    <a:pt x="7142" y="15695"/>
                  </a:lnTo>
                  <a:lnTo>
                    <a:pt x="6358" y="16006"/>
                  </a:lnTo>
                  <a:lnTo>
                    <a:pt x="6010" y="15540"/>
                  </a:lnTo>
                  <a:lnTo>
                    <a:pt x="5487" y="16627"/>
                  </a:lnTo>
                  <a:lnTo>
                    <a:pt x="5313" y="16627"/>
                  </a:lnTo>
                  <a:lnTo>
                    <a:pt x="4877" y="16317"/>
                  </a:lnTo>
                  <a:lnTo>
                    <a:pt x="4355" y="15540"/>
                  </a:lnTo>
                  <a:lnTo>
                    <a:pt x="4268" y="15073"/>
                  </a:lnTo>
                  <a:lnTo>
                    <a:pt x="4006" y="15073"/>
                  </a:lnTo>
                  <a:lnTo>
                    <a:pt x="3745" y="16006"/>
                  </a:lnTo>
                  <a:lnTo>
                    <a:pt x="3397" y="16938"/>
                  </a:lnTo>
                  <a:lnTo>
                    <a:pt x="2439" y="17560"/>
                  </a:lnTo>
                  <a:lnTo>
                    <a:pt x="2177" y="18337"/>
                  </a:lnTo>
                  <a:lnTo>
                    <a:pt x="1916" y="19735"/>
                  </a:lnTo>
                  <a:lnTo>
                    <a:pt x="1568" y="19891"/>
                  </a:lnTo>
                  <a:lnTo>
                    <a:pt x="1306" y="20201"/>
                  </a:lnTo>
                  <a:lnTo>
                    <a:pt x="871" y="20668"/>
                  </a:lnTo>
                  <a:lnTo>
                    <a:pt x="523" y="21134"/>
                  </a:lnTo>
                  <a:lnTo>
                    <a:pt x="0" y="21600"/>
                  </a:lnTo>
                  <a:lnTo>
                    <a:pt x="5574" y="20668"/>
                  </a:lnTo>
                  <a:lnTo>
                    <a:pt x="10103" y="19735"/>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 name="Shape 2315">
              <a:extLst>
                <a:ext uri="{FF2B5EF4-FFF2-40B4-BE49-F238E27FC236}">
                  <a16:creationId xmlns:a16="http://schemas.microsoft.com/office/drawing/2014/main" id="{30BF4F37-EF5E-BAC1-6E6D-924396E92A83}"/>
                </a:ext>
              </a:extLst>
            </p:cNvPr>
            <p:cNvSpPr/>
            <p:nvPr/>
          </p:nvSpPr>
          <p:spPr>
            <a:xfrm>
              <a:off x="7667730" y="3699196"/>
              <a:ext cx="920248" cy="713377"/>
            </a:xfrm>
            <a:custGeom>
              <a:avLst/>
              <a:gdLst/>
              <a:ahLst/>
              <a:cxnLst>
                <a:cxn ang="0">
                  <a:pos x="wd2" y="hd2"/>
                </a:cxn>
                <a:cxn ang="5400000">
                  <a:pos x="wd2" y="hd2"/>
                </a:cxn>
                <a:cxn ang="10800000">
                  <a:pos x="wd2" y="hd2"/>
                </a:cxn>
                <a:cxn ang="16200000">
                  <a:pos x="wd2" y="hd2"/>
                </a:cxn>
              </a:cxnLst>
              <a:rect l="0" t="0" r="r" b="b"/>
              <a:pathLst>
                <a:path w="21600" h="21600" extrusionOk="0">
                  <a:moveTo>
                    <a:pt x="11200" y="2057"/>
                  </a:moveTo>
                  <a:cubicBezTo>
                    <a:pt x="10743" y="588"/>
                    <a:pt x="10743" y="588"/>
                    <a:pt x="10743" y="588"/>
                  </a:cubicBezTo>
                  <a:cubicBezTo>
                    <a:pt x="10057" y="147"/>
                    <a:pt x="10057" y="147"/>
                    <a:pt x="10057" y="147"/>
                  </a:cubicBezTo>
                  <a:cubicBezTo>
                    <a:pt x="9029" y="0"/>
                    <a:pt x="9029" y="0"/>
                    <a:pt x="9029" y="0"/>
                  </a:cubicBezTo>
                  <a:cubicBezTo>
                    <a:pt x="8229" y="147"/>
                    <a:pt x="8229" y="147"/>
                    <a:pt x="8229" y="147"/>
                  </a:cubicBezTo>
                  <a:cubicBezTo>
                    <a:pt x="7657" y="588"/>
                    <a:pt x="7657" y="588"/>
                    <a:pt x="7657" y="588"/>
                  </a:cubicBezTo>
                  <a:cubicBezTo>
                    <a:pt x="7314" y="735"/>
                    <a:pt x="7314" y="735"/>
                    <a:pt x="7314" y="735"/>
                  </a:cubicBezTo>
                  <a:cubicBezTo>
                    <a:pt x="6629" y="882"/>
                    <a:pt x="6629" y="882"/>
                    <a:pt x="6629" y="882"/>
                  </a:cubicBezTo>
                  <a:cubicBezTo>
                    <a:pt x="5257" y="588"/>
                    <a:pt x="5257" y="588"/>
                    <a:pt x="5257" y="588"/>
                  </a:cubicBezTo>
                  <a:cubicBezTo>
                    <a:pt x="4457" y="588"/>
                    <a:pt x="4457" y="588"/>
                    <a:pt x="4457" y="588"/>
                  </a:cubicBezTo>
                  <a:cubicBezTo>
                    <a:pt x="3543" y="735"/>
                    <a:pt x="3543" y="735"/>
                    <a:pt x="3543" y="735"/>
                  </a:cubicBezTo>
                  <a:cubicBezTo>
                    <a:pt x="2971" y="1029"/>
                    <a:pt x="2971" y="1029"/>
                    <a:pt x="2971" y="1029"/>
                  </a:cubicBezTo>
                  <a:cubicBezTo>
                    <a:pt x="1371" y="2645"/>
                    <a:pt x="1371" y="2645"/>
                    <a:pt x="1371" y="2645"/>
                  </a:cubicBezTo>
                  <a:cubicBezTo>
                    <a:pt x="1371" y="2645"/>
                    <a:pt x="1371" y="2645"/>
                    <a:pt x="1371" y="2645"/>
                  </a:cubicBezTo>
                  <a:cubicBezTo>
                    <a:pt x="1257" y="2939"/>
                    <a:pt x="1257" y="2939"/>
                    <a:pt x="1257" y="2939"/>
                  </a:cubicBezTo>
                  <a:cubicBezTo>
                    <a:pt x="1257" y="3233"/>
                    <a:pt x="1257" y="3233"/>
                    <a:pt x="1257" y="3233"/>
                  </a:cubicBezTo>
                  <a:cubicBezTo>
                    <a:pt x="1029" y="3380"/>
                    <a:pt x="1029" y="3380"/>
                    <a:pt x="1029" y="3380"/>
                  </a:cubicBezTo>
                  <a:cubicBezTo>
                    <a:pt x="571" y="3820"/>
                    <a:pt x="571" y="3820"/>
                    <a:pt x="571" y="3820"/>
                  </a:cubicBezTo>
                  <a:cubicBezTo>
                    <a:pt x="0" y="4261"/>
                    <a:pt x="0" y="4261"/>
                    <a:pt x="0" y="4261"/>
                  </a:cubicBezTo>
                  <a:cubicBezTo>
                    <a:pt x="0" y="4702"/>
                    <a:pt x="0" y="4702"/>
                    <a:pt x="0" y="4702"/>
                  </a:cubicBezTo>
                  <a:cubicBezTo>
                    <a:pt x="229" y="4996"/>
                    <a:pt x="229" y="4996"/>
                    <a:pt x="229" y="4996"/>
                  </a:cubicBezTo>
                  <a:cubicBezTo>
                    <a:pt x="457" y="5437"/>
                    <a:pt x="457" y="5437"/>
                    <a:pt x="457" y="5437"/>
                  </a:cubicBezTo>
                  <a:cubicBezTo>
                    <a:pt x="1829" y="6171"/>
                    <a:pt x="1829" y="6171"/>
                    <a:pt x="1829" y="6171"/>
                  </a:cubicBezTo>
                  <a:cubicBezTo>
                    <a:pt x="2171" y="6612"/>
                    <a:pt x="2171" y="6612"/>
                    <a:pt x="2171" y="6612"/>
                  </a:cubicBezTo>
                  <a:cubicBezTo>
                    <a:pt x="2514" y="7200"/>
                    <a:pt x="2514" y="7200"/>
                    <a:pt x="2514" y="7200"/>
                  </a:cubicBezTo>
                  <a:cubicBezTo>
                    <a:pt x="2743" y="7788"/>
                    <a:pt x="2743" y="7788"/>
                    <a:pt x="2743" y="7788"/>
                  </a:cubicBezTo>
                  <a:cubicBezTo>
                    <a:pt x="3314" y="8522"/>
                    <a:pt x="3314" y="8522"/>
                    <a:pt x="3314" y="8522"/>
                  </a:cubicBezTo>
                  <a:cubicBezTo>
                    <a:pt x="3886" y="9404"/>
                    <a:pt x="3886" y="9404"/>
                    <a:pt x="3886" y="9404"/>
                  </a:cubicBezTo>
                  <a:cubicBezTo>
                    <a:pt x="5714" y="11314"/>
                    <a:pt x="5714" y="11314"/>
                    <a:pt x="5714" y="11314"/>
                  </a:cubicBezTo>
                  <a:cubicBezTo>
                    <a:pt x="6286" y="11902"/>
                    <a:pt x="6286" y="11902"/>
                    <a:pt x="6286" y="11902"/>
                  </a:cubicBezTo>
                  <a:cubicBezTo>
                    <a:pt x="6971" y="13078"/>
                    <a:pt x="6971" y="13078"/>
                    <a:pt x="6971" y="13078"/>
                  </a:cubicBezTo>
                  <a:cubicBezTo>
                    <a:pt x="7543" y="14106"/>
                    <a:pt x="7543" y="14106"/>
                    <a:pt x="7543" y="14106"/>
                  </a:cubicBezTo>
                  <a:cubicBezTo>
                    <a:pt x="8343" y="14547"/>
                    <a:pt x="8343" y="14547"/>
                    <a:pt x="8343" y="14547"/>
                  </a:cubicBezTo>
                  <a:cubicBezTo>
                    <a:pt x="8686" y="14988"/>
                    <a:pt x="8686" y="14988"/>
                    <a:pt x="8686" y="14988"/>
                  </a:cubicBezTo>
                  <a:cubicBezTo>
                    <a:pt x="9029" y="15429"/>
                    <a:pt x="9029" y="15429"/>
                    <a:pt x="9029" y="15429"/>
                  </a:cubicBezTo>
                  <a:cubicBezTo>
                    <a:pt x="9371" y="15722"/>
                    <a:pt x="9371" y="15722"/>
                    <a:pt x="9371" y="15722"/>
                  </a:cubicBezTo>
                  <a:cubicBezTo>
                    <a:pt x="9600" y="16016"/>
                    <a:pt x="9600" y="16016"/>
                    <a:pt x="9600" y="16016"/>
                  </a:cubicBezTo>
                  <a:cubicBezTo>
                    <a:pt x="9943" y="16751"/>
                    <a:pt x="9943" y="16751"/>
                    <a:pt x="9943" y="16751"/>
                  </a:cubicBezTo>
                  <a:cubicBezTo>
                    <a:pt x="10171" y="17192"/>
                    <a:pt x="10171" y="17192"/>
                    <a:pt x="10171" y="17192"/>
                  </a:cubicBezTo>
                  <a:cubicBezTo>
                    <a:pt x="10171" y="17486"/>
                    <a:pt x="10171" y="17486"/>
                    <a:pt x="10171" y="17486"/>
                  </a:cubicBezTo>
                  <a:cubicBezTo>
                    <a:pt x="10286" y="17927"/>
                    <a:pt x="10286" y="17927"/>
                    <a:pt x="10286" y="17927"/>
                  </a:cubicBezTo>
                  <a:cubicBezTo>
                    <a:pt x="10400" y="18220"/>
                    <a:pt x="10400" y="18220"/>
                    <a:pt x="10400" y="18220"/>
                  </a:cubicBezTo>
                  <a:cubicBezTo>
                    <a:pt x="10514" y="18220"/>
                    <a:pt x="10514" y="18220"/>
                    <a:pt x="10514" y="18220"/>
                  </a:cubicBezTo>
                  <a:cubicBezTo>
                    <a:pt x="10857" y="18367"/>
                    <a:pt x="10857" y="18367"/>
                    <a:pt x="10857" y="18367"/>
                  </a:cubicBezTo>
                  <a:cubicBezTo>
                    <a:pt x="11200" y="18661"/>
                    <a:pt x="11200" y="18661"/>
                    <a:pt x="11200" y="18661"/>
                  </a:cubicBezTo>
                  <a:cubicBezTo>
                    <a:pt x="11200" y="18808"/>
                    <a:pt x="11200" y="18808"/>
                    <a:pt x="11200" y="18808"/>
                  </a:cubicBezTo>
                  <a:cubicBezTo>
                    <a:pt x="11200" y="19102"/>
                    <a:pt x="11200" y="19102"/>
                    <a:pt x="11200" y="19102"/>
                  </a:cubicBezTo>
                  <a:cubicBezTo>
                    <a:pt x="11314" y="19543"/>
                    <a:pt x="11314" y="19543"/>
                    <a:pt x="11314" y="19543"/>
                  </a:cubicBezTo>
                  <a:cubicBezTo>
                    <a:pt x="11771" y="20131"/>
                    <a:pt x="11771" y="20131"/>
                    <a:pt x="11771" y="20131"/>
                  </a:cubicBezTo>
                  <a:cubicBezTo>
                    <a:pt x="11771" y="20278"/>
                    <a:pt x="11771" y="20278"/>
                    <a:pt x="11771" y="20278"/>
                  </a:cubicBezTo>
                  <a:cubicBezTo>
                    <a:pt x="11771" y="20865"/>
                    <a:pt x="11771" y="20865"/>
                    <a:pt x="11771" y="20865"/>
                  </a:cubicBezTo>
                  <a:cubicBezTo>
                    <a:pt x="11886" y="21306"/>
                    <a:pt x="11886" y="21306"/>
                    <a:pt x="11886" y="21306"/>
                  </a:cubicBezTo>
                  <a:cubicBezTo>
                    <a:pt x="12114" y="21453"/>
                    <a:pt x="12114" y="21453"/>
                    <a:pt x="12114" y="21453"/>
                  </a:cubicBezTo>
                  <a:cubicBezTo>
                    <a:pt x="12343" y="21600"/>
                    <a:pt x="12343" y="21600"/>
                    <a:pt x="12343" y="21600"/>
                  </a:cubicBezTo>
                  <a:cubicBezTo>
                    <a:pt x="12343" y="20718"/>
                    <a:pt x="12343" y="20718"/>
                    <a:pt x="12343" y="20718"/>
                  </a:cubicBezTo>
                  <a:cubicBezTo>
                    <a:pt x="12571" y="20571"/>
                    <a:pt x="12571" y="20571"/>
                    <a:pt x="12571" y="20571"/>
                  </a:cubicBezTo>
                  <a:cubicBezTo>
                    <a:pt x="13143" y="20571"/>
                    <a:pt x="13143" y="20571"/>
                    <a:pt x="13143" y="20571"/>
                  </a:cubicBezTo>
                  <a:cubicBezTo>
                    <a:pt x="13257" y="20571"/>
                    <a:pt x="13257" y="20571"/>
                    <a:pt x="13257" y="20571"/>
                  </a:cubicBezTo>
                  <a:cubicBezTo>
                    <a:pt x="13257" y="20571"/>
                    <a:pt x="13486" y="20424"/>
                    <a:pt x="13486" y="20424"/>
                  </a:cubicBezTo>
                  <a:cubicBezTo>
                    <a:pt x="13486" y="20278"/>
                    <a:pt x="13371" y="20131"/>
                    <a:pt x="13371" y="20131"/>
                  </a:cubicBezTo>
                  <a:cubicBezTo>
                    <a:pt x="13257" y="20131"/>
                    <a:pt x="13257" y="20131"/>
                    <a:pt x="13257" y="20131"/>
                  </a:cubicBezTo>
                  <a:cubicBezTo>
                    <a:pt x="13257" y="20131"/>
                    <a:pt x="12800" y="19984"/>
                    <a:pt x="12800" y="19984"/>
                  </a:cubicBezTo>
                  <a:cubicBezTo>
                    <a:pt x="12686" y="19984"/>
                    <a:pt x="12571" y="19690"/>
                    <a:pt x="12571" y="19690"/>
                  </a:cubicBezTo>
                  <a:cubicBezTo>
                    <a:pt x="12571" y="19543"/>
                    <a:pt x="12571" y="19543"/>
                    <a:pt x="12571" y="19543"/>
                  </a:cubicBezTo>
                  <a:cubicBezTo>
                    <a:pt x="12686" y="18955"/>
                    <a:pt x="12686" y="18955"/>
                    <a:pt x="12686" y="18955"/>
                  </a:cubicBezTo>
                  <a:cubicBezTo>
                    <a:pt x="13143" y="19396"/>
                    <a:pt x="13143" y="19396"/>
                    <a:pt x="13143" y="19396"/>
                  </a:cubicBezTo>
                  <a:cubicBezTo>
                    <a:pt x="13257" y="19543"/>
                    <a:pt x="13257" y="19543"/>
                    <a:pt x="13257" y="19543"/>
                  </a:cubicBezTo>
                  <a:cubicBezTo>
                    <a:pt x="13600" y="19837"/>
                    <a:pt x="13600" y="19837"/>
                    <a:pt x="13600" y="19837"/>
                  </a:cubicBezTo>
                  <a:cubicBezTo>
                    <a:pt x="14057" y="19690"/>
                    <a:pt x="14057" y="19690"/>
                    <a:pt x="14057" y="19690"/>
                  </a:cubicBezTo>
                  <a:cubicBezTo>
                    <a:pt x="14171" y="18808"/>
                    <a:pt x="14171" y="18808"/>
                    <a:pt x="14171" y="18808"/>
                  </a:cubicBezTo>
                  <a:cubicBezTo>
                    <a:pt x="14171" y="18661"/>
                    <a:pt x="14171" y="18661"/>
                    <a:pt x="14171" y="18661"/>
                  </a:cubicBezTo>
                  <a:cubicBezTo>
                    <a:pt x="14057" y="18073"/>
                    <a:pt x="14057" y="18073"/>
                    <a:pt x="14057" y="18073"/>
                  </a:cubicBezTo>
                  <a:cubicBezTo>
                    <a:pt x="14400" y="18073"/>
                    <a:pt x="14400" y="18073"/>
                    <a:pt x="14400" y="18073"/>
                  </a:cubicBezTo>
                  <a:cubicBezTo>
                    <a:pt x="14857" y="18073"/>
                    <a:pt x="14857" y="18073"/>
                    <a:pt x="14857" y="18073"/>
                  </a:cubicBezTo>
                  <a:cubicBezTo>
                    <a:pt x="15429" y="17633"/>
                    <a:pt x="15429" y="17633"/>
                    <a:pt x="15429" y="17633"/>
                  </a:cubicBezTo>
                  <a:cubicBezTo>
                    <a:pt x="15429" y="17486"/>
                    <a:pt x="15429" y="17486"/>
                    <a:pt x="15429" y="17486"/>
                  </a:cubicBezTo>
                  <a:cubicBezTo>
                    <a:pt x="15200" y="17339"/>
                    <a:pt x="15200" y="17339"/>
                    <a:pt x="15200" y="17339"/>
                  </a:cubicBezTo>
                  <a:cubicBezTo>
                    <a:pt x="14971" y="17339"/>
                    <a:pt x="14971" y="17339"/>
                    <a:pt x="14971" y="17339"/>
                  </a:cubicBezTo>
                  <a:cubicBezTo>
                    <a:pt x="14743" y="17192"/>
                    <a:pt x="14743" y="17192"/>
                    <a:pt x="14743" y="17192"/>
                  </a:cubicBezTo>
                  <a:cubicBezTo>
                    <a:pt x="14743" y="16898"/>
                    <a:pt x="14743" y="16898"/>
                    <a:pt x="14743" y="16898"/>
                  </a:cubicBezTo>
                  <a:cubicBezTo>
                    <a:pt x="15086" y="16751"/>
                    <a:pt x="15086" y="16751"/>
                    <a:pt x="15086" y="16751"/>
                  </a:cubicBezTo>
                  <a:cubicBezTo>
                    <a:pt x="15200" y="16898"/>
                    <a:pt x="15200" y="16898"/>
                    <a:pt x="15200" y="16898"/>
                  </a:cubicBezTo>
                  <a:cubicBezTo>
                    <a:pt x="15543" y="17192"/>
                    <a:pt x="15543" y="17192"/>
                    <a:pt x="15543" y="17192"/>
                  </a:cubicBezTo>
                  <a:cubicBezTo>
                    <a:pt x="15771" y="17192"/>
                    <a:pt x="15771" y="17192"/>
                    <a:pt x="15771" y="17192"/>
                  </a:cubicBezTo>
                  <a:cubicBezTo>
                    <a:pt x="16229" y="16751"/>
                    <a:pt x="16229" y="16751"/>
                    <a:pt x="16229" y="16751"/>
                  </a:cubicBezTo>
                  <a:cubicBezTo>
                    <a:pt x="16571" y="16163"/>
                    <a:pt x="16571" y="16163"/>
                    <a:pt x="16571" y="16163"/>
                  </a:cubicBezTo>
                  <a:cubicBezTo>
                    <a:pt x="16457" y="15722"/>
                    <a:pt x="16457" y="15722"/>
                    <a:pt x="16457" y="15722"/>
                  </a:cubicBezTo>
                  <a:cubicBezTo>
                    <a:pt x="16114" y="15429"/>
                    <a:pt x="16114" y="15429"/>
                    <a:pt x="16114" y="15429"/>
                  </a:cubicBezTo>
                  <a:cubicBezTo>
                    <a:pt x="16114" y="15282"/>
                    <a:pt x="16114" y="15282"/>
                    <a:pt x="16114" y="15282"/>
                  </a:cubicBezTo>
                  <a:cubicBezTo>
                    <a:pt x="16343" y="15135"/>
                    <a:pt x="16343" y="15135"/>
                    <a:pt x="16343" y="15135"/>
                  </a:cubicBezTo>
                  <a:cubicBezTo>
                    <a:pt x="16800" y="15429"/>
                    <a:pt x="16800" y="15429"/>
                    <a:pt x="16800" y="15429"/>
                  </a:cubicBezTo>
                  <a:cubicBezTo>
                    <a:pt x="17029" y="15135"/>
                    <a:pt x="17029" y="15135"/>
                    <a:pt x="17029" y="15135"/>
                  </a:cubicBezTo>
                  <a:cubicBezTo>
                    <a:pt x="17257" y="14694"/>
                    <a:pt x="17257" y="14694"/>
                    <a:pt x="17257" y="14694"/>
                  </a:cubicBezTo>
                  <a:cubicBezTo>
                    <a:pt x="17714" y="13665"/>
                    <a:pt x="17714" y="13665"/>
                    <a:pt x="17714" y="13665"/>
                  </a:cubicBezTo>
                  <a:cubicBezTo>
                    <a:pt x="18171" y="13224"/>
                    <a:pt x="18171" y="13224"/>
                    <a:pt x="18171" y="13224"/>
                  </a:cubicBezTo>
                  <a:cubicBezTo>
                    <a:pt x="18743" y="13078"/>
                    <a:pt x="18743" y="13078"/>
                    <a:pt x="18743" y="13078"/>
                  </a:cubicBezTo>
                  <a:cubicBezTo>
                    <a:pt x="19086" y="12343"/>
                    <a:pt x="19086" y="12343"/>
                    <a:pt x="19086" y="12343"/>
                  </a:cubicBezTo>
                  <a:cubicBezTo>
                    <a:pt x="19314" y="11902"/>
                    <a:pt x="19314" y="11902"/>
                    <a:pt x="19314" y="11902"/>
                  </a:cubicBezTo>
                  <a:cubicBezTo>
                    <a:pt x="19086" y="11608"/>
                    <a:pt x="19086" y="11608"/>
                    <a:pt x="19086" y="11608"/>
                  </a:cubicBezTo>
                  <a:cubicBezTo>
                    <a:pt x="18857" y="11020"/>
                    <a:pt x="18857" y="11020"/>
                    <a:pt x="18857" y="11020"/>
                  </a:cubicBezTo>
                  <a:cubicBezTo>
                    <a:pt x="19086" y="11020"/>
                    <a:pt x="19086" y="11020"/>
                    <a:pt x="19086" y="11020"/>
                  </a:cubicBezTo>
                  <a:cubicBezTo>
                    <a:pt x="19314" y="11020"/>
                    <a:pt x="19314" y="11020"/>
                    <a:pt x="19314" y="11020"/>
                  </a:cubicBezTo>
                  <a:cubicBezTo>
                    <a:pt x="19314" y="10580"/>
                    <a:pt x="19314" y="10580"/>
                    <a:pt x="19314" y="10580"/>
                  </a:cubicBezTo>
                  <a:cubicBezTo>
                    <a:pt x="19429" y="10286"/>
                    <a:pt x="19429" y="10286"/>
                    <a:pt x="19429" y="10286"/>
                  </a:cubicBezTo>
                  <a:cubicBezTo>
                    <a:pt x="19771" y="9698"/>
                    <a:pt x="19771" y="9698"/>
                    <a:pt x="19771" y="9698"/>
                  </a:cubicBezTo>
                  <a:cubicBezTo>
                    <a:pt x="20000" y="8816"/>
                    <a:pt x="20000" y="8816"/>
                    <a:pt x="20000" y="8816"/>
                  </a:cubicBezTo>
                  <a:cubicBezTo>
                    <a:pt x="20229" y="8229"/>
                    <a:pt x="20229" y="8229"/>
                    <a:pt x="20229" y="8229"/>
                  </a:cubicBezTo>
                  <a:cubicBezTo>
                    <a:pt x="20343" y="7935"/>
                    <a:pt x="20343" y="7935"/>
                    <a:pt x="20343" y="7935"/>
                  </a:cubicBezTo>
                  <a:cubicBezTo>
                    <a:pt x="20571" y="7641"/>
                    <a:pt x="20571" y="7641"/>
                    <a:pt x="20571" y="7641"/>
                  </a:cubicBezTo>
                  <a:cubicBezTo>
                    <a:pt x="21371" y="6759"/>
                    <a:pt x="21371" y="6759"/>
                    <a:pt x="21371" y="6759"/>
                  </a:cubicBezTo>
                  <a:cubicBezTo>
                    <a:pt x="21600" y="6465"/>
                    <a:pt x="21600" y="6465"/>
                    <a:pt x="21600" y="6465"/>
                  </a:cubicBezTo>
                  <a:cubicBezTo>
                    <a:pt x="15771" y="882"/>
                    <a:pt x="15771" y="882"/>
                    <a:pt x="15771" y="882"/>
                  </a:cubicBezTo>
                  <a:lnTo>
                    <a:pt x="11200" y="205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 name="Shape 2316">
              <a:extLst>
                <a:ext uri="{FF2B5EF4-FFF2-40B4-BE49-F238E27FC236}">
                  <a16:creationId xmlns:a16="http://schemas.microsoft.com/office/drawing/2014/main" id="{5B003E81-46D5-DBCC-CDAB-E0775C2A1E28}"/>
                </a:ext>
              </a:extLst>
            </p:cNvPr>
            <p:cNvSpPr/>
            <p:nvPr/>
          </p:nvSpPr>
          <p:spPr>
            <a:xfrm>
              <a:off x="6718725" y="3831515"/>
              <a:ext cx="724696" cy="1162111"/>
            </a:xfrm>
            <a:custGeom>
              <a:avLst/>
              <a:gdLst/>
              <a:ahLst/>
              <a:cxnLst>
                <a:cxn ang="0">
                  <a:pos x="wd2" y="hd2"/>
                </a:cxn>
                <a:cxn ang="5400000">
                  <a:pos x="wd2" y="hd2"/>
                </a:cxn>
                <a:cxn ang="10800000">
                  <a:pos x="wd2" y="hd2"/>
                </a:cxn>
                <a:cxn ang="16200000">
                  <a:pos x="wd2" y="hd2"/>
                </a:cxn>
              </a:cxnLst>
              <a:rect l="0" t="0" r="r" b="b"/>
              <a:pathLst>
                <a:path w="21600" h="21600" extrusionOk="0">
                  <a:moveTo>
                    <a:pt x="6857" y="20103"/>
                  </a:moveTo>
                  <a:lnTo>
                    <a:pt x="6686" y="19568"/>
                  </a:lnTo>
                  <a:lnTo>
                    <a:pt x="6000" y="19034"/>
                  </a:lnTo>
                  <a:lnTo>
                    <a:pt x="5657" y="18820"/>
                  </a:lnTo>
                  <a:lnTo>
                    <a:pt x="5657" y="18499"/>
                  </a:lnTo>
                  <a:lnTo>
                    <a:pt x="6171" y="18392"/>
                  </a:lnTo>
                  <a:lnTo>
                    <a:pt x="7371" y="18178"/>
                  </a:lnTo>
                  <a:lnTo>
                    <a:pt x="8743" y="17964"/>
                  </a:lnTo>
                  <a:lnTo>
                    <a:pt x="21600" y="17323"/>
                  </a:lnTo>
                  <a:lnTo>
                    <a:pt x="21429" y="17216"/>
                  </a:lnTo>
                  <a:lnTo>
                    <a:pt x="20743" y="16681"/>
                  </a:lnTo>
                  <a:lnTo>
                    <a:pt x="20571" y="16360"/>
                  </a:lnTo>
                  <a:lnTo>
                    <a:pt x="20229" y="16040"/>
                  </a:lnTo>
                  <a:lnTo>
                    <a:pt x="20400" y="15826"/>
                  </a:lnTo>
                  <a:lnTo>
                    <a:pt x="20743" y="15612"/>
                  </a:lnTo>
                  <a:lnTo>
                    <a:pt x="20571" y="15077"/>
                  </a:lnTo>
                  <a:lnTo>
                    <a:pt x="20229" y="14756"/>
                  </a:lnTo>
                  <a:lnTo>
                    <a:pt x="19886" y="13901"/>
                  </a:lnTo>
                  <a:lnTo>
                    <a:pt x="19886" y="13366"/>
                  </a:lnTo>
                  <a:lnTo>
                    <a:pt x="20400" y="13152"/>
                  </a:lnTo>
                  <a:lnTo>
                    <a:pt x="20571" y="12725"/>
                  </a:lnTo>
                  <a:lnTo>
                    <a:pt x="19886" y="12511"/>
                  </a:lnTo>
                  <a:lnTo>
                    <a:pt x="20743" y="12190"/>
                  </a:lnTo>
                  <a:lnTo>
                    <a:pt x="20914" y="11762"/>
                  </a:lnTo>
                  <a:lnTo>
                    <a:pt x="20571" y="11549"/>
                  </a:lnTo>
                  <a:lnTo>
                    <a:pt x="20400" y="11121"/>
                  </a:lnTo>
                  <a:lnTo>
                    <a:pt x="20400" y="10693"/>
                  </a:lnTo>
                  <a:lnTo>
                    <a:pt x="19714" y="10158"/>
                  </a:lnTo>
                  <a:lnTo>
                    <a:pt x="18514" y="8875"/>
                  </a:lnTo>
                  <a:lnTo>
                    <a:pt x="18171" y="8020"/>
                  </a:lnTo>
                  <a:lnTo>
                    <a:pt x="16457" y="4384"/>
                  </a:lnTo>
                  <a:lnTo>
                    <a:pt x="15257" y="1283"/>
                  </a:lnTo>
                  <a:lnTo>
                    <a:pt x="14914" y="0"/>
                  </a:lnTo>
                  <a:lnTo>
                    <a:pt x="16114" y="0"/>
                  </a:lnTo>
                  <a:lnTo>
                    <a:pt x="171" y="749"/>
                  </a:lnTo>
                  <a:lnTo>
                    <a:pt x="171" y="1497"/>
                  </a:lnTo>
                  <a:lnTo>
                    <a:pt x="0" y="11335"/>
                  </a:lnTo>
                  <a:lnTo>
                    <a:pt x="0" y="16574"/>
                  </a:lnTo>
                  <a:lnTo>
                    <a:pt x="1029" y="20958"/>
                  </a:lnTo>
                  <a:lnTo>
                    <a:pt x="1371" y="20958"/>
                  </a:lnTo>
                  <a:lnTo>
                    <a:pt x="1886" y="21065"/>
                  </a:lnTo>
                  <a:lnTo>
                    <a:pt x="2571" y="21172"/>
                  </a:lnTo>
                  <a:lnTo>
                    <a:pt x="2743" y="20851"/>
                  </a:lnTo>
                  <a:lnTo>
                    <a:pt x="2571" y="20424"/>
                  </a:lnTo>
                  <a:lnTo>
                    <a:pt x="2743" y="19996"/>
                  </a:lnTo>
                  <a:lnTo>
                    <a:pt x="3086" y="19782"/>
                  </a:lnTo>
                  <a:lnTo>
                    <a:pt x="3600" y="19675"/>
                  </a:lnTo>
                  <a:lnTo>
                    <a:pt x="3771" y="19889"/>
                  </a:lnTo>
                  <a:lnTo>
                    <a:pt x="3771" y="20210"/>
                  </a:lnTo>
                  <a:lnTo>
                    <a:pt x="3600" y="20424"/>
                  </a:lnTo>
                  <a:lnTo>
                    <a:pt x="3771" y="20638"/>
                  </a:lnTo>
                  <a:lnTo>
                    <a:pt x="3943" y="20745"/>
                  </a:lnTo>
                  <a:lnTo>
                    <a:pt x="4286" y="20851"/>
                  </a:lnTo>
                  <a:lnTo>
                    <a:pt x="4629" y="21065"/>
                  </a:lnTo>
                  <a:lnTo>
                    <a:pt x="4629" y="21386"/>
                  </a:lnTo>
                  <a:lnTo>
                    <a:pt x="4286" y="21600"/>
                  </a:lnTo>
                  <a:lnTo>
                    <a:pt x="4629" y="21493"/>
                  </a:lnTo>
                  <a:lnTo>
                    <a:pt x="5314" y="21386"/>
                  </a:lnTo>
                  <a:lnTo>
                    <a:pt x="6171" y="21279"/>
                  </a:lnTo>
                  <a:lnTo>
                    <a:pt x="6514" y="21065"/>
                  </a:lnTo>
                  <a:lnTo>
                    <a:pt x="6686" y="21065"/>
                  </a:lnTo>
                  <a:lnTo>
                    <a:pt x="7371" y="20958"/>
                  </a:lnTo>
                  <a:lnTo>
                    <a:pt x="7543" y="20851"/>
                  </a:lnTo>
                  <a:lnTo>
                    <a:pt x="6857" y="2010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 name="Shape 2317">
              <a:extLst>
                <a:ext uri="{FF2B5EF4-FFF2-40B4-BE49-F238E27FC236}">
                  <a16:creationId xmlns:a16="http://schemas.microsoft.com/office/drawing/2014/main" id="{93BEB7CC-3090-D2DB-57EA-0C65693CA1B2}"/>
                </a:ext>
              </a:extLst>
            </p:cNvPr>
            <p:cNvSpPr/>
            <p:nvPr/>
          </p:nvSpPr>
          <p:spPr>
            <a:xfrm>
              <a:off x="6086054" y="3871786"/>
              <a:ext cx="667183" cy="1167866"/>
            </a:xfrm>
            <a:custGeom>
              <a:avLst/>
              <a:gdLst/>
              <a:ahLst/>
              <a:cxnLst>
                <a:cxn ang="0">
                  <a:pos x="wd2" y="hd2"/>
                </a:cxn>
                <a:cxn ang="5400000">
                  <a:pos x="wd2" y="hd2"/>
                </a:cxn>
                <a:cxn ang="10800000">
                  <a:pos x="wd2" y="hd2"/>
                </a:cxn>
                <a:cxn ang="16200000">
                  <a:pos x="wd2" y="hd2"/>
                </a:cxn>
              </a:cxnLst>
              <a:rect l="0" t="0" r="r" b="b"/>
              <a:pathLst>
                <a:path w="21600" h="21600" extrusionOk="0">
                  <a:moveTo>
                    <a:pt x="20483" y="15748"/>
                  </a:moveTo>
                  <a:lnTo>
                    <a:pt x="20483" y="10534"/>
                  </a:lnTo>
                  <a:lnTo>
                    <a:pt x="20669" y="745"/>
                  </a:lnTo>
                  <a:lnTo>
                    <a:pt x="20669" y="0"/>
                  </a:lnTo>
                  <a:lnTo>
                    <a:pt x="7634" y="532"/>
                  </a:lnTo>
                  <a:lnTo>
                    <a:pt x="7821" y="851"/>
                  </a:lnTo>
                  <a:lnTo>
                    <a:pt x="7076" y="1064"/>
                  </a:lnTo>
                  <a:lnTo>
                    <a:pt x="6703" y="1277"/>
                  </a:lnTo>
                  <a:lnTo>
                    <a:pt x="6517" y="1596"/>
                  </a:lnTo>
                  <a:lnTo>
                    <a:pt x="6145" y="1809"/>
                  </a:lnTo>
                  <a:lnTo>
                    <a:pt x="5959" y="1809"/>
                  </a:lnTo>
                  <a:lnTo>
                    <a:pt x="5586" y="2341"/>
                  </a:lnTo>
                  <a:lnTo>
                    <a:pt x="5586" y="2767"/>
                  </a:lnTo>
                  <a:lnTo>
                    <a:pt x="5028" y="3299"/>
                  </a:lnTo>
                  <a:lnTo>
                    <a:pt x="4097" y="3937"/>
                  </a:lnTo>
                  <a:lnTo>
                    <a:pt x="3538" y="4256"/>
                  </a:lnTo>
                  <a:lnTo>
                    <a:pt x="3352" y="4682"/>
                  </a:lnTo>
                  <a:lnTo>
                    <a:pt x="3724" y="4788"/>
                  </a:lnTo>
                  <a:lnTo>
                    <a:pt x="3352" y="5107"/>
                  </a:lnTo>
                  <a:lnTo>
                    <a:pt x="2979" y="5533"/>
                  </a:lnTo>
                  <a:lnTo>
                    <a:pt x="3166" y="5746"/>
                  </a:lnTo>
                  <a:lnTo>
                    <a:pt x="2979" y="5746"/>
                  </a:lnTo>
                  <a:lnTo>
                    <a:pt x="2421" y="6171"/>
                  </a:lnTo>
                  <a:lnTo>
                    <a:pt x="2048" y="6491"/>
                  </a:lnTo>
                  <a:lnTo>
                    <a:pt x="2234" y="6597"/>
                  </a:lnTo>
                  <a:lnTo>
                    <a:pt x="2048" y="6810"/>
                  </a:lnTo>
                  <a:lnTo>
                    <a:pt x="2048" y="7023"/>
                  </a:lnTo>
                  <a:lnTo>
                    <a:pt x="2234" y="7129"/>
                  </a:lnTo>
                  <a:lnTo>
                    <a:pt x="2607" y="7448"/>
                  </a:lnTo>
                  <a:lnTo>
                    <a:pt x="2607" y="8300"/>
                  </a:lnTo>
                  <a:lnTo>
                    <a:pt x="2793" y="8619"/>
                  </a:lnTo>
                  <a:lnTo>
                    <a:pt x="2607" y="8938"/>
                  </a:lnTo>
                  <a:lnTo>
                    <a:pt x="2234" y="9470"/>
                  </a:lnTo>
                  <a:lnTo>
                    <a:pt x="2048" y="9470"/>
                  </a:lnTo>
                  <a:lnTo>
                    <a:pt x="2607" y="9683"/>
                  </a:lnTo>
                  <a:lnTo>
                    <a:pt x="2793" y="10002"/>
                  </a:lnTo>
                  <a:lnTo>
                    <a:pt x="2793" y="10215"/>
                  </a:lnTo>
                  <a:lnTo>
                    <a:pt x="2048" y="10428"/>
                  </a:lnTo>
                  <a:lnTo>
                    <a:pt x="2607" y="10640"/>
                  </a:lnTo>
                  <a:lnTo>
                    <a:pt x="2793" y="10853"/>
                  </a:lnTo>
                  <a:lnTo>
                    <a:pt x="2793" y="10960"/>
                  </a:lnTo>
                  <a:lnTo>
                    <a:pt x="2979" y="11492"/>
                  </a:lnTo>
                  <a:lnTo>
                    <a:pt x="2979" y="11704"/>
                  </a:lnTo>
                  <a:lnTo>
                    <a:pt x="3538" y="11917"/>
                  </a:lnTo>
                  <a:lnTo>
                    <a:pt x="3724" y="12236"/>
                  </a:lnTo>
                  <a:lnTo>
                    <a:pt x="3538" y="13088"/>
                  </a:lnTo>
                  <a:lnTo>
                    <a:pt x="2979" y="13407"/>
                  </a:lnTo>
                  <a:lnTo>
                    <a:pt x="2793" y="13407"/>
                  </a:lnTo>
                  <a:lnTo>
                    <a:pt x="2793" y="13833"/>
                  </a:lnTo>
                  <a:lnTo>
                    <a:pt x="2607" y="14045"/>
                  </a:lnTo>
                  <a:lnTo>
                    <a:pt x="1862" y="14684"/>
                  </a:lnTo>
                  <a:lnTo>
                    <a:pt x="1490" y="14897"/>
                  </a:lnTo>
                  <a:lnTo>
                    <a:pt x="1303" y="15641"/>
                  </a:lnTo>
                  <a:lnTo>
                    <a:pt x="1117" y="15854"/>
                  </a:lnTo>
                  <a:lnTo>
                    <a:pt x="931" y="15961"/>
                  </a:lnTo>
                  <a:lnTo>
                    <a:pt x="745" y="16280"/>
                  </a:lnTo>
                  <a:lnTo>
                    <a:pt x="745" y="17025"/>
                  </a:lnTo>
                  <a:lnTo>
                    <a:pt x="186" y="17237"/>
                  </a:lnTo>
                  <a:lnTo>
                    <a:pt x="0" y="17450"/>
                  </a:lnTo>
                  <a:lnTo>
                    <a:pt x="0" y="17769"/>
                  </a:lnTo>
                  <a:lnTo>
                    <a:pt x="186" y="18195"/>
                  </a:lnTo>
                  <a:lnTo>
                    <a:pt x="12290" y="17876"/>
                  </a:lnTo>
                  <a:lnTo>
                    <a:pt x="12103" y="19578"/>
                  </a:lnTo>
                  <a:lnTo>
                    <a:pt x="12476" y="20004"/>
                  </a:lnTo>
                  <a:lnTo>
                    <a:pt x="13034" y="20430"/>
                  </a:lnTo>
                  <a:lnTo>
                    <a:pt x="13221" y="21174"/>
                  </a:lnTo>
                  <a:lnTo>
                    <a:pt x="13221" y="21600"/>
                  </a:lnTo>
                  <a:lnTo>
                    <a:pt x="13407" y="21600"/>
                  </a:lnTo>
                  <a:lnTo>
                    <a:pt x="14338" y="21281"/>
                  </a:lnTo>
                  <a:lnTo>
                    <a:pt x="14710" y="21174"/>
                  </a:lnTo>
                  <a:lnTo>
                    <a:pt x="15269" y="20962"/>
                  </a:lnTo>
                  <a:lnTo>
                    <a:pt x="15269" y="20536"/>
                  </a:lnTo>
                  <a:lnTo>
                    <a:pt x="16572" y="20536"/>
                  </a:lnTo>
                  <a:lnTo>
                    <a:pt x="17317" y="20430"/>
                  </a:lnTo>
                  <a:lnTo>
                    <a:pt x="18248" y="20217"/>
                  </a:lnTo>
                  <a:lnTo>
                    <a:pt x="20297" y="20217"/>
                  </a:lnTo>
                  <a:lnTo>
                    <a:pt x="21041" y="20430"/>
                  </a:lnTo>
                  <a:lnTo>
                    <a:pt x="21600" y="20110"/>
                  </a:lnTo>
                  <a:lnTo>
                    <a:pt x="20483" y="15748"/>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 name="Shape 2318">
              <a:extLst>
                <a:ext uri="{FF2B5EF4-FFF2-40B4-BE49-F238E27FC236}">
                  <a16:creationId xmlns:a16="http://schemas.microsoft.com/office/drawing/2014/main" id="{8D5F86FD-B508-DFB3-FB05-F76660D1CDC4}"/>
                </a:ext>
              </a:extLst>
            </p:cNvPr>
            <p:cNvSpPr/>
            <p:nvPr/>
          </p:nvSpPr>
          <p:spPr>
            <a:xfrm>
              <a:off x="8191124" y="2462296"/>
              <a:ext cx="828224" cy="604071"/>
            </a:xfrm>
            <a:custGeom>
              <a:avLst/>
              <a:gdLst/>
              <a:ahLst/>
              <a:cxnLst>
                <a:cxn ang="0">
                  <a:pos x="wd2" y="hd2"/>
                </a:cxn>
                <a:cxn ang="5400000">
                  <a:pos x="wd2" y="hd2"/>
                </a:cxn>
                <a:cxn ang="10800000">
                  <a:pos x="wd2" y="hd2"/>
                </a:cxn>
                <a:cxn ang="16200000">
                  <a:pos x="wd2" y="hd2"/>
                </a:cxn>
              </a:cxnLst>
              <a:rect l="0" t="0" r="r" b="b"/>
              <a:pathLst>
                <a:path w="21600" h="21600" extrusionOk="0">
                  <a:moveTo>
                    <a:pt x="17026" y="0"/>
                  </a:moveTo>
                  <a:cubicBezTo>
                    <a:pt x="0" y="4215"/>
                    <a:pt x="0" y="4215"/>
                    <a:pt x="0" y="4215"/>
                  </a:cubicBezTo>
                  <a:cubicBezTo>
                    <a:pt x="0" y="4215"/>
                    <a:pt x="0" y="4215"/>
                    <a:pt x="0" y="4215"/>
                  </a:cubicBezTo>
                  <a:cubicBezTo>
                    <a:pt x="381" y="7727"/>
                    <a:pt x="381" y="7727"/>
                    <a:pt x="381" y="7727"/>
                  </a:cubicBezTo>
                  <a:cubicBezTo>
                    <a:pt x="889" y="7727"/>
                    <a:pt x="889" y="7727"/>
                    <a:pt x="889" y="7727"/>
                  </a:cubicBezTo>
                  <a:cubicBezTo>
                    <a:pt x="2033" y="5795"/>
                    <a:pt x="2033" y="5795"/>
                    <a:pt x="2033" y="5795"/>
                  </a:cubicBezTo>
                  <a:cubicBezTo>
                    <a:pt x="2795" y="5795"/>
                    <a:pt x="2795" y="5795"/>
                    <a:pt x="2795" y="5795"/>
                  </a:cubicBezTo>
                  <a:cubicBezTo>
                    <a:pt x="3558" y="4390"/>
                    <a:pt x="3558" y="4390"/>
                    <a:pt x="3558" y="4390"/>
                  </a:cubicBezTo>
                  <a:cubicBezTo>
                    <a:pt x="3812" y="4390"/>
                    <a:pt x="3812" y="4390"/>
                    <a:pt x="3812" y="4390"/>
                  </a:cubicBezTo>
                  <a:cubicBezTo>
                    <a:pt x="3939" y="4741"/>
                    <a:pt x="3939" y="4741"/>
                    <a:pt x="3939" y="4741"/>
                  </a:cubicBezTo>
                  <a:cubicBezTo>
                    <a:pt x="4828" y="3863"/>
                    <a:pt x="4828" y="3863"/>
                    <a:pt x="4828" y="3863"/>
                  </a:cubicBezTo>
                  <a:cubicBezTo>
                    <a:pt x="5209" y="3863"/>
                    <a:pt x="5209" y="3863"/>
                    <a:pt x="5209" y="3863"/>
                  </a:cubicBezTo>
                  <a:cubicBezTo>
                    <a:pt x="6226" y="3161"/>
                    <a:pt x="6226" y="3161"/>
                    <a:pt x="6226" y="3161"/>
                  </a:cubicBezTo>
                  <a:cubicBezTo>
                    <a:pt x="8005" y="3863"/>
                    <a:pt x="8005" y="3863"/>
                    <a:pt x="8005" y="3863"/>
                  </a:cubicBezTo>
                  <a:cubicBezTo>
                    <a:pt x="8513" y="4917"/>
                    <a:pt x="8513" y="4917"/>
                    <a:pt x="8513" y="4917"/>
                  </a:cubicBezTo>
                  <a:cubicBezTo>
                    <a:pt x="8894" y="6322"/>
                    <a:pt x="8894" y="6322"/>
                    <a:pt x="8894" y="6322"/>
                  </a:cubicBezTo>
                  <a:cubicBezTo>
                    <a:pt x="9021" y="6322"/>
                    <a:pt x="9021" y="6322"/>
                    <a:pt x="9021" y="6322"/>
                  </a:cubicBezTo>
                  <a:cubicBezTo>
                    <a:pt x="10546" y="7551"/>
                    <a:pt x="10546" y="7551"/>
                    <a:pt x="10546" y="7551"/>
                  </a:cubicBezTo>
                  <a:cubicBezTo>
                    <a:pt x="11181" y="8429"/>
                    <a:pt x="11181" y="8429"/>
                    <a:pt x="11181" y="8429"/>
                  </a:cubicBezTo>
                  <a:cubicBezTo>
                    <a:pt x="11816" y="8956"/>
                    <a:pt x="11816" y="8956"/>
                    <a:pt x="11816" y="8956"/>
                  </a:cubicBezTo>
                  <a:cubicBezTo>
                    <a:pt x="11944" y="9834"/>
                    <a:pt x="11944" y="9834"/>
                    <a:pt x="11944" y="9834"/>
                  </a:cubicBezTo>
                  <a:cubicBezTo>
                    <a:pt x="11689" y="10537"/>
                    <a:pt x="11689" y="10537"/>
                    <a:pt x="11689" y="10537"/>
                  </a:cubicBezTo>
                  <a:cubicBezTo>
                    <a:pt x="11181" y="10712"/>
                    <a:pt x="11181" y="10712"/>
                    <a:pt x="11181" y="10712"/>
                  </a:cubicBezTo>
                  <a:cubicBezTo>
                    <a:pt x="11308" y="12995"/>
                    <a:pt x="11308" y="12995"/>
                    <a:pt x="11308" y="12995"/>
                  </a:cubicBezTo>
                  <a:cubicBezTo>
                    <a:pt x="11562" y="13346"/>
                    <a:pt x="11562" y="13346"/>
                    <a:pt x="11562" y="13346"/>
                  </a:cubicBezTo>
                  <a:cubicBezTo>
                    <a:pt x="11944" y="13171"/>
                    <a:pt x="11944" y="13171"/>
                    <a:pt x="11944" y="13171"/>
                  </a:cubicBezTo>
                  <a:cubicBezTo>
                    <a:pt x="12325" y="12995"/>
                    <a:pt x="12325" y="12995"/>
                    <a:pt x="12325" y="12995"/>
                  </a:cubicBezTo>
                  <a:cubicBezTo>
                    <a:pt x="12833" y="13171"/>
                    <a:pt x="12833" y="13171"/>
                    <a:pt x="12833" y="13171"/>
                  </a:cubicBezTo>
                  <a:cubicBezTo>
                    <a:pt x="12960" y="13346"/>
                    <a:pt x="12960" y="13346"/>
                    <a:pt x="12960" y="13346"/>
                  </a:cubicBezTo>
                  <a:cubicBezTo>
                    <a:pt x="13468" y="13171"/>
                    <a:pt x="13468" y="13171"/>
                    <a:pt x="13468" y="13171"/>
                  </a:cubicBezTo>
                  <a:cubicBezTo>
                    <a:pt x="15120" y="13346"/>
                    <a:pt x="15120" y="13346"/>
                    <a:pt x="15120" y="13346"/>
                  </a:cubicBezTo>
                  <a:cubicBezTo>
                    <a:pt x="15501" y="13698"/>
                    <a:pt x="15501" y="13698"/>
                    <a:pt x="15501" y="13698"/>
                  </a:cubicBezTo>
                  <a:cubicBezTo>
                    <a:pt x="16009" y="14049"/>
                    <a:pt x="16009" y="14049"/>
                    <a:pt x="16009" y="14049"/>
                  </a:cubicBezTo>
                  <a:cubicBezTo>
                    <a:pt x="16391" y="13873"/>
                    <a:pt x="16391" y="13873"/>
                    <a:pt x="16391" y="13873"/>
                  </a:cubicBezTo>
                  <a:cubicBezTo>
                    <a:pt x="16136" y="13171"/>
                    <a:pt x="16136" y="13171"/>
                    <a:pt x="16136" y="13171"/>
                  </a:cubicBezTo>
                  <a:cubicBezTo>
                    <a:pt x="15755" y="12644"/>
                    <a:pt x="15755" y="12644"/>
                    <a:pt x="15755" y="12644"/>
                  </a:cubicBezTo>
                  <a:cubicBezTo>
                    <a:pt x="15755" y="12117"/>
                    <a:pt x="15755" y="12117"/>
                    <a:pt x="15755" y="12117"/>
                  </a:cubicBezTo>
                  <a:cubicBezTo>
                    <a:pt x="15755" y="11941"/>
                    <a:pt x="15755" y="11941"/>
                    <a:pt x="15755" y="11941"/>
                  </a:cubicBezTo>
                  <a:cubicBezTo>
                    <a:pt x="14993" y="10537"/>
                    <a:pt x="14993" y="10537"/>
                    <a:pt x="14993" y="10537"/>
                  </a:cubicBezTo>
                  <a:cubicBezTo>
                    <a:pt x="14739" y="10010"/>
                    <a:pt x="14739" y="10010"/>
                    <a:pt x="14739" y="10010"/>
                  </a:cubicBezTo>
                  <a:cubicBezTo>
                    <a:pt x="14739" y="8780"/>
                    <a:pt x="14739" y="8780"/>
                    <a:pt x="14739" y="8780"/>
                  </a:cubicBezTo>
                  <a:cubicBezTo>
                    <a:pt x="14612" y="7551"/>
                    <a:pt x="14612" y="7551"/>
                    <a:pt x="14612" y="7551"/>
                  </a:cubicBezTo>
                  <a:cubicBezTo>
                    <a:pt x="14739" y="6322"/>
                    <a:pt x="14739" y="6322"/>
                    <a:pt x="14739" y="6322"/>
                  </a:cubicBezTo>
                  <a:cubicBezTo>
                    <a:pt x="14358" y="5444"/>
                    <a:pt x="14358" y="5444"/>
                    <a:pt x="14358" y="5444"/>
                  </a:cubicBezTo>
                  <a:cubicBezTo>
                    <a:pt x="14104" y="4917"/>
                    <a:pt x="14104" y="4917"/>
                    <a:pt x="14104" y="4917"/>
                  </a:cubicBezTo>
                  <a:cubicBezTo>
                    <a:pt x="14612" y="4917"/>
                    <a:pt x="14612" y="4917"/>
                    <a:pt x="14612" y="4917"/>
                  </a:cubicBezTo>
                  <a:cubicBezTo>
                    <a:pt x="14993" y="3863"/>
                    <a:pt x="14993" y="3863"/>
                    <a:pt x="14993" y="3863"/>
                  </a:cubicBezTo>
                  <a:cubicBezTo>
                    <a:pt x="15755" y="3161"/>
                    <a:pt x="15755" y="3161"/>
                    <a:pt x="15755" y="3161"/>
                  </a:cubicBezTo>
                  <a:cubicBezTo>
                    <a:pt x="16136" y="2107"/>
                    <a:pt x="16136" y="2107"/>
                    <a:pt x="16136" y="2107"/>
                  </a:cubicBezTo>
                  <a:cubicBezTo>
                    <a:pt x="16391" y="2283"/>
                    <a:pt x="16391" y="2283"/>
                    <a:pt x="16391" y="2283"/>
                  </a:cubicBezTo>
                  <a:cubicBezTo>
                    <a:pt x="16264" y="3512"/>
                    <a:pt x="16264" y="3512"/>
                    <a:pt x="16264" y="3512"/>
                  </a:cubicBezTo>
                  <a:cubicBezTo>
                    <a:pt x="15882" y="3688"/>
                    <a:pt x="15882" y="3688"/>
                    <a:pt x="15882" y="3688"/>
                  </a:cubicBezTo>
                  <a:cubicBezTo>
                    <a:pt x="15628" y="4741"/>
                    <a:pt x="15628" y="4741"/>
                    <a:pt x="15628" y="4741"/>
                  </a:cubicBezTo>
                  <a:cubicBezTo>
                    <a:pt x="15628" y="5444"/>
                    <a:pt x="15628" y="5444"/>
                    <a:pt x="15628" y="5444"/>
                  </a:cubicBezTo>
                  <a:cubicBezTo>
                    <a:pt x="16136" y="5444"/>
                    <a:pt x="16136" y="5444"/>
                    <a:pt x="16136" y="5444"/>
                  </a:cubicBezTo>
                  <a:cubicBezTo>
                    <a:pt x="15501" y="6322"/>
                    <a:pt x="15501" y="6322"/>
                    <a:pt x="15501" y="6322"/>
                  </a:cubicBezTo>
                  <a:cubicBezTo>
                    <a:pt x="15247" y="6849"/>
                    <a:pt x="15247" y="6849"/>
                    <a:pt x="15247" y="6849"/>
                  </a:cubicBezTo>
                  <a:cubicBezTo>
                    <a:pt x="16009" y="7200"/>
                    <a:pt x="16009" y="7200"/>
                    <a:pt x="16009" y="7200"/>
                  </a:cubicBezTo>
                  <a:cubicBezTo>
                    <a:pt x="16264" y="7376"/>
                    <a:pt x="16264" y="7376"/>
                    <a:pt x="16264" y="7376"/>
                  </a:cubicBezTo>
                  <a:cubicBezTo>
                    <a:pt x="16645" y="8078"/>
                    <a:pt x="16645" y="8078"/>
                    <a:pt x="16645" y="8078"/>
                  </a:cubicBezTo>
                  <a:cubicBezTo>
                    <a:pt x="16518" y="8254"/>
                    <a:pt x="16518" y="8254"/>
                    <a:pt x="16518" y="8254"/>
                  </a:cubicBezTo>
                  <a:cubicBezTo>
                    <a:pt x="17026" y="8956"/>
                    <a:pt x="17026" y="8956"/>
                    <a:pt x="17026" y="8956"/>
                  </a:cubicBezTo>
                  <a:cubicBezTo>
                    <a:pt x="17026" y="9307"/>
                    <a:pt x="17026" y="9307"/>
                    <a:pt x="17026" y="9307"/>
                  </a:cubicBezTo>
                  <a:cubicBezTo>
                    <a:pt x="16518" y="10010"/>
                    <a:pt x="16518" y="10010"/>
                    <a:pt x="16518" y="10010"/>
                  </a:cubicBezTo>
                  <a:cubicBezTo>
                    <a:pt x="16136" y="10010"/>
                    <a:pt x="16136" y="10010"/>
                    <a:pt x="16136" y="10010"/>
                  </a:cubicBezTo>
                  <a:cubicBezTo>
                    <a:pt x="16264" y="10712"/>
                    <a:pt x="16264" y="10712"/>
                    <a:pt x="16264" y="10712"/>
                  </a:cubicBezTo>
                  <a:cubicBezTo>
                    <a:pt x="16136" y="11063"/>
                    <a:pt x="16136" y="11063"/>
                    <a:pt x="16136" y="11063"/>
                  </a:cubicBezTo>
                  <a:cubicBezTo>
                    <a:pt x="16391" y="11415"/>
                    <a:pt x="16391" y="11415"/>
                    <a:pt x="16391" y="11415"/>
                  </a:cubicBezTo>
                  <a:cubicBezTo>
                    <a:pt x="16899" y="11590"/>
                    <a:pt x="16899" y="11590"/>
                    <a:pt x="16899" y="11590"/>
                  </a:cubicBezTo>
                  <a:cubicBezTo>
                    <a:pt x="17661" y="11590"/>
                    <a:pt x="17661" y="11590"/>
                    <a:pt x="17661" y="11590"/>
                  </a:cubicBezTo>
                  <a:cubicBezTo>
                    <a:pt x="18169" y="12117"/>
                    <a:pt x="18169" y="12117"/>
                    <a:pt x="18169" y="12117"/>
                  </a:cubicBezTo>
                  <a:cubicBezTo>
                    <a:pt x="18551" y="13171"/>
                    <a:pt x="18551" y="13171"/>
                    <a:pt x="18551" y="13171"/>
                  </a:cubicBezTo>
                  <a:cubicBezTo>
                    <a:pt x="18805" y="14049"/>
                    <a:pt x="18805" y="14049"/>
                    <a:pt x="18805" y="14049"/>
                  </a:cubicBezTo>
                  <a:cubicBezTo>
                    <a:pt x="18678" y="14224"/>
                    <a:pt x="18678" y="14224"/>
                    <a:pt x="18678" y="14224"/>
                  </a:cubicBezTo>
                  <a:cubicBezTo>
                    <a:pt x="19059" y="14751"/>
                    <a:pt x="19059" y="14751"/>
                    <a:pt x="19059" y="14751"/>
                  </a:cubicBezTo>
                  <a:cubicBezTo>
                    <a:pt x="19313" y="15629"/>
                    <a:pt x="19313" y="15629"/>
                    <a:pt x="19313" y="15629"/>
                  </a:cubicBezTo>
                  <a:cubicBezTo>
                    <a:pt x="18932" y="17210"/>
                    <a:pt x="18932" y="17210"/>
                    <a:pt x="18932" y="17210"/>
                  </a:cubicBezTo>
                  <a:cubicBezTo>
                    <a:pt x="18805" y="18263"/>
                    <a:pt x="18805" y="18263"/>
                    <a:pt x="18805" y="18263"/>
                  </a:cubicBezTo>
                  <a:cubicBezTo>
                    <a:pt x="18805" y="20020"/>
                    <a:pt x="18805" y="20020"/>
                    <a:pt x="18805" y="20020"/>
                  </a:cubicBezTo>
                  <a:cubicBezTo>
                    <a:pt x="18932" y="21073"/>
                    <a:pt x="18932" y="21073"/>
                    <a:pt x="18932" y="21073"/>
                  </a:cubicBezTo>
                  <a:cubicBezTo>
                    <a:pt x="19186" y="21600"/>
                    <a:pt x="19186" y="21600"/>
                    <a:pt x="19186" y="21600"/>
                  </a:cubicBezTo>
                  <a:cubicBezTo>
                    <a:pt x="19440" y="20371"/>
                    <a:pt x="19440" y="20371"/>
                    <a:pt x="19440" y="20371"/>
                  </a:cubicBezTo>
                  <a:cubicBezTo>
                    <a:pt x="19567" y="18439"/>
                    <a:pt x="19567" y="18439"/>
                    <a:pt x="19567" y="18439"/>
                  </a:cubicBezTo>
                  <a:cubicBezTo>
                    <a:pt x="19948" y="17912"/>
                    <a:pt x="19948" y="17912"/>
                    <a:pt x="19948" y="17912"/>
                  </a:cubicBezTo>
                  <a:cubicBezTo>
                    <a:pt x="19948" y="17385"/>
                    <a:pt x="19948" y="17385"/>
                    <a:pt x="19948" y="17385"/>
                  </a:cubicBezTo>
                  <a:cubicBezTo>
                    <a:pt x="19948" y="17034"/>
                    <a:pt x="19948" y="17034"/>
                    <a:pt x="19948" y="17034"/>
                  </a:cubicBezTo>
                  <a:cubicBezTo>
                    <a:pt x="20329" y="16683"/>
                    <a:pt x="20329" y="16683"/>
                    <a:pt x="20329" y="16683"/>
                  </a:cubicBezTo>
                  <a:cubicBezTo>
                    <a:pt x="20711" y="15980"/>
                    <a:pt x="20711" y="15980"/>
                    <a:pt x="20711" y="15980"/>
                  </a:cubicBezTo>
                  <a:cubicBezTo>
                    <a:pt x="20711" y="14400"/>
                    <a:pt x="20711" y="14400"/>
                    <a:pt x="20711" y="14400"/>
                  </a:cubicBezTo>
                  <a:cubicBezTo>
                    <a:pt x="20711" y="13873"/>
                    <a:pt x="20711" y="13873"/>
                    <a:pt x="20711" y="13873"/>
                  </a:cubicBezTo>
                  <a:cubicBezTo>
                    <a:pt x="20711" y="13171"/>
                    <a:pt x="20711" y="13171"/>
                    <a:pt x="20711" y="13171"/>
                  </a:cubicBezTo>
                  <a:cubicBezTo>
                    <a:pt x="21219" y="12468"/>
                    <a:pt x="21219" y="12468"/>
                    <a:pt x="21219" y="12468"/>
                  </a:cubicBezTo>
                  <a:cubicBezTo>
                    <a:pt x="21346" y="12995"/>
                    <a:pt x="21346" y="12995"/>
                    <a:pt x="21346" y="12995"/>
                  </a:cubicBezTo>
                  <a:cubicBezTo>
                    <a:pt x="21219" y="13522"/>
                    <a:pt x="21219" y="13522"/>
                    <a:pt x="21219" y="13522"/>
                  </a:cubicBezTo>
                  <a:cubicBezTo>
                    <a:pt x="21219" y="13522"/>
                    <a:pt x="20965" y="14049"/>
                    <a:pt x="20965" y="14049"/>
                  </a:cubicBezTo>
                  <a:cubicBezTo>
                    <a:pt x="21092" y="14224"/>
                    <a:pt x="21346" y="14400"/>
                    <a:pt x="21346" y="14400"/>
                  </a:cubicBezTo>
                  <a:cubicBezTo>
                    <a:pt x="21600" y="13522"/>
                    <a:pt x="21600" y="13522"/>
                    <a:pt x="21600" y="13522"/>
                  </a:cubicBezTo>
                  <a:cubicBezTo>
                    <a:pt x="21600" y="11941"/>
                    <a:pt x="21600" y="11941"/>
                    <a:pt x="21600" y="11941"/>
                  </a:cubicBezTo>
                  <a:cubicBezTo>
                    <a:pt x="21473" y="9483"/>
                    <a:pt x="21473" y="9483"/>
                    <a:pt x="21473" y="9483"/>
                  </a:cubicBezTo>
                  <a:cubicBezTo>
                    <a:pt x="21473" y="9483"/>
                    <a:pt x="21473" y="9483"/>
                    <a:pt x="21473" y="9483"/>
                  </a:cubicBezTo>
                  <a:cubicBezTo>
                    <a:pt x="18805" y="10010"/>
                    <a:pt x="18805" y="10010"/>
                    <a:pt x="18805" y="10010"/>
                  </a:cubicBezTo>
                  <a:lnTo>
                    <a:pt x="17026" y="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 name="Shape 2319">
              <a:extLst>
                <a:ext uri="{FF2B5EF4-FFF2-40B4-BE49-F238E27FC236}">
                  <a16:creationId xmlns:a16="http://schemas.microsoft.com/office/drawing/2014/main" id="{83C6CFD1-A567-D5F5-C61A-1D05A6F6A6E9}"/>
                </a:ext>
              </a:extLst>
            </p:cNvPr>
            <p:cNvSpPr/>
            <p:nvPr/>
          </p:nvSpPr>
          <p:spPr>
            <a:xfrm>
              <a:off x="7684985" y="2393261"/>
              <a:ext cx="851231" cy="839944"/>
            </a:xfrm>
            <a:custGeom>
              <a:avLst/>
              <a:gdLst/>
              <a:ahLst/>
              <a:cxnLst>
                <a:cxn ang="0">
                  <a:pos x="wd2" y="hd2"/>
                </a:cxn>
                <a:cxn ang="5400000">
                  <a:pos x="wd2" y="hd2"/>
                </a:cxn>
                <a:cxn ang="10800000">
                  <a:pos x="wd2" y="hd2"/>
                </a:cxn>
                <a:cxn ang="16200000">
                  <a:pos x="wd2" y="hd2"/>
                </a:cxn>
              </a:cxnLst>
              <a:rect l="0" t="0" r="r" b="b"/>
              <a:pathLst>
                <a:path w="21600" h="21600" extrusionOk="0">
                  <a:moveTo>
                    <a:pt x="3065" y="20121"/>
                  </a:moveTo>
                  <a:lnTo>
                    <a:pt x="3503" y="20121"/>
                  </a:lnTo>
                  <a:lnTo>
                    <a:pt x="3649" y="20564"/>
                  </a:lnTo>
                  <a:lnTo>
                    <a:pt x="4524" y="21304"/>
                  </a:lnTo>
                  <a:lnTo>
                    <a:pt x="5254" y="21600"/>
                  </a:lnTo>
                  <a:lnTo>
                    <a:pt x="5546" y="21600"/>
                  </a:lnTo>
                  <a:lnTo>
                    <a:pt x="6422" y="20564"/>
                  </a:lnTo>
                  <a:lnTo>
                    <a:pt x="7005" y="21008"/>
                  </a:lnTo>
                  <a:lnTo>
                    <a:pt x="8319" y="20712"/>
                  </a:lnTo>
                  <a:lnTo>
                    <a:pt x="9341" y="19825"/>
                  </a:lnTo>
                  <a:lnTo>
                    <a:pt x="10946" y="18937"/>
                  </a:lnTo>
                  <a:lnTo>
                    <a:pt x="11530" y="18493"/>
                  </a:lnTo>
                  <a:lnTo>
                    <a:pt x="11384" y="17310"/>
                  </a:lnTo>
                  <a:lnTo>
                    <a:pt x="11530" y="16570"/>
                  </a:lnTo>
                  <a:lnTo>
                    <a:pt x="12259" y="15830"/>
                  </a:lnTo>
                  <a:lnTo>
                    <a:pt x="12697" y="14647"/>
                  </a:lnTo>
                  <a:lnTo>
                    <a:pt x="13135" y="12871"/>
                  </a:lnTo>
                  <a:lnTo>
                    <a:pt x="13281" y="11836"/>
                  </a:lnTo>
                  <a:lnTo>
                    <a:pt x="13865" y="12132"/>
                  </a:lnTo>
                  <a:lnTo>
                    <a:pt x="14595" y="12427"/>
                  </a:lnTo>
                  <a:lnTo>
                    <a:pt x="14886" y="12575"/>
                  </a:lnTo>
                  <a:lnTo>
                    <a:pt x="15032" y="12279"/>
                  </a:lnTo>
                  <a:lnTo>
                    <a:pt x="15470" y="11096"/>
                  </a:lnTo>
                  <a:lnTo>
                    <a:pt x="15762" y="10504"/>
                  </a:lnTo>
                  <a:lnTo>
                    <a:pt x="15908" y="9912"/>
                  </a:lnTo>
                  <a:lnTo>
                    <a:pt x="16492" y="9912"/>
                  </a:lnTo>
                  <a:lnTo>
                    <a:pt x="16638" y="10208"/>
                  </a:lnTo>
                  <a:lnTo>
                    <a:pt x="17368" y="8877"/>
                  </a:lnTo>
                  <a:lnTo>
                    <a:pt x="17805" y="8433"/>
                  </a:lnTo>
                  <a:lnTo>
                    <a:pt x="18097" y="7989"/>
                  </a:lnTo>
                  <a:lnTo>
                    <a:pt x="18389" y="6953"/>
                  </a:lnTo>
                  <a:lnTo>
                    <a:pt x="18389" y="5770"/>
                  </a:lnTo>
                  <a:lnTo>
                    <a:pt x="19703" y="6510"/>
                  </a:lnTo>
                  <a:lnTo>
                    <a:pt x="20578" y="6953"/>
                  </a:lnTo>
                  <a:lnTo>
                    <a:pt x="20870" y="6953"/>
                  </a:lnTo>
                  <a:lnTo>
                    <a:pt x="21308" y="6510"/>
                  </a:lnTo>
                  <a:lnTo>
                    <a:pt x="21600" y="6362"/>
                  </a:lnTo>
                  <a:lnTo>
                    <a:pt x="21454" y="6362"/>
                  </a:lnTo>
                  <a:lnTo>
                    <a:pt x="21162" y="5326"/>
                  </a:lnTo>
                  <a:lnTo>
                    <a:pt x="20578" y="4586"/>
                  </a:lnTo>
                  <a:lnTo>
                    <a:pt x="18973" y="4142"/>
                  </a:lnTo>
                  <a:lnTo>
                    <a:pt x="17951" y="4586"/>
                  </a:lnTo>
                  <a:lnTo>
                    <a:pt x="17514" y="4586"/>
                  </a:lnTo>
                  <a:lnTo>
                    <a:pt x="16638" y="5178"/>
                  </a:lnTo>
                  <a:lnTo>
                    <a:pt x="16492" y="5030"/>
                  </a:lnTo>
                  <a:lnTo>
                    <a:pt x="16346" y="5030"/>
                  </a:lnTo>
                  <a:lnTo>
                    <a:pt x="15616" y="5918"/>
                  </a:lnTo>
                  <a:lnTo>
                    <a:pt x="14886" y="5918"/>
                  </a:lnTo>
                  <a:lnTo>
                    <a:pt x="13719" y="7397"/>
                  </a:lnTo>
                  <a:lnTo>
                    <a:pt x="13281" y="7397"/>
                  </a:lnTo>
                  <a:lnTo>
                    <a:pt x="12843" y="4882"/>
                  </a:lnTo>
                  <a:lnTo>
                    <a:pt x="8319" y="5770"/>
                  </a:lnTo>
                  <a:lnTo>
                    <a:pt x="7443" y="0"/>
                  </a:lnTo>
                  <a:lnTo>
                    <a:pt x="7005" y="0"/>
                  </a:lnTo>
                  <a:lnTo>
                    <a:pt x="6859" y="444"/>
                  </a:lnTo>
                  <a:lnTo>
                    <a:pt x="7005" y="888"/>
                  </a:lnTo>
                  <a:lnTo>
                    <a:pt x="7005" y="2811"/>
                  </a:lnTo>
                  <a:lnTo>
                    <a:pt x="6859" y="3255"/>
                  </a:lnTo>
                  <a:lnTo>
                    <a:pt x="6859" y="4142"/>
                  </a:lnTo>
                  <a:lnTo>
                    <a:pt x="6714" y="5326"/>
                  </a:lnTo>
                  <a:lnTo>
                    <a:pt x="6714" y="5770"/>
                  </a:lnTo>
                  <a:lnTo>
                    <a:pt x="6422" y="6510"/>
                  </a:lnTo>
                  <a:lnTo>
                    <a:pt x="5254" y="7545"/>
                  </a:lnTo>
                  <a:lnTo>
                    <a:pt x="4816" y="8137"/>
                  </a:lnTo>
                  <a:lnTo>
                    <a:pt x="4086" y="8137"/>
                  </a:lnTo>
                  <a:lnTo>
                    <a:pt x="3503" y="9025"/>
                  </a:lnTo>
                  <a:lnTo>
                    <a:pt x="3065" y="9616"/>
                  </a:lnTo>
                  <a:lnTo>
                    <a:pt x="2919" y="11096"/>
                  </a:lnTo>
                  <a:lnTo>
                    <a:pt x="2773" y="11244"/>
                  </a:lnTo>
                  <a:lnTo>
                    <a:pt x="2189" y="10800"/>
                  </a:lnTo>
                  <a:lnTo>
                    <a:pt x="1751" y="11244"/>
                  </a:lnTo>
                  <a:lnTo>
                    <a:pt x="1314" y="12871"/>
                  </a:lnTo>
                  <a:lnTo>
                    <a:pt x="1314" y="13463"/>
                  </a:lnTo>
                  <a:lnTo>
                    <a:pt x="1022" y="13907"/>
                  </a:lnTo>
                  <a:lnTo>
                    <a:pt x="0" y="14942"/>
                  </a:lnTo>
                  <a:lnTo>
                    <a:pt x="438" y="16866"/>
                  </a:lnTo>
                  <a:lnTo>
                    <a:pt x="730" y="17753"/>
                  </a:lnTo>
                  <a:lnTo>
                    <a:pt x="1459" y="18789"/>
                  </a:lnTo>
                  <a:lnTo>
                    <a:pt x="2189" y="19529"/>
                  </a:lnTo>
                  <a:lnTo>
                    <a:pt x="2773" y="20416"/>
                  </a:lnTo>
                  <a:lnTo>
                    <a:pt x="2919" y="20416"/>
                  </a:lnTo>
                  <a:lnTo>
                    <a:pt x="3065" y="20121"/>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 name="Shape 2320">
              <a:extLst>
                <a:ext uri="{FF2B5EF4-FFF2-40B4-BE49-F238E27FC236}">
                  <a16:creationId xmlns:a16="http://schemas.microsoft.com/office/drawing/2014/main" id="{B7508F9B-8DBD-5D5E-872B-65BDA592269E}"/>
                </a:ext>
              </a:extLst>
            </p:cNvPr>
            <p:cNvSpPr/>
            <p:nvPr/>
          </p:nvSpPr>
          <p:spPr>
            <a:xfrm>
              <a:off x="6436905" y="2841995"/>
              <a:ext cx="1357364" cy="701871"/>
            </a:xfrm>
            <a:custGeom>
              <a:avLst/>
              <a:gdLst/>
              <a:ahLst/>
              <a:cxnLst>
                <a:cxn ang="0">
                  <a:pos x="wd2" y="hd2"/>
                </a:cxn>
                <a:cxn ang="5400000">
                  <a:pos x="wd2" y="hd2"/>
                </a:cxn>
                <a:cxn ang="10800000">
                  <a:pos x="wd2" y="hd2"/>
                </a:cxn>
                <a:cxn ang="16200000">
                  <a:pos x="wd2" y="hd2"/>
                </a:cxn>
              </a:cxnLst>
              <a:rect l="0" t="0" r="r" b="b"/>
              <a:pathLst>
                <a:path w="21600" h="21600" extrusionOk="0">
                  <a:moveTo>
                    <a:pt x="18488" y="16643"/>
                  </a:moveTo>
                  <a:lnTo>
                    <a:pt x="18946" y="16111"/>
                  </a:lnTo>
                  <a:lnTo>
                    <a:pt x="19220" y="15757"/>
                  </a:lnTo>
                  <a:lnTo>
                    <a:pt x="19586" y="15580"/>
                  </a:lnTo>
                  <a:lnTo>
                    <a:pt x="19861" y="13987"/>
                  </a:lnTo>
                  <a:lnTo>
                    <a:pt x="20136" y="13102"/>
                  </a:lnTo>
                  <a:lnTo>
                    <a:pt x="21142" y="12393"/>
                  </a:lnTo>
                  <a:lnTo>
                    <a:pt x="21508" y="11331"/>
                  </a:lnTo>
                  <a:lnTo>
                    <a:pt x="21600" y="10623"/>
                  </a:lnTo>
                  <a:lnTo>
                    <a:pt x="21234" y="9561"/>
                  </a:lnTo>
                  <a:lnTo>
                    <a:pt x="20776" y="8675"/>
                  </a:lnTo>
                  <a:lnTo>
                    <a:pt x="20319" y="7436"/>
                  </a:lnTo>
                  <a:lnTo>
                    <a:pt x="20136" y="6374"/>
                  </a:lnTo>
                  <a:lnTo>
                    <a:pt x="19861" y="4072"/>
                  </a:lnTo>
                  <a:lnTo>
                    <a:pt x="19953" y="3895"/>
                  </a:lnTo>
                  <a:lnTo>
                    <a:pt x="19678" y="3895"/>
                  </a:lnTo>
                  <a:lnTo>
                    <a:pt x="19312" y="3187"/>
                  </a:lnTo>
                  <a:lnTo>
                    <a:pt x="18946" y="2302"/>
                  </a:lnTo>
                  <a:lnTo>
                    <a:pt x="18671" y="1770"/>
                  </a:lnTo>
                  <a:lnTo>
                    <a:pt x="18580" y="1948"/>
                  </a:lnTo>
                  <a:lnTo>
                    <a:pt x="18397" y="2125"/>
                  </a:lnTo>
                  <a:lnTo>
                    <a:pt x="18214" y="2656"/>
                  </a:lnTo>
                  <a:lnTo>
                    <a:pt x="18122" y="2833"/>
                  </a:lnTo>
                  <a:lnTo>
                    <a:pt x="17573" y="3010"/>
                  </a:lnTo>
                  <a:lnTo>
                    <a:pt x="17115" y="2656"/>
                  </a:lnTo>
                  <a:lnTo>
                    <a:pt x="16841" y="2302"/>
                  </a:lnTo>
                  <a:lnTo>
                    <a:pt x="16566" y="2833"/>
                  </a:lnTo>
                  <a:lnTo>
                    <a:pt x="16566" y="3010"/>
                  </a:lnTo>
                  <a:lnTo>
                    <a:pt x="16292" y="3187"/>
                  </a:lnTo>
                  <a:lnTo>
                    <a:pt x="16108" y="2833"/>
                  </a:lnTo>
                  <a:lnTo>
                    <a:pt x="15925" y="2656"/>
                  </a:lnTo>
                  <a:lnTo>
                    <a:pt x="15651" y="2479"/>
                  </a:lnTo>
                  <a:lnTo>
                    <a:pt x="15193" y="2302"/>
                  </a:lnTo>
                  <a:lnTo>
                    <a:pt x="14919" y="1239"/>
                  </a:lnTo>
                  <a:lnTo>
                    <a:pt x="14553" y="708"/>
                  </a:lnTo>
                  <a:lnTo>
                    <a:pt x="14095" y="0"/>
                  </a:lnTo>
                  <a:lnTo>
                    <a:pt x="14003" y="177"/>
                  </a:lnTo>
                  <a:lnTo>
                    <a:pt x="13546" y="531"/>
                  </a:lnTo>
                  <a:lnTo>
                    <a:pt x="13088" y="177"/>
                  </a:lnTo>
                  <a:lnTo>
                    <a:pt x="12905" y="354"/>
                  </a:lnTo>
                  <a:lnTo>
                    <a:pt x="12997" y="1062"/>
                  </a:lnTo>
                  <a:lnTo>
                    <a:pt x="13180" y="1239"/>
                  </a:lnTo>
                  <a:lnTo>
                    <a:pt x="13088" y="1593"/>
                  </a:lnTo>
                  <a:lnTo>
                    <a:pt x="13180" y="2656"/>
                  </a:lnTo>
                  <a:lnTo>
                    <a:pt x="12997" y="3010"/>
                  </a:lnTo>
                  <a:lnTo>
                    <a:pt x="12631" y="3010"/>
                  </a:lnTo>
                  <a:lnTo>
                    <a:pt x="12264" y="3364"/>
                  </a:lnTo>
                  <a:lnTo>
                    <a:pt x="11532" y="3541"/>
                  </a:lnTo>
                  <a:lnTo>
                    <a:pt x="11441" y="3718"/>
                  </a:lnTo>
                  <a:lnTo>
                    <a:pt x="11441" y="4072"/>
                  </a:lnTo>
                  <a:lnTo>
                    <a:pt x="11349" y="4426"/>
                  </a:lnTo>
                  <a:lnTo>
                    <a:pt x="11349" y="5134"/>
                  </a:lnTo>
                  <a:lnTo>
                    <a:pt x="10983" y="6551"/>
                  </a:lnTo>
                  <a:lnTo>
                    <a:pt x="10800" y="6905"/>
                  </a:lnTo>
                  <a:lnTo>
                    <a:pt x="10525" y="6905"/>
                  </a:lnTo>
                  <a:lnTo>
                    <a:pt x="10251" y="7790"/>
                  </a:lnTo>
                  <a:lnTo>
                    <a:pt x="10251" y="8321"/>
                  </a:lnTo>
                  <a:lnTo>
                    <a:pt x="10068" y="9030"/>
                  </a:lnTo>
                  <a:lnTo>
                    <a:pt x="9519" y="9207"/>
                  </a:lnTo>
                  <a:lnTo>
                    <a:pt x="9153" y="8498"/>
                  </a:lnTo>
                  <a:lnTo>
                    <a:pt x="9061" y="7790"/>
                  </a:lnTo>
                  <a:lnTo>
                    <a:pt x="8878" y="7790"/>
                  </a:lnTo>
                  <a:lnTo>
                    <a:pt x="8786" y="8498"/>
                  </a:lnTo>
                  <a:lnTo>
                    <a:pt x="8512" y="9030"/>
                  </a:lnTo>
                  <a:lnTo>
                    <a:pt x="8512" y="9738"/>
                  </a:lnTo>
                  <a:lnTo>
                    <a:pt x="8420" y="10269"/>
                  </a:lnTo>
                  <a:lnTo>
                    <a:pt x="8054" y="10092"/>
                  </a:lnTo>
                  <a:lnTo>
                    <a:pt x="7871" y="9738"/>
                  </a:lnTo>
                  <a:lnTo>
                    <a:pt x="7505" y="9738"/>
                  </a:lnTo>
                  <a:lnTo>
                    <a:pt x="7322" y="9915"/>
                  </a:lnTo>
                  <a:lnTo>
                    <a:pt x="6956" y="10092"/>
                  </a:lnTo>
                  <a:lnTo>
                    <a:pt x="6956" y="10800"/>
                  </a:lnTo>
                  <a:lnTo>
                    <a:pt x="6864" y="10977"/>
                  </a:lnTo>
                  <a:lnTo>
                    <a:pt x="6498" y="10623"/>
                  </a:lnTo>
                  <a:lnTo>
                    <a:pt x="6224" y="10092"/>
                  </a:lnTo>
                  <a:lnTo>
                    <a:pt x="5492" y="10092"/>
                  </a:lnTo>
                  <a:lnTo>
                    <a:pt x="5217" y="10800"/>
                  </a:lnTo>
                  <a:lnTo>
                    <a:pt x="4485" y="10800"/>
                  </a:lnTo>
                  <a:lnTo>
                    <a:pt x="4485" y="11685"/>
                  </a:lnTo>
                  <a:lnTo>
                    <a:pt x="4210" y="11685"/>
                  </a:lnTo>
                  <a:lnTo>
                    <a:pt x="3936" y="11862"/>
                  </a:lnTo>
                  <a:lnTo>
                    <a:pt x="3936" y="13279"/>
                  </a:lnTo>
                  <a:lnTo>
                    <a:pt x="4027" y="13810"/>
                  </a:lnTo>
                  <a:lnTo>
                    <a:pt x="3844" y="13987"/>
                  </a:lnTo>
                  <a:lnTo>
                    <a:pt x="3295" y="14341"/>
                  </a:lnTo>
                  <a:lnTo>
                    <a:pt x="3020" y="14695"/>
                  </a:lnTo>
                  <a:lnTo>
                    <a:pt x="3020" y="15580"/>
                  </a:lnTo>
                  <a:lnTo>
                    <a:pt x="3203" y="16466"/>
                  </a:lnTo>
                  <a:lnTo>
                    <a:pt x="3020" y="16643"/>
                  </a:lnTo>
                  <a:lnTo>
                    <a:pt x="2471" y="16643"/>
                  </a:lnTo>
                  <a:lnTo>
                    <a:pt x="2105" y="16111"/>
                  </a:lnTo>
                  <a:lnTo>
                    <a:pt x="1739" y="15757"/>
                  </a:lnTo>
                  <a:lnTo>
                    <a:pt x="1556" y="15934"/>
                  </a:lnTo>
                  <a:lnTo>
                    <a:pt x="1281" y="16466"/>
                  </a:lnTo>
                  <a:lnTo>
                    <a:pt x="1007" y="16643"/>
                  </a:lnTo>
                  <a:lnTo>
                    <a:pt x="915" y="17174"/>
                  </a:lnTo>
                  <a:lnTo>
                    <a:pt x="915" y="17705"/>
                  </a:lnTo>
                  <a:lnTo>
                    <a:pt x="1281" y="18059"/>
                  </a:lnTo>
                  <a:lnTo>
                    <a:pt x="1281" y="19830"/>
                  </a:lnTo>
                  <a:lnTo>
                    <a:pt x="1098" y="20361"/>
                  </a:lnTo>
                  <a:lnTo>
                    <a:pt x="915" y="20538"/>
                  </a:lnTo>
                  <a:lnTo>
                    <a:pt x="641" y="20538"/>
                  </a:lnTo>
                  <a:lnTo>
                    <a:pt x="458" y="20715"/>
                  </a:lnTo>
                  <a:lnTo>
                    <a:pt x="0" y="20715"/>
                  </a:lnTo>
                  <a:lnTo>
                    <a:pt x="0" y="21600"/>
                  </a:lnTo>
                  <a:lnTo>
                    <a:pt x="183" y="21423"/>
                  </a:lnTo>
                  <a:lnTo>
                    <a:pt x="4759" y="21246"/>
                  </a:lnTo>
                  <a:lnTo>
                    <a:pt x="4576" y="19652"/>
                  </a:lnTo>
                  <a:lnTo>
                    <a:pt x="13088" y="18590"/>
                  </a:lnTo>
                  <a:lnTo>
                    <a:pt x="17573" y="17705"/>
                  </a:lnTo>
                  <a:lnTo>
                    <a:pt x="18122" y="17174"/>
                  </a:lnTo>
                  <a:lnTo>
                    <a:pt x="18488" y="1664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 name="Shape 2321">
              <a:extLst>
                <a:ext uri="{FF2B5EF4-FFF2-40B4-BE49-F238E27FC236}">
                  <a16:creationId xmlns:a16="http://schemas.microsoft.com/office/drawing/2014/main" id="{1B5DB68D-3A4D-4C30-1FE3-4981D9475115}"/>
                </a:ext>
              </a:extLst>
            </p:cNvPr>
            <p:cNvSpPr/>
            <p:nvPr/>
          </p:nvSpPr>
          <p:spPr>
            <a:xfrm>
              <a:off x="5280841" y="2594616"/>
              <a:ext cx="1236582" cy="1075817"/>
            </a:xfrm>
            <a:custGeom>
              <a:avLst/>
              <a:gdLst/>
              <a:ahLst/>
              <a:cxnLst>
                <a:cxn ang="0">
                  <a:pos x="wd2" y="hd2"/>
                </a:cxn>
                <a:cxn ang="5400000">
                  <a:pos x="wd2" y="hd2"/>
                </a:cxn>
                <a:cxn ang="10800000">
                  <a:pos x="wd2" y="hd2"/>
                </a:cxn>
                <a:cxn ang="16200000">
                  <a:pos x="wd2" y="hd2"/>
                </a:cxn>
              </a:cxnLst>
              <a:rect l="0" t="0" r="r" b="b"/>
              <a:pathLst>
                <a:path w="21600" h="21600" extrusionOk="0">
                  <a:moveTo>
                    <a:pt x="20239" y="18863"/>
                  </a:moveTo>
                  <a:cubicBezTo>
                    <a:pt x="20239" y="18570"/>
                    <a:pt x="20239" y="18570"/>
                    <a:pt x="20239" y="18570"/>
                  </a:cubicBezTo>
                  <a:cubicBezTo>
                    <a:pt x="20239" y="18472"/>
                    <a:pt x="20239" y="18472"/>
                    <a:pt x="20239" y="18472"/>
                  </a:cubicBezTo>
                  <a:cubicBezTo>
                    <a:pt x="20580" y="18472"/>
                    <a:pt x="20580" y="18472"/>
                    <a:pt x="20580" y="18472"/>
                  </a:cubicBezTo>
                  <a:cubicBezTo>
                    <a:pt x="20665" y="18472"/>
                    <a:pt x="20665" y="18472"/>
                    <a:pt x="20665" y="18472"/>
                  </a:cubicBezTo>
                  <a:cubicBezTo>
                    <a:pt x="20750" y="18375"/>
                    <a:pt x="20750" y="18375"/>
                    <a:pt x="20750" y="18375"/>
                  </a:cubicBezTo>
                  <a:cubicBezTo>
                    <a:pt x="20920" y="18277"/>
                    <a:pt x="20920" y="18277"/>
                    <a:pt x="20920" y="18277"/>
                  </a:cubicBezTo>
                  <a:cubicBezTo>
                    <a:pt x="21175" y="18277"/>
                    <a:pt x="21175" y="18277"/>
                    <a:pt x="21175" y="18277"/>
                  </a:cubicBezTo>
                  <a:cubicBezTo>
                    <a:pt x="21430" y="18179"/>
                    <a:pt x="21430" y="18179"/>
                    <a:pt x="21430" y="18179"/>
                  </a:cubicBezTo>
                  <a:cubicBezTo>
                    <a:pt x="21600" y="17886"/>
                    <a:pt x="21600" y="17886"/>
                    <a:pt x="21600" y="17886"/>
                  </a:cubicBezTo>
                  <a:cubicBezTo>
                    <a:pt x="21600" y="17300"/>
                    <a:pt x="21600" y="17300"/>
                    <a:pt x="21600" y="17300"/>
                  </a:cubicBezTo>
                  <a:cubicBezTo>
                    <a:pt x="21600" y="16909"/>
                    <a:pt x="21600" y="16909"/>
                    <a:pt x="21600" y="16909"/>
                  </a:cubicBezTo>
                  <a:cubicBezTo>
                    <a:pt x="21600" y="16713"/>
                    <a:pt x="21600" y="16713"/>
                    <a:pt x="21600" y="16713"/>
                  </a:cubicBezTo>
                  <a:cubicBezTo>
                    <a:pt x="21260" y="16420"/>
                    <a:pt x="21260" y="16420"/>
                    <a:pt x="21260" y="16420"/>
                  </a:cubicBezTo>
                  <a:cubicBezTo>
                    <a:pt x="21260" y="16127"/>
                    <a:pt x="21260" y="16127"/>
                    <a:pt x="21260" y="16127"/>
                  </a:cubicBezTo>
                  <a:cubicBezTo>
                    <a:pt x="21345" y="15736"/>
                    <a:pt x="21345" y="15736"/>
                    <a:pt x="21345" y="15736"/>
                  </a:cubicBezTo>
                  <a:cubicBezTo>
                    <a:pt x="20920" y="15736"/>
                    <a:pt x="20920" y="15736"/>
                    <a:pt x="20920" y="15736"/>
                  </a:cubicBezTo>
                  <a:cubicBezTo>
                    <a:pt x="20665" y="16224"/>
                    <a:pt x="20665" y="16224"/>
                    <a:pt x="20665" y="16224"/>
                  </a:cubicBezTo>
                  <a:cubicBezTo>
                    <a:pt x="20665" y="15736"/>
                    <a:pt x="20665" y="15736"/>
                    <a:pt x="20665" y="15736"/>
                  </a:cubicBezTo>
                  <a:cubicBezTo>
                    <a:pt x="20239" y="15247"/>
                    <a:pt x="20239" y="15247"/>
                    <a:pt x="20239" y="15247"/>
                  </a:cubicBezTo>
                  <a:cubicBezTo>
                    <a:pt x="20324" y="14856"/>
                    <a:pt x="20324" y="14856"/>
                    <a:pt x="20324" y="14856"/>
                  </a:cubicBezTo>
                  <a:cubicBezTo>
                    <a:pt x="20409" y="14270"/>
                    <a:pt x="20409" y="14270"/>
                    <a:pt x="20409" y="14270"/>
                  </a:cubicBezTo>
                  <a:cubicBezTo>
                    <a:pt x="20069" y="13195"/>
                    <a:pt x="20069" y="13195"/>
                    <a:pt x="20069" y="13195"/>
                  </a:cubicBezTo>
                  <a:cubicBezTo>
                    <a:pt x="19729" y="12804"/>
                    <a:pt x="19729" y="12804"/>
                    <a:pt x="19729" y="12804"/>
                  </a:cubicBezTo>
                  <a:cubicBezTo>
                    <a:pt x="18624" y="11924"/>
                    <a:pt x="18624" y="11924"/>
                    <a:pt x="18624" y="11924"/>
                  </a:cubicBezTo>
                  <a:cubicBezTo>
                    <a:pt x="18369" y="12119"/>
                    <a:pt x="18369" y="12119"/>
                    <a:pt x="18369" y="12119"/>
                  </a:cubicBezTo>
                  <a:cubicBezTo>
                    <a:pt x="17688" y="11533"/>
                    <a:pt x="17688" y="11533"/>
                    <a:pt x="17688" y="11533"/>
                  </a:cubicBezTo>
                  <a:cubicBezTo>
                    <a:pt x="17178" y="10947"/>
                    <a:pt x="17178" y="10947"/>
                    <a:pt x="17178" y="10947"/>
                  </a:cubicBezTo>
                  <a:cubicBezTo>
                    <a:pt x="17178" y="10360"/>
                    <a:pt x="17178" y="10360"/>
                    <a:pt x="17178" y="10360"/>
                  </a:cubicBezTo>
                  <a:cubicBezTo>
                    <a:pt x="17348" y="9774"/>
                    <a:pt x="17348" y="9774"/>
                    <a:pt x="17348" y="9774"/>
                  </a:cubicBezTo>
                  <a:cubicBezTo>
                    <a:pt x="17433" y="9383"/>
                    <a:pt x="17433" y="9383"/>
                    <a:pt x="17433" y="9383"/>
                  </a:cubicBezTo>
                  <a:cubicBezTo>
                    <a:pt x="17518" y="8894"/>
                    <a:pt x="17518" y="8894"/>
                    <a:pt x="17518" y="8894"/>
                  </a:cubicBezTo>
                  <a:cubicBezTo>
                    <a:pt x="17773" y="8210"/>
                    <a:pt x="17773" y="8210"/>
                    <a:pt x="17773" y="8210"/>
                  </a:cubicBezTo>
                  <a:cubicBezTo>
                    <a:pt x="17518" y="7819"/>
                    <a:pt x="17518" y="7819"/>
                    <a:pt x="17518" y="7819"/>
                  </a:cubicBezTo>
                  <a:cubicBezTo>
                    <a:pt x="17178" y="7428"/>
                    <a:pt x="17178" y="7428"/>
                    <a:pt x="17178" y="7428"/>
                  </a:cubicBezTo>
                  <a:cubicBezTo>
                    <a:pt x="16668" y="7428"/>
                    <a:pt x="16668" y="7428"/>
                    <a:pt x="16668" y="7428"/>
                  </a:cubicBezTo>
                  <a:cubicBezTo>
                    <a:pt x="16413" y="7624"/>
                    <a:pt x="16413" y="7624"/>
                    <a:pt x="16413" y="7624"/>
                  </a:cubicBezTo>
                  <a:cubicBezTo>
                    <a:pt x="16243" y="7917"/>
                    <a:pt x="16243" y="7917"/>
                    <a:pt x="16243" y="7917"/>
                  </a:cubicBezTo>
                  <a:cubicBezTo>
                    <a:pt x="15817" y="7428"/>
                    <a:pt x="15817" y="7428"/>
                    <a:pt x="15817" y="7428"/>
                  </a:cubicBezTo>
                  <a:cubicBezTo>
                    <a:pt x="15817" y="6548"/>
                    <a:pt x="15817" y="6548"/>
                    <a:pt x="15817" y="6548"/>
                  </a:cubicBezTo>
                  <a:cubicBezTo>
                    <a:pt x="15392" y="5864"/>
                    <a:pt x="15392" y="5864"/>
                    <a:pt x="15392" y="5864"/>
                  </a:cubicBezTo>
                  <a:cubicBezTo>
                    <a:pt x="13861" y="4398"/>
                    <a:pt x="13861" y="4398"/>
                    <a:pt x="13861" y="4398"/>
                  </a:cubicBezTo>
                  <a:cubicBezTo>
                    <a:pt x="13266" y="3225"/>
                    <a:pt x="13266" y="3225"/>
                    <a:pt x="13266" y="3225"/>
                  </a:cubicBezTo>
                  <a:cubicBezTo>
                    <a:pt x="13266" y="2150"/>
                    <a:pt x="13266" y="2150"/>
                    <a:pt x="13266" y="2150"/>
                  </a:cubicBezTo>
                  <a:cubicBezTo>
                    <a:pt x="13266" y="1075"/>
                    <a:pt x="13266" y="1075"/>
                    <a:pt x="13266" y="1075"/>
                  </a:cubicBezTo>
                  <a:cubicBezTo>
                    <a:pt x="13436" y="977"/>
                    <a:pt x="13436" y="977"/>
                    <a:pt x="13436" y="977"/>
                  </a:cubicBezTo>
                  <a:cubicBezTo>
                    <a:pt x="12416" y="0"/>
                    <a:pt x="12416" y="0"/>
                    <a:pt x="12416" y="0"/>
                  </a:cubicBezTo>
                  <a:cubicBezTo>
                    <a:pt x="0" y="195"/>
                    <a:pt x="0" y="195"/>
                    <a:pt x="0" y="195"/>
                  </a:cubicBezTo>
                  <a:cubicBezTo>
                    <a:pt x="85" y="391"/>
                    <a:pt x="85" y="391"/>
                    <a:pt x="85" y="391"/>
                  </a:cubicBezTo>
                  <a:cubicBezTo>
                    <a:pt x="340" y="586"/>
                    <a:pt x="340" y="586"/>
                    <a:pt x="340" y="586"/>
                  </a:cubicBezTo>
                  <a:cubicBezTo>
                    <a:pt x="425" y="1075"/>
                    <a:pt x="425" y="1075"/>
                    <a:pt x="425" y="1075"/>
                  </a:cubicBezTo>
                  <a:cubicBezTo>
                    <a:pt x="255" y="1271"/>
                    <a:pt x="255" y="1271"/>
                    <a:pt x="255" y="1271"/>
                  </a:cubicBezTo>
                  <a:cubicBezTo>
                    <a:pt x="425" y="1564"/>
                    <a:pt x="425" y="1564"/>
                    <a:pt x="425" y="1564"/>
                  </a:cubicBezTo>
                  <a:cubicBezTo>
                    <a:pt x="425" y="1564"/>
                    <a:pt x="340" y="1564"/>
                    <a:pt x="425" y="1662"/>
                  </a:cubicBezTo>
                  <a:cubicBezTo>
                    <a:pt x="510" y="1759"/>
                    <a:pt x="935" y="1857"/>
                    <a:pt x="935" y="1857"/>
                  </a:cubicBezTo>
                  <a:cubicBezTo>
                    <a:pt x="1020" y="2443"/>
                    <a:pt x="1020" y="2443"/>
                    <a:pt x="1020" y="2443"/>
                  </a:cubicBezTo>
                  <a:cubicBezTo>
                    <a:pt x="1191" y="2834"/>
                    <a:pt x="1191" y="2834"/>
                    <a:pt x="1191" y="2834"/>
                  </a:cubicBezTo>
                  <a:cubicBezTo>
                    <a:pt x="1191" y="2834"/>
                    <a:pt x="1191" y="2834"/>
                    <a:pt x="1191" y="2834"/>
                  </a:cubicBezTo>
                  <a:cubicBezTo>
                    <a:pt x="1531" y="3421"/>
                    <a:pt x="1531" y="3421"/>
                    <a:pt x="1531" y="3421"/>
                  </a:cubicBezTo>
                  <a:cubicBezTo>
                    <a:pt x="1701" y="3812"/>
                    <a:pt x="1701" y="3812"/>
                    <a:pt x="1701" y="3812"/>
                  </a:cubicBezTo>
                  <a:cubicBezTo>
                    <a:pt x="2466" y="3812"/>
                    <a:pt x="2466" y="3812"/>
                    <a:pt x="2466" y="3812"/>
                  </a:cubicBezTo>
                  <a:cubicBezTo>
                    <a:pt x="2636" y="3812"/>
                    <a:pt x="2636" y="3812"/>
                    <a:pt x="2636" y="3812"/>
                  </a:cubicBezTo>
                  <a:cubicBezTo>
                    <a:pt x="2636" y="4300"/>
                    <a:pt x="2636" y="4300"/>
                    <a:pt x="2636" y="4300"/>
                  </a:cubicBezTo>
                  <a:cubicBezTo>
                    <a:pt x="2381" y="4887"/>
                    <a:pt x="2381" y="4887"/>
                    <a:pt x="2381" y="4887"/>
                  </a:cubicBezTo>
                  <a:cubicBezTo>
                    <a:pt x="2126" y="5376"/>
                    <a:pt x="2126" y="5376"/>
                    <a:pt x="2126" y="5376"/>
                  </a:cubicBezTo>
                  <a:cubicBezTo>
                    <a:pt x="2636" y="5962"/>
                    <a:pt x="2636" y="5962"/>
                    <a:pt x="2636" y="5962"/>
                  </a:cubicBezTo>
                  <a:cubicBezTo>
                    <a:pt x="2806" y="6548"/>
                    <a:pt x="2806" y="6548"/>
                    <a:pt x="2806" y="6548"/>
                  </a:cubicBezTo>
                  <a:cubicBezTo>
                    <a:pt x="3061" y="6744"/>
                    <a:pt x="3061" y="6744"/>
                    <a:pt x="3061" y="6744"/>
                  </a:cubicBezTo>
                  <a:cubicBezTo>
                    <a:pt x="3572" y="7037"/>
                    <a:pt x="3572" y="7037"/>
                    <a:pt x="3572" y="7037"/>
                  </a:cubicBezTo>
                  <a:cubicBezTo>
                    <a:pt x="3572" y="17202"/>
                    <a:pt x="3572" y="17202"/>
                    <a:pt x="3572" y="17202"/>
                  </a:cubicBezTo>
                  <a:cubicBezTo>
                    <a:pt x="3572" y="19645"/>
                    <a:pt x="3572" y="19645"/>
                    <a:pt x="3572" y="19645"/>
                  </a:cubicBezTo>
                  <a:cubicBezTo>
                    <a:pt x="18283" y="19254"/>
                    <a:pt x="18283" y="19254"/>
                    <a:pt x="18283" y="19254"/>
                  </a:cubicBezTo>
                  <a:cubicBezTo>
                    <a:pt x="18369" y="19841"/>
                    <a:pt x="18369" y="19841"/>
                    <a:pt x="18369" y="19841"/>
                  </a:cubicBezTo>
                  <a:cubicBezTo>
                    <a:pt x="17433" y="21600"/>
                    <a:pt x="17433" y="21600"/>
                    <a:pt x="17433" y="21600"/>
                  </a:cubicBezTo>
                  <a:cubicBezTo>
                    <a:pt x="19814" y="21405"/>
                    <a:pt x="19814" y="21405"/>
                    <a:pt x="19814" y="21405"/>
                  </a:cubicBezTo>
                  <a:cubicBezTo>
                    <a:pt x="19899" y="21111"/>
                    <a:pt x="19899" y="21111"/>
                    <a:pt x="19899" y="21111"/>
                  </a:cubicBezTo>
                  <a:cubicBezTo>
                    <a:pt x="20069" y="20818"/>
                    <a:pt x="20069" y="20818"/>
                    <a:pt x="20069" y="20818"/>
                  </a:cubicBezTo>
                  <a:cubicBezTo>
                    <a:pt x="20069" y="20818"/>
                    <a:pt x="20239" y="20720"/>
                    <a:pt x="20154" y="20623"/>
                  </a:cubicBezTo>
                  <a:cubicBezTo>
                    <a:pt x="20154" y="20525"/>
                    <a:pt x="19984" y="20232"/>
                    <a:pt x="19984" y="20232"/>
                  </a:cubicBezTo>
                  <a:cubicBezTo>
                    <a:pt x="19899" y="20134"/>
                    <a:pt x="19899" y="20134"/>
                    <a:pt x="19899" y="20134"/>
                  </a:cubicBezTo>
                  <a:cubicBezTo>
                    <a:pt x="19984" y="19938"/>
                    <a:pt x="19984" y="19938"/>
                    <a:pt x="19984" y="19938"/>
                  </a:cubicBezTo>
                  <a:cubicBezTo>
                    <a:pt x="20154" y="19841"/>
                    <a:pt x="20154" y="19841"/>
                    <a:pt x="20154" y="19841"/>
                  </a:cubicBezTo>
                  <a:cubicBezTo>
                    <a:pt x="20239" y="19548"/>
                    <a:pt x="20239" y="19548"/>
                    <a:pt x="20239" y="19548"/>
                  </a:cubicBezTo>
                  <a:cubicBezTo>
                    <a:pt x="20239" y="19254"/>
                    <a:pt x="20239" y="19254"/>
                    <a:pt x="20239" y="19254"/>
                  </a:cubicBezTo>
                  <a:cubicBezTo>
                    <a:pt x="20239" y="18961"/>
                    <a:pt x="20239" y="18961"/>
                    <a:pt x="20239" y="18961"/>
                  </a:cubicBezTo>
                  <a:lnTo>
                    <a:pt x="20239" y="18863"/>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 name="Shape 2322">
              <a:extLst>
                <a:ext uri="{FF2B5EF4-FFF2-40B4-BE49-F238E27FC236}">
                  <a16:creationId xmlns:a16="http://schemas.microsoft.com/office/drawing/2014/main" id="{ADB255A8-E5A5-949F-A198-4D3EAB5DB793}"/>
                </a:ext>
              </a:extLst>
            </p:cNvPr>
            <p:cNvSpPr/>
            <p:nvPr/>
          </p:nvSpPr>
          <p:spPr>
            <a:xfrm>
              <a:off x="5062279" y="529275"/>
              <a:ext cx="1196321" cy="1392233"/>
            </a:xfrm>
            <a:custGeom>
              <a:avLst/>
              <a:gdLst/>
              <a:ahLst/>
              <a:cxnLst>
                <a:cxn ang="0">
                  <a:pos x="wd2" y="hd2"/>
                </a:cxn>
                <a:cxn ang="5400000">
                  <a:pos x="wd2" y="hd2"/>
                </a:cxn>
                <a:cxn ang="10800000">
                  <a:pos x="wd2" y="hd2"/>
                </a:cxn>
                <a:cxn ang="16200000">
                  <a:pos x="wd2" y="hd2"/>
                </a:cxn>
              </a:cxnLst>
              <a:rect l="0" t="0" r="r" b="b"/>
              <a:pathLst>
                <a:path w="21600" h="21600" extrusionOk="0">
                  <a:moveTo>
                    <a:pt x="13292" y="12585"/>
                  </a:moveTo>
                  <a:lnTo>
                    <a:pt x="14435" y="12050"/>
                  </a:lnTo>
                  <a:lnTo>
                    <a:pt x="14435" y="9907"/>
                  </a:lnTo>
                  <a:lnTo>
                    <a:pt x="14954" y="9550"/>
                  </a:lnTo>
                  <a:lnTo>
                    <a:pt x="16719" y="8122"/>
                  </a:lnTo>
                  <a:lnTo>
                    <a:pt x="17550" y="7140"/>
                  </a:lnTo>
                  <a:lnTo>
                    <a:pt x="19212" y="6159"/>
                  </a:lnTo>
                  <a:lnTo>
                    <a:pt x="21600" y="4909"/>
                  </a:lnTo>
                  <a:lnTo>
                    <a:pt x="20769" y="4731"/>
                  </a:lnTo>
                  <a:lnTo>
                    <a:pt x="19004" y="4641"/>
                  </a:lnTo>
                  <a:lnTo>
                    <a:pt x="17550" y="4374"/>
                  </a:lnTo>
                  <a:lnTo>
                    <a:pt x="17238" y="4641"/>
                  </a:lnTo>
                  <a:lnTo>
                    <a:pt x="16823" y="4909"/>
                  </a:lnTo>
                  <a:lnTo>
                    <a:pt x="15992" y="4909"/>
                  </a:lnTo>
                  <a:lnTo>
                    <a:pt x="15681" y="4552"/>
                  </a:lnTo>
                  <a:lnTo>
                    <a:pt x="15265" y="4284"/>
                  </a:lnTo>
                  <a:lnTo>
                    <a:pt x="14123" y="4017"/>
                  </a:lnTo>
                  <a:lnTo>
                    <a:pt x="13812" y="4017"/>
                  </a:lnTo>
                  <a:lnTo>
                    <a:pt x="13396" y="3838"/>
                  </a:lnTo>
                  <a:lnTo>
                    <a:pt x="13292" y="3749"/>
                  </a:lnTo>
                  <a:lnTo>
                    <a:pt x="12358" y="3660"/>
                  </a:lnTo>
                  <a:lnTo>
                    <a:pt x="11838" y="3213"/>
                  </a:lnTo>
                  <a:lnTo>
                    <a:pt x="12462" y="3481"/>
                  </a:lnTo>
                  <a:lnTo>
                    <a:pt x="12773" y="3213"/>
                  </a:lnTo>
                  <a:lnTo>
                    <a:pt x="12358" y="3124"/>
                  </a:lnTo>
                  <a:lnTo>
                    <a:pt x="10385" y="3124"/>
                  </a:lnTo>
                  <a:lnTo>
                    <a:pt x="10073" y="3481"/>
                  </a:lnTo>
                  <a:lnTo>
                    <a:pt x="9658" y="3481"/>
                  </a:lnTo>
                  <a:lnTo>
                    <a:pt x="9035" y="3035"/>
                  </a:lnTo>
                  <a:lnTo>
                    <a:pt x="8308" y="3035"/>
                  </a:lnTo>
                  <a:lnTo>
                    <a:pt x="7581" y="2856"/>
                  </a:lnTo>
                  <a:lnTo>
                    <a:pt x="7062" y="2142"/>
                  </a:lnTo>
                  <a:lnTo>
                    <a:pt x="6854" y="1785"/>
                  </a:lnTo>
                  <a:lnTo>
                    <a:pt x="5712" y="1785"/>
                  </a:lnTo>
                  <a:lnTo>
                    <a:pt x="5608" y="1428"/>
                  </a:lnTo>
                  <a:lnTo>
                    <a:pt x="5919" y="1071"/>
                  </a:lnTo>
                  <a:lnTo>
                    <a:pt x="6023" y="714"/>
                  </a:lnTo>
                  <a:lnTo>
                    <a:pt x="6438" y="446"/>
                  </a:lnTo>
                  <a:lnTo>
                    <a:pt x="6231" y="179"/>
                  </a:lnTo>
                  <a:lnTo>
                    <a:pt x="5815" y="0"/>
                  </a:lnTo>
                  <a:lnTo>
                    <a:pt x="5815" y="893"/>
                  </a:lnTo>
                  <a:lnTo>
                    <a:pt x="5608" y="1071"/>
                  </a:lnTo>
                  <a:lnTo>
                    <a:pt x="5400" y="1428"/>
                  </a:lnTo>
                  <a:lnTo>
                    <a:pt x="0" y="1428"/>
                  </a:lnTo>
                  <a:lnTo>
                    <a:pt x="104" y="1785"/>
                  </a:lnTo>
                  <a:lnTo>
                    <a:pt x="104" y="2142"/>
                  </a:lnTo>
                  <a:lnTo>
                    <a:pt x="415" y="2321"/>
                  </a:lnTo>
                  <a:lnTo>
                    <a:pt x="415" y="2678"/>
                  </a:lnTo>
                  <a:lnTo>
                    <a:pt x="104" y="2945"/>
                  </a:lnTo>
                  <a:lnTo>
                    <a:pt x="104" y="3392"/>
                  </a:lnTo>
                  <a:lnTo>
                    <a:pt x="208" y="3570"/>
                  </a:lnTo>
                  <a:lnTo>
                    <a:pt x="312" y="4017"/>
                  </a:lnTo>
                  <a:lnTo>
                    <a:pt x="104" y="4552"/>
                  </a:lnTo>
                  <a:lnTo>
                    <a:pt x="312" y="4998"/>
                  </a:lnTo>
                  <a:lnTo>
                    <a:pt x="623" y="5712"/>
                  </a:lnTo>
                  <a:lnTo>
                    <a:pt x="935" y="6248"/>
                  </a:lnTo>
                  <a:lnTo>
                    <a:pt x="935" y="6962"/>
                  </a:lnTo>
                  <a:lnTo>
                    <a:pt x="1038" y="8212"/>
                  </a:lnTo>
                  <a:lnTo>
                    <a:pt x="1038" y="9997"/>
                  </a:lnTo>
                  <a:lnTo>
                    <a:pt x="1246" y="10175"/>
                  </a:lnTo>
                  <a:lnTo>
                    <a:pt x="1246" y="10889"/>
                  </a:lnTo>
                  <a:lnTo>
                    <a:pt x="1558" y="11068"/>
                  </a:lnTo>
                  <a:lnTo>
                    <a:pt x="1765" y="11336"/>
                  </a:lnTo>
                  <a:lnTo>
                    <a:pt x="1869" y="11782"/>
                  </a:lnTo>
                  <a:lnTo>
                    <a:pt x="1869" y="12585"/>
                  </a:lnTo>
                  <a:lnTo>
                    <a:pt x="1662" y="12674"/>
                  </a:lnTo>
                  <a:lnTo>
                    <a:pt x="1765" y="12853"/>
                  </a:lnTo>
                  <a:lnTo>
                    <a:pt x="1350" y="13121"/>
                  </a:lnTo>
                  <a:lnTo>
                    <a:pt x="1142" y="13388"/>
                  </a:lnTo>
                  <a:lnTo>
                    <a:pt x="831" y="13567"/>
                  </a:lnTo>
                  <a:lnTo>
                    <a:pt x="831" y="13924"/>
                  </a:lnTo>
                  <a:lnTo>
                    <a:pt x="935" y="14102"/>
                  </a:lnTo>
                  <a:lnTo>
                    <a:pt x="1246" y="14281"/>
                  </a:lnTo>
                  <a:lnTo>
                    <a:pt x="1246" y="14549"/>
                  </a:lnTo>
                  <a:lnTo>
                    <a:pt x="1765" y="14638"/>
                  </a:lnTo>
                  <a:lnTo>
                    <a:pt x="1869" y="14906"/>
                  </a:lnTo>
                  <a:lnTo>
                    <a:pt x="2181" y="15084"/>
                  </a:lnTo>
                  <a:lnTo>
                    <a:pt x="1869" y="21600"/>
                  </a:lnTo>
                  <a:lnTo>
                    <a:pt x="17862" y="21332"/>
                  </a:lnTo>
                  <a:lnTo>
                    <a:pt x="17965" y="20797"/>
                  </a:lnTo>
                  <a:lnTo>
                    <a:pt x="17862" y="20261"/>
                  </a:lnTo>
                  <a:lnTo>
                    <a:pt x="17238" y="19636"/>
                  </a:lnTo>
                  <a:lnTo>
                    <a:pt x="16615" y="19279"/>
                  </a:lnTo>
                  <a:lnTo>
                    <a:pt x="16304" y="19012"/>
                  </a:lnTo>
                  <a:lnTo>
                    <a:pt x="15577" y="18208"/>
                  </a:lnTo>
                  <a:lnTo>
                    <a:pt x="14331" y="17583"/>
                  </a:lnTo>
                  <a:lnTo>
                    <a:pt x="13500" y="17226"/>
                  </a:lnTo>
                  <a:lnTo>
                    <a:pt x="12981" y="16869"/>
                  </a:lnTo>
                  <a:lnTo>
                    <a:pt x="13085" y="15531"/>
                  </a:lnTo>
                  <a:lnTo>
                    <a:pt x="13292" y="14192"/>
                  </a:lnTo>
                  <a:lnTo>
                    <a:pt x="13085" y="14192"/>
                  </a:lnTo>
                  <a:lnTo>
                    <a:pt x="12669" y="13745"/>
                  </a:lnTo>
                  <a:lnTo>
                    <a:pt x="13085" y="12942"/>
                  </a:lnTo>
                  <a:lnTo>
                    <a:pt x="13292" y="12585"/>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 name="Shape 2323">
              <a:extLst>
                <a:ext uri="{FF2B5EF4-FFF2-40B4-BE49-F238E27FC236}">
                  <a16:creationId xmlns:a16="http://schemas.microsoft.com/office/drawing/2014/main" id="{7B481656-A6B1-6BAC-7EF0-FF1B41134C9C}"/>
                </a:ext>
              </a:extLst>
            </p:cNvPr>
            <p:cNvSpPr/>
            <p:nvPr/>
          </p:nvSpPr>
          <p:spPr>
            <a:xfrm>
              <a:off x="6160832" y="937742"/>
              <a:ext cx="1397624" cy="1317446"/>
            </a:xfrm>
            <a:custGeom>
              <a:avLst/>
              <a:gdLst/>
              <a:ahLst/>
              <a:cxnLst>
                <a:cxn ang="0">
                  <a:pos x="wd2" y="hd2"/>
                </a:cxn>
                <a:cxn ang="5400000">
                  <a:pos x="wd2" y="hd2"/>
                </a:cxn>
                <a:cxn ang="10800000">
                  <a:pos x="wd2" y="hd2"/>
                </a:cxn>
                <a:cxn ang="16200000">
                  <a:pos x="wd2" y="hd2"/>
                </a:cxn>
              </a:cxnLst>
              <a:rect l="0" t="0" r="r" b="b"/>
              <a:pathLst>
                <a:path w="21600" h="21600" extrusionOk="0">
                  <a:moveTo>
                    <a:pt x="0" y="4080"/>
                  </a:moveTo>
                  <a:cubicBezTo>
                    <a:pt x="151" y="3920"/>
                    <a:pt x="151" y="3920"/>
                    <a:pt x="151" y="3920"/>
                  </a:cubicBezTo>
                  <a:cubicBezTo>
                    <a:pt x="452" y="3920"/>
                    <a:pt x="452" y="3920"/>
                    <a:pt x="452" y="3920"/>
                  </a:cubicBezTo>
                  <a:cubicBezTo>
                    <a:pt x="828" y="3680"/>
                    <a:pt x="828" y="3680"/>
                    <a:pt x="828" y="3680"/>
                  </a:cubicBezTo>
                  <a:cubicBezTo>
                    <a:pt x="903" y="3520"/>
                    <a:pt x="903" y="3520"/>
                    <a:pt x="903" y="3520"/>
                  </a:cubicBezTo>
                  <a:cubicBezTo>
                    <a:pt x="1054" y="3200"/>
                    <a:pt x="1054" y="3200"/>
                    <a:pt x="1054" y="3200"/>
                  </a:cubicBezTo>
                  <a:cubicBezTo>
                    <a:pt x="1279" y="2960"/>
                    <a:pt x="1279" y="2960"/>
                    <a:pt x="1279" y="2960"/>
                  </a:cubicBezTo>
                  <a:cubicBezTo>
                    <a:pt x="1505" y="2880"/>
                    <a:pt x="1505" y="2880"/>
                    <a:pt x="1505" y="2880"/>
                  </a:cubicBezTo>
                  <a:cubicBezTo>
                    <a:pt x="1731" y="2880"/>
                    <a:pt x="1731" y="2880"/>
                    <a:pt x="1731" y="2880"/>
                  </a:cubicBezTo>
                  <a:cubicBezTo>
                    <a:pt x="2183" y="2880"/>
                    <a:pt x="2183" y="2880"/>
                    <a:pt x="2183" y="2880"/>
                  </a:cubicBezTo>
                  <a:cubicBezTo>
                    <a:pt x="2408" y="2720"/>
                    <a:pt x="2408" y="2720"/>
                    <a:pt x="2408" y="2720"/>
                  </a:cubicBezTo>
                  <a:cubicBezTo>
                    <a:pt x="3161" y="2160"/>
                    <a:pt x="3161" y="2160"/>
                    <a:pt x="3161" y="2160"/>
                  </a:cubicBezTo>
                  <a:cubicBezTo>
                    <a:pt x="3387" y="2080"/>
                    <a:pt x="3387" y="2080"/>
                    <a:pt x="3387" y="2080"/>
                  </a:cubicBezTo>
                  <a:cubicBezTo>
                    <a:pt x="3688" y="1760"/>
                    <a:pt x="3688" y="1760"/>
                    <a:pt x="3688" y="1760"/>
                  </a:cubicBezTo>
                  <a:cubicBezTo>
                    <a:pt x="3914" y="1360"/>
                    <a:pt x="3914" y="1360"/>
                    <a:pt x="3914" y="1360"/>
                  </a:cubicBezTo>
                  <a:cubicBezTo>
                    <a:pt x="4215" y="1120"/>
                    <a:pt x="4215" y="1120"/>
                    <a:pt x="4215" y="1120"/>
                  </a:cubicBezTo>
                  <a:cubicBezTo>
                    <a:pt x="4591" y="720"/>
                    <a:pt x="4591" y="720"/>
                    <a:pt x="4591" y="720"/>
                  </a:cubicBezTo>
                  <a:cubicBezTo>
                    <a:pt x="4892" y="320"/>
                    <a:pt x="4892" y="320"/>
                    <a:pt x="4892" y="320"/>
                  </a:cubicBezTo>
                  <a:cubicBezTo>
                    <a:pt x="5268" y="80"/>
                    <a:pt x="5268" y="80"/>
                    <a:pt x="5268" y="80"/>
                  </a:cubicBezTo>
                  <a:cubicBezTo>
                    <a:pt x="5795" y="0"/>
                    <a:pt x="5795" y="0"/>
                    <a:pt x="5795" y="0"/>
                  </a:cubicBezTo>
                  <a:cubicBezTo>
                    <a:pt x="6021" y="0"/>
                    <a:pt x="6021" y="0"/>
                    <a:pt x="6021" y="0"/>
                  </a:cubicBezTo>
                  <a:cubicBezTo>
                    <a:pt x="6397" y="160"/>
                    <a:pt x="6397" y="160"/>
                    <a:pt x="6397" y="160"/>
                  </a:cubicBezTo>
                  <a:cubicBezTo>
                    <a:pt x="6247" y="240"/>
                    <a:pt x="6247" y="240"/>
                    <a:pt x="6247" y="240"/>
                  </a:cubicBezTo>
                  <a:cubicBezTo>
                    <a:pt x="5946" y="400"/>
                    <a:pt x="5946" y="400"/>
                    <a:pt x="5946" y="400"/>
                  </a:cubicBezTo>
                  <a:cubicBezTo>
                    <a:pt x="5645" y="480"/>
                    <a:pt x="5645" y="480"/>
                    <a:pt x="5645" y="480"/>
                  </a:cubicBezTo>
                  <a:cubicBezTo>
                    <a:pt x="5720" y="640"/>
                    <a:pt x="5720" y="640"/>
                    <a:pt x="5720" y="640"/>
                  </a:cubicBezTo>
                  <a:cubicBezTo>
                    <a:pt x="5268" y="1120"/>
                    <a:pt x="5268" y="1120"/>
                    <a:pt x="5268" y="1120"/>
                  </a:cubicBezTo>
                  <a:cubicBezTo>
                    <a:pt x="5268" y="1120"/>
                    <a:pt x="5118" y="1120"/>
                    <a:pt x="5118" y="1200"/>
                  </a:cubicBezTo>
                  <a:cubicBezTo>
                    <a:pt x="5118" y="1280"/>
                    <a:pt x="4892" y="1840"/>
                    <a:pt x="4892" y="1840"/>
                  </a:cubicBezTo>
                  <a:cubicBezTo>
                    <a:pt x="4892" y="1520"/>
                    <a:pt x="4892" y="1520"/>
                    <a:pt x="4892" y="1520"/>
                  </a:cubicBezTo>
                  <a:cubicBezTo>
                    <a:pt x="4741" y="1360"/>
                    <a:pt x="4741" y="1360"/>
                    <a:pt x="4741" y="1360"/>
                  </a:cubicBezTo>
                  <a:cubicBezTo>
                    <a:pt x="4666" y="2160"/>
                    <a:pt x="4666" y="2160"/>
                    <a:pt x="4666" y="2160"/>
                  </a:cubicBezTo>
                  <a:cubicBezTo>
                    <a:pt x="4666" y="2640"/>
                    <a:pt x="4666" y="2640"/>
                    <a:pt x="4666" y="2640"/>
                  </a:cubicBezTo>
                  <a:cubicBezTo>
                    <a:pt x="4892" y="2480"/>
                    <a:pt x="4892" y="2480"/>
                    <a:pt x="4892" y="2480"/>
                  </a:cubicBezTo>
                  <a:cubicBezTo>
                    <a:pt x="5043" y="2320"/>
                    <a:pt x="5043" y="2320"/>
                    <a:pt x="5043" y="2320"/>
                  </a:cubicBezTo>
                  <a:cubicBezTo>
                    <a:pt x="5118" y="2320"/>
                    <a:pt x="5118" y="2320"/>
                    <a:pt x="5118" y="2320"/>
                  </a:cubicBezTo>
                  <a:cubicBezTo>
                    <a:pt x="5193" y="2480"/>
                    <a:pt x="5193" y="2480"/>
                    <a:pt x="5193" y="2480"/>
                  </a:cubicBezTo>
                  <a:cubicBezTo>
                    <a:pt x="5419" y="2480"/>
                    <a:pt x="5419" y="2480"/>
                    <a:pt x="5419" y="2480"/>
                  </a:cubicBezTo>
                  <a:cubicBezTo>
                    <a:pt x="5569" y="2400"/>
                    <a:pt x="5569" y="2400"/>
                    <a:pt x="5569" y="2400"/>
                  </a:cubicBezTo>
                  <a:cubicBezTo>
                    <a:pt x="5795" y="2240"/>
                    <a:pt x="5795" y="2240"/>
                    <a:pt x="5795" y="2240"/>
                  </a:cubicBezTo>
                  <a:cubicBezTo>
                    <a:pt x="6171" y="2320"/>
                    <a:pt x="6171" y="2320"/>
                    <a:pt x="6171" y="2320"/>
                  </a:cubicBezTo>
                  <a:cubicBezTo>
                    <a:pt x="6924" y="2720"/>
                    <a:pt x="6924" y="2720"/>
                    <a:pt x="6924" y="2720"/>
                  </a:cubicBezTo>
                  <a:cubicBezTo>
                    <a:pt x="7376" y="3280"/>
                    <a:pt x="7376" y="3280"/>
                    <a:pt x="7376" y="3280"/>
                  </a:cubicBezTo>
                  <a:cubicBezTo>
                    <a:pt x="7677" y="3520"/>
                    <a:pt x="7677" y="3520"/>
                    <a:pt x="7677" y="3520"/>
                  </a:cubicBezTo>
                  <a:cubicBezTo>
                    <a:pt x="8354" y="3600"/>
                    <a:pt x="8354" y="3600"/>
                    <a:pt x="8354" y="3600"/>
                  </a:cubicBezTo>
                  <a:cubicBezTo>
                    <a:pt x="8580" y="3520"/>
                    <a:pt x="8580" y="3520"/>
                    <a:pt x="8580" y="3520"/>
                  </a:cubicBezTo>
                  <a:cubicBezTo>
                    <a:pt x="9107" y="3680"/>
                    <a:pt x="9107" y="3680"/>
                    <a:pt x="9107" y="3680"/>
                  </a:cubicBezTo>
                  <a:cubicBezTo>
                    <a:pt x="9558" y="3840"/>
                    <a:pt x="9558" y="3840"/>
                    <a:pt x="9558" y="3840"/>
                  </a:cubicBezTo>
                  <a:cubicBezTo>
                    <a:pt x="9784" y="3520"/>
                    <a:pt x="9784" y="3520"/>
                    <a:pt x="9784" y="3520"/>
                  </a:cubicBezTo>
                  <a:cubicBezTo>
                    <a:pt x="10160" y="3120"/>
                    <a:pt x="10160" y="3120"/>
                    <a:pt x="10160" y="3120"/>
                  </a:cubicBezTo>
                  <a:cubicBezTo>
                    <a:pt x="10461" y="2800"/>
                    <a:pt x="10461" y="2800"/>
                    <a:pt x="10461" y="2800"/>
                  </a:cubicBezTo>
                  <a:cubicBezTo>
                    <a:pt x="11139" y="2640"/>
                    <a:pt x="11139" y="2640"/>
                    <a:pt x="11139" y="2640"/>
                  </a:cubicBezTo>
                  <a:cubicBezTo>
                    <a:pt x="11590" y="2480"/>
                    <a:pt x="11590" y="2480"/>
                    <a:pt x="11590" y="2480"/>
                  </a:cubicBezTo>
                  <a:cubicBezTo>
                    <a:pt x="12042" y="2480"/>
                    <a:pt x="12042" y="2480"/>
                    <a:pt x="12042" y="2480"/>
                  </a:cubicBezTo>
                  <a:cubicBezTo>
                    <a:pt x="12719" y="2240"/>
                    <a:pt x="12719" y="2240"/>
                    <a:pt x="12719" y="2240"/>
                  </a:cubicBezTo>
                  <a:cubicBezTo>
                    <a:pt x="13171" y="2080"/>
                    <a:pt x="13171" y="2080"/>
                    <a:pt x="13171" y="2080"/>
                  </a:cubicBezTo>
                  <a:cubicBezTo>
                    <a:pt x="13397" y="2240"/>
                    <a:pt x="13397" y="2240"/>
                    <a:pt x="13397" y="2240"/>
                  </a:cubicBezTo>
                  <a:cubicBezTo>
                    <a:pt x="13547" y="2880"/>
                    <a:pt x="13547" y="2880"/>
                    <a:pt x="13547" y="2880"/>
                  </a:cubicBezTo>
                  <a:cubicBezTo>
                    <a:pt x="14375" y="3040"/>
                    <a:pt x="14375" y="3040"/>
                    <a:pt x="14375" y="3040"/>
                  </a:cubicBezTo>
                  <a:cubicBezTo>
                    <a:pt x="14902" y="3040"/>
                    <a:pt x="14902" y="3040"/>
                    <a:pt x="14902" y="3040"/>
                  </a:cubicBezTo>
                  <a:cubicBezTo>
                    <a:pt x="15278" y="3120"/>
                    <a:pt x="15278" y="3120"/>
                    <a:pt x="15278" y="3120"/>
                  </a:cubicBezTo>
                  <a:cubicBezTo>
                    <a:pt x="15579" y="3520"/>
                    <a:pt x="15579" y="3520"/>
                    <a:pt x="15579" y="3520"/>
                  </a:cubicBezTo>
                  <a:cubicBezTo>
                    <a:pt x="16031" y="4080"/>
                    <a:pt x="16031" y="4080"/>
                    <a:pt x="16031" y="4080"/>
                  </a:cubicBezTo>
                  <a:cubicBezTo>
                    <a:pt x="16181" y="4240"/>
                    <a:pt x="16181" y="4240"/>
                    <a:pt x="16181" y="4240"/>
                  </a:cubicBezTo>
                  <a:cubicBezTo>
                    <a:pt x="16181" y="4240"/>
                    <a:pt x="16256" y="4320"/>
                    <a:pt x="16332" y="4400"/>
                  </a:cubicBezTo>
                  <a:cubicBezTo>
                    <a:pt x="16407" y="4480"/>
                    <a:pt x="16482" y="4640"/>
                    <a:pt x="16482" y="4640"/>
                  </a:cubicBezTo>
                  <a:cubicBezTo>
                    <a:pt x="16859" y="4720"/>
                    <a:pt x="16859" y="4720"/>
                    <a:pt x="16859" y="4720"/>
                  </a:cubicBezTo>
                  <a:cubicBezTo>
                    <a:pt x="16859" y="4720"/>
                    <a:pt x="17009" y="4560"/>
                    <a:pt x="17009" y="4560"/>
                  </a:cubicBezTo>
                  <a:cubicBezTo>
                    <a:pt x="17009" y="4480"/>
                    <a:pt x="17310" y="4320"/>
                    <a:pt x="17310" y="4320"/>
                  </a:cubicBezTo>
                  <a:cubicBezTo>
                    <a:pt x="17461" y="4480"/>
                    <a:pt x="17461" y="4480"/>
                    <a:pt x="17461" y="4480"/>
                  </a:cubicBezTo>
                  <a:cubicBezTo>
                    <a:pt x="17461" y="4480"/>
                    <a:pt x="17611" y="4560"/>
                    <a:pt x="17461" y="4640"/>
                  </a:cubicBezTo>
                  <a:cubicBezTo>
                    <a:pt x="17385" y="4640"/>
                    <a:pt x="17310" y="4800"/>
                    <a:pt x="17235" y="4800"/>
                  </a:cubicBezTo>
                  <a:cubicBezTo>
                    <a:pt x="17084" y="4800"/>
                    <a:pt x="16934" y="4800"/>
                    <a:pt x="16934" y="4800"/>
                  </a:cubicBezTo>
                  <a:cubicBezTo>
                    <a:pt x="16633" y="4800"/>
                    <a:pt x="16633" y="4800"/>
                    <a:pt x="16633" y="4800"/>
                  </a:cubicBezTo>
                  <a:cubicBezTo>
                    <a:pt x="16482" y="4960"/>
                    <a:pt x="16482" y="4960"/>
                    <a:pt x="16482" y="4960"/>
                  </a:cubicBezTo>
                  <a:cubicBezTo>
                    <a:pt x="15654" y="4960"/>
                    <a:pt x="15654" y="4960"/>
                    <a:pt x="15654" y="4960"/>
                  </a:cubicBezTo>
                  <a:cubicBezTo>
                    <a:pt x="15429" y="5040"/>
                    <a:pt x="15429" y="5040"/>
                    <a:pt x="15429" y="5040"/>
                  </a:cubicBezTo>
                  <a:cubicBezTo>
                    <a:pt x="15128" y="4880"/>
                    <a:pt x="15128" y="4880"/>
                    <a:pt x="15128" y="4880"/>
                  </a:cubicBezTo>
                  <a:cubicBezTo>
                    <a:pt x="14826" y="4720"/>
                    <a:pt x="14826" y="4720"/>
                    <a:pt x="14826" y="4720"/>
                  </a:cubicBezTo>
                  <a:cubicBezTo>
                    <a:pt x="14525" y="5120"/>
                    <a:pt x="14525" y="5120"/>
                    <a:pt x="14525" y="5120"/>
                  </a:cubicBezTo>
                  <a:cubicBezTo>
                    <a:pt x="14601" y="5360"/>
                    <a:pt x="14601" y="5360"/>
                    <a:pt x="14601" y="5360"/>
                  </a:cubicBezTo>
                  <a:cubicBezTo>
                    <a:pt x="14601" y="5520"/>
                    <a:pt x="14601" y="5520"/>
                    <a:pt x="14601" y="5520"/>
                  </a:cubicBezTo>
                  <a:cubicBezTo>
                    <a:pt x="14601" y="5520"/>
                    <a:pt x="14601" y="5680"/>
                    <a:pt x="14676" y="5680"/>
                  </a:cubicBezTo>
                  <a:cubicBezTo>
                    <a:pt x="14676" y="5680"/>
                    <a:pt x="14751" y="5760"/>
                    <a:pt x="14751" y="5760"/>
                  </a:cubicBezTo>
                  <a:cubicBezTo>
                    <a:pt x="15128" y="5920"/>
                    <a:pt x="15128" y="5920"/>
                    <a:pt x="15128" y="5920"/>
                  </a:cubicBezTo>
                  <a:cubicBezTo>
                    <a:pt x="15278" y="5760"/>
                    <a:pt x="15278" y="5760"/>
                    <a:pt x="15278" y="5760"/>
                  </a:cubicBezTo>
                  <a:cubicBezTo>
                    <a:pt x="15278" y="5760"/>
                    <a:pt x="15052" y="5600"/>
                    <a:pt x="15128" y="5600"/>
                  </a:cubicBezTo>
                  <a:cubicBezTo>
                    <a:pt x="15203" y="5600"/>
                    <a:pt x="15504" y="5760"/>
                    <a:pt x="15504" y="5760"/>
                  </a:cubicBezTo>
                  <a:cubicBezTo>
                    <a:pt x="15504" y="5760"/>
                    <a:pt x="15429" y="5920"/>
                    <a:pt x="15429" y="5920"/>
                  </a:cubicBezTo>
                  <a:cubicBezTo>
                    <a:pt x="15353" y="6000"/>
                    <a:pt x="15353" y="6000"/>
                    <a:pt x="15353" y="6000"/>
                  </a:cubicBezTo>
                  <a:cubicBezTo>
                    <a:pt x="15429" y="6080"/>
                    <a:pt x="15805" y="6160"/>
                    <a:pt x="15805" y="6160"/>
                  </a:cubicBezTo>
                  <a:cubicBezTo>
                    <a:pt x="15880" y="6160"/>
                    <a:pt x="16106" y="6320"/>
                    <a:pt x="16106" y="6320"/>
                  </a:cubicBezTo>
                  <a:cubicBezTo>
                    <a:pt x="16482" y="6560"/>
                    <a:pt x="16482" y="6560"/>
                    <a:pt x="16482" y="6560"/>
                  </a:cubicBezTo>
                  <a:cubicBezTo>
                    <a:pt x="17009" y="6800"/>
                    <a:pt x="17009" y="6800"/>
                    <a:pt x="17009" y="6800"/>
                  </a:cubicBezTo>
                  <a:cubicBezTo>
                    <a:pt x="17611" y="7040"/>
                    <a:pt x="17611" y="7040"/>
                    <a:pt x="17611" y="7040"/>
                  </a:cubicBezTo>
                  <a:cubicBezTo>
                    <a:pt x="18213" y="7680"/>
                    <a:pt x="18213" y="7680"/>
                    <a:pt x="18213" y="7680"/>
                  </a:cubicBezTo>
                  <a:cubicBezTo>
                    <a:pt x="18514" y="8080"/>
                    <a:pt x="18514" y="8080"/>
                    <a:pt x="18514" y="8080"/>
                  </a:cubicBezTo>
                  <a:cubicBezTo>
                    <a:pt x="18364" y="8240"/>
                    <a:pt x="18364" y="8240"/>
                    <a:pt x="18364" y="8240"/>
                  </a:cubicBezTo>
                  <a:cubicBezTo>
                    <a:pt x="18364" y="8240"/>
                    <a:pt x="18289" y="8240"/>
                    <a:pt x="18289" y="8320"/>
                  </a:cubicBezTo>
                  <a:cubicBezTo>
                    <a:pt x="18364" y="8400"/>
                    <a:pt x="18514" y="8720"/>
                    <a:pt x="18514" y="8720"/>
                  </a:cubicBezTo>
                  <a:cubicBezTo>
                    <a:pt x="18439" y="8800"/>
                    <a:pt x="18590" y="9040"/>
                    <a:pt x="18590" y="9040"/>
                  </a:cubicBezTo>
                  <a:cubicBezTo>
                    <a:pt x="18740" y="9920"/>
                    <a:pt x="18740" y="9920"/>
                    <a:pt x="18740" y="9920"/>
                  </a:cubicBezTo>
                  <a:cubicBezTo>
                    <a:pt x="18815" y="10400"/>
                    <a:pt x="18815" y="10400"/>
                    <a:pt x="18815" y="10400"/>
                  </a:cubicBezTo>
                  <a:cubicBezTo>
                    <a:pt x="18740" y="10880"/>
                    <a:pt x="18740" y="10880"/>
                    <a:pt x="18740" y="10880"/>
                  </a:cubicBezTo>
                  <a:cubicBezTo>
                    <a:pt x="18439" y="11280"/>
                    <a:pt x="18439" y="11280"/>
                    <a:pt x="18439" y="11280"/>
                  </a:cubicBezTo>
                  <a:cubicBezTo>
                    <a:pt x="18213" y="11760"/>
                    <a:pt x="18213" y="11760"/>
                    <a:pt x="18213" y="11760"/>
                  </a:cubicBezTo>
                  <a:cubicBezTo>
                    <a:pt x="18213" y="11760"/>
                    <a:pt x="18063" y="12080"/>
                    <a:pt x="17987" y="12160"/>
                  </a:cubicBezTo>
                  <a:cubicBezTo>
                    <a:pt x="17987" y="12160"/>
                    <a:pt x="17686" y="12400"/>
                    <a:pt x="17686" y="12480"/>
                  </a:cubicBezTo>
                  <a:cubicBezTo>
                    <a:pt x="17686" y="12480"/>
                    <a:pt x="17536" y="12800"/>
                    <a:pt x="17536" y="12800"/>
                  </a:cubicBezTo>
                  <a:cubicBezTo>
                    <a:pt x="17536" y="13440"/>
                    <a:pt x="17536" y="13440"/>
                    <a:pt x="17536" y="13440"/>
                  </a:cubicBezTo>
                  <a:cubicBezTo>
                    <a:pt x="17686" y="13600"/>
                    <a:pt x="17686" y="13600"/>
                    <a:pt x="17686" y="13600"/>
                  </a:cubicBezTo>
                  <a:cubicBezTo>
                    <a:pt x="18063" y="13760"/>
                    <a:pt x="18063" y="13760"/>
                    <a:pt x="18063" y="13760"/>
                  </a:cubicBezTo>
                  <a:cubicBezTo>
                    <a:pt x="18213" y="13600"/>
                    <a:pt x="18213" y="13600"/>
                    <a:pt x="18213" y="13600"/>
                  </a:cubicBezTo>
                  <a:cubicBezTo>
                    <a:pt x="18213" y="13600"/>
                    <a:pt x="18364" y="13520"/>
                    <a:pt x="18364" y="13440"/>
                  </a:cubicBezTo>
                  <a:cubicBezTo>
                    <a:pt x="18439" y="13440"/>
                    <a:pt x="18514" y="13280"/>
                    <a:pt x="18514" y="13280"/>
                  </a:cubicBezTo>
                  <a:cubicBezTo>
                    <a:pt x="18514" y="13280"/>
                    <a:pt x="18740" y="13120"/>
                    <a:pt x="18740" y="13120"/>
                  </a:cubicBezTo>
                  <a:cubicBezTo>
                    <a:pt x="18740" y="13120"/>
                    <a:pt x="18740" y="12880"/>
                    <a:pt x="18740" y="12880"/>
                  </a:cubicBezTo>
                  <a:cubicBezTo>
                    <a:pt x="18740" y="12880"/>
                    <a:pt x="18815" y="12560"/>
                    <a:pt x="18815" y="12560"/>
                  </a:cubicBezTo>
                  <a:cubicBezTo>
                    <a:pt x="18815" y="12560"/>
                    <a:pt x="18966" y="12480"/>
                    <a:pt x="18966" y="12480"/>
                  </a:cubicBezTo>
                  <a:cubicBezTo>
                    <a:pt x="18966" y="12400"/>
                    <a:pt x="19192" y="12240"/>
                    <a:pt x="19192" y="12240"/>
                  </a:cubicBezTo>
                  <a:cubicBezTo>
                    <a:pt x="19192" y="12240"/>
                    <a:pt x="19493" y="12000"/>
                    <a:pt x="19493" y="12000"/>
                  </a:cubicBezTo>
                  <a:cubicBezTo>
                    <a:pt x="19568" y="12000"/>
                    <a:pt x="19718" y="11760"/>
                    <a:pt x="19718" y="11760"/>
                  </a:cubicBezTo>
                  <a:cubicBezTo>
                    <a:pt x="19944" y="11760"/>
                    <a:pt x="19944" y="11760"/>
                    <a:pt x="19944" y="11760"/>
                  </a:cubicBezTo>
                  <a:cubicBezTo>
                    <a:pt x="20245" y="11840"/>
                    <a:pt x="20245" y="11840"/>
                    <a:pt x="20245" y="11840"/>
                  </a:cubicBezTo>
                  <a:cubicBezTo>
                    <a:pt x="20697" y="12320"/>
                    <a:pt x="20697" y="12320"/>
                    <a:pt x="20697" y="12320"/>
                  </a:cubicBezTo>
                  <a:cubicBezTo>
                    <a:pt x="20998" y="12960"/>
                    <a:pt x="20998" y="12960"/>
                    <a:pt x="20998" y="12960"/>
                  </a:cubicBezTo>
                  <a:cubicBezTo>
                    <a:pt x="21299" y="14720"/>
                    <a:pt x="21299" y="14720"/>
                    <a:pt x="21299" y="14720"/>
                  </a:cubicBezTo>
                  <a:cubicBezTo>
                    <a:pt x="21525" y="15120"/>
                    <a:pt x="21525" y="15120"/>
                    <a:pt x="21525" y="15120"/>
                  </a:cubicBezTo>
                  <a:cubicBezTo>
                    <a:pt x="21525" y="15440"/>
                    <a:pt x="21525" y="15440"/>
                    <a:pt x="21525" y="15440"/>
                  </a:cubicBezTo>
                  <a:cubicBezTo>
                    <a:pt x="21525" y="15440"/>
                    <a:pt x="21600" y="15680"/>
                    <a:pt x="21600" y="15760"/>
                  </a:cubicBezTo>
                  <a:cubicBezTo>
                    <a:pt x="21600" y="15840"/>
                    <a:pt x="21600" y="17040"/>
                    <a:pt x="21600" y="17040"/>
                  </a:cubicBezTo>
                  <a:cubicBezTo>
                    <a:pt x="21073" y="17040"/>
                    <a:pt x="21073" y="17040"/>
                    <a:pt x="21073" y="17040"/>
                  </a:cubicBezTo>
                  <a:cubicBezTo>
                    <a:pt x="20923" y="17040"/>
                    <a:pt x="20923" y="17040"/>
                    <a:pt x="20923" y="17040"/>
                  </a:cubicBezTo>
                  <a:cubicBezTo>
                    <a:pt x="20923" y="17280"/>
                    <a:pt x="20923" y="17280"/>
                    <a:pt x="20923" y="17280"/>
                  </a:cubicBezTo>
                  <a:cubicBezTo>
                    <a:pt x="20697" y="17600"/>
                    <a:pt x="20697" y="17600"/>
                    <a:pt x="20697" y="17600"/>
                  </a:cubicBezTo>
                  <a:cubicBezTo>
                    <a:pt x="20622" y="18000"/>
                    <a:pt x="20622" y="18000"/>
                    <a:pt x="20622" y="18000"/>
                  </a:cubicBezTo>
                  <a:cubicBezTo>
                    <a:pt x="20471" y="18320"/>
                    <a:pt x="20471" y="18320"/>
                    <a:pt x="20471" y="18320"/>
                  </a:cubicBezTo>
                  <a:cubicBezTo>
                    <a:pt x="20245" y="18640"/>
                    <a:pt x="20245" y="18640"/>
                    <a:pt x="20245" y="18640"/>
                  </a:cubicBezTo>
                  <a:cubicBezTo>
                    <a:pt x="20020" y="19440"/>
                    <a:pt x="20020" y="19440"/>
                    <a:pt x="20020" y="19440"/>
                  </a:cubicBezTo>
                  <a:cubicBezTo>
                    <a:pt x="20020" y="19920"/>
                    <a:pt x="20020" y="19920"/>
                    <a:pt x="20020" y="19920"/>
                  </a:cubicBezTo>
                  <a:cubicBezTo>
                    <a:pt x="19718" y="20320"/>
                    <a:pt x="19718" y="20320"/>
                    <a:pt x="19718" y="20320"/>
                  </a:cubicBezTo>
                  <a:cubicBezTo>
                    <a:pt x="19493" y="20720"/>
                    <a:pt x="19493" y="20720"/>
                    <a:pt x="19493" y="20720"/>
                  </a:cubicBezTo>
                  <a:cubicBezTo>
                    <a:pt x="16031" y="21360"/>
                    <a:pt x="16031" y="21360"/>
                    <a:pt x="16031" y="21360"/>
                  </a:cubicBezTo>
                  <a:cubicBezTo>
                    <a:pt x="15955" y="21200"/>
                    <a:pt x="15955" y="21200"/>
                    <a:pt x="15955" y="21200"/>
                  </a:cubicBezTo>
                  <a:cubicBezTo>
                    <a:pt x="10612" y="21600"/>
                    <a:pt x="10612" y="21600"/>
                    <a:pt x="10612" y="21600"/>
                  </a:cubicBezTo>
                  <a:cubicBezTo>
                    <a:pt x="10988" y="21200"/>
                    <a:pt x="10988" y="21200"/>
                    <a:pt x="10988" y="21200"/>
                  </a:cubicBezTo>
                  <a:cubicBezTo>
                    <a:pt x="11139" y="20880"/>
                    <a:pt x="11139" y="20880"/>
                    <a:pt x="11139" y="20880"/>
                  </a:cubicBezTo>
                  <a:cubicBezTo>
                    <a:pt x="11440" y="20320"/>
                    <a:pt x="11440" y="20320"/>
                    <a:pt x="11440" y="20320"/>
                  </a:cubicBezTo>
                  <a:cubicBezTo>
                    <a:pt x="11741" y="19600"/>
                    <a:pt x="11741" y="19600"/>
                    <a:pt x="11741" y="19600"/>
                  </a:cubicBezTo>
                  <a:cubicBezTo>
                    <a:pt x="11891" y="18800"/>
                    <a:pt x="11891" y="18800"/>
                    <a:pt x="11891" y="18800"/>
                  </a:cubicBezTo>
                  <a:cubicBezTo>
                    <a:pt x="11816" y="17360"/>
                    <a:pt x="11816" y="17360"/>
                    <a:pt x="11816" y="17360"/>
                  </a:cubicBezTo>
                  <a:cubicBezTo>
                    <a:pt x="11816" y="16720"/>
                    <a:pt x="11816" y="16720"/>
                    <a:pt x="11816" y="16720"/>
                  </a:cubicBezTo>
                  <a:cubicBezTo>
                    <a:pt x="11515" y="16240"/>
                    <a:pt x="11515" y="16240"/>
                    <a:pt x="11515" y="16240"/>
                  </a:cubicBezTo>
                  <a:cubicBezTo>
                    <a:pt x="11214" y="15600"/>
                    <a:pt x="11214" y="15600"/>
                    <a:pt x="11214" y="15600"/>
                  </a:cubicBezTo>
                  <a:cubicBezTo>
                    <a:pt x="10913" y="15280"/>
                    <a:pt x="10913" y="15280"/>
                    <a:pt x="10913" y="15280"/>
                  </a:cubicBezTo>
                  <a:cubicBezTo>
                    <a:pt x="10687" y="14720"/>
                    <a:pt x="10687" y="14720"/>
                    <a:pt x="10687" y="14720"/>
                  </a:cubicBezTo>
                  <a:cubicBezTo>
                    <a:pt x="10838" y="14320"/>
                    <a:pt x="10838" y="14320"/>
                    <a:pt x="10838" y="14320"/>
                  </a:cubicBezTo>
                  <a:cubicBezTo>
                    <a:pt x="10988" y="14160"/>
                    <a:pt x="10988" y="14160"/>
                    <a:pt x="10988" y="14160"/>
                  </a:cubicBezTo>
                  <a:cubicBezTo>
                    <a:pt x="10988" y="13840"/>
                    <a:pt x="10988" y="13840"/>
                    <a:pt x="10988" y="13840"/>
                  </a:cubicBezTo>
                  <a:cubicBezTo>
                    <a:pt x="10838" y="13200"/>
                    <a:pt x="10838" y="13200"/>
                    <a:pt x="10838" y="13200"/>
                  </a:cubicBezTo>
                  <a:cubicBezTo>
                    <a:pt x="10612" y="12960"/>
                    <a:pt x="10612" y="12960"/>
                    <a:pt x="10612" y="12960"/>
                  </a:cubicBezTo>
                  <a:cubicBezTo>
                    <a:pt x="10838" y="12800"/>
                    <a:pt x="10838" y="12800"/>
                    <a:pt x="10838" y="12800"/>
                  </a:cubicBezTo>
                  <a:cubicBezTo>
                    <a:pt x="10913" y="12400"/>
                    <a:pt x="10913" y="12400"/>
                    <a:pt x="10913" y="12400"/>
                  </a:cubicBezTo>
                  <a:cubicBezTo>
                    <a:pt x="10988" y="12000"/>
                    <a:pt x="10988" y="12000"/>
                    <a:pt x="10988" y="12000"/>
                  </a:cubicBezTo>
                  <a:cubicBezTo>
                    <a:pt x="11139" y="11760"/>
                    <a:pt x="11139" y="11760"/>
                    <a:pt x="11139" y="11760"/>
                  </a:cubicBezTo>
                  <a:cubicBezTo>
                    <a:pt x="11139" y="11120"/>
                    <a:pt x="11139" y="11120"/>
                    <a:pt x="11139" y="11120"/>
                  </a:cubicBezTo>
                  <a:cubicBezTo>
                    <a:pt x="11063" y="10800"/>
                    <a:pt x="11063" y="10800"/>
                    <a:pt x="11063" y="10800"/>
                  </a:cubicBezTo>
                  <a:cubicBezTo>
                    <a:pt x="11139" y="10400"/>
                    <a:pt x="11139" y="10400"/>
                    <a:pt x="11139" y="10400"/>
                  </a:cubicBezTo>
                  <a:cubicBezTo>
                    <a:pt x="11364" y="10080"/>
                    <a:pt x="11364" y="10080"/>
                    <a:pt x="11364" y="10080"/>
                  </a:cubicBezTo>
                  <a:cubicBezTo>
                    <a:pt x="11515" y="9760"/>
                    <a:pt x="11515" y="9760"/>
                    <a:pt x="11515" y="9760"/>
                  </a:cubicBezTo>
                  <a:cubicBezTo>
                    <a:pt x="11515" y="9360"/>
                    <a:pt x="11515" y="9360"/>
                    <a:pt x="11515" y="9360"/>
                  </a:cubicBezTo>
                  <a:cubicBezTo>
                    <a:pt x="11816" y="9280"/>
                    <a:pt x="11816" y="9280"/>
                    <a:pt x="11816" y="9280"/>
                  </a:cubicBezTo>
                  <a:cubicBezTo>
                    <a:pt x="12268" y="9280"/>
                    <a:pt x="12268" y="9280"/>
                    <a:pt x="12268" y="9280"/>
                  </a:cubicBezTo>
                  <a:cubicBezTo>
                    <a:pt x="12418" y="8640"/>
                    <a:pt x="12418" y="8640"/>
                    <a:pt x="12418" y="8640"/>
                  </a:cubicBezTo>
                  <a:cubicBezTo>
                    <a:pt x="12493" y="8480"/>
                    <a:pt x="12493" y="8480"/>
                    <a:pt x="12493" y="8480"/>
                  </a:cubicBezTo>
                  <a:cubicBezTo>
                    <a:pt x="12644" y="8400"/>
                    <a:pt x="12644" y="8400"/>
                    <a:pt x="12644" y="8400"/>
                  </a:cubicBezTo>
                  <a:cubicBezTo>
                    <a:pt x="12870" y="9120"/>
                    <a:pt x="12870" y="9120"/>
                    <a:pt x="12870" y="9120"/>
                  </a:cubicBezTo>
                  <a:cubicBezTo>
                    <a:pt x="12569" y="9520"/>
                    <a:pt x="12569" y="9520"/>
                    <a:pt x="12569" y="9520"/>
                  </a:cubicBezTo>
                  <a:cubicBezTo>
                    <a:pt x="12569" y="9680"/>
                    <a:pt x="12569" y="9680"/>
                    <a:pt x="12569" y="9680"/>
                  </a:cubicBezTo>
                  <a:cubicBezTo>
                    <a:pt x="12569" y="9680"/>
                    <a:pt x="12644" y="9760"/>
                    <a:pt x="12719" y="9760"/>
                  </a:cubicBezTo>
                  <a:cubicBezTo>
                    <a:pt x="12794" y="9760"/>
                    <a:pt x="12794" y="9760"/>
                    <a:pt x="12794" y="9760"/>
                  </a:cubicBezTo>
                  <a:cubicBezTo>
                    <a:pt x="12794" y="9760"/>
                    <a:pt x="12945" y="9680"/>
                    <a:pt x="12945" y="9680"/>
                  </a:cubicBezTo>
                  <a:cubicBezTo>
                    <a:pt x="12945" y="9600"/>
                    <a:pt x="13020" y="9360"/>
                    <a:pt x="13020" y="9360"/>
                  </a:cubicBezTo>
                  <a:cubicBezTo>
                    <a:pt x="13095" y="9280"/>
                    <a:pt x="13095" y="9280"/>
                    <a:pt x="13095" y="9280"/>
                  </a:cubicBezTo>
                  <a:cubicBezTo>
                    <a:pt x="13171" y="8880"/>
                    <a:pt x="13171" y="8880"/>
                    <a:pt x="13171" y="8880"/>
                  </a:cubicBezTo>
                  <a:cubicBezTo>
                    <a:pt x="13171" y="8640"/>
                    <a:pt x="13171" y="8640"/>
                    <a:pt x="13171" y="8640"/>
                  </a:cubicBezTo>
                  <a:cubicBezTo>
                    <a:pt x="13171" y="8320"/>
                    <a:pt x="13171" y="8320"/>
                    <a:pt x="13171" y="8320"/>
                  </a:cubicBezTo>
                  <a:cubicBezTo>
                    <a:pt x="13171" y="8000"/>
                    <a:pt x="13171" y="8000"/>
                    <a:pt x="13171" y="8000"/>
                  </a:cubicBezTo>
                  <a:cubicBezTo>
                    <a:pt x="13397" y="7680"/>
                    <a:pt x="13397" y="7680"/>
                    <a:pt x="13397" y="7680"/>
                  </a:cubicBezTo>
                  <a:cubicBezTo>
                    <a:pt x="13547" y="7520"/>
                    <a:pt x="13547" y="7520"/>
                    <a:pt x="13547" y="7520"/>
                  </a:cubicBezTo>
                  <a:cubicBezTo>
                    <a:pt x="13923" y="7440"/>
                    <a:pt x="13923" y="7440"/>
                    <a:pt x="13923" y="7440"/>
                  </a:cubicBezTo>
                  <a:cubicBezTo>
                    <a:pt x="14074" y="7280"/>
                    <a:pt x="14074" y="7280"/>
                    <a:pt x="14074" y="7280"/>
                  </a:cubicBezTo>
                  <a:cubicBezTo>
                    <a:pt x="13773" y="6960"/>
                    <a:pt x="13773" y="6960"/>
                    <a:pt x="13773" y="6960"/>
                  </a:cubicBezTo>
                  <a:cubicBezTo>
                    <a:pt x="13698" y="6720"/>
                    <a:pt x="13698" y="6720"/>
                    <a:pt x="13698" y="6720"/>
                  </a:cubicBezTo>
                  <a:cubicBezTo>
                    <a:pt x="13848" y="6480"/>
                    <a:pt x="13848" y="6480"/>
                    <a:pt x="13848" y="6480"/>
                  </a:cubicBezTo>
                  <a:cubicBezTo>
                    <a:pt x="13999" y="6240"/>
                    <a:pt x="13999" y="6240"/>
                    <a:pt x="13999" y="6240"/>
                  </a:cubicBezTo>
                  <a:cubicBezTo>
                    <a:pt x="14074" y="6160"/>
                    <a:pt x="14074" y="6160"/>
                    <a:pt x="14074" y="6160"/>
                  </a:cubicBezTo>
                  <a:cubicBezTo>
                    <a:pt x="14074" y="6000"/>
                    <a:pt x="14074" y="6000"/>
                    <a:pt x="14074" y="6000"/>
                  </a:cubicBezTo>
                  <a:cubicBezTo>
                    <a:pt x="14149" y="5920"/>
                    <a:pt x="14149" y="5920"/>
                    <a:pt x="14149" y="5920"/>
                  </a:cubicBezTo>
                  <a:cubicBezTo>
                    <a:pt x="14149" y="5920"/>
                    <a:pt x="14149" y="5920"/>
                    <a:pt x="14224" y="5920"/>
                  </a:cubicBezTo>
                  <a:cubicBezTo>
                    <a:pt x="14224" y="5920"/>
                    <a:pt x="14525" y="5840"/>
                    <a:pt x="14525" y="5840"/>
                  </a:cubicBezTo>
                  <a:cubicBezTo>
                    <a:pt x="14676" y="5840"/>
                    <a:pt x="14676" y="5840"/>
                    <a:pt x="14676" y="5840"/>
                  </a:cubicBezTo>
                  <a:cubicBezTo>
                    <a:pt x="14525" y="5600"/>
                    <a:pt x="14525" y="5600"/>
                    <a:pt x="14525" y="5600"/>
                  </a:cubicBezTo>
                  <a:cubicBezTo>
                    <a:pt x="14224" y="5360"/>
                    <a:pt x="14224" y="5360"/>
                    <a:pt x="14224" y="5360"/>
                  </a:cubicBezTo>
                  <a:cubicBezTo>
                    <a:pt x="14074" y="5200"/>
                    <a:pt x="14074" y="5200"/>
                    <a:pt x="14074" y="5200"/>
                  </a:cubicBezTo>
                  <a:cubicBezTo>
                    <a:pt x="13848" y="5040"/>
                    <a:pt x="13848" y="5040"/>
                    <a:pt x="13848" y="5040"/>
                  </a:cubicBezTo>
                  <a:cubicBezTo>
                    <a:pt x="13472" y="4880"/>
                    <a:pt x="13472" y="4880"/>
                    <a:pt x="13472" y="4880"/>
                  </a:cubicBezTo>
                  <a:cubicBezTo>
                    <a:pt x="12794" y="4800"/>
                    <a:pt x="12794" y="4800"/>
                    <a:pt x="12794" y="4800"/>
                  </a:cubicBezTo>
                  <a:cubicBezTo>
                    <a:pt x="12268" y="5120"/>
                    <a:pt x="12268" y="5120"/>
                    <a:pt x="12268" y="5120"/>
                  </a:cubicBezTo>
                  <a:cubicBezTo>
                    <a:pt x="11967" y="5440"/>
                    <a:pt x="11967" y="5440"/>
                    <a:pt x="11967" y="5440"/>
                  </a:cubicBezTo>
                  <a:cubicBezTo>
                    <a:pt x="11440" y="5520"/>
                    <a:pt x="11440" y="5520"/>
                    <a:pt x="11440" y="5520"/>
                  </a:cubicBezTo>
                  <a:cubicBezTo>
                    <a:pt x="10838" y="5520"/>
                    <a:pt x="10838" y="5520"/>
                    <a:pt x="10838" y="5520"/>
                  </a:cubicBezTo>
                  <a:cubicBezTo>
                    <a:pt x="10537" y="5760"/>
                    <a:pt x="10537" y="5760"/>
                    <a:pt x="10537" y="5760"/>
                  </a:cubicBezTo>
                  <a:cubicBezTo>
                    <a:pt x="10160" y="6480"/>
                    <a:pt x="10160" y="6480"/>
                    <a:pt x="10160" y="6480"/>
                  </a:cubicBezTo>
                  <a:cubicBezTo>
                    <a:pt x="9709" y="6800"/>
                    <a:pt x="9709" y="6800"/>
                    <a:pt x="9709" y="6800"/>
                  </a:cubicBezTo>
                  <a:cubicBezTo>
                    <a:pt x="9633" y="6720"/>
                    <a:pt x="9633" y="6720"/>
                    <a:pt x="9633" y="6720"/>
                  </a:cubicBezTo>
                  <a:cubicBezTo>
                    <a:pt x="9784" y="6400"/>
                    <a:pt x="9784" y="6400"/>
                    <a:pt x="9784" y="6400"/>
                  </a:cubicBezTo>
                  <a:cubicBezTo>
                    <a:pt x="10010" y="6160"/>
                    <a:pt x="10010" y="6160"/>
                    <a:pt x="10010" y="6160"/>
                  </a:cubicBezTo>
                  <a:cubicBezTo>
                    <a:pt x="9859" y="5920"/>
                    <a:pt x="9859" y="5920"/>
                    <a:pt x="9859" y="5920"/>
                  </a:cubicBezTo>
                  <a:cubicBezTo>
                    <a:pt x="9558" y="6080"/>
                    <a:pt x="9558" y="6080"/>
                    <a:pt x="9558" y="6080"/>
                  </a:cubicBezTo>
                  <a:cubicBezTo>
                    <a:pt x="9408" y="6160"/>
                    <a:pt x="9408" y="6160"/>
                    <a:pt x="9408" y="6160"/>
                  </a:cubicBezTo>
                  <a:cubicBezTo>
                    <a:pt x="9257" y="6480"/>
                    <a:pt x="9257" y="6480"/>
                    <a:pt x="9257" y="6480"/>
                  </a:cubicBezTo>
                  <a:cubicBezTo>
                    <a:pt x="9107" y="6560"/>
                    <a:pt x="9107" y="6560"/>
                    <a:pt x="9107" y="6560"/>
                  </a:cubicBezTo>
                  <a:cubicBezTo>
                    <a:pt x="9031" y="6560"/>
                    <a:pt x="9031" y="6560"/>
                    <a:pt x="9031" y="6560"/>
                  </a:cubicBezTo>
                  <a:cubicBezTo>
                    <a:pt x="8881" y="6000"/>
                    <a:pt x="8881" y="6000"/>
                    <a:pt x="8881" y="6000"/>
                  </a:cubicBezTo>
                  <a:cubicBezTo>
                    <a:pt x="8806" y="6000"/>
                    <a:pt x="8806" y="6000"/>
                    <a:pt x="8806" y="6000"/>
                  </a:cubicBezTo>
                  <a:cubicBezTo>
                    <a:pt x="8655" y="6480"/>
                    <a:pt x="8655" y="6480"/>
                    <a:pt x="8655" y="6480"/>
                  </a:cubicBezTo>
                  <a:cubicBezTo>
                    <a:pt x="8580" y="6800"/>
                    <a:pt x="8580" y="6800"/>
                    <a:pt x="8580" y="6800"/>
                  </a:cubicBezTo>
                  <a:cubicBezTo>
                    <a:pt x="8279" y="7200"/>
                    <a:pt x="8279" y="7200"/>
                    <a:pt x="8279" y="7200"/>
                  </a:cubicBezTo>
                  <a:cubicBezTo>
                    <a:pt x="8053" y="8080"/>
                    <a:pt x="8053" y="8080"/>
                    <a:pt x="8053" y="8080"/>
                  </a:cubicBezTo>
                  <a:cubicBezTo>
                    <a:pt x="7902" y="8560"/>
                    <a:pt x="7902" y="8560"/>
                    <a:pt x="7902" y="8560"/>
                  </a:cubicBezTo>
                  <a:cubicBezTo>
                    <a:pt x="7451" y="8960"/>
                    <a:pt x="7451" y="8960"/>
                    <a:pt x="7451" y="8960"/>
                  </a:cubicBezTo>
                  <a:cubicBezTo>
                    <a:pt x="7300" y="8640"/>
                    <a:pt x="7300" y="8640"/>
                    <a:pt x="7300" y="8640"/>
                  </a:cubicBezTo>
                  <a:cubicBezTo>
                    <a:pt x="7225" y="8080"/>
                    <a:pt x="7225" y="8080"/>
                    <a:pt x="7225" y="8080"/>
                  </a:cubicBezTo>
                  <a:cubicBezTo>
                    <a:pt x="7150" y="8000"/>
                    <a:pt x="7150" y="8000"/>
                    <a:pt x="7150" y="8000"/>
                  </a:cubicBezTo>
                  <a:cubicBezTo>
                    <a:pt x="6999" y="7760"/>
                    <a:pt x="6999" y="7760"/>
                    <a:pt x="6999" y="7760"/>
                  </a:cubicBezTo>
                  <a:cubicBezTo>
                    <a:pt x="7075" y="7520"/>
                    <a:pt x="7075" y="7520"/>
                    <a:pt x="7075" y="7520"/>
                  </a:cubicBezTo>
                  <a:cubicBezTo>
                    <a:pt x="6999" y="7040"/>
                    <a:pt x="6999" y="7040"/>
                    <a:pt x="6999" y="7040"/>
                  </a:cubicBezTo>
                  <a:cubicBezTo>
                    <a:pt x="6774" y="6800"/>
                    <a:pt x="6774" y="6800"/>
                    <a:pt x="6774" y="6800"/>
                  </a:cubicBezTo>
                  <a:cubicBezTo>
                    <a:pt x="6322" y="6480"/>
                    <a:pt x="6322" y="6480"/>
                    <a:pt x="6322" y="6480"/>
                  </a:cubicBezTo>
                  <a:cubicBezTo>
                    <a:pt x="6171" y="6160"/>
                    <a:pt x="6171" y="6160"/>
                    <a:pt x="6171" y="6160"/>
                  </a:cubicBezTo>
                  <a:cubicBezTo>
                    <a:pt x="5645" y="6080"/>
                    <a:pt x="5645" y="6080"/>
                    <a:pt x="5645" y="6080"/>
                  </a:cubicBezTo>
                  <a:cubicBezTo>
                    <a:pt x="4967" y="6080"/>
                    <a:pt x="4967" y="6080"/>
                    <a:pt x="4967" y="6080"/>
                  </a:cubicBezTo>
                  <a:cubicBezTo>
                    <a:pt x="4817" y="5920"/>
                    <a:pt x="4817" y="5920"/>
                    <a:pt x="4817" y="5920"/>
                  </a:cubicBezTo>
                  <a:cubicBezTo>
                    <a:pt x="4365" y="5920"/>
                    <a:pt x="4365" y="5920"/>
                    <a:pt x="4365" y="5920"/>
                  </a:cubicBezTo>
                  <a:cubicBezTo>
                    <a:pt x="3763" y="5840"/>
                    <a:pt x="3763" y="5840"/>
                    <a:pt x="3763" y="5840"/>
                  </a:cubicBezTo>
                  <a:cubicBezTo>
                    <a:pt x="3688" y="5680"/>
                    <a:pt x="3688" y="5680"/>
                    <a:pt x="3688" y="5680"/>
                  </a:cubicBezTo>
                  <a:cubicBezTo>
                    <a:pt x="3236" y="5440"/>
                    <a:pt x="3236" y="5440"/>
                    <a:pt x="3236" y="5440"/>
                  </a:cubicBezTo>
                  <a:cubicBezTo>
                    <a:pt x="2709" y="5360"/>
                    <a:pt x="2709" y="5360"/>
                    <a:pt x="2709" y="5360"/>
                  </a:cubicBezTo>
                  <a:cubicBezTo>
                    <a:pt x="2183" y="5200"/>
                    <a:pt x="2183" y="5200"/>
                    <a:pt x="2183" y="5200"/>
                  </a:cubicBezTo>
                  <a:cubicBezTo>
                    <a:pt x="1580" y="4960"/>
                    <a:pt x="1580" y="4960"/>
                    <a:pt x="1580" y="4960"/>
                  </a:cubicBezTo>
                  <a:cubicBezTo>
                    <a:pt x="1204" y="4720"/>
                    <a:pt x="1204" y="4720"/>
                    <a:pt x="1204" y="4720"/>
                  </a:cubicBezTo>
                  <a:cubicBezTo>
                    <a:pt x="903" y="4720"/>
                    <a:pt x="903" y="4720"/>
                    <a:pt x="903" y="4720"/>
                  </a:cubicBezTo>
                  <a:cubicBezTo>
                    <a:pt x="828" y="4720"/>
                    <a:pt x="828" y="4720"/>
                    <a:pt x="828" y="4720"/>
                  </a:cubicBezTo>
                  <a:cubicBezTo>
                    <a:pt x="677" y="4560"/>
                    <a:pt x="677" y="4560"/>
                    <a:pt x="677" y="4560"/>
                  </a:cubicBezTo>
                  <a:cubicBezTo>
                    <a:pt x="527" y="4320"/>
                    <a:pt x="527" y="4320"/>
                    <a:pt x="527" y="4320"/>
                  </a:cubicBezTo>
                  <a:cubicBezTo>
                    <a:pt x="0" y="4160"/>
                    <a:pt x="0" y="4160"/>
                    <a:pt x="0" y="4160"/>
                  </a:cubicBezTo>
                  <a:lnTo>
                    <a:pt x="0" y="408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 name="Shape 2324">
              <a:extLst>
                <a:ext uri="{FF2B5EF4-FFF2-40B4-BE49-F238E27FC236}">
                  <a16:creationId xmlns:a16="http://schemas.microsoft.com/office/drawing/2014/main" id="{6F938838-BA8B-036E-133F-35FCC6957D77}"/>
                </a:ext>
              </a:extLst>
            </p:cNvPr>
            <p:cNvSpPr/>
            <p:nvPr/>
          </p:nvSpPr>
          <p:spPr>
            <a:xfrm>
              <a:off x="5763974" y="1093074"/>
              <a:ext cx="977762" cy="1041302"/>
            </a:xfrm>
            <a:custGeom>
              <a:avLst/>
              <a:gdLst/>
              <a:ahLst/>
              <a:cxnLst>
                <a:cxn ang="0">
                  <a:pos x="wd2" y="hd2"/>
                </a:cxn>
                <a:cxn ang="5400000">
                  <a:pos x="wd2" y="hd2"/>
                </a:cxn>
                <a:cxn ang="10800000">
                  <a:pos x="wd2" y="hd2"/>
                </a:cxn>
                <a:cxn ang="16200000">
                  <a:pos x="wd2" y="hd2"/>
                </a:cxn>
              </a:cxnLst>
              <a:rect l="0" t="0" r="r" b="b"/>
              <a:pathLst>
                <a:path w="21600" h="21600" extrusionOk="0">
                  <a:moveTo>
                    <a:pt x="19128" y="6997"/>
                  </a:moveTo>
                  <a:cubicBezTo>
                    <a:pt x="19021" y="6896"/>
                    <a:pt x="19021" y="6896"/>
                    <a:pt x="19021" y="6896"/>
                  </a:cubicBezTo>
                  <a:cubicBezTo>
                    <a:pt x="18806" y="6592"/>
                    <a:pt x="18806" y="6592"/>
                    <a:pt x="18806" y="6592"/>
                  </a:cubicBezTo>
                  <a:cubicBezTo>
                    <a:pt x="18913" y="6287"/>
                    <a:pt x="18913" y="6287"/>
                    <a:pt x="18913" y="6287"/>
                  </a:cubicBezTo>
                  <a:cubicBezTo>
                    <a:pt x="18806" y="5679"/>
                    <a:pt x="18806" y="5679"/>
                    <a:pt x="18806" y="5679"/>
                  </a:cubicBezTo>
                  <a:cubicBezTo>
                    <a:pt x="18484" y="5375"/>
                    <a:pt x="18484" y="5375"/>
                    <a:pt x="18484" y="5375"/>
                  </a:cubicBezTo>
                  <a:cubicBezTo>
                    <a:pt x="17839" y="4969"/>
                    <a:pt x="17839" y="4969"/>
                    <a:pt x="17839" y="4969"/>
                  </a:cubicBezTo>
                  <a:cubicBezTo>
                    <a:pt x="17624" y="4563"/>
                    <a:pt x="17624" y="4563"/>
                    <a:pt x="17624" y="4563"/>
                  </a:cubicBezTo>
                  <a:cubicBezTo>
                    <a:pt x="16872" y="4462"/>
                    <a:pt x="16872" y="4462"/>
                    <a:pt x="16872" y="4462"/>
                  </a:cubicBezTo>
                  <a:cubicBezTo>
                    <a:pt x="15904" y="4462"/>
                    <a:pt x="15904" y="4462"/>
                    <a:pt x="15904" y="4462"/>
                  </a:cubicBezTo>
                  <a:cubicBezTo>
                    <a:pt x="15690" y="4259"/>
                    <a:pt x="15690" y="4259"/>
                    <a:pt x="15690" y="4259"/>
                  </a:cubicBezTo>
                  <a:cubicBezTo>
                    <a:pt x="15045" y="4259"/>
                    <a:pt x="15045" y="4259"/>
                    <a:pt x="15045" y="4259"/>
                  </a:cubicBezTo>
                  <a:cubicBezTo>
                    <a:pt x="14185" y="4158"/>
                    <a:pt x="14185" y="4158"/>
                    <a:pt x="14185" y="4158"/>
                  </a:cubicBezTo>
                  <a:cubicBezTo>
                    <a:pt x="14078" y="3955"/>
                    <a:pt x="14078" y="3955"/>
                    <a:pt x="14078" y="3955"/>
                  </a:cubicBezTo>
                  <a:cubicBezTo>
                    <a:pt x="13433" y="3651"/>
                    <a:pt x="13433" y="3651"/>
                    <a:pt x="13433" y="3651"/>
                  </a:cubicBezTo>
                  <a:cubicBezTo>
                    <a:pt x="12681" y="3549"/>
                    <a:pt x="12681" y="3549"/>
                    <a:pt x="12681" y="3549"/>
                  </a:cubicBezTo>
                  <a:cubicBezTo>
                    <a:pt x="11928" y="3346"/>
                    <a:pt x="11928" y="3346"/>
                    <a:pt x="11928" y="3346"/>
                  </a:cubicBezTo>
                  <a:cubicBezTo>
                    <a:pt x="11069" y="3042"/>
                    <a:pt x="11069" y="3042"/>
                    <a:pt x="11069" y="3042"/>
                  </a:cubicBezTo>
                  <a:cubicBezTo>
                    <a:pt x="10531" y="2738"/>
                    <a:pt x="10531" y="2738"/>
                    <a:pt x="10531" y="2738"/>
                  </a:cubicBezTo>
                  <a:cubicBezTo>
                    <a:pt x="10101" y="2738"/>
                    <a:pt x="10101" y="2738"/>
                    <a:pt x="10101" y="2738"/>
                  </a:cubicBezTo>
                  <a:cubicBezTo>
                    <a:pt x="9994" y="2738"/>
                    <a:pt x="9994" y="2738"/>
                    <a:pt x="9994" y="2738"/>
                  </a:cubicBezTo>
                  <a:cubicBezTo>
                    <a:pt x="9779" y="2535"/>
                    <a:pt x="9779" y="2535"/>
                    <a:pt x="9779" y="2535"/>
                  </a:cubicBezTo>
                  <a:cubicBezTo>
                    <a:pt x="9564" y="2231"/>
                    <a:pt x="9564" y="2231"/>
                    <a:pt x="9564" y="2231"/>
                  </a:cubicBezTo>
                  <a:cubicBezTo>
                    <a:pt x="8812" y="2028"/>
                    <a:pt x="8812" y="2028"/>
                    <a:pt x="8812" y="2028"/>
                  </a:cubicBezTo>
                  <a:cubicBezTo>
                    <a:pt x="8812" y="2028"/>
                    <a:pt x="8812" y="2028"/>
                    <a:pt x="8812" y="2028"/>
                  </a:cubicBezTo>
                  <a:cubicBezTo>
                    <a:pt x="8704" y="2028"/>
                    <a:pt x="8704" y="2028"/>
                    <a:pt x="8704" y="2028"/>
                  </a:cubicBezTo>
                  <a:cubicBezTo>
                    <a:pt x="8382" y="1825"/>
                    <a:pt x="8382" y="1825"/>
                    <a:pt x="8382" y="1825"/>
                  </a:cubicBezTo>
                  <a:cubicBezTo>
                    <a:pt x="8060" y="1623"/>
                    <a:pt x="8060" y="1623"/>
                    <a:pt x="8060" y="1623"/>
                  </a:cubicBezTo>
                  <a:cubicBezTo>
                    <a:pt x="7737" y="1521"/>
                    <a:pt x="7737" y="1521"/>
                    <a:pt x="7737" y="1521"/>
                  </a:cubicBezTo>
                  <a:cubicBezTo>
                    <a:pt x="7522" y="1724"/>
                    <a:pt x="7522" y="1724"/>
                    <a:pt x="7522" y="1724"/>
                  </a:cubicBezTo>
                  <a:cubicBezTo>
                    <a:pt x="7200" y="1825"/>
                    <a:pt x="7200" y="1825"/>
                    <a:pt x="7200" y="1825"/>
                  </a:cubicBezTo>
                  <a:cubicBezTo>
                    <a:pt x="7093" y="1724"/>
                    <a:pt x="7093" y="1724"/>
                    <a:pt x="7093" y="1724"/>
                  </a:cubicBezTo>
                  <a:cubicBezTo>
                    <a:pt x="7200" y="1521"/>
                    <a:pt x="7200" y="1521"/>
                    <a:pt x="7200" y="1521"/>
                  </a:cubicBezTo>
                  <a:cubicBezTo>
                    <a:pt x="7307" y="913"/>
                    <a:pt x="7307" y="913"/>
                    <a:pt x="7307" y="913"/>
                  </a:cubicBezTo>
                  <a:cubicBezTo>
                    <a:pt x="7415" y="710"/>
                    <a:pt x="7415" y="710"/>
                    <a:pt x="7415" y="710"/>
                  </a:cubicBezTo>
                  <a:cubicBezTo>
                    <a:pt x="7522" y="203"/>
                    <a:pt x="7522" y="203"/>
                    <a:pt x="7522" y="203"/>
                  </a:cubicBezTo>
                  <a:cubicBezTo>
                    <a:pt x="7200" y="0"/>
                    <a:pt x="7200" y="0"/>
                    <a:pt x="7200" y="0"/>
                  </a:cubicBezTo>
                  <a:cubicBezTo>
                    <a:pt x="6985" y="101"/>
                    <a:pt x="6985" y="101"/>
                    <a:pt x="6985" y="101"/>
                  </a:cubicBezTo>
                  <a:cubicBezTo>
                    <a:pt x="6555" y="304"/>
                    <a:pt x="6555" y="304"/>
                    <a:pt x="6555" y="304"/>
                  </a:cubicBezTo>
                  <a:cubicBezTo>
                    <a:pt x="6125" y="406"/>
                    <a:pt x="6125" y="406"/>
                    <a:pt x="6125" y="406"/>
                  </a:cubicBezTo>
                  <a:cubicBezTo>
                    <a:pt x="5588" y="608"/>
                    <a:pt x="5588" y="608"/>
                    <a:pt x="5588" y="608"/>
                  </a:cubicBezTo>
                  <a:cubicBezTo>
                    <a:pt x="5051" y="913"/>
                    <a:pt x="5051" y="913"/>
                    <a:pt x="5051" y="913"/>
                  </a:cubicBezTo>
                  <a:cubicBezTo>
                    <a:pt x="4191" y="1318"/>
                    <a:pt x="4191" y="1318"/>
                    <a:pt x="4191" y="1318"/>
                  </a:cubicBezTo>
                  <a:cubicBezTo>
                    <a:pt x="3976" y="1623"/>
                    <a:pt x="3976" y="1623"/>
                    <a:pt x="3976" y="1623"/>
                  </a:cubicBezTo>
                  <a:cubicBezTo>
                    <a:pt x="3546" y="1623"/>
                    <a:pt x="3546" y="1623"/>
                    <a:pt x="3546" y="1623"/>
                  </a:cubicBezTo>
                  <a:cubicBezTo>
                    <a:pt x="3009" y="1420"/>
                    <a:pt x="3009" y="1420"/>
                    <a:pt x="3009" y="1420"/>
                  </a:cubicBezTo>
                  <a:cubicBezTo>
                    <a:pt x="2687" y="1115"/>
                    <a:pt x="2687" y="1115"/>
                    <a:pt x="2687" y="1115"/>
                  </a:cubicBezTo>
                  <a:cubicBezTo>
                    <a:pt x="2257" y="1521"/>
                    <a:pt x="2257" y="1521"/>
                    <a:pt x="2257" y="1521"/>
                  </a:cubicBezTo>
                  <a:cubicBezTo>
                    <a:pt x="2149" y="4361"/>
                    <a:pt x="2149" y="4361"/>
                    <a:pt x="2149" y="4361"/>
                  </a:cubicBezTo>
                  <a:cubicBezTo>
                    <a:pt x="752" y="5172"/>
                    <a:pt x="752" y="5172"/>
                    <a:pt x="752" y="5172"/>
                  </a:cubicBezTo>
                  <a:cubicBezTo>
                    <a:pt x="537" y="5577"/>
                    <a:pt x="537" y="5577"/>
                    <a:pt x="537" y="5577"/>
                  </a:cubicBezTo>
                  <a:cubicBezTo>
                    <a:pt x="0" y="6693"/>
                    <a:pt x="0" y="6693"/>
                    <a:pt x="0" y="6693"/>
                  </a:cubicBezTo>
                  <a:cubicBezTo>
                    <a:pt x="537" y="7301"/>
                    <a:pt x="537" y="7301"/>
                    <a:pt x="537" y="7301"/>
                  </a:cubicBezTo>
                  <a:cubicBezTo>
                    <a:pt x="752" y="7301"/>
                    <a:pt x="752" y="7301"/>
                    <a:pt x="752" y="7301"/>
                  </a:cubicBezTo>
                  <a:cubicBezTo>
                    <a:pt x="537" y="9025"/>
                    <a:pt x="537" y="9025"/>
                    <a:pt x="537" y="9025"/>
                  </a:cubicBezTo>
                  <a:cubicBezTo>
                    <a:pt x="430" y="10851"/>
                    <a:pt x="430" y="10851"/>
                    <a:pt x="430" y="10851"/>
                  </a:cubicBezTo>
                  <a:cubicBezTo>
                    <a:pt x="1075" y="11358"/>
                    <a:pt x="1075" y="11358"/>
                    <a:pt x="1075" y="11358"/>
                  </a:cubicBezTo>
                  <a:cubicBezTo>
                    <a:pt x="2042" y="11865"/>
                    <a:pt x="2042" y="11865"/>
                    <a:pt x="2042" y="11865"/>
                  </a:cubicBezTo>
                  <a:cubicBezTo>
                    <a:pt x="3546" y="12676"/>
                    <a:pt x="3546" y="12676"/>
                    <a:pt x="3546" y="12676"/>
                  </a:cubicBezTo>
                  <a:cubicBezTo>
                    <a:pt x="4513" y="13690"/>
                    <a:pt x="4513" y="13690"/>
                    <a:pt x="4513" y="13690"/>
                  </a:cubicBezTo>
                  <a:cubicBezTo>
                    <a:pt x="4836" y="14096"/>
                    <a:pt x="4836" y="14096"/>
                    <a:pt x="4836" y="14096"/>
                  </a:cubicBezTo>
                  <a:cubicBezTo>
                    <a:pt x="5588" y="14603"/>
                    <a:pt x="5588" y="14603"/>
                    <a:pt x="5588" y="14603"/>
                  </a:cubicBezTo>
                  <a:cubicBezTo>
                    <a:pt x="6448" y="15414"/>
                    <a:pt x="6448" y="15414"/>
                    <a:pt x="6448" y="15414"/>
                  </a:cubicBezTo>
                  <a:cubicBezTo>
                    <a:pt x="6555" y="16124"/>
                    <a:pt x="6555" y="16124"/>
                    <a:pt x="6555" y="16124"/>
                  </a:cubicBezTo>
                  <a:cubicBezTo>
                    <a:pt x="6448" y="16834"/>
                    <a:pt x="6448" y="16834"/>
                    <a:pt x="6448" y="16834"/>
                  </a:cubicBezTo>
                  <a:cubicBezTo>
                    <a:pt x="6770" y="17544"/>
                    <a:pt x="6770" y="17544"/>
                    <a:pt x="6770" y="17544"/>
                  </a:cubicBezTo>
                  <a:cubicBezTo>
                    <a:pt x="6985" y="17848"/>
                    <a:pt x="6985" y="17848"/>
                    <a:pt x="6985" y="17848"/>
                  </a:cubicBezTo>
                  <a:cubicBezTo>
                    <a:pt x="6985" y="18558"/>
                    <a:pt x="6985" y="18558"/>
                    <a:pt x="6985" y="18558"/>
                  </a:cubicBezTo>
                  <a:cubicBezTo>
                    <a:pt x="6985" y="18963"/>
                    <a:pt x="6985" y="18963"/>
                    <a:pt x="6985" y="18963"/>
                  </a:cubicBezTo>
                  <a:cubicBezTo>
                    <a:pt x="6985" y="19572"/>
                    <a:pt x="6985" y="19572"/>
                    <a:pt x="6985" y="19572"/>
                  </a:cubicBezTo>
                  <a:cubicBezTo>
                    <a:pt x="7200" y="20079"/>
                    <a:pt x="7200" y="20079"/>
                    <a:pt x="7200" y="20079"/>
                  </a:cubicBezTo>
                  <a:cubicBezTo>
                    <a:pt x="7200" y="20586"/>
                    <a:pt x="7200" y="20586"/>
                    <a:pt x="7200" y="20586"/>
                  </a:cubicBezTo>
                  <a:cubicBezTo>
                    <a:pt x="7737" y="20586"/>
                    <a:pt x="7737" y="20586"/>
                    <a:pt x="7737" y="20586"/>
                  </a:cubicBezTo>
                  <a:cubicBezTo>
                    <a:pt x="7737" y="20586"/>
                    <a:pt x="8167" y="20992"/>
                    <a:pt x="8275" y="20992"/>
                  </a:cubicBezTo>
                  <a:cubicBezTo>
                    <a:pt x="8382" y="20992"/>
                    <a:pt x="8812" y="21194"/>
                    <a:pt x="8812" y="21194"/>
                  </a:cubicBezTo>
                  <a:cubicBezTo>
                    <a:pt x="9134" y="21600"/>
                    <a:pt x="9134" y="21600"/>
                    <a:pt x="9134" y="21600"/>
                  </a:cubicBezTo>
                  <a:cubicBezTo>
                    <a:pt x="19773" y="20992"/>
                    <a:pt x="19773" y="20992"/>
                    <a:pt x="19773" y="20992"/>
                  </a:cubicBezTo>
                  <a:cubicBezTo>
                    <a:pt x="19773" y="19775"/>
                    <a:pt x="19773" y="19775"/>
                    <a:pt x="19773" y="19775"/>
                  </a:cubicBezTo>
                  <a:cubicBezTo>
                    <a:pt x="19773" y="19369"/>
                    <a:pt x="19773" y="19369"/>
                    <a:pt x="19773" y="19369"/>
                  </a:cubicBezTo>
                  <a:cubicBezTo>
                    <a:pt x="19236" y="18152"/>
                    <a:pt x="19236" y="18152"/>
                    <a:pt x="19236" y="18152"/>
                  </a:cubicBezTo>
                  <a:cubicBezTo>
                    <a:pt x="19128" y="17442"/>
                    <a:pt x="19128" y="17442"/>
                    <a:pt x="19128" y="17442"/>
                  </a:cubicBezTo>
                  <a:cubicBezTo>
                    <a:pt x="19236" y="16631"/>
                    <a:pt x="19236" y="16631"/>
                    <a:pt x="19236" y="16631"/>
                  </a:cubicBezTo>
                  <a:cubicBezTo>
                    <a:pt x="19451" y="16023"/>
                    <a:pt x="19451" y="16023"/>
                    <a:pt x="19451" y="16023"/>
                  </a:cubicBezTo>
                  <a:cubicBezTo>
                    <a:pt x="19558" y="15718"/>
                    <a:pt x="19558" y="15718"/>
                    <a:pt x="19558" y="15718"/>
                  </a:cubicBezTo>
                  <a:cubicBezTo>
                    <a:pt x="19773" y="15414"/>
                    <a:pt x="19773" y="15414"/>
                    <a:pt x="19773" y="15414"/>
                  </a:cubicBezTo>
                  <a:cubicBezTo>
                    <a:pt x="19558" y="14907"/>
                    <a:pt x="19558" y="14907"/>
                    <a:pt x="19558" y="14907"/>
                  </a:cubicBezTo>
                  <a:cubicBezTo>
                    <a:pt x="19558" y="14197"/>
                    <a:pt x="19558" y="14197"/>
                    <a:pt x="19558" y="14197"/>
                  </a:cubicBezTo>
                  <a:cubicBezTo>
                    <a:pt x="19558" y="13792"/>
                    <a:pt x="19558" y="13792"/>
                    <a:pt x="19558" y="13792"/>
                  </a:cubicBezTo>
                  <a:cubicBezTo>
                    <a:pt x="19773" y="13487"/>
                    <a:pt x="19773" y="13487"/>
                    <a:pt x="19773" y="13487"/>
                  </a:cubicBezTo>
                  <a:cubicBezTo>
                    <a:pt x="19773" y="13285"/>
                    <a:pt x="19773" y="13285"/>
                    <a:pt x="19773" y="13285"/>
                  </a:cubicBezTo>
                  <a:cubicBezTo>
                    <a:pt x="20203" y="12879"/>
                    <a:pt x="20203" y="12879"/>
                    <a:pt x="20203" y="12879"/>
                  </a:cubicBezTo>
                  <a:cubicBezTo>
                    <a:pt x="20203" y="12676"/>
                    <a:pt x="20203" y="12676"/>
                    <a:pt x="20203" y="12676"/>
                  </a:cubicBezTo>
                  <a:cubicBezTo>
                    <a:pt x="19988" y="12270"/>
                    <a:pt x="19988" y="12270"/>
                    <a:pt x="19988" y="12270"/>
                  </a:cubicBezTo>
                  <a:cubicBezTo>
                    <a:pt x="19988" y="11966"/>
                    <a:pt x="19988" y="11966"/>
                    <a:pt x="19988" y="11966"/>
                  </a:cubicBezTo>
                  <a:cubicBezTo>
                    <a:pt x="20096" y="11155"/>
                    <a:pt x="20096" y="11155"/>
                    <a:pt x="20096" y="11155"/>
                  </a:cubicBezTo>
                  <a:cubicBezTo>
                    <a:pt x="20203" y="10648"/>
                    <a:pt x="20203" y="10648"/>
                    <a:pt x="20203" y="10648"/>
                  </a:cubicBezTo>
                  <a:cubicBezTo>
                    <a:pt x="20525" y="10039"/>
                    <a:pt x="20525" y="10039"/>
                    <a:pt x="20525" y="10039"/>
                  </a:cubicBezTo>
                  <a:cubicBezTo>
                    <a:pt x="21063" y="9025"/>
                    <a:pt x="21063" y="9025"/>
                    <a:pt x="21063" y="9025"/>
                  </a:cubicBezTo>
                  <a:cubicBezTo>
                    <a:pt x="21170" y="8620"/>
                    <a:pt x="21170" y="8620"/>
                    <a:pt x="21170" y="8620"/>
                  </a:cubicBezTo>
                  <a:cubicBezTo>
                    <a:pt x="21170" y="8315"/>
                    <a:pt x="21170" y="8315"/>
                    <a:pt x="21170" y="8315"/>
                  </a:cubicBezTo>
                  <a:cubicBezTo>
                    <a:pt x="21600" y="8214"/>
                    <a:pt x="21600" y="8214"/>
                    <a:pt x="21600" y="8214"/>
                  </a:cubicBezTo>
                  <a:cubicBezTo>
                    <a:pt x="21600" y="8011"/>
                    <a:pt x="21600" y="8011"/>
                    <a:pt x="21600" y="8011"/>
                  </a:cubicBezTo>
                  <a:cubicBezTo>
                    <a:pt x="21600" y="7808"/>
                    <a:pt x="21600" y="7808"/>
                    <a:pt x="21600" y="7808"/>
                  </a:cubicBezTo>
                  <a:cubicBezTo>
                    <a:pt x="21600" y="7606"/>
                    <a:pt x="21600" y="7606"/>
                    <a:pt x="21600" y="7606"/>
                  </a:cubicBezTo>
                  <a:cubicBezTo>
                    <a:pt x="21600" y="7403"/>
                    <a:pt x="21600" y="7403"/>
                    <a:pt x="21600" y="7403"/>
                  </a:cubicBezTo>
                  <a:cubicBezTo>
                    <a:pt x="21600" y="7200"/>
                    <a:pt x="21600" y="7200"/>
                    <a:pt x="21600" y="7200"/>
                  </a:cubicBezTo>
                  <a:cubicBezTo>
                    <a:pt x="21170" y="7606"/>
                    <a:pt x="21170" y="7606"/>
                    <a:pt x="21170" y="7606"/>
                  </a:cubicBezTo>
                  <a:cubicBezTo>
                    <a:pt x="20848" y="8011"/>
                    <a:pt x="20848" y="8011"/>
                    <a:pt x="20848" y="8011"/>
                  </a:cubicBezTo>
                  <a:cubicBezTo>
                    <a:pt x="20740" y="8518"/>
                    <a:pt x="20740" y="8518"/>
                    <a:pt x="20740" y="8518"/>
                  </a:cubicBezTo>
                  <a:cubicBezTo>
                    <a:pt x="20418" y="9127"/>
                    <a:pt x="20418" y="9127"/>
                    <a:pt x="20418" y="9127"/>
                  </a:cubicBezTo>
                  <a:cubicBezTo>
                    <a:pt x="20096" y="9330"/>
                    <a:pt x="20096" y="9330"/>
                    <a:pt x="20096" y="9330"/>
                  </a:cubicBezTo>
                  <a:cubicBezTo>
                    <a:pt x="19451" y="9634"/>
                    <a:pt x="19451" y="9634"/>
                    <a:pt x="19451" y="9634"/>
                  </a:cubicBezTo>
                  <a:cubicBezTo>
                    <a:pt x="19128" y="10039"/>
                    <a:pt x="19128" y="10039"/>
                    <a:pt x="19128" y="10039"/>
                  </a:cubicBezTo>
                  <a:cubicBezTo>
                    <a:pt x="19021" y="10242"/>
                    <a:pt x="19021" y="10242"/>
                    <a:pt x="19021" y="10242"/>
                  </a:cubicBezTo>
                  <a:cubicBezTo>
                    <a:pt x="18806" y="10648"/>
                    <a:pt x="18806" y="10648"/>
                    <a:pt x="18806" y="10648"/>
                  </a:cubicBezTo>
                  <a:cubicBezTo>
                    <a:pt x="18376" y="11155"/>
                    <a:pt x="18376" y="11155"/>
                    <a:pt x="18376" y="11155"/>
                  </a:cubicBezTo>
                  <a:cubicBezTo>
                    <a:pt x="18054" y="10851"/>
                    <a:pt x="18054" y="10851"/>
                    <a:pt x="18054" y="10851"/>
                  </a:cubicBezTo>
                  <a:cubicBezTo>
                    <a:pt x="18376" y="10445"/>
                    <a:pt x="18376" y="10445"/>
                    <a:pt x="18376" y="10445"/>
                  </a:cubicBezTo>
                  <a:cubicBezTo>
                    <a:pt x="18591" y="9735"/>
                    <a:pt x="18591" y="9735"/>
                    <a:pt x="18591" y="9735"/>
                  </a:cubicBezTo>
                  <a:cubicBezTo>
                    <a:pt x="18699" y="9431"/>
                    <a:pt x="18699" y="9431"/>
                    <a:pt x="18699" y="9431"/>
                  </a:cubicBezTo>
                  <a:cubicBezTo>
                    <a:pt x="18806" y="9228"/>
                    <a:pt x="18806" y="9228"/>
                    <a:pt x="18806" y="9228"/>
                  </a:cubicBezTo>
                  <a:cubicBezTo>
                    <a:pt x="19021" y="9025"/>
                    <a:pt x="19021" y="9025"/>
                    <a:pt x="19021" y="9025"/>
                  </a:cubicBezTo>
                  <a:cubicBezTo>
                    <a:pt x="19236" y="8823"/>
                    <a:pt x="19236" y="8823"/>
                    <a:pt x="19236" y="8823"/>
                  </a:cubicBezTo>
                  <a:cubicBezTo>
                    <a:pt x="19343" y="8620"/>
                    <a:pt x="19343" y="8620"/>
                    <a:pt x="19343" y="8620"/>
                  </a:cubicBezTo>
                  <a:cubicBezTo>
                    <a:pt x="19236" y="8113"/>
                    <a:pt x="19236" y="8113"/>
                    <a:pt x="19236" y="8113"/>
                  </a:cubicBezTo>
                  <a:cubicBezTo>
                    <a:pt x="19343" y="7910"/>
                    <a:pt x="19343" y="7910"/>
                    <a:pt x="19343" y="7910"/>
                  </a:cubicBezTo>
                  <a:cubicBezTo>
                    <a:pt x="19236" y="7707"/>
                    <a:pt x="19236" y="7707"/>
                    <a:pt x="19236" y="7707"/>
                  </a:cubicBezTo>
                  <a:lnTo>
                    <a:pt x="19128" y="6997"/>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 name="Shape 2325">
              <a:extLst>
                <a:ext uri="{FF2B5EF4-FFF2-40B4-BE49-F238E27FC236}">
                  <a16:creationId xmlns:a16="http://schemas.microsoft.com/office/drawing/2014/main" id="{0824C8D6-F054-A04C-5F5E-8E8A3A5DF1A6}"/>
                </a:ext>
              </a:extLst>
            </p:cNvPr>
            <p:cNvSpPr/>
            <p:nvPr/>
          </p:nvSpPr>
          <p:spPr>
            <a:xfrm>
              <a:off x="7196108" y="2076839"/>
              <a:ext cx="782213" cy="897473"/>
            </a:xfrm>
            <a:custGeom>
              <a:avLst/>
              <a:gdLst/>
              <a:ahLst/>
              <a:cxnLst>
                <a:cxn ang="0">
                  <a:pos x="wd2" y="hd2"/>
                </a:cxn>
                <a:cxn ang="5400000">
                  <a:pos x="wd2" y="hd2"/>
                </a:cxn>
                <a:cxn ang="10800000">
                  <a:pos x="wd2" y="hd2"/>
                </a:cxn>
                <a:cxn ang="16200000">
                  <a:pos x="wd2" y="hd2"/>
                </a:cxn>
              </a:cxnLst>
              <a:rect l="0" t="0" r="r" b="b"/>
              <a:pathLst>
                <a:path w="21600" h="21600" extrusionOk="0">
                  <a:moveTo>
                    <a:pt x="19218" y="692"/>
                  </a:moveTo>
                  <a:lnTo>
                    <a:pt x="18106" y="1108"/>
                  </a:lnTo>
                  <a:lnTo>
                    <a:pt x="17153" y="1800"/>
                  </a:lnTo>
                  <a:lnTo>
                    <a:pt x="16041" y="2354"/>
                  </a:lnTo>
                  <a:lnTo>
                    <a:pt x="15247" y="2908"/>
                  </a:lnTo>
                  <a:lnTo>
                    <a:pt x="14771" y="3046"/>
                  </a:lnTo>
                  <a:lnTo>
                    <a:pt x="13976" y="3738"/>
                  </a:lnTo>
                  <a:lnTo>
                    <a:pt x="13024" y="3738"/>
                  </a:lnTo>
                  <a:lnTo>
                    <a:pt x="12388" y="4015"/>
                  </a:lnTo>
                  <a:lnTo>
                    <a:pt x="11753" y="4569"/>
                  </a:lnTo>
                  <a:lnTo>
                    <a:pt x="10800" y="4569"/>
                  </a:lnTo>
                  <a:lnTo>
                    <a:pt x="10324" y="4292"/>
                  </a:lnTo>
                  <a:lnTo>
                    <a:pt x="9847" y="3877"/>
                  </a:lnTo>
                  <a:lnTo>
                    <a:pt x="9529" y="4015"/>
                  </a:lnTo>
                  <a:lnTo>
                    <a:pt x="8894" y="3877"/>
                  </a:lnTo>
                  <a:lnTo>
                    <a:pt x="8735" y="3738"/>
                  </a:lnTo>
                  <a:lnTo>
                    <a:pt x="8100" y="3323"/>
                  </a:lnTo>
                  <a:lnTo>
                    <a:pt x="7465" y="3185"/>
                  </a:lnTo>
                  <a:lnTo>
                    <a:pt x="6194" y="3046"/>
                  </a:lnTo>
                  <a:lnTo>
                    <a:pt x="0" y="3877"/>
                  </a:lnTo>
                  <a:lnTo>
                    <a:pt x="1747" y="18554"/>
                  </a:lnTo>
                  <a:lnTo>
                    <a:pt x="2541" y="18831"/>
                  </a:lnTo>
                  <a:lnTo>
                    <a:pt x="3335" y="18554"/>
                  </a:lnTo>
                  <a:lnTo>
                    <a:pt x="3494" y="18415"/>
                  </a:lnTo>
                  <a:lnTo>
                    <a:pt x="4288" y="18969"/>
                  </a:lnTo>
                  <a:lnTo>
                    <a:pt x="4924" y="19385"/>
                  </a:lnTo>
                  <a:lnTo>
                    <a:pt x="5400" y="20215"/>
                  </a:lnTo>
                  <a:lnTo>
                    <a:pt x="6194" y="20354"/>
                  </a:lnTo>
                  <a:lnTo>
                    <a:pt x="6671" y="20492"/>
                  </a:lnTo>
                  <a:lnTo>
                    <a:pt x="6988" y="20631"/>
                  </a:lnTo>
                  <a:lnTo>
                    <a:pt x="7306" y="20908"/>
                  </a:lnTo>
                  <a:lnTo>
                    <a:pt x="7782" y="20769"/>
                  </a:lnTo>
                  <a:lnTo>
                    <a:pt x="7782" y="20631"/>
                  </a:lnTo>
                  <a:lnTo>
                    <a:pt x="8259" y="20215"/>
                  </a:lnTo>
                  <a:lnTo>
                    <a:pt x="8735" y="20492"/>
                  </a:lnTo>
                  <a:lnTo>
                    <a:pt x="9529" y="20769"/>
                  </a:lnTo>
                  <a:lnTo>
                    <a:pt x="10482" y="20631"/>
                  </a:lnTo>
                  <a:lnTo>
                    <a:pt x="10641" y="20492"/>
                  </a:lnTo>
                  <a:lnTo>
                    <a:pt x="10959" y="20077"/>
                  </a:lnTo>
                  <a:lnTo>
                    <a:pt x="11276" y="19938"/>
                  </a:lnTo>
                  <a:lnTo>
                    <a:pt x="11435" y="19800"/>
                  </a:lnTo>
                  <a:lnTo>
                    <a:pt x="11912" y="20215"/>
                  </a:lnTo>
                  <a:lnTo>
                    <a:pt x="12547" y="20908"/>
                  </a:lnTo>
                  <a:lnTo>
                    <a:pt x="13182" y="21462"/>
                  </a:lnTo>
                  <a:lnTo>
                    <a:pt x="13659" y="21462"/>
                  </a:lnTo>
                  <a:lnTo>
                    <a:pt x="13500" y="21600"/>
                  </a:lnTo>
                  <a:lnTo>
                    <a:pt x="14612" y="20631"/>
                  </a:lnTo>
                  <a:lnTo>
                    <a:pt x="14929" y="20215"/>
                  </a:lnTo>
                  <a:lnTo>
                    <a:pt x="14929" y="19662"/>
                  </a:lnTo>
                  <a:lnTo>
                    <a:pt x="15406" y="18138"/>
                  </a:lnTo>
                  <a:lnTo>
                    <a:pt x="15882" y="17723"/>
                  </a:lnTo>
                  <a:lnTo>
                    <a:pt x="16518" y="18138"/>
                  </a:lnTo>
                  <a:lnTo>
                    <a:pt x="16676" y="18000"/>
                  </a:lnTo>
                  <a:lnTo>
                    <a:pt x="16835" y="16615"/>
                  </a:lnTo>
                  <a:lnTo>
                    <a:pt x="17312" y="16062"/>
                  </a:lnTo>
                  <a:lnTo>
                    <a:pt x="17947" y="15231"/>
                  </a:lnTo>
                  <a:lnTo>
                    <a:pt x="18741" y="15231"/>
                  </a:lnTo>
                  <a:lnTo>
                    <a:pt x="19218" y="14677"/>
                  </a:lnTo>
                  <a:lnTo>
                    <a:pt x="20488" y="13708"/>
                  </a:lnTo>
                  <a:lnTo>
                    <a:pt x="20806" y="13015"/>
                  </a:lnTo>
                  <a:lnTo>
                    <a:pt x="20806" y="12600"/>
                  </a:lnTo>
                  <a:lnTo>
                    <a:pt x="20965" y="11492"/>
                  </a:lnTo>
                  <a:lnTo>
                    <a:pt x="20965" y="10662"/>
                  </a:lnTo>
                  <a:lnTo>
                    <a:pt x="21124" y="10246"/>
                  </a:lnTo>
                  <a:lnTo>
                    <a:pt x="21124" y="8446"/>
                  </a:lnTo>
                  <a:lnTo>
                    <a:pt x="20965" y="8031"/>
                  </a:lnTo>
                  <a:lnTo>
                    <a:pt x="21124" y="7615"/>
                  </a:lnTo>
                  <a:lnTo>
                    <a:pt x="21600" y="7615"/>
                  </a:lnTo>
                  <a:lnTo>
                    <a:pt x="20012" y="0"/>
                  </a:lnTo>
                  <a:lnTo>
                    <a:pt x="19218" y="692"/>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 name="Shape 2326">
              <a:extLst>
                <a:ext uri="{FF2B5EF4-FFF2-40B4-BE49-F238E27FC236}">
                  <a16:creationId xmlns:a16="http://schemas.microsoft.com/office/drawing/2014/main" id="{78DFDFD5-6CF2-DA79-B1A3-3B4BDCDB5C5A}"/>
                </a:ext>
              </a:extLst>
            </p:cNvPr>
            <p:cNvSpPr/>
            <p:nvPr/>
          </p:nvSpPr>
          <p:spPr>
            <a:xfrm>
              <a:off x="6689971" y="2232174"/>
              <a:ext cx="575154" cy="989521"/>
            </a:xfrm>
            <a:custGeom>
              <a:avLst/>
              <a:gdLst/>
              <a:ahLst/>
              <a:cxnLst>
                <a:cxn ang="0">
                  <a:pos x="wd2" y="hd2"/>
                </a:cxn>
                <a:cxn ang="5400000">
                  <a:pos x="wd2" y="hd2"/>
                </a:cxn>
                <a:cxn ang="10800000">
                  <a:pos x="wd2" y="hd2"/>
                </a:cxn>
                <a:cxn ang="16200000">
                  <a:pos x="wd2" y="hd2"/>
                </a:cxn>
              </a:cxnLst>
              <a:rect l="0" t="0" r="r" b="b"/>
              <a:pathLst>
                <a:path w="21600" h="21600" extrusionOk="0">
                  <a:moveTo>
                    <a:pt x="1080" y="21600"/>
                  </a:moveTo>
                  <a:lnTo>
                    <a:pt x="1080" y="20972"/>
                  </a:lnTo>
                  <a:lnTo>
                    <a:pt x="2808" y="20972"/>
                  </a:lnTo>
                  <a:lnTo>
                    <a:pt x="3456" y="20470"/>
                  </a:lnTo>
                  <a:lnTo>
                    <a:pt x="5184" y="20470"/>
                  </a:lnTo>
                  <a:lnTo>
                    <a:pt x="5832" y="20847"/>
                  </a:lnTo>
                  <a:lnTo>
                    <a:pt x="6696" y="21098"/>
                  </a:lnTo>
                  <a:lnTo>
                    <a:pt x="6912" y="20972"/>
                  </a:lnTo>
                  <a:lnTo>
                    <a:pt x="6912" y="20470"/>
                  </a:lnTo>
                  <a:lnTo>
                    <a:pt x="7776" y="20344"/>
                  </a:lnTo>
                  <a:lnTo>
                    <a:pt x="8208" y="20219"/>
                  </a:lnTo>
                  <a:lnTo>
                    <a:pt x="9072" y="20219"/>
                  </a:lnTo>
                  <a:lnTo>
                    <a:pt x="9504" y="20470"/>
                  </a:lnTo>
                  <a:lnTo>
                    <a:pt x="10368" y="20595"/>
                  </a:lnTo>
                  <a:lnTo>
                    <a:pt x="10584" y="20219"/>
                  </a:lnTo>
                  <a:lnTo>
                    <a:pt x="10584" y="19716"/>
                  </a:lnTo>
                  <a:lnTo>
                    <a:pt x="11232" y="19340"/>
                  </a:lnTo>
                  <a:lnTo>
                    <a:pt x="11448" y="18837"/>
                  </a:lnTo>
                  <a:lnTo>
                    <a:pt x="11880" y="18837"/>
                  </a:lnTo>
                  <a:lnTo>
                    <a:pt x="12096" y="19340"/>
                  </a:lnTo>
                  <a:lnTo>
                    <a:pt x="12960" y="19842"/>
                  </a:lnTo>
                  <a:lnTo>
                    <a:pt x="14256" y="19716"/>
                  </a:lnTo>
                  <a:lnTo>
                    <a:pt x="14688" y="19214"/>
                  </a:lnTo>
                  <a:lnTo>
                    <a:pt x="14688" y="18837"/>
                  </a:lnTo>
                  <a:lnTo>
                    <a:pt x="15336" y="18209"/>
                  </a:lnTo>
                  <a:lnTo>
                    <a:pt x="15984" y="18209"/>
                  </a:lnTo>
                  <a:lnTo>
                    <a:pt x="16416" y="17958"/>
                  </a:lnTo>
                  <a:lnTo>
                    <a:pt x="17280" y="16953"/>
                  </a:lnTo>
                  <a:lnTo>
                    <a:pt x="17280" y="16451"/>
                  </a:lnTo>
                  <a:lnTo>
                    <a:pt x="17496" y="16200"/>
                  </a:lnTo>
                  <a:lnTo>
                    <a:pt x="17496" y="15949"/>
                  </a:lnTo>
                  <a:lnTo>
                    <a:pt x="17712" y="15823"/>
                  </a:lnTo>
                  <a:lnTo>
                    <a:pt x="19440" y="15698"/>
                  </a:lnTo>
                  <a:lnTo>
                    <a:pt x="20304" y="15447"/>
                  </a:lnTo>
                  <a:lnTo>
                    <a:pt x="21168" y="15447"/>
                  </a:lnTo>
                  <a:lnTo>
                    <a:pt x="21600" y="15195"/>
                  </a:lnTo>
                  <a:lnTo>
                    <a:pt x="21384" y="14442"/>
                  </a:lnTo>
                  <a:lnTo>
                    <a:pt x="21600" y="14191"/>
                  </a:lnTo>
                  <a:lnTo>
                    <a:pt x="21168" y="14065"/>
                  </a:lnTo>
                  <a:lnTo>
                    <a:pt x="20952" y="13563"/>
                  </a:lnTo>
                  <a:lnTo>
                    <a:pt x="21384" y="13437"/>
                  </a:lnTo>
                  <a:lnTo>
                    <a:pt x="19008" y="126"/>
                  </a:lnTo>
                  <a:lnTo>
                    <a:pt x="19008" y="0"/>
                  </a:lnTo>
                  <a:lnTo>
                    <a:pt x="5832" y="502"/>
                  </a:lnTo>
                  <a:lnTo>
                    <a:pt x="5832" y="628"/>
                  </a:lnTo>
                  <a:lnTo>
                    <a:pt x="4320" y="1130"/>
                  </a:lnTo>
                  <a:lnTo>
                    <a:pt x="3456" y="1507"/>
                  </a:lnTo>
                  <a:lnTo>
                    <a:pt x="2808" y="1633"/>
                  </a:lnTo>
                  <a:lnTo>
                    <a:pt x="1728" y="1507"/>
                  </a:lnTo>
                  <a:lnTo>
                    <a:pt x="2376" y="12935"/>
                  </a:lnTo>
                  <a:lnTo>
                    <a:pt x="2160" y="13312"/>
                  </a:lnTo>
                  <a:lnTo>
                    <a:pt x="2160" y="14191"/>
                  </a:lnTo>
                  <a:lnTo>
                    <a:pt x="2376" y="14693"/>
                  </a:lnTo>
                  <a:lnTo>
                    <a:pt x="3240" y="15572"/>
                  </a:lnTo>
                  <a:lnTo>
                    <a:pt x="3456" y="16326"/>
                  </a:lnTo>
                  <a:lnTo>
                    <a:pt x="3456" y="16828"/>
                  </a:lnTo>
                  <a:lnTo>
                    <a:pt x="2808" y="17079"/>
                  </a:lnTo>
                  <a:lnTo>
                    <a:pt x="2376" y="17581"/>
                  </a:lnTo>
                  <a:lnTo>
                    <a:pt x="2160" y="18209"/>
                  </a:lnTo>
                  <a:lnTo>
                    <a:pt x="1080" y="18837"/>
                  </a:lnTo>
                  <a:lnTo>
                    <a:pt x="864" y="19591"/>
                  </a:lnTo>
                  <a:lnTo>
                    <a:pt x="432" y="19716"/>
                  </a:lnTo>
                  <a:lnTo>
                    <a:pt x="0" y="20219"/>
                  </a:lnTo>
                  <a:lnTo>
                    <a:pt x="0" y="20972"/>
                  </a:lnTo>
                  <a:lnTo>
                    <a:pt x="216" y="21474"/>
                  </a:lnTo>
                  <a:lnTo>
                    <a:pt x="432" y="21600"/>
                  </a:lnTo>
                  <a:lnTo>
                    <a:pt x="1080" y="21600"/>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 name="Shape 2327">
              <a:extLst>
                <a:ext uri="{FF2B5EF4-FFF2-40B4-BE49-F238E27FC236}">
                  <a16:creationId xmlns:a16="http://schemas.microsoft.com/office/drawing/2014/main" id="{E733D288-73AF-D615-FEF6-D740BA679DD8}"/>
                </a:ext>
              </a:extLst>
            </p:cNvPr>
            <p:cNvSpPr/>
            <p:nvPr/>
          </p:nvSpPr>
          <p:spPr>
            <a:xfrm>
              <a:off x="6040047" y="2105610"/>
              <a:ext cx="741950" cy="1300185"/>
            </a:xfrm>
            <a:custGeom>
              <a:avLst/>
              <a:gdLst/>
              <a:ahLst/>
              <a:cxnLst>
                <a:cxn ang="0">
                  <a:pos x="wd2" y="hd2"/>
                </a:cxn>
                <a:cxn ang="5400000">
                  <a:pos x="wd2" y="hd2"/>
                </a:cxn>
                <a:cxn ang="10800000">
                  <a:pos x="wd2" y="hd2"/>
                </a:cxn>
                <a:cxn ang="16200000">
                  <a:pos x="wd2" y="hd2"/>
                </a:cxn>
              </a:cxnLst>
              <a:rect l="0" t="0" r="r" b="b"/>
              <a:pathLst>
                <a:path w="21600" h="21600" extrusionOk="0">
                  <a:moveTo>
                    <a:pt x="14400" y="20835"/>
                  </a:moveTo>
                  <a:lnTo>
                    <a:pt x="14735" y="20740"/>
                  </a:lnTo>
                  <a:lnTo>
                    <a:pt x="15405" y="20931"/>
                  </a:lnTo>
                  <a:lnTo>
                    <a:pt x="16074" y="21218"/>
                  </a:lnTo>
                  <a:lnTo>
                    <a:pt x="17079" y="21218"/>
                  </a:lnTo>
                  <a:lnTo>
                    <a:pt x="17414" y="21122"/>
                  </a:lnTo>
                  <a:lnTo>
                    <a:pt x="17079" y="20644"/>
                  </a:lnTo>
                  <a:lnTo>
                    <a:pt x="17079" y="20166"/>
                  </a:lnTo>
                  <a:lnTo>
                    <a:pt x="17581" y="19975"/>
                  </a:lnTo>
                  <a:lnTo>
                    <a:pt x="18586" y="19784"/>
                  </a:lnTo>
                  <a:lnTo>
                    <a:pt x="18921" y="19688"/>
                  </a:lnTo>
                  <a:lnTo>
                    <a:pt x="18753" y="19402"/>
                  </a:lnTo>
                  <a:lnTo>
                    <a:pt x="18753" y="18637"/>
                  </a:lnTo>
                  <a:lnTo>
                    <a:pt x="19256" y="18542"/>
                  </a:lnTo>
                  <a:lnTo>
                    <a:pt x="19088" y="18446"/>
                  </a:lnTo>
                  <a:lnTo>
                    <a:pt x="18921" y="18064"/>
                  </a:lnTo>
                  <a:lnTo>
                    <a:pt x="18921" y="17490"/>
                  </a:lnTo>
                  <a:lnTo>
                    <a:pt x="19256" y="17108"/>
                  </a:lnTo>
                  <a:lnTo>
                    <a:pt x="19591" y="17012"/>
                  </a:lnTo>
                  <a:lnTo>
                    <a:pt x="19758" y="16439"/>
                  </a:lnTo>
                  <a:lnTo>
                    <a:pt x="20595" y="15961"/>
                  </a:lnTo>
                  <a:lnTo>
                    <a:pt x="20763" y="15483"/>
                  </a:lnTo>
                  <a:lnTo>
                    <a:pt x="21098" y="15101"/>
                  </a:lnTo>
                  <a:lnTo>
                    <a:pt x="21600" y="14910"/>
                  </a:lnTo>
                  <a:lnTo>
                    <a:pt x="21600" y="14527"/>
                  </a:lnTo>
                  <a:lnTo>
                    <a:pt x="21433" y="13954"/>
                  </a:lnTo>
                  <a:lnTo>
                    <a:pt x="20763" y="13285"/>
                  </a:lnTo>
                  <a:lnTo>
                    <a:pt x="20595" y="12903"/>
                  </a:lnTo>
                  <a:lnTo>
                    <a:pt x="20595" y="12234"/>
                  </a:lnTo>
                  <a:lnTo>
                    <a:pt x="20763" y="11947"/>
                  </a:lnTo>
                  <a:lnTo>
                    <a:pt x="20260" y="3250"/>
                  </a:lnTo>
                  <a:lnTo>
                    <a:pt x="20428" y="3250"/>
                  </a:lnTo>
                  <a:lnTo>
                    <a:pt x="19758" y="2963"/>
                  </a:lnTo>
                  <a:lnTo>
                    <a:pt x="19423" y="2485"/>
                  </a:lnTo>
                  <a:lnTo>
                    <a:pt x="19088" y="2198"/>
                  </a:lnTo>
                  <a:lnTo>
                    <a:pt x="18921" y="1625"/>
                  </a:lnTo>
                  <a:lnTo>
                    <a:pt x="18251" y="1242"/>
                  </a:lnTo>
                  <a:lnTo>
                    <a:pt x="17916" y="287"/>
                  </a:lnTo>
                  <a:lnTo>
                    <a:pt x="17916" y="0"/>
                  </a:lnTo>
                  <a:lnTo>
                    <a:pt x="4019" y="478"/>
                  </a:lnTo>
                  <a:lnTo>
                    <a:pt x="3684" y="287"/>
                  </a:lnTo>
                  <a:lnTo>
                    <a:pt x="3516" y="573"/>
                  </a:lnTo>
                  <a:lnTo>
                    <a:pt x="3516" y="765"/>
                  </a:lnTo>
                  <a:lnTo>
                    <a:pt x="4019" y="1051"/>
                  </a:lnTo>
                  <a:lnTo>
                    <a:pt x="4688" y="1338"/>
                  </a:lnTo>
                  <a:lnTo>
                    <a:pt x="5526" y="1720"/>
                  </a:lnTo>
                  <a:lnTo>
                    <a:pt x="6363" y="2198"/>
                  </a:lnTo>
                  <a:lnTo>
                    <a:pt x="6363" y="2485"/>
                  </a:lnTo>
                  <a:lnTo>
                    <a:pt x="6028" y="3058"/>
                  </a:lnTo>
                  <a:lnTo>
                    <a:pt x="5693" y="3345"/>
                  </a:lnTo>
                  <a:lnTo>
                    <a:pt x="5191" y="4110"/>
                  </a:lnTo>
                  <a:lnTo>
                    <a:pt x="4521" y="4492"/>
                  </a:lnTo>
                  <a:lnTo>
                    <a:pt x="3516" y="4779"/>
                  </a:lnTo>
                  <a:lnTo>
                    <a:pt x="2512" y="4779"/>
                  </a:lnTo>
                  <a:lnTo>
                    <a:pt x="2009" y="4874"/>
                  </a:lnTo>
                  <a:lnTo>
                    <a:pt x="2009" y="5543"/>
                  </a:lnTo>
                  <a:lnTo>
                    <a:pt x="2512" y="6212"/>
                  </a:lnTo>
                  <a:lnTo>
                    <a:pt x="2847" y="6404"/>
                  </a:lnTo>
                  <a:lnTo>
                    <a:pt x="2177" y="6690"/>
                  </a:lnTo>
                  <a:lnTo>
                    <a:pt x="2177" y="7359"/>
                  </a:lnTo>
                  <a:lnTo>
                    <a:pt x="1842" y="7359"/>
                  </a:lnTo>
                  <a:lnTo>
                    <a:pt x="335" y="8219"/>
                  </a:lnTo>
                  <a:lnTo>
                    <a:pt x="502" y="8793"/>
                  </a:lnTo>
                  <a:lnTo>
                    <a:pt x="0" y="9080"/>
                  </a:lnTo>
                  <a:lnTo>
                    <a:pt x="0" y="10800"/>
                  </a:lnTo>
                  <a:lnTo>
                    <a:pt x="1005" y="11756"/>
                  </a:lnTo>
                  <a:lnTo>
                    <a:pt x="3516" y="12998"/>
                  </a:lnTo>
                  <a:lnTo>
                    <a:pt x="4186" y="13572"/>
                  </a:lnTo>
                  <a:lnTo>
                    <a:pt x="4186" y="14336"/>
                  </a:lnTo>
                  <a:lnTo>
                    <a:pt x="5023" y="14719"/>
                  </a:lnTo>
                  <a:lnTo>
                    <a:pt x="5191" y="14432"/>
                  </a:lnTo>
                  <a:lnTo>
                    <a:pt x="5693" y="14336"/>
                  </a:lnTo>
                  <a:lnTo>
                    <a:pt x="6530" y="14336"/>
                  </a:lnTo>
                  <a:lnTo>
                    <a:pt x="7535" y="14910"/>
                  </a:lnTo>
                  <a:lnTo>
                    <a:pt x="7033" y="15483"/>
                  </a:lnTo>
                  <a:lnTo>
                    <a:pt x="6865" y="15961"/>
                  </a:lnTo>
                  <a:lnTo>
                    <a:pt x="6865" y="16248"/>
                  </a:lnTo>
                  <a:lnTo>
                    <a:pt x="6530" y="16726"/>
                  </a:lnTo>
                  <a:lnTo>
                    <a:pt x="6530" y="17204"/>
                  </a:lnTo>
                  <a:lnTo>
                    <a:pt x="7367" y="17681"/>
                  </a:lnTo>
                  <a:lnTo>
                    <a:pt x="8540" y="18159"/>
                  </a:lnTo>
                  <a:lnTo>
                    <a:pt x="8874" y="18064"/>
                  </a:lnTo>
                  <a:lnTo>
                    <a:pt x="10716" y="18733"/>
                  </a:lnTo>
                  <a:lnTo>
                    <a:pt x="11386" y="19115"/>
                  </a:lnTo>
                  <a:lnTo>
                    <a:pt x="11888" y="19975"/>
                  </a:lnTo>
                  <a:lnTo>
                    <a:pt x="11721" y="20453"/>
                  </a:lnTo>
                  <a:lnTo>
                    <a:pt x="11553" y="20740"/>
                  </a:lnTo>
                  <a:lnTo>
                    <a:pt x="12391" y="21218"/>
                  </a:lnTo>
                  <a:lnTo>
                    <a:pt x="12391" y="21600"/>
                  </a:lnTo>
                  <a:lnTo>
                    <a:pt x="12726" y="21218"/>
                  </a:lnTo>
                  <a:lnTo>
                    <a:pt x="13395" y="21218"/>
                  </a:lnTo>
                  <a:lnTo>
                    <a:pt x="13898" y="21122"/>
                  </a:lnTo>
                  <a:lnTo>
                    <a:pt x="14400" y="20835"/>
                  </a:lnTo>
                  <a:close/>
                </a:path>
              </a:pathLst>
            </a:custGeom>
            <a:solidFill>
              <a:schemeClr val="accent1"/>
            </a:solid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 name="Shape 2328">
              <a:extLst>
                <a:ext uri="{FF2B5EF4-FFF2-40B4-BE49-F238E27FC236}">
                  <a16:creationId xmlns:a16="http://schemas.microsoft.com/office/drawing/2014/main" id="{59E1428A-7942-D1AF-CC93-09EF7276512A}"/>
                </a:ext>
              </a:extLst>
            </p:cNvPr>
            <p:cNvSpPr/>
            <p:nvPr/>
          </p:nvSpPr>
          <p:spPr>
            <a:xfrm>
              <a:off x="5131303" y="1817953"/>
              <a:ext cx="1127304" cy="828437"/>
            </a:xfrm>
            <a:custGeom>
              <a:avLst/>
              <a:gdLst/>
              <a:ahLst/>
              <a:cxnLst>
                <a:cxn ang="0">
                  <a:pos x="wd2" y="hd2"/>
                </a:cxn>
                <a:cxn ang="5400000">
                  <a:pos x="wd2" y="hd2"/>
                </a:cxn>
                <a:cxn ang="10800000">
                  <a:pos x="wd2" y="hd2"/>
                </a:cxn>
                <a:cxn ang="16200000">
                  <a:pos x="wd2" y="hd2"/>
                </a:cxn>
              </a:cxnLst>
              <a:rect l="0" t="0" r="r" b="b"/>
              <a:pathLst>
                <a:path w="21600" h="21600" extrusionOk="0">
                  <a:moveTo>
                    <a:pt x="17673" y="20456"/>
                  </a:moveTo>
                  <a:cubicBezTo>
                    <a:pt x="18327" y="19567"/>
                    <a:pt x="18327" y="19567"/>
                    <a:pt x="18327" y="19567"/>
                  </a:cubicBezTo>
                  <a:cubicBezTo>
                    <a:pt x="18608" y="19059"/>
                    <a:pt x="18608" y="19059"/>
                    <a:pt x="18608" y="19059"/>
                  </a:cubicBezTo>
                  <a:cubicBezTo>
                    <a:pt x="18795" y="19059"/>
                    <a:pt x="18795" y="19059"/>
                    <a:pt x="18795" y="19059"/>
                  </a:cubicBezTo>
                  <a:cubicBezTo>
                    <a:pt x="18888" y="18042"/>
                    <a:pt x="18888" y="18042"/>
                    <a:pt x="18888" y="18042"/>
                  </a:cubicBezTo>
                  <a:cubicBezTo>
                    <a:pt x="19262" y="17661"/>
                    <a:pt x="19262" y="17661"/>
                    <a:pt x="19262" y="17661"/>
                  </a:cubicBezTo>
                  <a:cubicBezTo>
                    <a:pt x="19075" y="17280"/>
                    <a:pt x="19075" y="17280"/>
                    <a:pt x="19075" y="17280"/>
                  </a:cubicBezTo>
                  <a:cubicBezTo>
                    <a:pt x="18701" y="16264"/>
                    <a:pt x="18701" y="16264"/>
                    <a:pt x="18701" y="16264"/>
                  </a:cubicBezTo>
                  <a:cubicBezTo>
                    <a:pt x="18701" y="15755"/>
                    <a:pt x="18701" y="15755"/>
                    <a:pt x="18701" y="15755"/>
                  </a:cubicBezTo>
                  <a:cubicBezTo>
                    <a:pt x="18701" y="15247"/>
                    <a:pt x="18701" y="15247"/>
                    <a:pt x="18701" y="15247"/>
                  </a:cubicBezTo>
                  <a:cubicBezTo>
                    <a:pt x="19075" y="14993"/>
                    <a:pt x="19075" y="14993"/>
                    <a:pt x="19075" y="14993"/>
                  </a:cubicBezTo>
                  <a:cubicBezTo>
                    <a:pt x="19730" y="14993"/>
                    <a:pt x="19730" y="14993"/>
                    <a:pt x="19730" y="14993"/>
                  </a:cubicBezTo>
                  <a:cubicBezTo>
                    <a:pt x="20384" y="14612"/>
                    <a:pt x="20384" y="14612"/>
                    <a:pt x="20384" y="14612"/>
                  </a:cubicBezTo>
                  <a:cubicBezTo>
                    <a:pt x="20571" y="14358"/>
                    <a:pt x="20571" y="14358"/>
                    <a:pt x="20571" y="14358"/>
                  </a:cubicBezTo>
                  <a:cubicBezTo>
                    <a:pt x="20852" y="13976"/>
                    <a:pt x="20852" y="13976"/>
                    <a:pt x="20852" y="13976"/>
                  </a:cubicBezTo>
                  <a:cubicBezTo>
                    <a:pt x="21132" y="12833"/>
                    <a:pt x="21132" y="12833"/>
                    <a:pt x="21132" y="12833"/>
                  </a:cubicBezTo>
                  <a:cubicBezTo>
                    <a:pt x="21413" y="12325"/>
                    <a:pt x="21413" y="12325"/>
                    <a:pt x="21413" y="12325"/>
                  </a:cubicBezTo>
                  <a:cubicBezTo>
                    <a:pt x="21600" y="11435"/>
                    <a:pt x="21600" y="11435"/>
                    <a:pt x="21600" y="11435"/>
                  </a:cubicBezTo>
                  <a:cubicBezTo>
                    <a:pt x="21600" y="11054"/>
                    <a:pt x="21600" y="11054"/>
                    <a:pt x="21600" y="11054"/>
                  </a:cubicBezTo>
                  <a:cubicBezTo>
                    <a:pt x="21039" y="10292"/>
                    <a:pt x="21039" y="10292"/>
                    <a:pt x="21039" y="10292"/>
                  </a:cubicBezTo>
                  <a:cubicBezTo>
                    <a:pt x="20478" y="9656"/>
                    <a:pt x="20478" y="9656"/>
                    <a:pt x="20478" y="9656"/>
                  </a:cubicBezTo>
                  <a:cubicBezTo>
                    <a:pt x="20104" y="9148"/>
                    <a:pt x="20104" y="9148"/>
                    <a:pt x="20104" y="9148"/>
                  </a:cubicBezTo>
                  <a:cubicBezTo>
                    <a:pt x="19730" y="8767"/>
                    <a:pt x="19730" y="8767"/>
                    <a:pt x="19730" y="8767"/>
                  </a:cubicBezTo>
                  <a:cubicBezTo>
                    <a:pt x="19730" y="8386"/>
                    <a:pt x="19730" y="8386"/>
                    <a:pt x="19730" y="8386"/>
                  </a:cubicBezTo>
                  <a:cubicBezTo>
                    <a:pt x="19823" y="8005"/>
                    <a:pt x="19823" y="8005"/>
                    <a:pt x="19823" y="8005"/>
                  </a:cubicBezTo>
                  <a:cubicBezTo>
                    <a:pt x="20010" y="8259"/>
                    <a:pt x="20010" y="8259"/>
                    <a:pt x="20010" y="8259"/>
                  </a:cubicBezTo>
                  <a:cubicBezTo>
                    <a:pt x="19730" y="7751"/>
                    <a:pt x="19730" y="7751"/>
                    <a:pt x="19730" y="7751"/>
                  </a:cubicBezTo>
                  <a:cubicBezTo>
                    <a:pt x="19730" y="7751"/>
                    <a:pt x="19356" y="7496"/>
                    <a:pt x="19262" y="7496"/>
                  </a:cubicBezTo>
                  <a:cubicBezTo>
                    <a:pt x="19169" y="7496"/>
                    <a:pt x="18795" y="6988"/>
                    <a:pt x="18795" y="6988"/>
                  </a:cubicBezTo>
                  <a:cubicBezTo>
                    <a:pt x="18327" y="6988"/>
                    <a:pt x="18327" y="6988"/>
                    <a:pt x="18327" y="6988"/>
                  </a:cubicBezTo>
                  <a:cubicBezTo>
                    <a:pt x="18327" y="6353"/>
                    <a:pt x="18327" y="6353"/>
                    <a:pt x="18327" y="6353"/>
                  </a:cubicBezTo>
                  <a:cubicBezTo>
                    <a:pt x="18140" y="5718"/>
                    <a:pt x="18140" y="5718"/>
                    <a:pt x="18140" y="5718"/>
                  </a:cubicBezTo>
                  <a:cubicBezTo>
                    <a:pt x="18140" y="4955"/>
                    <a:pt x="18140" y="4955"/>
                    <a:pt x="18140" y="4955"/>
                  </a:cubicBezTo>
                  <a:cubicBezTo>
                    <a:pt x="18140" y="4447"/>
                    <a:pt x="18140" y="4447"/>
                    <a:pt x="18140" y="4447"/>
                  </a:cubicBezTo>
                  <a:cubicBezTo>
                    <a:pt x="18140" y="3558"/>
                    <a:pt x="18140" y="3558"/>
                    <a:pt x="18140" y="3558"/>
                  </a:cubicBezTo>
                  <a:cubicBezTo>
                    <a:pt x="17953" y="3176"/>
                    <a:pt x="17953" y="3176"/>
                    <a:pt x="17953" y="3176"/>
                  </a:cubicBezTo>
                  <a:cubicBezTo>
                    <a:pt x="17673" y="2287"/>
                    <a:pt x="17673" y="2287"/>
                    <a:pt x="17673" y="2287"/>
                  </a:cubicBezTo>
                  <a:cubicBezTo>
                    <a:pt x="655" y="2795"/>
                    <a:pt x="655" y="2795"/>
                    <a:pt x="655" y="2795"/>
                  </a:cubicBezTo>
                  <a:cubicBezTo>
                    <a:pt x="748" y="0"/>
                    <a:pt x="748" y="0"/>
                    <a:pt x="748" y="0"/>
                  </a:cubicBezTo>
                  <a:cubicBezTo>
                    <a:pt x="748" y="0"/>
                    <a:pt x="748" y="0"/>
                    <a:pt x="748" y="0"/>
                  </a:cubicBezTo>
                  <a:cubicBezTo>
                    <a:pt x="655" y="2922"/>
                    <a:pt x="655" y="2922"/>
                    <a:pt x="655" y="2922"/>
                  </a:cubicBezTo>
                  <a:cubicBezTo>
                    <a:pt x="374" y="2922"/>
                    <a:pt x="374" y="2922"/>
                    <a:pt x="374" y="2922"/>
                  </a:cubicBezTo>
                  <a:cubicBezTo>
                    <a:pt x="374" y="3304"/>
                    <a:pt x="374" y="3304"/>
                    <a:pt x="374" y="3304"/>
                  </a:cubicBezTo>
                  <a:cubicBezTo>
                    <a:pt x="281" y="3939"/>
                    <a:pt x="281" y="3939"/>
                    <a:pt x="281" y="3939"/>
                  </a:cubicBezTo>
                  <a:cubicBezTo>
                    <a:pt x="468" y="4066"/>
                    <a:pt x="468" y="4066"/>
                    <a:pt x="468" y="4066"/>
                  </a:cubicBezTo>
                  <a:cubicBezTo>
                    <a:pt x="655" y="4701"/>
                    <a:pt x="655" y="4701"/>
                    <a:pt x="655" y="4701"/>
                  </a:cubicBezTo>
                  <a:cubicBezTo>
                    <a:pt x="655" y="5209"/>
                    <a:pt x="655" y="5209"/>
                    <a:pt x="655" y="5209"/>
                  </a:cubicBezTo>
                  <a:cubicBezTo>
                    <a:pt x="468" y="5336"/>
                    <a:pt x="468" y="5336"/>
                    <a:pt x="468" y="5336"/>
                  </a:cubicBezTo>
                  <a:cubicBezTo>
                    <a:pt x="374" y="5718"/>
                    <a:pt x="374" y="5718"/>
                    <a:pt x="374" y="5718"/>
                  </a:cubicBezTo>
                  <a:cubicBezTo>
                    <a:pt x="374" y="6607"/>
                    <a:pt x="374" y="6607"/>
                    <a:pt x="374" y="6607"/>
                  </a:cubicBezTo>
                  <a:cubicBezTo>
                    <a:pt x="94" y="6734"/>
                    <a:pt x="94" y="6734"/>
                    <a:pt x="94" y="6734"/>
                  </a:cubicBezTo>
                  <a:cubicBezTo>
                    <a:pt x="0" y="7115"/>
                    <a:pt x="0" y="7115"/>
                    <a:pt x="0" y="7115"/>
                  </a:cubicBezTo>
                  <a:cubicBezTo>
                    <a:pt x="0" y="7496"/>
                    <a:pt x="0" y="7496"/>
                    <a:pt x="0" y="7496"/>
                  </a:cubicBezTo>
                  <a:cubicBezTo>
                    <a:pt x="374" y="7878"/>
                    <a:pt x="374" y="7878"/>
                    <a:pt x="374" y="7878"/>
                  </a:cubicBezTo>
                  <a:cubicBezTo>
                    <a:pt x="374" y="8386"/>
                    <a:pt x="374" y="8386"/>
                    <a:pt x="374" y="8386"/>
                  </a:cubicBezTo>
                  <a:cubicBezTo>
                    <a:pt x="374" y="8767"/>
                    <a:pt x="374" y="8767"/>
                    <a:pt x="374" y="8767"/>
                  </a:cubicBezTo>
                  <a:cubicBezTo>
                    <a:pt x="281" y="8513"/>
                    <a:pt x="281" y="8513"/>
                    <a:pt x="281" y="8513"/>
                  </a:cubicBezTo>
                  <a:cubicBezTo>
                    <a:pt x="561" y="9021"/>
                    <a:pt x="561" y="9021"/>
                    <a:pt x="561" y="9021"/>
                  </a:cubicBezTo>
                  <a:cubicBezTo>
                    <a:pt x="842" y="10165"/>
                    <a:pt x="842" y="10165"/>
                    <a:pt x="842" y="10165"/>
                  </a:cubicBezTo>
                  <a:cubicBezTo>
                    <a:pt x="1122" y="10800"/>
                    <a:pt x="1122" y="10800"/>
                    <a:pt x="1122" y="10800"/>
                  </a:cubicBezTo>
                  <a:cubicBezTo>
                    <a:pt x="1309" y="11562"/>
                    <a:pt x="1309" y="11562"/>
                    <a:pt x="1309" y="11562"/>
                  </a:cubicBezTo>
                  <a:cubicBezTo>
                    <a:pt x="1496" y="12198"/>
                    <a:pt x="1496" y="12198"/>
                    <a:pt x="1496" y="12198"/>
                  </a:cubicBezTo>
                  <a:cubicBezTo>
                    <a:pt x="1683" y="12579"/>
                    <a:pt x="1683" y="12579"/>
                    <a:pt x="1683" y="12579"/>
                  </a:cubicBezTo>
                  <a:cubicBezTo>
                    <a:pt x="1777" y="12960"/>
                    <a:pt x="1777" y="12960"/>
                    <a:pt x="1777" y="12960"/>
                  </a:cubicBezTo>
                  <a:cubicBezTo>
                    <a:pt x="1870" y="13087"/>
                    <a:pt x="1870" y="13087"/>
                    <a:pt x="1870" y="13087"/>
                  </a:cubicBezTo>
                  <a:cubicBezTo>
                    <a:pt x="1870" y="13214"/>
                    <a:pt x="1870" y="13214"/>
                    <a:pt x="1870" y="13214"/>
                  </a:cubicBezTo>
                  <a:cubicBezTo>
                    <a:pt x="1590" y="13341"/>
                    <a:pt x="1590" y="13341"/>
                    <a:pt x="1590" y="13341"/>
                  </a:cubicBezTo>
                  <a:cubicBezTo>
                    <a:pt x="1683" y="13849"/>
                    <a:pt x="1683" y="13849"/>
                    <a:pt x="1683" y="13849"/>
                  </a:cubicBezTo>
                  <a:cubicBezTo>
                    <a:pt x="1777" y="14485"/>
                    <a:pt x="1777" y="14485"/>
                    <a:pt x="1777" y="14485"/>
                  </a:cubicBezTo>
                  <a:cubicBezTo>
                    <a:pt x="1870" y="14739"/>
                    <a:pt x="1870" y="14739"/>
                    <a:pt x="1870" y="14739"/>
                  </a:cubicBezTo>
                  <a:cubicBezTo>
                    <a:pt x="2057" y="14739"/>
                    <a:pt x="2057" y="14739"/>
                    <a:pt x="2057" y="14739"/>
                  </a:cubicBezTo>
                  <a:cubicBezTo>
                    <a:pt x="2244" y="14993"/>
                    <a:pt x="2244" y="14993"/>
                    <a:pt x="2244" y="14993"/>
                  </a:cubicBezTo>
                  <a:cubicBezTo>
                    <a:pt x="2431" y="15882"/>
                    <a:pt x="2431" y="15882"/>
                    <a:pt x="2431" y="15882"/>
                  </a:cubicBezTo>
                  <a:cubicBezTo>
                    <a:pt x="2431" y="17153"/>
                    <a:pt x="2431" y="17153"/>
                    <a:pt x="2431" y="17153"/>
                  </a:cubicBezTo>
                  <a:cubicBezTo>
                    <a:pt x="2338" y="17661"/>
                    <a:pt x="2338" y="17661"/>
                    <a:pt x="2338" y="17661"/>
                  </a:cubicBezTo>
                  <a:cubicBezTo>
                    <a:pt x="2525" y="18042"/>
                    <a:pt x="2525" y="18042"/>
                    <a:pt x="2525" y="18042"/>
                  </a:cubicBezTo>
                  <a:cubicBezTo>
                    <a:pt x="2618" y="18296"/>
                    <a:pt x="2618" y="18296"/>
                    <a:pt x="2618" y="18296"/>
                  </a:cubicBezTo>
                  <a:cubicBezTo>
                    <a:pt x="2618" y="19567"/>
                    <a:pt x="2618" y="19567"/>
                    <a:pt x="2618" y="19567"/>
                  </a:cubicBezTo>
                  <a:cubicBezTo>
                    <a:pt x="2805" y="20456"/>
                    <a:pt x="2805" y="20456"/>
                    <a:pt x="2805" y="20456"/>
                  </a:cubicBezTo>
                  <a:cubicBezTo>
                    <a:pt x="2805" y="20584"/>
                    <a:pt x="2805" y="20584"/>
                    <a:pt x="2805" y="20584"/>
                  </a:cubicBezTo>
                  <a:cubicBezTo>
                    <a:pt x="16457" y="20329"/>
                    <a:pt x="16457" y="20329"/>
                    <a:pt x="16457" y="20329"/>
                  </a:cubicBezTo>
                  <a:cubicBezTo>
                    <a:pt x="17579" y="21600"/>
                    <a:pt x="17579" y="21600"/>
                    <a:pt x="17579" y="21600"/>
                  </a:cubicBezTo>
                  <a:cubicBezTo>
                    <a:pt x="17766" y="21346"/>
                    <a:pt x="17766" y="21346"/>
                    <a:pt x="17766" y="21346"/>
                  </a:cubicBezTo>
                  <a:lnTo>
                    <a:pt x="17673" y="2045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 name="Shape 2329">
              <a:extLst>
                <a:ext uri="{FF2B5EF4-FFF2-40B4-BE49-F238E27FC236}">
                  <a16:creationId xmlns:a16="http://schemas.microsoft.com/office/drawing/2014/main" id="{4D605FEC-E357-5AB0-2987-DC316040D0F0}"/>
                </a:ext>
              </a:extLst>
            </p:cNvPr>
            <p:cNvSpPr/>
            <p:nvPr/>
          </p:nvSpPr>
          <p:spPr>
            <a:xfrm>
              <a:off x="0" y="4596665"/>
              <a:ext cx="2508597" cy="1950276"/>
            </a:xfrm>
            <a:custGeom>
              <a:avLst/>
              <a:gdLst/>
              <a:ahLst/>
              <a:cxnLst>
                <a:cxn ang="0">
                  <a:pos x="wd2" y="hd2"/>
                </a:cxn>
                <a:cxn ang="5400000">
                  <a:pos x="wd2" y="hd2"/>
                </a:cxn>
                <a:cxn ang="10800000">
                  <a:pos x="wd2" y="hd2"/>
                </a:cxn>
                <a:cxn ang="16200000">
                  <a:pos x="wd2" y="hd2"/>
                </a:cxn>
              </a:cxnLst>
              <a:rect l="0" t="0" r="r" b="b"/>
              <a:pathLst>
                <a:path w="21559" h="21600" extrusionOk="0">
                  <a:moveTo>
                    <a:pt x="8461" y="17395"/>
                  </a:moveTo>
                  <a:lnTo>
                    <a:pt x="8609" y="17586"/>
                  </a:lnTo>
                  <a:lnTo>
                    <a:pt x="8905" y="17841"/>
                  </a:lnTo>
                  <a:lnTo>
                    <a:pt x="8708" y="17904"/>
                  </a:lnTo>
                  <a:lnTo>
                    <a:pt x="8609" y="17904"/>
                  </a:lnTo>
                  <a:lnTo>
                    <a:pt x="8411" y="18096"/>
                  </a:lnTo>
                  <a:lnTo>
                    <a:pt x="8411" y="18350"/>
                  </a:lnTo>
                  <a:lnTo>
                    <a:pt x="8510" y="18350"/>
                  </a:lnTo>
                  <a:lnTo>
                    <a:pt x="8708" y="18669"/>
                  </a:lnTo>
                  <a:lnTo>
                    <a:pt x="8708" y="18796"/>
                  </a:lnTo>
                  <a:lnTo>
                    <a:pt x="8559" y="18860"/>
                  </a:lnTo>
                  <a:lnTo>
                    <a:pt x="8461" y="18860"/>
                  </a:lnTo>
                  <a:lnTo>
                    <a:pt x="8362" y="18924"/>
                  </a:lnTo>
                  <a:lnTo>
                    <a:pt x="8312" y="18924"/>
                  </a:lnTo>
                  <a:lnTo>
                    <a:pt x="8164" y="19051"/>
                  </a:lnTo>
                  <a:lnTo>
                    <a:pt x="8164" y="19306"/>
                  </a:lnTo>
                  <a:lnTo>
                    <a:pt x="8065" y="19497"/>
                  </a:lnTo>
                  <a:lnTo>
                    <a:pt x="7917" y="19179"/>
                  </a:lnTo>
                  <a:lnTo>
                    <a:pt x="7917" y="19242"/>
                  </a:lnTo>
                  <a:lnTo>
                    <a:pt x="7867" y="19370"/>
                  </a:lnTo>
                  <a:lnTo>
                    <a:pt x="7719" y="19561"/>
                  </a:lnTo>
                  <a:lnTo>
                    <a:pt x="7620" y="19816"/>
                  </a:lnTo>
                  <a:lnTo>
                    <a:pt x="7620" y="20135"/>
                  </a:lnTo>
                  <a:lnTo>
                    <a:pt x="7175" y="20135"/>
                  </a:lnTo>
                  <a:lnTo>
                    <a:pt x="7521" y="20007"/>
                  </a:lnTo>
                  <a:lnTo>
                    <a:pt x="7571" y="19880"/>
                  </a:lnTo>
                  <a:lnTo>
                    <a:pt x="7620" y="19752"/>
                  </a:lnTo>
                  <a:lnTo>
                    <a:pt x="7571" y="19561"/>
                  </a:lnTo>
                  <a:lnTo>
                    <a:pt x="7472" y="19497"/>
                  </a:lnTo>
                  <a:lnTo>
                    <a:pt x="7423" y="19497"/>
                  </a:lnTo>
                  <a:lnTo>
                    <a:pt x="7324" y="19370"/>
                  </a:lnTo>
                  <a:lnTo>
                    <a:pt x="7324" y="19306"/>
                  </a:lnTo>
                  <a:lnTo>
                    <a:pt x="7274" y="18924"/>
                  </a:lnTo>
                  <a:lnTo>
                    <a:pt x="7373" y="18796"/>
                  </a:lnTo>
                  <a:lnTo>
                    <a:pt x="7423" y="18669"/>
                  </a:lnTo>
                  <a:lnTo>
                    <a:pt x="7571" y="18542"/>
                  </a:lnTo>
                  <a:lnTo>
                    <a:pt x="7620" y="18605"/>
                  </a:lnTo>
                  <a:lnTo>
                    <a:pt x="7769" y="18796"/>
                  </a:lnTo>
                  <a:lnTo>
                    <a:pt x="7867" y="19051"/>
                  </a:lnTo>
                  <a:lnTo>
                    <a:pt x="7867" y="18796"/>
                  </a:lnTo>
                  <a:lnTo>
                    <a:pt x="7818" y="18542"/>
                  </a:lnTo>
                  <a:lnTo>
                    <a:pt x="7719" y="18350"/>
                  </a:lnTo>
                  <a:lnTo>
                    <a:pt x="7867" y="18287"/>
                  </a:lnTo>
                  <a:lnTo>
                    <a:pt x="8065" y="18414"/>
                  </a:lnTo>
                  <a:lnTo>
                    <a:pt x="8164" y="18414"/>
                  </a:lnTo>
                  <a:lnTo>
                    <a:pt x="8164" y="17904"/>
                  </a:lnTo>
                  <a:lnTo>
                    <a:pt x="8115" y="17777"/>
                  </a:lnTo>
                  <a:lnTo>
                    <a:pt x="8312" y="17586"/>
                  </a:lnTo>
                  <a:close/>
                  <a:moveTo>
                    <a:pt x="1541" y="13508"/>
                  </a:moveTo>
                  <a:lnTo>
                    <a:pt x="1640" y="13508"/>
                  </a:lnTo>
                  <a:lnTo>
                    <a:pt x="1788" y="13890"/>
                  </a:lnTo>
                  <a:lnTo>
                    <a:pt x="1788" y="14081"/>
                  </a:lnTo>
                  <a:lnTo>
                    <a:pt x="1689" y="14273"/>
                  </a:lnTo>
                  <a:lnTo>
                    <a:pt x="1442" y="14273"/>
                  </a:lnTo>
                  <a:lnTo>
                    <a:pt x="1244" y="14081"/>
                  </a:lnTo>
                  <a:lnTo>
                    <a:pt x="997" y="13827"/>
                  </a:lnTo>
                  <a:lnTo>
                    <a:pt x="1244" y="13635"/>
                  </a:lnTo>
                  <a:lnTo>
                    <a:pt x="1392" y="13635"/>
                  </a:lnTo>
                  <a:close/>
                  <a:moveTo>
                    <a:pt x="125" y="8092"/>
                  </a:moveTo>
                  <a:cubicBezTo>
                    <a:pt x="125" y="8092"/>
                    <a:pt x="125" y="8092"/>
                    <a:pt x="166" y="8309"/>
                  </a:cubicBezTo>
                  <a:cubicBezTo>
                    <a:pt x="166" y="8309"/>
                    <a:pt x="166" y="8309"/>
                    <a:pt x="249" y="8418"/>
                  </a:cubicBezTo>
                  <a:cubicBezTo>
                    <a:pt x="249" y="8418"/>
                    <a:pt x="249" y="8418"/>
                    <a:pt x="456" y="8472"/>
                  </a:cubicBezTo>
                  <a:cubicBezTo>
                    <a:pt x="456" y="8472"/>
                    <a:pt x="456" y="8472"/>
                    <a:pt x="664" y="8472"/>
                  </a:cubicBezTo>
                  <a:cubicBezTo>
                    <a:pt x="664" y="8472"/>
                    <a:pt x="664" y="8472"/>
                    <a:pt x="788" y="8581"/>
                  </a:cubicBezTo>
                  <a:cubicBezTo>
                    <a:pt x="788" y="8581"/>
                    <a:pt x="788" y="8581"/>
                    <a:pt x="788" y="8743"/>
                  </a:cubicBezTo>
                  <a:cubicBezTo>
                    <a:pt x="788" y="8743"/>
                    <a:pt x="788" y="8743"/>
                    <a:pt x="871" y="8852"/>
                  </a:cubicBezTo>
                  <a:cubicBezTo>
                    <a:pt x="871" y="8852"/>
                    <a:pt x="871" y="8852"/>
                    <a:pt x="1037" y="9069"/>
                  </a:cubicBezTo>
                  <a:cubicBezTo>
                    <a:pt x="1037" y="9069"/>
                    <a:pt x="1037" y="9069"/>
                    <a:pt x="1244" y="9449"/>
                  </a:cubicBezTo>
                  <a:cubicBezTo>
                    <a:pt x="1244" y="9449"/>
                    <a:pt x="1244" y="9449"/>
                    <a:pt x="1120" y="9449"/>
                  </a:cubicBezTo>
                  <a:cubicBezTo>
                    <a:pt x="1120" y="9449"/>
                    <a:pt x="1120" y="9449"/>
                    <a:pt x="871" y="9449"/>
                  </a:cubicBezTo>
                  <a:lnTo>
                    <a:pt x="830" y="9558"/>
                  </a:lnTo>
                  <a:cubicBezTo>
                    <a:pt x="830" y="9558"/>
                    <a:pt x="830" y="9558"/>
                    <a:pt x="664" y="9340"/>
                  </a:cubicBezTo>
                  <a:cubicBezTo>
                    <a:pt x="664" y="9340"/>
                    <a:pt x="664" y="9340"/>
                    <a:pt x="581" y="9015"/>
                  </a:cubicBezTo>
                  <a:cubicBezTo>
                    <a:pt x="581" y="9015"/>
                    <a:pt x="581" y="9015"/>
                    <a:pt x="539" y="8906"/>
                  </a:cubicBezTo>
                  <a:cubicBezTo>
                    <a:pt x="539" y="8906"/>
                    <a:pt x="539" y="8906"/>
                    <a:pt x="456" y="8798"/>
                  </a:cubicBezTo>
                  <a:cubicBezTo>
                    <a:pt x="456" y="8798"/>
                    <a:pt x="456" y="8798"/>
                    <a:pt x="415" y="8798"/>
                  </a:cubicBezTo>
                  <a:cubicBezTo>
                    <a:pt x="415" y="8798"/>
                    <a:pt x="415" y="8798"/>
                    <a:pt x="374" y="8798"/>
                  </a:cubicBezTo>
                  <a:cubicBezTo>
                    <a:pt x="374" y="8798"/>
                    <a:pt x="291" y="8798"/>
                    <a:pt x="291" y="8798"/>
                  </a:cubicBezTo>
                  <a:cubicBezTo>
                    <a:pt x="249" y="8743"/>
                    <a:pt x="249" y="8798"/>
                    <a:pt x="249" y="8798"/>
                  </a:cubicBezTo>
                  <a:cubicBezTo>
                    <a:pt x="249" y="8798"/>
                    <a:pt x="249" y="8798"/>
                    <a:pt x="125" y="8798"/>
                  </a:cubicBezTo>
                  <a:cubicBezTo>
                    <a:pt x="-41" y="8743"/>
                    <a:pt x="83" y="8743"/>
                    <a:pt x="83" y="8743"/>
                  </a:cubicBezTo>
                  <a:cubicBezTo>
                    <a:pt x="42" y="8689"/>
                    <a:pt x="42" y="8689"/>
                    <a:pt x="42" y="8635"/>
                  </a:cubicBezTo>
                  <a:cubicBezTo>
                    <a:pt x="42" y="8635"/>
                    <a:pt x="0" y="8526"/>
                    <a:pt x="0" y="8472"/>
                  </a:cubicBezTo>
                  <a:cubicBezTo>
                    <a:pt x="0" y="8472"/>
                    <a:pt x="0" y="8309"/>
                    <a:pt x="0" y="8309"/>
                  </a:cubicBezTo>
                  <a:cubicBezTo>
                    <a:pt x="0" y="8309"/>
                    <a:pt x="0" y="8309"/>
                    <a:pt x="125" y="8092"/>
                  </a:cubicBezTo>
                  <a:close/>
                  <a:moveTo>
                    <a:pt x="7752" y="0"/>
                  </a:moveTo>
                  <a:cubicBezTo>
                    <a:pt x="7752" y="0"/>
                    <a:pt x="7752" y="0"/>
                    <a:pt x="7920" y="215"/>
                  </a:cubicBezTo>
                  <a:cubicBezTo>
                    <a:pt x="7920" y="215"/>
                    <a:pt x="7920" y="215"/>
                    <a:pt x="8003" y="377"/>
                  </a:cubicBezTo>
                  <a:cubicBezTo>
                    <a:pt x="8003" y="377"/>
                    <a:pt x="8003" y="377"/>
                    <a:pt x="7920" y="377"/>
                  </a:cubicBezTo>
                  <a:cubicBezTo>
                    <a:pt x="7920" y="377"/>
                    <a:pt x="7920" y="377"/>
                    <a:pt x="7920" y="539"/>
                  </a:cubicBezTo>
                  <a:cubicBezTo>
                    <a:pt x="7920" y="539"/>
                    <a:pt x="7920" y="539"/>
                    <a:pt x="8045" y="646"/>
                  </a:cubicBezTo>
                  <a:cubicBezTo>
                    <a:pt x="8045" y="646"/>
                    <a:pt x="8045" y="646"/>
                    <a:pt x="8212" y="646"/>
                  </a:cubicBezTo>
                  <a:cubicBezTo>
                    <a:pt x="8212" y="646"/>
                    <a:pt x="8212" y="646"/>
                    <a:pt x="8212" y="485"/>
                  </a:cubicBezTo>
                  <a:cubicBezTo>
                    <a:pt x="8212" y="485"/>
                    <a:pt x="8212" y="485"/>
                    <a:pt x="8296" y="377"/>
                  </a:cubicBezTo>
                  <a:cubicBezTo>
                    <a:pt x="8296" y="377"/>
                    <a:pt x="8296" y="377"/>
                    <a:pt x="8380" y="485"/>
                  </a:cubicBezTo>
                  <a:cubicBezTo>
                    <a:pt x="8380" y="485"/>
                    <a:pt x="8380" y="485"/>
                    <a:pt x="8505" y="700"/>
                  </a:cubicBezTo>
                  <a:cubicBezTo>
                    <a:pt x="8505" y="700"/>
                    <a:pt x="8505" y="700"/>
                    <a:pt x="8756" y="646"/>
                  </a:cubicBezTo>
                  <a:cubicBezTo>
                    <a:pt x="8756" y="646"/>
                    <a:pt x="8756" y="646"/>
                    <a:pt x="9091" y="754"/>
                  </a:cubicBezTo>
                  <a:cubicBezTo>
                    <a:pt x="9091" y="754"/>
                    <a:pt x="9091" y="754"/>
                    <a:pt x="9091" y="916"/>
                  </a:cubicBezTo>
                  <a:cubicBezTo>
                    <a:pt x="9091" y="916"/>
                    <a:pt x="9091" y="916"/>
                    <a:pt x="9175" y="1131"/>
                  </a:cubicBezTo>
                  <a:cubicBezTo>
                    <a:pt x="9175" y="1131"/>
                    <a:pt x="9175" y="1131"/>
                    <a:pt x="9384" y="1347"/>
                  </a:cubicBezTo>
                  <a:cubicBezTo>
                    <a:pt x="9384" y="1347"/>
                    <a:pt x="9384" y="1347"/>
                    <a:pt x="9844" y="1347"/>
                  </a:cubicBezTo>
                  <a:cubicBezTo>
                    <a:pt x="9844" y="1347"/>
                    <a:pt x="9844" y="1347"/>
                    <a:pt x="9970" y="1347"/>
                  </a:cubicBezTo>
                  <a:cubicBezTo>
                    <a:pt x="9970" y="1347"/>
                    <a:pt x="9970" y="1347"/>
                    <a:pt x="10095" y="1239"/>
                  </a:cubicBezTo>
                  <a:cubicBezTo>
                    <a:pt x="10095" y="1239"/>
                    <a:pt x="10095" y="1239"/>
                    <a:pt x="10262" y="1239"/>
                  </a:cubicBezTo>
                  <a:cubicBezTo>
                    <a:pt x="10262" y="1239"/>
                    <a:pt x="10262" y="1239"/>
                    <a:pt x="10472" y="1400"/>
                  </a:cubicBezTo>
                  <a:cubicBezTo>
                    <a:pt x="10472" y="1400"/>
                    <a:pt x="10472" y="1400"/>
                    <a:pt x="10514" y="1562"/>
                  </a:cubicBezTo>
                  <a:cubicBezTo>
                    <a:pt x="10514" y="1562"/>
                    <a:pt x="10514" y="1562"/>
                    <a:pt x="10514" y="1724"/>
                  </a:cubicBezTo>
                  <a:cubicBezTo>
                    <a:pt x="10514" y="1724"/>
                    <a:pt x="10514" y="1724"/>
                    <a:pt x="10514" y="1751"/>
                  </a:cubicBezTo>
                  <a:lnTo>
                    <a:pt x="10514" y="1831"/>
                  </a:lnTo>
                  <a:cubicBezTo>
                    <a:pt x="10514" y="1831"/>
                    <a:pt x="10514" y="1831"/>
                    <a:pt x="10723" y="1670"/>
                  </a:cubicBezTo>
                  <a:cubicBezTo>
                    <a:pt x="10723" y="1670"/>
                    <a:pt x="10723" y="1670"/>
                    <a:pt x="10974" y="1562"/>
                  </a:cubicBezTo>
                  <a:cubicBezTo>
                    <a:pt x="10974" y="1562"/>
                    <a:pt x="10974" y="1562"/>
                    <a:pt x="11141" y="1562"/>
                  </a:cubicBezTo>
                  <a:cubicBezTo>
                    <a:pt x="11141" y="1562"/>
                    <a:pt x="11141" y="1562"/>
                    <a:pt x="11476" y="1724"/>
                  </a:cubicBezTo>
                  <a:cubicBezTo>
                    <a:pt x="11476" y="1724"/>
                    <a:pt x="11476" y="1724"/>
                    <a:pt x="11769" y="1831"/>
                  </a:cubicBezTo>
                  <a:cubicBezTo>
                    <a:pt x="11769" y="1831"/>
                    <a:pt x="11769" y="1831"/>
                    <a:pt x="12103" y="1724"/>
                  </a:cubicBezTo>
                  <a:cubicBezTo>
                    <a:pt x="12103" y="1724"/>
                    <a:pt x="12103" y="1724"/>
                    <a:pt x="12271" y="1562"/>
                  </a:cubicBezTo>
                  <a:cubicBezTo>
                    <a:pt x="12271" y="1562"/>
                    <a:pt x="12271" y="1562"/>
                    <a:pt x="12438" y="1562"/>
                  </a:cubicBezTo>
                  <a:cubicBezTo>
                    <a:pt x="12438" y="1562"/>
                    <a:pt x="12438" y="1562"/>
                    <a:pt x="12522" y="1562"/>
                  </a:cubicBezTo>
                  <a:cubicBezTo>
                    <a:pt x="12522" y="1562"/>
                    <a:pt x="12522" y="1562"/>
                    <a:pt x="12731" y="1831"/>
                  </a:cubicBezTo>
                  <a:cubicBezTo>
                    <a:pt x="12731" y="1831"/>
                    <a:pt x="12731" y="1831"/>
                    <a:pt x="12940" y="2047"/>
                  </a:cubicBezTo>
                  <a:cubicBezTo>
                    <a:pt x="12940" y="2047"/>
                    <a:pt x="12940" y="2047"/>
                    <a:pt x="13317" y="2101"/>
                  </a:cubicBezTo>
                  <a:lnTo>
                    <a:pt x="13484" y="3986"/>
                  </a:lnTo>
                  <a:cubicBezTo>
                    <a:pt x="13484" y="3986"/>
                    <a:pt x="13484" y="3986"/>
                    <a:pt x="13986" y="8726"/>
                  </a:cubicBezTo>
                  <a:cubicBezTo>
                    <a:pt x="13986" y="8726"/>
                    <a:pt x="13986" y="8726"/>
                    <a:pt x="14572" y="14436"/>
                  </a:cubicBezTo>
                  <a:cubicBezTo>
                    <a:pt x="14572" y="14436"/>
                    <a:pt x="14572" y="14436"/>
                    <a:pt x="14697" y="14759"/>
                  </a:cubicBezTo>
                  <a:cubicBezTo>
                    <a:pt x="14697" y="14759"/>
                    <a:pt x="14697" y="14759"/>
                    <a:pt x="15116" y="14759"/>
                  </a:cubicBezTo>
                  <a:cubicBezTo>
                    <a:pt x="15116" y="14759"/>
                    <a:pt x="15116" y="14759"/>
                    <a:pt x="15199" y="14436"/>
                  </a:cubicBezTo>
                  <a:cubicBezTo>
                    <a:pt x="15199" y="14436"/>
                    <a:pt x="15199" y="14436"/>
                    <a:pt x="15534" y="14436"/>
                  </a:cubicBezTo>
                  <a:cubicBezTo>
                    <a:pt x="15534" y="14436"/>
                    <a:pt x="15534" y="14436"/>
                    <a:pt x="15534" y="14598"/>
                  </a:cubicBezTo>
                  <a:cubicBezTo>
                    <a:pt x="15534" y="14598"/>
                    <a:pt x="15534" y="14598"/>
                    <a:pt x="15660" y="14813"/>
                  </a:cubicBezTo>
                  <a:cubicBezTo>
                    <a:pt x="15660" y="14813"/>
                    <a:pt x="15660" y="14813"/>
                    <a:pt x="16204" y="15298"/>
                  </a:cubicBezTo>
                  <a:cubicBezTo>
                    <a:pt x="16204" y="15298"/>
                    <a:pt x="16204" y="15298"/>
                    <a:pt x="16664" y="15944"/>
                  </a:cubicBezTo>
                  <a:cubicBezTo>
                    <a:pt x="16664" y="15944"/>
                    <a:pt x="16664" y="15944"/>
                    <a:pt x="16915" y="15675"/>
                  </a:cubicBezTo>
                  <a:cubicBezTo>
                    <a:pt x="16915" y="15675"/>
                    <a:pt x="16915" y="15675"/>
                    <a:pt x="17082" y="15136"/>
                  </a:cubicBezTo>
                  <a:cubicBezTo>
                    <a:pt x="17082" y="15136"/>
                    <a:pt x="17082" y="15136"/>
                    <a:pt x="17291" y="14867"/>
                  </a:cubicBezTo>
                  <a:cubicBezTo>
                    <a:pt x="17291" y="14867"/>
                    <a:pt x="17291" y="14867"/>
                    <a:pt x="17501" y="14705"/>
                  </a:cubicBezTo>
                  <a:cubicBezTo>
                    <a:pt x="17501" y="14705"/>
                    <a:pt x="17501" y="14705"/>
                    <a:pt x="17877" y="14921"/>
                  </a:cubicBezTo>
                  <a:cubicBezTo>
                    <a:pt x="17877" y="14921"/>
                    <a:pt x="17877" y="14921"/>
                    <a:pt x="18337" y="15352"/>
                  </a:cubicBezTo>
                  <a:cubicBezTo>
                    <a:pt x="18337" y="15352"/>
                    <a:pt x="18337" y="15352"/>
                    <a:pt x="18798" y="15944"/>
                  </a:cubicBezTo>
                  <a:cubicBezTo>
                    <a:pt x="18798" y="15944"/>
                    <a:pt x="18798" y="15944"/>
                    <a:pt x="19132" y="16429"/>
                  </a:cubicBezTo>
                  <a:cubicBezTo>
                    <a:pt x="19132" y="16429"/>
                    <a:pt x="19132" y="16429"/>
                    <a:pt x="19802" y="17291"/>
                  </a:cubicBezTo>
                  <a:cubicBezTo>
                    <a:pt x="19802" y="17291"/>
                    <a:pt x="19802" y="17291"/>
                    <a:pt x="20220" y="18045"/>
                  </a:cubicBezTo>
                  <a:cubicBezTo>
                    <a:pt x="20220" y="18045"/>
                    <a:pt x="20220" y="18045"/>
                    <a:pt x="20471" y="18099"/>
                  </a:cubicBezTo>
                  <a:cubicBezTo>
                    <a:pt x="20471" y="18099"/>
                    <a:pt x="20471" y="18099"/>
                    <a:pt x="20764" y="18153"/>
                  </a:cubicBezTo>
                  <a:cubicBezTo>
                    <a:pt x="20764" y="18153"/>
                    <a:pt x="20764" y="18153"/>
                    <a:pt x="21266" y="18368"/>
                  </a:cubicBezTo>
                  <a:cubicBezTo>
                    <a:pt x="21266" y="18368"/>
                    <a:pt x="21266" y="18368"/>
                    <a:pt x="21475" y="18530"/>
                  </a:cubicBezTo>
                  <a:cubicBezTo>
                    <a:pt x="21475" y="18530"/>
                    <a:pt x="21475" y="18530"/>
                    <a:pt x="21475" y="18745"/>
                  </a:cubicBezTo>
                  <a:cubicBezTo>
                    <a:pt x="21475" y="18745"/>
                    <a:pt x="21475" y="18745"/>
                    <a:pt x="21559" y="19230"/>
                  </a:cubicBezTo>
                  <a:cubicBezTo>
                    <a:pt x="21559" y="19230"/>
                    <a:pt x="21559" y="19230"/>
                    <a:pt x="21559" y="19445"/>
                  </a:cubicBezTo>
                  <a:cubicBezTo>
                    <a:pt x="21559" y="19445"/>
                    <a:pt x="21559" y="19445"/>
                    <a:pt x="21559" y="19661"/>
                  </a:cubicBezTo>
                  <a:cubicBezTo>
                    <a:pt x="21559" y="19661"/>
                    <a:pt x="21559" y="19661"/>
                    <a:pt x="21559" y="20146"/>
                  </a:cubicBezTo>
                  <a:cubicBezTo>
                    <a:pt x="21559" y="20146"/>
                    <a:pt x="21559" y="20146"/>
                    <a:pt x="21392" y="20307"/>
                  </a:cubicBezTo>
                  <a:cubicBezTo>
                    <a:pt x="21392" y="20307"/>
                    <a:pt x="21392" y="20307"/>
                    <a:pt x="21266" y="20092"/>
                  </a:cubicBezTo>
                  <a:cubicBezTo>
                    <a:pt x="21266" y="20092"/>
                    <a:pt x="21266" y="20092"/>
                    <a:pt x="21141" y="19822"/>
                  </a:cubicBezTo>
                  <a:cubicBezTo>
                    <a:pt x="21141" y="19822"/>
                    <a:pt x="21141" y="19822"/>
                    <a:pt x="21015" y="19930"/>
                  </a:cubicBezTo>
                  <a:cubicBezTo>
                    <a:pt x="21015" y="19930"/>
                    <a:pt x="21015" y="19930"/>
                    <a:pt x="21141" y="20200"/>
                  </a:cubicBezTo>
                  <a:cubicBezTo>
                    <a:pt x="21141" y="20200"/>
                    <a:pt x="21141" y="20200"/>
                    <a:pt x="21057" y="20253"/>
                  </a:cubicBezTo>
                  <a:cubicBezTo>
                    <a:pt x="21057" y="20253"/>
                    <a:pt x="21057" y="20253"/>
                    <a:pt x="20931" y="20146"/>
                  </a:cubicBezTo>
                  <a:cubicBezTo>
                    <a:pt x="20931" y="20146"/>
                    <a:pt x="20931" y="20146"/>
                    <a:pt x="20680" y="20038"/>
                  </a:cubicBezTo>
                  <a:cubicBezTo>
                    <a:pt x="20680" y="20038"/>
                    <a:pt x="20680" y="20038"/>
                    <a:pt x="20680" y="19822"/>
                  </a:cubicBezTo>
                  <a:cubicBezTo>
                    <a:pt x="20680" y="19822"/>
                    <a:pt x="20680" y="19822"/>
                    <a:pt x="20597" y="19553"/>
                  </a:cubicBezTo>
                  <a:cubicBezTo>
                    <a:pt x="20597" y="19553"/>
                    <a:pt x="20597" y="19553"/>
                    <a:pt x="20471" y="19445"/>
                  </a:cubicBezTo>
                  <a:cubicBezTo>
                    <a:pt x="20471" y="19445"/>
                    <a:pt x="20471" y="19445"/>
                    <a:pt x="20388" y="19230"/>
                  </a:cubicBezTo>
                  <a:cubicBezTo>
                    <a:pt x="20388" y="19230"/>
                    <a:pt x="20388" y="19230"/>
                    <a:pt x="20053" y="18907"/>
                  </a:cubicBezTo>
                  <a:cubicBezTo>
                    <a:pt x="20053" y="18907"/>
                    <a:pt x="20053" y="18907"/>
                    <a:pt x="19760" y="18961"/>
                  </a:cubicBezTo>
                  <a:cubicBezTo>
                    <a:pt x="19760" y="18961"/>
                    <a:pt x="19760" y="18961"/>
                    <a:pt x="19844" y="19122"/>
                  </a:cubicBezTo>
                  <a:cubicBezTo>
                    <a:pt x="19844" y="19122"/>
                    <a:pt x="19844" y="19122"/>
                    <a:pt x="19927" y="19230"/>
                  </a:cubicBezTo>
                  <a:cubicBezTo>
                    <a:pt x="19927" y="19230"/>
                    <a:pt x="19927" y="19230"/>
                    <a:pt x="20220" y="19445"/>
                  </a:cubicBezTo>
                  <a:cubicBezTo>
                    <a:pt x="20220" y="19445"/>
                    <a:pt x="20220" y="19445"/>
                    <a:pt x="20388" y="19661"/>
                  </a:cubicBezTo>
                  <a:cubicBezTo>
                    <a:pt x="20388" y="19661"/>
                    <a:pt x="20388" y="19661"/>
                    <a:pt x="20388" y="19822"/>
                  </a:cubicBezTo>
                  <a:cubicBezTo>
                    <a:pt x="20388" y="19822"/>
                    <a:pt x="20388" y="19822"/>
                    <a:pt x="20513" y="19984"/>
                  </a:cubicBezTo>
                  <a:cubicBezTo>
                    <a:pt x="20513" y="19984"/>
                    <a:pt x="20513" y="19984"/>
                    <a:pt x="20597" y="20146"/>
                  </a:cubicBezTo>
                  <a:cubicBezTo>
                    <a:pt x="20597" y="20146"/>
                    <a:pt x="20597" y="20146"/>
                    <a:pt x="20680" y="20523"/>
                  </a:cubicBezTo>
                  <a:cubicBezTo>
                    <a:pt x="20680" y="20523"/>
                    <a:pt x="20680" y="20523"/>
                    <a:pt x="20680" y="20630"/>
                  </a:cubicBezTo>
                  <a:cubicBezTo>
                    <a:pt x="20680" y="20630"/>
                    <a:pt x="20680" y="20630"/>
                    <a:pt x="20555" y="20684"/>
                  </a:cubicBezTo>
                  <a:cubicBezTo>
                    <a:pt x="20555" y="20684"/>
                    <a:pt x="20555" y="20684"/>
                    <a:pt x="20471" y="20415"/>
                  </a:cubicBezTo>
                  <a:cubicBezTo>
                    <a:pt x="20471" y="20415"/>
                    <a:pt x="20471" y="20415"/>
                    <a:pt x="20471" y="20684"/>
                  </a:cubicBezTo>
                  <a:cubicBezTo>
                    <a:pt x="20471" y="20684"/>
                    <a:pt x="20471" y="20684"/>
                    <a:pt x="20388" y="20900"/>
                  </a:cubicBezTo>
                  <a:cubicBezTo>
                    <a:pt x="20388" y="20900"/>
                    <a:pt x="20388" y="20900"/>
                    <a:pt x="20262" y="20846"/>
                  </a:cubicBezTo>
                  <a:cubicBezTo>
                    <a:pt x="20262" y="20846"/>
                    <a:pt x="20262" y="20846"/>
                    <a:pt x="20053" y="20577"/>
                  </a:cubicBezTo>
                  <a:cubicBezTo>
                    <a:pt x="20053" y="20577"/>
                    <a:pt x="20053" y="20577"/>
                    <a:pt x="19844" y="20253"/>
                  </a:cubicBezTo>
                  <a:cubicBezTo>
                    <a:pt x="19844" y="20253"/>
                    <a:pt x="19844" y="20253"/>
                    <a:pt x="19676" y="20361"/>
                  </a:cubicBezTo>
                  <a:cubicBezTo>
                    <a:pt x="19676" y="20361"/>
                    <a:pt x="19676" y="20361"/>
                    <a:pt x="19551" y="20361"/>
                  </a:cubicBezTo>
                  <a:cubicBezTo>
                    <a:pt x="19551" y="20361"/>
                    <a:pt x="19551" y="20361"/>
                    <a:pt x="19634" y="20038"/>
                  </a:cubicBezTo>
                  <a:cubicBezTo>
                    <a:pt x="19634" y="20038"/>
                    <a:pt x="19634" y="20038"/>
                    <a:pt x="19844" y="19984"/>
                  </a:cubicBezTo>
                  <a:cubicBezTo>
                    <a:pt x="19844" y="19984"/>
                    <a:pt x="19844" y="19984"/>
                    <a:pt x="19760" y="19661"/>
                  </a:cubicBezTo>
                  <a:cubicBezTo>
                    <a:pt x="19760" y="19661"/>
                    <a:pt x="19760" y="19661"/>
                    <a:pt x="19509" y="19822"/>
                  </a:cubicBezTo>
                  <a:cubicBezTo>
                    <a:pt x="19509" y="19822"/>
                    <a:pt x="19509" y="19822"/>
                    <a:pt x="19593" y="19499"/>
                  </a:cubicBezTo>
                  <a:cubicBezTo>
                    <a:pt x="19593" y="19499"/>
                    <a:pt x="19593" y="19499"/>
                    <a:pt x="19467" y="19284"/>
                  </a:cubicBezTo>
                  <a:cubicBezTo>
                    <a:pt x="19467" y="19284"/>
                    <a:pt x="19467" y="19284"/>
                    <a:pt x="19425" y="19122"/>
                  </a:cubicBezTo>
                  <a:cubicBezTo>
                    <a:pt x="19425" y="19122"/>
                    <a:pt x="19425" y="19122"/>
                    <a:pt x="19425" y="18961"/>
                  </a:cubicBezTo>
                  <a:cubicBezTo>
                    <a:pt x="19425" y="18961"/>
                    <a:pt x="19425" y="18961"/>
                    <a:pt x="19593" y="18637"/>
                  </a:cubicBezTo>
                  <a:cubicBezTo>
                    <a:pt x="19593" y="18637"/>
                    <a:pt x="19593" y="18637"/>
                    <a:pt x="19383" y="18637"/>
                  </a:cubicBezTo>
                  <a:cubicBezTo>
                    <a:pt x="19383" y="18637"/>
                    <a:pt x="19383" y="18637"/>
                    <a:pt x="19300" y="18745"/>
                  </a:cubicBezTo>
                  <a:cubicBezTo>
                    <a:pt x="19300" y="18745"/>
                    <a:pt x="19300" y="18745"/>
                    <a:pt x="19300" y="18853"/>
                  </a:cubicBezTo>
                  <a:cubicBezTo>
                    <a:pt x="19300" y="18853"/>
                    <a:pt x="19300" y="18853"/>
                    <a:pt x="19300" y="19176"/>
                  </a:cubicBezTo>
                  <a:cubicBezTo>
                    <a:pt x="19300" y="19176"/>
                    <a:pt x="19300" y="19176"/>
                    <a:pt x="19174" y="19284"/>
                  </a:cubicBezTo>
                  <a:cubicBezTo>
                    <a:pt x="19174" y="19284"/>
                    <a:pt x="19174" y="19284"/>
                    <a:pt x="19091" y="19392"/>
                  </a:cubicBezTo>
                  <a:cubicBezTo>
                    <a:pt x="19091" y="19392"/>
                    <a:pt x="19091" y="19284"/>
                    <a:pt x="19091" y="19230"/>
                  </a:cubicBezTo>
                  <a:cubicBezTo>
                    <a:pt x="19091" y="19176"/>
                    <a:pt x="19049" y="19014"/>
                    <a:pt x="19049" y="19014"/>
                  </a:cubicBezTo>
                  <a:cubicBezTo>
                    <a:pt x="19049" y="19014"/>
                    <a:pt x="19007" y="18853"/>
                    <a:pt x="19007" y="18745"/>
                  </a:cubicBezTo>
                  <a:cubicBezTo>
                    <a:pt x="19007" y="18691"/>
                    <a:pt x="18965" y="18584"/>
                    <a:pt x="18965" y="18584"/>
                  </a:cubicBezTo>
                  <a:cubicBezTo>
                    <a:pt x="18965" y="18584"/>
                    <a:pt x="18923" y="18476"/>
                    <a:pt x="18923" y="18422"/>
                  </a:cubicBezTo>
                  <a:cubicBezTo>
                    <a:pt x="18923" y="18314"/>
                    <a:pt x="18923" y="18260"/>
                    <a:pt x="18923" y="18260"/>
                  </a:cubicBezTo>
                  <a:cubicBezTo>
                    <a:pt x="18923" y="18260"/>
                    <a:pt x="18965" y="18153"/>
                    <a:pt x="19049" y="18153"/>
                  </a:cubicBezTo>
                  <a:cubicBezTo>
                    <a:pt x="19091" y="18099"/>
                    <a:pt x="19132" y="17991"/>
                    <a:pt x="19132" y="17991"/>
                  </a:cubicBezTo>
                  <a:cubicBezTo>
                    <a:pt x="19132" y="17991"/>
                    <a:pt x="19132" y="17991"/>
                    <a:pt x="19300" y="17776"/>
                  </a:cubicBezTo>
                  <a:cubicBezTo>
                    <a:pt x="19300" y="17776"/>
                    <a:pt x="19300" y="17776"/>
                    <a:pt x="19132" y="17399"/>
                  </a:cubicBezTo>
                  <a:cubicBezTo>
                    <a:pt x="19132" y="17399"/>
                    <a:pt x="19132" y="17399"/>
                    <a:pt x="19049" y="17452"/>
                  </a:cubicBezTo>
                  <a:cubicBezTo>
                    <a:pt x="19049" y="17452"/>
                    <a:pt x="19049" y="17452"/>
                    <a:pt x="18965" y="17722"/>
                  </a:cubicBezTo>
                  <a:cubicBezTo>
                    <a:pt x="18965" y="17722"/>
                    <a:pt x="18965" y="17722"/>
                    <a:pt x="18798" y="17991"/>
                  </a:cubicBezTo>
                  <a:cubicBezTo>
                    <a:pt x="18798" y="17991"/>
                    <a:pt x="18798" y="17991"/>
                    <a:pt x="18672" y="18099"/>
                  </a:cubicBezTo>
                  <a:cubicBezTo>
                    <a:pt x="18672" y="18099"/>
                    <a:pt x="18672" y="18099"/>
                    <a:pt x="18630" y="18206"/>
                  </a:cubicBezTo>
                  <a:cubicBezTo>
                    <a:pt x="18630" y="18206"/>
                    <a:pt x="18630" y="18206"/>
                    <a:pt x="18714" y="18637"/>
                  </a:cubicBezTo>
                  <a:cubicBezTo>
                    <a:pt x="18714" y="18637"/>
                    <a:pt x="18714" y="18637"/>
                    <a:pt x="18881" y="19230"/>
                  </a:cubicBezTo>
                  <a:cubicBezTo>
                    <a:pt x="18881" y="19230"/>
                    <a:pt x="18881" y="19230"/>
                    <a:pt x="18714" y="19176"/>
                  </a:cubicBezTo>
                  <a:cubicBezTo>
                    <a:pt x="18714" y="19176"/>
                    <a:pt x="18714" y="19176"/>
                    <a:pt x="18463" y="18530"/>
                  </a:cubicBezTo>
                  <a:cubicBezTo>
                    <a:pt x="18463" y="18530"/>
                    <a:pt x="18463" y="18530"/>
                    <a:pt x="18170" y="17991"/>
                  </a:cubicBezTo>
                  <a:cubicBezTo>
                    <a:pt x="18170" y="17991"/>
                    <a:pt x="18170" y="17991"/>
                    <a:pt x="18086" y="18314"/>
                  </a:cubicBezTo>
                  <a:cubicBezTo>
                    <a:pt x="18086" y="18314"/>
                    <a:pt x="18086" y="18314"/>
                    <a:pt x="18003" y="18260"/>
                  </a:cubicBezTo>
                  <a:cubicBezTo>
                    <a:pt x="18003" y="18260"/>
                    <a:pt x="18003" y="18260"/>
                    <a:pt x="17877" y="17883"/>
                  </a:cubicBezTo>
                  <a:cubicBezTo>
                    <a:pt x="17877" y="17883"/>
                    <a:pt x="17877" y="17883"/>
                    <a:pt x="17710" y="17722"/>
                  </a:cubicBezTo>
                  <a:cubicBezTo>
                    <a:pt x="17710" y="17722"/>
                    <a:pt x="17710" y="17722"/>
                    <a:pt x="17291" y="17129"/>
                  </a:cubicBezTo>
                  <a:cubicBezTo>
                    <a:pt x="17291" y="17129"/>
                    <a:pt x="17291" y="17129"/>
                    <a:pt x="17291" y="16752"/>
                  </a:cubicBezTo>
                  <a:cubicBezTo>
                    <a:pt x="17291" y="16752"/>
                    <a:pt x="17291" y="16752"/>
                    <a:pt x="17208" y="16968"/>
                  </a:cubicBezTo>
                  <a:cubicBezTo>
                    <a:pt x="17208" y="16968"/>
                    <a:pt x="17208" y="16968"/>
                    <a:pt x="16999" y="16860"/>
                  </a:cubicBezTo>
                  <a:cubicBezTo>
                    <a:pt x="16999" y="16860"/>
                    <a:pt x="16999" y="16860"/>
                    <a:pt x="16538" y="16321"/>
                  </a:cubicBezTo>
                  <a:cubicBezTo>
                    <a:pt x="16538" y="16321"/>
                    <a:pt x="16538" y="16321"/>
                    <a:pt x="16245" y="15890"/>
                  </a:cubicBezTo>
                  <a:cubicBezTo>
                    <a:pt x="16245" y="15890"/>
                    <a:pt x="16245" y="15890"/>
                    <a:pt x="16078" y="15944"/>
                  </a:cubicBezTo>
                  <a:cubicBezTo>
                    <a:pt x="16078" y="15944"/>
                    <a:pt x="16078" y="15944"/>
                    <a:pt x="15702" y="15836"/>
                  </a:cubicBezTo>
                  <a:cubicBezTo>
                    <a:pt x="15702" y="15836"/>
                    <a:pt x="15702" y="15836"/>
                    <a:pt x="15451" y="15513"/>
                  </a:cubicBezTo>
                  <a:cubicBezTo>
                    <a:pt x="15451" y="15513"/>
                    <a:pt x="15451" y="15513"/>
                    <a:pt x="15451" y="15136"/>
                  </a:cubicBezTo>
                  <a:cubicBezTo>
                    <a:pt x="15451" y="15136"/>
                    <a:pt x="15451" y="15136"/>
                    <a:pt x="15325" y="15244"/>
                  </a:cubicBezTo>
                  <a:cubicBezTo>
                    <a:pt x="15325" y="15244"/>
                    <a:pt x="15325" y="15244"/>
                    <a:pt x="14823" y="15244"/>
                  </a:cubicBezTo>
                  <a:cubicBezTo>
                    <a:pt x="14823" y="15244"/>
                    <a:pt x="14823" y="15244"/>
                    <a:pt x="14572" y="15190"/>
                  </a:cubicBezTo>
                  <a:cubicBezTo>
                    <a:pt x="14572" y="15190"/>
                    <a:pt x="14572" y="15190"/>
                    <a:pt x="14279" y="15082"/>
                  </a:cubicBezTo>
                  <a:cubicBezTo>
                    <a:pt x="14279" y="15082"/>
                    <a:pt x="14279" y="15082"/>
                    <a:pt x="13735" y="15028"/>
                  </a:cubicBezTo>
                  <a:cubicBezTo>
                    <a:pt x="13735" y="15028"/>
                    <a:pt x="13735" y="15028"/>
                    <a:pt x="13191" y="15190"/>
                  </a:cubicBezTo>
                  <a:cubicBezTo>
                    <a:pt x="13191" y="15190"/>
                    <a:pt x="13191" y="15190"/>
                    <a:pt x="12815" y="15298"/>
                  </a:cubicBezTo>
                  <a:cubicBezTo>
                    <a:pt x="12815" y="15298"/>
                    <a:pt x="12815" y="15298"/>
                    <a:pt x="12898" y="14867"/>
                  </a:cubicBezTo>
                  <a:cubicBezTo>
                    <a:pt x="12898" y="14867"/>
                    <a:pt x="12898" y="14867"/>
                    <a:pt x="12773" y="14975"/>
                  </a:cubicBezTo>
                  <a:cubicBezTo>
                    <a:pt x="12773" y="14975"/>
                    <a:pt x="12773" y="14975"/>
                    <a:pt x="12564" y="14813"/>
                  </a:cubicBezTo>
                  <a:cubicBezTo>
                    <a:pt x="12564" y="14813"/>
                    <a:pt x="12564" y="14813"/>
                    <a:pt x="12396" y="14705"/>
                  </a:cubicBezTo>
                  <a:cubicBezTo>
                    <a:pt x="12396" y="14705"/>
                    <a:pt x="12396" y="14705"/>
                    <a:pt x="12229" y="14705"/>
                  </a:cubicBezTo>
                  <a:cubicBezTo>
                    <a:pt x="12229" y="14705"/>
                    <a:pt x="12229" y="14705"/>
                    <a:pt x="12103" y="14705"/>
                  </a:cubicBezTo>
                  <a:cubicBezTo>
                    <a:pt x="12103" y="14705"/>
                    <a:pt x="12103" y="14705"/>
                    <a:pt x="11894" y="14867"/>
                  </a:cubicBezTo>
                  <a:cubicBezTo>
                    <a:pt x="11894" y="14867"/>
                    <a:pt x="11894" y="14867"/>
                    <a:pt x="11727" y="14975"/>
                  </a:cubicBezTo>
                  <a:cubicBezTo>
                    <a:pt x="11727" y="14975"/>
                    <a:pt x="11727" y="14975"/>
                    <a:pt x="11559" y="15244"/>
                  </a:cubicBezTo>
                  <a:cubicBezTo>
                    <a:pt x="11559" y="15244"/>
                    <a:pt x="11559" y="15244"/>
                    <a:pt x="11476" y="15352"/>
                  </a:cubicBezTo>
                  <a:cubicBezTo>
                    <a:pt x="11476" y="15352"/>
                    <a:pt x="11476" y="15352"/>
                    <a:pt x="11267" y="15298"/>
                  </a:cubicBezTo>
                  <a:cubicBezTo>
                    <a:pt x="11267" y="15298"/>
                    <a:pt x="11267" y="15298"/>
                    <a:pt x="11476" y="15082"/>
                  </a:cubicBezTo>
                  <a:cubicBezTo>
                    <a:pt x="11476" y="15082"/>
                    <a:pt x="11476" y="15082"/>
                    <a:pt x="11727" y="14759"/>
                  </a:cubicBezTo>
                  <a:cubicBezTo>
                    <a:pt x="11727" y="14759"/>
                    <a:pt x="11727" y="14759"/>
                    <a:pt x="11894" y="14544"/>
                  </a:cubicBezTo>
                  <a:cubicBezTo>
                    <a:pt x="11894" y="14544"/>
                    <a:pt x="11894" y="14544"/>
                    <a:pt x="12020" y="14328"/>
                  </a:cubicBezTo>
                  <a:cubicBezTo>
                    <a:pt x="12020" y="14328"/>
                    <a:pt x="12020" y="14328"/>
                    <a:pt x="11936" y="14328"/>
                  </a:cubicBezTo>
                  <a:cubicBezTo>
                    <a:pt x="11936" y="14328"/>
                    <a:pt x="11936" y="14328"/>
                    <a:pt x="11769" y="14220"/>
                  </a:cubicBezTo>
                  <a:cubicBezTo>
                    <a:pt x="11769" y="14220"/>
                    <a:pt x="11769" y="14220"/>
                    <a:pt x="11769" y="13843"/>
                  </a:cubicBezTo>
                  <a:cubicBezTo>
                    <a:pt x="11769" y="13843"/>
                    <a:pt x="11769" y="13843"/>
                    <a:pt x="11601" y="14005"/>
                  </a:cubicBezTo>
                  <a:cubicBezTo>
                    <a:pt x="11601" y="14005"/>
                    <a:pt x="11601" y="14005"/>
                    <a:pt x="11559" y="14059"/>
                  </a:cubicBezTo>
                  <a:cubicBezTo>
                    <a:pt x="11559" y="14059"/>
                    <a:pt x="11559" y="14059"/>
                    <a:pt x="11267" y="14059"/>
                  </a:cubicBezTo>
                  <a:cubicBezTo>
                    <a:pt x="11267" y="14059"/>
                    <a:pt x="11267" y="14059"/>
                    <a:pt x="11016" y="14005"/>
                  </a:cubicBezTo>
                  <a:cubicBezTo>
                    <a:pt x="11016" y="14005"/>
                    <a:pt x="11016" y="14005"/>
                    <a:pt x="10890" y="14167"/>
                  </a:cubicBezTo>
                  <a:cubicBezTo>
                    <a:pt x="10890" y="14167"/>
                    <a:pt x="10890" y="14167"/>
                    <a:pt x="10806" y="14490"/>
                  </a:cubicBezTo>
                  <a:cubicBezTo>
                    <a:pt x="10806" y="14490"/>
                    <a:pt x="10806" y="14490"/>
                    <a:pt x="10974" y="14759"/>
                  </a:cubicBezTo>
                  <a:cubicBezTo>
                    <a:pt x="10974" y="14759"/>
                    <a:pt x="10974" y="14759"/>
                    <a:pt x="10890" y="15190"/>
                  </a:cubicBezTo>
                  <a:cubicBezTo>
                    <a:pt x="10890" y="15190"/>
                    <a:pt x="10890" y="15190"/>
                    <a:pt x="10681" y="15459"/>
                  </a:cubicBezTo>
                  <a:cubicBezTo>
                    <a:pt x="10681" y="15459"/>
                    <a:pt x="10681" y="15459"/>
                    <a:pt x="10472" y="15459"/>
                  </a:cubicBezTo>
                  <a:cubicBezTo>
                    <a:pt x="10472" y="15459"/>
                    <a:pt x="10472" y="15459"/>
                    <a:pt x="10221" y="15459"/>
                  </a:cubicBezTo>
                  <a:cubicBezTo>
                    <a:pt x="10221" y="15459"/>
                    <a:pt x="10221" y="15459"/>
                    <a:pt x="10137" y="15836"/>
                  </a:cubicBezTo>
                  <a:cubicBezTo>
                    <a:pt x="10137" y="15836"/>
                    <a:pt x="10137" y="15836"/>
                    <a:pt x="9802" y="15998"/>
                  </a:cubicBezTo>
                  <a:cubicBezTo>
                    <a:pt x="9802" y="15998"/>
                    <a:pt x="9802" y="15998"/>
                    <a:pt x="9760" y="16106"/>
                  </a:cubicBezTo>
                  <a:cubicBezTo>
                    <a:pt x="9760" y="16106"/>
                    <a:pt x="9760" y="16106"/>
                    <a:pt x="9468" y="16375"/>
                  </a:cubicBezTo>
                  <a:cubicBezTo>
                    <a:pt x="9468" y="16375"/>
                    <a:pt x="9468" y="16375"/>
                    <a:pt x="9175" y="16483"/>
                  </a:cubicBezTo>
                  <a:cubicBezTo>
                    <a:pt x="9175" y="16483"/>
                    <a:pt x="9175" y="16483"/>
                    <a:pt x="9007" y="16537"/>
                  </a:cubicBezTo>
                  <a:cubicBezTo>
                    <a:pt x="9007" y="16537"/>
                    <a:pt x="9007" y="16537"/>
                    <a:pt x="8924" y="16375"/>
                  </a:cubicBezTo>
                  <a:cubicBezTo>
                    <a:pt x="8924" y="16375"/>
                    <a:pt x="8924" y="16375"/>
                    <a:pt x="8882" y="16267"/>
                  </a:cubicBezTo>
                  <a:cubicBezTo>
                    <a:pt x="8882" y="16267"/>
                    <a:pt x="8882" y="16267"/>
                    <a:pt x="9091" y="16160"/>
                  </a:cubicBezTo>
                  <a:cubicBezTo>
                    <a:pt x="9091" y="16160"/>
                    <a:pt x="9091" y="16160"/>
                    <a:pt x="9258" y="15890"/>
                  </a:cubicBezTo>
                  <a:cubicBezTo>
                    <a:pt x="9258" y="15890"/>
                    <a:pt x="9258" y="15890"/>
                    <a:pt x="9049" y="15890"/>
                  </a:cubicBezTo>
                  <a:cubicBezTo>
                    <a:pt x="9049" y="15890"/>
                    <a:pt x="9049" y="15890"/>
                    <a:pt x="8965" y="15729"/>
                  </a:cubicBezTo>
                  <a:cubicBezTo>
                    <a:pt x="8965" y="15729"/>
                    <a:pt x="8965" y="15729"/>
                    <a:pt x="9175" y="15352"/>
                  </a:cubicBezTo>
                  <a:cubicBezTo>
                    <a:pt x="9175" y="15352"/>
                    <a:pt x="9175" y="15352"/>
                    <a:pt x="9258" y="14975"/>
                  </a:cubicBezTo>
                  <a:cubicBezTo>
                    <a:pt x="9258" y="14975"/>
                    <a:pt x="9258" y="14975"/>
                    <a:pt x="9384" y="14436"/>
                  </a:cubicBezTo>
                  <a:cubicBezTo>
                    <a:pt x="9384" y="14436"/>
                    <a:pt x="9384" y="14436"/>
                    <a:pt x="9593" y="14113"/>
                  </a:cubicBezTo>
                  <a:cubicBezTo>
                    <a:pt x="9593" y="14113"/>
                    <a:pt x="9593" y="14113"/>
                    <a:pt x="10346" y="14220"/>
                  </a:cubicBezTo>
                  <a:cubicBezTo>
                    <a:pt x="10346" y="14220"/>
                    <a:pt x="10346" y="14220"/>
                    <a:pt x="10221" y="14005"/>
                  </a:cubicBezTo>
                  <a:cubicBezTo>
                    <a:pt x="10221" y="14005"/>
                    <a:pt x="10221" y="14005"/>
                    <a:pt x="10011" y="13951"/>
                  </a:cubicBezTo>
                  <a:cubicBezTo>
                    <a:pt x="10011" y="13951"/>
                    <a:pt x="10011" y="13951"/>
                    <a:pt x="9635" y="13736"/>
                  </a:cubicBezTo>
                  <a:cubicBezTo>
                    <a:pt x="9635" y="13736"/>
                    <a:pt x="9635" y="13736"/>
                    <a:pt x="9342" y="13897"/>
                  </a:cubicBezTo>
                  <a:cubicBezTo>
                    <a:pt x="9342" y="13897"/>
                    <a:pt x="9342" y="13897"/>
                    <a:pt x="9091" y="14167"/>
                  </a:cubicBezTo>
                  <a:cubicBezTo>
                    <a:pt x="9091" y="14167"/>
                    <a:pt x="9091" y="14167"/>
                    <a:pt x="8840" y="14436"/>
                  </a:cubicBezTo>
                  <a:cubicBezTo>
                    <a:pt x="8840" y="14436"/>
                    <a:pt x="8840" y="14436"/>
                    <a:pt x="8714" y="14759"/>
                  </a:cubicBezTo>
                  <a:cubicBezTo>
                    <a:pt x="8714" y="14759"/>
                    <a:pt x="8714" y="14759"/>
                    <a:pt x="8673" y="15028"/>
                  </a:cubicBezTo>
                  <a:cubicBezTo>
                    <a:pt x="8673" y="15028"/>
                    <a:pt x="8673" y="15028"/>
                    <a:pt x="8505" y="15028"/>
                  </a:cubicBezTo>
                  <a:cubicBezTo>
                    <a:pt x="8505" y="15028"/>
                    <a:pt x="8505" y="15028"/>
                    <a:pt x="8505" y="15136"/>
                  </a:cubicBezTo>
                  <a:cubicBezTo>
                    <a:pt x="8505" y="15136"/>
                    <a:pt x="8505" y="15136"/>
                    <a:pt x="8589" y="15352"/>
                  </a:cubicBezTo>
                  <a:cubicBezTo>
                    <a:pt x="8589" y="15352"/>
                    <a:pt x="8589" y="15352"/>
                    <a:pt x="8547" y="15513"/>
                  </a:cubicBezTo>
                  <a:cubicBezTo>
                    <a:pt x="8547" y="15513"/>
                    <a:pt x="8547" y="15513"/>
                    <a:pt x="8422" y="15675"/>
                  </a:cubicBezTo>
                  <a:cubicBezTo>
                    <a:pt x="8422" y="15675"/>
                    <a:pt x="8422" y="15675"/>
                    <a:pt x="8129" y="15890"/>
                  </a:cubicBezTo>
                  <a:cubicBezTo>
                    <a:pt x="8129" y="15890"/>
                    <a:pt x="8129" y="15890"/>
                    <a:pt x="7961" y="16052"/>
                  </a:cubicBezTo>
                  <a:cubicBezTo>
                    <a:pt x="7961" y="16052"/>
                    <a:pt x="7961" y="16052"/>
                    <a:pt x="7752" y="16321"/>
                  </a:cubicBezTo>
                  <a:cubicBezTo>
                    <a:pt x="7752" y="16321"/>
                    <a:pt x="7752" y="16321"/>
                    <a:pt x="7710" y="16591"/>
                  </a:cubicBezTo>
                  <a:cubicBezTo>
                    <a:pt x="7710" y="16591"/>
                    <a:pt x="7710" y="16591"/>
                    <a:pt x="8003" y="16698"/>
                  </a:cubicBezTo>
                  <a:cubicBezTo>
                    <a:pt x="8003" y="16698"/>
                    <a:pt x="8003" y="16698"/>
                    <a:pt x="8045" y="17075"/>
                  </a:cubicBezTo>
                  <a:cubicBezTo>
                    <a:pt x="8045" y="17075"/>
                    <a:pt x="8045" y="17075"/>
                    <a:pt x="7920" y="17291"/>
                  </a:cubicBezTo>
                  <a:cubicBezTo>
                    <a:pt x="7920" y="17291"/>
                    <a:pt x="7920" y="17291"/>
                    <a:pt x="7710" y="17452"/>
                  </a:cubicBezTo>
                  <a:cubicBezTo>
                    <a:pt x="7710" y="17452"/>
                    <a:pt x="7710" y="17452"/>
                    <a:pt x="7459" y="17883"/>
                  </a:cubicBezTo>
                  <a:cubicBezTo>
                    <a:pt x="7459" y="17883"/>
                    <a:pt x="7459" y="17883"/>
                    <a:pt x="7083" y="18206"/>
                  </a:cubicBezTo>
                  <a:cubicBezTo>
                    <a:pt x="7083" y="18206"/>
                    <a:pt x="7083" y="18206"/>
                    <a:pt x="6330" y="18691"/>
                  </a:cubicBezTo>
                  <a:cubicBezTo>
                    <a:pt x="6330" y="18691"/>
                    <a:pt x="6330" y="18691"/>
                    <a:pt x="6288" y="19122"/>
                  </a:cubicBezTo>
                  <a:cubicBezTo>
                    <a:pt x="6288" y="19122"/>
                    <a:pt x="6288" y="19122"/>
                    <a:pt x="5995" y="19284"/>
                  </a:cubicBezTo>
                  <a:cubicBezTo>
                    <a:pt x="5995" y="19284"/>
                    <a:pt x="5995" y="19284"/>
                    <a:pt x="5702" y="19499"/>
                  </a:cubicBezTo>
                  <a:cubicBezTo>
                    <a:pt x="5702" y="19499"/>
                    <a:pt x="5702" y="19499"/>
                    <a:pt x="5325" y="19661"/>
                  </a:cubicBezTo>
                  <a:cubicBezTo>
                    <a:pt x="5325" y="19661"/>
                    <a:pt x="5325" y="19661"/>
                    <a:pt x="5200" y="19769"/>
                  </a:cubicBezTo>
                  <a:cubicBezTo>
                    <a:pt x="5200" y="19769"/>
                    <a:pt x="5200" y="19769"/>
                    <a:pt x="5033" y="19930"/>
                  </a:cubicBezTo>
                  <a:cubicBezTo>
                    <a:pt x="5033" y="19930"/>
                    <a:pt x="5033" y="19930"/>
                    <a:pt x="4907" y="20092"/>
                  </a:cubicBezTo>
                  <a:cubicBezTo>
                    <a:pt x="4907" y="20092"/>
                    <a:pt x="4907" y="20092"/>
                    <a:pt x="4823" y="20415"/>
                  </a:cubicBezTo>
                  <a:cubicBezTo>
                    <a:pt x="4823" y="20415"/>
                    <a:pt x="4823" y="20415"/>
                    <a:pt x="4614" y="20469"/>
                  </a:cubicBezTo>
                  <a:cubicBezTo>
                    <a:pt x="4614" y="20469"/>
                    <a:pt x="4614" y="20469"/>
                    <a:pt x="4321" y="20577"/>
                  </a:cubicBezTo>
                  <a:cubicBezTo>
                    <a:pt x="4321" y="20577"/>
                    <a:pt x="4321" y="20577"/>
                    <a:pt x="4112" y="20577"/>
                  </a:cubicBezTo>
                  <a:cubicBezTo>
                    <a:pt x="4112" y="20577"/>
                    <a:pt x="4112" y="20577"/>
                    <a:pt x="3903" y="20684"/>
                  </a:cubicBezTo>
                  <a:cubicBezTo>
                    <a:pt x="3903" y="20684"/>
                    <a:pt x="3903" y="20684"/>
                    <a:pt x="3610" y="20900"/>
                  </a:cubicBezTo>
                  <a:cubicBezTo>
                    <a:pt x="3610" y="20900"/>
                    <a:pt x="3610" y="20900"/>
                    <a:pt x="3694" y="21169"/>
                  </a:cubicBezTo>
                  <a:cubicBezTo>
                    <a:pt x="3694" y="21169"/>
                    <a:pt x="3694" y="21169"/>
                    <a:pt x="3610" y="21223"/>
                  </a:cubicBezTo>
                  <a:cubicBezTo>
                    <a:pt x="3610" y="21223"/>
                    <a:pt x="3610" y="21223"/>
                    <a:pt x="3401" y="21061"/>
                  </a:cubicBezTo>
                  <a:cubicBezTo>
                    <a:pt x="3401" y="21061"/>
                    <a:pt x="3401" y="21061"/>
                    <a:pt x="3192" y="20954"/>
                  </a:cubicBezTo>
                  <a:cubicBezTo>
                    <a:pt x="3192" y="20954"/>
                    <a:pt x="3192" y="20954"/>
                    <a:pt x="3024" y="20630"/>
                  </a:cubicBezTo>
                  <a:cubicBezTo>
                    <a:pt x="3024" y="20630"/>
                    <a:pt x="3024" y="20630"/>
                    <a:pt x="2983" y="20738"/>
                  </a:cubicBezTo>
                  <a:cubicBezTo>
                    <a:pt x="2983" y="20738"/>
                    <a:pt x="2983" y="20738"/>
                    <a:pt x="2983" y="21169"/>
                  </a:cubicBezTo>
                  <a:cubicBezTo>
                    <a:pt x="2983" y="21169"/>
                    <a:pt x="2983" y="21169"/>
                    <a:pt x="2731" y="21169"/>
                  </a:cubicBezTo>
                  <a:cubicBezTo>
                    <a:pt x="2731" y="21169"/>
                    <a:pt x="2731" y="21169"/>
                    <a:pt x="2731" y="21331"/>
                  </a:cubicBezTo>
                  <a:cubicBezTo>
                    <a:pt x="2731" y="21331"/>
                    <a:pt x="2731" y="21331"/>
                    <a:pt x="2480" y="21331"/>
                  </a:cubicBezTo>
                  <a:cubicBezTo>
                    <a:pt x="2480" y="21331"/>
                    <a:pt x="2480" y="21331"/>
                    <a:pt x="2480" y="21277"/>
                  </a:cubicBezTo>
                  <a:cubicBezTo>
                    <a:pt x="2480" y="21223"/>
                    <a:pt x="2355" y="21223"/>
                    <a:pt x="2355" y="21223"/>
                  </a:cubicBezTo>
                  <a:cubicBezTo>
                    <a:pt x="2355" y="21223"/>
                    <a:pt x="2355" y="21223"/>
                    <a:pt x="2188" y="21223"/>
                  </a:cubicBezTo>
                  <a:cubicBezTo>
                    <a:pt x="2188" y="21223"/>
                    <a:pt x="2188" y="21223"/>
                    <a:pt x="1978" y="21277"/>
                  </a:cubicBezTo>
                  <a:cubicBezTo>
                    <a:pt x="1978" y="21277"/>
                    <a:pt x="1978" y="21277"/>
                    <a:pt x="1727" y="21600"/>
                  </a:cubicBezTo>
                  <a:cubicBezTo>
                    <a:pt x="1727" y="21600"/>
                    <a:pt x="1727" y="21600"/>
                    <a:pt x="1267" y="21600"/>
                  </a:cubicBezTo>
                  <a:cubicBezTo>
                    <a:pt x="1267" y="21600"/>
                    <a:pt x="1267" y="21600"/>
                    <a:pt x="849" y="21600"/>
                  </a:cubicBezTo>
                  <a:cubicBezTo>
                    <a:pt x="849" y="21600"/>
                    <a:pt x="849" y="21600"/>
                    <a:pt x="849" y="21385"/>
                  </a:cubicBezTo>
                  <a:cubicBezTo>
                    <a:pt x="849" y="21385"/>
                    <a:pt x="849" y="21385"/>
                    <a:pt x="1142" y="20954"/>
                  </a:cubicBezTo>
                  <a:cubicBezTo>
                    <a:pt x="1142" y="20954"/>
                    <a:pt x="1142" y="20954"/>
                    <a:pt x="1644" y="20954"/>
                  </a:cubicBezTo>
                  <a:cubicBezTo>
                    <a:pt x="1644" y="20954"/>
                    <a:pt x="1644" y="20954"/>
                    <a:pt x="1853" y="20954"/>
                  </a:cubicBezTo>
                  <a:cubicBezTo>
                    <a:pt x="1853" y="20954"/>
                    <a:pt x="1853" y="20954"/>
                    <a:pt x="2062" y="20792"/>
                  </a:cubicBezTo>
                  <a:cubicBezTo>
                    <a:pt x="2062" y="20792"/>
                    <a:pt x="2062" y="20792"/>
                    <a:pt x="2355" y="20684"/>
                  </a:cubicBezTo>
                  <a:cubicBezTo>
                    <a:pt x="2355" y="20684"/>
                    <a:pt x="2355" y="20684"/>
                    <a:pt x="2480" y="20577"/>
                  </a:cubicBezTo>
                  <a:cubicBezTo>
                    <a:pt x="2480" y="20577"/>
                    <a:pt x="2480" y="20577"/>
                    <a:pt x="2606" y="20307"/>
                  </a:cubicBezTo>
                  <a:cubicBezTo>
                    <a:pt x="2606" y="20307"/>
                    <a:pt x="2606" y="20307"/>
                    <a:pt x="2857" y="20146"/>
                  </a:cubicBezTo>
                  <a:cubicBezTo>
                    <a:pt x="2857" y="20146"/>
                    <a:pt x="2857" y="20146"/>
                    <a:pt x="3234" y="20092"/>
                  </a:cubicBezTo>
                  <a:cubicBezTo>
                    <a:pt x="3234" y="20092"/>
                    <a:pt x="3234" y="20092"/>
                    <a:pt x="3443" y="20092"/>
                  </a:cubicBezTo>
                  <a:cubicBezTo>
                    <a:pt x="3443" y="20092"/>
                    <a:pt x="3443" y="20092"/>
                    <a:pt x="3610" y="20307"/>
                  </a:cubicBezTo>
                  <a:cubicBezTo>
                    <a:pt x="3610" y="20307"/>
                    <a:pt x="3610" y="20307"/>
                    <a:pt x="3777" y="20146"/>
                  </a:cubicBezTo>
                  <a:cubicBezTo>
                    <a:pt x="3777" y="20146"/>
                    <a:pt x="3777" y="20146"/>
                    <a:pt x="3945" y="19822"/>
                  </a:cubicBezTo>
                  <a:cubicBezTo>
                    <a:pt x="3945" y="19822"/>
                    <a:pt x="3945" y="19822"/>
                    <a:pt x="4154" y="19553"/>
                  </a:cubicBezTo>
                  <a:cubicBezTo>
                    <a:pt x="4154" y="19553"/>
                    <a:pt x="4154" y="19553"/>
                    <a:pt x="4363" y="19392"/>
                  </a:cubicBezTo>
                  <a:cubicBezTo>
                    <a:pt x="4363" y="19392"/>
                    <a:pt x="4363" y="19392"/>
                    <a:pt x="4782" y="19284"/>
                  </a:cubicBezTo>
                  <a:cubicBezTo>
                    <a:pt x="4782" y="19284"/>
                    <a:pt x="4782" y="19284"/>
                    <a:pt x="4949" y="19068"/>
                  </a:cubicBezTo>
                  <a:cubicBezTo>
                    <a:pt x="4949" y="19068"/>
                    <a:pt x="4949" y="19068"/>
                    <a:pt x="5158" y="18799"/>
                  </a:cubicBezTo>
                  <a:cubicBezTo>
                    <a:pt x="5158" y="18799"/>
                    <a:pt x="5158" y="18799"/>
                    <a:pt x="5409" y="18530"/>
                  </a:cubicBezTo>
                  <a:cubicBezTo>
                    <a:pt x="5409" y="18530"/>
                    <a:pt x="5409" y="18530"/>
                    <a:pt x="5618" y="18368"/>
                  </a:cubicBezTo>
                  <a:cubicBezTo>
                    <a:pt x="5618" y="18368"/>
                    <a:pt x="5618" y="18368"/>
                    <a:pt x="5702" y="18045"/>
                  </a:cubicBezTo>
                  <a:cubicBezTo>
                    <a:pt x="5702" y="18045"/>
                    <a:pt x="5702" y="18045"/>
                    <a:pt x="5744" y="17560"/>
                  </a:cubicBezTo>
                  <a:cubicBezTo>
                    <a:pt x="5744" y="17560"/>
                    <a:pt x="5744" y="17560"/>
                    <a:pt x="5828" y="17237"/>
                  </a:cubicBezTo>
                  <a:cubicBezTo>
                    <a:pt x="5828" y="17237"/>
                    <a:pt x="5828" y="17237"/>
                    <a:pt x="5869" y="17129"/>
                  </a:cubicBezTo>
                  <a:cubicBezTo>
                    <a:pt x="5869" y="17129"/>
                    <a:pt x="5869" y="17129"/>
                    <a:pt x="6079" y="16752"/>
                  </a:cubicBezTo>
                  <a:cubicBezTo>
                    <a:pt x="6079" y="16752"/>
                    <a:pt x="6079" y="16752"/>
                    <a:pt x="5953" y="16752"/>
                  </a:cubicBezTo>
                  <a:cubicBezTo>
                    <a:pt x="5953" y="16752"/>
                    <a:pt x="5953" y="16752"/>
                    <a:pt x="5744" y="16806"/>
                  </a:cubicBezTo>
                  <a:cubicBezTo>
                    <a:pt x="5744" y="16806"/>
                    <a:pt x="5744" y="16806"/>
                    <a:pt x="5618" y="16806"/>
                  </a:cubicBezTo>
                  <a:cubicBezTo>
                    <a:pt x="5618" y="16806"/>
                    <a:pt x="5618" y="16806"/>
                    <a:pt x="5409" y="16752"/>
                  </a:cubicBezTo>
                  <a:cubicBezTo>
                    <a:pt x="5409" y="16752"/>
                    <a:pt x="5409" y="16752"/>
                    <a:pt x="5325" y="16644"/>
                  </a:cubicBezTo>
                  <a:cubicBezTo>
                    <a:pt x="5325" y="16644"/>
                    <a:pt x="5325" y="16644"/>
                    <a:pt x="5535" y="16375"/>
                  </a:cubicBezTo>
                  <a:cubicBezTo>
                    <a:pt x="5535" y="16375"/>
                    <a:pt x="5535" y="16375"/>
                    <a:pt x="5325" y="16429"/>
                  </a:cubicBezTo>
                  <a:cubicBezTo>
                    <a:pt x="5325" y="16429"/>
                    <a:pt x="5325" y="16429"/>
                    <a:pt x="5200" y="16591"/>
                  </a:cubicBezTo>
                  <a:cubicBezTo>
                    <a:pt x="5200" y="16591"/>
                    <a:pt x="5200" y="16591"/>
                    <a:pt x="5116" y="16968"/>
                  </a:cubicBezTo>
                  <a:cubicBezTo>
                    <a:pt x="5116" y="16968"/>
                    <a:pt x="5116" y="16968"/>
                    <a:pt x="4991" y="17129"/>
                  </a:cubicBezTo>
                  <a:cubicBezTo>
                    <a:pt x="4991" y="17129"/>
                    <a:pt x="4991" y="17129"/>
                    <a:pt x="4949" y="16968"/>
                  </a:cubicBezTo>
                  <a:cubicBezTo>
                    <a:pt x="4949" y="16968"/>
                    <a:pt x="4949" y="16968"/>
                    <a:pt x="4823" y="16752"/>
                  </a:cubicBezTo>
                  <a:cubicBezTo>
                    <a:pt x="4823" y="16752"/>
                    <a:pt x="4823" y="16752"/>
                    <a:pt x="4614" y="16483"/>
                  </a:cubicBezTo>
                  <a:cubicBezTo>
                    <a:pt x="4614" y="16483"/>
                    <a:pt x="4614" y="16483"/>
                    <a:pt x="4280" y="16213"/>
                  </a:cubicBezTo>
                  <a:cubicBezTo>
                    <a:pt x="4280" y="16213"/>
                    <a:pt x="4280" y="16213"/>
                    <a:pt x="4196" y="16213"/>
                  </a:cubicBezTo>
                  <a:cubicBezTo>
                    <a:pt x="4196" y="16213"/>
                    <a:pt x="4196" y="16213"/>
                    <a:pt x="3903" y="16483"/>
                  </a:cubicBezTo>
                  <a:cubicBezTo>
                    <a:pt x="3903" y="16483"/>
                    <a:pt x="3903" y="16483"/>
                    <a:pt x="3736" y="16483"/>
                  </a:cubicBezTo>
                  <a:cubicBezTo>
                    <a:pt x="3736" y="16483"/>
                    <a:pt x="3736" y="16483"/>
                    <a:pt x="3485" y="16483"/>
                  </a:cubicBezTo>
                  <a:cubicBezTo>
                    <a:pt x="3485" y="16483"/>
                    <a:pt x="3485" y="16483"/>
                    <a:pt x="3526" y="15783"/>
                  </a:cubicBezTo>
                  <a:cubicBezTo>
                    <a:pt x="3526" y="15783"/>
                    <a:pt x="3526" y="15783"/>
                    <a:pt x="3568" y="15567"/>
                  </a:cubicBezTo>
                  <a:cubicBezTo>
                    <a:pt x="3568" y="15567"/>
                    <a:pt x="3568" y="15567"/>
                    <a:pt x="3694" y="15352"/>
                  </a:cubicBezTo>
                  <a:cubicBezTo>
                    <a:pt x="3694" y="15352"/>
                    <a:pt x="3694" y="15352"/>
                    <a:pt x="3694" y="15082"/>
                  </a:cubicBezTo>
                  <a:cubicBezTo>
                    <a:pt x="3694" y="15082"/>
                    <a:pt x="3694" y="15082"/>
                    <a:pt x="3652" y="14651"/>
                  </a:cubicBezTo>
                  <a:cubicBezTo>
                    <a:pt x="3652" y="14651"/>
                    <a:pt x="3652" y="14651"/>
                    <a:pt x="3568" y="14220"/>
                  </a:cubicBezTo>
                  <a:cubicBezTo>
                    <a:pt x="3568" y="14220"/>
                    <a:pt x="3568" y="14220"/>
                    <a:pt x="3485" y="14328"/>
                  </a:cubicBezTo>
                  <a:cubicBezTo>
                    <a:pt x="3485" y="14328"/>
                    <a:pt x="3485" y="14328"/>
                    <a:pt x="3317" y="14544"/>
                  </a:cubicBezTo>
                  <a:cubicBezTo>
                    <a:pt x="3317" y="14544"/>
                    <a:pt x="3317" y="14544"/>
                    <a:pt x="3192" y="14651"/>
                  </a:cubicBezTo>
                  <a:cubicBezTo>
                    <a:pt x="3192" y="14651"/>
                    <a:pt x="3192" y="14651"/>
                    <a:pt x="3066" y="14651"/>
                  </a:cubicBezTo>
                  <a:cubicBezTo>
                    <a:pt x="3066" y="14651"/>
                    <a:pt x="3066" y="14651"/>
                    <a:pt x="2941" y="14490"/>
                  </a:cubicBezTo>
                  <a:cubicBezTo>
                    <a:pt x="2941" y="14490"/>
                    <a:pt x="2941" y="14490"/>
                    <a:pt x="2857" y="14490"/>
                  </a:cubicBezTo>
                  <a:cubicBezTo>
                    <a:pt x="2857" y="14490"/>
                    <a:pt x="2857" y="14490"/>
                    <a:pt x="2690" y="14382"/>
                  </a:cubicBezTo>
                  <a:cubicBezTo>
                    <a:pt x="2690" y="14382"/>
                    <a:pt x="2690" y="14382"/>
                    <a:pt x="2564" y="14220"/>
                  </a:cubicBezTo>
                  <a:cubicBezTo>
                    <a:pt x="2564" y="14220"/>
                    <a:pt x="2564" y="14220"/>
                    <a:pt x="2439" y="14113"/>
                  </a:cubicBezTo>
                  <a:cubicBezTo>
                    <a:pt x="2439" y="14113"/>
                    <a:pt x="2439" y="14113"/>
                    <a:pt x="2313" y="13951"/>
                  </a:cubicBezTo>
                  <a:cubicBezTo>
                    <a:pt x="2313" y="13951"/>
                    <a:pt x="2313" y="13951"/>
                    <a:pt x="2271" y="13790"/>
                  </a:cubicBezTo>
                  <a:cubicBezTo>
                    <a:pt x="2271" y="13790"/>
                    <a:pt x="2271" y="13790"/>
                    <a:pt x="2229" y="13412"/>
                  </a:cubicBezTo>
                  <a:cubicBezTo>
                    <a:pt x="2229" y="13412"/>
                    <a:pt x="2229" y="13412"/>
                    <a:pt x="2397" y="13251"/>
                  </a:cubicBezTo>
                  <a:cubicBezTo>
                    <a:pt x="2397" y="13251"/>
                    <a:pt x="2397" y="13251"/>
                    <a:pt x="2564" y="13251"/>
                  </a:cubicBezTo>
                  <a:cubicBezTo>
                    <a:pt x="2564" y="13251"/>
                    <a:pt x="2564" y="13251"/>
                    <a:pt x="2773" y="13251"/>
                  </a:cubicBezTo>
                  <a:cubicBezTo>
                    <a:pt x="2773" y="13251"/>
                    <a:pt x="2773" y="13251"/>
                    <a:pt x="2983" y="13412"/>
                  </a:cubicBezTo>
                  <a:cubicBezTo>
                    <a:pt x="2983" y="13412"/>
                    <a:pt x="2983" y="13412"/>
                    <a:pt x="3066" y="13143"/>
                  </a:cubicBezTo>
                  <a:cubicBezTo>
                    <a:pt x="3066" y="13143"/>
                    <a:pt x="3066" y="13143"/>
                    <a:pt x="2941" y="12982"/>
                  </a:cubicBezTo>
                  <a:cubicBezTo>
                    <a:pt x="2941" y="12982"/>
                    <a:pt x="2941" y="12982"/>
                    <a:pt x="2899" y="12982"/>
                  </a:cubicBezTo>
                  <a:cubicBezTo>
                    <a:pt x="2899" y="12982"/>
                    <a:pt x="2899" y="12982"/>
                    <a:pt x="2690" y="12982"/>
                  </a:cubicBezTo>
                  <a:cubicBezTo>
                    <a:pt x="2690" y="12982"/>
                    <a:pt x="2690" y="12982"/>
                    <a:pt x="2564" y="12982"/>
                  </a:cubicBezTo>
                  <a:cubicBezTo>
                    <a:pt x="2564" y="12982"/>
                    <a:pt x="2564" y="12982"/>
                    <a:pt x="2313" y="12766"/>
                  </a:cubicBezTo>
                  <a:cubicBezTo>
                    <a:pt x="2313" y="12766"/>
                    <a:pt x="2313" y="12766"/>
                    <a:pt x="2229" y="12551"/>
                  </a:cubicBezTo>
                  <a:cubicBezTo>
                    <a:pt x="2229" y="12551"/>
                    <a:pt x="2229" y="12551"/>
                    <a:pt x="2146" y="12281"/>
                  </a:cubicBezTo>
                  <a:cubicBezTo>
                    <a:pt x="2146" y="12281"/>
                    <a:pt x="2146" y="12281"/>
                    <a:pt x="2062" y="12012"/>
                  </a:cubicBezTo>
                  <a:cubicBezTo>
                    <a:pt x="2062" y="12012"/>
                    <a:pt x="2062" y="12012"/>
                    <a:pt x="2062" y="11904"/>
                  </a:cubicBezTo>
                  <a:cubicBezTo>
                    <a:pt x="2062" y="11904"/>
                    <a:pt x="2062" y="11904"/>
                    <a:pt x="2146" y="11797"/>
                  </a:cubicBezTo>
                  <a:cubicBezTo>
                    <a:pt x="2146" y="11797"/>
                    <a:pt x="2146" y="11797"/>
                    <a:pt x="2271" y="11527"/>
                  </a:cubicBezTo>
                  <a:cubicBezTo>
                    <a:pt x="2271" y="11527"/>
                    <a:pt x="2271" y="11527"/>
                    <a:pt x="2480" y="11204"/>
                  </a:cubicBezTo>
                  <a:cubicBezTo>
                    <a:pt x="2480" y="11204"/>
                    <a:pt x="2480" y="11204"/>
                    <a:pt x="2731" y="10989"/>
                  </a:cubicBezTo>
                  <a:cubicBezTo>
                    <a:pt x="2731" y="10989"/>
                    <a:pt x="2731" y="10989"/>
                    <a:pt x="2899" y="10719"/>
                  </a:cubicBezTo>
                  <a:cubicBezTo>
                    <a:pt x="2899" y="10719"/>
                    <a:pt x="2899" y="10719"/>
                    <a:pt x="2941" y="10450"/>
                  </a:cubicBezTo>
                  <a:cubicBezTo>
                    <a:pt x="2941" y="10450"/>
                    <a:pt x="2941" y="10450"/>
                    <a:pt x="3150" y="10181"/>
                  </a:cubicBezTo>
                  <a:cubicBezTo>
                    <a:pt x="3150" y="10181"/>
                    <a:pt x="3150" y="10181"/>
                    <a:pt x="3317" y="10127"/>
                  </a:cubicBezTo>
                  <a:cubicBezTo>
                    <a:pt x="3317" y="10127"/>
                    <a:pt x="3317" y="10127"/>
                    <a:pt x="3443" y="10234"/>
                  </a:cubicBezTo>
                  <a:cubicBezTo>
                    <a:pt x="3443" y="10234"/>
                    <a:pt x="3443" y="10234"/>
                    <a:pt x="3568" y="10450"/>
                  </a:cubicBezTo>
                  <a:cubicBezTo>
                    <a:pt x="3568" y="10450"/>
                    <a:pt x="3568" y="10450"/>
                    <a:pt x="3652" y="10450"/>
                  </a:cubicBezTo>
                  <a:cubicBezTo>
                    <a:pt x="3652" y="10450"/>
                    <a:pt x="3652" y="10450"/>
                    <a:pt x="3819" y="10450"/>
                  </a:cubicBezTo>
                  <a:cubicBezTo>
                    <a:pt x="3819" y="10450"/>
                    <a:pt x="3819" y="10450"/>
                    <a:pt x="3903" y="10450"/>
                  </a:cubicBezTo>
                  <a:cubicBezTo>
                    <a:pt x="3903" y="10450"/>
                    <a:pt x="3903" y="10450"/>
                    <a:pt x="4028" y="10234"/>
                  </a:cubicBezTo>
                  <a:cubicBezTo>
                    <a:pt x="4028" y="10234"/>
                    <a:pt x="4028" y="10234"/>
                    <a:pt x="4154" y="10234"/>
                  </a:cubicBezTo>
                  <a:cubicBezTo>
                    <a:pt x="4154" y="10234"/>
                    <a:pt x="4154" y="10234"/>
                    <a:pt x="4196" y="10127"/>
                  </a:cubicBezTo>
                  <a:cubicBezTo>
                    <a:pt x="4196" y="10127"/>
                    <a:pt x="4196" y="10127"/>
                    <a:pt x="4280" y="9965"/>
                  </a:cubicBezTo>
                  <a:cubicBezTo>
                    <a:pt x="4280" y="9965"/>
                    <a:pt x="4280" y="9965"/>
                    <a:pt x="4321" y="10127"/>
                  </a:cubicBezTo>
                  <a:cubicBezTo>
                    <a:pt x="4321" y="10127"/>
                    <a:pt x="4321" y="10127"/>
                    <a:pt x="4447" y="10127"/>
                  </a:cubicBezTo>
                  <a:cubicBezTo>
                    <a:pt x="4447" y="10127"/>
                    <a:pt x="4447" y="10127"/>
                    <a:pt x="4531" y="10127"/>
                  </a:cubicBezTo>
                  <a:cubicBezTo>
                    <a:pt x="4531" y="10127"/>
                    <a:pt x="4531" y="10127"/>
                    <a:pt x="4698" y="10127"/>
                  </a:cubicBezTo>
                  <a:cubicBezTo>
                    <a:pt x="4698" y="10127"/>
                    <a:pt x="4698" y="10127"/>
                    <a:pt x="4823" y="9965"/>
                  </a:cubicBezTo>
                  <a:cubicBezTo>
                    <a:pt x="4823" y="9965"/>
                    <a:pt x="4823" y="9965"/>
                    <a:pt x="4949" y="9965"/>
                  </a:cubicBezTo>
                  <a:cubicBezTo>
                    <a:pt x="4949" y="9965"/>
                    <a:pt x="4949" y="9965"/>
                    <a:pt x="4991" y="9588"/>
                  </a:cubicBezTo>
                  <a:cubicBezTo>
                    <a:pt x="4991" y="9588"/>
                    <a:pt x="4991" y="9588"/>
                    <a:pt x="4907" y="9319"/>
                  </a:cubicBezTo>
                  <a:cubicBezTo>
                    <a:pt x="4907" y="9319"/>
                    <a:pt x="4907" y="9319"/>
                    <a:pt x="4823" y="8888"/>
                  </a:cubicBezTo>
                  <a:cubicBezTo>
                    <a:pt x="4823" y="8888"/>
                    <a:pt x="4823" y="8888"/>
                    <a:pt x="4991" y="8888"/>
                  </a:cubicBezTo>
                  <a:cubicBezTo>
                    <a:pt x="4991" y="8888"/>
                    <a:pt x="4991" y="8888"/>
                    <a:pt x="5158" y="8672"/>
                  </a:cubicBezTo>
                  <a:cubicBezTo>
                    <a:pt x="5158" y="8672"/>
                    <a:pt x="5158" y="8672"/>
                    <a:pt x="5116" y="8349"/>
                  </a:cubicBezTo>
                  <a:cubicBezTo>
                    <a:pt x="5116" y="8349"/>
                    <a:pt x="5116" y="8349"/>
                    <a:pt x="4865" y="8295"/>
                  </a:cubicBezTo>
                  <a:cubicBezTo>
                    <a:pt x="4865" y="8295"/>
                    <a:pt x="4865" y="8295"/>
                    <a:pt x="4740" y="8295"/>
                  </a:cubicBezTo>
                  <a:cubicBezTo>
                    <a:pt x="4740" y="8295"/>
                    <a:pt x="4740" y="8295"/>
                    <a:pt x="4614" y="8349"/>
                  </a:cubicBezTo>
                  <a:cubicBezTo>
                    <a:pt x="4614" y="8349"/>
                    <a:pt x="4614" y="8349"/>
                    <a:pt x="4489" y="8457"/>
                  </a:cubicBezTo>
                  <a:cubicBezTo>
                    <a:pt x="4489" y="8457"/>
                    <a:pt x="4489" y="8457"/>
                    <a:pt x="4405" y="8672"/>
                  </a:cubicBezTo>
                  <a:cubicBezTo>
                    <a:pt x="4405" y="8672"/>
                    <a:pt x="4405" y="8672"/>
                    <a:pt x="4280" y="8672"/>
                  </a:cubicBezTo>
                  <a:cubicBezTo>
                    <a:pt x="4280" y="8672"/>
                    <a:pt x="4280" y="8672"/>
                    <a:pt x="4154" y="8349"/>
                  </a:cubicBezTo>
                  <a:cubicBezTo>
                    <a:pt x="4154" y="8349"/>
                    <a:pt x="4154" y="8349"/>
                    <a:pt x="3819" y="8349"/>
                  </a:cubicBezTo>
                  <a:cubicBezTo>
                    <a:pt x="3819" y="8349"/>
                    <a:pt x="3819" y="8349"/>
                    <a:pt x="3443" y="8349"/>
                  </a:cubicBezTo>
                  <a:cubicBezTo>
                    <a:pt x="3443" y="8349"/>
                    <a:pt x="3443" y="8349"/>
                    <a:pt x="3150" y="8241"/>
                  </a:cubicBezTo>
                  <a:cubicBezTo>
                    <a:pt x="3150" y="8241"/>
                    <a:pt x="3150" y="8241"/>
                    <a:pt x="2857" y="8080"/>
                  </a:cubicBezTo>
                  <a:cubicBezTo>
                    <a:pt x="2857" y="8080"/>
                    <a:pt x="2857" y="8080"/>
                    <a:pt x="2690" y="7810"/>
                  </a:cubicBezTo>
                  <a:cubicBezTo>
                    <a:pt x="2690" y="7810"/>
                    <a:pt x="2690" y="7810"/>
                    <a:pt x="2648" y="7272"/>
                  </a:cubicBezTo>
                  <a:cubicBezTo>
                    <a:pt x="2648" y="7272"/>
                    <a:pt x="2648" y="7272"/>
                    <a:pt x="2857" y="7164"/>
                  </a:cubicBezTo>
                  <a:cubicBezTo>
                    <a:pt x="2857" y="7164"/>
                    <a:pt x="2857" y="7164"/>
                    <a:pt x="2983" y="7056"/>
                  </a:cubicBezTo>
                  <a:cubicBezTo>
                    <a:pt x="2983" y="7056"/>
                    <a:pt x="2983" y="7056"/>
                    <a:pt x="2690" y="6895"/>
                  </a:cubicBezTo>
                  <a:cubicBezTo>
                    <a:pt x="2690" y="6895"/>
                    <a:pt x="2690" y="6895"/>
                    <a:pt x="2522" y="6733"/>
                  </a:cubicBezTo>
                  <a:cubicBezTo>
                    <a:pt x="2522" y="6733"/>
                    <a:pt x="2522" y="6733"/>
                    <a:pt x="2313" y="6518"/>
                  </a:cubicBezTo>
                  <a:cubicBezTo>
                    <a:pt x="2313" y="6518"/>
                    <a:pt x="2313" y="6518"/>
                    <a:pt x="2271" y="6410"/>
                  </a:cubicBezTo>
                  <a:cubicBezTo>
                    <a:pt x="2271" y="6410"/>
                    <a:pt x="2271" y="6410"/>
                    <a:pt x="2439" y="6248"/>
                  </a:cubicBezTo>
                  <a:cubicBezTo>
                    <a:pt x="2439" y="6248"/>
                    <a:pt x="2439" y="6248"/>
                    <a:pt x="2564" y="6248"/>
                  </a:cubicBezTo>
                  <a:cubicBezTo>
                    <a:pt x="2564" y="6248"/>
                    <a:pt x="2564" y="6248"/>
                    <a:pt x="2815" y="6194"/>
                  </a:cubicBezTo>
                  <a:cubicBezTo>
                    <a:pt x="2815" y="6194"/>
                    <a:pt x="2815" y="6194"/>
                    <a:pt x="3150" y="5925"/>
                  </a:cubicBezTo>
                  <a:cubicBezTo>
                    <a:pt x="3150" y="5925"/>
                    <a:pt x="3150" y="5925"/>
                    <a:pt x="3192" y="6033"/>
                  </a:cubicBezTo>
                  <a:cubicBezTo>
                    <a:pt x="3192" y="6033"/>
                    <a:pt x="3192" y="6033"/>
                    <a:pt x="3401" y="5925"/>
                  </a:cubicBezTo>
                  <a:cubicBezTo>
                    <a:pt x="3401" y="5925"/>
                    <a:pt x="3401" y="5925"/>
                    <a:pt x="3401" y="5871"/>
                  </a:cubicBezTo>
                  <a:cubicBezTo>
                    <a:pt x="3401" y="5871"/>
                    <a:pt x="3401" y="5871"/>
                    <a:pt x="3526" y="5817"/>
                  </a:cubicBezTo>
                  <a:cubicBezTo>
                    <a:pt x="3526" y="5817"/>
                    <a:pt x="3526" y="5817"/>
                    <a:pt x="3777" y="5764"/>
                  </a:cubicBezTo>
                  <a:cubicBezTo>
                    <a:pt x="3777" y="5764"/>
                    <a:pt x="3777" y="5764"/>
                    <a:pt x="4070" y="5764"/>
                  </a:cubicBezTo>
                  <a:cubicBezTo>
                    <a:pt x="4070" y="5764"/>
                    <a:pt x="4070" y="5764"/>
                    <a:pt x="4196" y="5871"/>
                  </a:cubicBezTo>
                  <a:cubicBezTo>
                    <a:pt x="4196" y="5871"/>
                    <a:pt x="4196" y="5871"/>
                    <a:pt x="4112" y="6141"/>
                  </a:cubicBezTo>
                  <a:cubicBezTo>
                    <a:pt x="4112" y="6141"/>
                    <a:pt x="4112" y="6141"/>
                    <a:pt x="4112" y="6248"/>
                  </a:cubicBezTo>
                  <a:cubicBezTo>
                    <a:pt x="4112" y="6248"/>
                    <a:pt x="4112" y="6248"/>
                    <a:pt x="4238" y="6356"/>
                  </a:cubicBezTo>
                  <a:cubicBezTo>
                    <a:pt x="4238" y="6356"/>
                    <a:pt x="4238" y="6356"/>
                    <a:pt x="4363" y="6518"/>
                  </a:cubicBezTo>
                  <a:cubicBezTo>
                    <a:pt x="4363" y="6518"/>
                    <a:pt x="4363" y="6518"/>
                    <a:pt x="4614" y="6518"/>
                  </a:cubicBezTo>
                  <a:cubicBezTo>
                    <a:pt x="4614" y="6518"/>
                    <a:pt x="4614" y="6518"/>
                    <a:pt x="4949" y="6625"/>
                  </a:cubicBezTo>
                  <a:cubicBezTo>
                    <a:pt x="4949" y="6625"/>
                    <a:pt x="4949" y="6625"/>
                    <a:pt x="5200" y="6464"/>
                  </a:cubicBezTo>
                  <a:cubicBezTo>
                    <a:pt x="5200" y="6464"/>
                    <a:pt x="5200" y="6464"/>
                    <a:pt x="5367" y="6248"/>
                  </a:cubicBezTo>
                  <a:cubicBezTo>
                    <a:pt x="5367" y="6248"/>
                    <a:pt x="5367" y="6248"/>
                    <a:pt x="5577" y="6087"/>
                  </a:cubicBezTo>
                  <a:cubicBezTo>
                    <a:pt x="5577" y="6087"/>
                    <a:pt x="5409" y="5979"/>
                    <a:pt x="5367" y="5979"/>
                  </a:cubicBezTo>
                  <a:cubicBezTo>
                    <a:pt x="5284" y="5979"/>
                    <a:pt x="5200" y="5871"/>
                    <a:pt x="5200" y="5871"/>
                  </a:cubicBezTo>
                  <a:cubicBezTo>
                    <a:pt x="5200" y="5871"/>
                    <a:pt x="5200" y="5871"/>
                    <a:pt x="5074" y="5764"/>
                  </a:cubicBezTo>
                  <a:cubicBezTo>
                    <a:pt x="5074" y="5764"/>
                    <a:pt x="5074" y="5764"/>
                    <a:pt x="5074" y="5548"/>
                  </a:cubicBezTo>
                  <a:cubicBezTo>
                    <a:pt x="5074" y="5548"/>
                    <a:pt x="5074" y="5548"/>
                    <a:pt x="5033" y="5279"/>
                  </a:cubicBezTo>
                  <a:cubicBezTo>
                    <a:pt x="5033" y="5279"/>
                    <a:pt x="5033" y="5279"/>
                    <a:pt x="4405" y="5063"/>
                  </a:cubicBezTo>
                  <a:cubicBezTo>
                    <a:pt x="4405" y="5063"/>
                    <a:pt x="4405" y="5063"/>
                    <a:pt x="4405" y="4255"/>
                  </a:cubicBezTo>
                  <a:cubicBezTo>
                    <a:pt x="4405" y="4255"/>
                    <a:pt x="4405" y="4255"/>
                    <a:pt x="4112" y="3878"/>
                  </a:cubicBezTo>
                  <a:cubicBezTo>
                    <a:pt x="4112" y="3878"/>
                    <a:pt x="4112" y="3878"/>
                    <a:pt x="3526" y="3070"/>
                  </a:cubicBezTo>
                  <a:cubicBezTo>
                    <a:pt x="3526" y="3070"/>
                    <a:pt x="3526" y="3070"/>
                    <a:pt x="3610" y="3070"/>
                  </a:cubicBezTo>
                  <a:cubicBezTo>
                    <a:pt x="3610" y="3070"/>
                    <a:pt x="3610" y="3070"/>
                    <a:pt x="3610" y="2909"/>
                  </a:cubicBezTo>
                  <a:cubicBezTo>
                    <a:pt x="3610" y="2909"/>
                    <a:pt x="3610" y="2909"/>
                    <a:pt x="3819" y="2909"/>
                  </a:cubicBezTo>
                  <a:cubicBezTo>
                    <a:pt x="3819" y="2909"/>
                    <a:pt x="3819" y="2909"/>
                    <a:pt x="3819" y="2693"/>
                  </a:cubicBezTo>
                  <a:cubicBezTo>
                    <a:pt x="3819" y="2693"/>
                    <a:pt x="3819" y="2693"/>
                    <a:pt x="3861" y="2424"/>
                  </a:cubicBezTo>
                  <a:cubicBezTo>
                    <a:pt x="3861" y="2424"/>
                    <a:pt x="3861" y="2424"/>
                    <a:pt x="3987" y="2424"/>
                  </a:cubicBezTo>
                  <a:cubicBezTo>
                    <a:pt x="3987" y="2424"/>
                    <a:pt x="3987" y="2424"/>
                    <a:pt x="4112" y="2532"/>
                  </a:cubicBezTo>
                  <a:cubicBezTo>
                    <a:pt x="4112" y="2532"/>
                    <a:pt x="4112" y="2532"/>
                    <a:pt x="4321" y="2532"/>
                  </a:cubicBezTo>
                  <a:cubicBezTo>
                    <a:pt x="4321" y="2532"/>
                    <a:pt x="4321" y="2532"/>
                    <a:pt x="4405" y="2532"/>
                  </a:cubicBezTo>
                  <a:cubicBezTo>
                    <a:pt x="4405" y="2532"/>
                    <a:pt x="4405" y="2532"/>
                    <a:pt x="4614" y="2532"/>
                  </a:cubicBezTo>
                  <a:cubicBezTo>
                    <a:pt x="4614" y="2532"/>
                    <a:pt x="4614" y="2532"/>
                    <a:pt x="4991" y="2370"/>
                  </a:cubicBezTo>
                  <a:cubicBezTo>
                    <a:pt x="4991" y="2370"/>
                    <a:pt x="4991" y="2370"/>
                    <a:pt x="5116" y="2208"/>
                  </a:cubicBezTo>
                  <a:cubicBezTo>
                    <a:pt x="5116" y="2208"/>
                    <a:pt x="5116" y="2208"/>
                    <a:pt x="5242" y="1939"/>
                  </a:cubicBezTo>
                  <a:cubicBezTo>
                    <a:pt x="5242" y="1939"/>
                    <a:pt x="5242" y="1939"/>
                    <a:pt x="5242" y="1508"/>
                  </a:cubicBezTo>
                  <a:cubicBezTo>
                    <a:pt x="5242" y="1508"/>
                    <a:pt x="5242" y="1508"/>
                    <a:pt x="5367" y="1508"/>
                  </a:cubicBezTo>
                  <a:cubicBezTo>
                    <a:pt x="5367" y="1508"/>
                    <a:pt x="5367" y="1508"/>
                    <a:pt x="5493" y="1347"/>
                  </a:cubicBezTo>
                  <a:cubicBezTo>
                    <a:pt x="5493" y="1347"/>
                    <a:pt x="5493" y="1347"/>
                    <a:pt x="5744" y="1077"/>
                  </a:cubicBezTo>
                  <a:cubicBezTo>
                    <a:pt x="5744" y="1077"/>
                    <a:pt x="5744" y="1077"/>
                    <a:pt x="6204" y="970"/>
                  </a:cubicBezTo>
                  <a:cubicBezTo>
                    <a:pt x="6204" y="970"/>
                    <a:pt x="6204" y="970"/>
                    <a:pt x="6371" y="700"/>
                  </a:cubicBezTo>
                  <a:cubicBezTo>
                    <a:pt x="6371" y="700"/>
                    <a:pt x="6371" y="700"/>
                    <a:pt x="6539" y="593"/>
                  </a:cubicBezTo>
                  <a:cubicBezTo>
                    <a:pt x="6539" y="593"/>
                    <a:pt x="6539" y="593"/>
                    <a:pt x="6664" y="431"/>
                  </a:cubicBezTo>
                  <a:cubicBezTo>
                    <a:pt x="6664" y="431"/>
                    <a:pt x="6664" y="431"/>
                    <a:pt x="7334" y="485"/>
                  </a:cubicBezTo>
                  <a:cubicBezTo>
                    <a:pt x="7334" y="485"/>
                    <a:pt x="7334" y="485"/>
                    <a:pt x="7417" y="215"/>
                  </a:cubicBezTo>
                  <a:cubicBezTo>
                    <a:pt x="7417" y="215"/>
                    <a:pt x="7417" y="215"/>
                    <a:pt x="7752" y="0"/>
                  </a:cubicBez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 name="Shape 2330">
              <a:extLst>
                <a:ext uri="{FF2B5EF4-FFF2-40B4-BE49-F238E27FC236}">
                  <a16:creationId xmlns:a16="http://schemas.microsoft.com/office/drawing/2014/main" id="{432DB4C7-9563-2FF8-0C51-59BADF2D62AE}"/>
                </a:ext>
              </a:extLst>
            </p:cNvPr>
            <p:cNvSpPr/>
            <p:nvPr/>
          </p:nvSpPr>
          <p:spPr>
            <a:xfrm>
              <a:off x="2727152" y="5517142"/>
              <a:ext cx="1529909" cy="972267"/>
            </a:xfrm>
            <a:custGeom>
              <a:avLst/>
              <a:gdLst/>
              <a:ahLst/>
              <a:cxnLst>
                <a:cxn ang="0">
                  <a:pos x="wd2" y="hd2"/>
                </a:cxn>
                <a:cxn ang="5400000">
                  <a:pos x="wd2" y="hd2"/>
                </a:cxn>
                <a:cxn ang="10800000">
                  <a:pos x="wd2" y="hd2"/>
                </a:cxn>
                <a:cxn ang="16200000">
                  <a:pos x="wd2" y="hd2"/>
                </a:cxn>
              </a:cxnLst>
              <a:rect l="0" t="0" r="r" b="b"/>
              <a:pathLst>
                <a:path w="21600" h="21600" extrusionOk="0">
                  <a:moveTo>
                    <a:pt x="17176" y="12909"/>
                  </a:moveTo>
                  <a:cubicBezTo>
                    <a:pt x="17314" y="12909"/>
                    <a:pt x="17314" y="12909"/>
                    <a:pt x="17314" y="12909"/>
                  </a:cubicBezTo>
                  <a:cubicBezTo>
                    <a:pt x="17590" y="12909"/>
                    <a:pt x="17590" y="12909"/>
                    <a:pt x="17590" y="12909"/>
                  </a:cubicBezTo>
                  <a:cubicBezTo>
                    <a:pt x="18005" y="13338"/>
                    <a:pt x="18005" y="13338"/>
                    <a:pt x="18005" y="13338"/>
                  </a:cubicBezTo>
                  <a:cubicBezTo>
                    <a:pt x="18351" y="13875"/>
                    <a:pt x="18351" y="13875"/>
                    <a:pt x="18351" y="13875"/>
                  </a:cubicBezTo>
                  <a:cubicBezTo>
                    <a:pt x="18351" y="13875"/>
                    <a:pt x="18558" y="13982"/>
                    <a:pt x="18627" y="13982"/>
                  </a:cubicBezTo>
                  <a:cubicBezTo>
                    <a:pt x="18696" y="13982"/>
                    <a:pt x="18766" y="13982"/>
                    <a:pt x="18835" y="13982"/>
                  </a:cubicBezTo>
                  <a:cubicBezTo>
                    <a:pt x="18904" y="13982"/>
                    <a:pt x="19180" y="13982"/>
                    <a:pt x="19180" y="13982"/>
                  </a:cubicBezTo>
                  <a:cubicBezTo>
                    <a:pt x="19872" y="14411"/>
                    <a:pt x="19872" y="14411"/>
                    <a:pt x="19872" y="14411"/>
                  </a:cubicBezTo>
                  <a:cubicBezTo>
                    <a:pt x="20287" y="14948"/>
                    <a:pt x="20287" y="14948"/>
                    <a:pt x="20287" y="14948"/>
                  </a:cubicBezTo>
                  <a:cubicBezTo>
                    <a:pt x="20287" y="15377"/>
                    <a:pt x="20287" y="15377"/>
                    <a:pt x="20287" y="15377"/>
                  </a:cubicBezTo>
                  <a:cubicBezTo>
                    <a:pt x="20425" y="16342"/>
                    <a:pt x="20425" y="16342"/>
                    <a:pt x="20425" y="16342"/>
                  </a:cubicBezTo>
                  <a:cubicBezTo>
                    <a:pt x="20632" y="16342"/>
                    <a:pt x="20632" y="16342"/>
                    <a:pt x="20632" y="16342"/>
                  </a:cubicBezTo>
                  <a:cubicBezTo>
                    <a:pt x="20770" y="16342"/>
                    <a:pt x="20770" y="16342"/>
                    <a:pt x="20770" y="16342"/>
                  </a:cubicBezTo>
                  <a:cubicBezTo>
                    <a:pt x="20770" y="16986"/>
                    <a:pt x="20770" y="16986"/>
                    <a:pt x="20770" y="16986"/>
                  </a:cubicBezTo>
                  <a:cubicBezTo>
                    <a:pt x="20978" y="16986"/>
                    <a:pt x="20978" y="16986"/>
                    <a:pt x="20978" y="16986"/>
                  </a:cubicBezTo>
                  <a:cubicBezTo>
                    <a:pt x="21254" y="17415"/>
                    <a:pt x="21254" y="17415"/>
                    <a:pt x="21254" y="17415"/>
                  </a:cubicBezTo>
                  <a:cubicBezTo>
                    <a:pt x="21600" y="17415"/>
                    <a:pt x="21600" y="17415"/>
                    <a:pt x="21600" y="17415"/>
                  </a:cubicBezTo>
                  <a:cubicBezTo>
                    <a:pt x="21254" y="18166"/>
                    <a:pt x="21254" y="18166"/>
                    <a:pt x="21254" y="18166"/>
                  </a:cubicBezTo>
                  <a:cubicBezTo>
                    <a:pt x="20978" y="18381"/>
                    <a:pt x="20978" y="18381"/>
                    <a:pt x="20978" y="18381"/>
                  </a:cubicBezTo>
                  <a:cubicBezTo>
                    <a:pt x="20632" y="19347"/>
                    <a:pt x="20632" y="19347"/>
                    <a:pt x="20632" y="19347"/>
                  </a:cubicBezTo>
                  <a:cubicBezTo>
                    <a:pt x="20217" y="19561"/>
                    <a:pt x="20217" y="19561"/>
                    <a:pt x="20217" y="19561"/>
                  </a:cubicBezTo>
                  <a:cubicBezTo>
                    <a:pt x="19388" y="19561"/>
                    <a:pt x="19388" y="19561"/>
                    <a:pt x="19388" y="19561"/>
                  </a:cubicBezTo>
                  <a:cubicBezTo>
                    <a:pt x="19250" y="19883"/>
                    <a:pt x="19250" y="19883"/>
                    <a:pt x="19250" y="19883"/>
                  </a:cubicBezTo>
                  <a:cubicBezTo>
                    <a:pt x="18696" y="19883"/>
                    <a:pt x="18696" y="19883"/>
                    <a:pt x="18696" y="19883"/>
                  </a:cubicBezTo>
                  <a:cubicBezTo>
                    <a:pt x="18558" y="20634"/>
                    <a:pt x="18558" y="20634"/>
                    <a:pt x="18558" y="20634"/>
                  </a:cubicBezTo>
                  <a:cubicBezTo>
                    <a:pt x="18489" y="21171"/>
                    <a:pt x="18489" y="21171"/>
                    <a:pt x="18489" y="21171"/>
                  </a:cubicBezTo>
                  <a:cubicBezTo>
                    <a:pt x="18351" y="21385"/>
                    <a:pt x="18351" y="21385"/>
                    <a:pt x="18351" y="21385"/>
                  </a:cubicBezTo>
                  <a:cubicBezTo>
                    <a:pt x="18213" y="21600"/>
                    <a:pt x="18213" y="21600"/>
                    <a:pt x="18213" y="21600"/>
                  </a:cubicBezTo>
                  <a:cubicBezTo>
                    <a:pt x="18005" y="21600"/>
                    <a:pt x="18005" y="21600"/>
                    <a:pt x="18005" y="21600"/>
                  </a:cubicBezTo>
                  <a:cubicBezTo>
                    <a:pt x="17798" y="21064"/>
                    <a:pt x="17798" y="21064"/>
                    <a:pt x="17798" y="21064"/>
                  </a:cubicBezTo>
                  <a:cubicBezTo>
                    <a:pt x="17314" y="20742"/>
                    <a:pt x="17314" y="20742"/>
                    <a:pt x="17314" y="20742"/>
                  </a:cubicBezTo>
                  <a:cubicBezTo>
                    <a:pt x="17037" y="20312"/>
                    <a:pt x="17037" y="20312"/>
                    <a:pt x="17037" y="20312"/>
                  </a:cubicBezTo>
                  <a:cubicBezTo>
                    <a:pt x="17037" y="20098"/>
                    <a:pt x="17037" y="20098"/>
                    <a:pt x="17037" y="20098"/>
                  </a:cubicBezTo>
                  <a:cubicBezTo>
                    <a:pt x="17037" y="19776"/>
                    <a:pt x="17037" y="19776"/>
                    <a:pt x="17037" y="19776"/>
                  </a:cubicBezTo>
                  <a:cubicBezTo>
                    <a:pt x="17037" y="19347"/>
                    <a:pt x="17037" y="19347"/>
                    <a:pt x="17037" y="19347"/>
                  </a:cubicBezTo>
                  <a:cubicBezTo>
                    <a:pt x="17037" y="19132"/>
                    <a:pt x="17037" y="19132"/>
                    <a:pt x="17037" y="19132"/>
                  </a:cubicBezTo>
                  <a:cubicBezTo>
                    <a:pt x="17037" y="18274"/>
                    <a:pt x="17037" y="18274"/>
                    <a:pt x="17037" y="18274"/>
                  </a:cubicBezTo>
                  <a:cubicBezTo>
                    <a:pt x="17037" y="18059"/>
                    <a:pt x="17037" y="18059"/>
                    <a:pt x="17037" y="18059"/>
                  </a:cubicBezTo>
                  <a:cubicBezTo>
                    <a:pt x="17037" y="17523"/>
                    <a:pt x="17037" y="17523"/>
                    <a:pt x="17037" y="17523"/>
                  </a:cubicBezTo>
                  <a:cubicBezTo>
                    <a:pt x="16692" y="16772"/>
                    <a:pt x="16692" y="16772"/>
                    <a:pt x="16692" y="16772"/>
                  </a:cubicBezTo>
                  <a:cubicBezTo>
                    <a:pt x="16484" y="16450"/>
                    <a:pt x="16484" y="16450"/>
                    <a:pt x="16484" y="16450"/>
                  </a:cubicBezTo>
                  <a:cubicBezTo>
                    <a:pt x="16484" y="16128"/>
                    <a:pt x="16484" y="16128"/>
                    <a:pt x="16484" y="16128"/>
                  </a:cubicBezTo>
                  <a:cubicBezTo>
                    <a:pt x="16484" y="15913"/>
                    <a:pt x="16484" y="15913"/>
                    <a:pt x="16484" y="15913"/>
                  </a:cubicBezTo>
                  <a:cubicBezTo>
                    <a:pt x="16692" y="15484"/>
                    <a:pt x="16692" y="15484"/>
                    <a:pt x="16692" y="15484"/>
                  </a:cubicBezTo>
                  <a:cubicBezTo>
                    <a:pt x="17037" y="15377"/>
                    <a:pt x="17037" y="15377"/>
                    <a:pt x="17037" y="15377"/>
                  </a:cubicBezTo>
                  <a:cubicBezTo>
                    <a:pt x="17314" y="14948"/>
                    <a:pt x="17314" y="14948"/>
                    <a:pt x="17314" y="14948"/>
                  </a:cubicBezTo>
                  <a:lnTo>
                    <a:pt x="17314" y="14411"/>
                  </a:lnTo>
                  <a:cubicBezTo>
                    <a:pt x="17176" y="13445"/>
                    <a:pt x="17176" y="13445"/>
                    <a:pt x="17176" y="13445"/>
                  </a:cubicBezTo>
                  <a:cubicBezTo>
                    <a:pt x="17176" y="13231"/>
                    <a:pt x="17176" y="13231"/>
                    <a:pt x="17176" y="13231"/>
                  </a:cubicBezTo>
                  <a:cubicBezTo>
                    <a:pt x="17176" y="12909"/>
                    <a:pt x="17176" y="12909"/>
                    <a:pt x="17176" y="12909"/>
                  </a:cubicBezTo>
                  <a:close/>
                  <a:moveTo>
                    <a:pt x="12668" y="8435"/>
                  </a:moveTo>
                  <a:lnTo>
                    <a:pt x="13074" y="8435"/>
                  </a:lnTo>
                  <a:lnTo>
                    <a:pt x="13236" y="8691"/>
                  </a:lnTo>
                  <a:lnTo>
                    <a:pt x="13398" y="9075"/>
                  </a:lnTo>
                  <a:lnTo>
                    <a:pt x="13398" y="9458"/>
                  </a:lnTo>
                  <a:lnTo>
                    <a:pt x="13074" y="9714"/>
                  </a:lnTo>
                  <a:lnTo>
                    <a:pt x="12911" y="9458"/>
                  </a:lnTo>
                  <a:lnTo>
                    <a:pt x="12911" y="9075"/>
                  </a:lnTo>
                  <a:lnTo>
                    <a:pt x="12668" y="8819"/>
                  </a:lnTo>
                  <a:lnTo>
                    <a:pt x="12668" y="8691"/>
                  </a:lnTo>
                  <a:close/>
                  <a:moveTo>
                    <a:pt x="14211" y="7796"/>
                  </a:moveTo>
                  <a:lnTo>
                    <a:pt x="14454" y="7796"/>
                  </a:lnTo>
                  <a:lnTo>
                    <a:pt x="14860" y="8435"/>
                  </a:lnTo>
                  <a:lnTo>
                    <a:pt x="15185" y="8691"/>
                  </a:lnTo>
                  <a:lnTo>
                    <a:pt x="15185" y="8435"/>
                  </a:lnTo>
                  <a:lnTo>
                    <a:pt x="15835" y="8435"/>
                  </a:lnTo>
                  <a:lnTo>
                    <a:pt x="16159" y="8819"/>
                  </a:lnTo>
                  <a:lnTo>
                    <a:pt x="16728" y="9458"/>
                  </a:lnTo>
                  <a:lnTo>
                    <a:pt x="16728" y="10097"/>
                  </a:lnTo>
                  <a:lnTo>
                    <a:pt x="16484" y="10480"/>
                  </a:lnTo>
                  <a:lnTo>
                    <a:pt x="15997" y="10480"/>
                  </a:lnTo>
                  <a:lnTo>
                    <a:pt x="15997" y="10608"/>
                  </a:lnTo>
                  <a:lnTo>
                    <a:pt x="15104" y="10608"/>
                  </a:lnTo>
                  <a:lnTo>
                    <a:pt x="14941" y="10225"/>
                  </a:lnTo>
                  <a:lnTo>
                    <a:pt x="14860" y="9714"/>
                  </a:lnTo>
                  <a:lnTo>
                    <a:pt x="14941" y="9202"/>
                  </a:lnTo>
                  <a:lnTo>
                    <a:pt x="14535" y="9202"/>
                  </a:lnTo>
                  <a:lnTo>
                    <a:pt x="14211" y="9075"/>
                  </a:lnTo>
                  <a:lnTo>
                    <a:pt x="14211" y="8052"/>
                  </a:lnTo>
                  <a:close/>
                  <a:moveTo>
                    <a:pt x="11856" y="6774"/>
                  </a:moveTo>
                  <a:lnTo>
                    <a:pt x="12911" y="6774"/>
                  </a:lnTo>
                  <a:lnTo>
                    <a:pt x="12992" y="7285"/>
                  </a:lnTo>
                  <a:lnTo>
                    <a:pt x="13886" y="7285"/>
                  </a:lnTo>
                  <a:lnTo>
                    <a:pt x="13480" y="7669"/>
                  </a:lnTo>
                  <a:lnTo>
                    <a:pt x="13398" y="7797"/>
                  </a:lnTo>
                  <a:lnTo>
                    <a:pt x="13398" y="7541"/>
                  </a:lnTo>
                  <a:lnTo>
                    <a:pt x="12180" y="7541"/>
                  </a:lnTo>
                  <a:lnTo>
                    <a:pt x="11856" y="7413"/>
                  </a:lnTo>
                  <a:lnTo>
                    <a:pt x="11856" y="7030"/>
                  </a:lnTo>
                  <a:close/>
                  <a:moveTo>
                    <a:pt x="8608" y="3707"/>
                  </a:moveTo>
                  <a:lnTo>
                    <a:pt x="9095" y="3707"/>
                  </a:lnTo>
                  <a:lnTo>
                    <a:pt x="9257" y="3834"/>
                  </a:lnTo>
                  <a:lnTo>
                    <a:pt x="9338" y="4090"/>
                  </a:lnTo>
                  <a:lnTo>
                    <a:pt x="9582" y="4729"/>
                  </a:lnTo>
                  <a:lnTo>
                    <a:pt x="9826" y="4729"/>
                  </a:lnTo>
                  <a:lnTo>
                    <a:pt x="9988" y="5368"/>
                  </a:lnTo>
                  <a:lnTo>
                    <a:pt x="9988" y="6263"/>
                  </a:lnTo>
                  <a:lnTo>
                    <a:pt x="9744" y="6263"/>
                  </a:lnTo>
                  <a:lnTo>
                    <a:pt x="9501" y="5879"/>
                  </a:lnTo>
                  <a:lnTo>
                    <a:pt x="9338" y="5624"/>
                  </a:lnTo>
                  <a:lnTo>
                    <a:pt x="8932" y="5879"/>
                  </a:lnTo>
                  <a:lnTo>
                    <a:pt x="8608" y="6007"/>
                  </a:lnTo>
                  <a:lnTo>
                    <a:pt x="8364" y="5751"/>
                  </a:lnTo>
                  <a:lnTo>
                    <a:pt x="8202" y="5368"/>
                  </a:lnTo>
                  <a:lnTo>
                    <a:pt x="7795" y="4985"/>
                  </a:lnTo>
                  <a:lnTo>
                    <a:pt x="7795" y="4090"/>
                  </a:lnTo>
                  <a:lnTo>
                    <a:pt x="8283" y="4090"/>
                  </a:lnTo>
                  <a:lnTo>
                    <a:pt x="8283" y="3834"/>
                  </a:lnTo>
                  <a:close/>
                  <a:moveTo>
                    <a:pt x="568" y="1150"/>
                  </a:moveTo>
                  <a:lnTo>
                    <a:pt x="568" y="1789"/>
                  </a:lnTo>
                  <a:lnTo>
                    <a:pt x="406" y="2045"/>
                  </a:lnTo>
                  <a:lnTo>
                    <a:pt x="325" y="2301"/>
                  </a:lnTo>
                  <a:lnTo>
                    <a:pt x="325" y="2812"/>
                  </a:lnTo>
                  <a:lnTo>
                    <a:pt x="0" y="2556"/>
                  </a:lnTo>
                  <a:lnTo>
                    <a:pt x="0" y="2045"/>
                  </a:lnTo>
                  <a:lnTo>
                    <a:pt x="325" y="1534"/>
                  </a:lnTo>
                  <a:close/>
                  <a:moveTo>
                    <a:pt x="2680" y="0"/>
                  </a:moveTo>
                  <a:lnTo>
                    <a:pt x="3817" y="0"/>
                  </a:lnTo>
                  <a:lnTo>
                    <a:pt x="4060" y="639"/>
                  </a:lnTo>
                  <a:lnTo>
                    <a:pt x="4060" y="1150"/>
                  </a:lnTo>
                  <a:lnTo>
                    <a:pt x="3979" y="1534"/>
                  </a:lnTo>
                  <a:lnTo>
                    <a:pt x="3979" y="1662"/>
                  </a:lnTo>
                  <a:lnTo>
                    <a:pt x="3735" y="2045"/>
                  </a:lnTo>
                  <a:lnTo>
                    <a:pt x="3167" y="2045"/>
                  </a:lnTo>
                  <a:lnTo>
                    <a:pt x="2761" y="1662"/>
                  </a:lnTo>
                  <a:lnTo>
                    <a:pt x="2680" y="1662"/>
                  </a:lnTo>
                  <a:lnTo>
                    <a:pt x="2274" y="1150"/>
                  </a:lnTo>
                  <a:lnTo>
                    <a:pt x="2274" y="256"/>
                  </a:lnTo>
                  <a:close/>
                </a:path>
              </a:pathLst>
            </a:custGeom>
            <a:grpFill/>
            <a:ln w="6350" cap="flat">
              <a:solidFill>
                <a:schemeClr val="bg2"/>
              </a:solidFill>
              <a:prstDash val="solid"/>
              <a:miter lim="800000"/>
            </a:ln>
            <a:effectLst/>
          </p:spPr>
          <p:txBody>
            <a:bodyPr lIns="22860" tIns="22860" rIns="22860" bIns="22860"/>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grpSp>
      <p:sp>
        <p:nvSpPr>
          <p:cNvPr id="57" name="Title 56">
            <a:extLst>
              <a:ext uri="{FF2B5EF4-FFF2-40B4-BE49-F238E27FC236}">
                <a16:creationId xmlns:a16="http://schemas.microsoft.com/office/drawing/2014/main" id="{68EED161-F512-96A5-A4E0-594CF959830C}"/>
              </a:ext>
            </a:extLst>
          </p:cNvPr>
          <p:cNvSpPr>
            <a:spLocks noGrp="1"/>
          </p:cNvSpPr>
          <p:nvPr>
            <p:ph type="title" hasCustomPrompt="1"/>
          </p:nvPr>
        </p:nvSpPr>
        <p:spPr/>
        <p:txBody>
          <a:bodyPr/>
          <a:lstStyle/>
          <a:p>
            <a:r>
              <a:rPr lang="en-US"/>
              <a:t>Map of US</a:t>
            </a:r>
          </a:p>
        </p:txBody>
      </p:sp>
      <p:sp>
        <p:nvSpPr>
          <p:cNvPr id="61" name="Inhaltsplatzhalter 18">
            <a:extLst>
              <a:ext uri="{FF2B5EF4-FFF2-40B4-BE49-F238E27FC236}">
                <a16:creationId xmlns:a16="http://schemas.microsoft.com/office/drawing/2014/main" id="{85E84289-A74B-96DE-D95B-BCA1E04329F4}"/>
              </a:ext>
            </a:extLst>
          </p:cNvPr>
          <p:cNvSpPr>
            <a:spLocks noGrp="1"/>
          </p:cNvSpPr>
          <p:nvPr>
            <p:ph sz="quarter" idx="13" hasCustomPrompt="1"/>
          </p:nvPr>
        </p:nvSpPr>
        <p:spPr>
          <a:xfrm>
            <a:off x="442913" y="897608"/>
            <a:ext cx="3833417"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pic>
        <p:nvPicPr>
          <p:cNvPr id="56" name="Picture 5">
            <a:extLst>
              <a:ext uri="{FF2B5EF4-FFF2-40B4-BE49-F238E27FC236}">
                <a16:creationId xmlns:a16="http://schemas.microsoft.com/office/drawing/2014/main" id="{EEA7FB77-99C5-0230-7F41-B25AEE084B8C}"/>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405043114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ap of U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7" name="Text Placeholder 10">
            <a:extLst>
              <a:ext uri="{FF2B5EF4-FFF2-40B4-BE49-F238E27FC236}">
                <a16:creationId xmlns:a16="http://schemas.microsoft.com/office/drawing/2014/main" id="{07EE2AF5-29C5-B465-E411-00CDA15D3BBF}"/>
              </a:ext>
            </a:extLst>
          </p:cNvPr>
          <p:cNvSpPr>
            <a:spLocks noGrp="1"/>
          </p:cNvSpPr>
          <p:nvPr>
            <p:ph type="body" sz="quarter" idx="17" hasCustomPrompt="1"/>
          </p:nvPr>
        </p:nvSpPr>
        <p:spPr>
          <a:xfrm>
            <a:off x="469362" y="2491705"/>
            <a:ext cx="3794824" cy="276999"/>
          </a:xfrm>
        </p:spPr>
        <p:txBody>
          <a:bodyPr/>
          <a:lstStyle>
            <a:lvl1pPr algn="l">
              <a:defRPr sz="1800" b="1"/>
            </a:lvl1pPr>
          </a:lstStyle>
          <a:p>
            <a:r>
              <a:rPr lang="en-US"/>
              <a:t>Subtitle Here</a:t>
            </a:r>
          </a:p>
        </p:txBody>
      </p:sp>
      <p:sp>
        <p:nvSpPr>
          <p:cNvPr id="449" name="Text Placeholder 10">
            <a:extLst>
              <a:ext uri="{FF2B5EF4-FFF2-40B4-BE49-F238E27FC236}">
                <a16:creationId xmlns:a16="http://schemas.microsoft.com/office/drawing/2014/main" id="{068F4535-A7FF-0DA7-2180-6FF07B287019}"/>
              </a:ext>
            </a:extLst>
          </p:cNvPr>
          <p:cNvSpPr>
            <a:spLocks noGrp="1"/>
          </p:cNvSpPr>
          <p:nvPr>
            <p:ph type="body" sz="quarter" idx="19" hasCustomPrompt="1"/>
          </p:nvPr>
        </p:nvSpPr>
        <p:spPr>
          <a:xfrm>
            <a:off x="469362" y="4454745"/>
            <a:ext cx="3794824" cy="276999"/>
          </a:xfrm>
        </p:spPr>
        <p:txBody>
          <a:bodyPr/>
          <a:lstStyle>
            <a:lvl1pPr algn="l">
              <a:defRPr sz="1800" b="1"/>
            </a:lvl1pPr>
          </a:lstStyle>
          <a:p>
            <a:r>
              <a:rPr lang="en-US"/>
              <a:t>Subtitle Here</a:t>
            </a:r>
          </a:p>
        </p:txBody>
      </p:sp>
      <p:grpSp>
        <p:nvGrpSpPr>
          <p:cNvPr id="3" name="Group 2535">
            <a:extLst>
              <a:ext uri="{FF2B5EF4-FFF2-40B4-BE49-F238E27FC236}">
                <a16:creationId xmlns:a16="http://schemas.microsoft.com/office/drawing/2014/main" id="{5452B9B5-8613-F22E-D9DA-C535E94C1810}"/>
              </a:ext>
            </a:extLst>
          </p:cNvPr>
          <p:cNvGrpSpPr/>
          <p:nvPr userDrawn="1"/>
        </p:nvGrpSpPr>
        <p:grpSpPr>
          <a:xfrm>
            <a:off x="6609821" y="210618"/>
            <a:ext cx="3791639" cy="6297616"/>
            <a:chOff x="0" y="0"/>
            <a:chExt cx="5265227" cy="8745130"/>
          </a:xfrm>
          <a:solidFill>
            <a:schemeClr val="accent5"/>
          </a:solidFill>
        </p:grpSpPr>
        <p:sp>
          <p:nvSpPr>
            <p:cNvPr id="56" name="Shape 2337">
              <a:extLst>
                <a:ext uri="{FF2B5EF4-FFF2-40B4-BE49-F238E27FC236}">
                  <a16:creationId xmlns:a16="http://schemas.microsoft.com/office/drawing/2014/main" id="{00A6B9E5-8777-4A54-A3BB-51AEB4F04839}"/>
                </a:ext>
              </a:extLst>
            </p:cNvPr>
            <p:cNvSpPr/>
            <p:nvPr/>
          </p:nvSpPr>
          <p:spPr>
            <a:xfrm>
              <a:off x="3105453" y="2167499"/>
              <a:ext cx="141204" cy="156555"/>
            </a:xfrm>
            <a:custGeom>
              <a:avLst/>
              <a:gdLst/>
              <a:ahLst/>
              <a:cxnLst>
                <a:cxn ang="0">
                  <a:pos x="wd2" y="hd2"/>
                </a:cxn>
                <a:cxn ang="5400000">
                  <a:pos x="wd2" y="hd2"/>
                </a:cxn>
                <a:cxn ang="10800000">
                  <a:pos x="wd2" y="hd2"/>
                </a:cxn>
                <a:cxn ang="16200000">
                  <a:pos x="wd2" y="hd2"/>
                </a:cxn>
              </a:cxnLst>
              <a:rect l="0" t="0" r="r" b="b"/>
              <a:pathLst>
                <a:path w="20361" h="20913" extrusionOk="0">
                  <a:moveTo>
                    <a:pt x="19239" y="18451"/>
                  </a:moveTo>
                  <a:lnTo>
                    <a:pt x="19239" y="18136"/>
                  </a:lnTo>
                  <a:cubicBezTo>
                    <a:pt x="21141" y="13331"/>
                    <a:pt x="18508" y="14679"/>
                    <a:pt x="18508" y="11266"/>
                  </a:cubicBezTo>
                  <a:cubicBezTo>
                    <a:pt x="18508" y="8167"/>
                    <a:pt x="19239" y="4754"/>
                    <a:pt x="20361" y="1656"/>
                  </a:cubicBezTo>
                  <a:cubicBezTo>
                    <a:pt x="19239" y="1341"/>
                    <a:pt x="18508" y="982"/>
                    <a:pt x="17387" y="1341"/>
                  </a:cubicBezTo>
                  <a:cubicBezTo>
                    <a:pt x="16265" y="1341"/>
                    <a:pt x="15534" y="3362"/>
                    <a:pt x="14071" y="3362"/>
                  </a:cubicBezTo>
                  <a:cubicBezTo>
                    <a:pt x="12560" y="3048"/>
                    <a:pt x="12169" y="1341"/>
                    <a:pt x="11097" y="623"/>
                  </a:cubicBezTo>
                  <a:cubicBezTo>
                    <a:pt x="9585" y="309"/>
                    <a:pt x="8074" y="-410"/>
                    <a:pt x="6952" y="309"/>
                  </a:cubicBezTo>
                  <a:cubicBezTo>
                    <a:pt x="5880" y="982"/>
                    <a:pt x="4758" y="2689"/>
                    <a:pt x="5099" y="4395"/>
                  </a:cubicBezTo>
                  <a:cubicBezTo>
                    <a:pt x="5490" y="6461"/>
                    <a:pt x="8074" y="7853"/>
                    <a:pt x="8464" y="9874"/>
                  </a:cubicBezTo>
                  <a:cubicBezTo>
                    <a:pt x="8464" y="11266"/>
                    <a:pt x="8074" y="12658"/>
                    <a:pt x="6952" y="13331"/>
                  </a:cubicBezTo>
                  <a:cubicBezTo>
                    <a:pt x="5099" y="14005"/>
                    <a:pt x="2857" y="11939"/>
                    <a:pt x="1394" y="12972"/>
                  </a:cubicBezTo>
                  <a:cubicBezTo>
                    <a:pt x="-118" y="14364"/>
                    <a:pt x="-459" y="17104"/>
                    <a:pt x="662" y="18451"/>
                  </a:cubicBezTo>
                  <a:cubicBezTo>
                    <a:pt x="1735" y="19843"/>
                    <a:pt x="4368" y="17104"/>
                    <a:pt x="6221" y="18136"/>
                  </a:cubicBezTo>
                  <a:cubicBezTo>
                    <a:pt x="6952" y="18451"/>
                    <a:pt x="4758" y="19843"/>
                    <a:pt x="5490" y="20516"/>
                  </a:cubicBezTo>
                  <a:cubicBezTo>
                    <a:pt x="5880" y="21190"/>
                    <a:pt x="6952" y="20876"/>
                    <a:pt x="7732" y="20516"/>
                  </a:cubicBezTo>
                  <a:cubicBezTo>
                    <a:pt x="8854" y="20157"/>
                    <a:pt x="9585" y="19169"/>
                    <a:pt x="10707" y="18451"/>
                  </a:cubicBezTo>
                  <a:cubicBezTo>
                    <a:pt x="12950" y="17418"/>
                    <a:pt x="14802" y="15397"/>
                    <a:pt x="17387" y="15711"/>
                  </a:cubicBezTo>
                  <a:cubicBezTo>
                    <a:pt x="18898" y="15711"/>
                    <a:pt x="18508" y="17418"/>
                    <a:pt x="19239" y="1845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 name="Shape 2338">
              <a:extLst>
                <a:ext uri="{FF2B5EF4-FFF2-40B4-BE49-F238E27FC236}">
                  <a16:creationId xmlns:a16="http://schemas.microsoft.com/office/drawing/2014/main" id="{4F644BAE-EB58-FB71-A1BE-F93D58F93759}"/>
                </a:ext>
              </a:extLst>
            </p:cNvPr>
            <p:cNvSpPr/>
            <p:nvPr/>
          </p:nvSpPr>
          <p:spPr>
            <a:xfrm>
              <a:off x="2733625" y="5677213"/>
              <a:ext cx="108690" cy="140874"/>
            </a:xfrm>
            <a:custGeom>
              <a:avLst/>
              <a:gdLst/>
              <a:ahLst/>
              <a:cxnLst>
                <a:cxn ang="0">
                  <a:pos x="wd2" y="hd2"/>
                </a:cxn>
                <a:cxn ang="5400000">
                  <a:pos x="wd2" y="hd2"/>
                </a:cxn>
                <a:cxn ang="10800000">
                  <a:pos x="wd2" y="hd2"/>
                </a:cxn>
                <a:cxn ang="16200000">
                  <a:pos x="wd2" y="hd2"/>
                </a:cxn>
              </a:cxnLst>
              <a:rect l="0" t="0" r="r" b="b"/>
              <a:pathLst>
                <a:path w="21122" h="21151" extrusionOk="0">
                  <a:moveTo>
                    <a:pt x="20090" y="21151"/>
                  </a:moveTo>
                  <a:cubicBezTo>
                    <a:pt x="20615" y="18072"/>
                    <a:pt x="20615" y="18072"/>
                    <a:pt x="20615" y="18072"/>
                  </a:cubicBezTo>
                  <a:cubicBezTo>
                    <a:pt x="19565" y="16508"/>
                    <a:pt x="17070" y="15347"/>
                    <a:pt x="17070" y="13430"/>
                  </a:cubicBezTo>
                  <a:cubicBezTo>
                    <a:pt x="17595" y="12269"/>
                    <a:pt x="21600" y="13076"/>
                    <a:pt x="21075" y="11915"/>
                  </a:cubicBezTo>
                  <a:cubicBezTo>
                    <a:pt x="20615" y="9998"/>
                    <a:pt x="16545" y="9998"/>
                    <a:pt x="15100" y="8433"/>
                  </a:cubicBezTo>
                  <a:cubicBezTo>
                    <a:pt x="14575" y="7676"/>
                    <a:pt x="17070" y="7272"/>
                    <a:pt x="17070" y="6515"/>
                  </a:cubicBezTo>
                  <a:cubicBezTo>
                    <a:pt x="17070" y="4951"/>
                    <a:pt x="16085" y="3437"/>
                    <a:pt x="15100" y="2276"/>
                  </a:cubicBezTo>
                  <a:cubicBezTo>
                    <a:pt x="14050" y="1469"/>
                    <a:pt x="12540" y="1115"/>
                    <a:pt x="11095" y="358"/>
                  </a:cubicBezTo>
                  <a:cubicBezTo>
                    <a:pt x="9585" y="358"/>
                    <a:pt x="7550" y="-449"/>
                    <a:pt x="6565" y="358"/>
                  </a:cubicBezTo>
                  <a:cubicBezTo>
                    <a:pt x="5055" y="1469"/>
                    <a:pt x="7025" y="3790"/>
                    <a:pt x="6040" y="4951"/>
                  </a:cubicBezTo>
                  <a:cubicBezTo>
                    <a:pt x="5055" y="6112"/>
                    <a:pt x="1510" y="5758"/>
                    <a:pt x="0" y="6112"/>
                  </a:cubicBezTo>
                  <a:cubicBezTo>
                    <a:pt x="1050" y="8837"/>
                    <a:pt x="2560" y="11915"/>
                    <a:pt x="4530" y="14237"/>
                  </a:cubicBezTo>
                  <a:cubicBezTo>
                    <a:pt x="8535" y="18476"/>
                    <a:pt x="14050" y="21151"/>
                    <a:pt x="20090" y="2115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8" name="Shape 2339">
              <a:extLst>
                <a:ext uri="{FF2B5EF4-FFF2-40B4-BE49-F238E27FC236}">
                  <a16:creationId xmlns:a16="http://schemas.microsoft.com/office/drawing/2014/main" id="{5C73F510-027E-F136-388B-1C392629B005}"/>
                </a:ext>
              </a:extLst>
            </p:cNvPr>
            <p:cNvSpPr/>
            <p:nvPr/>
          </p:nvSpPr>
          <p:spPr>
            <a:xfrm>
              <a:off x="2836191" y="5745814"/>
              <a:ext cx="123042" cy="82679"/>
            </a:xfrm>
            <a:custGeom>
              <a:avLst/>
              <a:gdLst/>
              <a:ahLst/>
              <a:cxnLst>
                <a:cxn ang="0">
                  <a:pos x="wd2" y="hd2"/>
                </a:cxn>
                <a:cxn ang="5400000">
                  <a:pos x="wd2" y="hd2"/>
                </a:cxn>
                <a:cxn ang="10800000">
                  <a:pos x="wd2" y="hd2"/>
                </a:cxn>
                <a:cxn ang="16200000">
                  <a:pos x="wd2" y="hd2"/>
                </a:cxn>
              </a:cxnLst>
              <a:rect l="0" t="0" r="r" b="b"/>
              <a:pathLst>
                <a:path w="21600" h="21160" extrusionOk="0">
                  <a:moveTo>
                    <a:pt x="0" y="18503"/>
                  </a:moveTo>
                  <a:cubicBezTo>
                    <a:pt x="471" y="13274"/>
                    <a:pt x="471" y="13274"/>
                    <a:pt x="471" y="13274"/>
                  </a:cubicBezTo>
                  <a:cubicBezTo>
                    <a:pt x="1766" y="11989"/>
                    <a:pt x="3119" y="11303"/>
                    <a:pt x="4473" y="9331"/>
                  </a:cubicBezTo>
                  <a:cubicBezTo>
                    <a:pt x="4944" y="8646"/>
                    <a:pt x="4473" y="6760"/>
                    <a:pt x="4944" y="5389"/>
                  </a:cubicBezTo>
                  <a:cubicBezTo>
                    <a:pt x="5415" y="4789"/>
                    <a:pt x="6768" y="6074"/>
                    <a:pt x="7180" y="5389"/>
                  </a:cubicBezTo>
                  <a:cubicBezTo>
                    <a:pt x="8122" y="4103"/>
                    <a:pt x="7651" y="2131"/>
                    <a:pt x="7651" y="846"/>
                  </a:cubicBezTo>
                  <a:cubicBezTo>
                    <a:pt x="9005" y="846"/>
                    <a:pt x="9888" y="-440"/>
                    <a:pt x="10771" y="160"/>
                  </a:cubicBezTo>
                  <a:cubicBezTo>
                    <a:pt x="11712" y="846"/>
                    <a:pt x="12124" y="2817"/>
                    <a:pt x="12595" y="4103"/>
                  </a:cubicBezTo>
                  <a:cubicBezTo>
                    <a:pt x="13007" y="6074"/>
                    <a:pt x="11712" y="9331"/>
                    <a:pt x="13007" y="10617"/>
                  </a:cubicBezTo>
                  <a:cubicBezTo>
                    <a:pt x="14832" y="11989"/>
                    <a:pt x="16597" y="8046"/>
                    <a:pt x="18422" y="8646"/>
                  </a:cubicBezTo>
                  <a:cubicBezTo>
                    <a:pt x="19305" y="9331"/>
                    <a:pt x="17539" y="11303"/>
                    <a:pt x="17539" y="11989"/>
                  </a:cubicBezTo>
                  <a:cubicBezTo>
                    <a:pt x="17951" y="13274"/>
                    <a:pt x="19305" y="11989"/>
                    <a:pt x="19775" y="13274"/>
                  </a:cubicBezTo>
                  <a:cubicBezTo>
                    <a:pt x="20246" y="13274"/>
                    <a:pt x="19305" y="14560"/>
                    <a:pt x="19775" y="15246"/>
                  </a:cubicBezTo>
                  <a:cubicBezTo>
                    <a:pt x="20246" y="16531"/>
                    <a:pt x="20658" y="17217"/>
                    <a:pt x="21600" y="18503"/>
                  </a:cubicBezTo>
                  <a:cubicBezTo>
                    <a:pt x="20246" y="19189"/>
                    <a:pt x="18893" y="20474"/>
                    <a:pt x="17539" y="20474"/>
                  </a:cubicBezTo>
                  <a:cubicBezTo>
                    <a:pt x="16185" y="21160"/>
                    <a:pt x="14832" y="21160"/>
                    <a:pt x="13478" y="21160"/>
                  </a:cubicBezTo>
                  <a:cubicBezTo>
                    <a:pt x="12124" y="21160"/>
                    <a:pt x="10771" y="21160"/>
                    <a:pt x="9417" y="20474"/>
                  </a:cubicBezTo>
                  <a:cubicBezTo>
                    <a:pt x="8122" y="20474"/>
                    <a:pt x="8122" y="19789"/>
                    <a:pt x="7180" y="19189"/>
                  </a:cubicBezTo>
                  <a:cubicBezTo>
                    <a:pt x="8122" y="17217"/>
                    <a:pt x="8122" y="15246"/>
                    <a:pt x="7651" y="13960"/>
                  </a:cubicBezTo>
                  <a:cubicBezTo>
                    <a:pt x="4944" y="17217"/>
                    <a:pt x="2237" y="18503"/>
                    <a:pt x="0" y="1850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9" name="Shape 2340">
              <a:extLst>
                <a:ext uri="{FF2B5EF4-FFF2-40B4-BE49-F238E27FC236}">
                  <a16:creationId xmlns:a16="http://schemas.microsoft.com/office/drawing/2014/main" id="{6000C2A0-BB86-F6C7-CB52-1C5AFEE3AC18}"/>
                </a:ext>
              </a:extLst>
            </p:cNvPr>
            <p:cNvSpPr/>
            <p:nvPr/>
          </p:nvSpPr>
          <p:spPr>
            <a:xfrm>
              <a:off x="2790111" y="5653414"/>
              <a:ext cx="91273" cy="143861"/>
            </a:xfrm>
            <a:custGeom>
              <a:avLst/>
              <a:gdLst/>
              <a:ahLst/>
              <a:cxnLst>
                <a:cxn ang="0">
                  <a:pos x="wd2" y="hd2"/>
                </a:cxn>
                <a:cxn ang="5400000">
                  <a:pos x="wd2" y="hd2"/>
                </a:cxn>
                <a:cxn ang="10800000">
                  <a:pos x="wd2" y="hd2"/>
                </a:cxn>
                <a:cxn ang="16200000">
                  <a:pos x="wd2" y="hd2"/>
                </a:cxn>
              </a:cxnLst>
              <a:rect l="0" t="0" r="r" b="b"/>
              <a:pathLst>
                <a:path w="21129" h="21600" extrusionOk="0">
                  <a:moveTo>
                    <a:pt x="0" y="3886"/>
                  </a:moveTo>
                  <a:cubicBezTo>
                    <a:pt x="1728" y="4643"/>
                    <a:pt x="3535" y="4996"/>
                    <a:pt x="4791" y="5804"/>
                  </a:cubicBezTo>
                  <a:cubicBezTo>
                    <a:pt x="5969" y="6964"/>
                    <a:pt x="7148" y="8479"/>
                    <a:pt x="7148" y="10043"/>
                  </a:cubicBezTo>
                  <a:cubicBezTo>
                    <a:pt x="7148" y="10800"/>
                    <a:pt x="4163" y="11204"/>
                    <a:pt x="4791" y="11961"/>
                  </a:cubicBezTo>
                  <a:cubicBezTo>
                    <a:pt x="6519" y="13525"/>
                    <a:pt x="11389" y="13525"/>
                    <a:pt x="11939" y="15443"/>
                  </a:cubicBezTo>
                  <a:cubicBezTo>
                    <a:pt x="12567" y="16604"/>
                    <a:pt x="7776" y="15796"/>
                    <a:pt x="7148" y="16957"/>
                  </a:cubicBezTo>
                  <a:cubicBezTo>
                    <a:pt x="7148" y="18875"/>
                    <a:pt x="10132" y="20036"/>
                    <a:pt x="11389" y="21600"/>
                  </a:cubicBezTo>
                  <a:cubicBezTo>
                    <a:pt x="13117" y="20843"/>
                    <a:pt x="14924" y="20439"/>
                    <a:pt x="16730" y="19279"/>
                  </a:cubicBezTo>
                  <a:cubicBezTo>
                    <a:pt x="17359" y="18875"/>
                    <a:pt x="16730" y="17764"/>
                    <a:pt x="17359" y="16957"/>
                  </a:cubicBezTo>
                  <a:cubicBezTo>
                    <a:pt x="17987" y="16604"/>
                    <a:pt x="19793" y="17361"/>
                    <a:pt x="20343" y="16957"/>
                  </a:cubicBezTo>
                  <a:cubicBezTo>
                    <a:pt x="21600" y="16200"/>
                    <a:pt x="20972" y="15039"/>
                    <a:pt x="20972" y="14282"/>
                  </a:cubicBezTo>
                  <a:cubicBezTo>
                    <a:pt x="20343" y="13879"/>
                    <a:pt x="19165" y="13525"/>
                    <a:pt x="18537" y="13121"/>
                  </a:cubicBezTo>
                  <a:cubicBezTo>
                    <a:pt x="17359" y="12718"/>
                    <a:pt x="17359" y="11961"/>
                    <a:pt x="16730" y="11204"/>
                  </a:cubicBezTo>
                  <a:cubicBezTo>
                    <a:pt x="16180" y="10396"/>
                    <a:pt x="14924" y="9286"/>
                    <a:pt x="14924" y="8479"/>
                  </a:cubicBezTo>
                  <a:cubicBezTo>
                    <a:pt x="13745" y="6561"/>
                    <a:pt x="13745" y="4239"/>
                    <a:pt x="13117" y="2321"/>
                  </a:cubicBezTo>
                  <a:cubicBezTo>
                    <a:pt x="4163" y="0"/>
                    <a:pt x="4163" y="0"/>
                    <a:pt x="4163" y="0"/>
                  </a:cubicBezTo>
                  <a:cubicBezTo>
                    <a:pt x="0" y="3886"/>
                    <a:pt x="0" y="3886"/>
                    <a:pt x="0" y="38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0" name="Shape 2341">
              <a:extLst>
                <a:ext uri="{FF2B5EF4-FFF2-40B4-BE49-F238E27FC236}">
                  <a16:creationId xmlns:a16="http://schemas.microsoft.com/office/drawing/2014/main" id="{FAE298A6-DCF3-18B9-8945-4ADC087943B9}"/>
                </a:ext>
              </a:extLst>
            </p:cNvPr>
            <p:cNvSpPr/>
            <p:nvPr/>
          </p:nvSpPr>
          <p:spPr>
            <a:xfrm>
              <a:off x="2690711" y="5488404"/>
              <a:ext cx="122924" cy="228596"/>
            </a:xfrm>
            <a:custGeom>
              <a:avLst/>
              <a:gdLst/>
              <a:ahLst/>
              <a:cxnLst>
                <a:cxn ang="0">
                  <a:pos x="wd2" y="hd2"/>
                </a:cxn>
                <a:cxn ang="5400000">
                  <a:pos x="wd2" y="hd2"/>
                </a:cxn>
                <a:cxn ang="10800000">
                  <a:pos x="wd2" y="hd2"/>
                </a:cxn>
                <a:cxn ang="16200000">
                  <a:pos x="wd2" y="hd2"/>
                </a:cxn>
              </a:cxnLst>
              <a:rect l="0" t="0" r="r" b="b"/>
              <a:pathLst>
                <a:path w="17213" h="21600" extrusionOk="0">
                  <a:moveTo>
                    <a:pt x="12949" y="0"/>
                  </a:moveTo>
                  <a:cubicBezTo>
                    <a:pt x="13279" y="508"/>
                    <a:pt x="13656" y="1207"/>
                    <a:pt x="13656" y="1938"/>
                  </a:cubicBezTo>
                  <a:cubicBezTo>
                    <a:pt x="13279" y="3176"/>
                    <a:pt x="12572" y="4638"/>
                    <a:pt x="11110" y="5591"/>
                  </a:cubicBezTo>
                  <a:cubicBezTo>
                    <a:pt x="10780" y="5845"/>
                    <a:pt x="9695" y="5336"/>
                    <a:pt x="8987" y="5591"/>
                  </a:cubicBezTo>
                  <a:cubicBezTo>
                    <a:pt x="7903" y="6321"/>
                    <a:pt x="6441" y="7052"/>
                    <a:pt x="6063" y="8259"/>
                  </a:cubicBezTo>
                  <a:cubicBezTo>
                    <a:pt x="6063" y="8735"/>
                    <a:pt x="7903" y="8989"/>
                    <a:pt x="7525" y="9466"/>
                  </a:cubicBezTo>
                  <a:cubicBezTo>
                    <a:pt x="7525" y="9942"/>
                    <a:pt x="6441" y="10196"/>
                    <a:pt x="6063" y="10673"/>
                  </a:cubicBezTo>
                  <a:cubicBezTo>
                    <a:pt x="5733" y="11181"/>
                    <a:pt x="5356" y="11912"/>
                    <a:pt x="5733" y="12388"/>
                  </a:cubicBezTo>
                  <a:cubicBezTo>
                    <a:pt x="6818" y="13373"/>
                    <a:pt x="8233" y="13849"/>
                    <a:pt x="9695" y="14326"/>
                  </a:cubicBezTo>
                  <a:cubicBezTo>
                    <a:pt x="10402" y="14580"/>
                    <a:pt x="11864" y="14802"/>
                    <a:pt x="11864" y="14326"/>
                  </a:cubicBezTo>
                  <a:cubicBezTo>
                    <a:pt x="11864" y="13373"/>
                    <a:pt x="8987" y="11912"/>
                    <a:pt x="10402" y="11181"/>
                  </a:cubicBezTo>
                  <a:cubicBezTo>
                    <a:pt x="11864" y="10673"/>
                    <a:pt x="12572" y="12865"/>
                    <a:pt x="14034" y="13373"/>
                  </a:cubicBezTo>
                  <a:cubicBezTo>
                    <a:pt x="14741" y="13595"/>
                    <a:pt x="16156" y="13373"/>
                    <a:pt x="16911" y="13849"/>
                  </a:cubicBezTo>
                  <a:cubicBezTo>
                    <a:pt x="17618" y="14326"/>
                    <a:pt x="16911" y="15056"/>
                    <a:pt x="16533" y="15533"/>
                  </a:cubicBezTo>
                  <a:cubicBezTo>
                    <a:pt x="14034" y="17979"/>
                    <a:pt x="14034" y="17979"/>
                    <a:pt x="14034" y="17979"/>
                  </a:cubicBezTo>
                  <a:cubicBezTo>
                    <a:pt x="12949" y="17979"/>
                    <a:pt x="11487" y="17471"/>
                    <a:pt x="10780" y="17979"/>
                  </a:cubicBezTo>
                  <a:cubicBezTo>
                    <a:pt x="9695" y="18678"/>
                    <a:pt x="11110" y="20139"/>
                    <a:pt x="10402" y="20869"/>
                  </a:cubicBezTo>
                  <a:cubicBezTo>
                    <a:pt x="9695" y="21600"/>
                    <a:pt x="7148" y="21378"/>
                    <a:pt x="6063" y="21600"/>
                  </a:cubicBezTo>
                  <a:cubicBezTo>
                    <a:pt x="4979" y="19186"/>
                    <a:pt x="4649" y="16740"/>
                    <a:pt x="2479" y="14802"/>
                  </a:cubicBezTo>
                  <a:cubicBezTo>
                    <a:pt x="-3982" y="10451"/>
                    <a:pt x="3941" y="7528"/>
                    <a:pt x="6441" y="3653"/>
                  </a:cubicBezTo>
                  <a:cubicBezTo>
                    <a:pt x="7525" y="1715"/>
                    <a:pt x="10780" y="1715"/>
                    <a:pt x="12572" y="508"/>
                  </a:cubicBezTo>
                  <a:cubicBezTo>
                    <a:pt x="12572" y="254"/>
                    <a:pt x="12949" y="254"/>
                    <a:pt x="12949"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1" name="Shape 2342">
              <a:extLst>
                <a:ext uri="{FF2B5EF4-FFF2-40B4-BE49-F238E27FC236}">
                  <a16:creationId xmlns:a16="http://schemas.microsoft.com/office/drawing/2014/main" id="{713C8CAF-B2C1-A3FF-F280-D8B78EA50A4A}"/>
                </a:ext>
              </a:extLst>
            </p:cNvPr>
            <p:cNvSpPr/>
            <p:nvPr/>
          </p:nvSpPr>
          <p:spPr>
            <a:xfrm>
              <a:off x="2846424" y="5632601"/>
              <a:ext cx="127673" cy="128994"/>
            </a:xfrm>
            <a:custGeom>
              <a:avLst/>
              <a:gdLst/>
              <a:ahLst/>
              <a:cxnLst>
                <a:cxn ang="0">
                  <a:pos x="wd2" y="hd2"/>
                </a:cxn>
                <a:cxn ang="5400000">
                  <a:pos x="wd2" y="hd2"/>
                </a:cxn>
                <a:cxn ang="10800000">
                  <a:pos x="wd2" y="hd2"/>
                </a:cxn>
                <a:cxn ang="16200000">
                  <a:pos x="wd2" y="hd2"/>
                </a:cxn>
              </a:cxnLst>
              <a:rect l="0" t="0" r="r" b="b"/>
              <a:pathLst>
                <a:path w="21380" h="21600" extrusionOk="0">
                  <a:moveTo>
                    <a:pt x="176" y="6050"/>
                  </a:moveTo>
                  <a:cubicBezTo>
                    <a:pt x="628" y="8199"/>
                    <a:pt x="628" y="10800"/>
                    <a:pt x="1476" y="12949"/>
                  </a:cubicBezTo>
                  <a:cubicBezTo>
                    <a:pt x="1476" y="13853"/>
                    <a:pt x="2381" y="15097"/>
                    <a:pt x="2777" y="16002"/>
                  </a:cubicBezTo>
                  <a:cubicBezTo>
                    <a:pt x="3229" y="16850"/>
                    <a:pt x="3229" y="17698"/>
                    <a:pt x="4077" y="18151"/>
                  </a:cubicBezTo>
                  <a:cubicBezTo>
                    <a:pt x="4530" y="18603"/>
                    <a:pt x="5378" y="18999"/>
                    <a:pt x="5830" y="19451"/>
                  </a:cubicBezTo>
                  <a:cubicBezTo>
                    <a:pt x="7131" y="19451"/>
                    <a:pt x="7979" y="18603"/>
                    <a:pt x="8827" y="18999"/>
                  </a:cubicBezTo>
                  <a:cubicBezTo>
                    <a:pt x="9732" y="19451"/>
                    <a:pt x="10128" y="20752"/>
                    <a:pt x="10580" y="21600"/>
                  </a:cubicBezTo>
                  <a:cubicBezTo>
                    <a:pt x="11428" y="21148"/>
                    <a:pt x="12276" y="20752"/>
                    <a:pt x="12729" y="20299"/>
                  </a:cubicBezTo>
                  <a:cubicBezTo>
                    <a:pt x="13181" y="18999"/>
                    <a:pt x="13181" y="17698"/>
                    <a:pt x="13181" y="16398"/>
                  </a:cubicBezTo>
                  <a:cubicBezTo>
                    <a:pt x="13181" y="15097"/>
                    <a:pt x="11881" y="12949"/>
                    <a:pt x="12729" y="12101"/>
                  </a:cubicBezTo>
                  <a:cubicBezTo>
                    <a:pt x="14029" y="11252"/>
                    <a:pt x="15330" y="13853"/>
                    <a:pt x="17026" y="13853"/>
                  </a:cubicBezTo>
                  <a:cubicBezTo>
                    <a:pt x="18327" y="14249"/>
                    <a:pt x="20079" y="12949"/>
                    <a:pt x="21380" y="12553"/>
                  </a:cubicBezTo>
                  <a:lnTo>
                    <a:pt x="17931" y="9499"/>
                  </a:lnTo>
                  <a:cubicBezTo>
                    <a:pt x="17931" y="9047"/>
                    <a:pt x="17478" y="7351"/>
                    <a:pt x="17478" y="7351"/>
                  </a:cubicBezTo>
                  <a:cubicBezTo>
                    <a:pt x="16178" y="6503"/>
                    <a:pt x="14425" y="5598"/>
                    <a:pt x="13181" y="4750"/>
                  </a:cubicBezTo>
                  <a:cubicBezTo>
                    <a:pt x="11428" y="3902"/>
                    <a:pt x="9732" y="2601"/>
                    <a:pt x="8431" y="1301"/>
                  </a:cubicBezTo>
                  <a:cubicBezTo>
                    <a:pt x="7131" y="1753"/>
                    <a:pt x="6283" y="2601"/>
                    <a:pt x="4982" y="2601"/>
                  </a:cubicBezTo>
                  <a:cubicBezTo>
                    <a:pt x="4077" y="2149"/>
                    <a:pt x="4077" y="0"/>
                    <a:pt x="3229" y="0"/>
                  </a:cubicBezTo>
                  <a:cubicBezTo>
                    <a:pt x="1929" y="452"/>
                    <a:pt x="1081" y="1753"/>
                    <a:pt x="176" y="2601"/>
                  </a:cubicBezTo>
                  <a:cubicBezTo>
                    <a:pt x="-220" y="3902"/>
                    <a:pt x="176" y="5202"/>
                    <a:pt x="176" y="605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2" name="Shape 2343">
              <a:extLst>
                <a:ext uri="{FF2B5EF4-FFF2-40B4-BE49-F238E27FC236}">
                  <a16:creationId xmlns:a16="http://schemas.microsoft.com/office/drawing/2014/main" id="{41EDCE93-122A-7502-1884-A74EA765CAE2}"/>
                </a:ext>
              </a:extLst>
            </p:cNvPr>
            <p:cNvSpPr/>
            <p:nvPr/>
          </p:nvSpPr>
          <p:spPr>
            <a:xfrm>
              <a:off x="2895650" y="5562731"/>
              <a:ext cx="162659" cy="143863"/>
            </a:xfrm>
            <a:custGeom>
              <a:avLst/>
              <a:gdLst/>
              <a:ahLst/>
              <a:cxnLst>
                <a:cxn ang="0">
                  <a:pos x="wd2" y="hd2"/>
                </a:cxn>
                <a:cxn ang="5400000">
                  <a:pos x="wd2" y="hd2"/>
                </a:cxn>
                <a:cxn ang="10800000">
                  <a:pos x="wd2" y="hd2"/>
                </a:cxn>
                <a:cxn ang="16200000">
                  <a:pos x="wd2" y="hd2"/>
                </a:cxn>
              </a:cxnLst>
              <a:rect l="0" t="0" r="r" b="b"/>
              <a:pathLst>
                <a:path w="21337" h="21600" extrusionOk="0">
                  <a:moveTo>
                    <a:pt x="10115" y="21600"/>
                  </a:moveTo>
                  <a:cubicBezTo>
                    <a:pt x="11131" y="20439"/>
                    <a:pt x="11794" y="19279"/>
                    <a:pt x="12810" y="18118"/>
                  </a:cubicBezTo>
                  <a:cubicBezTo>
                    <a:pt x="13163" y="17714"/>
                    <a:pt x="14135" y="16957"/>
                    <a:pt x="14842" y="17361"/>
                  </a:cubicBezTo>
                  <a:cubicBezTo>
                    <a:pt x="15504" y="17714"/>
                    <a:pt x="15504" y="18875"/>
                    <a:pt x="15858" y="19632"/>
                  </a:cubicBezTo>
                  <a:cubicBezTo>
                    <a:pt x="17183" y="19632"/>
                    <a:pt x="18552" y="20439"/>
                    <a:pt x="19568" y="19279"/>
                  </a:cubicBezTo>
                  <a:cubicBezTo>
                    <a:pt x="20893" y="17714"/>
                    <a:pt x="21600" y="15039"/>
                    <a:pt x="21247" y="12718"/>
                  </a:cubicBezTo>
                  <a:cubicBezTo>
                    <a:pt x="21247" y="11557"/>
                    <a:pt x="19568" y="11557"/>
                    <a:pt x="18552" y="10800"/>
                  </a:cubicBezTo>
                  <a:cubicBezTo>
                    <a:pt x="17845" y="10800"/>
                    <a:pt x="16829" y="9639"/>
                    <a:pt x="15858" y="10043"/>
                  </a:cubicBezTo>
                  <a:cubicBezTo>
                    <a:pt x="14842" y="10043"/>
                    <a:pt x="13826" y="11961"/>
                    <a:pt x="12810" y="11557"/>
                  </a:cubicBezTo>
                  <a:cubicBezTo>
                    <a:pt x="11794" y="11557"/>
                    <a:pt x="11440" y="10043"/>
                    <a:pt x="11131" y="8882"/>
                  </a:cubicBezTo>
                  <a:cubicBezTo>
                    <a:pt x="10469" y="7318"/>
                    <a:pt x="11131" y="5753"/>
                    <a:pt x="10469" y="4593"/>
                  </a:cubicBezTo>
                  <a:cubicBezTo>
                    <a:pt x="9762" y="3482"/>
                    <a:pt x="8083" y="3079"/>
                    <a:pt x="7067" y="2675"/>
                  </a:cubicBezTo>
                  <a:cubicBezTo>
                    <a:pt x="6405" y="1514"/>
                    <a:pt x="6052" y="757"/>
                    <a:pt x="5698" y="0"/>
                  </a:cubicBezTo>
                  <a:lnTo>
                    <a:pt x="1988" y="1514"/>
                  </a:lnTo>
                  <a:lnTo>
                    <a:pt x="1016" y="3836"/>
                  </a:lnTo>
                  <a:cubicBezTo>
                    <a:pt x="1016" y="4593"/>
                    <a:pt x="1679" y="5753"/>
                    <a:pt x="1325" y="6561"/>
                  </a:cubicBezTo>
                  <a:cubicBezTo>
                    <a:pt x="1325" y="8479"/>
                    <a:pt x="309" y="10043"/>
                    <a:pt x="0" y="11557"/>
                  </a:cubicBezTo>
                  <a:cubicBezTo>
                    <a:pt x="1016" y="12718"/>
                    <a:pt x="2341" y="13879"/>
                    <a:pt x="3710" y="14636"/>
                  </a:cubicBezTo>
                  <a:cubicBezTo>
                    <a:pt x="4682" y="15393"/>
                    <a:pt x="6052" y="16200"/>
                    <a:pt x="7067" y="16957"/>
                  </a:cubicBezTo>
                  <a:cubicBezTo>
                    <a:pt x="7067" y="16957"/>
                    <a:pt x="7421" y="18471"/>
                    <a:pt x="7421" y="18875"/>
                  </a:cubicBezTo>
                  <a:lnTo>
                    <a:pt x="10115" y="21600"/>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63" name="Shape 2344">
              <a:extLst>
                <a:ext uri="{FF2B5EF4-FFF2-40B4-BE49-F238E27FC236}">
                  <a16:creationId xmlns:a16="http://schemas.microsoft.com/office/drawing/2014/main" id="{C8354E65-D179-0C03-4273-400DB228ECD1}"/>
                </a:ext>
              </a:extLst>
            </p:cNvPr>
            <p:cNvSpPr/>
            <p:nvPr/>
          </p:nvSpPr>
          <p:spPr>
            <a:xfrm>
              <a:off x="2907119" y="5679116"/>
              <a:ext cx="145761" cy="138971"/>
            </a:xfrm>
            <a:custGeom>
              <a:avLst/>
              <a:gdLst/>
              <a:ahLst/>
              <a:cxnLst>
                <a:cxn ang="0">
                  <a:pos x="wd2" y="hd2"/>
                </a:cxn>
                <a:cxn ang="5400000">
                  <a:pos x="wd2" y="hd2"/>
                </a:cxn>
                <a:cxn ang="10800000">
                  <a:pos x="wd2" y="hd2"/>
                </a:cxn>
                <a:cxn ang="16200000">
                  <a:pos x="wd2" y="hd2"/>
                </a:cxn>
              </a:cxnLst>
              <a:rect l="0" t="0" r="r" b="b"/>
              <a:pathLst>
                <a:path w="21018" h="21306" extrusionOk="0">
                  <a:moveTo>
                    <a:pt x="5708" y="5620"/>
                  </a:moveTo>
                  <a:cubicBezTo>
                    <a:pt x="4245" y="5620"/>
                    <a:pt x="3124" y="3255"/>
                    <a:pt x="2002" y="4026"/>
                  </a:cubicBezTo>
                  <a:cubicBezTo>
                    <a:pt x="1271" y="4797"/>
                    <a:pt x="2392" y="6752"/>
                    <a:pt x="2392" y="7935"/>
                  </a:cubicBezTo>
                  <a:cubicBezTo>
                    <a:pt x="2392" y="9117"/>
                    <a:pt x="2392" y="10300"/>
                    <a:pt x="2002" y="11483"/>
                  </a:cubicBezTo>
                  <a:cubicBezTo>
                    <a:pt x="1612" y="11895"/>
                    <a:pt x="881" y="12255"/>
                    <a:pt x="149" y="12666"/>
                  </a:cubicBezTo>
                  <a:cubicBezTo>
                    <a:pt x="491" y="13849"/>
                    <a:pt x="-582" y="15803"/>
                    <a:pt x="491" y="16575"/>
                  </a:cubicBezTo>
                  <a:cubicBezTo>
                    <a:pt x="2002" y="17397"/>
                    <a:pt x="3465" y="15032"/>
                    <a:pt x="4976" y="15392"/>
                  </a:cubicBezTo>
                  <a:cubicBezTo>
                    <a:pt x="5708" y="15803"/>
                    <a:pt x="4245" y="16986"/>
                    <a:pt x="4245" y="17397"/>
                  </a:cubicBezTo>
                  <a:cubicBezTo>
                    <a:pt x="4586" y="18169"/>
                    <a:pt x="5708" y="17397"/>
                    <a:pt x="6098" y="18169"/>
                  </a:cubicBezTo>
                  <a:cubicBezTo>
                    <a:pt x="6488" y="18169"/>
                    <a:pt x="5708" y="18940"/>
                    <a:pt x="6098" y="19352"/>
                  </a:cubicBezTo>
                  <a:cubicBezTo>
                    <a:pt x="6488" y="20123"/>
                    <a:pt x="6829" y="20535"/>
                    <a:pt x="7609" y="21306"/>
                  </a:cubicBezTo>
                  <a:cubicBezTo>
                    <a:pt x="7951" y="20895"/>
                    <a:pt x="8341" y="20535"/>
                    <a:pt x="8731" y="20535"/>
                  </a:cubicBezTo>
                  <a:cubicBezTo>
                    <a:pt x="9462" y="20535"/>
                    <a:pt x="10194" y="20895"/>
                    <a:pt x="10584" y="20895"/>
                  </a:cubicBezTo>
                  <a:cubicBezTo>
                    <a:pt x="11705" y="20123"/>
                    <a:pt x="12437" y="19352"/>
                    <a:pt x="13558" y="18580"/>
                  </a:cubicBezTo>
                  <a:cubicBezTo>
                    <a:pt x="14289" y="17397"/>
                    <a:pt x="14679" y="15803"/>
                    <a:pt x="15801" y="15392"/>
                  </a:cubicBezTo>
                  <a:cubicBezTo>
                    <a:pt x="16874" y="14620"/>
                    <a:pt x="17995" y="15803"/>
                    <a:pt x="19116" y="15032"/>
                  </a:cubicBezTo>
                  <a:cubicBezTo>
                    <a:pt x="19897" y="14620"/>
                    <a:pt x="20238" y="13437"/>
                    <a:pt x="21018" y="12666"/>
                  </a:cubicBezTo>
                  <a:cubicBezTo>
                    <a:pt x="19897" y="12255"/>
                    <a:pt x="18775" y="12255"/>
                    <a:pt x="17995" y="11123"/>
                  </a:cubicBezTo>
                  <a:cubicBezTo>
                    <a:pt x="17654" y="10300"/>
                    <a:pt x="18775" y="9117"/>
                    <a:pt x="18775" y="8346"/>
                  </a:cubicBezTo>
                  <a:cubicBezTo>
                    <a:pt x="15801" y="2432"/>
                    <a:pt x="15801" y="2432"/>
                    <a:pt x="15801" y="2432"/>
                  </a:cubicBezTo>
                  <a:cubicBezTo>
                    <a:pt x="15411" y="1660"/>
                    <a:pt x="15411" y="477"/>
                    <a:pt x="14679" y="117"/>
                  </a:cubicBezTo>
                  <a:cubicBezTo>
                    <a:pt x="13899" y="-294"/>
                    <a:pt x="12827" y="477"/>
                    <a:pt x="12437" y="889"/>
                  </a:cubicBezTo>
                  <a:cubicBezTo>
                    <a:pt x="11315" y="2072"/>
                    <a:pt x="10584" y="3255"/>
                    <a:pt x="9462" y="4437"/>
                  </a:cubicBezTo>
                  <a:cubicBezTo>
                    <a:pt x="9462" y="4437"/>
                    <a:pt x="9072" y="4797"/>
                    <a:pt x="8731" y="4797"/>
                  </a:cubicBezTo>
                  <a:cubicBezTo>
                    <a:pt x="8341" y="5209"/>
                    <a:pt x="7609" y="5620"/>
                    <a:pt x="6829" y="5620"/>
                  </a:cubicBezTo>
                  <a:cubicBezTo>
                    <a:pt x="6098" y="5620"/>
                    <a:pt x="5708" y="5620"/>
                    <a:pt x="5708" y="56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1" name="Shape 2345">
              <a:extLst>
                <a:ext uri="{FF2B5EF4-FFF2-40B4-BE49-F238E27FC236}">
                  <a16:creationId xmlns:a16="http://schemas.microsoft.com/office/drawing/2014/main" id="{910EC6CC-1026-7B2D-060F-C54C956E39F3}"/>
                </a:ext>
              </a:extLst>
            </p:cNvPr>
            <p:cNvSpPr/>
            <p:nvPr/>
          </p:nvSpPr>
          <p:spPr>
            <a:xfrm>
              <a:off x="3017542" y="5625167"/>
              <a:ext cx="137139" cy="108184"/>
            </a:xfrm>
            <a:custGeom>
              <a:avLst/>
              <a:gdLst/>
              <a:ahLst/>
              <a:cxnLst>
                <a:cxn ang="0">
                  <a:pos x="wd2" y="hd2"/>
                </a:cxn>
                <a:cxn ang="5400000">
                  <a:pos x="wd2" y="hd2"/>
                </a:cxn>
                <a:cxn ang="10800000">
                  <a:pos x="wd2" y="hd2"/>
                </a:cxn>
                <a:cxn ang="16200000">
                  <a:pos x="wd2" y="hd2"/>
                </a:cxn>
              </a:cxnLst>
              <a:rect l="0" t="0" r="r" b="b"/>
              <a:pathLst>
                <a:path w="21251" h="21600" extrusionOk="0">
                  <a:moveTo>
                    <a:pt x="3198" y="21600"/>
                  </a:moveTo>
                  <a:cubicBezTo>
                    <a:pt x="0" y="13862"/>
                    <a:pt x="0" y="13862"/>
                    <a:pt x="0" y="13862"/>
                  </a:cubicBezTo>
                  <a:cubicBezTo>
                    <a:pt x="1573" y="13862"/>
                    <a:pt x="3198" y="14938"/>
                    <a:pt x="4404" y="13391"/>
                  </a:cubicBezTo>
                  <a:cubicBezTo>
                    <a:pt x="5977" y="11305"/>
                    <a:pt x="6816" y="7738"/>
                    <a:pt x="6396" y="4643"/>
                  </a:cubicBezTo>
                  <a:cubicBezTo>
                    <a:pt x="6396" y="3095"/>
                    <a:pt x="4404" y="3095"/>
                    <a:pt x="3198" y="2086"/>
                  </a:cubicBezTo>
                  <a:cubicBezTo>
                    <a:pt x="3984" y="1548"/>
                    <a:pt x="3984" y="538"/>
                    <a:pt x="4771" y="0"/>
                  </a:cubicBezTo>
                  <a:cubicBezTo>
                    <a:pt x="5977" y="0"/>
                    <a:pt x="7183" y="538"/>
                    <a:pt x="7969" y="1077"/>
                  </a:cubicBezTo>
                  <a:cubicBezTo>
                    <a:pt x="9175" y="1548"/>
                    <a:pt x="9594" y="3095"/>
                    <a:pt x="10800" y="3095"/>
                  </a:cubicBezTo>
                  <a:cubicBezTo>
                    <a:pt x="11219" y="3095"/>
                    <a:pt x="11586" y="2086"/>
                    <a:pt x="12373" y="1548"/>
                  </a:cubicBezTo>
                  <a:cubicBezTo>
                    <a:pt x="13212" y="2086"/>
                    <a:pt x="13998" y="3095"/>
                    <a:pt x="15204" y="3634"/>
                  </a:cubicBezTo>
                  <a:cubicBezTo>
                    <a:pt x="15204" y="4105"/>
                    <a:pt x="15571" y="4643"/>
                    <a:pt x="15990" y="4643"/>
                  </a:cubicBezTo>
                  <a:cubicBezTo>
                    <a:pt x="17196" y="5181"/>
                    <a:pt x="18402" y="4643"/>
                    <a:pt x="19608" y="4643"/>
                  </a:cubicBezTo>
                  <a:cubicBezTo>
                    <a:pt x="20027" y="6191"/>
                    <a:pt x="21600" y="7738"/>
                    <a:pt x="21181" y="9757"/>
                  </a:cubicBezTo>
                  <a:cubicBezTo>
                    <a:pt x="20814" y="11305"/>
                    <a:pt x="19188" y="11305"/>
                    <a:pt x="17983" y="12314"/>
                  </a:cubicBezTo>
                  <a:cubicBezTo>
                    <a:pt x="17196" y="11843"/>
                    <a:pt x="16410" y="11305"/>
                    <a:pt x="15571" y="11305"/>
                  </a:cubicBezTo>
                  <a:cubicBezTo>
                    <a:pt x="14784" y="10834"/>
                    <a:pt x="14417" y="10834"/>
                    <a:pt x="13579" y="11305"/>
                  </a:cubicBezTo>
                  <a:cubicBezTo>
                    <a:pt x="12006" y="11843"/>
                    <a:pt x="10014" y="12314"/>
                    <a:pt x="8808" y="13862"/>
                  </a:cubicBezTo>
                  <a:cubicBezTo>
                    <a:pt x="7602" y="14400"/>
                    <a:pt x="7602" y="16486"/>
                    <a:pt x="6816" y="18034"/>
                  </a:cubicBezTo>
                  <a:cubicBezTo>
                    <a:pt x="5610" y="19514"/>
                    <a:pt x="4404" y="20591"/>
                    <a:pt x="3198"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2" name="Shape 2346">
              <a:extLst>
                <a:ext uri="{FF2B5EF4-FFF2-40B4-BE49-F238E27FC236}">
                  <a16:creationId xmlns:a16="http://schemas.microsoft.com/office/drawing/2014/main" id="{37A097FF-5A01-DAE6-968F-23714AAE7093}"/>
                </a:ext>
              </a:extLst>
            </p:cNvPr>
            <p:cNvSpPr/>
            <p:nvPr/>
          </p:nvSpPr>
          <p:spPr>
            <a:xfrm>
              <a:off x="3031341" y="5679278"/>
              <a:ext cx="113703" cy="108415"/>
            </a:xfrm>
            <a:custGeom>
              <a:avLst/>
              <a:gdLst/>
              <a:ahLst/>
              <a:cxnLst>
                <a:cxn ang="0">
                  <a:pos x="wd2" y="hd2"/>
                </a:cxn>
                <a:cxn ang="5400000">
                  <a:pos x="wd2" y="hd2"/>
                </a:cxn>
                <a:cxn ang="10800000">
                  <a:pos x="wd2" y="hd2"/>
                </a:cxn>
                <a:cxn ang="16200000">
                  <a:pos x="wd2" y="hd2"/>
                </a:cxn>
              </a:cxnLst>
              <a:rect l="0" t="0" r="r" b="b"/>
              <a:pathLst>
                <a:path w="21244" h="21068" extrusionOk="0">
                  <a:moveTo>
                    <a:pt x="1088" y="10422"/>
                  </a:moveTo>
                  <a:cubicBezTo>
                    <a:pt x="2532" y="9434"/>
                    <a:pt x="3977" y="8380"/>
                    <a:pt x="5421" y="6931"/>
                  </a:cubicBezTo>
                  <a:cubicBezTo>
                    <a:pt x="6363" y="5417"/>
                    <a:pt x="6363" y="3375"/>
                    <a:pt x="7807" y="2848"/>
                  </a:cubicBezTo>
                  <a:cubicBezTo>
                    <a:pt x="9251" y="1334"/>
                    <a:pt x="11637" y="873"/>
                    <a:pt x="13521" y="346"/>
                  </a:cubicBezTo>
                  <a:cubicBezTo>
                    <a:pt x="14525" y="-115"/>
                    <a:pt x="14965" y="-115"/>
                    <a:pt x="15907" y="346"/>
                  </a:cubicBezTo>
                  <a:cubicBezTo>
                    <a:pt x="16911" y="346"/>
                    <a:pt x="17853" y="873"/>
                    <a:pt x="18795" y="1334"/>
                  </a:cubicBezTo>
                  <a:cubicBezTo>
                    <a:pt x="19297" y="2387"/>
                    <a:pt x="21244" y="2848"/>
                    <a:pt x="21244" y="3902"/>
                  </a:cubicBezTo>
                  <a:cubicBezTo>
                    <a:pt x="21244" y="4890"/>
                    <a:pt x="19297" y="4363"/>
                    <a:pt x="18795" y="4890"/>
                  </a:cubicBezTo>
                  <a:cubicBezTo>
                    <a:pt x="17853" y="5878"/>
                    <a:pt x="16409" y="6405"/>
                    <a:pt x="16409" y="7392"/>
                  </a:cubicBezTo>
                  <a:cubicBezTo>
                    <a:pt x="15907" y="8907"/>
                    <a:pt x="18356" y="9895"/>
                    <a:pt x="17853" y="10948"/>
                  </a:cubicBezTo>
                  <a:cubicBezTo>
                    <a:pt x="17351" y="12463"/>
                    <a:pt x="14023" y="11409"/>
                    <a:pt x="13521" y="12924"/>
                  </a:cubicBezTo>
                  <a:cubicBezTo>
                    <a:pt x="13081" y="14965"/>
                    <a:pt x="16409" y="15426"/>
                    <a:pt x="16911" y="17468"/>
                  </a:cubicBezTo>
                  <a:cubicBezTo>
                    <a:pt x="16911" y="18983"/>
                    <a:pt x="16409" y="20958"/>
                    <a:pt x="14965" y="20958"/>
                  </a:cubicBezTo>
                  <a:cubicBezTo>
                    <a:pt x="13521" y="21485"/>
                    <a:pt x="12579" y="19970"/>
                    <a:pt x="11135" y="19444"/>
                  </a:cubicBezTo>
                  <a:cubicBezTo>
                    <a:pt x="10695" y="19444"/>
                    <a:pt x="9691" y="20497"/>
                    <a:pt x="8749" y="19970"/>
                  </a:cubicBezTo>
                  <a:cubicBezTo>
                    <a:pt x="6802" y="18983"/>
                    <a:pt x="5421" y="17468"/>
                    <a:pt x="3977" y="15953"/>
                  </a:cubicBezTo>
                  <a:cubicBezTo>
                    <a:pt x="2532" y="15426"/>
                    <a:pt x="1088" y="15426"/>
                    <a:pt x="84" y="13978"/>
                  </a:cubicBezTo>
                  <a:cubicBezTo>
                    <a:pt x="-356" y="12924"/>
                    <a:pt x="1088" y="11409"/>
                    <a:pt x="1088" y="1042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3" name="Shape 2347">
              <a:extLst>
                <a:ext uri="{FF2B5EF4-FFF2-40B4-BE49-F238E27FC236}">
                  <a16:creationId xmlns:a16="http://schemas.microsoft.com/office/drawing/2014/main" id="{6D8CA3B0-1D6F-409D-88DC-C4B1871D2EDA}"/>
                </a:ext>
              </a:extLst>
            </p:cNvPr>
            <p:cNvSpPr/>
            <p:nvPr/>
          </p:nvSpPr>
          <p:spPr>
            <a:xfrm>
              <a:off x="3104409" y="5628140"/>
              <a:ext cx="90932" cy="161702"/>
            </a:xfrm>
            <a:custGeom>
              <a:avLst/>
              <a:gdLst/>
              <a:ahLst/>
              <a:cxnLst>
                <a:cxn ang="0">
                  <a:pos x="wd2" y="hd2"/>
                </a:cxn>
                <a:cxn ang="5400000">
                  <a:pos x="wd2" y="hd2"/>
                </a:cxn>
                <a:cxn ang="10800000">
                  <a:pos x="wd2" y="hd2"/>
                </a:cxn>
                <a:cxn ang="16200000">
                  <a:pos x="wd2" y="hd2"/>
                </a:cxn>
              </a:cxnLst>
              <a:rect l="0" t="0" r="r" b="b"/>
              <a:pathLst>
                <a:path w="20719" h="21600" extrusionOk="0">
                  <a:moveTo>
                    <a:pt x="6482" y="7859"/>
                  </a:moveTo>
                  <a:cubicBezTo>
                    <a:pt x="8244" y="7185"/>
                    <a:pt x="10618" y="7185"/>
                    <a:pt x="11155" y="6152"/>
                  </a:cubicBezTo>
                  <a:cubicBezTo>
                    <a:pt x="11767" y="4805"/>
                    <a:pt x="9469" y="3772"/>
                    <a:pt x="8857" y="2739"/>
                  </a:cubicBezTo>
                  <a:cubicBezTo>
                    <a:pt x="8244" y="2066"/>
                    <a:pt x="6482" y="1347"/>
                    <a:pt x="7095" y="674"/>
                  </a:cubicBezTo>
                  <a:cubicBezTo>
                    <a:pt x="7095" y="0"/>
                    <a:pt x="9469" y="0"/>
                    <a:pt x="10618" y="0"/>
                  </a:cubicBezTo>
                  <a:cubicBezTo>
                    <a:pt x="17052" y="1347"/>
                    <a:pt x="17052" y="1347"/>
                    <a:pt x="17052" y="1347"/>
                  </a:cubicBezTo>
                  <a:cubicBezTo>
                    <a:pt x="18201" y="2066"/>
                    <a:pt x="19350" y="2380"/>
                    <a:pt x="19350" y="3099"/>
                  </a:cubicBezTo>
                  <a:cubicBezTo>
                    <a:pt x="19350" y="3772"/>
                    <a:pt x="18201" y="3772"/>
                    <a:pt x="18201" y="4446"/>
                  </a:cubicBezTo>
                  <a:cubicBezTo>
                    <a:pt x="18201" y="4805"/>
                    <a:pt x="17665" y="4805"/>
                    <a:pt x="17665" y="5119"/>
                  </a:cubicBezTo>
                  <a:cubicBezTo>
                    <a:pt x="17665" y="5838"/>
                    <a:pt x="18201" y="6511"/>
                    <a:pt x="18201" y="7185"/>
                  </a:cubicBezTo>
                  <a:cubicBezTo>
                    <a:pt x="18814" y="7544"/>
                    <a:pt x="20576" y="7544"/>
                    <a:pt x="20576" y="7859"/>
                  </a:cubicBezTo>
                  <a:cubicBezTo>
                    <a:pt x="21112" y="8577"/>
                    <a:pt x="19963" y="9610"/>
                    <a:pt x="19963" y="10284"/>
                  </a:cubicBezTo>
                  <a:cubicBezTo>
                    <a:pt x="18814" y="10957"/>
                    <a:pt x="18201" y="11676"/>
                    <a:pt x="17052" y="12349"/>
                  </a:cubicBezTo>
                  <a:cubicBezTo>
                    <a:pt x="16440" y="12664"/>
                    <a:pt x="15291" y="12349"/>
                    <a:pt x="15291" y="12664"/>
                  </a:cubicBezTo>
                  <a:cubicBezTo>
                    <a:pt x="14142" y="13696"/>
                    <a:pt x="14142" y="15089"/>
                    <a:pt x="12380" y="16121"/>
                  </a:cubicBezTo>
                  <a:cubicBezTo>
                    <a:pt x="11767" y="16481"/>
                    <a:pt x="9469" y="15762"/>
                    <a:pt x="9469" y="16481"/>
                  </a:cubicBezTo>
                  <a:cubicBezTo>
                    <a:pt x="8857" y="17828"/>
                    <a:pt x="10006" y="19534"/>
                    <a:pt x="10006" y="20926"/>
                  </a:cubicBezTo>
                  <a:cubicBezTo>
                    <a:pt x="7095" y="21600"/>
                    <a:pt x="7095" y="21600"/>
                    <a:pt x="7095" y="21600"/>
                  </a:cubicBezTo>
                  <a:cubicBezTo>
                    <a:pt x="1810" y="21241"/>
                    <a:pt x="1810" y="21241"/>
                    <a:pt x="1810" y="21241"/>
                  </a:cubicBezTo>
                  <a:cubicBezTo>
                    <a:pt x="3572" y="21241"/>
                    <a:pt x="4184" y="19894"/>
                    <a:pt x="4184" y="18861"/>
                  </a:cubicBezTo>
                  <a:cubicBezTo>
                    <a:pt x="3572" y="17469"/>
                    <a:pt x="-488" y="17154"/>
                    <a:pt x="48" y="15762"/>
                  </a:cubicBezTo>
                  <a:cubicBezTo>
                    <a:pt x="661" y="14729"/>
                    <a:pt x="4721" y="15448"/>
                    <a:pt x="5333" y="14415"/>
                  </a:cubicBezTo>
                  <a:cubicBezTo>
                    <a:pt x="5946" y="13696"/>
                    <a:pt x="2959" y="13023"/>
                    <a:pt x="3572" y="11990"/>
                  </a:cubicBezTo>
                  <a:cubicBezTo>
                    <a:pt x="3572" y="11316"/>
                    <a:pt x="5333" y="10957"/>
                    <a:pt x="6482" y="10284"/>
                  </a:cubicBezTo>
                  <a:cubicBezTo>
                    <a:pt x="7095" y="9924"/>
                    <a:pt x="9469" y="10284"/>
                    <a:pt x="9469" y="9610"/>
                  </a:cubicBezTo>
                  <a:cubicBezTo>
                    <a:pt x="9469" y="8891"/>
                    <a:pt x="7095" y="8577"/>
                    <a:pt x="6482" y="785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4" name="Shape 2348">
              <a:extLst>
                <a:ext uri="{FF2B5EF4-FFF2-40B4-BE49-F238E27FC236}">
                  <a16:creationId xmlns:a16="http://schemas.microsoft.com/office/drawing/2014/main" id="{D0430982-2260-BC95-C637-595D2BAEBD4D}"/>
                </a:ext>
              </a:extLst>
            </p:cNvPr>
            <p:cNvSpPr/>
            <p:nvPr/>
          </p:nvSpPr>
          <p:spPr>
            <a:xfrm>
              <a:off x="3182540" y="5635574"/>
              <a:ext cx="111148" cy="93315"/>
            </a:xfrm>
            <a:custGeom>
              <a:avLst/>
              <a:gdLst/>
              <a:ahLst/>
              <a:cxnLst>
                <a:cxn ang="0">
                  <a:pos x="wd2" y="hd2"/>
                </a:cxn>
                <a:cxn ang="5400000">
                  <a:pos x="wd2" y="hd2"/>
                </a:cxn>
                <a:cxn ang="10800000">
                  <a:pos x="wd2" y="hd2"/>
                </a:cxn>
                <a:cxn ang="16200000">
                  <a:pos x="wd2" y="hd2"/>
                </a:cxn>
              </a:cxnLst>
              <a:rect l="0" t="0" r="r" b="b"/>
              <a:pathLst>
                <a:path w="21600" h="21600" extrusionOk="0">
                  <a:moveTo>
                    <a:pt x="0" y="7148"/>
                  </a:moveTo>
                  <a:cubicBezTo>
                    <a:pt x="0" y="8404"/>
                    <a:pt x="461" y="9583"/>
                    <a:pt x="461" y="10761"/>
                  </a:cubicBezTo>
                  <a:cubicBezTo>
                    <a:pt x="988" y="11389"/>
                    <a:pt x="2502" y="11389"/>
                    <a:pt x="2502" y="11939"/>
                  </a:cubicBezTo>
                  <a:cubicBezTo>
                    <a:pt x="2963" y="13196"/>
                    <a:pt x="1976" y="15002"/>
                    <a:pt x="1976" y="16180"/>
                  </a:cubicBezTo>
                  <a:cubicBezTo>
                    <a:pt x="3490" y="17359"/>
                    <a:pt x="4478" y="19165"/>
                    <a:pt x="5993" y="19793"/>
                  </a:cubicBezTo>
                  <a:cubicBezTo>
                    <a:pt x="6980" y="20343"/>
                    <a:pt x="7507" y="19793"/>
                    <a:pt x="8034" y="19793"/>
                  </a:cubicBezTo>
                  <a:cubicBezTo>
                    <a:pt x="9022" y="20343"/>
                    <a:pt x="10010" y="20972"/>
                    <a:pt x="10537" y="21600"/>
                  </a:cubicBezTo>
                  <a:cubicBezTo>
                    <a:pt x="12051" y="21600"/>
                    <a:pt x="14027" y="21600"/>
                    <a:pt x="15541" y="21600"/>
                  </a:cubicBezTo>
                  <a:cubicBezTo>
                    <a:pt x="16595" y="19793"/>
                    <a:pt x="18571" y="17987"/>
                    <a:pt x="19098" y="16180"/>
                  </a:cubicBezTo>
                  <a:cubicBezTo>
                    <a:pt x="20085" y="13745"/>
                    <a:pt x="19559" y="11389"/>
                    <a:pt x="20085" y="8954"/>
                  </a:cubicBezTo>
                  <a:cubicBezTo>
                    <a:pt x="20085" y="7776"/>
                    <a:pt x="21073" y="6598"/>
                    <a:pt x="21600" y="4791"/>
                  </a:cubicBezTo>
                  <a:cubicBezTo>
                    <a:pt x="20612" y="4163"/>
                    <a:pt x="20085" y="2356"/>
                    <a:pt x="19098" y="1807"/>
                  </a:cubicBezTo>
                  <a:cubicBezTo>
                    <a:pt x="17056" y="550"/>
                    <a:pt x="14554" y="0"/>
                    <a:pt x="12512" y="0"/>
                  </a:cubicBezTo>
                  <a:cubicBezTo>
                    <a:pt x="11524" y="550"/>
                    <a:pt x="12051" y="2356"/>
                    <a:pt x="10998" y="2356"/>
                  </a:cubicBezTo>
                  <a:cubicBezTo>
                    <a:pt x="10010" y="2985"/>
                    <a:pt x="8495" y="2356"/>
                    <a:pt x="7507" y="2985"/>
                  </a:cubicBezTo>
                  <a:cubicBezTo>
                    <a:pt x="6520" y="4163"/>
                    <a:pt x="6520" y="6598"/>
                    <a:pt x="5466" y="7148"/>
                  </a:cubicBezTo>
                  <a:cubicBezTo>
                    <a:pt x="4017" y="7776"/>
                    <a:pt x="1976" y="7148"/>
                    <a:pt x="0" y="71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5" name="Shape 2349">
              <a:extLst>
                <a:ext uri="{FF2B5EF4-FFF2-40B4-BE49-F238E27FC236}">
                  <a16:creationId xmlns:a16="http://schemas.microsoft.com/office/drawing/2014/main" id="{5FD60E90-CFEE-C1E0-C4C2-CD7690E8878A}"/>
                </a:ext>
              </a:extLst>
            </p:cNvPr>
            <p:cNvSpPr/>
            <p:nvPr/>
          </p:nvSpPr>
          <p:spPr>
            <a:xfrm>
              <a:off x="3144308" y="5705443"/>
              <a:ext cx="134516" cy="111155"/>
            </a:xfrm>
            <a:custGeom>
              <a:avLst/>
              <a:gdLst/>
              <a:ahLst/>
              <a:cxnLst>
                <a:cxn ang="0">
                  <a:pos x="wd2" y="hd2"/>
                </a:cxn>
                <a:cxn ang="5400000">
                  <a:pos x="wd2" y="hd2"/>
                </a:cxn>
                <a:cxn ang="10800000">
                  <a:pos x="wd2" y="hd2"/>
                </a:cxn>
                <a:cxn ang="16200000">
                  <a:pos x="wd2" y="hd2"/>
                </a:cxn>
              </a:cxnLst>
              <a:rect l="0" t="0" r="r" b="b"/>
              <a:pathLst>
                <a:path w="21299" h="21600" extrusionOk="0">
                  <a:moveTo>
                    <a:pt x="7432" y="0"/>
                  </a:moveTo>
                  <a:cubicBezTo>
                    <a:pt x="8659" y="988"/>
                    <a:pt x="9459" y="2502"/>
                    <a:pt x="10686" y="3029"/>
                  </a:cubicBezTo>
                  <a:cubicBezTo>
                    <a:pt x="11486" y="3490"/>
                    <a:pt x="11912" y="3029"/>
                    <a:pt x="12339" y="3029"/>
                  </a:cubicBezTo>
                  <a:cubicBezTo>
                    <a:pt x="13139" y="3490"/>
                    <a:pt x="13939" y="4017"/>
                    <a:pt x="14366" y="4544"/>
                  </a:cubicBezTo>
                  <a:cubicBezTo>
                    <a:pt x="15592" y="4544"/>
                    <a:pt x="17192" y="4544"/>
                    <a:pt x="18419" y="4544"/>
                  </a:cubicBezTo>
                  <a:cubicBezTo>
                    <a:pt x="19272" y="5532"/>
                    <a:pt x="20872" y="6059"/>
                    <a:pt x="21299" y="7573"/>
                  </a:cubicBezTo>
                  <a:cubicBezTo>
                    <a:pt x="21299" y="9549"/>
                    <a:pt x="20072" y="11063"/>
                    <a:pt x="19272" y="12578"/>
                  </a:cubicBezTo>
                  <a:cubicBezTo>
                    <a:pt x="19272" y="13105"/>
                    <a:pt x="18419" y="13566"/>
                    <a:pt x="18046" y="14093"/>
                  </a:cubicBezTo>
                  <a:cubicBezTo>
                    <a:pt x="16819" y="15080"/>
                    <a:pt x="16392" y="16595"/>
                    <a:pt x="15166" y="16595"/>
                  </a:cubicBezTo>
                  <a:cubicBezTo>
                    <a:pt x="14366" y="17122"/>
                    <a:pt x="13566" y="15607"/>
                    <a:pt x="12712" y="15607"/>
                  </a:cubicBezTo>
                  <a:cubicBezTo>
                    <a:pt x="11486" y="15080"/>
                    <a:pt x="10259" y="15607"/>
                    <a:pt x="9086" y="15607"/>
                  </a:cubicBezTo>
                  <a:cubicBezTo>
                    <a:pt x="9086" y="15607"/>
                    <a:pt x="7859" y="21139"/>
                    <a:pt x="7859" y="21600"/>
                  </a:cubicBezTo>
                  <a:cubicBezTo>
                    <a:pt x="7432" y="21600"/>
                    <a:pt x="4979" y="20085"/>
                    <a:pt x="4979" y="20085"/>
                  </a:cubicBezTo>
                  <a:cubicBezTo>
                    <a:pt x="4606" y="20085"/>
                    <a:pt x="4979" y="17583"/>
                    <a:pt x="4979" y="17583"/>
                  </a:cubicBezTo>
                  <a:cubicBezTo>
                    <a:pt x="3379" y="17122"/>
                    <a:pt x="2152" y="16595"/>
                    <a:pt x="499" y="15607"/>
                  </a:cubicBezTo>
                  <a:cubicBezTo>
                    <a:pt x="499" y="13566"/>
                    <a:pt x="-301" y="11063"/>
                    <a:pt x="126" y="9088"/>
                  </a:cubicBezTo>
                  <a:cubicBezTo>
                    <a:pt x="126" y="8034"/>
                    <a:pt x="1726" y="9088"/>
                    <a:pt x="2152" y="8561"/>
                  </a:cubicBezTo>
                  <a:cubicBezTo>
                    <a:pt x="3379" y="7046"/>
                    <a:pt x="3379" y="5005"/>
                    <a:pt x="4179" y="3490"/>
                  </a:cubicBezTo>
                  <a:cubicBezTo>
                    <a:pt x="4179" y="3029"/>
                    <a:pt x="4979" y="3490"/>
                    <a:pt x="5406" y="3029"/>
                  </a:cubicBezTo>
                  <a:cubicBezTo>
                    <a:pt x="6206" y="2041"/>
                    <a:pt x="6632" y="988"/>
                    <a:pt x="7432"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6" name="Shape 2350">
              <a:extLst>
                <a:ext uri="{FF2B5EF4-FFF2-40B4-BE49-F238E27FC236}">
                  <a16:creationId xmlns:a16="http://schemas.microsoft.com/office/drawing/2014/main" id="{08EB92E2-BFEE-DE3B-6B9A-E78E8B81465D}"/>
                </a:ext>
              </a:extLst>
            </p:cNvPr>
            <p:cNvSpPr/>
            <p:nvPr/>
          </p:nvSpPr>
          <p:spPr>
            <a:xfrm>
              <a:off x="2683086" y="5761932"/>
              <a:ext cx="597226" cy="381272"/>
            </a:xfrm>
            <a:custGeom>
              <a:avLst/>
              <a:gdLst/>
              <a:ahLst/>
              <a:cxnLst>
                <a:cxn ang="0">
                  <a:pos x="wd2" y="hd2"/>
                </a:cxn>
                <a:cxn ang="5400000">
                  <a:pos x="wd2" y="hd2"/>
                </a:cxn>
                <a:cxn ang="10800000">
                  <a:pos x="wd2" y="hd2"/>
                </a:cxn>
                <a:cxn ang="16200000">
                  <a:pos x="wd2" y="hd2"/>
                </a:cxn>
              </a:cxnLst>
              <a:rect l="0" t="0" r="r" b="b"/>
              <a:pathLst>
                <a:path w="21600" h="21491" extrusionOk="0">
                  <a:moveTo>
                    <a:pt x="7070" y="3341"/>
                  </a:moveTo>
                  <a:cubicBezTo>
                    <a:pt x="7265" y="3473"/>
                    <a:pt x="7265" y="3625"/>
                    <a:pt x="7533" y="3625"/>
                  </a:cubicBezTo>
                  <a:cubicBezTo>
                    <a:pt x="7814" y="3777"/>
                    <a:pt x="8094" y="3777"/>
                    <a:pt x="8374" y="3777"/>
                  </a:cubicBezTo>
                  <a:cubicBezTo>
                    <a:pt x="8655" y="3777"/>
                    <a:pt x="8935" y="3777"/>
                    <a:pt x="9215" y="3625"/>
                  </a:cubicBezTo>
                  <a:cubicBezTo>
                    <a:pt x="9496" y="3625"/>
                    <a:pt x="9776" y="3341"/>
                    <a:pt x="10056" y="3189"/>
                  </a:cubicBezTo>
                  <a:cubicBezTo>
                    <a:pt x="10142" y="3037"/>
                    <a:pt x="10239" y="2904"/>
                    <a:pt x="10337" y="2904"/>
                  </a:cubicBezTo>
                  <a:cubicBezTo>
                    <a:pt x="10520" y="2904"/>
                    <a:pt x="10702" y="3037"/>
                    <a:pt x="10800" y="3037"/>
                  </a:cubicBezTo>
                  <a:cubicBezTo>
                    <a:pt x="11080" y="2752"/>
                    <a:pt x="11263" y="2467"/>
                    <a:pt x="11544" y="2183"/>
                  </a:cubicBezTo>
                  <a:cubicBezTo>
                    <a:pt x="11726" y="1746"/>
                    <a:pt x="11824" y="1158"/>
                    <a:pt x="12104" y="1006"/>
                  </a:cubicBezTo>
                  <a:cubicBezTo>
                    <a:pt x="12372" y="721"/>
                    <a:pt x="12653" y="1158"/>
                    <a:pt x="12933" y="873"/>
                  </a:cubicBezTo>
                  <a:cubicBezTo>
                    <a:pt x="13128" y="721"/>
                    <a:pt x="13214" y="285"/>
                    <a:pt x="13409" y="0"/>
                  </a:cubicBezTo>
                  <a:cubicBezTo>
                    <a:pt x="13689" y="437"/>
                    <a:pt x="13957" y="873"/>
                    <a:pt x="14335" y="1158"/>
                  </a:cubicBezTo>
                  <a:cubicBezTo>
                    <a:pt x="14518" y="1310"/>
                    <a:pt x="14713" y="1006"/>
                    <a:pt x="14798" y="1006"/>
                  </a:cubicBezTo>
                  <a:cubicBezTo>
                    <a:pt x="15079" y="1158"/>
                    <a:pt x="15261" y="1594"/>
                    <a:pt x="15542" y="1443"/>
                  </a:cubicBezTo>
                  <a:cubicBezTo>
                    <a:pt x="16383" y="1594"/>
                    <a:pt x="16383" y="1594"/>
                    <a:pt x="16383" y="1594"/>
                  </a:cubicBezTo>
                  <a:cubicBezTo>
                    <a:pt x="16846" y="1310"/>
                    <a:pt x="16846" y="1310"/>
                    <a:pt x="16846" y="1310"/>
                  </a:cubicBezTo>
                  <a:cubicBezTo>
                    <a:pt x="17224" y="1594"/>
                    <a:pt x="17504" y="1746"/>
                    <a:pt x="17870" y="1879"/>
                  </a:cubicBezTo>
                  <a:cubicBezTo>
                    <a:pt x="17870" y="1879"/>
                    <a:pt x="17785" y="2600"/>
                    <a:pt x="17870" y="2600"/>
                  </a:cubicBezTo>
                  <a:cubicBezTo>
                    <a:pt x="17870" y="2600"/>
                    <a:pt x="18431" y="3037"/>
                    <a:pt x="18528" y="3037"/>
                  </a:cubicBezTo>
                  <a:cubicBezTo>
                    <a:pt x="18528" y="2904"/>
                    <a:pt x="18809" y="1310"/>
                    <a:pt x="18809" y="1310"/>
                  </a:cubicBezTo>
                  <a:cubicBezTo>
                    <a:pt x="19077" y="1310"/>
                    <a:pt x="19357" y="1158"/>
                    <a:pt x="19637" y="1310"/>
                  </a:cubicBezTo>
                  <a:cubicBezTo>
                    <a:pt x="19833" y="1310"/>
                    <a:pt x="20015" y="1746"/>
                    <a:pt x="20198" y="1594"/>
                  </a:cubicBezTo>
                  <a:cubicBezTo>
                    <a:pt x="20479" y="1594"/>
                    <a:pt x="20576" y="1158"/>
                    <a:pt x="20856" y="873"/>
                  </a:cubicBezTo>
                  <a:cubicBezTo>
                    <a:pt x="20942" y="1158"/>
                    <a:pt x="21137" y="1443"/>
                    <a:pt x="21137" y="1879"/>
                  </a:cubicBezTo>
                  <a:cubicBezTo>
                    <a:pt x="21222" y="2316"/>
                    <a:pt x="21137" y="2904"/>
                    <a:pt x="21137" y="3341"/>
                  </a:cubicBezTo>
                  <a:cubicBezTo>
                    <a:pt x="21137" y="4214"/>
                    <a:pt x="21039" y="4935"/>
                    <a:pt x="21137" y="5656"/>
                  </a:cubicBezTo>
                  <a:cubicBezTo>
                    <a:pt x="21222" y="6378"/>
                    <a:pt x="21502" y="6814"/>
                    <a:pt x="21600" y="7383"/>
                  </a:cubicBezTo>
                  <a:cubicBezTo>
                    <a:pt x="21600" y="7687"/>
                    <a:pt x="21502" y="7820"/>
                    <a:pt x="21502" y="7972"/>
                  </a:cubicBezTo>
                  <a:cubicBezTo>
                    <a:pt x="21502" y="8257"/>
                    <a:pt x="21502" y="8560"/>
                    <a:pt x="21502" y="8845"/>
                  </a:cubicBezTo>
                  <a:cubicBezTo>
                    <a:pt x="21320" y="9130"/>
                    <a:pt x="21222" y="9566"/>
                    <a:pt x="20942" y="9870"/>
                  </a:cubicBezTo>
                  <a:cubicBezTo>
                    <a:pt x="20856" y="9870"/>
                    <a:pt x="20661" y="9718"/>
                    <a:pt x="20576" y="9870"/>
                  </a:cubicBezTo>
                  <a:cubicBezTo>
                    <a:pt x="20198" y="10155"/>
                    <a:pt x="20198" y="11028"/>
                    <a:pt x="19918" y="11161"/>
                  </a:cubicBezTo>
                  <a:cubicBezTo>
                    <a:pt x="19357" y="11312"/>
                    <a:pt x="18991" y="10155"/>
                    <a:pt x="18528" y="10288"/>
                  </a:cubicBezTo>
                  <a:cubicBezTo>
                    <a:pt x="18150" y="10439"/>
                    <a:pt x="18333" y="11445"/>
                    <a:pt x="18065" y="11882"/>
                  </a:cubicBezTo>
                  <a:cubicBezTo>
                    <a:pt x="17590" y="12907"/>
                    <a:pt x="17126" y="14065"/>
                    <a:pt x="16480" y="14653"/>
                  </a:cubicBezTo>
                  <a:cubicBezTo>
                    <a:pt x="16005" y="15090"/>
                    <a:pt x="15261" y="14349"/>
                    <a:pt x="14798" y="14786"/>
                  </a:cubicBezTo>
                  <a:cubicBezTo>
                    <a:pt x="14433" y="15090"/>
                    <a:pt x="14335" y="15811"/>
                    <a:pt x="14152" y="16380"/>
                  </a:cubicBezTo>
                  <a:cubicBezTo>
                    <a:pt x="13957" y="16665"/>
                    <a:pt x="13689" y="16969"/>
                    <a:pt x="13494" y="17253"/>
                  </a:cubicBezTo>
                  <a:cubicBezTo>
                    <a:pt x="13409" y="17823"/>
                    <a:pt x="13409" y="18411"/>
                    <a:pt x="13409" y="19000"/>
                  </a:cubicBezTo>
                  <a:cubicBezTo>
                    <a:pt x="13409" y="19000"/>
                    <a:pt x="12372" y="19721"/>
                    <a:pt x="12287" y="19721"/>
                  </a:cubicBezTo>
                  <a:cubicBezTo>
                    <a:pt x="12104" y="19873"/>
                    <a:pt x="12104" y="20594"/>
                    <a:pt x="12104" y="20594"/>
                  </a:cubicBezTo>
                  <a:cubicBezTo>
                    <a:pt x="11629" y="20442"/>
                    <a:pt x="11166" y="20006"/>
                    <a:pt x="10702" y="20290"/>
                  </a:cubicBezTo>
                  <a:cubicBezTo>
                    <a:pt x="10422" y="20442"/>
                    <a:pt x="10617" y="21467"/>
                    <a:pt x="10337" y="21467"/>
                  </a:cubicBezTo>
                  <a:cubicBezTo>
                    <a:pt x="9959" y="21600"/>
                    <a:pt x="9581" y="21163"/>
                    <a:pt x="9301" y="20727"/>
                  </a:cubicBezTo>
                  <a:cubicBezTo>
                    <a:pt x="9215" y="20442"/>
                    <a:pt x="9398" y="19873"/>
                    <a:pt x="9215" y="19569"/>
                  </a:cubicBezTo>
                  <a:cubicBezTo>
                    <a:pt x="8935" y="19133"/>
                    <a:pt x="8557" y="19133"/>
                    <a:pt x="8277" y="19284"/>
                  </a:cubicBezTo>
                  <a:cubicBezTo>
                    <a:pt x="7911" y="19436"/>
                    <a:pt x="7631" y="20006"/>
                    <a:pt x="7265" y="20290"/>
                  </a:cubicBezTo>
                  <a:cubicBezTo>
                    <a:pt x="7265" y="20157"/>
                    <a:pt x="7070" y="20006"/>
                    <a:pt x="6985" y="20006"/>
                  </a:cubicBezTo>
                  <a:cubicBezTo>
                    <a:pt x="6887" y="19873"/>
                    <a:pt x="6790" y="19721"/>
                    <a:pt x="6704" y="19569"/>
                  </a:cubicBezTo>
                  <a:cubicBezTo>
                    <a:pt x="6424" y="19133"/>
                    <a:pt x="6509" y="19284"/>
                    <a:pt x="6144" y="19569"/>
                  </a:cubicBezTo>
                  <a:cubicBezTo>
                    <a:pt x="5205" y="20442"/>
                    <a:pt x="5680" y="18696"/>
                    <a:pt x="5302" y="18259"/>
                  </a:cubicBezTo>
                  <a:cubicBezTo>
                    <a:pt x="4925" y="17690"/>
                    <a:pt x="4925" y="17690"/>
                    <a:pt x="4925" y="16817"/>
                  </a:cubicBezTo>
                  <a:cubicBezTo>
                    <a:pt x="5022" y="15659"/>
                    <a:pt x="4376" y="15090"/>
                    <a:pt x="4181" y="14217"/>
                  </a:cubicBezTo>
                  <a:cubicBezTo>
                    <a:pt x="4096" y="14065"/>
                    <a:pt x="3718" y="13476"/>
                    <a:pt x="3535" y="13343"/>
                  </a:cubicBezTo>
                  <a:cubicBezTo>
                    <a:pt x="3255" y="13040"/>
                    <a:pt x="3072" y="12470"/>
                    <a:pt x="2877" y="12034"/>
                  </a:cubicBezTo>
                  <a:cubicBezTo>
                    <a:pt x="2791" y="11882"/>
                    <a:pt x="2414" y="11597"/>
                    <a:pt x="2511" y="11445"/>
                  </a:cubicBezTo>
                  <a:cubicBezTo>
                    <a:pt x="3437" y="11028"/>
                    <a:pt x="4096" y="10876"/>
                    <a:pt x="3437" y="9130"/>
                  </a:cubicBezTo>
                  <a:cubicBezTo>
                    <a:pt x="2974" y="8124"/>
                    <a:pt x="2133" y="7251"/>
                    <a:pt x="1390" y="6662"/>
                  </a:cubicBezTo>
                  <a:cubicBezTo>
                    <a:pt x="561" y="6093"/>
                    <a:pt x="561" y="6093"/>
                    <a:pt x="561" y="6093"/>
                  </a:cubicBezTo>
                  <a:cubicBezTo>
                    <a:pt x="366" y="5504"/>
                    <a:pt x="183" y="5068"/>
                    <a:pt x="0" y="4498"/>
                  </a:cubicBezTo>
                  <a:cubicBezTo>
                    <a:pt x="183" y="4347"/>
                    <a:pt x="744" y="3473"/>
                    <a:pt x="1024" y="3473"/>
                  </a:cubicBezTo>
                  <a:cubicBezTo>
                    <a:pt x="1304" y="3341"/>
                    <a:pt x="1390" y="3777"/>
                    <a:pt x="1670" y="3910"/>
                  </a:cubicBezTo>
                  <a:cubicBezTo>
                    <a:pt x="2133" y="4062"/>
                    <a:pt x="2877" y="4062"/>
                    <a:pt x="3352" y="3910"/>
                  </a:cubicBezTo>
                  <a:cubicBezTo>
                    <a:pt x="4181" y="5504"/>
                    <a:pt x="5205" y="6378"/>
                    <a:pt x="6229" y="5220"/>
                  </a:cubicBezTo>
                  <a:cubicBezTo>
                    <a:pt x="6424" y="4935"/>
                    <a:pt x="6887" y="4062"/>
                    <a:pt x="7070" y="334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7" name="Shape 2351">
              <a:extLst>
                <a:ext uri="{FF2B5EF4-FFF2-40B4-BE49-F238E27FC236}">
                  <a16:creationId xmlns:a16="http://schemas.microsoft.com/office/drawing/2014/main" id="{601C7309-9834-88A5-2894-A899BE880E1E}"/>
                </a:ext>
              </a:extLst>
            </p:cNvPr>
            <p:cNvSpPr/>
            <p:nvPr/>
          </p:nvSpPr>
          <p:spPr>
            <a:xfrm>
              <a:off x="2532952" y="5793150"/>
              <a:ext cx="251909" cy="241975"/>
            </a:xfrm>
            <a:custGeom>
              <a:avLst/>
              <a:gdLst/>
              <a:ahLst/>
              <a:cxnLst>
                <a:cxn ang="0">
                  <a:pos x="wd2" y="hd2"/>
                </a:cxn>
                <a:cxn ang="5400000">
                  <a:pos x="wd2" y="hd2"/>
                </a:cxn>
                <a:cxn ang="10800000">
                  <a:pos x="wd2" y="hd2"/>
                </a:cxn>
                <a:cxn ang="16200000">
                  <a:pos x="wd2" y="hd2"/>
                </a:cxn>
              </a:cxnLst>
              <a:rect l="0" t="0" r="r" b="b"/>
              <a:pathLst>
                <a:path w="20707" h="21600" extrusionOk="0">
                  <a:moveTo>
                    <a:pt x="13549" y="6889"/>
                  </a:moveTo>
                  <a:cubicBezTo>
                    <a:pt x="13965" y="7792"/>
                    <a:pt x="14381" y="8935"/>
                    <a:pt x="14381" y="10319"/>
                  </a:cubicBezTo>
                  <a:cubicBezTo>
                    <a:pt x="11827" y="11011"/>
                    <a:pt x="5719" y="0"/>
                    <a:pt x="3165" y="0"/>
                  </a:cubicBezTo>
                  <a:cubicBezTo>
                    <a:pt x="2332" y="0"/>
                    <a:pt x="1694" y="0"/>
                    <a:pt x="833" y="211"/>
                  </a:cubicBezTo>
                  <a:cubicBezTo>
                    <a:pt x="611" y="1354"/>
                    <a:pt x="194" y="1594"/>
                    <a:pt x="0" y="2978"/>
                  </a:cubicBezTo>
                  <a:cubicBezTo>
                    <a:pt x="0" y="3430"/>
                    <a:pt x="416" y="4362"/>
                    <a:pt x="833" y="4813"/>
                  </a:cubicBezTo>
                  <a:cubicBezTo>
                    <a:pt x="1055" y="4813"/>
                    <a:pt x="1471" y="4362"/>
                    <a:pt x="1694" y="4362"/>
                  </a:cubicBezTo>
                  <a:cubicBezTo>
                    <a:pt x="2110" y="4813"/>
                    <a:pt x="2526" y="5265"/>
                    <a:pt x="2526" y="5957"/>
                  </a:cubicBezTo>
                  <a:cubicBezTo>
                    <a:pt x="2526" y="6438"/>
                    <a:pt x="1694" y="6648"/>
                    <a:pt x="1694" y="7100"/>
                  </a:cubicBezTo>
                  <a:cubicBezTo>
                    <a:pt x="1694" y="7581"/>
                    <a:pt x="2110" y="8032"/>
                    <a:pt x="2332" y="8484"/>
                  </a:cubicBezTo>
                  <a:cubicBezTo>
                    <a:pt x="2749" y="8724"/>
                    <a:pt x="3387" y="8484"/>
                    <a:pt x="3387" y="8935"/>
                  </a:cubicBezTo>
                  <a:cubicBezTo>
                    <a:pt x="3804" y="9627"/>
                    <a:pt x="3387" y="10559"/>
                    <a:pt x="3609" y="11251"/>
                  </a:cubicBezTo>
                  <a:cubicBezTo>
                    <a:pt x="3804" y="11943"/>
                    <a:pt x="4442" y="12394"/>
                    <a:pt x="4664" y="13086"/>
                  </a:cubicBezTo>
                  <a:cubicBezTo>
                    <a:pt x="5303" y="13778"/>
                    <a:pt x="5303" y="15162"/>
                    <a:pt x="6136" y="15613"/>
                  </a:cubicBezTo>
                  <a:cubicBezTo>
                    <a:pt x="6774" y="15854"/>
                    <a:pt x="7635" y="15162"/>
                    <a:pt x="8218" y="15162"/>
                  </a:cubicBezTo>
                  <a:cubicBezTo>
                    <a:pt x="8440" y="15162"/>
                    <a:pt x="9079" y="15162"/>
                    <a:pt x="9079" y="15373"/>
                  </a:cubicBezTo>
                  <a:cubicBezTo>
                    <a:pt x="9495" y="16546"/>
                    <a:pt x="8857" y="17689"/>
                    <a:pt x="9301" y="18592"/>
                  </a:cubicBezTo>
                  <a:cubicBezTo>
                    <a:pt x="9495" y="19073"/>
                    <a:pt x="10356" y="18592"/>
                    <a:pt x="10578" y="18832"/>
                  </a:cubicBezTo>
                  <a:cubicBezTo>
                    <a:pt x="10994" y="19765"/>
                    <a:pt x="10994" y="20667"/>
                    <a:pt x="11216" y="21600"/>
                  </a:cubicBezTo>
                  <a:cubicBezTo>
                    <a:pt x="11827" y="21359"/>
                    <a:pt x="12466" y="20908"/>
                    <a:pt x="13104" y="20667"/>
                  </a:cubicBezTo>
                  <a:cubicBezTo>
                    <a:pt x="13743" y="20457"/>
                    <a:pt x="14798" y="20457"/>
                    <a:pt x="15242" y="19975"/>
                  </a:cubicBezTo>
                  <a:cubicBezTo>
                    <a:pt x="15853" y="19284"/>
                    <a:pt x="16075" y="18381"/>
                    <a:pt x="16714" y="17689"/>
                  </a:cubicBezTo>
                  <a:cubicBezTo>
                    <a:pt x="17352" y="17208"/>
                    <a:pt x="17991" y="16757"/>
                    <a:pt x="18824" y="16305"/>
                  </a:cubicBezTo>
                  <a:cubicBezTo>
                    <a:pt x="18629" y="16065"/>
                    <a:pt x="17769" y="15613"/>
                    <a:pt x="17991" y="15373"/>
                  </a:cubicBezTo>
                  <a:cubicBezTo>
                    <a:pt x="20101" y="14711"/>
                    <a:pt x="21600" y="14470"/>
                    <a:pt x="20101" y="11703"/>
                  </a:cubicBezTo>
                  <a:cubicBezTo>
                    <a:pt x="19046" y="10108"/>
                    <a:pt x="17130" y="8724"/>
                    <a:pt x="15437" y="7792"/>
                  </a:cubicBezTo>
                  <a:cubicBezTo>
                    <a:pt x="13549" y="6889"/>
                    <a:pt x="13549" y="6889"/>
                    <a:pt x="13549" y="688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8" name="Shape 2352">
              <a:extLst>
                <a:ext uri="{FF2B5EF4-FFF2-40B4-BE49-F238E27FC236}">
                  <a16:creationId xmlns:a16="http://schemas.microsoft.com/office/drawing/2014/main" id="{CF4233F5-3ECA-287B-87A5-49A492F59279}"/>
                </a:ext>
              </a:extLst>
            </p:cNvPr>
            <p:cNvSpPr/>
            <p:nvPr/>
          </p:nvSpPr>
          <p:spPr>
            <a:xfrm>
              <a:off x="2543356" y="5974512"/>
              <a:ext cx="346192" cy="239839"/>
            </a:xfrm>
            <a:custGeom>
              <a:avLst/>
              <a:gdLst/>
              <a:ahLst/>
              <a:cxnLst>
                <a:cxn ang="0">
                  <a:pos x="wd2" y="hd2"/>
                </a:cxn>
                <a:cxn ang="5400000">
                  <a:pos x="wd2" y="hd2"/>
                </a:cxn>
                <a:cxn ang="10800000">
                  <a:pos x="wd2" y="hd2"/>
                </a:cxn>
                <a:cxn ang="16200000">
                  <a:pos x="wd2" y="hd2"/>
                </a:cxn>
              </a:cxnLst>
              <a:rect l="0" t="0" r="r" b="b"/>
              <a:pathLst>
                <a:path w="21336" h="21409" extrusionOk="0">
                  <a:moveTo>
                    <a:pt x="20976" y="13086"/>
                  </a:moveTo>
                  <a:cubicBezTo>
                    <a:pt x="20976" y="12876"/>
                    <a:pt x="20643" y="12635"/>
                    <a:pt x="20497" y="12635"/>
                  </a:cubicBezTo>
                  <a:cubicBezTo>
                    <a:pt x="20331" y="12425"/>
                    <a:pt x="20164" y="12184"/>
                    <a:pt x="20018" y="11943"/>
                  </a:cubicBezTo>
                  <a:cubicBezTo>
                    <a:pt x="19540" y="11251"/>
                    <a:pt x="19686" y="11492"/>
                    <a:pt x="19061" y="11943"/>
                  </a:cubicBezTo>
                  <a:cubicBezTo>
                    <a:pt x="17459" y="13327"/>
                    <a:pt x="18271" y="10559"/>
                    <a:pt x="17625" y="9867"/>
                  </a:cubicBezTo>
                  <a:cubicBezTo>
                    <a:pt x="16980" y="8965"/>
                    <a:pt x="16980" y="8965"/>
                    <a:pt x="16980" y="7581"/>
                  </a:cubicBezTo>
                  <a:cubicBezTo>
                    <a:pt x="17147" y="5746"/>
                    <a:pt x="16044" y="4843"/>
                    <a:pt x="15711" y="3460"/>
                  </a:cubicBezTo>
                  <a:cubicBezTo>
                    <a:pt x="15565" y="3219"/>
                    <a:pt x="14920" y="2286"/>
                    <a:pt x="14608" y="2076"/>
                  </a:cubicBezTo>
                  <a:cubicBezTo>
                    <a:pt x="14129" y="1594"/>
                    <a:pt x="13817" y="692"/>
                    <a:pt x="13484" y="0"/>
                  </a:cubicBezTo>
                  <a:cubicBezTo>
                    <a:pt x="12860" y="451"/>
                    <a:pt x="12382" y="903"/>
                    <a:pt x="11903" y="1384"/>
                  </a:cubicBezTo>
                  <a:cubicBezTo>
                    <a:pt x="11424" y="2076"/>
                    <a:pt x="11258" y="2978"/>
                    <a:pt x="10800" y="3670"/>
                  </a:cubicBezTo>
                  <a:cubicBezTo>
                    <a:pt x="10467" y="4152"/>
                    <a:pt x="9676" y="4152"/>
                    <a:pt x="9198" y="4362"/>
                  </a:cubicBezTo>
                  <a:cubicBezTo>
                    <a:pt x="8719" y="4603"/>
                    <a:pt x="8240" y="5054"/>
                    <a:pt x="7783" y="5295"/>
                  </a:cubicBezTo>
                  <a:cubicBezTo>
                    <a:pt x="7783" y="6197"/>
                    <a:pt x="7450" y="6889"/>
                    <a:pt x="7450" y="7822"/>
                  </a:cubicBezTo>
                  <a:cubicBezTo>
                    <a:pt x="7450" y="8273"/>
                    <a:pt x="7928" y="8514"/>
                    <a:pt x="7928" y="8724"/>
                  </a:cubicBezTo>
                  <a:cubicBezTo>
                    <a:pt x="7928" y="9657"/>
                    <a:pt x="7138" y="10559"/>
                    <a:pt x="7450" y="11492"/>
                  </a:cubicBezTo>
                  <a:cubicBezTo>
                    <a:pt x="7783" y="12425"/>
                    <a:pt x="9052" y="11733"/>
                    <a:pt x="9531" y="12635"/>
                  </a:cubicBezTo>
                  <a:cubicBezTo>
                    <a:pt x="9843" y="13086"/>
                    <a:pt x="9676" y="14260"/>
                    <a:pt x="9198" y="14470"/>
                  </a:cubicBezTo>
                  <a:cubicBezTo>
                    <a:pt x="8095" y="15162"/>
                    <a:pt x="6825" y="14952"/>
                    <a:pt x="5702" y="14952"/>
                  </a:cubicBezTo>
                  <a:cubicBezTo>
                    <a:pt x="4453" y="15162"/>
                    <a:pt x="3017" y="14470"/>
                    <a:pt x="2081" y="15403"/>
                  </a:cubicBezTo>
                  <a:cubicBezTo>
                    <a:pt x="957" y="16305"/>
                    <a:pt x="645" y="18381"/>
                    <a:pt x="0" y="20006"/>
                  </a:cubicBezTo>
                  <a:cubicBezTo>
                    <a:pt x="645" y="20216"/>
                    <a:pt x="1269" y="20457"/>
                    <a:pt x="1914" y="20667"/>
                  </a:cubicBezTo>
                  <a:cubicBezTo>
                    <a:pt x="2705" y="20908"/>
                    <a:pt x="3496" y="21600"/>
                    <a:pt x="4287" y="21359"/>
                  </a:cubicBezTo>
                  <a:cubicBezTo>
                    <a:pt x="5098" y="20908"/>
                    <a:pt x="5410" y="19314"/>
                    <a:pt x="6347" y="19073"/>
                  </a:cubicBezTo>
                  <a:cubicBezTo>
                    <a:pt x="6825" y="18832"/>
                    <a:pt x="7304" y="20006"/>
                    <a:pt x="7616" y="20457"/>
                  </a:cubicBezTo>
                  <a:cubicBezTo>
                    <a:pt x="7928" y="20216"/>
                    <a:pt x="8573" y="19765"/>
                    <a:pt x="8719" y="19524"/>
                  </a:cubicBezTo>
                  <a:cubicBezTo>
                    <a:pt x="9843" y="18381"/>
                    <a:pt x="9198" y="16787"/>
                    <a:pt x="10800" y="17238"/>
                  </a:cubicBezTo>
                  <a:cubicBezTo>
                    <a:pt x="12069" y="17448"/>
                    <a:pt x="11591" y="15613"/>
                    <a:pt x="12215" y="15162"/>
                  </a:cubicBezTo>
                  <a:cubicBezTo>
                    <a:pt x="12548" y="14952"/>
                    <a:pt x="13027" y="14711"/>
                    <a:pt x="13172" y="14260"/>
                  </a:cubicBezTo>
                  <a:cubicBezTo>
                    <a:pt x="14129" y="14019"/>
                    <a:pt x="14775" y="16787"/>
                    <a:pt x="15877" y="15613"/>
                  </a:cubicBezTo>
                  <a:cubicBezTo>
                    <a:pt x="16980" y="14470"/>
                    <a:pt x="17792" y="16305"/>
                    <a:pt x="18416" y="17689"/>
                  </a:cubicBezTo>
                  <a:cubicBezTo>
                    <a:pt x="18728" y="18832"/>
                    <a:pt x="18895" y="19765"/>
                    <a:pt x="19540" y="18622"/>
                  </a:cubicBezTo>
                  <a:cubicBezTo>
                    <a:pt x="20331" y="17238"/>
                    <a:pt x="21600" y="17448"/>
                    <a:pt x="21288" y="15403"/>
                  </a:cubicBezTo>
                  <a:cubicBezTo>
                    <a:pt x="21288" y="14952"/>
                    <a:pt x="21121" y="13086"/>
                    <a:pt x="20976" y="130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59" name="Shape 2353">
              <a:extLst>
                <a:ext uri="{FF2B5EF4-FFF2-40B4-BE49-F238E27FC236}">
                  <a16:creationId xmlns:a16="http://schemas.microsoft.com/office/drawing/2014/main" id="{98D8B96C-8B90-0A1D-C285-8F7A6A8BA26C}"/>
                </a:ext>
              </a:extLst>
            </p:cNvPr>
            <p:cNvSpPr/>
            <p:nvPr/>
          </p:nvSpPr>
          <p:spPr>
            <a:xfrm>
              <a:off x="2639544" y="5715849"/>
              <a:ext cx="135367" cy="126022"/>
            </a:xfrm>
            <a:custGeom>
              <a:avLst/>
              <a:gdLst/>
              <a:ahLst/>
              <a:cxnLst>
                <a:cxn ang="0">
                  <a:pos x="wd2" y="hd2"/>
                </a:cxn>
                <a:cxn ang="5400000">
                  <a:pos x="wd2" y="hd2"/>
                </a:cxn>
                <a:cxn ang="10800000">
                  <a:pos x="wd2" y="hd2"/>
                </a:cxn>
                <a:cxn ang="16200000">
                  <a:pos x="wd2" y="hd2"/>
                </a:cxn>
              </a:cxnLst>
              <a:rect l="0" t="0" r="r" b="b"/>
              <a:pathLst>
                <a:path w="18422" h="21600" extrusionOk="0">
                  <a:moveTo>
                    <a:pt x="5864" y="21600"/>
                  </a:moveTo>
                  <a:cubicBezTo>
                    <a:pt x="6549" y="21138"/>
                    <a:pt x="8649" y="18481"/>
                    <a:pt x="9700" y="18481"/>
                  </a:cubicBezTo>
                  <a:cubicBezTo>
                    <a:pt x="10750" y="18077"/>
                    <a:pt x="11070" y="19405"/>
                    <a:pt x="12120" y="19810"/>
                  </a:cubicBezTo>
                  <a:cubicBezTo>
                    <a:pt x="13855" y="20272"/>
                    <a:pt x="16641" y="20272"/>
                    <a:pt x="18422" y="19810"/>
                  </a:cubicBezTo>
                  <a:cubicBezTo>
                    <a:pt x="14221" y="13630"/>
                    <a:pt x="11070" y="3927"/>
                    <a:pt x="10385" y="0"/>
                  </a:cubicBezTo>
                  <a:cubicBezTo>
                    <a:pt x="8969" y="0"/>
                    <a:pt x="4448" y="4851"/>
                    <a:pt x="2028" y="5718"/>
                  </a:cubicBezTo>
                  <a:cubicBezTo>
                    <a:pt x="-3178" y="7912"/>
                    <a:pt x="3078" y="14958"/>
                    <a:pt x="4814" y="18943"/>
                  </a:cubicBezTo>
                  <a:cubicBezTo>
                    <a:pt x="5133" y="19810"/>
                    <a:pt x="5499" y="20734"/>
                    <a:pt x="5864"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0" name="Shape 2354">
              <a:extLst>
                <a:ext uri="{FF2B5EF4-FFF2-40B4-BE49-F238E27FC236}">
                  <a16:creationId xmlns:a16="http://schemas.microsoft.com/office/drawing/2014/main" id="{BEC0E0E1-3416-0189-9A53-877E4873866F}"/>
                </a:ext>
              </a:extLst>
            </p:cNvPr>
            <p:cNvSpPr/>
            <p:nvPr/>
          </p:nvSpPr>
          <p:spPr>
            <a:xfrm>
              <a:off x="2424234" y="5794637"/>
              <a:ext cx="275366" cy="424824"/>
            </a:xfrm>
            <a:custGeom>
              <a:avLst/>
              <a:gdLst/>
              <a:ahLst/>
              <a:cxnLst>
                <a:cxn ang="0">
                  <a:pos x="wd2" y="hd2"/>
                </a:cxn>
                <a:cxn ang="5400000">
                  <a:pos x="wd2" y="hd2"/>
                </a:cxn>
                <a:cxn ang="10800000">
                  <a:pos x="wd2" y="hd2"/>
                </a:cxn>
                <a:cxn ang="16200000">
                  <a:pos x="wd2" y="hd2"/>
                </a:cxn>
              </a:cxnLst>
              <a:rect l="0" t="0" r="r" b="b"/>
              <a:pathLst>
                <a:path w="21085" h="21600" extrusionOk="0">
                  <a:moveTo>
                    <a:pt x="9097" y="20555"/>
                  </a:moveTo>
                  <a:cubicBezTo>
                    <a:pt x="9097" y="20555"/>
                    <a:pt x="9097" y="20418"/>
                    <a:pt x="8891" y="20418"/>
                  </a:cubicBezTo>
                  <a:cubicBezTo>
                    <a:pt x="8324" y="20812"/>
                    <a:pt x="7526" y="21206"/>
                    <a:pt x="6754" y="21326"/>
                  </a:cubicBezTo>
                  <a:cubicBezTo>
                    <a:pt x="5956" y="21600"/>
                    <a:pt x="5183" y="21600"/>
                    <a:pt x="4385" y="21600"/>
                  </a:cubicBezTo>
                  <a:cubicBezTo>
                    <a:pt x="4591" y="21206"/>
                    <a:pt x="4591" y="20675"/>
                    <a:pt x="4771" y="20161"/>
                  </a:cubicBezTo>
                  <a:cubicBezTo>
                    <a:pt x="4977" y="19887"/>
                    <a:pt x="5570" y="19630"/>
                    <a:pt x="5570" y="19236"/>
                  </a:cubicBezTo>
                  <a:cubicBezTo>
                    <a:pt x="5570" y="18842"/>
                    <a:pt x="4385" y="18722"/>
                    <a:pt x="4591" y="18448"/>
                  </a:cubicBezTo>
                  <a:cubicBezTo>
                    <a:pt x="4771" y="17934"/>
                    <a:pt x="5956" y="17797"/>
                    <a:pt x="6342" y="17283"/>
                  </a:cubicBezTo>
                  <a:cubicBezTo>
                    <a:pt x="6548" y="17009"/>
                    <a:pt x="5956" y="16615"/>
                    <a:pt x="5750" y="16239"/>
                  </a:cubicBezTo>
                  <a:cubicBezTo>
                    <a:pt x="5750" y="15845"/>
                    <a:pt x="5956" y="15570"/>
                    <a:pt x="5750" y="15177"/>
                  </a:cubicBezTo>
                  <a:cubicBezTo>
                    <a:pt x="5570" y="14663"/>
                    <a:pt x="4771" y="14269"/>
                    <a:pt x="4771" y="13738"/>
                  </a:cubicBezTo>
                  <a:cubicBezTo>
                    <a:pt x="4771" y="13481"/>
                    <a:pt x="5570" y="13618"/>
                    <a:pt x="5750" y="13344"/>
                  </a:cubicBezTo>
                  <a:cubicBezTo>
                    <a:pt x="5750" y="13087"/>
                    <a:pt x="5183" y="12830"/>
                    <a:pt x="4977" y="12573"/>
                  </a:cubicBezTo>
                  <a:cubicBezTo>
                    <a:pt x="4977" y="12299"/>
                    <a:pt x="5183" y="11922"/>
                    <a:pt x="4977" y="11785"/>
                  </a:cubicBezTo>
                  <a:cubicBezTo>
                    <a:pt x="4385" y="11648"/>
                    <a:pt x="3587" y="11648"/>
                    <a:pt x="2995" y="11648"/>
                  </a:cubicBezTo>
                  <a:cubicBezTo>
                    <a:pt x="2017" y="11648"/>
                    <a:pt x="652" y="12179"/>
                    <a:pt x="60" y="11648"/>
                  </a:cubicBezTo>
                  <a:cubicBezTo>
                    <a:pt x="-326" y="11254"/>
                    <a:pt x="1244" y="10860"/>
                    <a:pt x="1837" y="10466"/>
                  </a:cubicBezTo>
                  <a:cubicBezTo>
                    <a:pt x="2995" y="9558"/>
                    <a:pt x="4591" y="9027"/>
                    <a:pt x="5183" y="7982"/>
                  </a:cubicBezTo>
                  <a:cubicBezTo>
                    <a:pt x="5750" y="7331"/>
                    <a:pt x="5750" y="6423"/>
                    <a:pt x="5364" y="5755"/>
                  </a:cubicBezTo>
                  <a:cubicBezTo>
                    <a:pt x="4977" y="5105"/>
                    <a:pt x="3201" y="5361"/>
                    <a:pt x="2995" y="4711"/>
                  </a:cubicBezTo>
                  <a:cubicBezTo>
                    <a:pt x="2403" y="3546"/>
                    <a:pt x="3201" y="3015"/>
                    <a:pt x="3407" y="1833"/>
                  </a:cubicBezTo>
                  <a:cubicBezTo>
                    <a:pt x="5364" y="1182"/>
                    <a:pt x="7320" y="394"/>
                    <a:pt x="9097" y="0"/>
                  </a:cubicBezTo>
                  <a:cubicBezTo>
                    <a:pt x="8891" y="651"/>
                    <a:pt x="8505" y="788"/>
                    <a:pt x="8324" y="1576"/>
                  </a:cubicBezTo>
                  <a:cubicBezTo>
                    <a:pt x="8324" y="1833"/>
                    <a:pt x="8710" y="2364"/>
                    <a:pt x="9097" y="2621"/>
                  </a:cubicBezTo>
                  <a:cubicBezTo>
                    <a:pt x="9303" y="2621"/>
                    <a:pt x="9689" y="2364"/>
                    <a:pt x="9895" y="2364"/>
                  </a:cubicBezTo>
                  <a:cubicBezTo>
                    <a:pt x="10281" y="2621"/>
                    <a:pt x="10667" y="2878"/>
                    <a:pt x="10667" y="3272"/>
                  </a:cubicBezTo>
                  <a:cubicBezTo>
                    <a:pt x="10667" y="3546"/>
                    <a:pt x="9895" y="3666"/>
                    <a:pt x="9895" y="3923"/>
                  </a:cubicBezTo>
                  <a:cubicBezTo>
                    <a:pt x="9895" y="4197"/>
                    <a:pt x="10281" y="4454"/>
                    <a:pt x="10487" y="4711"/>
                  </a:cubicBezTo>
                  <a:cubicBezTo>
                    <a:pt x="10873" y="4848"/>
                    <a:pt x="11465" y="4711"/>
                    <a:pt x="11465" y="4967"/>
                  </a:cubicBezTo>
                  <a:cubicBezTo>
                    <a:pt x="11851" y="5361"/>
                    <a:pt x="11465" y="5892"/>
                    <a:pt x="11671" y="6286"/>
                  </a:cubicBezTo>
                  <a:cubicBezTo>
                    <a:pt x="11851" y="6680"/>
                    <a:pt x="12443" y="6937"/>
                    <a:pt x="12649" y="7331"/>
                  </a:cubicBezTo>
                  <a:cubicBezTo>
                    <a:pt x="13242" y="7725"/>
                    <a:pt x="13242" y="8513"/>
                    <a:pt x="14014" y="8770"/>
                  </a:cubicBezTo>
                  <a:cubicBezTo>
                    <a:pt x="14606" y="8907"/>
                    <a:pt x="15404" y="8513"/>
                    <a:pt x="15945" y="8513"/>
                  </a:cubicBezTo>
                  <a:cubicBezTo>
                    <a:pt x="16151" y="8513"/>
                    <a:pt x="16743" y="8513"/>
                    <a:pt x="16743" y="8633"/>
                  </a:cubicBezTo>
                  <a:cubicBezTo>
                    <a:pt x="17129" y="9301"/>
                    <a:pt x="16537" y="9952"/>
                    <a:pt x="16949" y="10466"/>
                  </a:cubicBezTo>
                  <a:cubicBezTo>
                    <a:pt x="17129" y="10740"/>
                    <a:pt x="17927" y="10466"/>
                    <a:pt x="18133" y="10603"/>
                  </a:cubicBezTo>
                  <a:cubicBezTo>
                    <a:pt x="18519" y="11134"/>
                    <a:pt x="18519" y="11648"/>
                    <a:pt x="18725" y="12179"/>
                  </a:cubicBezTo>
                  <a:cubicBezTo>
                    <a:pt x="18725" y="12693"/>
                    <a:pt x="18313" y="13087"/>
                    <a:pt x="18313" y="13618"/>
                  </a:cubicBezTo>
                  <a:cubicBezTo>
                    <a:pt x="18313" y="13875"/>
                    <a:pt x="18905" y="14012"/>
                    <a:pt x="18905" y="14132"/>
                  </a:cubicBezTo>
                  <a:cubicBezTo>
                    <a:pt x="18905" y="14663"/>
                    <a:pt x="17927" y="15177"/>
                    <a:pt x="18313" y="15708"/>
                  </a:cubicBezTo>
                  <a:cubicBezTo>
                    <a:pt x="18725" y="16239"/>
                    <a:pt x="20296" y="15845"/>
                    <a:pt x="20888" y="16358"/>
                  </a:cubicBezTo>
                  <a:cubicBezTo>
                    <a:pt x="21274" y="16615"/>
                    <a:pt x="21068" y="17283"/>
                    <a:pt x="20476" y="17403"/>
                  </a:cubicBezTo>
                  <a:cubicBezTo>
                    <a:pt x="19111" y="17797"/>
                    <a:pt x="17541" y="17677"/>
                    <a:pt x="16151" y="17677"/>
                  </a:cubicBezTo>
                  <a:cubicBezTo>
                    <a:pt x="14606" y="17797"/>
                    <a:pt x="12830" y="17403"/>
                    <a:pt x="11671" y="17934"/>
                  </a:cubicBezTo>
                  <a:cubicBezTo>
                    <a:pt x="10281" y="18448"/>
                    <a:pt x="9895" y="19630"/>
                    <a:pt x="9097" y="205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1" name="Shape 2355">
              <a:extLst>
                <a:ext uri="{FF2B5EF4-FFF2-40B4-BE49-F238E27FC236}">
                  <a16:creationId xmlns:a16="http://schemas.microsoft.com/office/drawing/2014/main" id="{4F7198B5-0EBF-6A3E-0900-42DCD5D31C33}"/>
                </a:ext>
              </a:extLst>
            </p:cNvPr>
            <p:cNvSpPr/>
            <p:nvPr/>
          </p:nvSpPr>
          <p:spPr>
            <a:xfrm>
              <a:off x="2198494" y="5810989"/>
              <a:ext cx="302889" cy="335189"/>
            </a:xfrm>
            <a:custGeom>
              <a:avLst/>
              <a:gdLst/>
              <a:ahLst/>
              <a:cxnLst>
                <a:cxn ang="0">
                  <a:pos x="wd2" y="hd2"/>
                </a:cxn>
                <a:cxn ang="5400000">
                  <a:pos x="wd2" y="hd2"/>
                </a:cxn>
                <a:cxn ang="10800000">
                  <a:pos x="wd2" y="hd2"/>
                </a:cxn>
                <a:cxn ang="16200000">
                  <a:pos x="wd2" y="hd2"/>
                </a:cxn>
              </a:cxnLst>
              <a:rect l="0" t="0" r="r" b="b"/>
              <a:pathLst>
                <a:path w="21493" h="21477" extrusionOk="0">
                  <a:moveTo>
                    <a:pt x="19227" y="1316"/>
                  </a:moveTo>
                  <a:cubicBezTo>
                    <a:pt x="19035" y="2805"/>
                    <a:pt x="18292" y="3474"/>
                    <a:pt x="18843" y="4941"/>
                  </a:cubicBezTo>
                  <a:cubicBezTo>
                    <a:pt x="19035" y="5761"/>
                    <a:pt x="20689" y="5438"/>
                    <a:pt x="21049" y="6258"/>
                  </a:cubicBezTo>
                  <a:cubicBezTo>
                    <a:pt x="21408" y="7099"/>
                    <a:pt x="21408" y="8243"/>
                    <a:pt x="20881" y="9063"/>
                  </a:cubicBezTo>
                  <a:cubicBezTo>
                    <a:pt x="20329" y="10379"/>
                    <a:pt x="18843" y="11048"/>
                    <a:pt x="17764" y="12192"/>
                  </a:cubicBezTo>
                  <a:cubicBezTo>
                    <a:pt x="17213" y="12688"/>
                    <a:pt x="15750" y="13184"/>
                    <a:pt x="16110" y="13681"/>
                  </a:cubicBezTo>
                  <a:cubicBezTo>
                    <a:pt x="16661" y="14350"/>
                    <a:pt x="17932" y="13681"/>
                    <a:pt x="18843" y="13681"/>
                  </a:cubicBezTo>
                  <a:cubicBezTo>
                    <a:pt x="19394" y="13681"/>
                    <a:pt x="20138" y="13681"/>
                    <a:pt x="20689" y="13853"/>
                  </a:cubicBezTo>
                  <a:cubicBezTo>
                    <a:pt x="20881" y="14026"/>
                    <a:pt x="20689" y="14501"/>
                    <a:pt x="20689" y="14846"/>
                  </a:cubicBezTo>
                  <a:cubicBezTo>
                    <a:pt x="20881" y="15170"/>
                    <a:pt x="21408" y="15493"/>
                    <a:pt x="21408" y="15817"/>
                  </a:cubicBezTo>
                  <a:cubicBezTo>
                    <a:pt x="21240" y="16162"/>
                    <a:pt x="20497" y="15990"/>
                    <a:pt x="20497" y="16313"/>
                  </a:cubicBezTo>
                  <a:cubicBezTo>
                    <a:pt x="20497" y="16982"/>
                    <a:pt x="21240" y="17479"/>
                    <a:pt x="21408" y="18126"/>
                  </a:cubicBezTo>
                  <a:cubicBezTo>
                    <a:pt x="21600" y="18622"/>
                    <a:pt x="21408" y="18967"/>
                    <a:pt x="21408" y="19464"/>
                  </a:cubicBezTo>
                  <a:cubicBezTo>
                    <a:pt x="21408" y="19615"/>
                    <a:pt x="21240" y="19615"/>
                    <a:pt x="21049" y="19787"/>
                  </a:cubicBezTo>
                  <a:cubicBezTo>
                    <a:pt x="20689" y="19938"/>
                    <a:pt x="20329" y="20111"/>
                    <a:pt x="19946" y="20111"/>
                  </a:cubicBezTo>
                  <a:cubicBezTo>
                    <a:pt x="19394" y="20111"/>
                    <a:pt x="18843" y="19938"/>
                    <a:pt x="18292" y="19938"/>
                  </a:cubicBezTo>
                  <a:cubicBezTo>
                    <a:pt x="18124" y="19938"/>
                    <a:pt x="18124" y="20435"/>
                    <a:pt x="17764" y="20435"/>
                  </a:cubicBezTo>
                  <a:cubicBezTo>
                    <a:pt x="17381" y="20435"/>
                    <a:pt x="16661" y="20435"/>
                    <a:pt x="16470" y="20111"/>
                  </a:cubicBezTo>
                  <a:cubicBezTo>
                    <a:pt x="15918" y="19787"/>
                    <a:pt x="15918" y="19118"/>
                    <a:pt x="15918" y="18622"/>
                  </a:cubicBezTo>
                  <a:cubicBezTo>
                    <a:pt x="15918" y="18471"/>
                    <a:pt x="16470" y="18126"/>
                    <a:pt x="16278" y="17975"/>
                  </a:cubicBezTo>
                  <a:cubicBezTo>
                    <a:pt x="15918" y="17630"/>
                    <a:pt x="15559" y="17975"/>
                    <a:pt x="15199" y="18126"/>
                  </a:cubicBezTo>
                  <a:cubicBezTo>
                    <a:pt x="14816" y="18126"/>
                    <a:pt x="14456" y="18471"/>
                    <a:pt x="14096" y="18622"/>
                  </a:cubicBezTo>
                  <a:cubicBezTo>
                    <a:pt x="13737" y="18795"/>
                    <a:pt x="13545" y="19118"/>
                    <a:pt x="12994" y="19291"/>
                  </a:cubicBezTo>
                  <a:cubicBezTo>
                    <a:pt x="12442" y="19464"/>
                    <a:pt x="11723" y="19291"/>
                    <a:pt x="11172" y="19615"/>
                  </a:cubicBezTo>
                  <a:cubicBezTo>
                    <a:pt x="10428" y="19938"/>
                    <a:pt x="10069" y="20607"/>
                    <a:pt x="9326" y="21104"/>
                  </a:cubicBezTo>
                  <a:cubicBezTo>
                    <a:pt x="8966" y="21276"/>
                    <a:pt x="8415" y="21600"/>
                    <a:pt x="7863" y="21427"/>
                  </a:cubicBezTo>
                  <a:cubicBezTo>
                    <a:pt x="7312" y="21276"/>
                    <a:pt x="6952" y="20435"/>
                    <a:pt x="6593" y="20111"/>
                  </a:cubicBezTo>
                  <a:cubicBezTo>
                    <a:pt x="6041" y="19615"/>
                    <a:pt x="5490" y="19118"/>
                    <a:pt x="5130" y="18622"/>
                  </a:cubicBezTo>
                  <a:cubicBezTo>
                    <a:pt x="4747" y="18299"/>
                    <a:pt x="5130" y="17802"/>
                    <a:pt x="4747" y="17479"/>
                  </a:cubicBezTo>
                  <a:cubicBezTo>
                    <a:pt x="4387" y="17306"/>
                    <a:pt x="4028" y="17630"/>
                    <a:pt x="3644" y="17630"/>
                  </a:cubicBezTo>
                  <a:cubicBezTo>
                    <a:pt x="2925" y="17802"/>
                    <a:pt x="2182" y="18299"/>
                    <a:pt x="1630" y="17975"/>
                  </a:cubicBezTo>
                  <a:cubicBezTo>
                    <a:pt x="1103" y="17479"/>
                    <a:pt x="1271" y="16313"/>
                    <a:pt x="1271" y="15666"/>
                  </a:cubicBezTo>
                  <a:cubicBezTo>
                    <a:pt x="1271" y="15170"/>
                    <a:pt x="2014" y="14997"/>
                    <a:pt x="2014" y="14673"/>
                  </a:cubicBezTo>
                  <a:cubicBezTo>
                    <a:pt x="2014" y="14350"/>
                    <a:pt x="1822" y="14177"/>
                    <a:pt x="1462" y="13853"/>
                  </a:cubicBezTo>
                  <a:cubicBezTo>
                    <a:pt x="1271" y="13681"/>
                    <a:pt x="911" y="13681"/>
                    <a:pt x="911" y="13357"/>
                  </a:cubicBezTo>
                  <a:cubicBezTo>
                    <a:pt x="719" y="13184"/>
                    <a:pt x="911" y="13033"/>
                    <a:pt x="719" y="12861"/>
                  </a:cubicBezTo>
                  <a:cubicBezTo>
                    <a:pt x="551" y="12688"/>
                    <a:pt x="0" y="12861"/>
                    <a:pt x="0" y="12537"/>
                  </a:cubicBezTo>
                  <a:cubicBezTo>
                    <a:pt x="0" y="11868"/>
                    <a:pt x="360" y="11199"/>
                    <a:pt x="911" y="10552"/>
                  </a:cubicBezTo>
                  <a:cubicBezTo>
                    <a:pt x="1271" y="10056"/>
                    <a:pt x="2014" y="9883"/>
                    <a:pt x="2373" y="9559"/>
                  </a:cubicBezTo>
                  <a:cubicBezTo>
                    <a:pt x="2733" y="9063"/>
                    <a:pt x="2565" y="8567"/>
                    <a:pt x="2733" y="8092"/>
                  </a:cubicBezTo>
                  <a:cubicBezTo>
                    <a:pt x="2733" y="7747"/>
                    <a:pt x="3093" y="7596"/>
                    <a:pt x="3284" y="7250"/>
                  </a:cubicBezTo>
                  <a:cubicBezTo>
                    <a:pt x="3476" y="6927"/>
                    <a:pt x="3836" y="6603"/>
                    <a:pt x="3644" y="6430"/>
                  </a:cubicBezTo>
                  <a:cubicBezTo>
                    <a:pt x="3644" y="6107"/>
                    <a:pt x="3093" y="6258"/>
                    <a:pt x="2733" y="6107"/>
                  </a:cubicBezTo>
                  <a:cubicBezTo>
                    <a:pt x="2182" y="5761"/>
                    <a:pt x="1630" y="5265"/>
                    <a:pt x="1271" y="4790"/>
                  </a:cubicBezTo>
                  <a:cubicBezTo>
                    <a:pt x="719" y="4294"/>
                    <a:pt x="1103" y="4618"/>
                    <a:pt x="719" y="4121"/>
                  </a:cubicBezTo>
                  <a:cubicBezTo>
                    <a:pt x="1103" y="3949"/>
                    <a:pt x="1462" y="3798"/>
                    <a:pt x="1822" y="3625"/>
                  </a:cubicBezTo>
                  <a:cubicBezTo>
                    <a:pt x="3093" y="3474"/>
                    <a:pt x="5298" y="3625"/>
                    <a:pt x="5682" y="2158"/>
                  </a:cubicBezTo>
                  <a:cubicBezTo>
                    <a:pt x="6041" y="993"/>
                    <a:pt x="5298" y="820"/>
                    <a:pt x="5298" y="0"/>
                  </a:cubicBezTo>
                  <a:cubicBezTo>
                    <a:pt x="7312" y="0"/>
                    <a:pt x="7695" y="1316"/>
                    <a:pt x="9685" y="1165"/>
                  </a:cubicBezTo>
                  <a:cubicBezTo>
                    <a:pt x="11339" y="820"/>
                    <a:pt x="11531" y="2805"/>
                    <a:pt x="13905" y="2633"/>
                  </a:cubicBezTo>
                  <a:cubicBezTo>
                    <a:pt x="15918" y="2633"/>
                    <a:pt x="17572" y="1985"/>
                    <a:pt x="19227" y="131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2" name="Shape 2356">
              <a:extLst>
                <a:ext uri="{FF2B5EF4-FFF2-40B4-BE49-F238E27FC236}">
                  <a16:creationId xmlns:a16="http://schemas.microsoft.com/office/drawing/2014/main" id="{C516B034-F126-5A8D-B962-393EC61B43A8}"/>
                </a:ext>
              </a:extLst>
            </p:cNvPr>
            <p:cNvSpPr/>
            <p:nvPr/>
          </p:nvSpPr>
          <p:spPr>
            <a:xfrm>
              <a:off x="1811420" y="5874912"/>
              <a:ext cx="696761" cy="632943"/>
            </a:xfrm>
            <a:custGeom>
              <a:avLst/>
              <a:gdLst/>
              <a:ahLst/>
              <a:cxnLst>
                <a:cxn ang="0">
                  <a:pos x="wd2" y="hd2"/>
                </a:cxn>
                <a:cxn ang="5400000">
                  <a:pos x="wd2" y="hd2"/>
                </a:cxn>
                <a:cxn ang="10800000">
                  <a:pos x="wd2" y="hd2"/>
                </a:cxn>
                <a:cxn ang="16200000">
                  <a:pos x="wd2" y="hd2"/>
                </a:cxn>
              </a:cxnLst>
              <a:rect l="0" t="0" r="r" b="b"/>
              <a:pathLst>
                <a:path w="20505" h="21600" extrusionOk="0">
                  <a:moveTo>
                    <a:pt x="11697" y="0"/>
                  </a:moveTo>
                  <a:cubicBezTo>
                    <a:pt x="11250" y="92"/>
                    <a:pt x="10863" y="356"/>
                    <a:pt x="10566" y="356"/>
                  </a:cubicBezTo>
                  <a:cubicBezTo>
                    <a:pt x="10258" y="529"/>
                    <a:pt x="9504" y="609"/>
                    <a:pt x="9196" y="874"/>
                  </a:cubicBezTo>
                  <a:cubicBezTo>
                    <a:pt x="8899" y="1058"/>
                    <a:pt x="8671" y="1402"/>
                    <a:pt x="8442" y="1759"/>
                  </a:cubicBezTo>
                  <a:cubicBezTo>
                    <a:pt x="8294" y="1931"/>
                    <a:pt x="8442" y="2288"/>
                    <a:pt x="8214" y="2460"/>
                  </a:cubicBezTo>
                  <a:cubicBezTo>
                    <a:pt x="7986" y="2816"/>
                    <a:pt x="7609" y="2816"/>
                    <a:pt x="7301" y="2989"/>
                  </a:cubicBezTo>
                  <a:cubicBezTo>
                    <a:pt x="7004" y="3253"/>
                    <a:pt x="6845" y="3954"/>
                    <a:pt x="6547" y="4299"/>
                  </a:cubicBezTo>
                  <a:cubicBezTo>
                    <a:pt x="5635" y="4656"/>
                    <a:pt x="6845" y="5978"/>
                    <a:pt x="6319" y="6679"/>
                  </a:cubicBezTo>
                  <a:cubicBezTo>
                    <a:pt x="6091" y="7024"/>
                    <a:pt x="5793" y="7817"/>
                    <a:pt x="5486" y="7989"/>
                  </a:cubicBezTo>
                  <a:cubicBezTo>
                    <a:pt x="5337" y="8081"/>
                    <a:pt x="4801" y="7989"/>
                    <a:pt x="4801" y="8254"/>
                  </a:cubicBezTo>
                  <a:cubicBezTo>
                    <a:pt x="4801" y="8875"/>
                    <a:pt x="3283" y="10357"/>
                    <a:pt x="3134" y="9656"/>
                  </a:cubicBezTo>
                  <a:cubicBezTo>
                    <a:pt x="2152" y="10013"/>
                    <a:pt x="-1033" y="14668"/>
                    <a:pt x="336" y="14668"/>
                  </a:cubicBezTo>
                  <a:cubicBezTo>
                    <a:pt x="406" y="14312"/>
                    <a:pt x="783" y="14139"/>
                    <a:pt x="1011" y="14220"/>
                  </a:cubicBezTo>
                  <a:cubicBezTo>
                    <a:pt x="1775" y="14312"/>
                    <a:pt x="3362" y="12473"/>
                    <a:pt x="3362" y="14749"/>
                  </a:cubicBezTo>
                  <a:cubicBezTo>
                    <a:pt x="3442" y="14749"/>
                    <a:pt x="3442" y="14749"/>
                    <a:pt x="3442" y="14749"/>
                  </a:cubicBezTo>
                  <a:cubicBezTo>
                    <a:pt x="3511" y="14576"/>
                    <a:pt x="3670" y="14484"/>
                    <a:pt x="3819" y="14404"/>
                  </a:cubicBezTo>
                  <a:cubicBezTo>
                    <a:pt x="3888" y="14404"/>
                    <a:pt x="4196" y="14312"/>
                    <a:pt x="4196" y="14220"/>
                  </a:cubicBezTo>
                  <a:cubicBezTo>
                    <a:pt x="4275" y="14220"/>
                    <a:pt x="4116" y="13703"/>
                    <a:pt x="4116" y="13519"/>
                  </a:cubicBezTo>
                  <a:cubicBezTo>
                    <a:pt x="4116" y="11679"/>
                    <a:pt x="6924" y="10714"/>
                    <a:pt x="8294" y="10714"/>
                  </a:cubicBezTo>
                  <a:cubicBezTo>
                    <a:pt x="9127" y="10714"/>
                    <a:pt x="10258" y="12208"/>
                    <a:pt x="9732" y="13082"/>
                  </a:cubicBezTo>
                  <a:cubicBezTo>
                    <a:pt x="9127" y="14139"/>
                    <a:pt x="9802" y="14933"/>
                    <a:pt x="10486" y="15898"/>
                  </a:cubicBezTo>
                  <a:cubicBezTo>
                    <a:pt x="10486" y="16163"/>
                    <a:pt x="10486" y="16772"/>
                    <a:pt x="10863" y="16680"/>
                  </a:cubicBezTo>
                  <a:cubicBezTo>
                    <a:pt x="11092" y="16599"/>
                    <a:pt x="11320" y="16335"/>
                    <a:pt x="11469" y="16335"/>
                  </a:cubicBezTo>
                  <a:cubicBezTo>
                    <a:pt x="11469" y="16772"/>
                    <a:pt x="10715" y="17381"/>
                    <a:pt x="10407" y="17646"/>
                  </a:cubicBezTo>
                  <a:cubicBezTo>
                    <a:pt x="9802" y="18266"/>
                    <a:pt x="9732" y="19577"/>
                    <a:pt x="10109" y="20370"/>
                  </a:cubicBezTo>
                  <a:cubicBezTo>
                    <a:pt x="10338" y="20807"/>
                    <a:pt x="10407" y="21163"/>
                    <a:pt x="10566" y="21600"/>
                  </a:cubicBezTo>
                  <a:cubicBezTo>
                    <a:pt x="13066" y="20726"/>
                    <a:pt x="13066" y="20726"/>
                    <a:pt x="13066" y="20726"/>
                  </a:cubicBezTo>
                  <a:cubicBezTo>
                    <a:pt x="13215" y="20542"/>
                    <a:pt x="13443" y="20370"/>
                    <a:pt x="13671" y="20106"/>
                  </a:cubicBezTo>
                  <a:cubicBezTo>
                    <a:pt x="13899" y="19761"/>
                    <a:pt x="14128" y="19404"/>
                    <a:pt x="14277" y="18968"/>
                  </a:cubicBezTo>
                  <a:cubicBezTo>
                    <a:pt x="14425" y="18439"/>
                    <a:pt x="14356" y="17646"/>
                    <a:pt x="14802" y="17381"/>
                  </a:cubicBezTo>
                  <a:cubicBezTo>
                    <a:pt x="15259" y="17036"/>
                    <a:pt x="15864" y="17473"/>
                    <a:pt x="16400" y="17381"/>
                  </a:cubicBezTo>
                  <a:cubicBezTo>
                    <a:pt x="16628" y="17301"/>
                    <a:pt x="16697" y="17036"/>
                    <a:pt x="16856" y="16944"/>
                  </a:cubicBezTo>
                  <a:cubicBezTo>
                    <a:pt x="17154" y="16772"/>
                    <a:pt x="17610" y="16864"/>
                    <a:pt x="17918" y="16599"/>
                  </a:cubicBezTo>
                  <a:cubicBezTo>
                    <a:pt x="18136" y="16335"/>
                    <a:pt x="18295" y="15898"/>
                    <a:pt x="18295" y="15461"/>
                  </a:cubicBezTo>
                  <a:cubicBezTo>
                    <a:pt x="18295" y="14933"/>
                    <a:pt x="17987" y="14404"/>
                    <a:pt x="17987" y="13875"/>
                  </a:cubicBezTo>
                  <a:cubicBezTo>
                    <a:pt x="17987" y="13519"/>
                    <a:pt x="17918" y="13174"/>
                    <a:pt x="18136" y="12909"/>
                  </a:cubicBezTo>
                  <a:cubicBezTo>
                    <a:pt x="18364" y="12645"/>
                    <a:pt x="18821" y="12817"/>
                    <a:pt x="19128" y="12645"/>
                  </a:cubicBezTo>
                  <a:cubicBezTo>
                    <a:pt x="19426" y="12473"/>
                    <a:pt x="19585" y="12036"/>
                    <a:pt x="19734" y="11771"/>
                  </a:cubicBezTo>
                  <a:cubicBezTo>
                    <a:pt x="19813" y="11507"/>
                    <a:pt x="19813" y="11151"/>
                    <a:pt x="19882" y="10806"/>
                  </a:cubicBezTo>
                  <a:cubicBezTo>
                    <a:pt x="19962" y="10622"/>
                    <a:pt x="20190" y="10449"/>
                    <a:pt x="20190" y="10185"/>
                  </a:cubicBezTo>
                  <a:cubicBezTo>
                    <a:pt x="20190" y="9921"/>
                    <a:pt x="19734" y="9840"/>
                    <a:pt x="19813" y="9656"/>
                  </a:cubicBezTo>
                  <a:cubicBezTo>
                    <a:pt x="19882" y="9311"/>
                    <a:pt x="20339" y="9219"/>
                    <a:pt x="20488" y="8875"/>
                  </a:cubicBezTo>
                  <a:cubicBezTo>
                    <a:pt x="20567" y="8691"/>
                    <a:pt x="20339" y="8426"/>
                    <a:pt x="20259" y="8173"/>
                  </a:cubicBezTo>
                  <a:cubicBezTo>
                    <a:pt x="20259" y="8254"/>
                    <a:pt x="20190" y="8254"/>
                    <a:pt x="20111" y="8346"/>
                  </a:cubicBezTo>
                  <a:cubicBezTo>
                    <a:pt x="19962" y="8426"/>
                    <a:pt x="19813" y="8518"/>
                    <a:pt x="19654" y="8518"/>
                  </a:cubicBezTo>
                  <a:cubicBezTo>
                    <a:pt x="19426" y="8518"/>
                    <a:pt x="19198" y="8426"/>
                    <a:pt x="18970" y="8426"/>
                  </a:cubicBezTo>
                  <a:cubicBezTo>
                    <a:pt x="18900" y="8426"/>
                    <a:pt x="18900" y="8691"/>
                    <a:pt x="18751" y="8691"/>
                  </a:cubicBezTo>
                  <a:cubicBezTo>
                    <a:pt x="18593" y="8691"/>
                    <a:pt x="18295" y="8691"/>
                    <a:pt x="18216" y="8518"/>
                  </a:cubicBezTo>
                  <a:cubicBezTo>
                    <a:pt x="17987" y="8346"/>
                    <a:pt x="17987" y="7989"/>
                    <a:pt x="17987" y="7725"/>
                  </a:cubicBezTo>
                  <a:cubicBezTo>
                    <a:pt x="17987" y="7644"/>
                    <a:pt x="18216" y="7461"/>
                    <a:pt x="18136" y="7380"/>
                  </a:cubicBezTo>
                  <a:cubicBezTo>
                    <a:pt x="17987" y="7196"/>
                    <a:pt x="17838" y="7380"/>
                    <a:pt x="17690" y="7461"/>
                  </a:cubicBezTo>
                  <a:cubicBezTo>
                    <a:pt x="17531" y="7461"/>
                    <a:pt x="17382" y="7644"/>
                    <a:pt x="17233" y="7725"/>
                  </a:cubicBezTo>
                  <a:cubicBezTo>
                    <a:pt x="17084" y="7817"/>
                    <a:pt x="17005" y="7989"/>
                    <a:pt x="16777" y="8081"/>
                  </a:cubicBezTo>
                  <a:cubicBezTo>
                    <a:pt x="16549" y="8173"/>
                    <a:pt x="16251" y="8081"/>
                    <a:pt x="16023" y="8254"/>
                  </a:cubicBezTo>
                  <a:cubicBezTo>
                    <a:pt x="15715" y="8426"/>
                    <a:pt x="15566" y="8783"/>
                    <a:pt x="15259" y="9047"/>
                  </a:cubicBezTo>
                  <a:cubicBezTo>
                    <a:pt x="15110" y="9139"/>
                    <a:pt x="14882" y="9311"/>
                    <a:pt x="14654" y="9219"/>
                  </a:cubicBezTo>
                  <a:cubicBezTo>
                    <a:pt x="14425" y="9139"/>
                    <a:pt x="14277" y="8691"/>
                    <a:pt x="14128" y="8518"/>
                  </a:cubicBezTo>
                  <a:cubicBezTo>
                    <a:pt x="13899" y="8254"/>
                    <a:pt x="13671" y="7989"/>
                    <a:pt x="13522" y="7725"/>
                  </a:cubicBezTo>
                  <a:cubicBezTo>
                    <a:pt x="13364" y="7553"/>
                    <a:pt x="13522" y="7288"/>
                    <a:pt x="13364" y="7116"/>
                  </a:cubicBezTo>
                  <a:cubicBezTo>
                    <a:pt x="13215" y="7024"/>
                    <a:pt x="13066" y="7196"/>
                    <a:pt x="12907" y="7196"/>
                  </a:cubicBezTo>
                  <a:cubicBezTo>
                    <a:pt x="12610" y="7288"/>
                    <a:pt x="12302" y="7553"/>
                    <a:pt x="12074" y="7380"/>
                  </a:cubicBezTo>
                  <a:cubicBezTo>
                    <a:pt x="11856" y="7116"/>
                    <a:pt x="11925" y="6495"/>
                    <a:pt x="11925" y="6150"/>
                  </a:cubicBezTo>
                  <a:cubicBezTo>
                    <a:pt x="11925" y="5886"/>
                    <a:pt x="12233" y="5794"/>
                    <a:pt x="12233" y="5621"/>
                  </a:cubicBezTo>
                  <a:cubicBezTo>
                    <a:pt x="12233" y="5449"/>
                    <a:pt x="12153" y="5357"/>
                    <a:pt x="12004" y="5184"/>
                  </a:cubicBezTo>
                  <a:cubicBezTo>
                    <a:pt x="11925" y="5092"/>
                    <a:pt x="11776" y="5092"/>
                    <a:pt x="11776" y="4920"/>
                  </a:cubicBezTo>
                  <a:cubicBezTo>
                    <a:pt x="11697" y="4828"/>
                    <a:pt x="11776" y="4748"/>
                    <a:pt x="11697" y="4656"/>
                  </a:cubicBezTo>
                  <a:cubicBezTo>
                    <a:pt x="11627" y="4564"/>
                    <a:pt x="11399" y="4656"/>
                    <a:pt x="11399" y="4483"/>
                  </a:cubicBezTo>
                  <a:cubicBezTo>
                    <a:pt x="11399" y="4127"/>
                    <a:pt x="11548" y="3771"/>
                    <a:pt x="11776" y="3426"/>
                  </a:cubicBezTo>
                  <a:cubicBezTo>
                    <a:pt x="11925" y="3161"/>
                    <a:pt x="12233" y="3069"/>
                    <a:pt x="12381" y="2897"/>
                  </a:cubicBezTo>
                  <a:cubicBezTo>
                    <a:pt x="12530" y="2632"/>
                    <a:pt x="12461" y="2368"/>
                    <a:pt x="12530" y="2115"/>
                  </a:cubicBezTo>
                  <a:cubicBezTo>
                    <a:pt x="12530" y="1931"/>
                    <a:pt x="12679" y="1851"/>
                    <a:pt x="12758" y="1667"/>
                  </a:cubicBezTo>
                  <a:cubicBezTo>
                    <a:pt x="12838" y="1494"/>
                    <a:pt x="12987" y="1322"/>
                    <a:pt x="12907" y="1230"/>
                  </a:cubicBezTo>
                  <a:cubicBezTo>
                    <a:pt x="12907" y="1058"/>
                    <a:pt x="12679" y="1138"/>
                    <a:pt x="12530" y="1058"/>
                  </a:cubicBezTo>
                  <a:cubicBezTo>
                    <a:pt x="12302" y="874"/>
                    <a:pt x="12074" y="609"/>
                    <a:pt x="11925" y="356"/>
                  </a:cubicBezTo>
                  <a:cubicBezTo>
                    <a:pt x="11697" y="92"/>
                    <a:pt x="11856" y="264"/>
                    <a:pt x="1169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3" name="Shape 2357">
              <a:extLst>
                <a:ext uri="{FF2B5EF4-FFF2-40B4-BE49-F238E27FC236}">
                  <a16:creationId xmlns:a16="http://schemas.microsoft.com/office/drawing/2014/main" id="{E524F73B-D8B2-5512-B307-218BB9593299}"/>
                </a:ext>
              </a:extLst>
            </p:cNvPr>
            <p:cNvSpPr/>
            <p:nvPr/>
          </p:nvSpPr>
          <p:spPr>
            <a:xfrm>
              <a:off x="1847685" y="5733378"/>
              <a:ext cx="339751" cy="267555"/>
            </a:xfrm>
            <a:custGeom>
              <a:avLst/>
              <a:gdLst/>
              <a:ahLst/>
              <a:cxnLst>
                <a:cxn ang="0">
                  <a:pos x="wd2" y="hd2"/>
                </a:cxn>
                <a:cxn ang="5400000">
                  <a:pos x="wd2" y="hd2"/>
                </a:cxn>
                <a:cxn ang="10800000">
                  <a:pos x="wd2" y="hd2"/>
                </a:cxn>
                <a:cxn ang="16200000">
                  <a:pos x="wd2" y="hd2"/>
                </a:cxn>
              </a:cxnLst>
              <a:rect l="0" t="0" r="r" b="b"/>
              <a:pathLst>
                <a:path w="21118" h="21154" extrusionOk="0">
                  <a:moveTo>
                    <a:pt x="11523" y="21154"/>
                  </a:moveTo>
                  <a:cubicBezTo>
                    <a:pt x="12151" y="20353"/>
                    <a:pt x="12487" y="18724"/>
                    <a:pt x="13115" y="18110"/>
                  </a:cubicBezTo>
                  <a:cubicBezTo>
                    <a:pt x="13765" y="17710"/>
                    <a:pt x="14561" y="17710"/>
                    <a:pt x="15042" y="16882"/>
                  </a:cubicBezTo>
                  <a:cubicBezTo>
                    <a:pt x="15524" y="16482"/>
                    <a:pt x="15210" y="15654"/>
                    <a:pt x="15524" y="15253"/>
                  </a:cubicBezTo>
                  <a:cubicBezTo>
                    <a:pt x="16006" y="14426"/>
                    <a:pt x="16488" y="13625"/>
                    <a:pt x="17117" y="13198"/>
                  </a:cubicBezTo>
                  <a:cubicBezTo>
                    <a:pt x="17766" y="12583"/>
                    <a:pt x="19358" y="12397"/>
                    <a:pt x="20008" y="11996"/>
                  </a:cubicBezTo>
                  <a:cubicBezTo>
                    <a:pt x="20008" y="11782"/>
                    <a:pt x="21600" y="7297"/>
                    <a:pt x="20971" y="7697"/>
                  </a:cubicBezTo>
                  <a:cubicBezTo>
                    <a:pt x="20154" y="8311"/>
                    <a:pt x="19526" y="7510"/>
                    <a:pt x="18562" y="7911"/>
                  </a:cubicBezTo>
                  <a:cubicBezTo>
                    <a:pt x="15839" y="9540"/>
                    <a:pt x="13765" y="3612"/>
                    <a:pt x="13115" y="1183"/>
                  </a:cubicBezTo>
                  <a:cubicBezTo>
                    <a:pt x="12319" y="1183"/>
                    <a:pt x="11523" y="969"/>
                    <a:pt x="10873" y="569"/>
                  </a:cubicBezTo>
                  <a:cubicBezTo>
                    <a:pt x="9281" y="-446"/>
                    <a:pt x="9281" y="168"/>
                    <a:pt x="7689" y="355"/>
                  </a:cubicBezTo>
                  <a:cubicBezTo>
                    <a:pt x="6725" y="355"/>
                    <a:pt x="6243" y="569"/>
                    <a:pt x="5447" y="1183"/>
                  </a:cubicBezTo>
                  <a:cubicBezTo>
                    <a:pt x="5280" y="1396"/>
                    <a:pt x="4965" y="1396"/>
                    <a:pt x="4630" y="1396"/>
                  </a:cubicBezTo>
                  <a:cubicBezTo>
                    <a:pt x="4483" y="1583"/>
                    <a:pt x="3834" y="1396"/>
                    <a:pt x="3834" y="1583"/>
                  </a:cubicBezTo>
                  <a:cubicBezTo>
                    <a:pt x="4798" y="2411"/>
                    <a:pt x="3352" y="8525"/>
                    <a:pt x="2724" y="8525"/>
                  </a:cubicBezTo>
                  <a:cubicBezTo>
                    <a:pt x="1760" y="8525"/>
                    <a:pt x="2242" y="6469"/>
                    <a:pt x="796" y="7510"/>
                  </a:cubicBezTo>
                  <a:cubicBezTo>
                    <a:pt x="0" y="7911"/>
                    <a:pt x="0" y="8739"/>
                    <a:pt x="0" y="9940"/>
                  </a:cubicBezTo>
                  <a:cubicBezTo>
                    <a:pt x="482" y="9940"/>
                    <a:pt x="1592" y="9540"/>
                    <a:pt x="1927" y="10367"/>
                  </a:cubicBezTo>
                  <a:cubicBezTo>
                    <a:pt x="2870" y="13011"/>
                    <a:pt x="1760" y="11996"/>
                    <a:pt x="4316" y="13011"/>
                  </a:cubicBezTo>
                  <a:cubicBezTo>
                    <a:pt x="5280" y="13411"/>
                    <a:pt x="5447" y="14426"/>
                    <a:pt x="5594" y="15467"/>
                  </a:cubicBezTo>
                  <a:cubicBezTo>
                    <a:pt x="5761" y="16081"/>
                    <a:pt x="7689" y="18297"/>
                    <a:pt x="8150" y="18911"/>
                  </a:cubicBezTo>
                  <a:cubicBezTo>
                    <a:pt x="9281" y="20139"/>
                    <a:pt x="10245" y="20754"/>
                    <a:pt x="11523" y="2115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4" name="Shape 2358">
              <a:extLst>
                <a:ext uri="{FF2B5EF4-FFF2-40B4-BE49-F238E27FC236}">
                  <a16:creationId xmlns:a16="http://schemas.microsoft.com/office/drawing/2014/main" id="{64AEE740-D7DE-4536-FD05-FD826C932813}"/>
                </a:ext>
              </a:extLst>
            </p:cNvPr>
            <p:cNvSpPr/>
            <p:nvPr/>
          </p:nvSpPr>
          <p:spPr>
            <a:xfrm>
              <a:off x="2622224" y="6099384"/>
              <a:ext cx="510927" cy="601725"/>
            </a:xfrm>
            <a:custGeom>
              <a:avLst/>
              <a:gdLst/>
              <a:ahLst/>
              <a:cxnLst>
                <a:cxn ang="0">
                  <a:pos x="wd2" y="hd2"/>
                </a:cxn>
                <a:cxn ang="5400000">
                  <a:pos x="wd2" y="hd2"/>
                </a:cxn>
                <a:cxn ang="10800000">
                  <a:pos x="wd2" y="hd2"/>
                </a:cxn>
                <a:cxn ang="16200000">
                  <a:pos x="wd2" y="hd2"/>
                </a:cxn>
              </a:cxnLst>
              <a:rect l="0" t="0" r="r" b="b"/>
              <a:pathLst>
                <a:path w="21348" h="21600" extrusionOk="0">
                  <a:moveTo>
                    <a:pt x="18025" y="0"/>
                  </a:moveTo>
                  <a:cubicBezTo>
                    <a:pt x="18025" y="363"/>
                    <a:pt x="18236" y="737"/>
                    <a:pt x="18025" y="1015"/>
                  </a:cubicBezTo>
                  <a:cubicBezTo>
                    <a:pt x="17701" y="1475"/>
                    <a:pt x="17053" y="1571"/>
                    <a:pt x="16729" y="1934"/>
                  </a:cubicBezTo>
                  <a:cubicBezTo>
                    <a:pt x="16406" y="2212"/>
                    <a:pt x="16194" y="2575"/>
                    <a:pt x="16194" y="2949"/>
                  </a:cubicBezTo>
                  <a:cubicBezTo>
                    <a:pt x="16194" y="3227"/>
                    <a:pt x="16293" y="3602"/>
                    <a:pt x="16617" y="3687"/>
                  </a:cubicBezTo>
                  <a:cubicBezTo>
                    <a:pt x="17152" y="3783"/>
                    <a:pt x="17800" y="2949"/>
                    <a:pt x="18123" y="3227"/>
                  </a:cubicBezTo>
                  <a:cubicBezTo>
                    <a:pt x="18560" y="3602"/>
                    <a:pt x="18123" y="4243"/>
                    <a:pt x="17912" y="4702"/>
                  </a:cubicBezTo>
                  <a:cubicBezTo>
                    <a:pt x="17800" y="4980"/>
                    <a:pt x="17476" y="5077"/>
                    <a:pt x="17265" y="5258"/>
                  </a:cubicBezTo>
                  <a:cubicBezTo>
                    <a:pt x="16941" y="5355"/>
                    <a:pt x="16293" y="5161"/>
                    <a:pt x="16194" y="5439"/>
                  </a:cubicBezTo>
                  <a:cubicBezTo>
                    <a:pt x="15871" y="5717"/>
                    <a:pt x="16406" y="6177"/>
                    <a:pt x="16406" y="6551"/>
                  </a:cubicBezTo>
                  <a:cubicBezTo>
                    <a:pt x="16293" y="6648"/>
                    <a:pt x="16082" y="6733"/>
                    <a:pt x="15969" y="6648"/>
                  </a:cubicBezTo>
                  <a:cubicBezTo>
                    <a:pt x="15758" y="6455"/>
                    <a:pt x="15969" y="5995"/>
                    <a:pt x="15659" y="5995"/>
                  </a:cubicBezTo>
                  <a:cubicBezTo>
                    <a:pt x="15434" y="5899"/>
                    <a:pt x="15223" y="6455"/>
                    <a:pt x="15012" y="6455"/>
                  </a:cubicBezTo>
                  <a:cubicBezTo>
                    <a:pt x="14477" y="6455"/>
                    <a:pt x="14040" y="5995"/>
                    <a:pt x="13604" y="6092"/>
                  </a:cubicBezTo>
                  <a:cubicBezTo>
                    <a:pt x="13392" y="6177"/>
                    <a:pt x="13829" y="6648"/>
                    <a:pt x="13604" y="6829"/>
                  </a:cubicBezTo>
                  <a:cubicBezTo>
                    <a:pt x="13181" y="7192"/>
                    <a:pt x="12421" y="7107"/>
                    <a:pt x="11998" y="7470"/>
                  </a:cubicBezTo>
                  <a:cubicBezTo>
                    <a:pt x="11787" y="7663"/>
                    <a:pt x="11886" y="7941"/>
                    <a:pt x="11998" y="8123"/>
                  </a:cubicBezTo>
                  <a:cubicBezTo>
                    <a:pt x="12322" y="8485"/>
                    <a:pt x="12956" y="8485"/>
                    <a:pt x="13280" y="8763"/>
                  </a:cubicBezTo>
                  <a:cubicBezTo>
                    <a:pt x="13392" y="8957"/>
                    <a:pt x="12956" y="9138"/>
                    <a:pt x="13068" y="9319"/>
                  </a:cubicBezTo>
                  <a:cubicBezTo>
                    <a:pt x="13392" y="9694"/>
                    <a:pt x="14040" y="9875"/>
                    <a:pt x="14477" y="10238"/>
                  </a:cubicBezTo>
                  <a:cubicBezTo>
                    <a:pt x="14899" y="10613"/>
                    <a:pt x="15223" y="11072"/>
                    <a:pt x="15659" y="11350"/>
                  </a:cubicBezTo>
                  <a:cubicBezTo>
                    <a:pt x="16082" y="11628"/>
                    <a:pt x="16518" y="12003"/>
                    <a:pt x="17053" y="12003"/>
                  </a:cubicBezTo>
                  <a:cubicBezTo>
                    <a:pt x="17377" y="12003"/>
                    <a:pt x="17377" y="11543"/>
                    <a:pt x="17476" y="11350"/>
                  </a:cubicBezTo>
                  <a:cubicBezTo>
                    <a:pt x="17588" y="10987"/>
                    <a:pt x="17476" y="10516"/>
                    <a:pt x="17588" y="10153"/>
                  </a:cubicBezTo>
                  <a:cubicBezTo>
                    <a:pt x="17701" y="9597"/>
                    <a:pt x="18025" y="9138"/>
                    <a:pt x="18123" y="8582"/>
                  </a:cubicBezTo>
                  <a:cubicBezTo>
                    <a:pt x="18123" y="8401"/>
                    <a:pt x="17800" y="8026"/>
                    <a:pt x="18025" y="8026"/>
                  </a:cubicBezTo>
                  <a:cubicBezTo>
                    <a:pt x="18560" y="7941"/>
                    <a:pt x="19095" y="8123"/>
                    <a:pt x="19630" y="8219"/>
                  </a:cubicBezTo>
                  <a:cubicBezTo>
                    <a:pt x="19630" y="8679"/>
                    <a:pt x="19208" y="9138"/>
                    <a:pt x="19419" y="9501"/>
                  </a:cubicBezTo>
                  <a:cubicBezTo>
                    <a:pt x="19841" y="9779"/>
                    <a:pt x="20602" y="9416"/>
                    <a:pt x="21024" y="9597"/>
                  </a:cubicBezTo>
                  <a:cubicBezTo>
                    <a:pt x="21348" y="9779"/>
                    <a:pt x="21348" y="10153"/>
                    <a:pt x="21348" y="10431"/>
                  </a:cubicBezTo>
                  <a:cubicBezTo>
                    <a:pt x="21348" y="10794"/>
                    <a:pt x="21249" y="11169"/>
                    <a:pt x="21137" y="11543"/>
                  </a:cubicBezTo>
                  <a:cubicBezTo>
                    <a:pt x="20700" y="11628"/>
                    <a:pt x="20067" y="11628"/>
                    <a:pt x="19743" y="11906"/>
                  </a:cubicBezTo>
                  <a:cubicBezTo>
                    <a:pt x="19532" y="12087"/>
                    <a:pt x="19743" y="12365"/>
                    <a:pt x="19841" y="12547"/>
                  </a:cubicBezTo>
                  <a:cubicBezTo>
                    <a:pt x="20067" y="12825"/>
                    <a:pt x="20489" y="12825"/>
                    <a:pt x="20700" y="13103"/>
                  </a:cubicBezTo>
                  <a:cubicBezTo>
                    <a:pt x="20926" y="13381"/>
                    <a:pt x="21137" y="13755"/>
                    <a:pt x="21024" y="14118"/>
                  </a:cubicBezTo>
                  <a:cubicBezTo>
                    <a:pt x="20813" y="14674"/>
                    <a:pt x="20067" y="15049"/>
                    <a:pt x="19954" y="15605"/>
                  </a:cubicBezTo>
                  <a:cubicBezTo>
                    <a:pt x="19841" y="16064"/>
                    <a:pt x="20278" y="16523"/>
                    <a:pt x="20391" y="16983"/>
                  </a:cubicBezTo>
                  <a:cubicBezTo>
                    <a:pt x="19954" y="17164"/>
                    <a:pt x="19208" y="16983"/>
                    <a:pt x="19095" y="17357"/>
                  </a:cubicBezTo>
                  <a:cubicBezTo>
                    <a:pt x="18771" y="17817"/>
                    <a:pt x="19208" y="18373"/>
                    <a:pt x="19306" y="18929"/>
                  </a:cubicBezTo>
                  <a:cubicBezTo>
                    <a:pt x="19306" y="18929"/>
                    <a:pt x="18025" y="19195"/>
                    <a:pt x="17912" y="19195"/>
                  </a:cubicBezTo>
                  <a:cubicBezTo>
                    <a:pt x="17800" y="19195"/>
                    <a:pt x="17701" y="19569"/>
                    <a:pt x="17701" y="19569"/>
                  </a:cubicBezTo>
                  <a:cubicBezTo>
                    <a:pt x="17701" y="19569"/>
                    <a:pt x="16729" y="19666"/>
                    <a:pt x="16518" y="19666"/>
                  </a:cubicBezTo>
                  <a:cubicBezTo>
                    <a:pt x="16406" y="19666"/>
                    <a:pt x="15969" y="20681"/>
                    <a:pt x="15969" y="20681"/>
                  </a:cubicBezTo>
                  <a:cubicBezTo>
                    <a:pt x="15659" y="20681"/>
                    <a:pt x="15335" y="20403"/>
                    <a:pt x="15012" y="20488"/>
                  </a:cubicBezTo>
                  <a:cubicBezTo>
                    <a:pt x="14688" y="20585"/>
                    <a:pt x="14800" y="21141"/>
                    <a:pt x="14477" y="21322"/>
                  </a:cubicBezTo>
                  <a:cubicBezTo>
                    <a:pt x="14040" y="21503"/>
                    <a:pt x="13505" y="21503"/>
                    <a:pt x="13068" y="21503"/>
                  </a:cubicBezTo>
                  <a:cubicBezTo>
                    <a:pt x="12857" y="21225"/>
                    <a:pt x="12857" y="20585"/>
                    <a:pt x="12421" y="20681"/>
                  </a:cubicBezTo>
                  <a:cubicBezTo>
                    <a:pt x="11886" y="20681"/>
                    <a:pt x="11787" y="21322"/>
                    <a:pt x="11351" y="21600"/>
                  </a:cubicBezTo>
                  <a:cubicBezTo>
                    <a:pt x="11351" y="21600"/>
                    <a:pt x="10055" y="20681"/>
                    <a:pt x="10055" y="20585"/>
                  </a:cubicBezTo>
                  <a:cubicBezTo>
                    <a:pt x="9957" y="20488"/>
                    <a:pt x="10379" y="19932"/>
                    <a:pt x="10379" y="19932"/>
                  </a:cubicBezTo>
                  <a:lnTo>
                    <a:pt x="9309" y="19847"/>
                  </a:lnTo>
                  <a:cubicBezTo>
                    <a:pt x="9196" y="19847"/>
                    <a:pt x="9309" y="19195"/>
                    <a:pt x="9309" y="19195"/>
                  </a:cubicBezTo>
                  <a:cubicBezTo>
                    <a:pt x="8774" y="19110"/>
                    <a:pt x="8225" y="18832"/>
                    <a:pt x="7690" y="19013"/>
                  </a:cubicBezTo>
                  <a:cubicBezTo>
                    <a:pt x="7056" y="19195"/>
                    <a:pt x="6732" y="19847"/>
                    <a:pt x="6183" y="20307"/>
                  </a:cubicBezTo>
                  <a:cubicBezTo>
                    <a:pt x="5549" y="20307"/>
                    <a:pt x="5113" y="20585"/>
                    <a:pt x="4578" y="20681"/>
                  </a:cubicBezTo>
                  <a:cubicBezTo>
                    <a:pt x="4254" y="20681"/>
                    <a:pt x="4043" y="20585"/>
                    <a:pt x="3719" y="20585"/>
                  </a:cubicBezTo>
                  <a:cubicBezTo>
                    <a:pt x="3282" y="19847"/>
                    <a:pt x="2099" y="19388"/>
                    <a:pt x="1452" y="18735"/>
                  </a:cubicBezTo>
                  <a:cubicBezTo>
                    <a:pt x="1128" y="18554"/>
                    <a:pt x="804" y="18373"/>
                    <a:pt x="480" y="18179"/>
                  </a:cubicBezTo>
                  <a:cubicBezTo>
                    <a:pt x="185" y="17817"/>
                    <a:pt x="-252" y="17635"/>
                    <a:pt x="185" y="17261"/>
                  </a:cubicBezTo>
                  <a:cubicBezTo>
                    <a:pt x="396" y="16983"/>
                    <a:pt x="593" y="16608"/>
                    <a:pt x="917" y="16608"/>
                  </a:cubicBezTo>
                  <a:cubicBezTo>
                    <a:pt x="1564" y="16608"/>
                    <a:pt x="1452" y="16427"/>
                    <a:pt x="1776" y="16149"/>
                  </a:cubicBezTo>
                  <a:cubicBezTo>
                    <a:pt x="2001" y="16064"/>
                    <a:pt x="2311" y="16149"/>
                    <a:pt x="2536" y="16064"/>
                  </a:cubicBezTo>
                  <a:cubicBezTo>
                    <a:pt x="2958" y="15871"/>
                    <a:pt x="3282" y="15967"/>
                    <a:pt x="3719" y="15871"/>
                  </a:cubicBezTo>
                  <a:cubicBezTo>
                    <a:pt x="4254" y="15871"/>
                    <a:pt x="4578" y="15411"/>
                    <a:pt x="4676" y="15049"/>
                  </a:cubicBezTo>
                  <a:cubicBezTo>
                    <a:pt x="5225" y="14771"/>
                    <a:pt x="5113" y="14493"/>
                    <a:pt x="5113" y="14033"/>
                  </a:cubicBezTo>
                  <a:cubicBezTo>
                    <a:pt x="5113" y="13562"/>
                    <a:pt x="4789" y="12921"/>
                    <a:pt x="4254" y="13477"/>
                  </a:cubicBezTo>
                  <a:cubicBezTo>
                    <a:pt x="4043" y="13755"/>
                    <a:pt x="3719" y="14215"/>
                    <a:pt x="3282" y="14493"/>
                  </a:cubicBezTo>
                  <a:cubicBezTo>
                    <a:pt x="3184" y="14589"/>
                    <a:pt x="2212" y="15605"/>
                    <a:pt x="2423" y="14674"/>
                  </a:cubicBezTo>
                  <a:cubicBezTo>
                    <a:pt x="2536" y="14311"/>
                    <a:pt x="2860" y="13755"/>
                    <a:pt x="2311" y="13477"/>
                  </a:cubicBezTo>
                  <a:cubicBezTo>
                    <a:pt x="2311" y="13018"/>
                    <a:pt x="2958" y="13018"/>
                    <a:pt x="2958" y="12643"/>
                  </a:cubicBezTo>
                  <a:cubicBezTo>
                    <a:pt x="3071" y="12281"/>
                    <a:pt x="3395" y="12003"/>
                    <a:pt x="3719" y="11809"/>
                  </a:cubicBezTo>
                  <a:cubicBezTo>
                    <a:pt x="3930" y="11628"/>
                    <a:pt x="3606" y="11543"/>
                    <a:pt x="3606" y="11350"/>
                  </a:cubicBezTo>
                  <a:cubicBezTo>
                    <a:pt x="3494" y="11169"/>
                    <a:pt x="3930" y="10613"/>
                    <a:pt x="4043" y="10516"/>
                  </a:cubicBezTo>
                  <a:cubicBezTo>
                    <a:pt x="4254" y="10335"/>
                    <a:pt x="4043" y="9960"/>
                    <a:pt x="4254" y="9875"/>
                  </a:cubicBezTo>
                  <a:cubicBezTo>
                    <a:pt x="4352" y="9779"/>
                    <a:pt x="4676" y="9694"/>
                    <a:pt x="4578" y="9416"/>
                  </a:cubicBezTo>
                  <a:cubicBezTo>
                    <a:pt x="4465" y="8957"/>
                    <a:pt x="5437" y="8763"/>
                    <a:pt x="5859" y="8763"/>
                  </a:cubicBezTo>
                  <a:cubicBezTo>
                    <a:pt x="5859" y="8582"/>
                    <a:pt x="5549" y="8219"/>
                    <a:pt x="5225" y="8123"/>
                  </a:cubicBezTo>
                  <a:cubicBezTo>
                    <a:pt x="4578" y="7941"/>
                    <a:pt x="4789" y="7941"/>
                    <a:pt x="4676" y="7470"/>
                  </a:cubicBezTo>
                  <a:cubicBezTo>
                    <a:pt x="4352" y="7470"/>
                    <a:pt x="3817" y="7385"/>
                    <a:pt x="3494" y="7107"/>
                  </a:cubicBezTo>
                  <a:cubicBezTo>
                    <a:pt x="3071" y="6829"/>
                    <a:pt x="3184" y="6273"/>
                    <a:pt x="2635" y="6733"/>
                  </a:cubicBezTo>
                  <a:cubicBezTo>
                    <a:pt x="2423" y="7011"/>
                    <a:pt x="2212" y="6733"/>
                    <a:pt x="2099" y="6455"/>
                  </a:cubicBezTo>
                  <a:cubicBezTo>
                    <a:pt x="1776" y="6092"/>
                    <a:pt x="1564" y="6370"/>
                    <a:pt x="1677" y="5717"/>
                  </a:cubicBezTo>
                  <a:cubicBezTo>
                    <a:pt x="1888" y="5077"/>
                    <a:pt x="1128" y="4980"/>
                    <a:pt x="2212" y="4521"/>
                  </a:cubicBezTo>
                  <a:cubicBezTo>
                    <a:pt x="2536" y="4061"/>
                    <a:pt x="2311" y="4243"/>
                    <a:pt x="1888" y="3868"/>
                  </a:cubicBezTo>
                  <a:cubicBezTo>
                    <a:pt x="1888" y="3868"/>
                    <a:pt x="1888" y="3868"/>
                    <a:pt x="1888" y="3783"/>
                  </a:cubicBezTo>
                  <a:cubicBezTo>
                    <a:pt x="2099" y="3687"/>
                    <a:pt x="2536" y="3505"/>
                    <a:pt x="2635" y="3409"/>
                  </a:cubicBezTo>
                  <a:cubicBezTo>
                    <a:pt x="3395" y="2949"/>
                    <a:pt x="2958" y="2309"/>
                    <a:pt x="4043" y="2490"/>
                  </a:cubicBezTo>
                  <a:cubicBezTo>
                    <a:pt x="4902" y="2575"/>
                    <a:pt x="4578" y="1837"/>
                    <a:pt x="5000" y="1656"/>
                  </a:cubicBezTo>
                  <a:cubicBezTo>
                    <a:pt x="5225" y="1571"/>
                    <a:pt x="5549" y="1475"/>
                    <a:pt x="5648" y="1293"/>
                  </a:cubicBezTo>
                  <a:cubicBezTo>
                    <a:pt x="6296" y="1197"/>
                    <a:pt x="6732" y="2309"/>
                    <a:pt x="7478" y="1837"/>
                  </a:cubicBezTo>
                  <a:cubicBezTo>
                    <a:pt x="8225" y="1378"/>
                    <a:pt x="8774" y="2115"/>
                    <a:pt x="9196" y="2671"/>
                  </a:cubicBezTo>
                  <a:cubicBezTo>
                    <a:pt x="9407" y="3131"/>
                    <a:pt x="9520" y="3505"/>
                    <a:pt x="9957" y="3046"/>
                  </a:cubicBezTo>
                  <a:cubicBezTo>
                    <a:pt x="10492" y="2490"/>
                    <a:pt x="11351" y="2575"/>
                    <a:pt x="11139" y="1753"/>
                  </a:cubicBezTo>
                  <a:cubicBezTo>
                    <a:pt x="11139" y="1571"/>
                    <a:pt x="11027" y="822"/>
                    <a:pt x="10928" y="822"/>
                  </a:cubicBezTo>
                  <a:cubicBezTo>
                    <a:pt x="11351" y="641"/>
                    <a:pt x="11674" y="278"/>
                    <a:pt x="12097" y="181"/>
                  </a:cubicBezTo>
                  <a:cubicBezTo>
                    <a:pt x="12421" y="85"/>
                    <a:pt x="12857" y="85"/>
                    <a:pt x="13181" y="363"/>
                  </a:cubicBezTo>
                  <a:cubicBezTo>
                    <a:pt x="13392" y="556"/>
                    <a:pt x="13181" y="919"/>
                    <a:pt x="13280" y="1100"/>
                  </a:cubicBezTo>
                  <a:cubicBezTo>
                    <a:pt x="13604" y="1378"/>
                    <a:pt x="14040" y="1656"/>
                    <a:pt x="14477" y="1571"/>
                  </a:cubicBezTo>
                  <a:cubicBezTo>
                    <a:pt x="14800" y="1571"/>
                    <a:pt x="14575" y="919"/>
                    <a:pt x="14899" y="822"/>
                  </a:cubicBezTo>
                  <a:cubicBezTo>
                    <a:pt x="15434" y="641"/>
                    <a:pt x="15969" y="919"/>
                    <a:pt x="16518" y="1015"/>
                  </a:cubicBezTo>
                  <a:cubicBezTo>
                    <a:pt x="16518" y="1015"/>
                    <a:pt x="16518" y="556"/>
                    <a:pt x="16729" y="459"/>
                  </a:cubicBezTo>
                  <a:cubicBezTo>
                    <a:pt x="16828" y="459"/>
                    <a:pt x="18025" y="0"/>
                    <a:pt x="1802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5" name="Shape 2359">
              <a:extLst>
                <a:ext uri="{FF2B5EF4-FFF2-40B4-BE49-F238E27FC236}">
                  <a16:creationId xmlns:a16="http://schemas.microsoft.com/office/drawing/2014/main" id="{B16B56F9-84A7-4E08-02AD-DB0EF959FF15}"/>
                </a:ext>
              </a:extLst>
            </p:cNvPr>
            <p:cNvSpPr/>
            <p:nvPr/>
          </p:nvSpPr>
          <p:spPr>
            <a:xfrm>
              <a:off x="2905175" y="6246286"/>
              <a:ext cx="186354" cy="188726"/>
            </a:xfrm>
            <a:custGeom>
              <a:avLst/>
              <a:gdLst/>
              <a:ahLst/>
              <a:cxnLst>
                <a:cxn ang="0">
                  <a:pos x="wd2" y="hd2"/>
                </a:cxn>
                <a:cxn ang="5400000">
                  <a:pos x="wd2" y="hd2"/>
                </a:cxn>
                <a:cxn ang="10800000">
                  <a:pos x="wd2" y="hd2"/>
                </a:cxn>
                <a:cxn ang="16200000">
                  <a:pos x="wd2" y="hd2"/>
                </a:cxn>
              </a:cxnLst>
              <a:rect l="0" t="0" r="r" b="b"/>
              <a:pathLst>
                <a:path w="21360" h="21295" extrusionOk="0">
                  <a:moveTo>
                    <a:pt x="14845" y="0"/>
                  </a:moveTo>
                  <a:cubicBezTo>
                    <a:pt x="15737" y="573"/>
                    <a:pt x="16629" y="1183"/>
                    <a:pt x="17211" y="2023"/>
                  </a:cubicBezTo>
                  <a:cubicBezTo>
                    <a:pt x="17831" y="2634"/>
                    <a:pt x="17211" y="3511"/>
                    <a:pt x="17521" y="4084"/>
                  </a:cubicBezTo>
                  <a:cubicBezTo>
                    <a:pt x="18103" y="5229"/>
                    <a:pt x="19576" y="5839"/>
                    <a:pt x="20197" y="6984"/>
                  </a:cubicBezTo>
                  <a:cubicBezTo>
                    <a:pt x="20778" y="7595"/>
                    <a:pt x="21089" y="8472"/>
                    <a:pt x="21360" y="9350"/>
                  </a:cubicBezTo>
                  <a:cubicBezTo>
                    <a:pt x="19886" y="9045"/>
                    <a:pt x="18413" y="8472"/>
                    <a:pt x="16939" y="8740"/>
                  </a:cubicBezTo>
                  <a:cubicBezTo>
                    <a:pt x="16319" y="8740"/>
                    <a:pt x="17211" y="9923"/>
                    <a:pt x="17211" y="10495"/>
                  </a:cubicBezTo>
                  <a:cubicBezTo>
                    <a:pt x="16939" y="12250"/>
                    <a:pt x="16047" y="13701"/>
                    <a:pt x="15737" y="15456"/>
                  </a:cubicBezTo>
                  <a:cubicBezTo>
                    <a:pt x="15427" y="16601"/>
                    <a:pt x="15737" y="18089"/>
                    <a:pt x="15427" y="19234"/>
                  </a:cubicBezTo>
                  <a:cubicBezTo>
                    <a:pt x="15155" y="19845"/>
                    <a:pt x="15155" y="21295"/>
                    <a:pt x="14263" y="21295"/>
                  </a:cubicBezTo>
                  <a:cubicBezTo>
                    <a:pt x="12790" y="21295"/>
                    <a:pt x="11588" y="20112"/>
                    <a:pt x="10424" y="19234"/>
                  </a:cubicBezTo>
                  <a:cubicBezTo>
                    <a:pt x="9222" y="18356"/>
                    <a:pt x="8330" y="16906"/>
                    <a:pt x="7167" y="15723"/>
                  </a:cubicBezTo>
                  <a:cubicBezTo>
                    <a:pt x="5965" y="14578"/>
                    <a:pt x="4181" y="14006"/>
                    <a:pt x="3289" y="12823"/>
                  </a:cubicBezTo>
                  <a:cubicBezTo>
                    <a:pt x="2979" y="12250"/>
                    <a:pt x="4181" y="11678"/>
                    <a:pt x="3871" y="11067"/>
                  </a:cubicBezTo>
                  <a:cubicBezTo>
                    <a:pt x="2979" y="10190"/>
                    <a:pt x="1234" y="10190"/>
                    <a:pt x="342" y="9045"/>
                  </a:cubicBezTo>
                  <a:cubicBezTo>
                    <a:pt x="31" y="8472"/>
                    <a:pt x="-240" y="7595"/>
                    <a:pt x="342" y="6984"/>
                  </a:cubicBezTo>
                  <a:cubicBezTo>
                    <a:pt x="1505" y="5839"/>
                    <a:pt x="3599" y="6106"/>
                    <a:pt x="4763" y="4961"/>
                  </a:cubicBezTo>
                  <a:cubicBezTo>
                    <a:pt x="5383" y="4389"/>
                    <a:pt x="4181" y="2901"/>
                    <a:pt x="4763" y="2634"/>
                  </a:cubicBezTo>
                  <a:cubicBezTo>
                    <a:pt x="5965" y="2328"/>
                    <a:pt x="7167" y="3778"/>
                    <a:pt x="8640" y="3778"/>
                  </a:cubicBezTo>
                  <a:cubicBezTo>
                    <a:pt x="9222" y="3778"/>
                    <a:pt x="9804" y="2023"/>
                    <a:pt x="10424" y="2328"/>
                  </a:cubicBezTo>
                  <a:cubicBezTo>
                    <a:pt x="11277" y="2328"/>
                    <a:pt x="10696" y="3778"/>
                    <a:pt x="11277" y="4389"/>
                  </a:cubicBezTo>
                  <a:cubicBezTo>
                    <a:pt x="11588" y="4656"/>
                    <a:pt x="12169" y="4389"/>
                    <a:pt x="12480" y="4084"/>
                  </a:cubicBezTo>
                  <a:cubicBezTo>
                    <a:pt x="12480" y="2901"/>
                    <a:pt x="11006" y="1450"/>
                    <a:pt x="11898" y="573"/>
                  </a:cubicBezTo>
                  <a:cubicBezTo>
                    <a:pt x="12169" y="-305"/>
                    <a:pt x="13953" y="306"/>
                    <a:pt x="1484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6" name="Shape 2360">
              <a:extLst>
                <a:ext uri="{FF2B5EF4-FFF2-40B4-BE49-F238E27FC236}">
                  <a16:creationId xmlns:a16="http://schemas.microsoft.com/office/drawing/2014/main" id="{2D350134-99C9-5F9B-7C34-4D58AB2160E8}"/>
                </a:ext>
              </a:extLst>
            </p:cNvPr>
            <p:cNvSpPr/>
            <p:nvPr/>
          </p:nvSpPr>
          <p:spPr>
            <a:xfrm>
              <a:off x="3091798" y="6420482"/>
              <a:ext cx="97836" cy="173173"/>
            </a:xfrm>
            <a:custGeom>
              <a:avLst/>
              <a:gdLst/>
              <a:ahLst/>
              <a:cxnLst>
                <a:cxn ang="0">
                  <a:pos x="wd2" y="hd2"/>
                </a:cxn>
                <a:cxn ang="5400000">
                  <a:pos x="wd2" y="hd2"/>
                </a:cxn>
                <a:cxn ang="10800000">
                  <a:pos x="wd2" y="hd2"/>
                </a:cxn>
                <a:cxn ang="16200000">
                  <a:pos x="wd2" y="hd2"/>
                </a:cxn>
              </a:cxnLst>
              <a:rect l="0" t="0" r="r" b="b"/>
              <a:pathLst>
                <a:path w="20977" h="21365" extrusionOk="0">
                  <a:moveTo>
                    <a:pt x="7668" y="0"/>
                  </a:moveTo>
                  <a:cubicBezTo>
                    <a:pt x="13195" y="1582"/>
                    <a:pt x="13195" y="1582"/>
                    <a:pt x="13195" y="1582"/>
                  </a:cubicBezTo>
                  <a:cubicBezTo>
                    <a:pt x="13777" y="2539"/>
                    <a:pt x="13195" y="3454"/>
                    <a:pt x="13777" y="4412"/>
                  </a:cubicBezTo>
                  <a:cubicBezTo>
                    <a:pt x="14359" y="5077"/>
                    <a:pt x="14868" y="5702"/>
                    <a:pt x="16032" y="6326"/>
                  </a:cubicBezTo>
                  <a:cubicBezTo>
                    <a:pt x="17122" y="6950"/>
                    <a:pt x="19377" y="6950"/>
                    <a:pt x="20977" y="7616"/>
                  </a:cubicBezTo>
                  <a:cubicBezTo>
                    <a:pt x="18795" y="9198"/>
                    <a:pt x="14359" y="10488"/>
                    <a:pt x="14359" y="12361"/>
                  </a:cubicBezTo>
                  <a:cubicBezTo>
                    <a:pt x="13777" y="15232"/>
                    <a:pt x="16541" y="18104"/>
                    <a:pt x="18213" y="20976"/>
                  </a:cubicBezTo>
                  <a:cubicBezTo>
                    <a:pt x="17122" y="20976"/>
                    <a:pt x="16541" y="21600"/>
                    <a:pt x="15450" y="21267"/>
                  </a:cubicBezTo>
                  <a:cubicBezTo>
                    <a:pt x="11595" y="20643"/>
                    <a:pt x="7668" y="19686"/>
                    <a:pt x="3813" y="18728"/>
                  </a:cubicBezTo>
                  <a:cubicBezTo>
                    <a:pt x="3232" y="17147"/>
                    <a:pt x="977" y="15565"/>
                    <a:pt x="1559" y="13984"/>
                  </a:cubicBezTo>
                  <a:cubicBezTo>
                    <a:pt x="2141" y="12069"/>
                    <a:pt x="5995" y="10779"/>
                    <a:pt x="7086" y="8865"/>
                  </a:cubicBezTo>
                  <a:cubicBezTo>
                    <a:pt x="7668" y="7616"/>
                    <a:pt x="6577" y="6326"/>
                    <a:pt x="5413" y="5369"/>
                  </a:cubicBezTo>
                  <a:cubicBezTo>
                    <a:pt x="4322" y="4412"/>
                    <a:pt x="2141" y="4412"/>
                    <a:pt x="977" y="3454"/>
                  </a:cubicBezTo>
                  <a:cubicBezTo>
                    <a:pt x="468" y="2830"/>
                    <a:pt x="-623" y="1873"/>
                    <a:pt x="468" y="1249"/>
                  </a:cubicBezTo>
                  <a:cubicBezTo>
                    <a:pt x="2141" y="291"/>
                    <a:pt x="5413" y="291"/>
                    <a:pt x="7668"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7" name="Shape 2361">
              <a:extLst>
                <a:ext uri="{FF2B5EF4-FFF2-40B4-BE49-F238E27FC236}">
                  <a16:creationId xmlns:a16="http://schemas.microsoft.com/office/drawing/2014/main" id="{5D263D13-B522-6040-D329-CD0C24292DD1}"/>
                </a:ext>
              </a:extLst>
            </p:cNvPr>
            <p:cNvSpPr/>
            <p:nvPr/>
          </p:nvSpPr>
          <p:spPr>
            <a:xfrm>
              <a:off x="3152810" y="6402645"/>
              <a:ext cx="84396" cy="82909"/>
            </a:xfrm>
            <a:custGeom>
              <a:avLst/>
              <a:gdLst/>
              <a:ahLst/>
              <a:cxnLst>
                <a:cxn ang="0">
                  <a:pos x="wd2" y="hd2"/>
                </a:cxn>
                <a:cxn ang="5400000">
                  <a:pos x="wd2" y="hd2"/>
                </a:cxn>
                <a:cxn ang="10800000">
                  <a:pos x="wd2" y="hd2"/>
                </a:cxn>
                <a:cxn ang="16200000">
                  <a:pos x="wd2" y="hd2"/>
                </a:cxn>
              </a:cxnLst>
              <a:rect l="0" t="0" r="r" b="b"/>
              <a:pathLst>
                <a:path w="21600" h="21600" extrusionOk="0">
                  <a:moveTo>
                    <a:pt x="0" y="8144"/>
                  </a:moveTo>
                  <a:cubicBezTo>
                    <a:pt x="686" y="10180"/>
                    <a:pt x="0" y="12128"/>
                    <a:pt x="686" y="14164"/>
                  </a:cubicBezTo>
                  <a:cubicBezTo>
                    <a:pt x="1371" y="15580"/>
                    <a:pt x="1971" y="16908"/>
                    <a:pt x="3343" y="18236"/>
                  </a:cubicBezTo>
                  <a:cubicBezTo>
                    <a:pt x="4629" y="19564"/>
                    <a:pt x="7286" y="19564"/>
                    <a:pt x="9171" y="20980"/>
                  </a:cubicBezTo>
                  <a:cubicBezTo>
                    <a:pt x="16371" y="21600"/>
                    <a:pt x="16371" y="21600"/>
                    <a:pt x="16371" y="21600"/>
                  </a:cubicBezTo>
                  <a:cubicBezTo>
                    <a:pt x="20314" y="19564"/>
                    <a:pt x="20314" y="19564"/>
                    <a:pt x="20314" y="19564"/>
                  </a:cubicBezTo>
                  <a:cubicBezTo>
                    <a:pt x="19029" y="16908"/>
                    <a:pt x="16371" y="14872"/>
                    <a:pt x="16371" y="12128"/>
                  </a:cubicBezTo>
                  <a:cubicBezTo>
                    <a:pt x="17057" y="9472"/>
                    <a:pt x="19714" y="8144"/>
                    <a:pt x="21600" y="6728"/>
                  </a:cubicBezTo>
                  <a:cubicBezTo>
                    <a:pt x="17057" y="4780"/>
                    <a:pt x="13800" y="0"/>
                    <a:pt x="9171" y="0"/>
                  </a:cubicBezTo>
                  <a:cubicBezTo>
                    <a:pt x="5314" y="708"/>
                    <a:pt x="3343" y="5400"/>
                    <a:pt x="0" y="814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8" name="Shape 2362">
              <a:extLst>
                <a:ext uri="{FF2B5EF4-FFF2-40B4-BE49-F238E27FC236}">
                  <a16:creationId xmlns:a16="http://schemas.microsoft.com/office/drawing/2014/main" id="{49A97A32-A241-E29B-071B-7839698BB414}"/>
                </a:ext>
              </a:extLst>
            </p:cNvPr>
            <p:cNvSpPr/>
            <p:nvPr/>
          </p:nvSpPr>
          <p:spPr>
            <a:xfrm>
              <a:off x="3158120" y="6482920"/>
              <a:ext cx="98406" cy="108183"/>
            </a:xfrm>
            <a:custGeom>
              <a:avLst/>
              <a:gdLst/>
              <a:ahLst/>
              <a:cxnLst>
                <a:cxn ang="0">
                  <a:pos x="wd2" y="hd2"/>
                </a:cxn>
                <a:cxn ang="5400000">
                  <a:pos x="wd2" y="hd2"/>
                </a:cxn>
                <a:cxn ang="10800000">
                  <a:pos x="wd2" y="hd2"/>
                </a:cxn>
                <a:cxn ang="16200000">
                  <a:pos x="wd2" y="hd2"/>
                </a:cxn>
              </a:cxnLst>
              <a:rect l="0" t="0" r="r" b="b"/>
              <a:pathLst>
                <a:path w="21099" h="21600" extrusionOk="0">
                  <a:moveTo>
                    <a:pt x="6675" y="0"/>
                  </a:moveTo>
                  <a:cubicBezTo>
                    <a:pt x="12763" y="471"/>
                    <a:pt x="12763" y="471"/>
                    <a:pt x="12763" y="471"/>
                  </a:cubicBezTo>
                  <a:cubicBezTo>
                    <a:pt x="13343" y="3095"/>
                    <a:pt x="14431" y="5114"/>
                    <a:pt x="13923" y="7671"/>
                  </a:cubicBezTo>
                  <a:cubicBezTo>
                    <a:pt x="13923" y="10295"/>
                    <a:pt x="11676" y="12314"/>
                    <a:pt x="12256" y="14400"/>
                  </a:cubicBezTo>
                  <a:cubicBezTo>
                    <a:pt x="12256" y="15409"/>
                    <a:pt x="13923" y="15880"/>
                    <a:pt x="15010" y="15409"/>
                  </a:cubicBezTo>
                  <a:cubicBezTo>
                    <a:pt x="16678" y="14871"/>
                    <a:pt x="16678" y="12314"/>
                    <a:pt x="17765" y="11776"/>
                  </a:cubicBezTo>
                  <a:cubicBezTo>
                    <a:pt x="19432" y="11776"/>
                    <a:pt x="20012" y="13862"/>
                    <a:pt x="21099" y="14871"/>
                  </a:cubicBezTo>
                  <a:cubicBezTo>
                    <a:pt x="20012" y="20052"/>
                    <a:pt x="20012" y="20052"/>
                    <a:pt x="20012" y="20052"/>
                  </a:cubicBezTo>
                  <a:cubicBezTo>
                    <a:pt x="18852" y="20052"/>
                    <a:pt x="17765" y="18976"/>
                    <a:pt x="16098" y="18976"/>
                  </a:cubicBezTo>
                  <a:cubicBezTo>
                    <a:pt x="15010" y="18976"/>
                    <a:pt x="14431" y="20523"/>
                    <a:pt x="13343" y="20523"/>
                  </a:cubicBezTo>
                  <a:cubicBezTo>
                    <a:pt x="12256" y="20523"/>
                    <a:pt x="11096" y="18505"/>
                    <a:pt x="10009" y="18976"/>
                  </a:cubicBezTo>
                  <a:cubicBezTo>
                    <a:pt x="8922" y="18976"/>
                    <a:pt x="8342" y="21062"/>
                    <a:pt x="7255" y="21600"/>
                  </a:cubicBezTo>
                  <a:cubicBezTo>
                    <a:pt x="6167" y="21600"/>
                    <a:pt x="5080" y="21600"/>
                    <a:pt x="3920" y="21600"/>
                  </a:cubicBezTo>
                  <a:cubicBezTo>
                    <a:pt x="2253" y="16957"/>
                    <a:pt x="-501" y="12314"/>
                    <a:pt x="79" y="7671"/>
                  </a:cubicBezTo>
                  <a:cubicBezTo>
                    <a:pt x="79" y="4643"/>
                    <a:pt x="4500" y="2557"/>
                    <a:pt x="667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69" name="Shape 2363">
              <a:extLst>
                <a:ext uri="{FF2B5EF4-FFF2-40B4-BE49-F238E27FC236}">
                  <a16:creationId xmlns:a16="http://schemas.microsoft.com/office/drawing/2014/main" id="{B12A914E-D8C9-8370-4D5D-3719F893E4DF}"/>
                </a:ext>
              </a:extLst>
            </p:cNvPr>
            <p:cNvSpPr/>
            <p:nvPr/>
          </p:nvSpPr>
          <p:spPr>
            <a:xfrm>
              <a:off x="3214529" y="6466566"/>
              <a:ext cx="88078" cy="93369"/>
            </a:xfrm>
            <a:custGeom>
              <a:avLst/>
              <a:gdLst/>
              <a:ahLst/>
              <a:cxnLst>
                <a:cxn ang="0">
                  <a:pos x="wd2" y="hd2"/>
                </a:cxn>
                <a:cxn ang="5400000">
                  <a:pos x="wd2" y="hd2"/>
                </a:cxn>
                <a:cxn ang="10800000">
                  <a:pos x="wd2" y="hd2"/>
                </a:cxn>
                <a:cxn ang="16200000">
                  <a:pos x="wd2" y="hd2"/>
                </a:cxn>
              </a:cxnLst>
              <a:rect l="0" t="0" r="r" b="b"/>
              <a:pathLst>
                <a:path w="21060" h="21273" extrusionOk="0">
                  <a:moveTo>
                    <a:pt x="4395" y="2298"/>
                  </a:moveTo>
                  <a:cubicBezTo>
                    <a:pt x="673" y="4060"/>
                    <a:pt x="673" y="4060"/>
                    <a:pt x="673" y="4060"/>
                  </a:cubicBezTo>
                  <a:cubicBezTo>
                    <a:pt x="1321" y="7047"/>
                    <a:pt x="2534" y="9345"/>
                    <a:pt x="1968" y="12255"/>
                  </a:cubicBezTo>
                  <a:cubicBezTo>
                    <a:pt x="1968" y="15243"/>
                    <a:pt x="-540" y="17540"/>
                    <a:pt x="107" y="19915"/>
                  </a:cubicBezTo>
                  <a:cubicBezTo>
                    <a:pt x="107" y="21064"/>
                    <a:pt x="1968" y="21600"/>
                    <a:pt x="3181" y="21064"/>
                  </a:cubicBezTo>
                  <a:cubicBezTo>
                    <a:pt x="5042" y="20451"/>
                    <a:pt x="5042" y="17540"/>
                    <a:pt x="6256" y="16928"/>
                  </a:cubicBezTo>
                  <a:cubicBezTo>
                    <a:pt x="8116" y="16928"/>
                    <a:pt x="8763" y="19302"/>
                    <a:pt x="9977" y="20451"/>
                  </a:cubicBezTo>
                  <a:cubicBezTo>
                    <a:pt x="11838" y="19302"/>
                    <a:pt x="14345" y="18153"/>
                    <a:pt x="16125" y="16928"/>
                  </a:cubicBezTo>
                  <a:cubicBezTo>
                    <a:pt x="16772" y="16391"/>
                    <a:pt x="17986" y="15243"/>
                    <a:pt x="17420" y="14017"/>
                  </a:cubicBezTo>
                  <a:cubicBezTo>
                    <a:pt x="17420" y="12868"/>
                    <a:pt x="14912" y="12255"/>
                    <a:pt x="14912" y="11106"/>
                  </a:cubicBezTo>
                  <a:cubicBezTo>
                    <a:pt x="16125" y="8196"/>
                    <a:pt x="18633" y="5821"/>
                    <a:pt x="21060" y="2911"/>
                  </a:cubicBezTo>
                  <a:cubicBezTo>
                    <a:pt x="17420" y="2298"/>
                    <a:pt x="13698" y="536"/>
                    <a:pt x="10624" y="0"/>
                  </a:cubicBezTo>
                  <a:cubicBezTo>
                    <a:pt x="8116" y="0"/>
                    <a:pt x="6256" y="1762"/>
                    <a:pt x="4395" y="229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0" name="Shape 2364">
              <a:extLst>
                <a:ext uri="{FF2B5EF4-FFF2-40B4-BE49-F238E27FC236}">
                  <a16:creationId xmlns:a16="http://schemas.microsoft.com/office/drawing/2014/main" id="{A4C4D4DE-8228-3354-464A-60244CA5CB32}"/>
                </a:ext>
              </a:extLst>
            </p:cNvPr>
            <p:cNvSpPr/>
            <p:nvPr/>
          </p:nvSpPr>
          <p:spPr>
            <a:xfrm>
              <a:off x="3218215" y="6384097"/>
              <a:ext cx="103716" cy="95513"/>
            </a:xfrm>
            <a:custGeom>
              <a:avLst/>
              <a:gdLst/>
              <a:ahLst/>
              <a:cxnLst>
                <a:cxn ang="0">
                  <a:pos x="wd2" y="hd2"/>
                </a:cxn>
                <a:cxn ang="5400000">
                  <a:pos x="wd2" y="hd2"/>
                </a:cxn>
                <a:cxn ang="10800000">
                  <a:pos x="wd2" y="hd2"/>
                </a:cxn>
                <a:cxn ang="16200000">
                  <a:pos x="wd2" y="hd2"/>
                </a:cxn>
              </a:cxnLst>
              <a:rect l="0" t="0" r="r" b="b"/>
              <a:pathLst>
                <a:path w="21600" h="21100" extrusionOk="0">
                  <a:moveTo>
                    <a:pt x="4306" y="9704"/>
                  </a:moveTo>
                  <a:cubicBezTo>
                    <a:pt x="2753" y="10896"/>
                    <a:pt x="565" y="12013"/>
                    <a:pt x="0" y="14248"/>
                  </a:cubicBezTo>
                  <a:cubicBezTo>
                    <a:pt x="0" y="16557"/>
                    <a:pt x="2188" y="18270"/>
                    <a:pt x="3247" y="20504"/>
                  </a:cubicBezTo>
                  <a:cubicBezTo>
                    <a:pt x="4871" y="19983"/>
                    <a:pt x="6494" y="18270"/>
                    <a:pt x="8682" y="18270"/>
                  </a:cubicBezTo>
                  <a:cubicBezTo>
                    <a:pt x="11365" y="18791"/>
                    <a:pt x="14612" y="20504"/>
                    <a:pt x="17788" y="21100"/>
                  </a:cubicBezTo>
                  <a:cubicBezTo>
                    <a:pt x="18353" y="19983"/>
                    <a:pt x="19976" y="18791"/>
                    <a:pt x="20541" y="17674"/>
                  </a:cubicBezTo>
                  <a:cubicBezTo>
                    <a:pt x="21035" y="15961"/>
                    <a:pt x="21035" y="14248"/>
                    <a:pt x="21600" y="12609"/>
                  </a:cubicBezTo>
                  <a:cubicBezTo>
                    <a:pt x="21035" y="11417"/>
                    <a:pt x="20541" y="9704"/>
                    <a:pt x="19976" y="8587"/>
                  </a:cubicBezTo>
                  <a:cubicBezTo>
                    <a:pt x="19412" y="7470"/>
                    <a:pt x="18918" y="6874"/>
                    <a:pt x="18353" y="6352"/>
                  </a:cubicBezTo>
                  <a:cubicBezTo>
                    <a:pt x="17294" y="4043"/>
                    <a:pt x="18353" y="1734"/>
                    <a:pt x="16729" y="617"/>
                  </a:cubicBezTo>
                  <a:cubicBezTo>
                    <a:pt x="15671" y="-500"/>
                    <a:pt x="13482" y="21"/>
                    <a:pt x="12424" y="1213"/>
                  </a:cubicBezTo>
                  <a:cubicBezTo>
                    <a:pt x="11365" y="1734"/>
                    <a:pt x="12424" y="3448"/>
                    <a:pt x="11365" y="4043"/>
                  </a:cubicBezTo>
                  <a:cubicBezTo>
                    <a:pt x="10306" y="5161"/>
                    <a:pt x="8682" y="4043"/>
                    <a:pt x="7553" y="5161"/>
                  </a:cubicBezTo>
                  <a:cubicBezTo>
                    <a:pt x="6494" y="6352"/>
                    <a:pt x="5435" y="8066"/>
                    <a:pt x="4306" y="970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1" name="Shape 2365">
              <a:extLst>
                <a:ext uri="{FF2B5EF4-FFF2-40B4-BE49-F238E27FC236}">
                  <a16:creationId xmlns:a16="http://schemas.microsoft.com/office/drawing/2014/main" id="{973477A3-6CC6-8CD0-0A4C-02A4082FE9DC}"/>
                </a:ext>
              </a:extLst>
            </p:cNvPr>
            <p:cNvSpPr/>
            <p:nvPr/>
          </p:nvSpPr>
          <p:spPr>
            <a:xfrm>
              <a:off x="2921692" y="6572114"/>
              <a:ext cx="468619" cy="418627"/>
            </a:xfrm>
            <a:custGeom>
              <a:avLst/>
              <a:gdLst/>
              <a:ahLst/>
              <a:cxnLst>
                <a:cxn ang="0">
                  <a:pos x="wd2" y="hd2"/>
                </a:cxn>
                <a:cxn ang="5400000">
                  <a:pos x="wd2" y="hd2"/>
                </a:cxn>
                <a:cxn ang="10800000">
                  <a:pos x="wd2" y="hd2"/>
                </a:cxn>
                <a:cxn ang="16200000">
                  <a:pos x="wd2" y="hd2"/>
                </a:cxn>
              </a:cxnLst>
              <a:rect l="0" t="0" r="r" b="b"/>
              <a:pathLst>
                <a:path w="21496" h="21511" extrusionOk="0">
                  <a:moveTo>
                    <a:pt x="11700" y="937"/>
                  </a:moveTo>
                  <a:cubicBezTo>
                    <a:pt x="11948" y="937"/>
                    <a:pt x="12179" y="937"/>
                    <a:pt x="12411" y="937"/>
                  </a:cubicBezTo>
                  <a:cubicBezTo>
                    <a:pt x="12643" y="798"/>
                    <a:pt x="12766" y="260"/>
                    <a:pt x="12998" y="260"/>
                  </a:cubicBezTo>
                  <a:cubicBezTo>
                    <a:pt x="13230" y="139"/>
                    <a:pt x="13477" y="659"/>
                    <a:pt x="13709" y="659"/>
                  </a:cubicBezTo>
                  <a:cubicBezTo>
                    <a:pt x="13941" y="659"/>
                    <a:pt x="14064" y="260"/>
                    <a:pt x="14296" y="260"/>
                  </a:cubicBezTo>
                  <a:cubicBezTo>
                    <a:pt x="14651" y="260"/>
                    <a:pt x="14883" y="538"/>
                    <a:pt x="15130" y="538"/>
                  </a:cubicBezTo>
                  <a:cubicBezTo>
                    <a:pt x="15362" y="798"/>
                    <a:pt x="15594" y="1058"/>
                    <a:pt x="15717" y="1336"/>
                  </a:cubicBezTo>
                  <a:lnTo>
                    <a:pt x="15007" y="1856"/>
                  </a:lnTo>
                  <a:cubicBezTo>
                    <a:pt x="15007" y="1995"/>
                    <a:pt x="15717" y="2793"/>
                    <a:pt x="15717" y="2793"/>
                  </a:cubicBezTo>
                  <a:cubicBezTo>
                    <a:pt x="16073" y="2654"/>
                    <a:pt x="16428" y="2793"/>
                    <a:pt x="16784" y="2516"/>
                  </a:cubicBezTo>
                  <a:cubicBezTo>
                    <a:pt x="17139" y="2394"/>
                    <a:pt x="17371" y="1856"/>
                    <a:pt x="17834" y="1718"/>
                  </a:cubicBezTo>
                  <a:cubicBezTo>
                    <a:pt x="18081" y="1596"/>
                    <a:pt x="18421" y="1718"/>
                    <a:pt x="18777" y="1596"/>
                  </a:cubicBezTo>
                  <a:cubicBezTo>
                    <a:pt x="18900" y="1718"/>
                    <a:pt x="19256" y="1856"/>
                    <a:pt x="19256" y="1995"/>
                  </a:cubicBezTo>
                  <a:cubicBezTo>
                    <a:pt x="19256" y="2516"/>
                    <a:pt x="18900" y="2915"/>
                    <a:pt x="18777" y="3453"/>
                  </a:cubicBezTo>
                  <a:cubicBezTo>
                    <a:pt x="18545" y="3574"/>
                    <a:pt x="18313" y="3713"/>
                    <a:pt x="18313" y="3973"/>
                  </a:cubicBezTo>
                  <a:cubicBezTo>
                    <a:pt x="18421" y="4511"/>
                    <a:pt x="19024" y="4910"/>
                    <a:pt x="18900" y="5569"/>
                  </a:cubicBezTo>
                  <a:cubicBezTo>
                    <a:pt x="18777" y="6228"/>
                    <a:pt x="18313" y="6888"/>
                    <a:pt x="17958" y="7426"/>
                  </a:cubicBezTo>
                  <a:cubicBezTo>
                    <a:pt x="17726" y="7686"/>
                    <a:pt x="17247" y="7287"/>
                    <a:pt x="17139" y="7564"/>
                  </a:cubicBezTo>
                  <a:cubicBezTo>
                    <a:pt x="17139" y="8484"/>
                    <a:pt x="17602" y="9143"/>
                    <a:pt x="17726" y="10080"/>
                  </a:cubicBezTo>
                  <a:cubicBezTo>
                    <a:pt x="17726" y="10462"/>
                    <a:pt x="17371" y="10739"/>
                    <a:pt x="17247" y="11138"/>
                  </a:cubicBezTo>
                  <a:cubicBezTo>
                    <a:pt x="17139" y="11537"/>
                    <a:pt x="17015" y="11936"/>
                    <a:pt x="17139" y="12197"/>
                  </a:cubicBezTo>
                  <a:cubicBezTo>
                    <a:pt x="17247" y="12596"/>
                    <a:pt x="17479" y="12856"/>
                    <a:pt x="17726" y="13116"/>
                  </a:cubicBezTo>
                  <a:cubicBezTo>
                    <a:pt x="17958" y="13394"/>
                    <a:pt x="18081" y="13775"/>
                    <a:pt x="18313" y="13654"/>
                  </a:cubicBezTo>
                  <a:cubicBezTo>
                    <a:pt x="18545" y="13654"/>
                    <a:pt x="18313" y="12995"/>
                    <a:pt x="18545" y="12995"/>
                  </a:cubicBezTo>
                  <a:cubicBezTo>
                    <a:pt x="18777" y="12856"/>
                    <a:pt x="18900" y="13394"/>
                    <a:pt x="19256" y="13515"/>
                  </a:cubicBezTo>
                  <a:cubicBezTo>
                    <a:pt x="19379" y="13515"/>
                    <a:pt x="19611" y="13116"/>
                    <a:pt x="19843" y="13116"/>
                  </a:cubicBezTo>
                  <a:cubicBezTo>
                    <a:pt x="20198" y="13255"/>
                    <a:pt x="20445" y="13654"/>
                    <a:pt x="20677" y="13914"/>
                  </a:cubicBezTo>
                  <a:cubicBezTo>
                    <a:pt x="20785" y="14053"/>
                    <a:pt x="20677" y="14174"/>
                    <a:pt x="20677" y="14174"/>
                  </a:cubicBezTo>
                  <a:cubicBezTo>
                    <a:pt x="20909" y="14452"/>
                    <a:pt x="21264" y="14452"/>
                    <a:pt x="21496" y="14712"/>
                  </a:cubicBezTo>
                  <a:cubicBezTo>
                    <a:pt x="20909" y="15372"/>
                    <a:pt x="19966" y="15771"/>
                    <a:pt x="19611" y="16707"/>
                  </a:cubicBezTo>
                  <a:cubicBezTo>
                    <a:pt x="19379" y="17228"/>
                    <a:pt x="19966" y="17766"/>
                    <a:pt x="20198" y="18286"/>
                  </a:cubicBezTo>
                  <a:cubicBezTo>
                    <a:pt x="20198" y="18286"/>
                    <a:pt x="19735" y="19345"/>
                    <a:pt x="19735" y="19483"/>
                  </a:cubicBezTo>
                  <a:cubicBezTo>
                    <a:pt x="19735" y="19605"/>
                    <a:pt x="17834" y="18026"/>
                    <a:pt x="17834" y="18026"/>
                  </a:cubicBezTo>
                  <a:cubicBezTo>
                    <a:pt x="17479" y="18165"/>
                    <a:pt x="17015" y="18165"/>
                    <a:pt x="16660" y="18286"/>
                  </a:cubicBezTo>
                  <a:cubicBezTo>
                    <a:pt x="15949" y="18685"/>
                    <a:pt x="15362" y="19223"/>
                    <a:pt x="14651" y="19483"/>
                  </a:cubicBezTo>
                  <a:cubicBezTo>
                    <a:pt x="14064" y="19744"/>
                    <a:pt x="13230" y="20281"/>
                    <a:pt x="12643" y="19744"/>
                  </a:cubicBezTo>
                  <a:cubicBezTo>
                    <a:pt x="12287" y="19345"/>
                    <a:pt x="13122" y="18547"/>
                    <a:pt x="12890" y="18026"/>
                  </a:cubicBezTo>
                  <a:cubicBezTo>
                    <a:pt x="12766" y="17627"/>
                    <a:pt x="12056" y="17766"/>
                    <a:pt x="11824" y="17887"/>
                  </a:cubicBezTo>
                  <a:cubicBezTo>
                    <a:pt x="11469" y="18026"/>
                    <a:pt x="11113" y="18547"/>
                    <a:pt x="11113" y="18946"/>
                  </a:cubicBezTo>
                  <a:cubicBezTo>
                    <a:pt x="11237" y="19345"/>
                    <a:pt x="12056" y="19744"/>
                    <a:pt x="11824" y="20143"/>
                  </a:cubicBezTo>
                  <a:cubicBezTo>
                    <a:pt x="11700" y="20680"/>
                    <a:pt x="10990" y="20143"/>
                    <a:pt x="10526" y="20281"/>
                  </a:cubicBezTo>
                  <a:cubicBezTo>
                    <a:pt x="10526" y="20281"/>
                    <a:pt x="9692" y="21340"/>
                    <a:pt x="9692" y="21479"/>
                  </a:cubicBezTo>
                  <a:cubicBezTo>
                    <a:pt x="9584" y="21600"/>
                    <a:pt x="8286" y="21340"/>
                    <a:pt x="8286" y="21340"/>
                  </a:cubicBezTo>
                  <a:cubicBezTo>
                    <a:pt x="8038" y="20542"/>
                    <a:pt x="7807" y="19882"/>
                    <a:pt x="7699" y="19223"/>
                  </a:cubicBezTo>
                  <a:cubicBezTo>
                    <a:pt x="7575" y="17228"/>
                    <a:pt x="7930" y="15233"/>
                    <a:pt x="7343" y="13515"/>
                  </a:cubicBezTo>
                  <a:cubicBezTo>
                    <a:pt x="7096" y="12856"/>
                    <a:pt x="5798" y="13914"/>
                    <a:pt x="5566" y="13394"/>
                  </a:cubicBezTo>
                  <a:cubicBezTo>
                    <a:pt x="5087" y="12335"/>
                    <a:pt x="5798" y="11260"/>
                    <a:pt x="6045" y="10201"/>
                  </a:cubicBezTo>
                  <a:cubicBezTo>
                    <a:pt x="6045" y="10201"/>
                    <a:pt x="4500" y="9681"/>
                    <a:pt x="4624" y="9403"/>
                  </a:cubicBezTo>
                  <a:cubicBezTo>
                    <a:pt x="4624" y="9282"/>
                    <a:pt x="5087" y="7946"/>
                    <a:pt x="5087" y="7946"/>
                  </a:cubicBezTo>
                  <a:cubicBezTo>
                    <a:pt x="4732" y="7686"/>
                    <a:pt x="4269" y="7165"/>
                    <a:pt x="3913" y="7426"/>
                  </a:cubicBezTo>
                  <a:cubicBezTo>
                    <a:pt x="3558" y="7564"/>
                    <a:pt x="4145" y="8484"/>
                    <a:pt x="3790" y="8623"/>
                  </a:cubicBezTo>
                  <a:cubicBezTo>
                    <a:pt x="2847" y="9282"/>
                    <a:pt x="1673" y="9802"/>
                    <a:pt x="607" y="9403"/>
                  </a:cubicBezTo>
                  <a:cubicBezTo>
                    <a:pt x="20" y="9143"/>
                    <a:pt x="1441" y="8345"/>
                    <a:pt x="1317" y="7686"/>
                  </a:cubicBezTo>
                  <a:cubicBezTo>
                    <a:pt x="1194" y="7165"/>
                    <a:pt x="251" y="7165"/>
                    <a:pt x="20" y="6766"/>
                  </a:cubicBezTo>
                  <a:cubicBezTo>
                    <a:pt x="-104" y="6489"/>
                    <a:pt x="375" y="6627"/>
                    <a:pt x="607" y="6489"/>
                  </a:cubicBezTo>
                  <a:cubicBezTo>
                    <a:pt x="1086" y="6489"/>
                    <a:pt x="1673" y="6489"/>
                    <a:pt x="2152" y="6228"/>
                  </a:cubicBezTo>
                  <a:cubicBezTo>
                    <a:pt x="2507" y="5968"/>
                    <a:pt x="2384" y="5170"/>
                    <a:pt x="2739" y="5031"/>
                  </a:cubicBezTo>
                  <a:cubicBezTo>
                    <a:pt x="3094" y="4910"/>
                    <a:pt x="3450" y="5309"/>
                    <a:pt x="3790" y="5309"/>
                  </a:cubicBezTo>
                  <a:cubicBezTo>
                    <a:pt x="3790" y="5309"/>
                    <a:pt x="4269" y="3852"/>
                    <a:pt x="4392" y="3852"/>
                  </a:cubicBezTo>
                  <a:cubicBezTo>
                    <a:pt x="4624" y="3852"/>
                    <a:pt x="5690" y="3713"/>
                    <a:pt x="5690" y="3713"/>
                  </a:cubicBezTo>
                  <a:cubicBezTo>
                    <a:pt x="5690" y="3713"/>
                    <a:pt x="5798" y="3175"/>
                    <a:pt x="5922" y="3175"/>
                  </a:cubicBezTo>
                  <a:cubicBezTo>
                    <a:pt x="6045" y="3175"/>
                    <a:pt x="7451" y="2793"/>
                    <a:pt x="7451" y="2793"/>
                  </a:cubicBezTo>
                  <a:cubicBezTo>
                    <a:pt x="7343" y="1995"/>
                    <a:pt x="6864" y="1197"/>
                    <a:pt x="7220" y="538"/>
                  </a:cubicBezTo>
                  <a:cubicBezTo>
                    <a:pt x="7343" y="0"/>
                    <a:pt x="8162" y="260"/>
                    <a:pt x="8641" y="0"/>
                  </a:cubicBezTo>
                  <a:cubicBezTo>
                    <a:pt x="9460" y="399"/>
                    <a:pt x="10294" y="798"/>
                    <a:pt x="11113" y="1058"/>
                  </a:cubicBezTo>
                  <a:cubicBezTo>
                    <a:pt x="11345" y="1197"/>
                    <a:pt x="11469" y="937"/>
                    <a:pt x="11700" y="93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2" name="Shape 2366">
              <a:extLst>
                <a:ext uri="{FF2B5EF4-FFF2-40B4-BE49-F238E27FC236}">
                  <a16:creationId xmlns:a16="http://schemas.microsoft.com/office/drawing/2014/main" id="{B7A3ADB9-7D8D-CE0A-839C-A5145680285C}"/>
                </a:ext>
              </a:extLst>
            </p:cNvPr>
            <p:cNvSpPr/>
            <p:nvPr/>
          </p:nvSpPr>
          <p:spPr>
            <a:xfrm>
              <a:off x="3247944" y="6427916"/>
              <a:ext cx="147656" cy="198863"/>
            </a:xfrm>
            <a:custGeom>
              <a:avLst/>
              <a:gdLst/>
              <a:ahLst/>
              <a:cxnLst>
                <a:cxn ang="0">
                  <a:pos x="wd2" y="hd2"/>
                </a:cxn>
                <a:cxn ang="5400000">
                  <a:pos x="wd2" y="hd2"/>
                </a:cxn>
                <a:cxn ang="10800000">
                  <a:pos x="wd2" y="hd2"/>
                </a:cxn>
                <a:cxn ang="16200000">
                  <a:pos x="wd2" y="hd2"/>
                </a:cxn>
              </a:cxnLst>
              <a:rect l="0" t="0" r="r" b="b"/>
              <a:pathLst>
                <a:path w="21291" h="21600" extrusionOk="0">
                  <a:moveTo>
                    <a:pt x="10434" y="1430"/>
                  </a:moveTo>
                  <a:cubicBezTo>
                    <a:pt x="11556" y="843"/>
                    <a:pt x="13019" y="0"/>
                    <a:pt x="14530" y="0"/>
                  </a:cubicBezTo>
                  <a:cubicBezTo>
                    <a:pt x="15651" y="0"/>
                    <a:pt x="16383" y="1430"/>
                    <a:pt x="17504" y="1980"/>
                  </a:cubicBezTo>
                  <a:cubicBezTo>
                    <a:pt x="18236" y="3080"/>
                    <a:pt x="19357" y="3924"/>
                    <a:pt x="20137" y="5061"/>
                  </a:cubicBezTo>
                  <a:cubicBezTo>
                    <a:pt x="20479" y="5904"/>
                    <a:pt x="21600" y="6748"/>
                    <a:pt x="21210" y="7591"/>
                  </a:cubicBezTo>
                  <a:cubicBezTo>
                    <a:pt x="21210" y="8141"/>
                    <a:pt x="20137" y="8141"/>
                    <a:pt x="19747" y="8691"/>
                  </a:cubicBezTo>
                  <a:cubicBezTo>
                    <a:pt x="18626" y="8985"/>
                    <a:pt x="17163" y="9278"/>
                    <a:pt x="17163" y="10085"/>
                  </a:cubicBezTo>
                  <a:cubicBezTo>
                    <a:pt x="17163" y="10928"/>
                    <a:pt x="19357" y="10378"/>
                    <a:pt x="19747" y="10928"/>
                  </a:cubicBezTo>
                  <a:cubicBezTo>
                    <a:pt x="20137" y="12065"/>
                    <a:pt x="20479" y="13459"/>
                    <a:pt x="19357" y="14559"/>
                  </a:cubicBezTo>
                  <a:cubicBezTo>
                    <a:pt x="18626" y="15146"/>
                    <a:pt x="17163" y="14009"/>
                    <a:pt x="16042" y="14559"/>
                  </a:cubicBezTo>
                  <a:cubicBezTo>
                    <a:pt x="14920" y="15146"/>
                    <a:pt x="15651" y="16539"/>
                    <a:pt x="14530" y="17676"/>
                  </a:cubicBezTo>
                  <a:cubicBezTo>
                    <a:pt x="14140" y="18226"/>
                    <a:pt x="12677" y="18520"/>
                    <a:pt x="11897" y="19070"/>
                  </a:cubicBezTo>
                  <a:cubicBezTo>
                    <a:pt x="10776" y="19326"/>
                    <a:pt x="9703" y="19070"/>
                    <a:pt x="8923" y="19326"/>
                  </a:cubicBezTo>
                  <a:cubicBezTo>
                    <a:pt x="7460" y="19620"/>
                    <a:pt x="6729" y="20757"/>
                    <a:pt x="5607" y="21013"/>
                  </a:cubicBezTo>
                  <a:cubicBezTo>
                    <a:pt x="4486" y="21600"/>
                    <a:pt x="3364" y="21307"/>
                    <a:pt x="2243" y="21600"/>
                  </a:cubicBezTo>
                  <a:cubicBezTo>
                    <a:pt x="2243" y="21600"/>
                    <a:pt x="0" y="19913"/>
                    <a:pt x="0" y="19620"/>
                  </a:cubicBezTo>
                  <a:lnTo>
                    <a:pt x="2243" y="18520"/>
                  </a:lnTo>
                  <a:cubicBezTo>
                    <a:pt x="1853" y="17933"/>
                    <a:pt x="1121" y="17383"/>
                    <a:pt x="390" y="16833"/>
                  </a:cubicBezTo>
                  <a:cubicBezTo>
                    <a:pt x="1121" y="14009"/>
                    <a:pt x="1121" y="14009"/>
                    <a:pt x="1121" y="14009"/>
                  </a:cubicBezTo>
                  <a:cubicBezTo>
                    <a:pt x="2243" y="13459"/>
                    <a:pt x="3754" y="12909"/>
                    <a:pt x="4827" y="12322"/>
                  </a:cubicBezTo>
                  <a:cubicBezTo>
                    <a:pt x="5217" y="12065"/>
                    <a:pt x="5949" y="11515"/>
                    <a:pt x="5607" y="10928"/>
                  </a:cubicBezTo>
                  <a:cubicBezTo>
                    <a:pt x="5607" y="10378"/>
                    <a:pt x="4096" y="10085"/>
                    <a:pt x="4096" y="9535"/>
                  </a:cubicBezTo>
                  <a:cubicBezTo>
                    <a:pt x="4827" y="8141"/>
                    <a:pt x="6339" y="7004"/>
                    <a:pt x="7801" y="5611"/>
                  </a:cubicBezTo>
                  <a:cubicBezTo>
                    <a:pt x="8191" y="5061"/>
                    <a:pt x="9313" y="4474"/>
                    <a:pt x="9703" y="3924"/>
                  </a:cubicBezTo>
                  <a:cubicBezTo>
                    <a:pt x="10044" y="3080"/>
                    <a:pt x="10044" y="2237"/>
                    <a:pt x="10434" y="143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3" name="Shape 2367">
              <a:extLst>
                <a:ext uri="{FF2B5EF4-FFF2-40B4-BE49-F238E27FC236}">
                  <a16:creationId xmlns:a16="http://schemas.microsoft.com/office/drawing/2014/main" id="{3B4777D8-7937-E340-0B44-7C7410B1E55A}"/>
                </a:ext>
              </a:extLst>
            </p:cNvPr>
            <p:cNvSpPr/>
            <p:nvPr/>
          </p:nvSpPr>
          <p:spPr>
            <a:xfrm>
              <a:off x="3331186" y="6508190"/>
              <a:ext cx="139392" cy="143863"/>
            </a:xfrm>
            <a:custGeom>
              <a:avLst/>
              <a:gdLst/>
              <a:ahLst/>
              <a:cxnLst>
                <a:cxn ang="0">
                  <a:pos x="wd2" y="hd2"/>
                </a:cxn>
                <a:cxn ang="5400000">
                  <a:pos x="wd2" y="hd2"/>
                </a:cxn>
                <a:cxn ang="10800000">
                  <a:pos x="wd2" y="hd2"/>
                </a:cxn>
                <a:cxn ang="16200000">
                  <a:pos x="wd2" y="hd2"/>
                </a:cxn>
              </a:cxnLst>
              <a:rect l="0" t="0" r="r" b="b"/>
              <a:pathLst>
                <a:path w="21600" h="21600" extrusionOk="0">
                  <a:moveTo>
                    <a:pt x="8420" y="0"/>
                  </a:moveTo>
                  <a:cubicBezTo>
                    <a:pt x="9623" y="1161"/>
                    <a:pt x="11611" y="1918"/>
                    <a:pt x="12395" y="3482"/>
                  </a:cubicBezTo>
                  <a:cubicBezTo>
                    <a:pt x="13180" y="4239"/>
                    <a:pt x="12395" y="5804"/>
                    <a:pt x="12814" y="6964"/>
                  </a:cubicBezTo>
                  <a:cubicBezTo>
                    <a:pt x="13598" y="8075"/>
                    <a:pt x="14016" y="10396"/>
                    <a:pt x="15219" y="10043"/>
                  </a:cubicBezTo>
                  <a:cubicBezTo>
                    <a:pt x="17207" y="10043"/>
                    <a:pt x="17625" y="6964"/>
                    <a:pt x="19194" y="6157"/>
                  </a:cubicBezTo>
                  <a:cubicBezTo>
                    <a:pt x="19979" y="5804"/>
                    <a:pt x="20815" y="6964"/>
                    <a:pt x="21600" y="7318"/>
                  </a:cubicBezTo>
                  <a:cubicBezTo>
                    <a:pt x="21600" y="16200"/>
                    <a:pt x="21600" y="16200"/>
                    <a:pt x="21600" y="16200"/>
                  </a:cubicBezTo>
                  <a:cubicBezTo>
                    <a:pt x="20815" y="17361"/>
                    <a:pt x="20397" y="18521"/>
                    <a:pt x="19613" y="19279"/>
                  </a:cubicBezTo>
                  <a:cubicBezTo>
                    <a:pt x="18410" y="20036"/>
                    <a:pt x="17207" y="19279"/>
                    <a:pt x="16004" y="19682"/>
                  </a:cubicBezTo>
                  <a:cubicBezTo>
                    <a:pt x="15585" y="20036"/>
                    <a:pt x="15219" y="21196"/>
                    <a:pt x="14801" y="21196"/>
                  </a:cubicBezTo>
                  <a:cubicBezTo>
                    <a:pt x="13598" y="20843"/>
                    <a:pt x="13180" y="18875"/>
                    <a:pt x="12029" y="18875"/>
                  </a:cubicBezTo>
                  <a:cubicBezTo>
                    <a:pt x="10826" y="18521"/>
                    <a:pt x="9989" y="19682"/>
                    <a:pt x="9205" y="20036"/>
                  </a:cubicBezTo>
                  <a:cubicBezTo>
                    <a:pt x="8420" y="20439"/>
                    <a:pt x="8420" y="21600"/>
                    <a:pt x="7636" y="21600"/>
                  </a:cubicBezTo>
                  <a:cubicBezTo>
                    <a:pt x="6433" y="21600"/>
                    <a:pt x="6015" y="20036"/>
                    <a:pt x="4812" y="19682"/>
                  </a:cubicBezTo>
                  <a:cubicBezTo>
                    <a:pt x="3243" y="19279"/>
                    <a:pt x="1621" y="19682"/>
                    <a:pt x="0" y="19682"/>
                  </a:cubicBezTo>
                  <a:cubicBezTo>
                    <a:pt x="418" y="18118"/>
                    <a:pt x="1621" y="16957"/>
                    <a:pt x="1621" y="15443"/>
                  </a:cubicBezTo>
                  <a:cubicBezTo>
                    <a:pt x="1621" y="15039"/>
                    <a:pt x="418" y="14636"/>
                    <a:pt x="0" y="14282"/>
                  </a:cubicBezTo>
                  <a:cubicBezTo>
                    <a:pt x="837" y="13525"/>
                    <a:pt x="2406" y="13121"/>
                    <a:pt x="2824" y="12364"/>
                  </a:cubicBezTo>
                  <a:cubicBezTo>
                    <a:pt x="4027" y="10800"/>
                    <a:pt x="3243" y="8882"/>
                    <a:pt x="4446" y="8075"/>
                  </a:cubicBezTo>
                  <a:cubicBezTo>
                    <a:pt x="5648" y="7318"/>
                    <a:pt x="7217" y="8882"/>
                    <a:pt x="8002" y="8075"/>
                  </a:cubicBezTo>
                  <a:cubicBezTo>
                    <a:pt x="9205" y="6561"/>
                    <a:pt x="8839" y="4643"/>
                    <a:pt x="8420" y="3079"/>
                  </a:cubicBezTo>
                  <a:cubicBezTo>
                    <a:pt x="8002" y="2321"/>
                    <a:pt x="5648" y="3079"/>
                    <a:pt x="5648" y="1918"/>
                  </a:cubicBezTo>
                  <a:cubicBezTo>
                    <a:pt x="5648" y="807"/>
                    <a:pt x="7217" y="404"/>
                    <a:pt x="8420"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4" name="Shape 2368">
              <a:extLst>
                <a:ext uri="{FF2B5EF4-FFF2-40B4-BE49-F238E27FC236}">
                  <a16:creationId xmlns:a16="http://schemas.microsoft.com/office/drawing/2014/main" id="{523482A9-D1A0-0236-2F7C-AF847A980837}"/>
                </a:ext>
              </a:extLst>
            </p:cNvPr>
            <p:cNvSpPr/>
            <p:nvPr/>
          </p:nvSpPr>
          <p:spPr>
            <a:xfrm>
              <a:off x="3469429" y="6551301"/>
              <a:ext cx="92235" cy="82909"/>
            </a:xfrm>
            <a:custGeom>
              <a:avLst/>
              <a:gdLst/>
              <a:ahLst/>
              <a:cxnLst>
                <a:cxn ang="0">
                  <a:pos x="wd2" y="hd2"/>
                </a:cxn>
                <a:cxn ang="5400000">
                  <a:pos x="wd2" y="hd2"/>
                </a:cxn>
                <a:cxn ang="10800000">
                  <a:pos x="wd2" y="hd2"/>
                </a:cxn>
                <a:cxn ang="16200000">
                  <a:pos x="wd2" y="hd2"/>
                </a:cxn>
              </a:cxnLst>
              <a:rect l="0" t="0" r="r" b="b"/>
              <a:pathLst>
                <a:path w="21351" h="21600" extrusionOk="0">
                  <a:moveTo>
                    <a:pt x="0" y="16908"/>
                  </a:moveTo>
                  <a:cubicBezTo>
                    <a:pt x="0" y="1328"/>
                    <a:pt x="0" y="1328"/>
                    <a:pt x="0" y="1328"/>
                  </a:cubicBezTo>
                  <a:cubicBezTo>
                    <a:pt x="1807" y="1328"/>
                    <a:pt x="3613" y="708"/>
                    <a:pt x="5420" y="0"/>
                  </a:cubicBezTo>
                  <a:cubicBezTo>
                    <a:pt x="5420" y="0"/>
                    <a:pt x="9583" y="1328"/>
                    <a:pt x="10211" y="2036"/>
                  </a:cubicBezTo>
                  <a:cubicBezTo>
                    <a:pt x="10761" y="2036"/>
                    <a:pt x="16180" y="708"/>
                    <a:pt x="16180" y="708"/>
                  </a:cubicBezTo>
                  <a:cubicBezTo>
                    <a:pt x="17987" y="2036"/>
                    <a:pt x="20422" y="2656"/>
                    <a:pt x="20972" y="4692"/>
                  </a:cubicBezTo>
                  <a:cubicBezTo>
                    <a:pt x="21600" y="8764"/>
                    <a:pt x="21600" y="12836"/>
                    <a:pt x="19793" y="16200"/>
                  </a:cubicBezTo>
                  <a:cubicBezTo>
                    <a:pt x="17359" y="18944"/>
                    <a:pt x="13824" y="19652"/>
                    <a:pt x="10761" y="20272"/>
                  </a:cubicBezTo>
                  <a:cubicBezTo>
                    <a:pt x="9583" y="20980"/>
                    <a:pt x="8954" y="18944"/>
                    <a:pt x="8404" y="19652"/>
                  </a:cubicBezTo>
                  <a:cubicBezTo>
                    <a:pt x="7226" y="19652"/>
                    <a:pt x="7226" y="21600"/>
                    <a:pt x="6598" y="21600"/>
                  </a:cubicBezTo>
                  <a:cubicBezTo>
                    <a:pt x="4163" y="20272"/>
                    <a:pt x="2435" y="18236"/>
                    <a:pt x="0" y="1690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5" name="Shape 2369">
              <a:extLst>
                <a:ext uri="{FF2B5EF4-FFF2-40B4-BE49-F238E27FC236}">
                  <a16:creationId xmlns:a16="http://schemas.microsoft.com/office/drawing/2014/main" id="{CE354BDE-D24A-CAE2-5FC2-878C1155D3FA}"/>
                </a:ext>
              </a:extLst>
            </p:cNvPr>
            <p:cNvSpPr/>
            <p:nvPr/>
          </p:nvSpPr>
          <p:spPr>
            <a:xfrm>
              <a:off x="3294108" y="6359535"/>
              <a:ext cx="395551" cy="626154"/>
            </a:xfrm>
            <a:custGeom>
              <a:avLst/>
              <a:gdLst/>
              <a:ahLst/>
              <a:cxnLst>
                <a:cxn ang="0">
                  <a:pos x="wd2" y="hd2"/>
                </a:cxn>
                <a:cxn ang="5400000">
                  <a:pos x="wd2" y="hd2"/>
                </a:cxn>
                <a:cxn ang="10800000">
                  <a:pos x="wd2" y="hd2"/>
                </a:cxn>
                <a:cxn ang="16200000">
                  <a:pos x="wd2" y="hd2"/>
                </a:cxn>
              </a:cxnLst>
              <a:rect l="0" t="0" r="r" b="b"/>
              <a:pathLst>
                <a:path w="21306" h="21520" extrusionOk="0">
                  <a:moveTo>
                    <a:pt x="4902" y="5133"/>
                  </a:moveTo>
                  <a:cubicBezTo>
                    <a:pt x="5047" y="4960"/>
                    <a:pt x="5446" y="4960"/>
                    <a:pt x="5446" y="4786"/>
                  </a:cubicBezTo>
                  <a:cubicBezTo>
                    <a:pt x="5592" y="4519"/>
                    <a:pt x="5174" y="4253"/>
                    <a:pt x="5047" y="3986"/>
                  </a:cubicBezTo>
                  <a:cubicBezTo>
                    <a:pt x="4757" y="3627"/>
                    <a:pt x="4340" y="3361"/>
                    <a:pt x="4068" y="3013"/>
                  </a:cubicBezTo>
                  <a:cubicBezTo>
                    <a:pt x="4485" y="2920"/>
                    <a:pt x="4757" y="2839"/>
                    <a:pt x="5174" y="2839"/>
                  </a:cubicBezTo>
                  <a:cubicBezTo>
                    <a:pt x="5737" y="2746"/>
                    <a:pt x="6281" y="3013"/>
                    <a:pt x="6843" y="2920"/>
                  </a:cubicBezTo>
                  <a:cubicBezTo>
                    <a:pt x="7260" y="2839"/>
                    <a:pt x="7677" y="2654"/>
                    <a:pt x="7949" y="2387"/>
                  </a:cubicBezTo>
                  <a:cubicBezTo>
                    <a:pt x="8221" y="2039"/>
                    <a:pt x="8094" y="1680"/>
                    <a:pt x="8094" y="1333"/>
                  </a:cubicBezTo>
                  <a:cubicBezTo>
                    <a:pt x="8094" y="1147"/>
                    <a:pt x="7949" y="973"/>
                    <a:pt x="8094" y="800"/>
                  </a:cubicBezTo>
                  <a:cubicBezTo>
                    <a:pt x="8366" y="440"/>
                    <a:pt x="8910" y="267"/>
                    <a:pt x="9328" y="0"/>
                  </a:cubicBezTo>
                  <a:cubicBezTo>
                    <a:pt x="9745" y="267"/>
                    <a:pt x="10307" y="440"/>
                    <a:pt x="10579" y="800"/>
                  </a:cubicBezTo>
                  <a:cubicBezTo>
                    <a:pt x="10724" y="881"/>
                    <a:pt x="10724" y="1066"/>
                    <a:pt x="10579" y="1240"/>
                  </a:cubicBezTo>
                  <a:cubicBezTo>
                    <a:pt x="10579" y="1333"/>
                    <a:pt x="10162" y="1333"/>
                    <a:pt x="10035" y="1414"/>
                  </a:cubicBezTo>
                  <a:cubicBezTo>
                    <a:pt x="10035" y="1599"/>
                    <a:pt x="10162" y="1773"/>
                    <a:pt x="10307" y="1947"/>
                  </a:cubicBezTo>
                  <a:cubicBezTo>
                    <a:pt x="10307" y="2132"/>
                    <a:pt x="10162" y="2387"/>
                    <a:pt x="10434" y="2573"/>
                  </a:cubicBezTo>
                  <a:cubicBezTo>
                    <a:pt x="11141" y="3094"/>
                    <a:pt x="11957" y="3453"/>
                    <a:pt x="12937" y="3894"/>
                  </a:cubicBezTo>
                  <a:cubicBezTo>
                    <a:pt x="14315" y="4519"/>
                    <a:pt x="15984" y="4786"/>
                    <a:pt x="17235" y="5493"/>
                  </a:cubicBezTo>
                  <a:cubicBezTo>
                    <a:pt x="18613" y="6373"/>
                    <a:pt x="19447" y="7521"/>
                    <a:pt x="20554" y="8494"/>
                  </a:cubicBezTo>
                  <a:cubicBezTo>
                    <a:pt x="20826" y="8853"/>
                    <a:pt x="21515" y="9294"/>
                    <a:pt x="21243" y="9653"/>
                  </a:cubicBezTo>
                  <a:cubicBezTo>
                    <a:pt x="20826" y="10093"/>
                    <a:pt x="19447" y="9827"/>
                    <a:pt x="19175" y="10267"/>
                  </a:cubicBezTo>
                  <a:cubicBezTo>
                    <a:pt x="18885" y="10626"/>
                    <a:pt x="20282" y="10533"/>
                    <a:pt x="20409" y="10800"/>
                  </a:cubicBezTo>
                  <a:cubicBezTo>
                    <a:pt x="20699" y="10974"/>
                    <a:pt x="20010" y="11159"/>
                    <a:pt x="20010" y="11414"/>
                  </a:cubicBezTo>
                  <a:cubicBezTo>
                    <a:pt x="20010" y="11773"/>
                    <a:pt x="20699" y="12040"/>
                    <a:pt x="20409" y="12306"/>
                  </a:cubicBezTo>
                  <a:cubicBezTo>
                    <a:pt x="20137" y="12747"/>
                    <a:pt x="19030" y="12747"/>
                    <a:pt x="18758" y="13187"/>
                  </a:cubicBezTo>
                  <a:cubicBezTo>
                    <a:pt x="18613" y="13546"/>
                    <a:pt x="19720" y="13894"/>
                    <a:pt x="19593" y="14253"/>
                  </a:cubicBezTo>
                  <a:cubicBezTo>
                    <a:pt x="19447" y="14520"/>
                    <a:pt x="18613" y="14334"/>
                    <a:pt x="18341" y="14520"/>
                  </a:cubicBezTo>
                  <a:cubicBezTo>
                    <a:pt x="17924" y="14786"/>
                    <a:pt x="17779" y="15053"/>
                    <a:pt x="17507" y="15319"/>
                  </a:cubicBezTo>
                  <a:cubicBezTo>
                    <a:pt x="17362" y="15319"/>
                    <a:pt x="17362" y="15319"/>
                    <a:pt x="17362" y="15319"/>
                  </a:cubicBezTo>
                  <a:cubicBezTo>
                    <a:pt x="17362" y="15319"/>
                    <a:pt x="16673" y="16107"/>
                    <a:pt x="16673" y="16200"/>
                  </a:cubicBezTo>
                  <a:cubicBezTo>
                    <a:pt x="16673" y="16293"/>
                    <a:pt x="15984" y="16733"/>
                    <a:pt x="15984" y="16733"/>
                  </a:cubicBezTo>
                  <a:cubicBezTo>
                    <a:pt x="15838" y="17000"/>
                    <a:pt x="15984" y="17347"/>
                    <a:pt x="15711" y="17440"/>
                  </a:cubicBezTo>
                  <a:cubicBezTo>
                    <a:pt x="14877" y="17614"/>
                    <a:pt x="13771" y="16814"/>
                    <a:pt x="13209" y="17266"/>
                  </a:cubicBezTo>
                  <a:cubicBezTo>
                    <a:pt x="12102" y="18239"/>
                    <a:pt x="12665" y="19653"/>
                    <a:pt x="11830" y="20708"/>
                  </a:cubicBezTo>
                  <a:cubicBezTo>
                    <a:pt x="11540" y="21160"/>
                    <a:pt x="10724" y="21507"/>
                    <a:pt x="10035" y="21507"/>
                  </a:cubicBezTo>
                  <a:cubicBezTo>
                    <a:pt x="9328" y="21600"/>
                    <a:pt x="8784" y="21160"/>
                    <a:pt x="8221" y="20974"/>
                  </a:cubicBezTo>
                  <a:cubicBezTo>
                    <a:pt x="8221" y="20893"/>
                    <a:pt x="8221" y="20893"/>
                    <a:pt x="8221" y="20893"/>
                  </a:cubicBezTo>
                  <a:cubicBezTo>
                    <a:pt x="8638" y="20360"/>
                    <a:pt x="9745" y="19920"/>
                    <a:pt x="9473" y="19387"/>
                  </a:cubicBezTo>
                  <a:cubicBezTo>
                    <a:pt x="9328" y="18946"/>
                    <a:pt x="7949" y="19479"/>
                    <a:pt x="7387" y="19213"/>
                  </a:cubicBezTo>
                  <a:cubicBezTo>
                    <a:pt x="6843" y="18946"/>
                    <a:pt x="6843" y="18321"/>
                    <a:pt x="6426" y="17973"/>
                  </a:cubicBezTo>
                  <a:cubicBezTo>
                    <a:pt x="6009" y="17614"/>
                    <a:pt x="5592" y="17440"/>
                    <a:pt x="5174" y="17173"/>
                  </a:cubicBezTo>
                  <a:cubicBezTo>
                    <a:pt x="4902" y="17000"/>
                    <a:pt x="4485" y="17000"/>
                    <a:pt x="4213" y="16814"/>
                  </a:cubicBezTo>
                  <a:cubicBezTo>
                    <a:pt x="4213" y="16814"/>
                    <a:pt x="4340" y="16733"/>
                    <a:pt x="4213" y="16640"/>
                  </a:cubicBezTo>
                  <a:cubicBezTo>
                    <a:pt x="3941" y="16467"/>
                    <a:pt x="3651" y="16200"/>
                    <a:pt x="3234" y="16107"/>
                  </a:cubicBezTo>
                  <a:cubicBezTo>
                    <a:pt x="2962" y="16107"/>
                    <a:pt x="2690" y="16374"/>
                    <a:pt x="2545" y="16374"/>
                  </a:cubicBezTo>
                  <a:cubicBezTo>
                    <a:pt x="2128" y="16293"/>
                    <a:pt x="1983" y="15933"/>
                    <a:pt x="1710" y="16026"/>
                  </a:cubicBezTo>
                  <a:cubicBezTo>
                    <a:pt x="1438" y="16026"/>
                    <a:pt x="1710" y="16467"/>
                    <a:pt x="1438" y="16467"/>
                  </a:cubicBezTo>
                  <a:cubicBezTo>
                    <a:pt x="1166" y="16548"/>
                    <a:pt x="1021" y="16293"/>
                    <a:pt x="749" y="16107"/>
                  </a:cubicBezTo>
                  <a:cubicBezTo>
                    <a:pt x="459" y="15933"/>
                    <a:pt x="187" y="15760"/>
                    <a:pt x="60" y="15493"/>
                  </a:cubicBezTo>
                  <a:cubicBezTo>
                    <a:pt x="-85" y="15319"/>
                    <a:pt x="60" y="15053"/>
                    <a:pt x="187" y="14786"/>
                  </a:cubicBezTo>
                  <a:cubicBezTo>
                    <a:pt x="332" y="14520"/>
                    <a:pt x="749" y="14334"/>
                    <a:pt x="749" y="14079"/>
                  </a:cubicBezTo>
                  <a:cubicBezTo>
                    <a:pt x="604" y="13454"/>
                    <a:pt x="60" y="13013"/>
                    <a:pt x="60" y="12399"/>
                  </a:cubicBezTo>
                  <a:cubicBezTo>
                    <a:pt x="187" y="12214"/>
                    <a:pt x="749" y="12480"/>
                    <a:pt x="1021" y="12306"/>
                  </a:cubicBezTo>
                  <a:cubicBezTo>
                    <a:pt x="1438" y="11947"/>
                    <a:pt x="1983" y="11507"/>
                    <a:pt x="2128" y="11067"/>
                  </a:cubicBezTo>
                  <a:cubicBezTo>
                    <a:pt x="2273" y="10626"/>
                    <a:pt x="1565" y="10360"/>
                    <a:pt x="1438" y="10000"/>
                  </a:cubicBezTo>
                  <a:cubicBezTo>
                    <a:pt x="1438" y="9827"/>
                    <a:pt x="1710" y="9734"/>
                    <a:pt x="1983" y="9653"/>
                  </a:cubicBezTo>
                  <a:cubicBezTo>
                    <a:pt x="2545" y="9653"/>
                    <a:pt x="3107" y="9560"/>
                    <a:pt x="3651" y="9653"/>
                  </a:cubicBezTo>
                  <a:cubicBezTo>
                    <a:pt x="4068" y="9734"/>
                    <a:pt x="4213" y="10093"/>
                    <a:pt x="4630" y="10093"/>
                  </a:cubicBezTo>
                  <a:cubicBezTo>
                    <a:pt x="4902" y="10093"/>
                    <a:pt x="4902" y="9827"/>
                    <a:pt x="5174" y="9734"/>
                  </a:cubicBezTo>
                  <a:cubicBezTo>
                    <a:pt x="5446" y="9653"/>
                    <a:pt x="5737" y="9386"/>
                    <a:pt x="6154" y="9467"/>
                  </a:cubicBezTo>
                  <a:cubicBezTo>
                    <a:pt x="6553" y="9467"/>
                    <a:pt x="6698" y="9919"/>
                    <a:pt x="7115" y="10000"/>
                  </a:cubicBezTo>
                  <a:cubicBezTo>
                    <a:pt x="7260" y="10000"/>
                    <a:pt x="7387" y="9734"/>
                    <a:pt x="7532" y="9653"/>
                  </a:cubicBezTo>
                  <a:cubicBezTo>
                    <a:pt x="7949" y="9560"/>
                    <a:pt x="8366" y="9734"/>
                    <a:pt x="8784" y="9560"/>
                  </a:cubicBezTo>
                  <a:cubicBezTo>
                    <a:pt x="9056" y="9386"/>
                    <a:pt x="9201" y="9120"/>
                    <a:pt x="9473" y="8853"/>
                  </a:cubicBezTo>
                  <a:cubicBezTo>
                    <a:pt x="10035" y="9027"/>
                    <a:pt x="10434" y="9294"/>
                    <a:pt x="10996" y="9467"/>
                  </a:cubicBezTo>
                  <a:cubicBezTo>
                    <a:pt x="11141" y="9467"/>
                    <a:pt x="11141" y="9212"/>
                    <a:pt x="11413" y="9212"/>
                  </a:cubicBezTo>
                  <a:cubicBezTo>
                    <a:pt x="11540" y="9120"/>
                    <a:pt x="11685" y="9386"/>
                    <a:pt x="11957" y="9294"/>
                  </a:cubicBezTo>
                  <a:cubicBezTo>
                    <a:pt x="12665" y="9212"/>
                    <a:pt x="13481" y="9120"/>
                    <a:pt x="14043" y="8761"/>
                  </a:cubicBezTo>
                  <a:cubicBezTo>
                    <a:pt x="14460" y="8320"/>
                    <a:pt x="14460" y="7787"/>
                    <a:pt x="14315" y="7254"/>
                  </a:cubicBezTo>
                  <a:cubicBezTo>
                    <a:pt x="14188" y="6988"/>
                    <a:pt x="13626" y="6906"/>
                    <a:pt x="13209" y="6733"/>
                  </a:cubicBezTo>
                  <a:cubicBezTo>
                    <a:pt x="13209" y="6733"/>
                    <a:pt x="11957" y="6906"/>
                    <a:pt x="11830" y="6906"/>
                  </a:cubicBezTo>
                  <a:cubicBezTo>
                    <a:pt x="11685" y="6814"/>
                    <a:pt x="10724" y="6640"/>
                    <a:pt x="10724" y="6640"/>
                  </a:cubicBezTo>
                  <a:cubicBezTo>
                    <a:pt x="10307" y="6733"/>
                    <a:pt x="9890" y="6814"/>
                    <a:pt x="9473" y="6814"/>
                  </a:cubicBezTo>
                  <a:cubicBezTo>
                    <a:pt x="9201" y="6733"/>
                    <a:pt x="8910" y="6466"/>
                    <a:pt x="8638" y="6547"/>
                  </a:cubicBezTo>
                  <a:cubicBezTo>
                    <a:pt x="8094" y="6733"/>
                    <a:pt x="7949" y="7439"/>
                    <a:pt x="7260" y="7439"/>
                  </a:cubicBezTo>
                  <a:cubicBezTo>
                    <a:pt x="6843" y="7521"/>
                    <a:pt x="6698" y="6988"/>
                    <a:pt x="6426" y="6733"/>
                  </a:cubicBezTo>
                  <a:cubicBezTo>
                    <a:pt x="6281" y="6466"/>
                    <a:pt x="6553" y="6107"/>
                    <a:pt x="6281" y="5933"/>
                  </a:cubicBezTo>
                  <a:cubicBezTo>
                    <a:pt x="6009" y="5574"/>
                    <a:pt x="5320" y="5400"/>
                    <a:pt x="4902" y="5133"/>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6" name="Shape 2370">
              <a:extLst>
                <a:ext uri="{FF2B5EF4-FFF2-40B4-BE49-F238E27FC236}">
                  <a16:creationId xmlns:a16="http://schemas.microsoft.com/office/drawing/2014/main" id="{E66AF849-A58E-7A75-525A-CFAEEA64D957}"/>
                </a:ext>
              </a:extLst>
            </p:cNvPr>
            <p:cNvSpPr/>
            <p:nvPr/>
          </p:nvSpPr>
          <p:spPr>
            <a:xfrm>
              <a:off x="2666734" y="6627521"/>
              <a:ext cx="422707" cy="488342"/>
            </a:xfrm>
            <a:custGeom>
              <a:avLst/>
              <a:gdLst/>
              <a:ahLst/>
              <a:cxnLst>
                <a:cxn ang="0">
                  <a:pos x="wd2" y="hd2"/>
                </a:cxn>
                <a:cxn ang="5400000">
                  <a:pos x="wd2" y="hd2"/>
                </a:cxn>
                <a:cxn ang="10800000">
                  <a:pos x="wd2" y="hd2"/>
                </a:cxn>
                <a:cxn ang="16200000">
                  <a:pos x="wd2" y="hd2"/>
                </a:cxn>
              </a:cxnLst>
              <a:rect l="0" t="0" r="r" b="b"/>
              <a:pathLst>
                <a:path w="21344" h="21452" extrusionOk="0">
                  <a:moveTo>
                    <a:pt x="5196" y="1658"/>
                  </a:moveTo>
                  <a:cubicBezTo>
                    <a:pt x="5860" y="1096"/>
                    <a:pt x="6252" y="296"/>
                    <a:pt x="7018" y="74"/>
                  </a:cubicBezTo>
                  <a:cubicBezTo>
                    <a:pt x="7666" y="-148"/>
                    <a:pt x="8330" y="193"/>
                    <a:pt x="8977" y="296"/>
                  </a:cubicBezTo>
                  <a:cubicBezTo>
                    <a:pt x="8977" y="296"/>
                    <a:pt x="8841" y="1096"/>
                    <a:pt x="8977" y="1096"/>
                  </a:cubicBezTo>
                  <a:lnTo>
                    <a:pt x="10272" y="1199"/>
                  </a:lnTo>
                  <a:cubicBezTo>
                    <a:pt x="10272" y="1199"/>
                    <a:pt x="9761" y="1880"/>
                    <a:pt x="9880" y="1999"/>
                  </a:cubicBezTo>
                  <a:cubicBezTo>
                    <a:pt x="9880" y="2117"/>
                    <a:pt x="11447" y="3242"/>
                    <a:pt x="11447" y="3242"/>
                  </a:cubicBezTo>
                  <a:cubicBezTo>
                    <a:pt x="11975" y="2902"/>
                    <a:pt x="12095" y="2117"/>
                    <a:pt x="12742" y="2117"/>
                  </a:cubicBezTo>
                  <a:cubicBezTo>
                    <a:pt x="13270" y="1999"/>
                    <a:pt x="13270" y="2783"/>
                    <a:pt x="13526" y="3124"/>
                  </a:cubicBezTo>
                  <a:cubicBezTo>
                    <a:pt x="13270" y="3242"/>
                    <a:pt x="12742" y="3124"/>
                    <a:pt x="12878" y="3361"/>
                  </a:cubicBezTo>
                  <a:cubicBezTo>
                    <a:pt x="13134" y="3701"/>
                    <a:pt x="14173" y="3701"/>
                    <a:pt x="14309" y="4145"/>
                  </a:cubicBezTo>
                  <a:cubicBezTo>
                    <a:pt x="14445" y="4708"/>
                    <a:pt x="12878" y="5389"/>
                    <a:pt x="13526" y="5611"/>
                  </a:cubicBezTo>
                  <a:cubicBezTo>
                    <a:pt x="14701" y="5952"/>
                    <a:pt x="15996" y="5507"/>
                    <a:pt x="17035" y="4945"/>
                  </a:cubicBezTo>
                  <a:cubicBezTo>
                    <a:pt x="17426" y="4826"/>
                    <a:pt x="16779" y="4042"/>
                    <a:pt x="17171" y="3923"/>
                  </a:cubicBezTo>
                  <a:cubicBezTo>
                    <a:pt x="17563" y="3701"/>
                    <a:pt x="18074" y="4145"/>
                    <a:pt x="18466" y="4367"/>
                  </a:cubicBezTo>
                  <a:cubicBezTo>
                    <a:pt x="18466" y="4367"/>
                    <a:pt x="17955" y="5507"/>
                    <a:pt x="17955" y="5611"/>
                  </a:cubicBezTo>
                  <a:cubicBezTo>
                    <a:pt x="17818" y="5848"/>
                    <a:pt x="19522" y="6292"/>
                    <a:pt x="19522" y="6292"/>
                  </a:cubicBezTo>
                  <a:cubicBezTo>
                    <a:pt x="19249" y="7195"/>
                    <a:pt x="18466" y="8113"/>
                    <a:pt x="18994" y="9016"/>
                  </a:cubicBezTo>
                  <a:cubicBezTo>
                    <a:pt x="19249" y="9460"/>
                    <a:pt x="20680" y="8557"/>
                    <a:pt x="20953" y="9120"/>
                  </a:cubicBezTo>
                  <a:cubicBezTo>
                    <a:pt x="21600" y="10585"/>
                    <a:pt x="21208" y="12288"/>
                    <a:pt x="21344" y="13990"/>
                  </a:cubicBezTo>
                  <a:cubicBezTo>
                    <a:pt x="20561" y="14316"/>
                    <a:pt x="20033" y="14894"/>
                    <a:pt x="19249" y="14894"/>
                  </a:cubicBezTo>
                  <a:cubicBezTo>
                    <a:pt x="18602" y="14894"/>
                    <a:pt x="18074" y="13650"/>
                    <a:pt x="17563" y="13990"/>
                  </a:cubicBezTo>
                  <a:cubicBezTo>
                    <a:pt x="16915" y="14435"/>
                    <a:pt x="17307" y="15456"/>
                    <a:pt x="17426" y="16137"/>
                  </a:cubicBezTo>
                  <a:cubicBezTo>
                    <a:pt x="17563" y="17040"/>
                    <a:pt x="18857" y="17825"/>
                    <a:pt x="18602" y="18624"/>
                  </a:cubicBezTo>
                  <a:cubicBezTo>
                    <a:pt x="18210" y="19527"/>
                    <a:pt x="16779" y="19646"/>
                    <a:pt x="15876" y="20090"/>
                  </a:cubicBezTo>
                  <a:cubicBezTo>
                    <a:pt x="14956" y="20549"/>
                    <a:pt x="14173" y="20993"/>
                    <a:pt x="13270" y="21452"/>
                  </a:cubicBezTo>
                  <a:cubicBezTo>
                    <a:pt x="13015" y="21230"/>
                    <a:pt x="12350" y="21230"/>
                    <a:pt x="11975" y="21111"/>
                  </a:cubicBezTo>
                  <a:cubicBezTo>
                    <a:pt x="11447" y="20993"/>
                    <a:pt x="11703" y="20771"/>
                    <a:pt x="11056" y="21111"/>
                  </a:cubicBezTo>
                  <a:cubicBezTo>
                    <a:pt x="10664" y="21230"/>
                    <a:pt x="10664" y="20889"/>
                    <a:pt x="10408" y="20771"/>
                  </a:cubicBezTo>
                  <a:cubicBezTo>
                    <a:pt x="10408" y="20430"/>
                    <a:pt x="10016" y="19986"/>
                    <a:pt x="9880" y="19646"/>
                  </a:cubicBezTo>
                  <a:cubicBezTo>
                    <a:pt x="9625" y="19305"/>
                    <a:pt x="9233" y="19068"/>
                    <a:pt x="8841" y="18846"/>
                  </a:cubicBezTo>
                  <a:cubicBezTo>
                    <a:pt x="8585" y="18728"/>
                    <a:pt x="8194" y="18506"/>
                    <a:pt x="7938" y="18284"/>
                  </a:cubicBezTo>
                  <a:cubicBezTo>
                    <a:pt x="7802" y="18062"/>
                    <a:pt x="7155" y="17603"/>
                    <a:pt x="7155" y="17484"/>
                  </a:cubicBezTo>
                  <a:cubicBezTo>
                    <a:pt x="6899" y="17484"/>
                    <a:pt x="6252" y="18165"/>
                    <a:pt x="5979" y="18284"/>
                  </a:cubicBezTo>
                  <a:cubicBezTo>
                    <a:pt x="5724" y="18387"/>
                    <a:pt x="4940" y="18965"/>
                    <a:pt x="4804" y="18728"/>
                  </a:cubicBezTo>
                  <a:cubicBezTo>
                    <a:pt x="4685" y="18506"/>
                    <a:pt x="4685" y="18284"/>
                    <a:pt x="4685" y="17943"/>
                  </a:cubicBezTo>
                  <a:cubicBezTo>
                    <a:pt x="4685" y="17825"/>
                    <a:pt x="3901" y="17943"/>
                    <a:pt x="3765" y="17943"/>
                  </a:cubicBezTo>
                  <a:cubicBezTo>
                    <a:pt x="3645" y="17943"/>
                    <a:pt x="3509" y="16818"/>
                    <a:pt x="3373" y="16700"/>
                  </a:cubicBezTo>
                  <a:cubicBezTo>
                    <a:pt x="2981" y="16256"/>
                    <a:pt x="2470" y="16019"/>
                    <a:pt x="2078" y="15678"/>
                  </a:cubicBezTo>
                  <a:cubicBezTo>
                    <a:pt x="2078" y="15575"/>
                    <a:pt x="1942" y="15456"/>
                    <a:pt x="1942" y="15338"/>
                  </a:cubicBezTo>
                  <a:cubicBezTo>
                    <a:pt x="1942" y="14997"/>
                    <a:pt x="1431" y="14657"/>
                    <a:pt x="1431" y="14316"/>
                  </a:cubicBezTo>
                  <a:cubicBezTo>
                    <a:pt x="1295" y="13990"/>
                    <a:pt x="1567" y="13650"/>
                    <a:pt x="1567" y="13309"/>
                  </a:cubicBezTo>
                  <a:cubicBezTo>
                    <a:pt x="1567" y="13087"/>
                    <a:pt x="647" y="11844"/>
                    <a:pt x="392" y="11725"/>
                  </a:cubicBezTo>
                  <a:cubicBezTo>
                    <a:pt x="392" y="11503"/>
                    <a:pt x="1295" y="11163"/>
                    <a:pt x="1039" y="10822"/>
                  </a:cubicBezTo>
                  <a:cubicBezTo>
                    <a:pt x="903" y="10482"/>
                    <a:pt x="136" y="10482"/>
                    <a:pt x="0" y="10260"/>
                  </a:cubicBezTo>
                  <a:cubicBezTo>
                    <a:pt x="0" y="10023"/>
                    <a:pt x="2334" y="9682"/>
                    <a:pt x="2078" y="8898"/>
                  </a:cubicBezTo>
                  <a:cubicBezTo>
                    <a:pt x="1942" y="8898"/>
                    <a:pt x="903" y="9238"/>
                    <a:pt x="903" y="9016"/>
                  </a:cubicBezTo>
                  <a:cubicBezTo>
                    <a:pt x="647" y="8898"/>
                    <a:pt x="1175" y="8439"/>
                    <a:pt x="1295" y="8335"/>
                  </a:cubicBezTo>
                  <a:cubicBezTo>
                    <a:pt x="1567" y="8113"/>
                    <a:pt x="1567" y="7772"/>
                    <a:pt x="1431" y="7536"/>
                  </a:cubicBezTo>
                  <a:cubicBezTo>
                    <a:pt x="1295" y="7314"/>
                    <a:pt x="1686" y="7195"/>
                    <a:pt x="1823" y="6973"/>
                  </a:cubicBezTo>
                  <a:cubicBezTo>
                    <a:pt x="1942" y="6855"/>
                    <a:pt x="1942" y="6633"/>
                    <a:pt x="2078" y="6514"/>
                  </a:cubicBezTo>
                  <a:cubicBezTo>
                    <a:pt x="2470" y="6070"/>
                    <a:pt x="3254" y="5167"/>
                    <a:pt x="3901" y="5167"/>
                  </a:cubicBezTo>
                  <a:cubicBezTo>
                    <a:pt x="4429" y="5167"/>
                    <a:pt x="5196" y="5389"/>
                    <a:pt x="5196" y="4708"/>
                  </a:cubicBezTo>
                  <a:cubicBezTo>
                    <a:pt x="4940" y="4708"/>
                    <a:pt x="3373" y="5048"/>
                    <a:pt x="3765" y="4264"/>
                  </a:cubicBezTo>
                  <a:cubicBezTo>
                    <a:pt x="4037" y="4042"/>
                    <a:pt x="4037" y="3361"/>
                    <a:pt x="3901" y="3020"/>
                  </a:cubicBezTo>
                  <a:cubicBezTo>
                    <a:pt x="3765" y="2783"/>
                    <a:pt x="4429" y="2680"/>
                    <a:pt x="4548" y="2561"/>
                  </a:cubicBezTo>
                  <a:cubicBezTo>
                    <a:pt x="4940" y="2458"/>
                    <a:pt x="5332" y="1999"/>
                    <a:pt x="5196" y="16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7" name="Shape 2371">
              <a:extLst>
                <a:ext uri="{FF2B5EF4-FFF2-40B4-BE49-F238E27FC236}">
                  <a16:creationId xmlns:a16="http://schemas.microsoft.com/office/drawing/2014/main" id="{DF244510-EED5-5A13-F5C1-5A89D812DC9F}"/>
                </a:ext>
              </a:extLst>
            </p:cNvPr>
            <p:cNvSpPr/>
            <p:nvPr/>
          </p:nvSpPr>
          <p:spPr>
            <a:xfrm>
              <a:off x="2254979" y="6187940"/>
              <a:ext cx="514808" cy="996304"/>
            </a:xfrm>
            <a:custGeom>
              <a:avLst/>
              <a:gdLst/>
              <a:ahLst/>
              <a:cxnLst>
                <a:cxn ang="0">
                  <a:pos x="wd2" y="hd2"/>
                </a:cxn>
                <a:cxn ang="5400000">
                  <a:pos x="wd2" y="hd2"/>
                </a:cxn>
                <a:cxn ang="10800000">
                  <a:pos x="wd2" y="hd2"/>
                </a:cxn>
                <a:cxn ang="16200000">
                  <a:pos x="wd2" y="hd2"/>
                </a:cxn>
              </a:cxnLst>
              <a:rect l="0" t="0" r="r" b="b"/>
              <a:pathLst>
                <a:path w="21510" h="21549" extrusionOk="0">
                  <a:moveTo>
                    <a:pt x="17193" y="343"/>
                  </a:moveTo>
                  <a:cubicBezTo>
                    <a:pt x="16981" y="233"/>
                    <a:pt x="16658" y="-51"/>
                    <a:pt x="16334" y="7"/>
                  </a:cubicBezTo>
                  <a:cubicBezTo>
                    <a:pt x="15700" y="66"/>
                    <a:pt x="15489" y="452"/>
                    <a:pt x="14940" y="561"/>
                  </a:cubicBezTo>
                  <a:cubicBezTo>
                    <a:pt x="14405" y="619"/>
                    <a:pt x="13870" y="452"/>
                    <a:pt x="13335" y="394"/>
                  </a:cubicBezTo>
                  <a:cubicBezTo>
                    <a:pt x="12898" y="343"/>
                    <a:pt x="12363" y="284"/>
                    <a:pt x="11926" y="175"/>
                  </a:cubicBezTo>
                  <a:cubicBezTo>
                    <a:pt x="11617" y="343"/>
                    <a:pt x="11180" y="510"/>
                    <a:pt x="10758" y="561"/>
                  </a:cubicBezTo>
                  <a:cubicBezTo>
                    <a:pt x="10321" y="678"/>
                    <a:pt x="9899" y="678"/>
                    <a:pt x="9462" y="678"/>
                  </a:cubicBezTo>
                  <a:cubicBezTo>
                    <a:pt x="9251" y="845"/>
                    <a:pt x="9026" y="1122"/>
                    <a:pt x="8603" y="1232"/>
                  </a:cubicBezTo>
                  <a:cubicBezTo>
                    <a:pt x="8167" y="1341"/>
                    <a:pt x="7519" y="1232"/>
                    <a:pt x="7195" y="1399"/>
                  </a:cubicBezTo>
                  <a:cubicBezTo>
                    <a:pt x="6886" y="1567"/>
                    <a:pt x="6984" y="1785"/>
                    <a:pt x="6984" y="2011"/>
                  </a:cubicBezTo>
                  <a:cubicBezTo>
                    <a:pt x="6984" y="2347"/>
                    <a:pt x="7421" y="2682"/>
                    <a:pt x="7421" y="3017"/>
                  </a:cubicBezTo>
                  <a:cubicBezTo>
                    <a:pt x="7421" y="3294"/>
                    <a:pt x="7195" y="3571"/>
                    <a:pt x="6886" y="3738"/>
                  </a:cubicBezTo>
                  <a:cubicBezTo>
                    <a:pt x="6449" y="3906"/>
                    <a:pt x="5801" y="3848"/>
                    <a:pt x="5379" y="3957"/>
                  </a:cubicBezTo>
                  <a:cubicBezTo>
                    <a:pt x="5154" y="4015"/>
                    <a:pt x="5055" y="4183"/>
                    <a:pt x="4731" y="4234"/>
                  </a:cubicBezTo>
                  <a:cubicBezTo>
                    <a:pt x="3971" y="4292"/>
                    <a:pt x="3112" y="4015"/>
                    <a:pt x="2464" y="4234"/>
                  </a:cubicBezTo>
                  <a:cubicBezTo>
                    <a:pt x="1831" y="4402"/>
                    <a:pt x="1929" y="4904"/>
                    <a:pt x="1718" y="5240"/>
                  </a:cubicBezTo>
                  <a:cubicBezTo>
                    <a:pt x="1507" y="5517"/>
                    <a:pt x="1183" y="5743"/>
                    <a:pt x="859" y="5961"/>
                  </a:cubicBezTo>
                  <a:cubicBezTo>
                    <a:pt x="535" y="6129"/>
                    <a:pt x="211" y="6238"/>
                    <a:pt x="0" y="6355"/>
                  </a:cubicBezTo>
                  <a:cubicBezTo>
                    <a:pt x="648" y="6406"/>
                    <a:pt x="1394" y="6296"/>
                    <a:pt x="1831" y="6522"/>
                  </a:cubicBezTo>
                  <a:cubicBezTo>
                    <a:pt x="2154" y="6690"/>
                    <a:pt x="1718" y="6967"/>
                    <a:pt x="1718" y="7185"/>
                  </a:cubicBezTo>
                  <a:cubicBezTo>
                    <a:pt x="1831" y="7411"/>
                    <a:pt x="1718" y="7856"/>
                    <a:pt x="2253" y="7914"/>
                  </a:cubicBezTo>
                  <a:cubicBezTo>
                    <a:pt x="2901" y="7965"/>
                    <a:pt x="3436" y="7579"/>
                    <a:pt x="3971" y="7353"/>
                  </a:cubicBezTo>
                  <a:lnTo>
                    <a:pt x="4083" y="7798"/>
                  </a:lnTo>
                  <a:cubicBezTo>
                    <a:pt x="3971" y="7856"/>
                    <a:pt x="3647" y="8133"/>
                    <a:pt x="3647" y="8133"/>
                  </a:cubicBezTo>
                  <a:cubicBezTo>
                    <a:pt x="3647" y="8133"/>
                    <a:pt x="3548" y="8526"/>
                    <a:pt x="3548" y="8577"/>
                  </a:cubicBezTo>
                  <a:lnTo>
                    <a:pt x="4295" y="9022"/>
                  </a:lnTo>
                  <a:cubicBezTo>
                    <a:pt x="4619" y="9306"/>
                    <a:pt x="4830" y="9634"/>
                    <a:pt x="5055" y="9918"/>
                  </a:cubicBezTo>
                  <a:cubicBezTo>
                    <a:pt x="5055" y="9918"/>
                    <a:pt x="5801" y="10304"/>
                    <a:pt x="5703" y="10304"/>
                  </a:cubicBezTo>
                  <a:cubicBezTo>
                    <a:pt x="5590" y="10363"/>
                    <a:pt x="4407" y="10749"/>
                    <a:pt x="4407" y="10749"/>
                  </a:cubicBezTo>
                  <a:cubicBezTo>
                    <a:pt x="4196" y="10858"/>
                    <a:pt x="3760" y="10917"/>
                    <a:pt x="3760" y="11026"/>
                  </a:cubicBezTo>
                  <a:cubicBezTo>
                    <a:pt x="3872" y="11310"/>
                    <a:pt x="4731" y="11419"/>
                    <a:pt x="4731" y="11696"/>
                  </a:cubicBezTo>
                  <a:cubicBezTo>
                    <a:pt x="4731" y="11864"/>
                    <a:pt x="3971" y="11806"/>
                    <a:pt x="3872" y="11973"/>
                  </a:cubicBezTo>
                  <a:cubicBezTo>
                    <a:pt x="3647" y="12250"/>
                    <a:pt x="3872" y="12534"/>
                    <a:pt x="3872" y="12811"/>
                  </a:cubicBezTo>
                  <a:cubicBezTo>
                    <a:pt x="3971" y="13198"/>
                    <a:pt x="4196" y="13642"/>
                    <a:pt x="4196" y="14036"/>
                  </a:cubicBezTo>
                  <a:cubicBezTo>
                    <a:pt x="4083" y="14254"/>
                    <a:pt x="3760" y="14371"/>
                    <a:pt x="3548" y="14538"/>
                  </a:cubicBezTo>
                  <a:cubicBezTo>
                    <a:pt x="3872" y="14589"/>
                    <a:pt x="4196" y="14589"/>
                    <a:pt x="4407" y="14699"/>
                  </a:cubicBezTo>
                  <a:cubicBezTo>
                    <a:pt x="4520" y="14866"/>
                    <a:pt x="4196" y="15092"/>
                    <a:pt x="4295" y="15260"/>
                  </a:cubicBezTo>
                  <a:cubicBezTo>
                    <a:pt x="4520" y="15428"/>
                    <a:pt x="5154" y="15318"/>
                    <a:pt x="5379" y="15486"/>
                  </a:cubicBezTo>
                  <a:cubicBezTo>
                    <a:pt x="5703" y="15704"/>
                    <a:pt x="5914" y="16040"/>
                    <a:pt x="5914" y="16317"/>
                  </a:cubicBezTo>
                  <a:cubicBezTo>
                    <a:pt x="5703" y="16870"/>
                    <a:pt x="5055" y="17373"/>
                    <a:pt x="4731" y="17934"/>
                  </a:cubicBezTo>
                  <a:cubicBezTo>
                    <a:pt x="4520" y="18321"/>
                    <a:pt x="4731" y="18765"/>
                    <a:pt x="4520" y="19100"/>
                  </a:cubicBezTo>
                  <a:cubicBezTo>
                    <a:pt x="4295" y="19377"/>
                    <a:pt x="3647" y="19436"/>
                    <a:pt x="3436" y="19713"/>
                  </a:cubicBezTo>
                  <a:cubicBezTo>
                    <a:pt x="3013" y="20048"/>
                    <a:pt x="2788" y="20434"/>
                    <a:pt x="2464" y="20828"/>
                  </a:cubicBezTo>
                  <a:cubicBezTo>
                    <a:pt x="2689" y="20937"/>
                    <a:pt x="2788" y="21104"/>
                    <a:pt x="3013" y="21214"/>
                  </a:cubicBezTo>
                  <a:cubicBezTo>
                    <a:pt x="3225" y="21323"/>
                    <a:pt x="3323" y="21549"/>
                    <a:pt x="3647" y="21549"/>
                  </a:cubicBezTo>
                  <a:cubicBezTo>
                    <a:pt x="3971" y="21549"/>
                    <a:pt x="3872" y="21214"/>
                    <a:pt x="4196" y="21163"/>
                  </a:cubicBezTo>
                  <a:cubicBezTo>
                    <a:pt x="4619" y="20995"/>
                    <a:pt x="5154" y="20937"/>
                    <a:pt x="5703" y="20937"/>
                  </a:cubicBezTo>
                  <a:cubicBezTo>
                    <a:pt x="6238" y="20937"/>
                    <a:pt x="6773" y="21046"/>
                    <a:pt x="7195" y="21163"/>
                  </a:cubicBezTo>
                  <a:cubicBezTo>
                    <a:pt x="7308" y="21214"/>
                    <a:pt x="7195" y="21323"/>
                    <a:pt x="7195" y="21440"/>
                  </a:cubicBezTo>
                  <a:cubicBezTo>
                    <a:pt x="7632" y="21272"/>
                    <a:pt x="8068" y="21163"/>
                    <a:pt x="8378" y="20995"/>
                  </a:cubicBezTo>
                  <a:cubicBezTo>
                    <a:pt x="8927" y="20711"/>
                    <a:pt x="9462" y="20325"/>
                    <a:pt x="10110" y="20157"/>
                  </a:cubicBezTo>
                  <a:cubicBezTo>
                    <a:pt x="10321" y="20099"/>
                    <a:pt x="10434" y="20266"/>
                    <a:pt x="10532" y="20383"/>
                  </a:cubicBezTo>
                  <a:cubicBezTo>
                    <a:pt x="10758" y="20266"/>
                    <a:pt x="10969" y="20048"/>
                    <a:pt x="11293" y="20048"/>
                  </a:cubicBezTo>
                  <a:cubicBezTo>
                    <a:pt x="11504" y="20048"/>
                    <a:pt x="11391" y="20266"/>
                    <a:pt x="11504" y="20383"/>
                  </a:cubicBezTo>
                  <a:cubicBezTo>
                    <a:pt x="11715" y="20434"/>
                    <a:pt x="12039" y="20383"/>
                    <a:pt x="12250" y="20434"/>
                  </a:cubicBezTo>
                  <a:cubicBezTo>
                    <a:pt x="12363" y="20543"/>
                    <a:pt x="12250" y="20711"/>
                    <a:pt x="12363" y="20828"/>
                  </a:cubicBezTo>
                  <a:cubicBezTo>
                    <a:pt x="12574" y="20879"/>
                    <a:pt x="12799" y="20879"/>
                    <a:pt x="13011" y="20879"/>
                  </a:cubicBezTo>
                  <a:cubicBezTo>
                    <a:pt x="13658" y="20711"/>
                    <a:pt x="13658" y="20711"/>
                    <a:pt x="13658" y="20711"/>
                  </a:cubicBezTo>
                  <a:cubicBezTo>
                    <a:pt x="13771" y="20543"/>
                    <a:pt x="13771" y="20266"/>
                    <a:pt x="14081" y="20215"/>
                  </a:cubicBezTo>
                  <a:cubicBezTo>
                    <a:pt x="14517" y="20157"/>
                    <a:pt x="14940" y="20434"/>
                    <a:pt x="15376" y="20434"/>
                  </a:cubicBezTo>
                  <a:cubicBezTo>
                    <a:pt x="15897" y="20492"/>
                    <a:pt x="16432" y="20383"/>
                    <a:pt x="16981" y="20325"/>
                  </a:cubicBezTo>
                  <a:cubicBezTo>
                    <a:pt x="17404" y="20157"/>
                    <a:pt x="17939" y="20048"/>
                    <a:pt x="18263" y="19822"/>
                  </a:cubicBezTo>
                  <a:cubicBezTo>
                    <a:pt x="18587" y="19654"/>
                    <a:pt x="18488" y="19377"/>
                    <a:pt x="18798" y="19210"/>
                  </a:cubicBezTo>
                  <a:cubicBezTo>
                    <a:pt x="18911" y="19100"/>
                    <a:pt x="19558" y="19100"/>
                    <a:pt x="19558" y="18933"/>
                  </a:cubicBezTo>
                  <a:cubicBezTo>
                    <a:pt x="19446" y="18656"/>
                    <a:pt x="18798" y="18488"/>
                    <a:pt x="18587" y="18262"/>
                  </a:cubicBezTo>
                  <a:cubicBezTo>
                    <a:pt x="18375" y="18044"/>
                    <a:pt x="18263" y="17818"/>
                    <a:pt x="18263" y="17599"/>
                  </a:cubicBezTo>
                  <a:cubicBezTo>
                    <a:pt x="18375" y="17432"/>
                    <a:pt x="18699" y="17322"/>
                    <a:pt x="18911" y="17206"/>
                  </a:cubicBezTo>
                  <a:cubicBezTo>
                    <a:pt x="18911" y="17155"/>
                    <a:pt x="18798" y="17096"/>
                    <a:pt x="18798" y="17038"/>
                  </a:cubicBezTo>
                  <a:cubicBezTo>
                    <a:pt x="18798" y="16870"/>
                    <a:pt x="18375" y="16703"/>
                    <a:pt x="18375" y="16535"/>
                  </a:cubicBezTo>
                  <a:cubicBezTo>
                    <a:pt x="18263" y="16375"/>
                    <a:pt x="18488" y="16207"/>
                    <a:pt x="18488" y="16040"/>
                  </a:cubicBezTo>
                  <a:cubicBezTo>
                    <a:pt x="18488" y="15930"/>
                    <a:pt x="17728" y="15318"/>
                    <a:pt x="17517" y="15260"/>
                  </a:cubicBezTo>
                  <a:cubicBezTo>
                    <a:pt x="17517" y="15151"/>
                    <a:pt x="18263" y="14983"/>
                    <a:pt x="18052" y="14815"/>
                  </a:cubicBezTo>
                  <a:cubicBezTo>
                    <a:pt x="17939" y="14648"/>
                    <a:pt x="17305" y="14648"/>
                    <a:pt x="17193" y="14538"/>
                  </a:cubicBezTo>
                  <a:cubicBezTo>
                    <a:pt x="17193" y="14422"/>
                    <a:pt x="19122" y="14254"/>
                    <a:pt x="18911" y="13868"/>
                  </a:cubicBezTo>
                  <a:cubicBezTo>
                    <a:pt x="18798" y="13868"/>
                    <a:pt x="17939" y="14036"/>
                    <a:pt x="17939" y="13926"/>
                  </a:cubicBezTo>
                  <a:cubicBezTo>
                    <a:pt x="17728" y="13868"/>
                    <a:pt x="18164" y="13642"/>
                    <a:pt x="18263" y="13591"/>
                  </a:cubicBezTo>
                  <a:cubicBezTo>
                    <a:pt x="18488" y="13482"/>
                    <a:pt x="18488" y="13314"/>
                    <a:pt x="18375" y="13198"/>
                  </a:cubicBezTo>
                  <a:cubicBezTo>
                    <a:pt x="18263" y="13088"/>
                    <a:pt x="18587" y="13030"/>
                    <a:pt x="18699" y="12921"/>
                  </a:cubicBezTo>
                  <a:cubicBezTo>
                    <a:pt x="18798" y="12862"/>
                    <a:pt x="18798" y="12753"/>
                    <a:pt x="18911" y="12695"/>
                  </a:cubicBezTo>
                  <a:cubicBezTo>
                    <a:pt x="19234" y="12476"/>
                    <a:pt x="19882" y="12032"/>
                    <a:pt x="20417" y="12032"/>
                  </a:cubicBezTo>
                  <a:cubicBezTo>
                    <a:pt x="20854" y="12032"/>
                    <a:pt x="21487" y="12141"/>
                    <a:pt x="21487" y="11806"/>
                  </a:cubicBezTo>
                  <a:cubicBezTo>
                    <a:pt x="21276" y="11806"/>
                    <a:pt x="19981" y="11973"/>
                    <a:pt x="20305" y="11587"/>
                  </a:cubicBezTo>
                  <a:cubicBezTo>
                    <a:pt x="20530" y="11478"/>
                    <a:pt x="20530" y="11143"/>
                    <a:pt x="20417" y="10975"/>
                  </a:cubicBezTo>
                  <a:cubicBezTo>
                    <a:pt x="20305" y="10858"/>
                    <a:pt x="20854" y="10807"/>
                    <a:pt x="20952" y="10749"/>
                  </a:cubicBezTo>
                  <a:cubicBezTo>
                    <a:pt x="21276" y="10698"/>
                    <a:pt x="21600" y="10472"/>
                    <a:pt x="21487" y="10304"/>
                  </a:cubicBezTo>
                  <a:cubicBezTo>
                    <a:pt x="20854" y="10304"/>
                    <a:pt x="20417" y="10472"/>
                    <a:pt x="19882" y="10530"/>
                  </a:cubicBezTo>
                  <a:cubicBezTo>
                    <a:pt x="19558" y="10530"/>
                    <a:pt x="19347" y="10472"/>
                    <a:pt x="19023" y="10472"/>
                  </a:cubicBezTo>
                  <a:cubicBezTo>
                    <a:pt x="18587" y="10028"/>
                    <a:pt x="17404" y="9751"/>
                    <a:pt x="16756" y="9357"/>
                  </a:cubicBezTo>
                  <a:cubicBezTo>
                    <a:pt x="16432" y="9248"/>
                    <a:pt x="16108" y="9138"/>
                    <a:pt x="15785" y="9022"/>
                  </a:cubicBezTo>
                  <a:cubicBezTo>
                    <a:pt x="15489" y="8803"/>
                    <a:pt x="15052" y="8694"/>
                    <a:pt x="15489" y="8468"/>
                  </a:cubicBezTo>
                  <a:cubicBezTo>
                    <a:pt x="15700" y="8300"/>
                    <a:pt x="15897" y="8075"/>
                    <a:pt x="16221" y="8075"/>
                  </a:cubicBezTo>
                  <a:cubicBezTo>
                    <a:pt x="16869" y="8075"/>
                    <a:pt x="16756" y="7965"/>
                    <a:pt x="17080" y="7798"/>
                  </a:cubicBezTo>
                  <a:cubicBezTo>
                    <a:pt x="17305" y="7747"/>
                    <a:pt x="17615" y="7798"/>
                    <a:pt x="17840" y="7747"/>
                  </a:cubicBezTo>
                  <a:cubicBezTo>
                    <a:pt x="18263" y="7630"/>
                    <a:pt x="18587" y="7688"/>
                    <a:pt x="19023" y="7630"/>
                  </a:cubicBezTo>
                  <a:cubicBezTo>
                    <a:pt x="19558" y="7630"/>
                    <a:pt x="19882" y="7353"/>
                    <a:pt x="19981" y="7134"/>
                  </a:cubicBezTo>
                  <a:cubicBezTo>
                    <a:pt x="20530" y="6967"/>
                    <a:pt x="20417" y="6799"/>
                    <a:pt x="20417" y="6522"/>
                  </a:cubicBezTo>
                  <a:cubicBezTo>
                    <a:pt x="20417" y="6238"/>
                    <a:pt x="20093" y="5852"/>
                    <a:pt x="19558" y="6187"/>
                  </a:cubicBezTo>
                  <a:cubicBezTo>
                    <a:pt x="19347" y="6355"/>
                    <a:pt x="19023" y="6632"/>
                    <a:pt x="18587" y="6799"/>
                  </a:cubicBezTo>
                  <a:cubicBezTo>
                    <a:pt x="18488" y="6858"/>
                    <a:pt x="17517" y="7470"/>
                    <a:pt x="17728" y="6909"/>
                  </a:cubicBezTo>
                  <a:cubicBezTo>
                    <a:pt x="17840" y="6690"/>
                    <a:pt x="18164" y="6355"/>
                    <a:pt x="17615" y="6187"/>
                  </a:cubicBezTo>
                  <a:cubicBezTo>
                    <a:pt x="17615" y="5910"/>
                    <a:pt x="18263" y="5910"/>
                    <a:pt x="18263" y="5684"/>
                  </a:cubicBezTo>
                  <a:cubicBezTo>
                    <a:pt x="18375" y="5466"/>
                    <a:pt x="18699" y="5298"/>
                    <a:pt x="19023" y="5181"/>
                  </a:cubicBezTo>
                  <a:cubicBezTo>
                    <a:pt x="19234" y="5072"/>
                    <a:pt x="18911" y="5021"/>
                    <a:pt x="18911" y="4904"/>
                  </a:cubicBezTo>
                  <a:cubicBezTo>
                    <a:pt x="18798" y="4795"/>
                    <a:pt x="19234" y="4460"/>
                    <a:pt x="19347" y="4402"/>
                  </a:cubicBezTo>
                  <a:cubicBezTo>
                    <a:pt x="19558" y="4292"/>
                    <a:pt x="19347" y="4066"/>
                    <a:pt x="19558" y="4015"/>
                  </a:cubicBezTo>
                  <a:cubicBezTo>
                    <a:pt x="19657" y="3957"/>
                    <a:pt x="19981" y="3906"/>
                    <a:pt x="19882" y="3738"/>
                  </a:cubicBezTo>
                  <a:cubicBezTo>
                    <a:pt x="19769" y="3462"/>
                    <a:pt x="20741" y="3345"/>
                    <a:pt x="21163" y="3345"/>
                  </a:cubicBezTo>
                  <a:cubicBezTo>
                    <a:pt x="21163" y="3236"/>
                    <a:pt x="20854" y="3017"/>
                    <a:pt x="20530" y="2959"/>
                  </a:cubicBezTo>
                  <a:cubicBezTo>
                    <a:pt x="19882" y="2849"/>
                    <a:pt x="20093" y="2849"/>
                    <a:pt x="19981" y="2565"/>
                  </a:cubicBezTo>
                  <a:cubicBezTo>
                    <a:pt x="19657" y="2565"/>
                    <a:pt x="19122" y="2514"/>
                    <a:pt x="18798" y="2347"/>
                  </a:cubicBezTo>
                  <a:cubicBezTo>
                    <a:pt x="18375" y="2179"/>
                    <a:pt x="18488" y="1844"/>
                    <a:pt x="17939" y="2121"/>
                  </a:cubicBezTo>
                  <a:cubicBezTo>
                    <a:pt x="17728" y="2288"/>
                    <a:pt x="17517" y="2121"/>
                    <a:pt x="17404" y="1953"/>
                  </a:cubicBezTo>
                  <a:cubicBezTo>
                    <a:pt x="17080" y="1734"/>
                    <a:pt x="16869" y="1902"/>
                    <a:pt x="16981" y="1509"/>
                  </a:cubicBezTo>
                  <a:cubicBezTo>
                    <a:pt x="17193" y="1122"/>
                    <a:pt x="16432" y="1064"/>
                    <a:pt x="17517" y="787"/>
                  </a:cubicBezTo>
                  <a:cubicBezTo>
                    <a:pt x="17840" y="510"/>
                    <a:pt x="17615" y="619"/>
                    <a:pt x="17193" y="394"/>
                  </a:cubicBezTo>
                  <a:cubicBezTo>
                    <a:pt x="17193" y="394"/>
                    <a:pt x="17193" y="394"/>
                    <a:pt x="17193" y="34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8" name="Shape 2372">
              <a:extLst>
                <a:ext uri="{FF2B5EF4-FFF2-40B4-BE49-F238E27FC236}">
                  <a16:creationId xmlns:a16="http://schemas.microsoft.com/office/drawing/2014/main" id="{2C2E8444-4E66-EE58-9714-4AE0F8FB0BF0}"/>
                </a:ext>
              </a:extLst>
            </p:cNvPr>
            <p:cNvSpPr/>
            <p:nvPr/>
          </p:nvSpPr>
          <p:spPr>
            <a:xfrm>
              <a:off x="3145312" y="6026542"/>
              <a:ext cx="85945" cy="120885"/>
            </a:xfrm>
            <a:custGeom>
              <a:avLst/>
              <a:gdLst/>
              <a:ahLst/>
              <a:cxnLst>
                <a:cxn ang="0">
                  <a:pos x="wd2" y="hd2"/>
                </a:cxn>
                <a:cxn ang="5400000">
                  <a:pos x="wd2" y="hd2"/>
                </a:cxn>
                <a:cxn ang="10800000">
                  <a:pos x="wd2" y="hd2"/>
                </a:cxn>
                <a:cxn ang="16200000">
                  <a:pos x="wd2" y="hd2"/>
                </a:cxn>
              </a:cxnLst>
              <a:rect l="0" t="0" r="r" b="b"/>
              <a:pathLst>
                <a:path w="20549" h="21220" extrusionOk="0">
                  <a:moveTo>
                    <a:pt x="13779" y="4072"/>
                  </a:moveTo>
                  <a:cubicBezTo>
                    <a:pt x="12489" y="2243"/>
                    <a:pt x="10636" y="472"/>
                    <a:pt x="8218" y="0"/>
                  </a:cubicBezTo>
                  <a:cubicBezTo>
                    <a:pt x="5155" y="0"/>
                    <a:pt x="1448" y="885"/>
                    <a:pt x="239" y="3128"/>
                  </a:cubicBezTo>
                  <a:cubicBezTo>
                    <a:pt x="-1051" y="4957"/>
                    <a:pt x="3301" y="7200"/>
                    <a:pt x="3301" y="8970"/>
                  </a:cubicBezTo>
                  <a:cubicBezTo>
                    <a:pt x="3865" y="11272"/>
                    <a:pt x="2656" y="13043"/>
                    <a:pt x="3301" y="14872"/>
                  </a:cubicBezTo>
                  <a:cubicBezTo>
                    <a:pt x="3865" y="17115"/>
                    <a:pt x="3865" y="20302"/>
                    <a:pt x="6364" y="21187"/>
                  </a:cubicBezTo>
                  <a:cubicBezTo>
                    <a:pt x="8218" y="21600"/>
                    <a:pt x="8862" y="18000"/>
                    <a:pt x="10636" y="17587"/>
                  </a:cubicBezTo>
                  <a:cubicBezTo>
                    <a:pt x="12489" y="17587"/>
                    <a:pt x="12489" y="20302"/>
                    <a:pt x="13779" y="20302"/>
                  </a:cubicBezTo>
                  <a:cubicBezTo>
                    <a:pt x="16197" y="20715"/>
                    <a:pt x="20549" y="20715"/>
                    <a:pt x="20549" y="18944"/>
                  </a:cubicBezTo>
                  <a:cubicBezTo>
                    <a:pt x="20549" y="15344"/>
                    <a:pt x="16197" y="12630"/>
                    <a:pt x="14343" y="8970"/>
                  </a:cubicBezTo>
                  <a:cubicBezTo>
                    <a:pt x="13779" y="7200"/>
                    <a:pt x="14988" y="5370"/>
                    <a:pt x="13779" y="407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79" name="Shape 2373">
              <a:extLst>
                <a:ext uri="{FF2B5EF4-FFF2-40B4-BE49-F238E27FC236}">
                  <a16:creationId xmlns:a16="http://schemas.microsoft.com/office/drawing/2014/main" id="{6B856D97-C3AD-E6FF-2127-8F5E7C224EFC}"/>
                </a:ext>
              </a:extLst>
            </p:cNvPr>
            <p:cNvSpPr/>
            <p:nvPr/>
          </p:nvSpPr>
          <p:spPr>
            <a:xfrm>
              <a:off x="3008623" y="5909750"/>
              <a:ext cx="457498" cy="535669"/>
            </a:xfrm>
            <a:custGeom>
              <a:avLst/>
              <a:gdLst/>
              <a:ahLst/>
              <a:cxnLst>
                <a:cxn ang="0">
                  <a:pos x="wd2" y="hd2"/>
                </a:cxn>
                <a:cxn ang="5400000">
                  <a:pos x="wd2" y="hd2"/>
                </a:cxn>
                <a:cxn ang="10800000">
                  <a:pos x="wd2" y="hd2"/>
                </a:cxn>
                <a:cxn ang="16200000">
                  <a:pos x="wd2" y="hd2"/>
                </a:cxn>
              </a:cxnLst>
              <a:rect l="0" t="0" r="r" b="b"/>
              <a:pathLst>
                <a:path w="21600" h="21514" extrusionOk="0">
                  <a:moveTo>
                    <a:pt x="9107" y="5608"/>
                  </a:moveTo>
                  <a:cubicBezTo>
                    <a:pt x="8853" y="5189"/>
                    <a:pt x="8487" y="4783"/>
                    <a:pt x="8011" y="4675"/>
                  </a:cubicBezTo>
                  <a:cubicBezTo>
                    <a:pt x="7407" y="4675"/>
                    <a:pt x="6675" y="4878"/>
                    <a:pt x="6437" y="5392"/>
                  </a:cubicBezTo>
                  <a:cubicBezTo>
                    <a:pt x="6183" y="5811"/>
                    <a:pt x="7041" y="6325"/>
                    <a:pt x="7041" y="6731"/>
                  </a:cubicBezTo>
                  <a:cubicBezTo>
                    <a:pt x="7152" y="7258"/>
                    <a:pt x="6914" y="7664"/>
                    <a:pt x="7041" y="8083"/>
                  </a:cubicBezTo>
                  <a:cubicBezTo>
                    <a:pt x="7152" y="8597"/>
                    <a:pt x="7152" y="9328"/>
                    <a:pt x="7645" y="9531"/>
                  </a:cubicBezTo>
                  <a:cubicBezTo>
                    <a:pt x="8011" y="9625"/>
                    <a:pt x="8138" y="8800"/>
                    <a:pt x="8487" y="8705"/>
                  </a:cubicBezTo>
                  <a:cubicBezTo>
                    <a:pt x="8853" y="8705"/>
                    <a:pt x="8853" y="9328"/>
                    <a:pt x="9107" y="9328"/>
                  </a:cubicBezTo>
                  <a:cubicBezTo>
                    <a:pt x="9584" y="9422"/>
                    <a:pt x="10442" y="9422"/>
                    <a:pt x="10442" y="9017"/>
                  </a:cubicBezTo>
                  <a:cubicBezTo>
                    <a:pt x="10442" y="8192"/>
                    <a:pt x="9584" y="7569"/>
                    <a:pt x="9219" y="6731"/>
                  </a:cubicBezTo>
                  <a:cubicBezTo>
                    <a:pt x="9107" y="6325"/>
                    <a:pt x="9346" y="5906"/>
                    <a:pt x="9107" y="5608"/>
                  </a:cubicBezTo>
                  <a:close/>
                  <a:moveTo>
                    <a:pt x="2066" y="7569"/>
                  </a:moveTo>
                  <a:cubicBezTo>
                    <a:pt x="2066" y="7150"/>
                    <a:pt x="2066" y="6731"/>
                    <a:pt x="2177" y="6325"/>
                  </a:cubicBezTo>
                  <a:cubicBezTo>
                    <a:pt x="2432" y="6122"/>
                    <a:pt x="2781" y="5906"/>
                    <a:pt x="3036" y="5703"/>
                  </a:cubicBezTo>
                  <a:cubicBezTo>
                    <a:pt x="3274" y="5297"/>
                    <a:pt x="3401" y="4783"/>
                    <a:pt x="3878" y="4567"/>
                  </a:cubicBezTo>
                  <a:cubicBezTo>
                    <a:pt x="4482" y="4256"/>
                    <a:pt x="5452" y="4783"/>
                    <a:pt x="6072" y="4472"/>
                  </a:cubicBezTo>
                  <a:cubicBezTo>
                    <a:pt x="6914" y="4053"/>
                    <a:pt x="7518" y="3228"/>
                    <a:pt x="8138" y="2497"/>
                  </a:cubicBezTo>
                  <a:cubicBezTo>
                    <a:pt x="8487" y="2186"/>
                    <a:pt x="8249" y="1469"/>
                    <a:pt x="8742" y="1361"/>
                  </a:cubicBezTo>
                  <a:cubicBezTo>
                    <a:pt x="9346" y="1267"/>
                    <a:pt x="9823" y="2092"/>
                    <a:pt x="10554" y="1983"/>
                  </a:cubicBezTo>
                  <a:cubicBezTo>
                    <a:pt x="10919" y="1889"/>
                    <a:pt x="10919" y="1267"/>
                    <a:pt x="11412" y="1064"/>
                  </a:cubicBezTo>
                  <a:cubicBezTo>
                    <a:pt x="11523" y="955"/>
                    <a:pt x="11777" y="1064"/>
                    <a:pt x="11889" y="1064"/>
                  </a:cubicBezTo>
                  <a:cubicBezTo>
                    <a:pt x="12254" y="847"/>
                    <a:pt x="12381" y="536"/>
                    <a:pt x="12620" y="333"/>
                  </a:cubicBezTo>
                  <a:cubicBezTo>
                    <a:pt x="12858" y="225"/>
                    <a:pt x="13113" y="-86"/>
                    <a:pt x="13351" y="22"/>
                  </a:cubicBezTo>
                  <a:cubicBezTo>
                    <a:pt x="13828" y="130"/>
                    <a:pt x="14082" y="536"/>
                    <a:pt x="14448" y="753"/>
                  </a:cubicBezTo>
                  <a:cubicBezTo>
                    <a:pt x="15290" y="1267"/>
                    <a:pt x="16148" y="1578"/>
                    <a:pt x="16879" y="2186"/>
                  </a:cubicBezTo>
                  <a:cubicBezTo>
                    <a:pt x="17118" y="2403"/>
                    <a:pt x="16879" y="2714"/>
                    <a:pt x="16991" y="3011"/>
                  </a:cubicBezTo>
                  <a:cubicBezTo>
                    <a:pt x="17229" y="3431"/>
                    <a:pt x="17595" y="3850"/>
                    <a:pt x="17722" y="4364"/>
                  </a:cubicBezTo>
                  <a:cubicBezTo>
                    <a:pt x="17722" y="4878"/>
                    <a:pt x="17483" y="5392"/>
                    <a:pt x="17595" y="5811"/>
                  </a:cubicBezTo>
                  <a:cubicBezTo>
                    <a:pt x="17722" y="6122"/>
                    <a:pt x="18087" y="6325"/>
                    <a:pt x="18199" y="6528"/>
                  </a:cubicBezTo>
                  <a:cubicBezTo>
                    <a:pt x="18326" y="6947"/>
                    <a:pt x="18564" y="7353"/>
                    <a:pt x="18326" y="7664"/>
                  </a:cubicBezTo>
                  <a:cubicBezTo>
                    <a:pt x="17960" y="8192"/>
                    <a:pt x="16991" y="8286"/>
                    <a:pt x="16625" y="8800"/>
                  </a:cubicBezTo>
                  <a:cubicBezTo>
                    <a:pt x="16260" y="9328"/>
                    <a:pt x="16021" y="9936"/>
                    <a:pt x="16021" y="10558"/>
                  </a:cubicBezTo>
                  <a:cubicBezTo>
                    <a:pt x="16021" y="11072"/>
                    <a:pt x="16021" y="11695"/>
                    <a:pt x="16514" y="12114"/>
                  </a:cubicBezTo>
                  <a:cubicBezTo>
                    <a:pt x="17118" y="12520"/>
                    <a:pt x="18087" y="12425"/>
                    <a:pt x="18930" y="12628"/>
                  </a:cubicBezTo>
                  <a:cubicBezTo>
                    <a:pt x="19423" y="12831"/>
                    <a:pt x="19899" y="12939"/>
                    <a:pt x="20154" y="13250"/>
                  </a:cubicBezTo>
                  <a:cubicBezTo>
                    <a:pt x="20392" y="13561"/>
                    <a:pt x="20630" y="13967"/>
                    <a:pt x="20519" y="14278"/>
                  </a:cubicBezTo>
                  <a:cubicBezTo>
                    <a:pt x="20265" y="14697"/>
                    <a:pt x="19534" y="14697"/>
                    <a:pt x="19168" y="15103"/>
                  </a:cubicBezTo>
                  <a:cubicBezTo>
                    <a:pt x="18930" y="15414"/>
                    <a:pt x="18819" y="15833"/>
                    <a:pt x="18930" y="16239"/>
                  </a:cubicBezTo>
                  <a:cubicBezTo>
                    <a:pt x="18930" y="16550"/>
                    <a:pt x="19423" y="16658"/>
                    <a:pt x="19788" y="16861"/>
                  </a:cubicBezTo>
                  <a:cubicBezTo>
                    <a:pt x="20265" y="17064"/>
                    <a:pt x="20885" y="17172"/>
                    <a:pt x="21489" y="17375"/>
                  </a:cubicBezTo>
                  <a:cubicBezTo>
                    <a:pt x="21600" y="17997"/>
                    <a:pt x="21600" y="17997"/>
                    <a:pt x="21600" y="17997"/>
                  </a:cubicBezTo>
                  <a:cubicBezTo>
                    <a:pt x="21234" y="18308"/>
                    <a:pt x="20758" y="18511"/>
                    <a:pt x="20519" y="18931"/>
                  </a:cubicBezTo>
                  <a:cubicBezTo>
                    <a:pt x="20392" y="19134"/>
                    <a:pt x="20519" y="19336"/>
                    <a:pt x="20519" y="19553"/>
                  </a:cubicBezTo>
                  <a:cubicBezTo>
                    <a:pt x="20519" y="19959"/>
                    <a:pt x="20630" y="20378"/>
                    <a:pt x="20392" y="20784"/>
                  </a:cubicBezTo>
                  <a:cubicBezTo>
                    <a:pt x="20154" y="21095"/>
                    <a:pt x="19788" y="21311"/>
                    <a:pt x="19423" y="21406"/>
                  </a:cubicBezTo>
                  <a:cubicBezTo>
                    <a:pt x="18930" y="21514"/>
                    <a:pt x="18453" y="21203"/>
                    <a:pt x="17960" y="21311"/>
                  </a:cubicBezTo>
                  <a:cubicBezTo>
                    <a:pt x="17595" y="21311"/>
                    <a:pt x="17356" y="21406"/>
                    <a:pt x="16991" y="21514"/>
                  </a:cubicBezTo>
                  <a:cubicBezTo>
                    <a:pt x="16625" y="21311"/>
                    <a:pt x="16387" y="20784"/>
                    <a:pt x="16021" y="20784"/>
                  </a:cubicBezTo>
                  <a:cubicBezTo>
                    <a:pt x="15528" y="20784"/>
                    <a:pt x="15052" y="21095"/>
                    <a:pt x="14686" y="21311"/>
                  </a:cubicBezTo>
                  <a:cubicBezTo>
                    <a:pt x="14559" y="21095"/>
                    <a:pt x="14448" y="20784"/>
                    <a:pt x="14321" y="20581"/>
                  </a:cubicBezTo>
                  <a:cubicBezTo>
                    <a:pt x="14193" y="20378"/>
                    <a:pt x="14082" y="20270"/>
                    <a:pt x="13955" y="20175"/>
                  </a:cubicBezTo>
                  <a:cubicBezTo>
                    <a:pt x="13717" y="19756"/>
                    <a:pt x="13955" y="19336"/>
                    <a:pt x="13589" y="19134"/>
                  </a:cubicBezTo>
                  <a:cubicBezTo>
                    <a:pt x="13351" y="18931"/>
                    <a:pt x="12858" y="19025"/>
                    <a:pt x="12620" y="19242"/>
                  </a:cubicBezTo>
                  <a:cubicBezTo>
                    <a:pt x="12381" y="19336"/>
                    <a:pt x="12620" y="19648"/>
                    <a:pt x="12381" y="19756"/>
                  </a:cubicBezTo>
                  <a:cubicBezTo>
                    <a:pt x="12143" y="19959"/>
                    <a:pt x="11777" y="19756"/>
                    <a:pt x="11523" y="19959"/>
                  </a:cubicBezTo>
                  <a:cubicBezTo>
                    <a:pt x="11285" y="20175"/>
                    <a:pt x="11046" y="20486"/>
                    <a:pt x="10792" y="20784"/>
                  </a:cubicBezTo>
                  <a:cubicBezTo>
                    <a:pt x="9950" y="20486"/>
                    <a:pt x="9346" y="19756"/>
                    <a:pt x="8487" y="19756"/>
                  </a:cubicBezTo>
                  <a:cubicBezTo>
                    <a:pt x="7772" y="19864"/>
                    <a:pt x="7407" y="20581"/>
                    <a:pt x="6787" y="21000"/>
                  </a:cubicBezTo>
                  <a:cubicBezTo>
                    <a:pt x="5579" y="20486"/>
                    <a:pt x="5579" y="20486"/>
                    <a:pt x="5579" y="20486"/>
                  </a:cubicBezTo>
                  <a:cubicBezTo>
                    <a:pt x="5706" y="20067"/>
                    <a:pt x="5817" y="19648"/>
                    <a:pt x="5817" y="19242"/>
                  </a:cubicBezTo>
                  <a:cubicBezTo>
                    <a:pt x="5817" y="18931"/>
                    <a:pt x="5817" y="18511"/>
                    <a:pt x="5452" y="18308"/>
                  </a:cubicBezTo>
                  <a:cubicBezTo>
                    <a:pt x="4975" y="18106"/>
                    <a:pt x="4117" y="18511"/>
                    <a:pt x="3640" y="18200"/>
                  </a:cubicBezTo>
                  <a:cubicBezTo>
                    <a:pt x="3401" y="17795"/>
                    <a:pt x="3878" y="17281"/>
                    <a:pt x="3878" y="16767"/>
                  </a:cubicBezTo>
                  <a:cubicBezTo>
                    <a:pt x="3767" y="16456"/>
                    <a:pt x="3640" y="16144"/>
                    <a:pt x="3401" y="15928"/>
                  </a:cubicBezTo>
                  <a:cubicBezTo>
                    <a:pt x="3147" y="15522"/>
                    <a:pt x="2543" y="15306"/>
                    <a:pt x="2305" y="14900"/>
                  </a:cubicBezTo>
                  <a:cubicBezTo>
                    <a:pt x="2177" y="14697"/>
                    <a:pt x="2432" y="14386"/>
                    <a:pt x="2177" y="14170"/>
                  </a:cubicBezTo>
                  <a:cubicBezTo>
                    <a:pt x="1939" y="13872"/>
                    <a:pt x="1574" y="13656"/>
                    <a:pt x="1208" y="13453"/>
                  </a:cubicBezTo>
                  <a:cubicBezTo>
                    <a:pt x="1446" y="13250"/>
                    <a:pt x="1812" y="13142"/>
                    <a:pt x="1939" y="12831"/>
                  </a:cubicBezTo>
                  <a:cubicBezTo>
                    <a:pt x="2177" y="12317"/>
                    <a:pt x="2670" y="11600"/>
                    <a:pt x="2177" y="11181"/>
                  </a:cubicBezTo>
                  <a:cubicBezTo>
                    <a:pt x="1812" y="10870"/>
                    <a:pt x="1081" y="11803"/>
                    <a:pt x="477" y="11695"/>
                  </a:cubicBezTo>
                  <a:cubicBezTo>
                    <a:pt x="111" y="11600"/>
                    <a:pt x="0" y="11181"/>
                    <a:pt x="0" y="10870"/>
                  </a:cubicBezTo>
                  <a:cubicBezTo>
                    <a:pt x="0" y="10450"/>
                    <a:pt x="238" y="10044"/>
                    <a:pt x="604" y="9733"/>
                  </a:cubicBezTo>
                  <a:cubicBezTo>
                    <a:pt x="970" y="9328"/>
                    <a:pt x="1701" y="9219"/>
                    <a:pt x="2066" y="8705"/>
                  </a:cubicBezTo>
                  <a:cubicBezTo>
                    <a:pt x="2305" y="8394"/>
                    <a:pt x="2066" y="7975"/>
                    <a:pt x="2066" y="7569"/>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0" name="Shape 2374">
              <a:extLst>
                <a:ext uri="{FF2B5EF4-FFF2-40B4-BE49-F238E27FC236}">
                  <a16:creationId xmlns:a16="http://schemas.microsoft.com/office/drawing/2014/main" id="{E738C35F-AE27-3685-9881-DEFD15FEF977}"/>
                </a:ext>
              </a:extLst>
            </p:cNvPr>
            <p:cNvSpPr/>
            <p:nvPr/>
          </p:nvSpPr>
          <p:spPr>
            <a:xfrm>
              <a:off x="3380240" y="5668763"/>
              <a:ext cx="249392" cy="167953"/>
            </a:xfrm>
            <a:custGeom>
              <a:avLst/>
              <a:gdLst/>
              <a:ahLst/>
              <a:cxnLst>
                <a:cxn ang="0">
                  <a:pos x="wd2" y="hd2"/>
                </a:cxn>
                <a:cxn ang="5400000">
                  <a:pos x="wd2" y="hd2"/>
                </a:cxn>
                <a:cxn ang="10800000">
                  <a:pos x="wd2" y="hd2"/>
                </a:cxn>
                <a:cxn ang="16200000">
                  <a:pos x="wd2" y="hd2"/>
                </a:cxn>
              </a:cxnLst>
              <a:rect l="0" t="0" r="r" b="b"/>
              <a:pathLst>
                <a:path w="21600" h="21079" extrusionOk="0">
                  <a:moveTo>
                    <a:pt x="0" y="1694"/>
                  </a:moveTo>
                  <a:cubicBezTo>
                    <a:pt x="438" y="2664"/>
                    <a:pt x="1109" y="3001"/>
                    <a:pt x="1547" y="3972"/>
                  </a:cubicBezTo>
                  <a:cubicBezTo>
                    <a:pt x="1985" y="5237"/>
                    <a:pt x="1781" y="6841"/>
                    <a:pt x="2452" y="7811"/>
                  </a:cubicBezTo>
                  <a:cubicBezTo>
                    <a:pt x="2890" y="8781"/>
                    <a:pt x="3765" y="8148"/>
                    <a:pt x="4232" y="8781"/>
                  </a:cubicBezTo>
                  <a:cubicBezTo>
                    <a:pt x="4437" y="9119"/>
                    <a:pt x="4232" y="10089"/>
                    <a:pt x="4437" y="10426"/>
                  </a:cubicBezTo>
                  <a:cubicBezTo>
                    <a:pt x="5108" y="11059"/>
                    <a:pt x="6013" y="10722"/>
                    <a:pt x="6246" y="11692"/>
                  </a:cubicBezTo>
                  <a:cubicBezTo>
                    <a:pt x="6451" y="12662"/>
                    <a:pt x="5342" y="13928"/>
                    <a:pt x="5779" y="14603"/>
                  </a:cubicBezTo>
                  <a:cubicBezTo>
                    <a:pt x="6684" y="15869"/>
                    <a:pt x="8698" y="14898"/>
                    <a:pt x="9341" y="16544"/>
                  </a:cubicBezTo>
                  <a:cubicBezTo>
                    <a:pt x="9574" y="17809"/>
                    <a:pt x="7122" y="18780"/>
                    <a:pt x="7560" y="19750"/>
                  </a:cubicBezTo>
                  <a:cubicBezTo>
                    <a:pt x="8231" y="21353"/>
                    <a:pt x="10012" y="21058"/>
                    <a:pt x="11121" y="21058"/>
                  </a:cubicBezTo>
                  <a:cubicBezTo>
                    <a:pt x="12464" y="21058"/>
                    <a:pt x="13806" y="20720"/>
                    <a:pt x="15149" y="20087"/>
                  </a:cubicBezTo>
                  <a:cubicBezTo>
                    <a:pt x="15587" y="19750"/>
                    <a:pt x="15587" y="18780"/>
                    <a:pt x="15821" y="18442"/>
                  </a:cubicBezTo>
                  <a:cubicBezTo>
                    <a:pt x="16258" y="17809"/>
                    <a:pt x="16930" y="17472"/>
                    <a:pt x="17601" y="17472"/>
                  </a:cubicBezTo>
                  <a:cubicBezTo>
                    <a:pt x="17835" y="17472"/>
                    <a:pt x="18039" y="17472"/>
                    <a:pt x="18272" y="17809"/>
                  </a:cubicBezTo>
                  <a:cubicBezTo>
                    <a:pt x="18506" y="18147"/>
                    <a:pt x="18272" y="19412"/>
                    <a:pt x="18710" y="19750"/>
                  </a:cubicBezTo>
                  <a:cubicBezTo>
                    <a:pt x="18944" y="20087"/>
                    <a:pt x="19615" y="19750"/>
                    <a:pt x="20053" y="19750"/>
                  </a:cubicBezTo>
                  <a:cubicBezTo>
                    <a:pt x="20491" y="19412"/>
                    <a:pt x="21162" y="19117"/>
                    <a:pt x="21600" y="18442"/>
                  </a:cubicBezTo>
                  <a:cubicBezTo>
                    <a:pt x="21396" y="17472"/>
                    <a:pt x="21396" y="16544"/>
                    <a:pt x="20958" y="15573"/>
                  </a:cubicBezTo>
                  <a:cubicBezTo>
                    <a:pt x="20491" y="14898"/>
                    <a:pt x="19819" y="14603"/>
                    <a:pt x="19615" y="13633"/>
                  </a:cubicBezTo>
                  <a:cubicBezTo>
                    <a:pt x="19148" y="13000"/>
                    <a:pt x="18944" y="11692"/>
                    <a:pt x="18710" y="10722"/>
                  </a:cubicBezTo>
                  <a:cubicBezTo>
                    <a:pt x="18506" y="10089"/>
                    <a:pt x="18944" y="8781"/>
                    <a:pt x="18710" y="8148"/>
                  </a:cubicBezTo>
                  <a:cubicBezTo>
                    <a:pt x="18272" y="7516"/>
                    <a:pt x="17368" y="8148"/>
                    <a:pt x="16930" y="7516"/>
                  </a:cubicBezTo>
                  <a:cubicBezTo>
                    <a:pt x="16258" y="6208"/>
                    <a:pt x="16054" y="3972"/>
                    <a:pt x="15587" y="2326"/>
                  </a:cubicBezTo>
                  <a:cubicBezTo>
                    <a:pt x="14916" y="2031"/>
                    <a:pt x="14478" y="1398"/>
                    <a:pt x="13806" y="1398"/>
                  </a:cubicBezTo>
                  <a:cubicBezTo>
                    <a:pt x="13369" y="1398"/>
                    <a:pt x="13369" y="2326"/>
                    <a:pt x="13135" y="2664"/>
                  </a:cubicBezTo>
                  <a:cubicBezTo>
                    <a:pt x="12697" y="3972"/>
                    <a:pt x="12931" y="5575"/>
                    <a:pt x="12026" y="6208"/>
                  </a:cubicBezTo>
                  <a:cubicBezTo>
                    <a:pt x="11792" y="6841"/>
                    <a:pt x="11588" y="5575"/>
                    <a:pt x="11355" y="4942"/>
                  </a:cubicBezTo>
                  <a:cubicBezTo>
                    <a:pt x="11121" y="4267"/>
                    <a:pt x="11355" y="3634"/>
                    <a:pt x="11121" y="3001"/>
                  </a:cubicBezTo>
                  <a:cubicBezTo>
                    <a:pt x="10917" y="2326"/>
                    <a:pt x="10683" y="1398"/>
                    <a:pt x="10245" y="1061"/>
                  </a:cubicBezTo>
                  <a:cubicBezTo>
                    <a:pt x="8231" y="428"/>
                    <a:pt x="6246" y="-247"/>
                    <a:pt x="4232" y="91"/>
                  </a:cubicBezTo>
                  <a:cubicBezTo>
                    <a:pt x="3561" y="91"/>
                    <a:pt x="3328" y="1398"/>
                    <a:pt x="2656" y="1694"/>
                  </a:cubicBezTo>
                  <a:cubicBezTo>
                    <a:pt x="1781" y="2031"/>
                    <a:pt x="876" y="1694"/>
                    <a:pt x="0" y="169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1" name="Shape 2375">
              <a:extLst>
                <a:ext uri="{FF2B5EF4-FFF2-40B4-BE49-F238E27FC236}">
                  <a16:creationId xmlns:a16="http://schemas.microsoft.com/office/drawing/2014/main" id="{125B9B6A-4547-B468-8363-E872401A0BD6}"/>
                </a:ext>
              </a:extLst>
            </p:cNvPr>
            <p:cNvSpPr/>
            <p:nvPr/>
          </p:nvSpPr>
          <p:spPr>
            <a:xfrm>
              <a:off x="3259837" y="5629628"/>
              <a:ext cx="452137" cy="713217"/>
            </a:xfrm>
            <a:custGeom>
              <a:avLst/>
              <a:gdLst/>
              <a:ahLst/>
              <a:cxnLst>
                <a:cxn ang="0">
                  <a:pos x="wd2" y="hd2"/>
                </a:cxn>
                <a:cxn ang="5400000">
                  <a:pos x="wd2" y="hd2"/>
                </a:cxn>
                <a:cxn ang="10800000">
                  <a:pos x="wd2" y="hd2"/>
                </a:cxn>
                <a:cxn ang="16200000">
                  <a:pos x="wd2" y="hd2"/>
                </a:cxn>
              </a:cxnLst>
              <a:rect l="0" t="0" r="r" b="b"/>
              <a:pathLst>
                <a:path w="21557" h="21600" extrusionOk="0">
                  <a:moveTo>
                    <a:pt x="14850" y="14584"/>
                  </a:moveTo>
                  <a:cubicBezTo>
                    <a:pt x="14609" y="14502"/>
                    <a:pt x="14239" y="14819"/>
                    <a:pt x="13870" y="14737"/>
                  </a:cubicBezTo>
                  <a:cubicBezTo>
                    <a:pt x="13741" y="14666"/>
                    <a:pt x="13870" y="14267"/>
                    <a:pt x="13612" y="14267"/>
                  </a:cubicBezTo>
                  <a:cubicBezTo>
                    <a:pt x="13371" y="14196"/>
                    <a:pt x="13130" y="14431"/>
                    <a:pt x="13002" y="14502"/>
                  </a:cubicBezTo>
                  <a:cubicBezTo>
                    <a:pt x="12632" y="14737"/>
                    <a:pt x="12520" y="15054"/>
                    <a:pt x="12263" y="15289"/>
                  </a:cubicBezTo>
                  <a:cubicBezTo>
                    <a:pt x="12021" y="15442"/>
                    <a:pt x="11652" y="15442"/>
                    <a:pt x="11539" y="15677"/>
                  </a:cubicBezTo>
                  <a:cubicBezTo>
                    <a:pt x="11539" y="15911"/>
                    <a:pt x="11780" y="16065"/>
                    <a:pt x="12021" y="16300"/>
                  </a:cubicBezTo>
                  <a:cubicBezTo>
                    <a:pt x="12263" y="16453"/>
                    <a:pt x="12632" y="16534"/>
                    <a:pt x="12889" y="16606"/>
                  </a:cubicBezTo>
                  <a:cubicBezTo>
                    <a:pt x="13259" y="16769"/>
                    <a:pt x="13741" y="17004"/>
                    <a:pt x="14239" y="17004"/>
                  </a:cubicBezTo>
                  <a:cubicBezTo>
                    <a:pt x="14609" y="17076"/>
                    <a:pt x="15091" y="16923"/>
                    <a:pt x="15332" y="16688"/>
                  </a:cubicBezTo>
                  <a:cubicBezTo>
                    <a:pt x="15589" y="16453"/>
                    <a:pt x="15589" y="16146"/>
                    <a:pt x="15589" y="15830"/>
                  </a:cubicBezTo>
                  <a:cubicBezTo>
                    <a:pt x="15589" y="15595"/>
                    <a:pt x="15461" y="15360"/>
                    <a:pt x="15332" y="15125"/>
                  </a:cubicBezTo>
                  <a:cubicBezTo>
                    <a:pt x="15332" y="14890"/>
                    <a:pt x="15220" y="14666"/>
                    <a:pt x="14850" y="14584"/>
                  </a:cubicBezTo>
                  <a:close/>
                  <a:moveTo>
                    <a:pt x="10912" y="20977"/>
                  </a:moveTo>
                  <a:cubicBezTo>
                    <a:pt x="9820" y="21600"/>
                    <a:pt x="9820" y="21600"/>
                    <a:pt x="9820" y="21600"/>
                  </a:cubicBezTo>
                  <a:cubicBezTo>
                    <a:pt x="9209" y="21447"/>
                    <a:pt x="8582" y="21365"/>
                    <a:pt x="8100" y="21212"/>
                  </a:cubicBezTo>
                  <a:cubicBezTo>
                    <a:pt x="7730" y="21059"/>
                    <a:pt x="7232" y="20977"/>
                    <a:pt x="7232" y="20742"/>
                  </a:cubicBezTo>
                  <a:cubicBezTo>
                    <a:pt x="7120" y="20436"/>
                    <a:pt x="7232" y="20119"/>
                    <a:pt x="7473" y="19884"/>
                  </a:cubicBezTo>
                  <a:cubicBezTo>
                    <a:pt x="7843" y="19578"/>
                    <a:pt x="8582" y="19578"/>
                    <a:pt x="8839" y="19261"/>
                  </a:cubicBezTo>
                  <a:cubicBezTo>
                    <a:pt x="8952" y="19026"/>
                    <a:pt x="8711" y="18720"/>
                    <a:pt x="8470" y="18485"/>
                  </a:cubicBezTo>
                  <a:cubicBezTo>
                    <a:pt x="8212" y="18250"/>
                    <a:pt x="7730" y="18169"/>
                    <a:pt x="7232" y="18015"/>
                  </a:cubicBezTo>
                  <a:cubicBezTo>
                    <a:pt x="6380" y="17862"/>
                    <a:pt x="5400" y="17934"/>
                    <a:pt x="4789" y="17627"/>
                  </a:cubicBezTo>
                  <a:cubicBezTo>
                    <a:pt x="4291" y="17311"/>
                    <a:pt x="4291" y="16841"/>
                    <a:pt x="4291" y="16453"/>
                  </a:cubicBezTo>
                  <a:cubicBezTo>
                    <a:pt x="4291" y="15983"/>
                    <a:pt x="4532" y="15523"/>
                    <a:pt x="4902" y="15125"/>
                  </a:cubicBezTo>
                  <a:cubicBezTo>
                    <a:pt x="5271" y="14737"/>
                    <a:pt x="6252" y="14666"/>
                    <a:pt x="6621" y="14267"/>
                  </a:cubicBezTo>
                  <a:cubicBezTo>
                    <a:pt x="6862" y="14032"/>
                    <a:pt x="6621" y="13726"/>
                    <a:pt x="6493" y="13409"/>
                  </a:cubicBezTo>
                  <a:cubicBezTo>
                    <a:pt x="6380" y="13256"/>
                    <a:pt x="6011" y="13103"/>
                    <a:pt x="5882" y="12868"/>
                  </a:cubicBezTo>
                  <a:cubicBezTo>
                    <a:pt x="5770" y="12551"/>
                    <a:pt x="6011" y="12163"/>
                    <a:pt x="6011" y="11775"/>
                  </a:cubicBezTo>
                  <a:cubicBezTo>
                    <a:pt x="5882" y="11387"/>
                    <a:pt x="5512" y="11071"/>
                    <a:pt x="5271" y="10754"/>
                  </a:cubicBezTo>
                  <a:cubicBezTo>
                    <a:pt x="5159" y="10529"/>
                    <a:pt x="5400" y="10294"/>
                    <a:pt x="5159" y="10131"/>
                  </a:cubicBezTo>
                  <a:cubicBezTo>
                    <a:pt x="4420" y="9671"/>
                    <a:pt x="3552" y="9437"/>
                    <a:pt x="2700" y="9049"/>
                  </a:cubicBezTo>
                  <a:cubicBezTo>
                    <a:pt x="2330" y="8885"/>
                    <a:pt x="2073" y="8579"/>
                    <a:pt x="1591" y="8497"/>
                  </a:cubicBezTo>
                  <a:cubicBezTo>
                    <a:pt x="1350" y="8415"/>
                    <a:pt x="1093" y="8650"/>
                    <a:pt x="852" y="8732"/>
                  </a:cubicBezTo>
                  <a:cubicBezTo>
                    <a:pt x="852" y="8579"/>
                    <a:pt x="852" y="8415"/>
                    <a:pt x="852" y="8262"/>
                  </a:cubicBezTo>
                  <a:cubicBezTo>
                    <a:pt x="852" y="8180"/>
                    <a:pt x="980" y="8109"/>
                    <a:pt x="980" y="7946"/>
                  </a:cubicBezTo>
                  <a:cubicBezTo>
                    <a:pt x="852" y="7639"/>
                    <a:pt x="482" y="7404"/>
                    <a:pt x="370" y="7016"/>
                  </a:cubicBezTo>
                  <a:cubicBezTo>
                    <a:pt x="241" y="6628"/>
                    <a:pt x="370" y="6240"/>
                    <a:pt x="370" y="5770"/>
                  </a:cubicBezTo>
                  <a:cubicBezTo>
                    <a:pt x="370" y="5535"/>
                    <a:pt x="482" y="5219"/>
                    <a:pt x="370" y="4984"/>
                  </a:cubicBezTo>
                  <a:cubicBezTo>
                    <a:pt x="370" y="4749"/>
                    <a:pt x="113" y="4596"/>
                    <a:pt x="0" y="4443"/>
                  </a:cubicBezTo>
                  <a:cubicBezTo>
                    <a:pt x="113" y="4361"/>
                    <a:pt x="370" y="4289"/>
                    <a:pt x="370" y="4208"/>
                  </a:cubicBezTo>
                  <a:cubicBezTo>
                    <a:pt x="611" y="3973"/>
                    <a:pt x="980" y="3738"/>
                    <a:pt x="980" y="3431"/>
                  </a:cubicBezTo>
                  <a:cubicBezTo>
                    <a:pt x="852" y="3197"/>
                    <a:pt x="370" y="3115"/>
                    <a:pt x="113" y="2962"/>
                  </a:cubicBezTo>
                  <a:cubicBezTo>
                    <a:pt x="370" y="2727"/>
                    <a:pt x="852" y="2492"/>
                    <a:pt x="980" y="2257"/>
                  </a:cubicBezTo>
                  <a:cubicBezTo>
                    <a:pt x="1221" y="1940"/>
                    <a:pt x="1093" y="1634"/>
                    <a:pt x="1221" y="1317"/>
                  </a:cubicBezTo>
                  <a:cubicBezTo>
                    <a:pt x="1221" y="1164"/>
                    <a:pt x="1463" y="1011"/>
                    <a:pt x="1591" y="776"/>
                  </a:cubicBezTo>
                  <a:cubicBezTo>
                    <a:pt x="1961" y="776"/>
                    <a:pt x="2330" y="929"/>
                    <a:pt x="2571" y="776"/>
                  </a:cubicBezTo>
                  <a:cubicBezTo>
                    <a:pt x="2813" y="694"/>
                    <a:pt x="2571" y="460"/>
                    <a:pt x="2571" y="388"/>
                  </a:cubicBezTo>
                  <a:cubicBezTo>
                    <a:pt x="2700" y="225"/>
                    <a:pt x="2813" y="71"/>
                    <a:pt x="2941" y="0"/>
                  </a:cubicBezTo>
                  <a:cubicBezTo>
                    <a:pt x="3182" y="0"/>
                    <a:pt x="3311" y="71"/>
                    <a:pt x="3552" y="153"/>
                  </a:cubicBezTo>
                  <a:lnTo>
                    <a:pt x="3921" y="0"/>
                  </a:lnTo>
                  <a:cubicBezTo>
                    <a:pt x="3921" y="71"/>
                    <a:pt x="4661" y="460"/>
                    <a:pt x="4661" y="460"/>
                  </a:cubicBezTo>
                  <a:cubicBezTo>
                    <a:pt x="4902" y="460"/>
                    <a:pt x="5030" y="460"/>
                    <a:pt x="5271" y="460"/>
                  </a:cubicBezTo>
                  <a:cubicBezTo>
                    <a:pt x="5400" y="623"/>
                    <a:pt x="5641" y="776"/>
                    <a:pt x="5770" y="929"/>
                  </a:cubicBezTo>
                  <a:cubicBezTo>
                    <a:pt x="5882" y="1164"/>
                    <a:pt x="5770" y="1317"/>
                    <a:pt x="5770" y="1552"/>
                  </a:cubicBezTo>
                  <a:cubicBezTo>
                    <a:pt x="6011" y="1787"/>
                    <a:pt x="6380" y="1869"/>
                    <a:pt x="6621" y="2104"/>
                  </a:cubicBezTo>
                  <a:cubicBezTo>
                    <a:pt x="6862" y="2410"/>
                    <a:pt x="6750" y="2798"/>
                    <a:pt x="7120" y="3033"/>
                  </a:cubicBezTo>
                  <a:cubicBezTo>
                    <a:pt x="7361" y="3268"/>
                    <a:pt x="7843" y="3115"/>
                    <a:pt x="8100" y="3268"/>
                  </a:cubicBezTo>
                  <a:cubicBezTo>
                    <a:pt x="8212" y="3350"/>
                    <a:pt x="8100" y="3585"/>
                    <a:pt x="8212" y="3666"/>
                  </a:cubicBezTo>
                  <a:cubicBezTo>
                    <a:pt x="8582" y="3820"/>
                    <a:pt x="9080" y="3738"/>
                    <a:pt x="9209" y="3973"/>
                  </a:cubicBezTo>
                  <a:cubicBezTo>
                    <a:pt x="9321" y="4208"/>
                    <a:pt x="8711" y="4514"/>
                    <a:pt x="8952" y="4677"/>
                  </a:cubicBezTo>
                  <a:cubicBezTo>
                    <a:pt x="9450" y="4984"/>
                    <a:pt x="10559" y="4749"/>
                    <a:pt x="10912" y="5147"/>
                  </a:cubicBezTo>
                  <a:cubicBezTo>
                    <a:pt x="11041" y="5454"/>
                    <a:pt x="9691" y="5689"/>
                    <a:pt x="9932" y="5923"/>
                  </a:cubicBezTo>
                  <a:cubicBezTo>
                    <a:pt x="10302" y="6311"/>
                    <a:pt x="11282" y="6240"/>
                    <a:pt x="11893" y="6240"/>
                  </a:cubicBezTo>
                  <a:cubicBezTo>
                    <a:pt x="12632" y="6240"/>
                    <a:pt x="13371" y="6158"/>
                    <a:pt x="14111" y="6005"/>
                  </a:cubicBezTo>
                  <a:cubicBezTo>
                    <a:pt x="14352" y="5923"/>
                    <a:pt x="14352" y="5689"/>
                    <a:pt x="14480" y="5607"/>
                  </a:cubicBezTo>
                  <a:cubicBezTo>
                    <a:pt x="14721" y="5454"/>
                    <a:pt x="15091" y="5372"/>
                    <a:pt x="15461" y="5372"/>
                  </a:cubicBezTo>
                  <a:cubicBezTo>
                    <a:pt x="15589" y="5372"/>
                    <a:pt x="15702" y="5372"/>
                    <a:pt x="15830" y="5454"/>
                  </a:cubicBezTo>
                  <a:cubicBezTo>
                    <a:pt x="15959" y="5535"/>
                    <a:pt x="15830" y="5842"/>
                    <a:pt x="16071" y="5923"/>
                  </a:cubicBezTo>
                  <a:cubicBezTo>
                    <a:pt x="16200" y="6005"/>
                    <a:pt x="16570" y="5923"/>
                    <a:pt x="16811" y="5923"/>
                  </a:cubicBezTo>
                  <a:cubicBezTo>
                    <a:pt x="17052" y="5842"/>
                    <a:pt x="17421" y="5770"/>
                    <a:pt x="17662" y="5607"/>
                  </a:cubicBezTo>
                  <a:cubicBezTo>
                    <a:pt x="18032" y="5607"/>
                    <a:pt x="18402" y="5535"/>
                    <a:pt x="18659" y="5607"/>
                  </a:cubicBezTo>
                  <a:cubicBezTo>
                    <a:pt x="18771" y="5770"/>
                    <a:pt x="18530" y="6005"/>
                    <a:pt x="18659" y="6158"/>
                  </a:cubicBezTo>
                  <a:cubicBezTo>
                    <a:pt x="18900" y="6311"/>
                    <a:pt x="19270" y="6393"/>
                    <a:pt x="19639" y="6393"/>
                  </a:cubicBezTo>
                  <a:cubicBezTo>
                    <a:pt x="20009" y="6393"/>
                    <a:pt x="20379" y="6311"/>
                    <a:pt x="20861" y="6240"/>
                  </a:cubicBezTo>
                  <a:cubicBezTo>
                    <a:pt x="20989" y="6393"/>
                    <a:pt x="21359" y="6393"/>
                    <a:pt x="21471" y="6546"/>
                  </a:cubicBezTo>
                  <a:cubicBezTo>
                    <a:pt x="21600" y="6863"/>
                    <a:pt x="21600" y="7169"/>
                    <a:pt x="21359" y="7404"/>
                  </a:cubicBezTo>
                  <a:cubicBezTo>
                    <a:pt x="21230" y="7557"/>
                    <a:pt x="20732" y="7323"/>
                    <a:pt x="20620" y="7486"/>
                  </a:cubicBezTo>
                  <a:cubicBezTo>
                    <a:pt x="20379" y="8027"/>
                    <a:pt x="20732" y="8650"/>
                    <a:pt x="20620" y="9202"/>
                  </a:cubicBezTo>
                  <a:cubicBezTo>
                    <a:pt x="20491" y="9437"/>
                    <a:pt x="20250" y="9590"/>
                    <a:pt x="20009" y="9743"/>
                  </a:cubicBezTo>
                  <a:cubicBezTo>
                    <a:pt x="19398" y="9978"/>
                    <a:pt x="18289" y="9906"/>
                    <a:pt x="17920" y="10366"/>
                  </a:cubicBezTo>
                  <a:cubicBezTo>
                    <a:pt x="17550" y="10836"/>
                    <a:pt x="18289" y="11387"/>
                    <a:pt x="18032" y="11929"/>
                  </a:cubicBezTo>
                  <a:cubicBezTo>
                    <a:pt x="18032" y="12245"/>
                    <a:pt x="17421" y="12317"/>
                    <a:pt x="17309" y="12551"/>
                  </a:cubicBezTo>
                  <a:cubicBezTo>
                    <a:pt x="17180" y="12940"/>
                    <a:pt x="17309" y="13338"/>
                    <a:pt x="17421" y="13726"/>
                  </a:cubicBezTo>
                  <a:cubicBezTo>
                    <a:pt x="17662" y="14584"/>
                    <a:pt x="18530" y="15360"/>
                    <a:pt x="18530" y="16218"/>
                  </a:cubicBezTo>
                  <a:cubicBezTo>
                    <a:pt x="18530" y="16606"/>
                    <a:pt x="17791" y="16841"/>
                    <a:pt x="17421" y="17239"/>
                  </a:cubicBezTo>
                  <a:cubicBezTo>
                    <a:pt x="16811" y="17311"/>
                    <a:pt x="16200" y="17239"/>
                    <a:pt x="15589" y="17392"/>
                  </a:cubicBezTo>
                  <a:cubicBezTo>
                    <a:pt x="15220" y="17546"/>
                    <a:pt x="14979" y="17780"/>
                    <a:pt x="14721" y="18015"/>
                  </a:cubicBezTo>
                  <a:cubicBezTo>
                    <a:pt x="14480" y="18250"/>
                    <a:pt x="14352" y="18557"/>
                    <a:pt x="14111" y="18720"/>
                  </a:cubicBezTo>
                  <a:cubicBezTo>
                    <a:pt x="13870" y="18873"/>
                    <a:pt x="13500" y="18955"/>
                    <a:pt x="13371" y="19108"/>
                  </a:cubicBezTo>
                  <a:cubicBezTo>
                    <a:pt x="13002" y="19343"/>
                    <a:pt x="13130" y="19813"/>
                    <a:pt x="12632" y="20037"/>
                  </a:cubicBezTo>
                  <a:cubicBezTo>
                    <a:pt x="12391" y="20119"/>
                    <a:pt x="11893" y="19884"/>
                    <a:pt x="11411" y="19884"/>
                  </a:cubicBezTo>
                  <a:cubicBezTo>
                    <a:pt x="11170" y="19966"/>
                    <a:pt x="10800" y="19966"/>
                    <a:pt x="10671" y="20119"/>
                  </a:cubicBezTo>
                  <a:cubicBezTo>
                    <a:pt x="10559" y="20354"/>
                    <a:pt x="10800" y="20671"/>
                    <a:pt x="10912" y="20977"/>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2" name="Shape 2376">
              <a:extLst>
                <a:ext uri="{FF2B5EF4-FFF2-40B4-BE49-F238E27FC236}">
                  <a16:creationId xmlns:a16="http://schemas.microsoft.com/office/drawing/2014/main" id="{2E378034-41AB-C34A-BF2F-A75F496BBFEE}"/>
                </a:ext>
              </a:extLst>
            </p:cNvPr>
            <p:cNvSpPr/>
            <p:nvPr/>
          </p:nvSpPr>
          <p:spPr>
            <a:xfrm>
              <a:off x="3500645" y="6101296"/>
              <a:ext cx="84396" cy="91121"/>
            </a:xfrm>
            <a:custGeom>
              <a:avLst/>
              <a:gdLst/>
              <a:ahLst/>
              <a:cxnLst>
                <a:cxn ang="0">
                  <a:pos x="wd2" y="hd2"/>
                </a:cxn>
                <a:cxn ang="5400000">
                  <a:pos x="wd2" y="hd2"/>
                </a:cxn>
                <a:cxn ang="10800000">
                  <a:pos x="wd2" y="hd2"/>
                </a:cxn>
                <a:cxn ang="16200000">
                  <a:pos x="wd2" y="hd2"/>
                </a:cxn>
              </a:cxnLst>
              <a:rect l="0" t="0" r="r" b="b"/>
              <a:pathLst>
                <a:path w="21600" h="20761" extrusionOk="0">
                  <a:moveTo>
                    <a:pt x="17657" y="2475"/>
                  </a:moveTo>
                  <a:cubicBezTo>
                    <a:pt x="16371" y="1862"/>
                    <a:pt x="14400" y="4236"/>
                    <a:pt x="12429" y="3624"/>
                  </a:cubicBezTo>
                  <a:cubicBezTo>
                    <a:pt x="11743" y="3087"/>
                    <a:pt x="12429" y="100"/>
                    <a:pt x="11057" y="100"/>
                  </a:cubicBezTo>
                  <a:cubicBezTo>
                    <a:pt x="9771" y="-436"/>
                    <a:pt x="8486" y="1326"/>
                    <a:pt x="7800" y="1862"/>
                  </a:cubicBezTo>
                  <a:cubicBezTo>
                    <a:pt x="5829" y="3624"/>
                    <a:pt x="5229" y="5998"/>
                    <a:pt x="3857" y="7760"/>
                  </a:cubicBezTo>
                  <a:cubicBezTo>
                    <a:pt x="2571" y="8909"/>
                    <a:pt x="600" y="8909"/>
                    <a:pt x="0" y="10670"/>
                  </a:cubicBezTo>
                  <a:cubicBezTo>
                    <a:pt x="0" y="12432"/>
                    <a:pt x="1286" y="13581"/>
                    <a:pt x="2571" y="15343"/>
                  </a:cubicBezTo>
                  <a:cubicBezTo>
                    <a:pt x="3857" y="16492"/>
                    <a:pt x="5829" y="17104"/>
                    <a:pt x="7200" y="17641"/>
                  </a:cubicBezTo>
                  <a:cubicBezTo>
                    <a:pt x="9171" y="18866"/>
                    <a:pt x="11743" y="20628"/>
                    <a:pt x="14400" y="20628"/>
                  </a:cubicBezTo>
                  <a:cubicBezTo>
                    <a:pt x="16371" y="21164"/>
                    <a:pt x="18943" y="20015"/>
                    <a:pt x="20229" y="18253"/>
                  </a:cubicBezTo>
                  <a:cubicBezTo>
                    <a:pt x="21600" y="16492"/>
                    <a:pt x="21600" y="14194"/>
                    <a:pt x="21600" y="11819"/>
                  </a:cubicBezTo>
                  <a:cubicBezTo>
                    <a:pt x="21600" y="10058"/>
                    <a:pt x="20914" y="8296"/>
                    <a:pt x="20229" y="6534"/>
                  </a:cubicBezTo>
                  <a:cubicBezTo>
                    <a:pt x="20229" y="4773"/>
                    <a:pt x="19629" y="3087"/>
                    <a:pt x="17657" y="247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3" name="Shape 2377">
              <a:extLst>
                <a:ext uri="{FF2B5EF4-FFF2-40B4-BE49-F238E27FC236}">
                  <a16:creationId xmlns:a16="http://schemas.microsoft.com/office/drawing/2014/main" id="{D7A77CB1-2040-EDDC-FB12-D73CDD3A1C65}"/>
                </a:ext>
              </a:extLst>
            </p:cNvPr>
            <p:cNvSpPr/>
            <p:nvPr/>
          </p:nvSpPr>
          <p:spPr>
            <a:xfrm>
              <a:off x="3464970" y="6090464"/>
              <a:ext cx="470877" cy="515503"/>
            </a:xfrm>
            <a:custGeom>
              <a:avLst/>
              <a:gdLst/>
              <a:ahLst/>
              <a:cxnLst>
                <a:cxn ang="0">
                  <a:pos x="wd2" y="hd2"/>
                </a:cxn>
                <a:cxn ang="5400000">
                  <a:pos x="wd2" y="hd2"/>
                </a:cxn>
                <a:cxn ang="10800000">
                  <a:pos x="wd2" y="hd2"/>
                </a:cxn>
                <a:cxn ang="16200000">
                  <a:pos x="wd2" y="hd2"/>
                </a:cxn>
              </a:cxnLst>
              <a:rect l="0" t="0" r="r" b="b"/>
              <a:pathLst>
                <a:path w="21600" h="21600" extrusionOk="0">
                  <a:moveTo>
                    <a:pt x="12509" y="11557"/>
                  </a:moveTo>
                  <a:cubicBezTo>
                    <a:pt x="12153" y="11444"/>
                    <a:pt x="11565" y="11670"/>
                    <a:pt x="11210" y="11557"/>
                  </a:cubicBezTo>
                  <a:cubicBezTo>
                    <a:pt x="10854" y="11444"/>
                    <a:pt x="10854" y="10581"/>
                    <a:pt x="10498" y="10807"/>
                  </a:cubicBezTo>
                  <a:cubicBezTo>
                    <a:pt x="10035" y="11118"/>
                    <a:pt x="10158" y="11882"/>
                    <a:pt x="9803" y="12420"/>
                  </a:cubicBezTo>
                  <a:cubicBezTo>
                    <a:pt x="9679" y="12632"/>
                    <a:pt x="9091" y="12533"/>
                    <a:pt x="9215" y="12745"/>
                  </a:cubicBezTo>
                  <a:cubicBezTo>
                    <a:pt x="9323" y="13070"/>
                    <a:pt x="9803" y="13183"/>
                    <a:pt x="10158" y="13396"/>
                  </a:cubicBezTo>
                  <a:cubicBezTo>
                    <a:pt x="10158" y="13396"/>
                    <a:pt x="10390" y="14372"/>
                    <a:pt x="10390" y="14471"/>
                  </a:cubicBezTo>
                  <a:cubicBezTo>
                    <a:pt x="10390" y="14584"/>
                    <a:pt x="11442" y="14471"/>
                    <a:pt x="11442" y="14471"/>
                  </a:cubicBezTo>
                  <a:cubicBezTo>
                    <a:pt x="11442" y="14471"/>
                    <a:pt x="11689" y="13721"/>
                    <a:pt x="11921" y="13721"/>
                  </a:cubicBezTo>
                  <a:cubicBezTo>
                    <a:pt x="12045" y="13721"/>
                    <a:pt x="12988" y="13070"/>
                    <a:pt x="12988" y="13070"/>
                  </a:cubicBezTo>
                  <a:cubicBezTo>
                    <a:pt x="12864" y="12745"/>
                    <a:pt x="12988" y="12420"/>
                    <a:pt x="12864" y="12094"/>
                  </a:cubicBezTo>
                  <a:cubicBezTo>
                    <a:pt x="12756" y="11882"/>
                    <a:pt x="12756" y="11670"/>
                    <a:pt x="12509" y="11557"/>
                  </a:cubicBezTo>
                  <a:close/>
                  <a:moveTo>
                    <a:pt x="0" y="10581"/>
                  </a:moveTo>
                  <a:cubicBezTo>
                    <a:pt x="1051" y="9718"/>
                    <a:pt x="1051" y="9718"/>
                    <a:pt x="1051" y="9718"/>
                  </a:cubicBezTo>
                  <a:cubicBezTo>
                    <a:pt x="943" y="9294"/>
                    <a:pt x="711" y="8855"/>
                    <a:pt x="819" y="8530"/>
                  </a:cubicBezTo>
                  <a:cubicBezTo>
                    <a:pt x="943" y="8317"/>
                    <a:pt x="1299" y="8317"/>
                    <a:pt x="1531" y="8204"/>
                  </a:cubicBezTo>
                  <a:cubicBezTo>
                    <a:pt x="1995" y="8204"/>
                    <a:pt x="2474" y="8530"/>
                    <a:pt x="2706" y="8417"/>
                  </a:cubicBezTo>
                  <a:cubicBezTo>
                    <a:pt x="3185" y="8105"/>
                    <a:pt x="3061" y="7455"/>
                    <a:pt x="3417" y="7129"/>
                  </a:cubicBezTo>
                  <a:cubicBezTo>
                    <a:pt x="3541" y="6917"/>
                    <a:pt x="3896" y="6804"/>
                    <a:pt x="4128" y="6592"/>
                  </a:cubicBezTo>
                  <a:cubicBezTo>
                    <a:pt x="4360" y="6365"/>
                    <a:pt x="4484" y="5941"/>
                    <a:pt x="4716" y="5616"/>
                  </a:cubicBezTo>
                  <a:cubicBezTo>
                    <a:pt x="4963" y="5290"/>
                    <a:pt x="5195" y="4965"/>
                    <a:pt x="5551" y="4753"/>
                  </a:cubicBezTo>
                  <a:cubicBezTo>
                    <a:pt x="6138" y="4541"/>
                    <a:pt x="6726" y="4640"/>
                    <a:pt x="7313" y="4541"/>
                  </a:cubicBezTo>
                  <a:cubicBezTo>
                    <a:pt x="7437" y="5290"/>
                    <a:pt x="7205" y="6153"/>
                    <a:pt x="7669" y="6804"/>
                  </a:cubicBezTo>
                  <a:cubicBezTo>
                    <a:pt x="8025" y="7228"/>
                    <a:pt x="8736" y="7228"/>
                    <a:pt x="9215" y="7129"/>
                  </a:cubicBezTo>
                  <a:cubicBezTo>
                    <a:pt x="9679" y="7016"/>
                    <a:pt x="10035" y="6592"/>
                    <a:pt x="10498" y="6479"/>
                  </a:cubicBezTo>
                  <a:cubicBezTo>
                    <a:pt x="10978" y="6266"/>
                    <a:pt x="11333" y="6054"/>
                    <a:pt x="11797" y="5941"/>
                  </a:cubicBezTo>
                  <a:cubicBezTo>
                    <a:pt x="12277" y="5941"/>
                    <a:pt x="12632" y="6054"/>
                    <a:pt x="12988" y="6054"/>
                  </a:cubicBezTo>
                  <a:cubicBezTo>
                    <a:pt x="13467" y="6054"/>
                    <a:pt x="14055" y="6153"/>
                    <a:pt x="14410" y="5941"/>
                  </a:cubicBezTo>
                  <a:cubicBezTo>
                    <a:pt x="14874" y="5503"/>
                    <a:pt x="14998" y="4852"/>
                    <a:pt x="15230" y="4428"/>
                  </a:cubicBezTo>
                  <a:cubicBezTo>
                    <a:pt x="15462" y="4102"/>
                    <a:pt x="15585" y="3777"/>
                    <a:pt x="15817" y="3451"/>
                  </a:cubicBezTo>
                  <a:cubicBezTo>
                    <a:pt x="16049" y="3239"/>
                    <a:pt x="16405" y="3126"/>
                    <a:pt x="16652" y="2914"/>
                  </a:cubicBezTo>
                  <a:cubicBezTo>
                    <a:pt x="17116" y="2376"/>
                    <a:pt x="17116" y="1613"/>
                    <a:pt x="17595" y="1075"/>
                  </a:cubicBezTo>
                  <a:cubicBezTo>
                    <a:pt x="17827" y="651"/>
                    <a:pt x="18307" y="325"/>
                    <a:pt x="18662" y="0"/>
                  </a:cubicBezTo>
                  <a:cubicBezTo>
                    <a:pt x="18894" y="325"/>
                    <a:pt x="19002" y="750"/>
                    <a:pt x="19126" y="1075"/>
                  </a:cubicBezTo>
                  <a:cubicBezTo>
                    <a:pt x="19126" y="1075"/>
                    <a:pt x="18894" y="2589"/>
                    <a:pt x="18894" y="2702"/>
                  </a:cubicBezTo>
                  <a:cubicBezTo>
                    <a:pt x="19002" y="2801"/>
                    <a:pt x="19837" y="4102"/>
                    <a:pt x="19837" y="4102"/>
                  </a:cubicBezTo>
                  <a:cubicBezTo>
                    <a:pt x="20301" y="4753"/>
                    <a:pt x="20904" y="5404"/>
                    <a:pt x="21136" y="6153"/>
                  </a:cubicBezTo>
                  <a:cubicBezTo>
                    <a:pt x="21492" y="6691"/>
                    <a:pt x="21492" y="7341"/>
                    <a:pt x="21600" y="7992"/>
                  </a:cubicBezTo>
                  <a:cubicBezTo>
                    <a:pt x="21012" y="8317"/>
                    <a:pt x="20425" y="8643"/>
                    <a:pt x="19714" y="8968"/>
                  </a:cubicBezTo>
                  <a:cubicBezTo>
                    <a:pt x="19714" y="8968"/>
                    <a:pt x="18894" y="8643"/>
                    <a:pt x="18771" y="8742"/>
                  </a:cubicBezTo>
                  <a:cubicBezTo>
                    <a:pt x="18771" y="8855"/>
                    <a:pt x="18183" y="9506"/>
                    <a:pt x="18183" y="9506"/>
                  </a:cubicBezTo>
                  <a:cubicBezTo>
                    <a:pt x="18539" y="9944"/>
                    <a:pt x="19002" y="10255"/>
                    <a:pt x="19002" y="10694"/>
                  </a:cubicBezTo>
                  <a:cubicBezTo>
                    <a:pt x="19126" y="11231"/>
                    <a:pt x="18894" y="11769"/>
                    <a:pt x="18771" y="12306"/>
                  </a:cubicBezTo>
                  <a:cubicBezTo>
                    <a:pt x="18662" y="12745"/>
                    <a:pt x="18307" y="13283"/>
                    <a:pt x="18415" y="13834"/>
                  </a:cubicBezTo>
                  <a:cubicBezTo>
                    <a:pt x="18415" y="14046"/>
                    <a:pt x="18894" y="13834"/>
                    <a:pt x="19126" y="14046"/>
                  </a:cubicBezTo>
                  <a:cubicBezTo>
                    <a:pt x="19482" y="14471"/>
                    <a:pt x="19714" y="15008"/>
                    <a:pt x="20069" y="15447"/>
                  </a:cubicBezTo>
                  <a:cubicBezTo>
                    <a:pt x="20425" y="15772"/>
                    <a:pt x="20657" y="16097"/>
                    <a:pt x="21012" y="16423"/>
                  </a:cubicBezTo>
                  <a:cubicBezTo>
                    <a:pt x="20549" y="16635"/>
                    <a:pt x="20193" y="17073"/>
                    <a:pt x="19837" y="16960"/>
                  </a:cubicBezTo>
                  <a:cubicBezTo>
                    <a:pt x="18894" y="16960"/>
                    <a:pt x="18059" y="15984"/>
                    <a:pt x="17363" y="16423"/>
                  </a:cubicBezTo>
                  <a:cubicBezTo>
                    <a:pt x="16652" y="16748"/>
                    <a:pt x="17472" y="18149"/>
                    <a:pt x="16884" y="18686"/>
                  </a:cubicBezTo>
                  <a:cubicBezTo>
                    <a:pt x="16405" y="19125"/>
                    <a:pt x="15585" y="18361"/>
                    <a:pt x="14874" y="18474"/>
                  </a:cubicBezTo>
                  <a:cubicBezTo>
                    <a:pt x="14410" y="18587"/>
                    <a:pt x="13807" y="18898"/>
                    <a:pt x="13467" y="19337"/>
                  </a:cubicBezTo>
                  <a:cubicBezTo>
                    <a:pt x="13343" y="19662"/>
                    <a:pt x="13699" y="20200"/>
                    <a:pt x="13343" y="20412"/>
                  </a:cubicBezTo>
                  <a:cubicBezTo>
                    <a:pt x="13112" y="20638"/>
                    <a:pt x="12632" y="19987"/>
                    <a:pt x="12400" y="20086"/>
                  </a:cubicBezTo>
                  <a:cubicBezTo>
                    <a:pt x="11797" y="20313"/>
                    <a:pt x="11797" y="21062"/>
                    <a:pt x="11333" y="21289"/>
                  </a:cubicBezTo>
                  <a:cubicBezTo>
                    <a:pt x="10854" y="21600"/>
                    <a:pt x="10267" y="21501"/>
                    <a:pt x="9679" y="21600"/>
                  </a:cubicBezTo>
                  <a:cubicBezTo>
                    <a:pt x="8736" y="20412"/>
                    <a:pt x="8025" y="19011"/>
                    <a:pt x="6850" y="17936"/>
                  </a:cubicBezTo>
                  <a:cubicBezTo>
                    <a:pt x="5783" y="17073"/>
                    <a:pt x="4360" y="16748"/>
                    <a:pt x="3185" y="15984"/>
                  </a:cubicBezTo>
                  <a:cubicBezTo>
                    <a:pt x="2350" y="15447"/>
                    <a:pt x="1654" y="15008"/>
                    <a:pt x="1051" y="14372"/>
                  </a:cubicBezTo>
                  <a:cubicBezTo>
                    <a:pt x="819" y="14145"/>
                    <a:pt x="943" y="13834"/>
                    <a:pt x="943" y="13608"/>
                  </a:cubicBezTo>
                  <a:cubicBezTo>
                    <a:pt x="819" y="13396"/>
                    <a:pt x="711" y="13183"/>
                    <a:pt x="711" y="12957"/>
                  </a:cubicBezTo>
                  <a:cubicBezTo>
                    <a:pt x="819" y="12858"/>
                    <a:pt x="1175" y="12858"/>
                    <a:pt x="1175" y="12745"/>
                  </a:cubicBezTo>
                  <a:cubicBezTo>
                    <a:pt x="1299" y="12533"/>
                    <a:pt x="1299" y="12306"/>
                    <a:pt x="1175" y="12207"/>
                  </a:cubicBezTo>
                  <a:cubicBezTo>
                    <a:pt x="943" y="11769"/>
                    <a:pt x="464" y="11557"/>
                    <a:pt x="108" y="11231"/>
                  </a:cubicBezTo>
                  <a:cubicBezTo>
                    <a:pt x="0" y="10581"/>
                    <a:pt x="0" y="10581"/>
                    <a:pt x="0" y="10581"/>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4" name="Shape 2378">
              <a:extLst>
                <a:ext uri="{FF2B5EF4-FFF2-40B4-BE49-F238E27FC236}">
                  <a16:creationId xmlns:a16="http://schemas.microsoft.com/office/drawing/2014/main" id="{57B06979-F0E7-0963-DA20-6EE35D05449D}"/>
                </a:ext>
              </a:extLst>
            </p:cNvPr>
            <p:cNvSpPr/>
            <p:nvPr/>
          </p:nvSpPr>
          <p:spPr>
            <a:xfrm>
              <a:off x="3664982" y="6347649"/>
              <a:ext cx="82083" cy="88850"/>
            </a:xfrm>
            <a:custGeom>
              <a:avLst/>
              <a:gdLst/>
              <a:ahLst/>
              <a:cxnLst>
                <a:cxn ang="0">
                  <a:pos x="wd2" y="hd2"/>
                </a:cxn>
                <a:cxn ang="5400000">
                  <a:pos x="wd2" y="hd2"/>
                </a:cxn>
                <a:cxn ang="10800000">
                  <a:pos x="wd2" y="hd2"/>
                </a:cxn>
                <a:cxn ang="16200000">
                  <a:pos x="wd2" y="hd2"/>
                </a:cxn>
              </a:cxnLst>
              <a:rect l="0" t="0" r="r" b="b"/>
              <a:pathLst>
                <a:path w="21009" h="20243" extrusionOk="0">
                  <a:moveTo>
                    <a:pt x="18352" y="4248"/>
                  </a:moveTo>
                  <a:cubicBezTo>
                    <a:pt x="16380" y="3638"/>
                    <a:pt x="13123" y="4859"/>
                    <a:pt x="11152" y="4248"/>
                  </a:cubicBezTo>
                  <a:cubicBezTo>
                    <a:pt x="9180" y="3638"/>
                    <a:pt x="9180" y="-1018"/>
                    <a:pt x="7209" y="203"/>
                  </a:cubicBezTo>
                  <a:cubicBezTo>
                    <a:pt x="4638" y="1882"/>
                    <a:pt x="5323" y="6004"/>
                    <a:pt x="3352" y="8904"/>
                  </a:cubicBezTo>
                  <a:cubicBezTo>
                    <a:pt x="2666" y="10049"/>
                    <a:pt x="-591" y="9515"/>
                    <a:pt x="95" y="10660"/>
                  </a:cubicBezTo>
                  <a:cubicBezTo>
                    <a:pt x="695" y="12415"/>
                    <a:pt x="3352" y="13026"/>
                    <a:pt x="5323" y="14171"/>
                  </a:cubicBezTo>
                  <a:cubicBezTo>
                    <a:pt x="5323" y="14171"/>
                    <a:pt x="6609" y="19437"/>
                    <a:pt x="6609" y="19971"/>
                  </a:cubicBezTo>
                  <a:cubicBezTo>
                    <a:pt x="6609" y="20582"/>
                    <a:pt x="12438" y="19971"/>
                    <a:pt x="12438" y="19971"/>
                  </a:cubicBezTo>
                  <a:cubicBezTo>
                    <a:pt x="12438" y="19971"/>
                    <a:pt x="13809" y="15926"/>
                    <a:pt x="15095" y="15926"/>
                  </a:cubicBezTo>
                  <a:cubicBezTo>
                    <a:pt x="15780" y="15926"/>
                    <a:pt x="21009" y="12415"/>
                    <a:pt x="21009" y="12415"/>
                  </a:cubicBezTo>
                  <a:cubicBezTo>
                    <a:pt x="20323" y="10660"/>
                    <a:pt x="21009" y="8904"/>
                    <a:pt x="20323" y="7149"/>
                  </a:cubicBezTo>
                  <a:cubicBezTo>
                    <a:pt x="19723" y="6004"/>
                    <a:pt x="19723" y="4859"/>
                    <a:pt x="18352" y="42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5" name="Shape 2379">
              <a:extLst>
                <a:ext uri="{FF2B5EF4-FFF2-40B4-BE49-F238E27FC236}">
                  <a16:creationId xmlns:a16="http://schemas.microsoft.com/office/drawing/2014/main" id="{E26C2728-7C4C-6ADE-E903-CC86FEDBA88F}"/>
                </a:ext>
              </a:extLst>
            </p:cNvPr>
            <p:cNvSpPr/>
            <p:nvPr/>
          </p:nvSpPr>
          <p:spPr>
            <a:xfrm>
              <a:off x="3621131" y="5663818"/>
              <a:ext cx="349559" cy="599164"/>
            </a:xfrm>
            <a:custGeom>
              <a:avLst/>
              <a:gdLst/>
              <a:ahLst/>
              <a:cxnLst>
                <a:cxn ang="0">
                  <a:pos x="wd2" y="hd2"/>
                </a:cxn>
                <a:cxn ang="5400000">
                  <a:pos x="wd2" y="hd2"/>
                </a:cxn>
                <a:cxn ang="10800000">
                  <a:pos x="wd2" y="hd2"/>
                </a:cxn>
                <a:cxn ang="16200000">
                  <a:pos x="wd2" y="hd2"/>
                </a:cxn>
              </a:cxnLst>
              <a:rect l="0" t="0" r="r" b="b"/>
              <a:pathLst>
                <a:path w="21453" h="21561" extrusionOk="0">
                  <a:moveTo>
                    <a:pt x="5418" y="14922"/>
                  </a:moveTo>
                  <a:cubicBezTo>
                    <a:pt x="4943" y="14655"/>
                    <a:pt x="4158" y="14461"/>
                    <a:pt x="3683" y="14655"/>
                  </a:cubicBezTo>
                  <a:cubicBezTo>
                    <a:pt x="3208" y="14740"/>
                    <a:pt x="3683" y="15298"/>
                    <a:pt x="3538" y="15578"/>
                  </a:cubicBezTo>
                  <a:cubicBezTo>
                    <a:pt x="3373" y="15675"/>
                    <a:pt x="2754" y="15578"/>
                    <a:pt x="2589" y="15760"/>
                  </a:cubicBezTo>
                  <a:cubicBezTo>
                    <a:pt x="2423" y="16039"/>
                    <a:pt x="2423" y="16318"/>
                    <a:pt x="2589" y="16501"/>
                  </a:cubicBezTo>
                  <a:cubicBezTo>
                    <a:pt x="2898" y="16780"/>
                    <a:pt x="3683" y="16877"/>
                    <a:pt x="4013" y="17156"/>
                  </a:cubicBezTo>
                  <a:cubicBezTo>
                    <a:pt x="4158" y="17253"/>
                    <a:pt x="4468" y="17435"/>
                    <a:pt x="4323" y="17618"/>
                  </a:cubicBezTo>
                  <a:cubicBezTo>
                    <a:pt x="4323" y="17800"/>
                    <a:pt x="3538" y="17800"/>
                    <a:pt x="3683" y="17994"/>
                  </a:cubicBezTo>
                  <a:cubicBezTo>
                    <a:pt x="3848" y="18261"/>
                    <a:pt x="4468" y="18637"/>
                    <a:pt x="4943" y="18455"/>
                  </a:cubicBezTo>
                  <a:cubicBezTo>
                    <a:pt x="5583" y="18079"/>
                    <a:pt x="4798" y="17435"/>
                    <a:pt x="5418" y="17059"/>
                  </a:cubicBezTo>
                  <a:cubicBezTo>
                    <a:pt x="5727" y="16695"/>
                    <a:pt x="7152" y="16974"/>
                    <a:pt x="7317" y="16501"/>
                  </a:cubicBezTo>
                  <a:cubicBezTo>
                    <a:pt x="7483" y="16136"/>
                    <a:pt x="6202" y="15954"/>
                    <a:pt x="5893" y="15578"/>
                  </a:cubicBezTo>
                  <a:cubicBezTo>
                    <a:pt x="5583" y="15396"/>
                    <a:pt x="5727" y="15019"/>
                    <a:pt x="5418" y="14922"/>
                  </a:cubicBezTo>
                  <a:close/>
                  <a:moveTo>
                    <a:pt x="214" y="19293"/>
                  </a:moveTo>
                  <a:cubicBezTo>
                    <a:pt x="689" y="18820"/>
                    <a:pt x="1639" y="18540"/>
                    <a:pt x="1639" y="18079"/>
                  </a:cubicBezTo>
                  <a:cubicBezTo>
                    <a:pt x="1639" y="17059"/>
                    <a:pt x="524" y="16136"/>
                    <a:pt x="214" y="15116"/>
                  </a:cubicBezTo>
                  <a:cubicBezTo>
                    <a:pt x="69" y="14655"/>
                    <a:pt x="-96" y="14181"/>
                    <a:pt x="69" y="13720"/>
                  </a:cubicBezTo>
                  <a:cubicBezTo>
                    <a:pt x="214" y="13441"/>
                    <a:pt x="998" y="13356"/>
                    <a:pt x="998" y="12979"/>
                  </a:cubicBezTo>
                  <a:cubicBezTo>
                    <a:pt x="1329" y="12336"/>
                    <a:pt x="379" y="11680"/>
                    <a:pt x="854" y="11122"/>
                  </a:cubicBezTo>
                  <a:cubicBezTo>
                    <a:pt x="1329" y="10575"/>
                    <a:pt x="2754" y="10660"/>
                    <a:pt x="3538" y="10381"/>
                  </a:cubicBezTo>
                  <a:cubicBezTo>
                    <a:pt x="3848" y="10199"/>
                    <a:pt x="4158" y="10017"/>
                    <a:pt x="4323" y="9738"/>
                  </a:cubicBezTo>
                  <a:cubicBezTo>
                    <a:pt x="4468" y="9082"/>
                    <a:pt x="4013" y="8341"/>
                    <a:pt x="4323" y="7698"/>
                  </a:cubicBezTo>
                  <a:cubicBezTo>
                    <a:pt x="4468" y="7504"/>
                    <a:pt x="5108" y="7783"/>
                    <a:pt x="5273" y="7601"/>
                  </a:cubicBezTo>
                  <a:cubicBezTo>
                    <a:pt x="5583" y="7321"/>
                    <a:pt x="5583" y="6957"/>
                    <a:pt x="5418" y="6581"/>
                  </a:cubicBezTo>
                  <a:cubicBezTo>
                    <a:pt x="5273" y="6399"/>
                    <a:pt x="4798" y="6399"/>
                    <a:pt x="4633" y="6217"/>
                  </a:cubicBezTo>
                  <a:cubicBezTo>
                    <a:pt x="5108" y="5937"/>
                    <a:pt x="6058" y="5658"/>
                    <a:pt x="6367" y="5282"/>
                  </a:cubicBezTo>
                  <a:cubicBezTo>
                    <a:pt x="6533" y="5099"/>
                    <a:pt x="5727" y="4917"/>
                    <a:pt x="5893" y="4723"/>
                  </a:cubicBezTo>
                  <a:cubicBezTo>
                    <a:pt x="5893" y="4444"/>
                    <a:pt x="6533" y="4359"/>
                    <a:pt x="6842" y="4080"/>
                  </a:cubicBezTo>
                  <a:cubicBezTo>
                    <a:pt x="7008" y="3800"/>
                    <a:pt x="7008" y="3424"/>
                    <a:pt x="7152" y="3060"/>
                  </a:cubicBezTo>
                  <a:cubicBezTo>
                    <a:pt x="7792" y="2878"/>
                    <a:pt x="8267" y="2683"/>
                    <a:pt x="8887" y="2501"/>
                  </a:cubicBezTo>
                  <a:cubicBezTo>
                    <a:pt x="9527" y="2404"/>
                    <a:pt x="10312" y="2598"/>
                    <a:pt x="10787" y="2319"/>
                  </a:cubicBezTo>
                  <a:cubicBezTo>
                    <a:pt x="11406" y="1943"/>
                    <a:pt x="10952" y="1299"/>
                    <a:pt x="11406" y="826"/>
                  </a:cubicBezTo>
                  <a:cubicBezTo>
                    <a:pt x="11737" y="461"/>
                    <a:pt x="12521" y="279"/>
                    <a:pt x="13161" y="0"/>
                  </a:cubicBezTo>
                  <a:cubicBezTo>
                    <a:pt x="13306" y="279"/>
                    <a:pt x="13781" y="559"/>
                    <a:pt x="13946" y="826"/>
                  </a:cubicBezTo>
                  <a:cubicBezTo>
                    <a:pt x="13946" y="923"/>
                    <a:pt x="13471" y="1105"/>
                    <a:pt x="13636" y="1202"/>
                  </a:cubicBezTo>
                  <a:cubicBezTo>
                    <a:pt x="14256" y="1299"/>
                    <a:pt x="14896" y="1105"/>
                    <a:pt x="15515" y="1202"/>
                  </a:cubicBezTo>
                  <a:cubicBezTo>
                    <a:pt x="16156" y="1202"/>
                    <a:pt x="16775" y="1384"/>
                    <a:pt x="17250" y="1481"/>
                  </a:cubicBezTo>
                  <a:cubicBezTo>
                    <a:pt x="17085" y="1761"/>
                    <a:pt x="16465" y="2040"/>
                    <a:pt x="16631" y="2404"/>
                  </a:cubicBezTo>
                  <a:cubicBezTo>
                    <a:pt x="16940" y="2683"/>
                    <a:pt x="18035" y="2683"/>
                    <a:pt x="18200" y="3060"/>
                  </a:cubicBezTo>
                  <a:cubicBezTo>
                    <a:pt x="18365" y="3521"/>
                    <a:pt x="17250" y="3897"/>
                    <a:pt x="17415" y="4359"/>
                  </a:cubicBezTo>
                  <a:cubicBezTo>
                    <a:pt x="17560" y="4638"/>
                    <a:pt x="18510" y="4541"/>
                    <a:pt x="18675" y="4820"/>
                  </a:cubicBezTo>
                  <a:cubicBezTo>
                    <a:pt x="19150" y="5282"/>
                    <a:pt x="19150" y="5937"/>
                    <a:pt x="19150" y="6399"/>
                  </a:cubicBezTo>
                  <a:cubicBezTo>
                    <a:pt x="19150" y="6581"/>
                    <a:pt x="18675" y="6678"/>
                    <a:pt x="18675" y="6763"/>
                  </a:cubicBezTo>
                  <a:cubicBezTo>
                    <a:pt x="18365" y="7236"/>
                    <a:pt x="17415" y="7880"/>
                    <a:pt x="18035" y="8062"/>
                  </a:cubicBezTo>
                  <a:cubicBezTo>
                    <a:pt x="18840" y="8438"/>
                    <a:pt x="20100" y="7698"/>
                    <a:pt x="21050" y="7698"/>
                  </a:cubicBezTo>
                  <a:cubicBezTo>
                    <a:pt x="21194" y="7698"/>
                    <a:pt x="21359" y="7880"/>
                    <a:pt x="21359" y="8062"/>
                  </a:cubicBezTo>
                  <a:cubicBezTo>
                    <a:pt x="21504" y="8341"/>
                    <a:pt x="21504" y="8718"/>
                    <a:pt x="21194" y="8997"/>
                  </a:cubicBezTo>
                  <a:cubicBezTo>
                    <a:pt x="20884" y="9276"/>
                    <a:pt x="19935" y="8997"/>
                    <a:pt x="19625" y="9276"/>
                  </a:cubicBezTo>
                  <a:cubicBezTo>
                    <a:pt x="19150" y="9555"/>
                    <a:pt x="18985" y="9920"/>
                    <a:pt x="18985" y="10296"/>
                  </a:cubicBezTo>
                  <a:cubicBezTo>
                    <a:pt x="19150" y="10478"/>
                    <a:pt x="19935" y="10381"/>
                    <a:pt x="19935" y="10575"/>
                  </a:cubicBezTo>
                  <a:cubicBezTo>
                    <a:pt x="20100" y="10842"/>
                    <a:pt x="19769" y="11122"/>
                    <a:pt x="19625" y="11401"/>
                  </a:cubicBezTo>
                  <a:cubicBezTo>
                    <a:pt x="19460" y="11680"/>
                    <a:pt x="18985" y="11862"/>
                    <a:pt x="18675" y="12142"/>
                  </a:cubicBezTo>
                  <a:cubicBezTo>
                    <a:pt x="18365" y="12336"/>
                    <a:pt x="17890" y="12518"/>
                    <a:pt x="17890" y="12797"/>
                  </a:cubicBezTo>
                  <a:cubicBezTo>
                    <a:pt x="17890" y="13174"/>
                    <a:pt x="18675" y="13441"/>
                    <a:pt x="18365" y="13720"/>
                  </a:cubicBezTo>
                  <a:cubicBezTo>
                    <a:pt x="18200" y="13999"/>
                    <a:pt x="17250" y="13817"/>
                    <a:pt x="16775" y="13999"/>
                  </a:cubicBezTo>
                  <a:cubicBezTo>
                    <a:pt x="16156" y="14376"/>
                    <a:pt x="15825" y="14922"/>
                    <a:pt x="15371" y="15396"/>
                  </a:cubicBezTo>
                  <a:cubicBezTo>
                    <a:pt x="14896" y="15675"/>
                    <a:pt x="14256" y="15954"/>
                    <a:pt x="13946" y="16318"/>
                  </a:cubicBezTo>
                  <a:cubicBezTo>
                    <a:pt x="13306" y="16780"/>
                    <a:pt x="13306" y="17435"/>
                    <a:pt x="12686" y="17897"/>
                  </a:cubicBezTo>
                  <a:cubicBezTo>
                    <a:pt x="12356" y="18079"/>
                    <a:pt x="11881" y="18176"/>
                    <a:pt x="11571" y="18358"/>
                  </a:cubicBezTo>
                  <a:cubicBezTo>
                    <a:pt x="11262" y="18637"/>
                    <a:pt x="11096" y="18917"/>
                    <a:pt x="10787" y="19196"/>
                  </a:cubicBezTo>
                  <a:cubicBezTo>
                    <a:pt x="10477" y="19560"/>
                    <a:pt x="10312" y="20119"/>
                    <a:pt x="9692" y="20495"/>
                  </a:cubicBezTo>
                  <a:cubicBezTo>
                    <a:pt x="9217" y="20677"/>
                    <a:pt x="8432" y="20592"/>
                    <a:pt x="7792" y="20592"/>
                  </a:cubicBezTo>
                  <a:cubicBezTo>
                    <a:pt x="7317" y="20592"/>
                    <a:pt x="6842" y="20495"/>
                    <a:pt x="6202" y="20495"/>
                  </a:cubicBezTo>
                  <a:cubicBezTo>
                    <a:pt x="5583" y="20592"/>
                    <a:pt x="5108" y="20774"/>
                    <a:pt x="4468" y="20956"/>
                  </a:cubicBezTo>
                  <a:cubicBezTo>
                    <a:pt x="3848" y="21054"/>
                    <a:pt x="3373" y="21418"/>
                    <a:pt x="2754" y="21515"/>
                  </a:cubicBezTo>
                  <a:cubicBezTo>
                    <a:pt x="2114" y="21600"/>
                    <a:pt x="1164" y="21600"/>
                    <a:pt x="689" y="21236"/>
                  </a:cubicBezTo>
                  <a:cubicBezTo>
                    <a:pt x="69" y="20677"/>
                    <a:pt x="379" y="19937"/>
                    <a:pt x="214" y="19293"/>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6" name="Shape 2380">
              <a:extLst>
                <a:ext uri="{FF2B5EF4-FFF2-40B4-BE49-F238E27FC236}">
                  <a16:creationId xmlns:a16="http://schemas.microsoft.com/office/drawing/2014/main" id="{F3315913-80FB-CAED-0706-A8510ECA6891}"/>
                </a:ext>
              </a:extLst>
            </p:cNvPr>
            <p:cNvSpPr/>
            <p:nvPr/>
          </p:nvSpPr>
          <p:spPr>
            <a:xfrm>
              <a:off x="3661860" y="6068391"/>
              <a:ext cx="79762" cy="108705"/>
            </a:xfrm>
            <a:custGeom>
              <a:avLst/>
              <a:gdLst/>
              <a:ahLst/>
              <a:cxnLst>
                <a:cxn ang="0">
                  <a:pos x="wd2" y="hd2"/>
                </a:cxn>
                <a:cxn ang="5400000">
                  <a:pos x="wd2" y="hd2"/>
                </a:cxn>
                <a:cxn ang="10800000">
                  <a:pos x="wd2" y="hd2"/>
                </a:cxn>
                <a:cxn ang="16200000">
                  <a:pos x="wd2" y="hd2"/>
                </a:cxn>
              </a:cxnLst>
              <a:rect l="0" t="0" r="r" b="b"/>
              <a:pathLst>
                <a:path w="20781" h="20309" extrusionOk="0">
                  <a:moveTo>
                    <a:pt x="12608" y="1789"/>
                  </a:moveTo>
                  <a:cubicBezTo>
                    <a:pt x="10580" y="408"/>
                    <a:pt x="7230" y="-597"/>
                    <a:pt x="5202" y="408"/>
                  </a:cubicBezTo>
                  <a:cubicBezTo>
                    <a:pt x="3174" y="847"/>
                    <a:pt x="5202" y="3736"/>
                    <a:pt x="4585" y="5180"/>
                  </a:cubicBezTo>
                  <a:cubicBezTo>
                    <a:pt x="3880" y="5682"/>
                    <a:pt x="1235" y="5180"/>
                    <a:pt x="529" y="6122"/>
                  </a:cubicBezTo>
                  <a:cubicBezTo>
                    <a:pt x="-176" y="7566"/>
                    <a:pt x="-176" y="9010"/>
                    <a:pt x="529" y="9952"/>
                  </a:cubicBezTo>
                  <a:cubicBezTo>
                    <a:pt x="1852" y="11396"/>
                    <a:pt x="5202" y="11898"/>
                    <a:pt x="6613" y="13343"/>
                  </a:cubicBezTo>
                  <a:cubicBezTo>
                    <a:pt x="7230" y="13845"/>
                    <a:pt x="8552" y="14787"/>
                    <a:pt x="7935" y="15729"/>
                  </a:cubicBezTo>
                  <a:cubicBezTo>
                    <a:pt x="7935" y="16670"/>
                    <a:pt x="4585" y="16670"/>
                    <a:pt x="5202" y="17675"/>
                  </a:cubicBezTo>
                  <a:cubicBezTo>
                    <a:pt x="5907" y="19056"/>
                    <a:pt x="8552" y="21003"/>
                    <a:pt x="10580" y="20061"/>
                  </a:cubicBezTo>
                  <a:cubicBezTo>
                    <a:pt x="13313" y="18115"/>
                    <a:pt x="9963" y="14787"/>
                    <a:pt x="12608" y="12840"/>
                  </a:cubicBezTo>
                  <a:cubicBezTo>
                    <a:pt x="13930" y="10956"/>
                    <a:pt x="20013" y="12401"/>
                    <a:pt x="20719" y="9952"/>
                  </a:cubicBezTo>
                  <a:cubicBezTo>
                    <a:pt x="21424" y="8068"/>
                    <a:pt x="15958" y="7126"/>
                    <a:pt x="14635" y="5180"/>
                  </a:cubicBezTo>
                  <a:cubicBezTo>
                    <a:pt x="13313" y="4238"/>
                    <a:pt x="13930" y="2291"/>
                    <a:pt x="12608" y="178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7" name="Shape 2381">
              <a:extLst>
                <a:ext uri="{FF2B5EF4-FFF2-40B4-BE49-F238E27FC236}">
                  <a16:creationId xmlns:a16="http://schemas.microsoft.com/office/drawing/2014/main" id="{2319BBC4-2966-ED53-29BA-F03C4F81F300}"/>
                </a:ext>
              </a:extLst>
            </p:cNvPr>
            <p:cNvSpPr/>
            <p:nvPr/>
          </p:nvSpPr>
          <p:spPr>
            <a:xfrm>
              <a:off x="3872263" y="5563269"/>
              <a:ext cx="653762" cy="837553"/>
            </a:xfrm>
            <a:custGeom>
              <a:avLst/>
              <a:gdLst/>
              <a:ahLst/>
              <a:cxnLst>
                <a:cxn ang="0">
                  <a:pos x="wd2" y="hd2"/>
                </a:cxn>
                <a:cxn ang="5400000">
                  <a:pos x="wd2" y="hd2"/>
                </a:cxn>
                <a:cxn ang="10800000">
                  <a:pos x="wd2" y="hd2"/>
                </a:cxn>
                <a:cxn ang="16200000">
                  <a:pos x="wd2" y="hd2"/>
                </a:cxn>
              </a:cxnLst>
              <a:rect l="0" t="0" r="r" b="b"/>
              <a:pathLst>
                <a:path w="20798" h="21548" extrusionOk="0">
                  <a:moveTo>
                    <a:pt x="0" y="13602"/>
                  </a:moveTo>
                  <a:cubicBezTo>
                    <a:pt x="236" y="13264"/>
                    <a:pt x="407" y="12873"/>
                    <a:pt x="729" y="12604"/>
                  </a:cubicBezTo>
                  <a:cubicBezTo>
                    <a:pt x="975" y="12474"/>
                    <a:pt x="1468" y="12604"/>
                    <a:pt x="1554" y="12405"/>
                  </a:cubicBezTo>
                  <a:cubicBezTo>
                    <a:pt x="1714" y="12205"/>
                    <a:pt x="1307" y="12015"/>
                    <a:pt x="1307" y="11746"/>
                  </a:cubicBezTo>
                  <a:cubicBezTo>
                    <a:pt x="1307" y="11546"/>
                    <a:pt x="1554" y="11416"/>
                    <a:pt x="1714" y="11277"/>
                  </a:cubicBezTo>
                  <a:cubicBezTo>
                    <a:pt x="1875" y="11078"/>
                    <a:pt x="2121" y="10948"/>
                    <a:pt x="2207" y="10748"/>
                  </a:cubicBezTo>
                  <a:cubicBezTo>
                    <a:pt x="2282" y="10548"/>
                    <a:pt x="2454" y="10349"/>
                    <a:pt x="2368" y="10158"/>
                  </a:cubicBezTo>
                  <a:cubicBezTo>
                    <a:pt x="2368" y="10019"/>
                    <a:pt x="1961" y="10089"/>
                    <a:pt x="1875" y="9959"/>
                  </a:cubicBezTo>
                  <a:cubicBezTo>
                    <a:pt x="1875" y="9690"/>
                    <a:pt x="1961" y="9429"/>
                    <a:pt x="2207" y="9230"/>
                  </a:cubicBezTo>
                  <a:cubicBezTo>
                    <a:pt x="2368" y="9030"/>
                    <a:pt x="2861" y="9230"/>
                    <a:pt x="3021" y="9030"/>
                  </a:cubicBezTo>
                  <a:cubicBezTo>
                    <a:pt x="3182" y="8831"/>
                    <a:pt x="3182" y="8562"/>
                    <a:pt x="3107" y="8362"/>
                  </a:cubicBezTo>
                  <a:cubicBezTo>
                    <a:pt x="3107" y="8232"/>
                    <a:pt x="3021" y="8102"/>
                    <a:pt x="2946" y="8102"/>
                  </a:cubicBezTo>
                  <a:cubicBezTo>
                    <a:pt x="2454" y="8102"/>
                    <a:pt x="1800" y="8631"/>
                    <a:pt x="1382" y="8362"/>
                  </a:cubicBezTo>
                  <a:cubicBezTo>
                    <a:pt x="1061" y="8232"/>
                    <a:pt x="1554" y="7773"/>
                    <a:pt x="1714" y="7434"/>
                  </a:cubicBezTo>
                  <a:cubicBezTo>
                    <a:pt x="1714" y="7374"/>
                    <a:pt x="1961" y="7304"/>
                    <a:pt x="1961" y="7174"/>
                  </a:cubicBezTo>
                  <a:cubicBezTo>
                    <a:pt x="1961" y="6844"/>
                    <a:pt x="1961" y="6376"/>
                    <a:pt x="1714" y="6046"/>
                  </a:cubicBezTo>
                  <a:cubicBezTo>
                    <a:pt x="1629" y="5847"/>
                    <a:pt x="1136" y="5916"/>
                    <a:pt x="1061" y="5717"/>
                  </a:cubicBezTo>
                  <a:cubicBezTo>
                    <a:pt x="975" y="5387"/>
                    <a:pt x="1554" y="5118"/>
                    <a:pt x="1468" y="4788"/>
                  </a:cubicBezTo>
                  <a:cubicBezTo>
                    <a:pt x="1382" y="4520"/>
                    <a:pt x="814" y="4520"/>
                    <a:pt x="654" y="4320"/>
                  </a:cubicBezTo>
                  <a:cubicBezTo>
                    <a:pt x="568" y="4060"/>
                    <a:pt x="889" y="3860"/>
                    <a:pt x="975" y="3661"/>
                  </a:cubicBezTo>
                  <a:cubicBezTo>
                    <a:pt x="1468" y="3132"/>
                    <a:pt x="1714" y="2403"/>
                    <a:pt x="2454" y="2073"/>
                  </a:cubicBezTo>
                  <a:cubicBezTo>
                    <a:pt x="2946" y="1874"/>
                    <a:pt x="3675" y="2073"/>
                    <a:pt x="4007" y="2403"/>
                  </a:cubicBezTo>
                  <a:cubicBezTo>
                    <a:pt x="4329" y="2663"/>
                    <a:pt x="3600" y="3461"/>
                    <a:pt x="4082" y="3661"/>
                  </a:cubicBezTo>
                  <a:cubicBezTo>
                    <a:pt x="4821" y="3860"/>
                    <a:pt x="5721" y="3461"/>
                    <a:pt x="6300" y="3132"/>
                  </a:cubicBezTo>
                  <a:cubicBezTo>
                    <a:pt x="6621" y="3001"/>
                    <a:pt x="6054" y="2533"/>
                    <a:pt x="6300" y="2403"/>
                  </a:cubicBezTo>
                  <a:cubicBezTo>
                    <a:pt x="6707" y="2134"/>
                    <a:pt x="7361" y="2403"/>
                    <a:pt x="7768" y="2134"/>
                  </a:cubicBezTo>
                  <a:cubicBezTo>
                    <a:pt x="7929" y="1935"/>
                    <a:pt x="7436" y="1744"/>
                    <a:pt x="7200" y="1605"/>
                  </a:cubicBezTo>
                  <a:cubicBezTo>
                    <a:pt x="6868" y="1544"/>
                    <a:pt x="6300" y="1874"/>
                    <a:pt x="6214" y="1605"/>
                  </a:cubicBezTo>
                  <a:cubicBezTo>
                    <a:pt x="6129" y="1275"/>
                    <a:pt x="6707" y="1076"/>
                    <a:pt x="7029" y="1006"/>
                  </a:cubicBezTo>
                  <a:cubicBezTo>
                    <a:pt x="7607" y="946"/>
                    <a:pt x="8261" y="1405"/>
                    <a:pt x="8839" y="1206"/>
                  </a:cubicBezTo>
                  <a:cubicBezTo>
                    <a:pt x="9246" y="1006"/>
                    <a:pt x="9000" y="416"/>
                    <a:pt x="9246" y="87"/>
                  </a:cubicBezTo>
                  <a:cubicBezTo>
                    <a:pt x="9246" y="-52"/>
                    <a:pt x="9493" y="17"/>
                    <a:pt x="9654" y="17"/>
                  </a:cubicBezTo>
                  <a:cubicBezTo>
                    <a:pt x="10146" y="416"/>
                    <a:pt x="10800" y="677"/>
                    <a:pt x="11046" y="1145"/>
                  </a:cubicBezTo>
                  <a:cubicBezTo>
                    <a:pt x="11207" y="1405"/>
                    <a:pt x="10629" y="1744"/>
                    <a:pt x="10800" y="2004"/>
                  </a:cubicBezTo>
                  <a:cubicBezTo>
                    <a:pt x="10875" y="2472"/>
                    <a:pt x="11368" y="2802"/>
                    <a:pt x="11614" y="3192"/>
                  </a:cubicBezTo>
                  <a:cubicBezTo>
                    <a:pt x="11861" y="3461"/>
                    <a:pt x="11946" y="3860"/>
                    <a:pt x="12268" y="3990"/>
                  </a:cubicBezTo>
                  <a:cubicBezTo>
                    <a:pt x="12514" y="4060"/>
                    <a:pt x="12846" y="3791"/>
                    <a:pt x="12921" y="3591"/>
                  </a:cubicBezTo>
                  <a:cubicBezTo>
                    <a:pt x="12921" y="3392"/>
                    <a:pt x="12514" y="3331"/>
                    <a:pt x="12514" y="3192"/>
                  </a:cubicBezTo>
                  <a:cubicBezTo>
                    <a:pt x="12600" y="3001"/>
                    <a:pt x="13007" y="2863"/>
                    <a:pt x="13168" y="2663"/>
                  </a:cubicBezTo>
                  <a:cubicBezTo>
                    <a:pt x="13254" y="2533"/>
                    <a:pt x="13168" y="2273"/>
                    <a:pt x="13414" y="2134"/>
                  </a:cubicBezTo>
                  <a:cubicBezTo>
                    <a:pt x="13821" y="1804"/>
                    <a:pt x="14229" y="1804"/>
                    <a:pt x="14721" y="1544"/>
                  </a:cubicBezTo>
                  <a:cubicBezTo>
                    <a:pt x="15139" y="1874"/>
                    <a:pt x="15461" y="2134"/>
                    <a:pt x="16114" y="2403"/>
                  </a:cubicBezTo>
                  <a:cubicBezTo>
                    <a:pt x="17014" y="2802"/>
                    <a:pt x="18000" y="3730"/>
                    <a:pt x="18246" y="4520"/>
                  </a:cubicBezTo>
                  <a:cubicBezTo>
                    <a:pt x="18568" y="5387"/>
                    <a:pt x="19221" y="6376"/>
                    <a:pt x="19714" y="7174"/>
                  </a:cubicBezTo>
                  <a:cubicBezTo>
                    <a:pt x="19800" y="7963"/>
                    <a:pt x="21600" y="11277"/>
                    <a:pt x="20368" y="11876"/>
                  </a:cubicBezTo>
                  <a:cubicBezTo>
                    <a:pt x="19468" y="12344"/>
                    <a:pt x="18654" y="12934"/>
                    <a:pt x="17839" y="13602"/>
                  </a:cubicBezTo>
                  <a:cubicBezTo>
                    <a:pt x="17100" y="14201"/>
                    <a:pt x="16607" y="14990"/>
                    <a:pt x="15868" y="15588"/>
                  </a:cubicBezTo>
                  <a:cubicBezTo>
                    <a:pt x="15621" y="15719"/>
                    <a:pt x="15461" y="16118"/>
                    <a:pt x="15461" y="16387"/>
                  </a:cubicBezTo>
                  <a:cubicBezTo>
                    <a:pt x="17100" y="16716"/>
                    <a:pt x="17175" y="16916"/>
                    <a:pt x="18332" y="17844"/>
                  </a:cubicBezTo>
                  <a:cubicBezTo>
                    <a:pt x="18407" y="17905"/>
                    <a:pt x="18654" y="18035"/>
                    <a:pt x="18986" y="18174"/>
                  </a:cubicBezTo>
                  <a:cubicBezTo>
                    <a:pt x="18900" y="18373"/>
                    <a:pt x="18654" y="18573"/>
                    <a:pt x="18654" y="18763"/>
                  </a:cubicBezTo>
                  <a:cubicBezTo>
                    <a:pt x="18654" y="18902"/>
                    <a:pt x="18986" y="19032"/>
                    <a:pt x="18900" y="19162"/>
                  </a:cubicBezTo>
                  <a:cubicBezTo>
                    <a:pt x="18739" y="19431"/>
                    <a:pt x="18332" y="19501"/>
                    <a:pt x="18000" y="19631"/>
                  </a:cubicBezTo>
                  <a:cubicBezTo>
                    <a:pt x="17668" y="19761"/>
                    <a:pt x="17346" y="19761"/>
                    <a:pt x="17014" y="19891"/>
                  </a:cubicBezTo>
                  <a:cubicBezTo>
                    <a:pt x="16607" y="19830"/>
                    <a:pt x="16200" y="19631"/>
                    <a:pt x="15707" y="19631"/>
                  </a:cubicBezTo>
                  <a:cubicBezTo>
                    <a:pt x="15386" y="19631"/>
                    <a:pt x="15054" y="19830"/>
                    <a:pt x="14893" y="20030"/>
                  </a:cubicBezTo>
                  <a:cubicBezTo>
                    <a:pt x="14721" y="20290"/>
                    <a:pt x="14968" y="20689"/>
                    <a:pt x="14721" y="20889"/>
                  </a:cubicBezTo>
                  <a:cubicBezTo>
                    <a:pt x="14475" y="21088"/>
                    <a:pt x="13993" y="21019"/>
                    <a:pt x="13661" y="21088"/>
                  </a:cubicBezTo>
                  <a:cubicBezTo>
                    <a:pt x="13254" y="21019"/>
                    <a:pt x="12846" y="20819"/>
                    <a:pt x="12439" y="20889"/>
                  </a:cubicBezTo>
                  <a:cubicBezTo>
                    <a:pt x="12021" y="20949"/>
                    <a:pt x="11775" y="21418"/>
                    <a:pt x="11368" y="21487"/>
                  </a:cubicBezTo>
                  <a:cubicBezTo>
                    <a:pt x="11046" y="21487"/>
                    <a:pt x="10800" y="21149"/>
                    <a:pt x="10382" y="21149"/>
                  </a:cubicBezTo>
                  <a:cubicBezTo>
                    <a:pt x="10146" y="21088"/>
                    <a:pt x="9975" y="21418"/>
                    <a:pt x="9729" y="21418"/>
                  </a:cubicBezTo>
                  <a:cubicBezTo>
                    <a:pt x="9321" y="21348"/>
                    <a:pt x="9000" y="20949"/>
                    <a:pt x="8593" y="20949"/>
                  </a:cubicBezTo>
                  <a:cubicBezTo>
                    <a:pt x="8175" y="21019"/>
                    <a:pt x="8014" y="21548"/>
                    <a:pt x="7521" y="21548"/>
                  </a:cubicBezTo>
                  <a:cubicBezTo>
                    <a:pt x="7114" y="21548"/>
                    <a:pt x="6868" y="21149"/>
                    <a:pt x="6461" y="21088"/>
                  </a:cubicBezTo>
                  <a:cubicBezTo>
                    <a:pt x="6054" y="20949"/>
                    <a:pt x="5561" y="21019"/>
                    <a:pt x="5068" y="20949"/>
                  </a:cubicBezTo>
                  <a:cubicBezTo>
                    <a:pt x="4907" y="20819"/>
                    <a:pt x="4329" y="20689"/>
                    <a:pt x="4489" y="20490"/>
                  </a:cubicBezTo>
                  <a:cubicBezTo>
                    <a:pt x="4821" y="20160"/>
                    <a:pt x="5646" y="20229"/>
                    <a:pt x="6054" y="19891"/>
                  </a:cubicBezTo>
                  <a:cubicBezTo>
                    <a:pt x="6129" y="19830"/>
                    <a:pt x="6129" y="19561"/>
                    <a:pt x="5968" y="19501"/>
                  </a:cubicBezTo>
                  <a:cubicBezTo>
                    <a:pt x="5561" y="19362"/>
                    <a:pt x="5068" y="19631"/>
                    <a:pt x="4661" y="19501"/>
                  </a:cubicBezTo>
                  <a:cubicBezTo>
                    <a:pt x="4329" y="19301"/>
                    <a:pt x="4329" y="18833"/>
                    <a:pt x="3921" y="18703"/>
                  </a:cubicBezTo>
                  <a:cubicBezTo>
                    <a:pt x="3354" y="18434"/>
                    <a:pt x="2700" y="18573"/>
                    <a:pt x="2036" y="18503"/>
                  </a:cubicBezTo>
                  <a:cubicBezTo>
                    <a:pt x="1961" y="18104"/>
                    <a:pt x="1961" y="17705"/>
                    <a:pt x="1714" y="17375"/>
                  </a:cubicBezTo>
                  <a:cubicBezTo>
                    <a:pt x="1554" y="16916"/>
                    <a:pt x="1136" y="16517"/>
                    <a:pt x="814" y="16118"/>
                  </a:cubicBezTo>
                  <a:cubicBezTo>
                    <a:pt x="814" y="16118"/>
                    <a:pt x="236" y="15320"/>
                    <a:pt x="161" y="15259"/>
                  </a:cubicBezTo>
                  <a:cubicBezTo>
                    <a:pt x="161" y="15189"/>
                    <a:pt x="321" y="14261"/>
                    <a:pt x="321" y="14261"/>
                  </a:cubicBezTo>
                  <a:cubicBezTo>
                    <a:pt x="236" y="14062"/>
                    <a:pt x="161" y="13801"/>
                    <a:pt x="0" y="13602"/>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8" name="Shape 2382">
              <a:extLst>
                <a:ext uri="{FF2B5EF4-FFF2-40B4-BE49-F238E27FC236}">
                  <a16:creationId xmlns:a16="http://schemas.microsoft.com/office/drawing/2014/main" id="{5E2BCF7E-F13A-8A97-9D72-1A00DF7D2C8F}"/>
                </a:ext>
              </a:extLst>
            </p:cNvPr>
            <p:cNvSpPr/>
            <p:nvPr/>
          </p:nvSpPr>
          <p:spPr>
            <a:xfrm>
              <a:off x="3560104" y="5652244"/>
              <a:ext cx="178040" cy="188141"/>
            </a:xfrm>
            <a:custGeom>
              <a:avLst/>
              <a:gdLst/>
              <a:ahLst/>
              <a:cxnLst>
                <a:cxn ang="0">
                  <a:pos x="wd2" y="hd2"/>
                </a:cxn>
                <a:cxn ang="5400000">
                  <a:pos x="wd2" y="hd2"/>
                </a:cxn>
                <a:cxn ang="10800000">
                  <a:pos x="wd2" y="hd2"/>
                </a:cxn>
                <a:cxn ang="16200000">
                  <a:pos x="wd2" y="hd2"/>
                </a:cxn>
              </a:cxnLst>
              <a:rect l="0" t="0" r="r" b="b"/>
              <a:pathLst>
                <a:path w="21600" h="21395" extrusionOk="0">
                  <a:moveTo>
                    <a:pt x="0" y="3847"/>
                  </a:moveTo>
                  <a:cubicBezTo>
                    <a:pt x="656" y="5338"/>
                    <a:pt x="943" y="7365"/>
                    <a:pt x="1885" y="8550"/>
                  </a:cubicBezTo>
                  <a:cubicBezTo>
                    <a:pt x="2500" y="9123"/>
                    <a:pt x="3771" y="8550"/>
                    <a:pt x="4386" y="9123"/>
                  </a:cubicBezTo>
                  <a:cubicBezTo>
                    <a:pt x="4713" y="9697"/>
                    <a:pt x="4099" y="10882"/>
                    <a:pt x="4386" y="11455"/>
                  </a:cubicBezTo>
                  <a:cubicBezTo>
                    <a:pt x="4713" y="12334"/>
                    <a:pt x="5000" y="13520"/>
                    <a:pt x="5656" y="14093"/>
                  </a:cubicBezTo>
                  <a:cubicBezTo>
                    <a:pt x="5943" y="14972"/>
                    <a:pt x="6886" y="15240"/>
                    <a:pt x="7542" y="15852"/>
                  </a:cubicBezTo>
                  <a:cubicBezTo>
                    <a:pt x="8156" y="16731"/>
                    <a:pt x="8156" y="17572"/>
                    <a:pt x="8443" y="18451"/>
                  </a:cubicBezTo>
                  <a:cubicBezTo>
                    <a:pt x="9386" y="18451"/>
                    <a:pt x="10329" y="18184"/>
                    <a:pt x="10984" y="18451"/>
                  </a:cubicBezTo>
                  <a:cubicBezTo>
                    <a:pt x="11271" y="19063"/>
                    <a:pt x="10657" y="19942"/>
                    <a:pt x="10984" y="20516"/>
                  </a:cubicBezTo>
                  <a:cubicBezTo>
                    <a:pt x="11599" y="21089"/>
                    <a:pt x="12542" y="21395"/>
                    <a:pt x="13485" y="21395"/>
                  </a:cubicBezTo>
                  <a:cubicBezTo>
                    <a:pt x="14427" y="21395"/>
                    <a:pt x="15370" y="21089"/>
                    <a:pt x="16600" y="20822"/>
                  </a:cubicBezTo>
                  <a:cubicBezTo>
                    <a:pt x="17542" y="19942"/>
                    <a:pt x="19428" y="19063"/>
                    <a:pt x="20043" y="17878"/>
                  </a:cubicBezTo>
                  <a:cubicBezTo>
                    <a:pt x="20370" y="17304"/>
                    <a:pt x="18772" y="16731"/>
                    <a:pt x="19100" y="16119"/>
                  </a:cubicBezTo>
                  <a:cubicBezTo>
                    <a:pt x="19100" y="15240"/>
                    <a:pt x="20370" y="14972"/>
                    <a:pt x="20985" y="14093"/>
                  </a:cubicBezTo>
                  <a:cubicBezTo>
                    <a:pt x="21313" y="13214"/>
                    <a:pt x="21313" y="12029"/>
                    <a:pt x="21600" y="10882"/>
                  </a:cubicBezTo>
                  <a:cubicBezTo>
                    <a:pt x="20985" y="10308"/>
                    <a:pt x="20657" y="9429"/>
                    <a:pt x="20043" y="8817"/>
                  </a:cubicBezTo>
                  <a:cubicBezTo>
                    <a:pt x="19428" y="8550"/>
                    <a:pt x="18485" y="8550"/>
                    <a:pt x="17870" y="8244"/>
                  </a:cubicBezTo>
                  <a:cubicBezTo>
                    <a:pt x="15985" y="7670"/>
                    <a:pt x="13772" y="7670"/>
                    <a:pt x="12542" y="6485"/>
                  </a:cubicBezTo>
                  <a:cubicBezTo>
                    <a:pt x="11599" y="5606"/>
                    <a:pt x="13485" y="3847"/>
                    <a:pt x="12870" y="3006"/>
                  </a:cubicBezTo>
                  <a:cubicBezTo>
                    <a:pt x="12214" y="2127"/>
                    <a:pt x="10984" y="4153"/>
                    <a:pt x="10042" y="3847"/>
                  </a:cubicBezTo>
                  <a:cubicBezTo>
                    <a:pt x="9099" y="3580"/>
                    <a:pt x="9099" y="2395"/>
                    <a:pt x="9099" y="1821"/>
                  </a:cubicBezTo>
                  <a:cubicBezTo>
                    <a:pt x="8771" y="1248"/>
                    <a:pt x="9099" y="674"/>
                    <a:pt x="9099" y="63"/>
                  </a:cubicBezTo>
                  <a:cubicBezTo>
                    <a:pt x="7828" y="63"/>
                    <a:pt x="6271" y="-205"/>
                    <a:pt x="4713" y="368"/>
                  </a:cubicBezTo>
                  <a:cubicBezTo>
                    <a:pt x="3771" y="674"/>
                    <a:pt x="3443" y="1821"/>
                    <a:pt x="2500" y="2395"/>
                  </a:cubicBezTo>
                  <a:cubicBezTo>
                    <a:pt x="1885" y="2395"/>
                    <a:pt x="1271" y="2127"/>
                    <a:pt x="943" y="2395"/>
                  </a:cubicBezTo>
                  <a:cubicBezTo>
                    <a:pt x="328" y="2700"/>
                    <a:pt x="328" y="3274"/>
                    <a:pt x="0" y="384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89" name="Shape 2383">
              <a:extLst>
                <a:ext uri="{FF2B5EF4-FFF2-40B4-BE49-F238E27FC236}">
                  <a16:creationId xmlns:a16="http://schemas.microsoft.com/office/drawing/2014/main" id="{9E8D42EC-1509-182A-8A3F-D249F9DA16F5}"/>
                </a:ext>
              </a:extLst>
            </p:cNvPr>
            <p:cNvSpPr/>
            <p:nvPr/>
          </p:nvSpPr>
          <p:spPr>
            <a:xfrm>
              <a:off x="3369836" y="5567614"/>
              <a:ext cx="281816" cy="151641"/>
            </a:xfrm>
            <a:custGeom>
              <a:avLst/>
              <a:gdLst/>
              <a:ahLst/>
              <a:cxnLst>
                <a:cxn ang="0">
                  <a:pos x="wd2" y="hd2"/>
                </a:cxn>
                <a:cxn ang="5400000">
                  <a:pos x="wd2" y="hd2"/>
                </a:cxn>
                <a:cxn ang="10800000">
                  <a:pos x="wd2" y="hd2"/>
                </a:cxn>
                <a:cxn ang="16200000">
                  <a:pos x="wd2" y="hd2"/>
                </a:cxn>
              </a:cxnLst>
              <a:rect l="0" t="0" r="r" b="b"/>
              <a:pathLst>
                <a:path w="21466" h="20831" extrusionOk="0">
                  <a:moveTo>
                    <a:pt x="0" y="10701"/>
                  </a:moveTo>
                  <a:cubicBezTo>
                    <a:pt x="206" y="11444"/>
                    <a:pt x="591" y="12141"/>
                    <a:pt x="797" y="12837"/>
                  </a:cubicBezTo>
                  <a:cubicBezTo>
                    <a:pt x="977" y="13906"/>
                    <a:pt x="797" y="14603"/>
                    <a:pt x="797" y="15671"/>
                  </a:cubicBezTo>
                  <a:cubicBezTo>
                    <a:pt x="1569" y="15671"/>
                    <a:pt x="2366" y="16043"/>
                    <a:pt x="3137" y="15671"/>
                  </a:cubicBezTo>
                  <a:cubicBezTo>
                    <a:pt x="3729" y="15346"/>
                    <a:pt x="3934" y="13906"/>
                    <a:pt x="4526" y="13906"/>
                  </a:cubicBezTo>
                  <a:cubicBezTo>
                    <a:pt x="6300" y="13534"/>
                    <a:pt x="8049" y="14277"/>
                    <a:pt x="9823" y="14974"/>
                  </a:cubicBezTo>
                  <a:cubicBezTo>
                    <a:pt x="10209" y="15346"/>
                    <a:pt x="10414" y="16368"/>
                    <a:pt x="10594" y="17111"/>
                  </a:cubicBezTo>
                  <a:cubicBezTo>
                    <a:pt x="10800" y="17808"/>
                    <a:pt x="10594" y="18504"/>
                    <a:pt x="10800" y="19248"/>
                  </a:cubicBezTo>
                  <a:cubicBezTo>
                    <a:pt x="11006" y="19944"/>
                    <a:pt x="11186" y="21338"/>
                    <a:pt x="11391" y="20641"/>
                  </a:cubicBezTo>
                  <a:cubicBezTo>
                    <a:pt x="12189" y="19944"/>
                    <a:pt x="11983" y="18179"/>
                    <a:pt x="12369" y="16739"/>
                  </a:cubicBezTo>
                  <a:cubicBezTo>
                    <a:pt x="12574" y="16368"/>
                    <a:pt x="12574" y="15346"/>
                    <a:pt x="12960" y="15346"/>
                  </a:cubicBezTo>
                  <a:cubicBezTo>
                    <a:pt x="13551" y="15346"/>
                    <a:pt x="13937" y="16043"/>
                    <a:pt x="14529" y="16368"/>
                  </a:cubicBezTo>
                  <a:cubicBezTo>
                    <a:pt x="14734" y="15671"/>
                    <a:pt x="14734" y="14974"/>
                    <a:pt x="15120" y="14603"/>
                  </a:cubicBezTo>
                  <a:cubicBezTo>
                    <a:pt x="15326" y="14277"/>
                    <a:pt x="15711" y="14603"/>
                    <a:pt x="16097" y="14603"/>
                  </a:cubicBezTo>
                  <a:cubicBezTo>
                    <a:pt x="16689" y="13906"/>
                    <a:pt x="16894" y="12512"/>
                    <a:pt x="17486" y="12141"/>
                  </a:cubicBezTo>
                  <a:cubicBezTo>
                    <a:pt x="18463" y="11444"/>
                    <a:pt x="19440" y="11769"/>
                    <a:pt x="20237" y="11769"/>
                  </a:cubicBezTo>
                  <a:cubicBezTo>
                    <a:pt x="20623" y="11072"/>
                    <a:pt x="21420" y="10701"/>
                    <a:pt x="21420" y="9632"/>
                  </a:cubicBezTo>
                  <a:cubicBezTo>
                    <a:pt x="21600" y="8935"/>
                    <a:pt x="21214" y="7867"/>
                    <a:pt x="20829" y="7170"/>
                  </a:cubicBezTo>
                  <a:cubicBezTo>
                    <a:pt x="20417" y="6473"/>
                    <a:pt x="19646" y="6473"/>
                    <a:pt x="19440" y="5730"/>
                  </a:cubicBezTo>
                  <a:cubicBezTo>
                    <a:pt x="19054" y="5033"/>
                    <a:pt x="19054" y="3965"/>
                    <a:pt x="18669" y="3268"/>
                  </a:cubicBezTo>
                  <a:cubicBezTo>
                    <a:pt x="18463" y="2572"/>
                    <a:pt x="18463" y="1503"/>
                    <a:pt x="18077" y="760"/>
                  </a:cubicBezTo>
                  <a:cubicBezTo>
                    <a:pt x="17666" y="435"/>
                    <a:pt x="17280" y="1132"/>
                    <a:pt x="16894" y="1132"/>
                  </a:cubicBezTo>
                  <a:cubicBezTo>
                    <a:pt x="16097" y="760"/>
                    <a:pt x="15531" y="-262"/>
                    <a:pt x="14734" y="63"/>
                  </a:cubicBezTo>
                  <a:cubicBezTo>
                    <a:pt x="14143" y="63"/>
                    <a:pt x="13757" y="1503"/>
                    <a:pt x="13166" y="1828"/>
                  </a:cubicBezTo>
                  <a:cubicBezTo>
                    <a:pt x="12780" y="2200"/>
                    <a:pt x="12189" y="2200"/>
                    <a:pt x="11597" y="1828"/>
                  </a:cubicBezTo>
                  <a:cubicBezTo>
                    <a:pt x="11186" y="1828"/>
                    <a:pt x="10800" y="760"/>
                    <a:pt x="10414" y="760"/>
                  </a:cubicBezTo>
                  <a:cubicBezTo>
                    <a:pt x="10029" y="435"/>
                    <a:pt x="9617" y="760"/>
                    <a:pt x="9437" y="760"/>
                  </a:cubicBezTo>
                  <a:cubicBezTo>
                    <a:pt x="9026" y="2200"/>
                    <a:pt x="8846" y="3965"/>
                    <a:pt x="8254" y="5033"/>
                  </a:cubicBezTo>
                  <a:cubicBezTo>
                    <a:pt x="7663" y="6102"/>
                    <a:pt x="6866" y="6799"/>
                    <a:pt x="6094" y="6799"/>
                  </a:cubicBezTo>
                  <a:cubicBezTo>
                    <a:pt x="5503" y="7170"/>
                    <a:pt x="5117" y="6102"/>
                    <a:pt x="4526" y="6102"/>
                  </a:cubicBezTo>
                  <a:cubicBezTo>
                    <a:pt x="4526" y="5730"/>
                    <a:pt x="4114" y="5730"/>
                    <a:pt x="4114" y="6102"/>
                  </a:cubicBezTo>
                  <a:cubicBezTo>
                    <a:pt x="3523" y="6799"/>
                    <a:pt x="3343" y="8239"/>
                    <a:pt x="2751" y="8610"/>
                  </a:cubicBezTo>
                  <a:cubicBezTo>
                    <a:pt x="2160" y="9307"/>
                    <a:pt x="1183" y="8610"/>
                    <a:pt x="386" y="9307"/>
                  </a:cubicBezTo>
                  <a:cubicBezTo>
                    <a:pt x="206" y="9307"/>
                    <a:pt x="206" y="10375"/>
                    <a:pt x="0" y="1070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0" name="Shape 2384">
              <a:extLst>
                <a:ext uri="{FF2B5EF4-FFF2-40B4-BE49-F238E27FC236}">
                  <a16:creationId xmlns:a16="http://schemas.microsoft.com/office/drawing/2014/main" id="{AEABC4AF-325E-70F7-9E13-C1B5A6B96231}"/>
                </a:ext>
              </a:extLst>
            </p:cNvPr>
            <p:cNvSpPr/>
            <p:nvPr/>
          </p:nvSpPr>
          <p:spPr>
            <a:xfrm>
              <a:off x="3615104" y="5524332"/>
              <a:ext cx="252364" cy="225371"/>
            </a:xfrm>
            <a:custGeom>
              <a:avLst/>
              <a:gdLst/>
              <a:ahLst/>
              <a:cxnLst>
                <a:cxn ang="0">
                  <a:pos x="wd2" y="hd2"/>
                </a:cxn>
                <a:cxn ang="5400000">
                  <a:pos x="wd2" y="hd2"/>
                </a:cxn>
                <a:cxn ang="10800000">
                  <a:pos x="wd2" y="hd2"/>
                </a:cxn>
                <a:cxn ang="16200000">
                  <a:pos x="wd2" y="hd2"/>
                </a:cxn>
              </a:cxnLst>
              <a:rect l="0" t="0" r="r" b="b"/>
              <a:pathLst>
                <a:path w="21600" h="21435" extrusionOk="0">
                  <a:moveTo>
                    <a:pt x="1761" y="12339"/>
                  </a:moveTo>
                  <a:cubicBezTo>
                    <a:pt x="2195" y="11856"/>
                    <a:pt x="3090" y="11599"/>
                    <a:pt x="3090" y="10860"/>
                  </a:cubicBezTo>
                  <a:cubicBezTo>
                    <a:pt x="3292" y="10378"/>
                    <a:pt x="2859" y="9639"/>
                    <a:pt x="2426" y="9156"/>
                  </a:cubicBezTo>
                  <a:cubicBezTo>
                    <a:pt x="1964" y="8674"/>
                    <a:pt x="1097" y="8674"/>
                    <a:pt x="866" y="8160"/>
                  </a:cubicBezTo>
                  <a:cubicBezTo>
                    <a:pt x="433" y="7678"/>
                    <a:pt x="433" y="6939"/>
                    <a:pt x="0" y="6456"/>
                  </a:cubicBezTo>
                  <a:cubicBezTo>
                    <a:pt x="866" y="6681"/>
                    <a:pt x="1530" y="7196"/>
                    <a:pt x="2426" y="7196"/>
                  </a:cubicBezTo>
                  <a:cubicBezTo>
                    <a:pt x="3090" y="6939"/>
                    <a:pt x="3523" y="6199"/>
                    <a:pt x="3956" y="5460"/>
                  </a:cubicBezTo>
                  <a:cubicBezTo>
                    <a:pt x="4187" y="5235"/>
                    <a:pt x="3956" y="4721"/>
                    <a:pt x="4187" y="4239"/>
                  </a:cubicBezTo>
                  <a:cubicBezTo>
                    <a:pt x="4620" y="3756"/>
                    <a:pt x="5053" y="3499"/>
                    <a:pt x="5516" y="3274"/>
                  </a:cubicBezTo>
                  <a:cubicBezTo>
                    <a:pt x="5718" y="2760"/>
                    <a:pt x="6180" y="2021"/>
                    <a:pt x="6613" y="1539"/>
                  </a:cubicBezTo>
                  <a:cubicBezTo>
                    <a:pt x="7046" y="1539"/>
                    <a:pt x="7277" y="2021"/>
                    <a:pt x="7710" y="2021"/>
                  </a:cubicBezTo>
                  <a:cubicBezTo>
                    <a:pt x="8143" y="2021"/>
                    <a:pt x="8576" y="1539"/>
                    <a:pt x="9039" y="1539"/>
                  </a:cubicBezTo>
                  <a:cubicBezTo>
                    <a:pt x="9472" y="1539"/>
                    <a:pt x="9703" y="2021"/>
                    <a:pt x="10136" y="2021"/>
                  </a:cubicBezTo>
                  <a:cubicBezTo>
                    <a:pt x="10569" y="2021"/>
                    <a:pt x="11031" y="1539"/>
                    <a:pt x="11464" y="1314"/>
                  </a:cubicBezTo>
                  <a:cubicBezTo>
                    <a:pt x="12128" y="799"/>
                    <a:pt x="12793" y="574"/>
                    <a:pt x="13659" y="317"/>
                  </a:cubicBezTo>
                  <a:cubicBezTo>
                    <a:pt x="15218" y="317"/>
                    <a:pt x="16749" y="-165"/>
                    <a:pt x="18308" y="60"/>
                  </a:cubicBezTo>
                  <a:cubicBezTo>
                    <a:pt x="19636" y="317"/>
                    <a:pt x="20503" y="1314"/>
                    <a:pt x="21600" y="1796"/>
                  </a:cubicBezTo>
                  <a:cubicBezTo>
                    <a:pt x="21398" y="3017"/>
                    <a:pt x="20734" y="4721"/>
                    <a:pt x="20503" y="5235"/>
                  </a:cubicBezTo>
                  <a:cubicBezTo>
                    <a:pt x="20272" y="5974"/>
                    <a:pt x="20070" y="10153"/>
                    <a:pt x="20070" y="10378"/>
                  </a:cubicBezTo>
                  <a:cubicBezTo>
                    <a:pt x="20070" y="10635"/>
                    <a:pt x="18308" y="10860"/>
                    <a:pt x="18308" y="11117"/>
                  </a:cubicBezTo>
                  <a:cubicBezTo>
                    <a:pt x="18510" y="11599"/>
                    <a:pt x="18741" y="12596"/>
                    <a:pt x="18972" y="13335"/>
                  </a:cubicBezTo>
                  <a:cubicBezTo>
                    <a:pt x="18077" y="14074"/>
                    <a:pt x="16980" y="14556"/>
                    <a:pt x="16518" y="15521"/>
                  </a:cubicBezTo>
                  <a:cubicBezTo>
                    <a:pt x="15882" y="16774"/>
                    <a:pt x="16518" y="18478"/>
                    <a:pt x="15651" y="19474"/>
                  </a:cubicBezTo>
                  <a:cubicBezTo>
                    <a:pt x="14987" y="20214"/>
                    <a:pt x="13890" y="19699"/>
                    <a:pt x="12995" y="19956"/>
                  </a:cubicBezTo>
                  <a:cubicBezTo>
                    <a:pt x="12128" y="20439"/>
                    <a:pt x="11464" y="20953"/>
                    <a:pt x="10569" y="21435"/>
                  </a:cubicBezTo>
                  <a:cubicBezTo>
                    <a:pt x="10136" y="20953"/>
                    <a:pt x="9905" y="20214"/>
                    <a:pt x="9472" y="19699"/>
                  </a:cubicBezTo>
                  <a:cubicBezTo>
                    <a:pt x="9039" y="19474"/>
                    <a:pt x="8374" y="19474"/>
                    <a:pt x="7941" y="19217"/>
                  </a:cubicBezTo>
                  <a:cubicBezTo>
                    <a:pt x="6613" y="18735"/>
                    <a:pt x="5053" y="18735"/>
                    <a:pt x="4187" y="17739"/>
                  </a:cubicBezTo>
                  <a:cubicBezTo>
                    <a:pt x="3523" y="16999"/>
                    <a:pt x="4851" y="15521"/>
                    <a:pt x="4418" y="14814"/>
                  </a:cubicBezTo>
                  <a:cubicBezTo>
                    <a:pt x="3956" y="14074"/>
                    <a:pt x="3090" y="15778"/>
                    <a:pt x="2426" y="15521"/>
                  </a:cubicBezTo>
                  <a:cubicBezTo>
                    <a:pt x="1761" y="15296"/>
                    <a:pt x="1761" y="14299"/>
                    <a:pt x="1761" y="13817"/>
                  </a:cubicBezTo>
                  <a:cubicBezTo>
                    <a:pt x="1530" y="13335"/>
                    <a:pt x="1761" y="12853"/>
                    <a:pt x="1761" y="1233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1" name="Shape 2385">
              <a:extLst>
                <a:ext uri="{FF2B5EF4-FFF2-40B4-BE49-F238E27FC236}">
                  <a16:creationId xmlns:a16="http://schemas.microsoft.com/office/drawing/2014/main" id="{AFBDF860-AEFC-46F7-626B-8DCF8B06E6A9}"/>
                </a:ext>
              </a:extLst>
            </p:cNvPr>
            <p:cNvSpPr/>
            <p:nvPr/>
          </p:nvSpPr>
          <p:spPr>
            <a:xfrm>
              <a:off x="3179567" y="5558271"/>
              <a:ext cx="140881" cy="109649"/>
            </a:xfrm>
            <a:custGeom>
              <a:avLst/>
              <a:gdLst/>
              <a:ahLst/>
              <a:cxnLst>
                <a:cxn ang="0">
                  <a:pos x="wd2" y="hd2"/>
                </a:cxn>
                <a:cxn ang="5400000">
                  <a:pos x="wd2" y="hd2"/>
                </a:cxn>
                <a:cxn ang="10800000">
                  <a:pos x="wd2" y="hd2"/>
                </a:cxn>
                <a:cxn ang="16200000">
                  <a:pos x="wd2" y="hd2"/>
                </a:cxn>
              </a:cxnLst>
              <a:rect l="0" t="0" r="r" b="b"/>
              <a:pathLst>
                <a:path w="21600" h="21307" extrusionOk="0">
                  <a:moveTo>
                    <a:pt x="0" y="15541"/>
                  </a:moveTo>
                  <a:cubicBezTo>
                    <a:pt x="771" y="16595"/>
                    <a:pt x="1543" y="17056"/>
                    <a:pt x="1543" y="18110"/>
                  </a:cubicBezTo>
                  <a:cubicBezTo>
                    <a:pt x="1543" y="19098"/>
                    <a:pt x="771" y="19098"/>
                    <a:pt x="771" y="20085"/>
                  </a:cubicBezTo>
                  <a:cubicBezTo>
                    <a:pt x="771" y="20612"/>
                    <a:pt x="411" y="20612"/>
                    <a:pt x="411" y="21073"/>
                  </a:cubicBezTo>
                  <a:cubicBezTo>
                    <a:pt x="1954" y="21073"/>
                    <a:pt x="3549" y="21600"/>
                    <a:pt x="4680" y="21073"/>
                  </a:cubicBezTo>
                  <a:cubicBezTo>
                    <a:pt x="5503" y="20612"/>
                    <a:pt x="5503" y="18571"/>
                    <a:pt x="6274" y="17583"/>
                  </a:cubicBezTo>
                  <a:cubicBezTo>
                    <a:pt x="7046" y="17056"/>
                    <a:pt x="8229" y="17583"/>
                    <a:pt x="9000" y="17056"/>
                  </a:cubicBezTo>
                  <a:cubicBezTo>
                    <a:pt x="9823" y="17056"/>
                    <a:pt x="9411" y="15541"/>
                    <a:pt x="10183" y="15080"/>
                  </a:cubicBezTo>
                  <a:cubicBezTo>
                    <a:pt x="11777" y="15080"/>
                    <a:pt x="13731" y="15541"/>
                    <a:pt x="15326" y="16595"/>
                  </a:cubicBezTo>
                  <a:cubicBezTo>
                    <a:pt x="16097" y="17056"/>
                    <a:pt x="16509" y="18571"/>
                    <a:pt x="17280" y="19098"/>
                  </a:cubicBezTo>
                  <a:cubicBezTo>
                    <a:pt x="18463" y="19098"/>
                    <a:pt x="19646" y="20085"/>
                    <a:pt x="20417" y="19098"/>
                  </a:cubicBezTo>
                  <a:cubicBezTo>
                    <a:pt x="21189" y="18571"/>
                    <a:pt x="20417" y="17056"/>
                    <a:pt x="20417" y="16595"/>
                  </a:cubicBezTo>
                  <a:cubicBezTo>
                    <a:pt x="20829" y="15541"/>
                    <a:pt x="21189" y="14554"/>
                    <a:pt x="21600" y="14093"/>
                  </a:cubicBezTo>
                  <a:cubicBezTo>
                    <a:pt x="20829" y="12578"/>
                    <a:pt x="20417" y="11063"/>
                    <a:pt x="19646" y="9549"/>
                  </a:cubicBezTo>
                  <a:cubicBezTo>
                    <a:pt x="18463" y="8034"/>
                    <a:pt x="16869" y="6980"/>
                    <a:pt x="16097" y="5532"/>
                  </a:cubicBezTo>
                  <a:cubicBezTo>
                    <a:pt x="14914" y="3490"/>
                    <a:pt x="14554" y="1515"/>
                    <a:pt x="13731" y="0"/>
                  </a:cubicBezTo>
                  <a:cubicBezTo>
                    <a:pt x="12960" y="461"/>
                    <a:pt x="12189" y="1515"/>
                    <a:pt x="11777" y="2502"/>
                  </a:cubicBezTo>
                  <a:cubicBezTo>
                    <a:pt x="11366" y="2963"/>
                    <a:pt x="11366" y="4478"/>
                    <a:pt x="10594" y="4478"/>
                  </a:cubicBezTo>
                  <a:cubicBezTo>
                    <a:pt x="9000" y="4478"/>
                    <a:pt x="7457" y="2963"/>
                    <a:pt x="5863" y="3490"/>
                  </a:cubicBezTo>
                  <a:cubicBezTo>
                    <a:pt x="4320" y="4017"/>
                    <a:pt x="3137" y="5532"/>
                    <a:pt x="2366" y="6980"/>
                  </a:cubicBezTo>
                  <a:cubicBezTo>
                    <a:pt x="1954" y="7507"/>
                    <a:pt x="2366" y="8495"/>
                    <a:pt x="1954" y="9549"/>
                  </a:cubicBezTo>
                  <a:cubicBezTo>
                    <a:pt x="1543" y="11524"/>
                    <a:pt x="771" y="13566"/>
                    <a:pt x="0" y="1554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2" name="Shape 2386">
              <a:extLst>
                <a:ext uri="{FF2B5EF4-FFF2-40B4-BE49-F238E27FC236}">
                  <a16:creationId xmlns:a16="http://schemas.microsoft.com/office/drawing/2014/main" id="{307E2820-2259-709C-D4FE-0023536F0289}"/>
                </a:ext>
              </a:extLst>
            </p:cNvPr>
            <p:cNvSpPr/>
            <p:nvPr/>
          </p:nvSpPr>
          <p:spPr>
            <a:xfrm>
              <a:off x="3075514" y="5513675"/>
              <a:ext cx="75472" cy="134931"/>
            </a:xfrm>
            <a:custGeom>
              <a:avLst/>
              <a:gdLst/>
              <a:ahLst/>
              <a:cxnLst>
                <a:cxn ang="0">
                  <a:pos x="wd2" y="hd2"/>
                </a:cxn>
                <a:cxn ang="5400000">
                  <a:pos x="wd2" y="hd2"/>
                </a:cxn>
                <a:cxn ang="10800000">
                  <a:pos x="wd2" y="hd2"/>
                </a:cxn>
                <a:cxn ang="16200000">
                  <a:pos x="wd2" y="hd2"/>
                </a:cxn>
              </a:cxnLst>
              <a:rect l="0" t="0" r="r" b="b"/>
              <a:pathLst>
                <a:path w="21600" h="21363" extrusionOk="0">
                  <a:moveTo>
                    <a:pt x="19362" y="21173"/>
                  </a:moveTo>
                  <a:cubicBezTo>
                    <a:pt x="18584" y="20373"/>
                    <a:pt x="16346" y="19520"/>
                    <a:pt x="17124" y="18720"/>
                  </a:cubicBezTo>
                  <a:cubicBezTo>
                    <a:pt x="17124" y="17920"/>
                    <a:pt x="20141" y="17920"/>
                    <a:pt x="21600" y="17920"/>
                  </a:cubicBezTo>
                  <a:cubicBezTo>
                    <a:pt x="20822" y="15893"/>
                    <a:pt x="19362" y="13813"/>
                    <a:pt x="19362" y="12213"/>
                  </a:cubicBezTo>
                  <a:cubicBezTo>
                    <a:pt x="18584" y="11413"/>
                    <a:pt x="20141" y="10560"/>
                    <a:pt x="20141" y="9760"/>
                  </a:cubicBezTo>
                  <a:cubicBezTo>
                    <a:pt x="19362" y="8960"/>
                    <a:pt x="18584" y="8160"/>
                    <a:pt x="17124" y="7307"/>
                  </a:cubicBezTo>
                  <a:cubicBezTo>
                    <a:pt x="16346" y="6933"/>
                    <a:pt x="14886" y="6933"/>
                    <a:pt x="14108" y="6080"/>
                  </a:cubicBezTo>
                  <a:cubicBezTo>
                    <a:pt x="12649" y="4480"/>
                    <a:pt x="13427" y="2027"/>
                    <a:pt x="11870" y="800"/>
                  </a:cubicBezTo>
                  <a:cubicBezTo>
                    <a:pt x="11189" y="0"/>
                    <a:pt x="10411" y="2027"/>
                    <a:pt x="8951" y="1600"/>
                  </a:cubicBezTo>
                  <a:cubicBezTo>
                    <a:pt x="6714" y="1600"/>
                    <a:pt x="4476" y="800"/>
                    <a:pt x="2238" y="0"/>
                  </a:cubicBezTo>
                  <a:cubicBezTo>
                    <a:pt x="0" y="4853"/>
                    <a:pt x="0" y="4853"/>
                    <a:pt x="0" y="4853"/>
                  </a:cubicBezTo>
                  <a:cubicBezTo>
                    <a:pt x="778" y="6080"/>
                    <a:pt x="1557" y="6933"/>
                    <a:pt x="1557" y="8160"/>
                  </a:cubicBezTo>
                  <a:cubicBezTo>
                    <a:pt x="1557" y="8960"/>
                    <a:pt x="0" y="9760"/>
                    <a:pt x="0" y="10987"/>
                  </a:cubicBezTo>
                  <a:cubicBezTo>
                    <a:pt x="0" y="11787"/>
                    <a:pt x="1557" y="12587"/>
                    <a:pt x="2238" y="13440"/>
                  </a:cubicBezTo>
                  <a:cubicBezTo>
                    <a:pt x="2238" y="14240"/>
                    <a:pt x="1557" y="15040"/>
                    <a:pt x="2238" y="15893"/>
                  </a:cubicBezTo>
                  <a:cubicBezTo>
                    <a:pt x="3016" y="17120"/>
                    <a:pt x="4476" y="17493"/>
                    <a:pt x="5935" y="18720"/>
                  </a:cubicBezTo>
                  <a:cubicBezTo>
                    <a:pt x="7492" y="19147"/>
                    <a:pt x="8951" y="19947"/>
                    <a:pt x="11189" y="20373"/>
                  </a:cubicBezTo>
                  <a:cubicBezTo>
                    <a:pt x="11189" y="20747"/>
                    <a:pt x="11870" y="21173"/>
                    <a:pt x="12649" y="21173"/>
                  </a:cubicBezTo>
                  <a:cubicBezTo>
                    <a:pt x="14886" y="21600"/>
                    <a:pt x="17124" y="21173"/>
                    <a:pt x="19362" y="2117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3" name="Shape 2387">
              <a:extLst>
                <a:ext uri="{FF2B5EF4-FFF2-40B4-BE49-F238E27FC236}">
                  <a16:creationId xmlns:a16="http://schemas.microsoft.com/office/drawing/2014/main" id="{E5EF3409-9221-CFD9-32D4-6EC20EFB8FAE}"/>
                </a:ext>
              </a:extLst>
            </p:cNvPr>
            <p:cNvSpPr/>
            <p:nvPr/>
          </p:nvSpPr>
          <p:spPr>
            <a:xfrm>
              <a:off x="2950650" y="5534488"/>
              <a:ext cx="146825" cy="105860"/>
            </a:xfrm>
            <a:custGeom>
              <a:avLst/>
              <a:gdLst/>
              <a:ahLst/>
              <a:cxnLst>
                <a:cxn ang="0">
                  <a:pos x="wd2" y="hd2"/>
                </a:cxn>
                <a:cxn ang="5400000">
                  <a:pos x="wd2" y="hd2"/>
                </a:cxn>
                <a:cxn ang="10800000">
                  <a:pos x="wd2" y="hd2"/>
                </a:cxn>
                <a:cxn ang="16200000">
                  <a:pos x="wd2" y="hd2"/>
                </a:cxn>
              </a:cxnLst>
              <a:rect l="0" t="0" r="r" b="b"/>
              <a:pathLst>
                <a:path w="21600" h="21136" extrusionOk="0">
                  <a:moveTo>
                    <a:pt x="12910" y="20052"/>
                  </a:moveTo>
                  <a:cubicBezTo>
                    <a:pt x="13655" y="19514"/>
                    <a:pt x="13655" y="18505"/>
                    <a:pt x="14400" y="17966"/>
                  </a:cubicBezTo>
                  <a:cubicBezTo>
                    <a:pt x="15542" y="17966"/>
                    <a:pt x="16684" y="18505"/>
                    <a:pt x="17429" y="19043"/>
                  </a:cubicBezTo>
                  <a:cubicBezTo>
                    <a:pt x="18571" y="19514"/>
                    <a:pt x="18968" y="21062"/>
                    <a:pt x="20110" y="21062"/>
                  </a:cubicBezTo>
                  <a:cubicBezTo>
                    <a:pt x="20508" y="21062"/>
                    <a:pt x="20855" y="20052"/>
                    <a:pt x="21600" y="19514"/>
                  </a:cubicBezTo>
                  <a:cubicBezTo>
                    <a:pt x="20855" y="17966"/>
                    <a:pt x="20110" y="17495"/>
                    <a:pt x="19713" y="15948"/>
                  </a:cubicBezTo>
                  <a:cubicBezTo>
                    <a:pt x="19366" y="14871"/>
                    <a:pt x="19713" y="13862"/>
                    <a:pt x="19713" y="12852"/>
                  </a:cubicBezTo>
                  <a:cubicBezTo>
                    <a:pt x="19366" y="11776"/>
                    <a:pt x="18571" y="10766"/>
                    <a:pt x="18571" y="9757"/>
                  </a:cubicBezTo>
                  <a:cubicBezTo>
                    <a:pt x="18571" y="8209"/>
                    <a:pt x="19366" y="7200"/>
                    <a:pt x="19366" y="6191"/>
                  </a:cubicBezTo>
                  <a:cubicBezTo>
                    <a:pt x="19366" y="4643"/>
                    <a:pt x="18968" y="3566"/>
                    <a:pt x="18571" y="2019"/>
                  </a:cubicBezTo>
                  <a:cubicBezTo>
                    <a:pt x="17826" y="2557"/>
                    <a:pt x="16684" y="4105"/>
                    <a:pt x="15939" y="3566"/>
                  </a:cubicBezTo>
                  <a:cubicBezTo>
                    <a:pt x="14797" y="3095"/>
                    <a:pt x="15194" y="0"/>
                    <a:pt x="14052" y="0"/>
                  </a:cubicBezTo>
                  <a:cubicBezTo>
                    <a:pt x="12910" y="0"/>
                    <a:pt x="13655" y="2557"/>
                    <a:pt x="12910" y="3095"/>
                  </a:cubicBezTo>
                  <a:cubicBezTo>
                    <a:pt x="12513" y="4105"/>
                    <a:pt x="12116" y="4643"/>
                    <a:pt x="11371" y="4643"/>
                  </a:cubicBezTo>
                  <a:cubicBezTo>
                    <a:pt x="10626" y="4643"/>
                    <a:pt x="9484" y="3566"/>
                    <a:pt x="8342" y="3095"/>
                  </a:cubicBezTo>
                  <a:cubicBezTo>
                    <a:pt x="7200" y="4643"/>
                    <a:pt x="6455" y="7200"/>
                    <a:pt x="4568" y="8209"/>
                  </a:cubicBezTo>
                  <a:cubicBezTo>
                    <a:pt x="3823" y="8209"/>
                    <a:pt x="3426" y="5114"/>
                    <a:pt x="2284" y="5652"/>
                  </a:cubicBezTo>
                  <a:cubicBezTo>
                    <a:pt x="1142" y="5652"/>
                    <a:pt x="745" y="7671"/>
                    <a:pt x="0" y="9219"/>
                  </a:cubicBezTo>
                  <a:cubicBezTo>
                    <a:pt x="1142" y="9757"/>
                    <a:pt x="3029" y="10295"/>
                    <a:pt x="3823" y="11776"/>
                  </a:cubicBezTo>
                  <a:cubicBezTo>
                    <a:pt x="4568" y="13323"/>
                    <a:pt x="3823" y="15409"/>
                    <a:pt x="4568" y="17495"/>
                  </a:cubicBezTo>
                  <a:cubicBezTo>
                    <a:pt x="4916" y="19043"/>
                    <a:pt x="5313" y="21062"/>
                    <a:pt x="6455" y="21062"/>
                  </a:cubicBezTo>
                  <a:cubicBezTo>
                    <a:pt x="7597" y="21600"/>
                    <a:pt x="8739" y="19043"/>
                    <a:pt x="9881" y="19043"/>
                  </a:cubicBezTo>
                  <a:cubicBezTo>
                    <a:pt x="10974" y="18505"/>
                    <a:pt x="12116" y="20052"/>
                    <a:pt x="12910" y="2005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4" name="Shape 2388">
              <a:extLst>
                <a:ext uri="{FF2B5EF4-FFF2-40B4-BE49-F238E27FC236}">
                  <a16:creationId xmlns:a16="http://schemas.microsoft.com/office/drawing/2014/main" id="{DFD5C242-C6CC-0E70-CB23-227D180DA4E0}"/>
                </a:ext>
              </a:extLst>
            </p:cNvPr>
            <p:cNvSpPr/>
            <p:nvPr/>
          </p:nvSpPr>
          <p:spPr>
            <a:xfrm>
              <a:off x="2984855" y="5415561"/>
              <a:ext cx="99241" cy="142374"/>
            </a:xfrm>
            <a:custGeom>
              <a:avLst/>
              <a:gdLst/>
              <a:ahLst/>
              <a:cxnLst>
                <a:cxn ang="0">
                  <a:pos x="wd2" y="hd2"/>
                </a:cxn>
                <a:cxn ang="5400000">
                  <a:pos x="wd2" y="hd2"/>
                </a:cxn>
                <a:cxn ang="10800000">
                  <a:pos x="wd2" y="hd2"/>
                </a:cxn>
                <a:cxn ang="16200000">
                  <a:pos x="wd2" y="hd2"/>
                </a:cxn>
              </a:cxnLst>
              <a:rect l="0" t="0" r="r" b="b"/>
              <a:pathLst>
                <a:path w="21278" h="21600" extrusionOk="0">
                  <a:moveTo>
                    <a:pt x="4679" y="20420"/>
                  </a:moveTo>
                  <a:cubicBezTo>
                    <a:pt x="6346" y="20779"/>
                    <a:pt x="8014" y="21600"/>
                    <a:pt x="9101" y="21600"/>
                  </a:cubicBezTo>
                  <a:cubicBezTo>
                    <a:pt x="10188" y="21600"/>
                    <a:pt x="10768" y="21190"/>
                    <a:pt x="11348" y="20420"/>
                  </a:cubicBezTo>
                  <a:cubicBezTo>
                    <a:pt x="12435" y="20010"/>
                    <a:pt x="11348" y="18060"/>
                    <a:pt x="13015" y="18060"/>
                  </a:cubicBezTo>
                  <a:cubicBezTo>
                    <a:pt x="14682" y="18060"/>
                    <a:pt x="14102" y="20420"/>
                    <a:pt x="15769" y="20779"/>
                  </a:cubicBezTo>
                  <a:cubicBezTo>
                    <a:pt x="16857" y="21190"/>
                    <a:pt x="18524" y="20010"/>
                    <a:pt x="19611" y="19599"/>
                  </a:cubicBezTo>
                  <a:cubicBezTo>
                    <a:pt x="21278" y="14930"/>
                    <a:pt x="21278" y="14930"/>
                    <a:pt x="21278" y="14930"/>
                  </a:cubicBezTo>
                  <a:cubicBezTo>
                    <a:pt x="20771" y="14109"/>
                    <a:pt x="20771" y="12929"/>
                    <a:pt x="20191" y="12570"/>
                  </a:cubicBezTo>
                  <a:cubicBezTo>
                    <a:pt x="19611" y="11800"/>
                    <a:pt x="18524" y="11800"/>
                    <a:pt x="17436" y="11800"/>
                  </a:cubicBezTo>
                  <a:cubicBezTo>
                    <a:pt x="17436" y="11800"/>
                    <a:pt x="13522" y="6670"/>
                    <a:pt x="13522" y="6311"/>
                  </a:cubicBezTo>
                  <a:lnTo>
                    <a:pt x="12435" y="1590"/>
                  </a:lnTo>
                  <a:cubicBezTo>
                    <a:pt x="11348" y="821"/>
                    <a:pt x="10188" y="0"/>
                    <a:pt x="9101" y="0"/>
                  </a:cubicBezTo>
                  <a:cubicBezTo>
                    <a:pt x="7434" y="0"/>
                    <a:pt x="6926" y="1180"/>
                    <a:pt x="5767" y="1590"/>
                  </a:cubicBezTo>
                  <a:cubicBezTo>
                    <a:pt x="4679" y="2001"/>
                    <a:pt x="2505" y="1180"/>
                    <a:pt x="1345" y="2001"/>
                  </a:cubicBezTo>
                  <a:cubicBezTo>
                    <a:pt x="258" y="2360"/>
                    <a:pt x="838" y="3540"/>
                    <a:pt x="258" y="3951"/>
                  </a:cubicBezTo>
                  <a:cubicBezTo>
                    <a:pt x="258" y="5131"/>
                    <a:pt x="-322" y="6670"/>
                    <a:pt x="258" y="7491"/>
                  </a:cubicBezTo>
                  <a:cubicBezTo>
                    <a:pt x="1345" y="9030"/>
                    <a:pt x="4679" y="9440"/>
                    <a:pt x="5259" y="10980"/>
                  </a:cubicBezTo>
                  <a:cubicBezTo>
                    <a:pt x="5259" y="12160"/>
                    <a:pt x="3012" y="13340"/>
                    <a:pt x="3012" y="14930"/>
                  </a:cubicBezTo>
                  <a:cubicBezTo>
                    <a:pt x="3012" y="16880"/>
                    <a:pt x="4099" y="18470"/>
                    <a:pt x="4679" y="204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5" name="Shape 2389">
              <a:extLst>
                <a:ext uri="{FF2B5EF4-FFF2-40B4-BE49-F238E27FC236}">
                  <a16:creationId xmlns:a16="http://schemas.microsoft.com/office/drawing/2014/main" id="{01473C41-250C-D036-B3B6-1DE793E388E8}"/>
                </a:ext>
              </a:extLst>
            </p:cNvPr>
            <p:cNvSpPr/>
            <p:nvPr/>
          </p:nvSpPr>
          <p:spPr>
            <a:xfrm>
              <a:off x="3133333" y="5500889"/>
              <a:ext cx="136572" cy="137321"/>
            </a:xfrm>
            <a:custGeom>
              <a:avLst/>
              <a:gdLst/>
              <a:ahLst/>
              <a:cxnLst>
                <a:cxn ang="0">
                  <a:pos x="wd2" y="hd2"/>
                </a:cxn>
                <a:cxn ang="5400000">
                  <a:pos x="wd2" y="hd2"/>
                </a:cxn>
                <a:cxn ang="10800000">
                  <a:pos x="wd2" y="hd2"/>
                </a:cxn>
                <a:cxn ang="16200000">
                  <a:pos x="wd2" y="hd2"/>
                </a:cxn>
              </a:cxnLst>
              <a:rect l="0" t="0" r="r" b="b"/>
              <a:pathLst>
                <a:path w="21163" h="21278" extrusionOk="0">
                  <a:moveTo>
                    <a:pt x="2761" y="19705"/>
                  </a:moveTo>
                  <a:cubicBezTo>
                    <a:pt x="7165" y="21278"/>
                    <a:pt x="7165" y="21278"/>
                    <a:pt x="7165" y="21278"/>
                  </a:cubicBezTo>
                  <a:cubicBezTo>
                    <a:pt x="7951" y="19705"/>
                    <a:pt x="8738" y="18080"/>
                    <a:pt x="9157" y="16507"/>
                  </a:cubicBezTo>
                  <a:cubicBezTo>
                    <a:pt x="9577" y="15668"/>
                    <a:pt x="9157" y="14882"/>
                    <a:pt x="9577" y="14462"/>
                  </a:cubicBezTo>
                  <a:cubicBezTo>
                    <a:pt x="10363" y="13309"/>
                    <a:pt x="11569" y="12103"/>
                    <a:pt x="13142" y="11684"/>
                  </a:cubicBezTo>
                  <a:cubicBezTo>
                    <a:pt x="14767" y="11264"/>
                    <a:pt x="16340" y="12470"/>
                    <a:pt x="17965" y="12470"/>
                  </a:cubicBezTo>
                  <a:cubicBezTo>
                    <a:pt x="18751" y="12470"/>
                    <a:pt x="18751" y="11264"/>
                    <a:pt x="19171" y="10897"/>
                  </a:cubicBezTo>
                  <a:cubicBezTo>
                    <a:pt x="19590" y="10111"/>
                    <a:pt x="20377" y="9272"/>
                    <a:pt x="21163" y="8905"/>
                  </a:cubicBezTo>
                  <a:cubicBezTo>
                    <a:pt x="20377" y="7699"/>
                    <a:pt x="19171" y="6861"/>
                    <a:pt x="18751" y="5707"/>
                  </a:cubicBezTo>
                  <a:cubicBezTo>
                    <a:pt x="18384" y="4868"/>
                    <a:pt x="19171" y="4082"/>
                    <a:pt x="18751" y="3295"/>
                  </a:cubicBezTo>
                  <a:cubicBezTo>
                    <a:pt x="18751" y="2090"/>
                    <a:pt x="18384" y="464"/>
                    <a:pt x="17179" y="45"/>
                  </a:cubicBezTo>
                  <a:cubicBezTo>
                    <a:pt x="16340" y="-322"/>
                    <a:pt x="15973" y="1670"/>
                    <a:pt x="15186" y="2090"/>
                  </a:cubicBezTo>
                  <a:cubicBezTo>
                    <a:pt x="14347" y="2090"/>
                    <a:pt x="13561" y="2090"/>
                    <a:pt x="12775" y="1670"/>
                  </a:cubicBezTo>
                  <a:cubicBezTo>
                    <a:pt x="12355" y="1251"/>
                    <a:pt x="12355" y="45"/>
                    <a:pt x="11936" y="45"/>
                  </a:cubicBezTo>
                  <a:cubicBezTo>
                    <a:pt x="11149" y="45"/>
                    <a:pt x="10782" y="464"/>
                    <a:pt x="10363" y="884"/>
                  </a:cubicBezTo>
                  <a:cubicBezTo>
                    <a:pt x="9944" y="1670"/>
                    <a:pt x="8738" y="2457"/>
                    <a:pt x="8738" y="3295"/>
                  </a:cubicBezTo>
                  <a:cubicBezTo>
                    <a:pt x="8371" y="4082"/>
                    <a:pt x="9944" y="5707"/>
                    <a:pt x="9157" y="6494"/>
                  </a:cubicBezTo>
                  <a:cubicBezTo>
                    <a:pt x="8738" y="6861"/>
                    <a:pt x="7951" y="6074"/>
                    <a:pt x="7165" y="5288"/>
                  </a:cubicBezTo>
                  <a:cubicBezTo>
                    <a:pt x="5959" y="4501"/>
                    <a:pt x="5959" y="2090"/>
                    <a:pt x="4334" y="2090"/>
                  </a:cubicBezTo>
                  <a:cubicBezTo>
                    <a:pt x="2761" y="1670"/>
                    <a:pt x="1136" y="2876"/>
                    <a:pt x="349" y="4501"/>
                  </a:cubicBezTo>
                  <a:cubicBezTo>
                    <a:pt x="-437" y="5707"/>
                    <a:pt x="349" y="7699"/>
                    <a:pt x="349" y="9272"/>
                  </a:cubicBezTo>
                  <a:cubicBezTo>
                    <a:pt x="1136" y="10111"/>
                    <a:pt x="1555" y="10897"/>
                    <a:pt x="1975" y="11684"/>
                  </a:cubicBezTo>
                  <a:cubicBezTo>
                    <a:pt x="1975" y="12470"/>
                    <a:pt x="1136" y="13309"/>
                    <a:pt x="1555" y="14095"/>
                  </a:cubicBezTo>
                  <a:cubicBezTo>
                    <a:pt x="1555" y="15668"/>
                    <a:pt x="2342" y="17713"/>
                    <a:pt x="2761" y="1970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6" name="Shape 2390">
              <a:extLst>
                <a:ext uri="{FF2B5EF4-FFF2-40B4-BE49-F238E27FC236}">
                  <a16:creationId xmlns:a16="http://schemas.microsoft.com/office/drawing/2014/main" id="{612C5C78-36D2-B5B1-161E-95BC98BFDE0F}"/>
                </a:ext>
              </a:extLst>
            </p:cNvPr>
            <p:cNvSpPr/>
            <p:nvPr/>
          </p:nvSpPr>
          <p:spPr>
            <a:xfrm>
              <a:off x="3268755" y="5436456"/>
              <a:ext cx="231554" cy="209188"/>
            </a:xfrm>
            <a:custGeom>
              <a:avLst/>
              <a:gdLst/>
              <a:ahLst/>
              <a:cxnLst>
                <a:cxn ang="0">
                  <a:pos x="wd2" y="hd2"/>
                </a:cxn>
                <a:cxn ang="5400000">
                  <a:pos x="wd2" y="hd2"/>
                </a:cxn>
                <a:cxn ang="10800000">
                  <a:pos x="wd2" y="hd2"/>
                </a:cxn>
                <a:cxn ang="16200000">
                  <a:pos x="wd2" y="hd2"/>
                </a:cxn>
              </a:cxnLst>
              <a:rect l="0" t="0" r="r" b="b"/>
              <a:pathLst>
                <a:path w="21600" h="21439" extrusionOk="0">
                  <a:moveTo>
                    <a:pt x="0" y="12502"/>
                  </a:moveTo>
                  <a:cubicBezTo>
                    <a:pt x="502" y="13296"/>
                    <a:pt x="722" y="14331"/>
                    <a:pt x="1444" y="15401"/>
                  </a:cubicBezTo>
                  <a:cubicBezTo>
                    <a:pt x="1915" y="16160"/>
                    <a:pt x="2888" y="16712"/>
                    <a:pt x="3610" y="17505"/>
                  </a:cubicBezTo>
                  <a:cubicBezTo>
                    <a:pt x="4081" y="18299"/>
                    <a:pt x="4333" y="19093"/>
                    <a:pt x="4803" y="19886"/>
                  </a:cubicBezTo>
                  <a:cubicBezTo>
                    <a:pt x="5274" y="19886"/>
                    <a:pt x="5526" y="20128"/>
                    <a:pt x="5997" y="20404"/>
                  </a:cubicBezTo>
                  <a:lnTo>
                    <a:pt x="6719" y="19886"/>
                  </a:lnTo>
                  <a:cubicBezTo>
                    <a:pt x="6719" y="20128"/>
                    <a:pt x="8163" y="21439"/>
                    <a:pt x="8163" y="21439"/>
                  </a:cubicBezTo>
                  <a:cubicBezTo>
                    <a:pt x="8634" y="21439"/>
                    <a:pt x="8885" y="21439"/>
                    <a:pt x="9356" y="21439"/>
                  </a:cubicBezTo>
                  <a:cubicBezTo>
                    <a:pt x="9607" y="21197"/>
                    <a:pt x="9607" y="20404"/>
                    <a:pt x="9827" y="20404"/>
                  </a:cubicBezTo>
                  <a:cubicBezTo>
                    <a:pt x="10800" y="19886"/>
                    <a:pt x="11993" y="20404"/>
                    <a:pt x="12715" y="19886"/>
                  </a:cubicBezTo>
                  <a:cubicBezTo>
                    <a:pt x="13437" y="19610"/>
                    <a:pt x="13657" y="18541"/>
                    <a:pt x="14379" y="18023"/>
                  </a:cubicBezTo>
                  <a:cubicBezTo>
                    <a:pt x="14379" y="17747"/>
                    <a:pt x="14881" y="17747"/>
                    <a:pt x="14881" y="18023"/>
                  </a:cubicBezTo>
                  <a:cubicBezTo>
                    <a:pt x="15603" y="18023"/>
                    <a:pt x="16074" y="18817"/>
                    <a:pt x="16797" y="18541"/>
                  </a:cubicBezTo>
                  <a:cubicBezTo>
                    <a:pt x="17738" y="18541"/>
                    <a:pt x="18712" y="18023"/>
                    <a:pt x="19434" y="17229"/>
                  </a:cubicBezTo>
                  <a:cubicBezTo>
                    <a:pt x="20156" y="16436"/>
                    <a:pt x="20376" y="15125"/>
                    <a:pt x="20878" y="14055"/>
                  </a:cubicBezTo>
                  <a:cubicBezTo>
                    <a:pt x="20156" y="13296"/>
                    <a:pt x="19685" y="12502"/>
                    <a:pt x="19183" y="11433"/>
                  </a:cubicBezTo>
                  <a:cubicBezTo>
                    <a:pt x="18963" y="11157"/>
                    <a:pt x="18963" y="10639"/>
                    <a:pt x="18963" y="10397"/>
                  </a:cubicBezTo>
                  <a:cubicBezTo>
                    <a:pt x="19183" y="9604"/>
                    <a:pt x="20156" y="9328"/>
                    <a:pt x="20376" y="8534"/>
                  </a:cubicBezTo>
                  <a:cubicBezTo>
                    <a:pt x="20376" y="8017"/>
                    <a:pt x="19685" y="8017"/>
                    <a:pt x="19685" y="7465"/>
                  </a:cubicBezTo>
                  <a:cubicBezTo>
                    <a:pt x="19434" y="7223"/>
                    <a:pt x="20156" y="7223"/>
                    <a:pt x="20156" y="6671"/>
                  </a:cubicBezTo>
                  <a:cubicBezTo>
                    <a:pt x="20156" y="6429"/>
                    <a:pt x="19434" y="5912"/>
                    <a:pt x="19685" y="5636"/>
                  </a:cubicBezTo>
                  <a:cubicBezTo>
                    <a:pt x="20156" y="5118"/>
                    <a:pt x="20878" y="5118"/>
                    <a:pt x="21600" y="4842"/>
                  </a:cubicBezTo>
                  <a:cubicBezTo>
                    <a:pt x="20627" y="4325"/>
                    <a:pt x="19434" y="4325"/>
                    <a:pt x="18460" y="3255"/>
                  </a:cubicBezTo>
                  <a:cubicBezTo>
                    <a:pt x="17990" y="2737"/>
                    <a:pt x="18460" y="1702"/>
                    <a:pt x="18241" y="1150"/>
                  </a:cubicBezTo>
                  <a:cubicBezTo>
                    <a:pt x="17990" y="909"/>
                    <a:pt x="17519" y="1150"/>
                    <a:pt x="17048" y="1150"/>
                  </a:cubicBezTo>
                  <a:cubicBezTo>
                    <a:pt x="16797" y="909"/>
                    <a:pt x="16326" y="633"/>
                    <a:pt x="16074" y="357"/>
                  </a:cubicBezTo>
                  <a:cubicBezTo>
                    <a:pt x="15352" y="115"/>
                    <a:pt x="14630" y="-161"/>
                    <a:pt x="14159" y="115"/>
                  </a:cubicBezTo>
                  <a:cubicBezTo>
                    <a:pt x="13657" y="357"/>
                    <a:pt x="13908" y="1150"/>
                    <a:pt x="13657" y="1702"/>
                  </a:cubicBezTo>
                  <a:cubicBezTo>
                    <a:pt x="13186" y="2220"/>
                    <a:pt x="12464" y="2461"/>
                    <a:pt x="11993" y="2737"/>
                  </a:cubicBezTo>
                  <a:cubicBezTo>
                    <a:pt x="12464" y="3255"/>
                    <a:pt x="13186" y="3531"/>
                    <a:pt x="13437" y="4325"/>
                  </a:cubicBezTo>
                  <a:cubicBezTo>
                    <a:pt x="13657" y="5118"/>
                    <a:pt x="13908" y="6153"/>
                    <a:pt x="13657" y="6947"/>
                  </a:cubicBezTo>
                  <a:cubicBezTo>
                    <a:pt x="13437" y="7465"/>
                    <a:pt x="12715" y="6153"/>
                    <a:pt x="12244" y="6153"/>
                  </a:cubicBezTo>
                  <a:cubicBezTo>
                    <a:pt x="11051" y="6429"/>
                    <a:pt x="9827" y="7465"/>
                    <a:pt x="8634" y="8258"/>
                  </a:cubicBezTo>
                  <a:cubicBezTo>
                    <a:pt x="8634" y="8258"/>
                    <a:pt x="5526" y="10121"/>
                    <a:pt x="5274" y="10397"/>
                  </a:cubicBezTo>
                  <a:cubicBezTo>
                    <a:pt x="5023" y="10397"/>
                    <a:pt x="3610" y="10397"/>
                    <a:pt x="3610" y="10397"/>
                  </a:cubicBezTo>
                  <a:cubicBezTo>
                    <a:pt x="3359" y="10639"/>
                    <a:pt x="3108" y="11433"/>
                    <a:pt x="2888" y="11433"/>
                  </a:cubicBezTo>
                  <a:cubicBezTo>
                    <a:pt x="1915" y="11950"/>
                    <a:pt x="973" y="12226"/>
                    <a:pt x="0" y="1250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7" name="Shape 2391">
              <a:extLst>
                <a:ext uri="{FF2B5EF4-FFF2-40B4-BE49-F238E27FC236}">
                  <a16:creationId xmlns:a16="http://schemas.microsoft.com/office/drawing/2014/main" id="{08282CD9-844B-9246-FBCE-01EC49FB1E9F}"/>
                </a:ext>
              </a:extLst>
            </p:cNvPr>
            <p:cNvSpPr/>
            <p:nvPr/>
          </p:nvSpPr>
          <p:spPr>
            <a:xfrm>
              <a:off x="3186288" y="5378398"/>
              <a:ext cx="230692" cy="181024"/>
            </a:xfrm>
            <a:custGeom>
              <a:avLst/>
              <a:gdLst/>
              <a:ahLst/>
              <a:cxnLst>
                <a:cxn ang="0">
                  <a:pos x="wd2" y="hd2"/>
                </a:cxn>
                <a:cxn ang="5400000">
                  <a:pos x="wd2" y="hd2"/>
                </a:cxn>
                <a:cxn ang="10800000">
                  <a:pos x="wd2" y="hd2"/>
                </a:cxn>
                <a:cxn ang="16200000">
                  <a:pos x="wd2" y="hd2"/>
                </a:cxn>
              </a:cxnLst>
              <a:rect l="0" t="0" r="r" b="b"/>
              <a:pathLst>
                <a:path w="21247" h="21600" extrusionOk="0">
                  <a:moveTo>
                    <a:pt x="7624" y="21600"/>
                  </a:moveTo>
                  <a:cubicBezTo>
                    <a:pt x="7158" y="20671"/>
                    <a:pt x="6443" y="20025"/>
                    <a:pt x="6194" y="19137"/>
                  </a:cubicBezTo>
                  <a:cubicBezTo>
                    <a:pt x="5977" y="18491"/>
                    <a:pt x="6443" y="17886"/>
                    <a:pt x="6194" y="17280"/>
                  </a:cubicBezTo>
                  <a:cubicBezTo>
                    <a:pt x="6194" y="16351"/>
                    <a:pt x="5977" y="15100"/>
                    <a:pt x="5262" y="14777"/>
                  </a:cubicBezTo>
                  <a:cubicBezTo>
                    <a:pt x="4765" y="14494"/>
                    <a:pt x="4547" y="16028"/>
                    <a:pt x="4081" y="16351"/>
                  </a:cubicBezTo>
                  <a:cubicBezTo>
                    <a:pt x="3584" y="16351"/>
                    <a:pt x="3117" y="16351"/>
                    <a:pt x="2651" y="16028"/>
                  </a:cubicBezTo>
                  <a:cubicBezTo>
                    <a:pt x="2403" y="15705"/>
                    <a:pt x="2403" y="14777"/>
                    <a:pt x="2154" y="14777"/>
                  </a:cubicBezTo>
                  <a:cubicBezTo>
                    <a:pt x="1688" y="14777"/>
                    <a:pt x="1470" y="15100"/>
                    <a:pt x="1222" y="15423"/>
                  </a:cubicBezTo>
                  <a:cubicBezTo>
                    <a:pt x="755" y="13889"/>
                    <a:pt x="-208" y="12314"/>
                    <a:pt x="41" y="10497"/>
                  </a:cubicBezTo>
                  <a:cubicBezTo>
                    <a:pt x="41" y="9246"/>
                    <a:pt x="1688" y="8963"/>
                    <a:pt x="2154" y="7711"/>
                  </a:cubicBezTo>
                  <a:cubicBezTo>
                    <a:pt x="2403" y="6783"/>
                    <a:pt x="1936" y="5249"/>
                    <a:pt x="2154" y="4320"/>
                  </a:cubicBezTo>
                  <a:cubicBezTo>
                    <a:pt x="2154" y="3674"/>
                    <a:pt x="2154" y="2786"/>
                    <a:pt x="2403" y="2463"/>
                  </a:cubicBezTo>
                  <a:cubicBezTo>
                    <a:pt x="3366" y="1534"/>
                    <a:pt x="4547" y="929"/>
                    <a:pt x="5479" y="0"/>
                  </a:cubicBezTo>
                  <a:cubicBezTo>
                    <a:pt x="6194" y="929"/>
                    <a:pt x="7406" y="1534"/>
                    <a:pt x="8121" y="2140"/>
                  </a:cubicBezTo>
                  <a:cubicBezTo>
                    <a:pt x="8587" y="2786"/>
                    <a:pt x="8805" y="3997"/>
                    <a:pt x="9520" y="4320"/>
                  </a:cubicBezTo>
                  <a:cubicBezTo>
                    <a:pt x="10235" y="4603"/>
                    <a:pt x="11198" y="4320"/>
                    <a:pt x="12130" y="4603"/>
                  </a:cubicBezTo>
                  <a:cubicBezTo>
                    <a:pt x="12845" y="4603"/>
                    <a:pt x="13809" y="4320"/>
                    <a:pt x="14524" y="4926"/>
                  </a:cubicBezTo>
                  <a:cubicBezTo>
                    <a:pt x="14990" y="5531"/>
                    <a:pt x="14524" y="7388"/>
                    <a:pt x="14990" y="7711"/>
                  </a:cubicBezTo>
                  <a:cubicBezTo>
                    <a:pt x="15953" y="8034"/>
                    <a:pt x="16419" y="6460"/>
                    <a:pt x="17352" y="6460"/>
                  </a:cubicBezTo>
                  <a:cubicBezTo>
                    <a:pt x="17600" y="6460"/>
                    <a:pt x="17849" y="7388"/>
                    <a:pt x="18067" y="7711"/>
                  </a:cubicBezTo>
                  <a:cubicBezTo>
                    <a:pt x="18315" y="8317"/>
                    <a:pt x="17849" y="8963"/>
                    <a:pt x="18067" y="9246"/>
                  </a:cubicBezTo>
                  <a:cubicBezTo>
                    <a:pt x="18315" y="9851"/>
                    <a:pt x="19030" y="9851"/>
                    <a:pt x="19496" y="10174"/>
                  </a:cubicBezTo>
                  <a:cubicBezTo>
                    <a:pt x="19962" y="10780"/>
                    <a:pt x="20677" y="11103"/>
                    <a:pt x="20926" y="12031"/>
                  </a:cubicBezTo>
                  <a:cubicBezTo>
                    <a:pt x="21143" y="12960"/>
                    <a:pt x="21392" y="14171"/>
                    <a:pt x="21143" y="15100"/>
                  </a:cubicBezTo>
                  <a:cubicBezTo>
                    <a:pt x="20926" y="15705"/>
                    <a:pt x="20211" y="14171"/>
                    <a:pt x="19745" y="14171"/>
                  </a:cubicBezTo>
                  <a:cubicBezTo>
                    <a:pt x="18564" y="14494"/>
                    <a:pt x="17352" y="15705"/>
                    <a:pt x="16171" y="16634"/>
                  </a:cubicBezTo>
                  <a:cubicBezTo>
                    <a:pt x="16171" y="16634"/>
                    <a:pt x="13094" y="18814"/>
                    <a:pt x="12845" y="19137"/>
                  </a:cubicBezTo>
                  <a:cubicBezTo>
                    <a:pt x="12597" y="19137"/>
                    <a:pt x="11198" y="19137"/>
                    <a:pt x="11198" y="19137"/>
                  </a:cubicBezTo>
                  <a:cubicBezTo>
                    <a:pt x="10949" y="19420"/>
                    <a:pt x="10701" y="20348"/>
                    <a:pt x="10483" y="20348"/>
                  </a:cubicBezTo>
                  <a:cubicBezTo>
                    <a:pt x="9520" y="20954"/>
                    <a:pt x="8587" y="21277"/>
                    <a:pt x="7624"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8" name="Shape 2392">
              <a:extLst>
                <a:ext uri="{FF2B5EF4-FFF2-40B4-BE49-F238E27FC236}">
                  <a16:creationId xmlns:a16="http://schemas.microsoft.com/office/drawing/2014/main" id="{BF9B6877-96B9-BB75-A9F7-5107DC9C3AC4}"/>
                </a:ext>
              </a:extLst>
            </p:cNvPr>
            <p:cNvSpPr/>
            <p:nvPr/>
          </p:nvSpPr>
          <p:spPr>
            <a:xfrm>
              <a:off x="3472402" y="5452726"/>
              <a:ext cx="221975" cy="146834"/>
            </a:xfrm>
            <a:custGeom>
              <a:avLst/>
              <a:gdLst/>
              <a:ahLst/>
              <a:cxnLst>
                <a:cxn ang="0">
                  <a:pos x="wd2" y="hd2"/>
                </a:cxn>
                <a:cxn ang="5400000">
                  <a:pos x="wd2" y="hd2"/>
                </a:cxn>
                <a:cxn ang="10800000">
                  <a:pos x="wd2" y="hd2"/>
                </a:cxn>
                <a:cxn ang="16200000">
                  <a:pos x="wd2" y="hd2"/>
                </a:cxn>
              </a:cxnLst>
              <a:rect l="0" t="0" r="r" b="b"/>
              <a:pathLst>
                <a:path w="21393" h="21600" extrusionOk="0">
                  <a:moveTo>
                    <a:pt x="1984" y="17777"/>
                  </a:moveTo>
                  <a:cubicBezTo>
                    <a:pt x="1236" y="16684"/>
                    <a:pt x="748" y="15542"/>
                    <a:pt x="228" y="14003"/>
                  </a:cubicBezTo>
                  <a:cubicBezTo>
                    <a:pt x="0" y="13606"/>
                    <a:pt x="0" y="12861"/>
                    <a:pt x="0" y="12513"/>
                  </a:cubicBezTo>
                  <a:cubicBezTo>
                    <a:pt x="228" y="11371"/>
                    <a:pt x="1236" y="10974"/>
                    <a:pt x="1464" y="9832"/>
                  </a:cubicBezTo>
                  <a:cubicBezTo>
                    <a:pt x="1464" y="9087"/>
                    <a:pt x="748" y="9087"/>
                    <a:pt x="748" y="8292"/>
                  </a:cubicBezTo>
                  <a:cubicBezTo>
                    <a:pt x="488" y="7945"/>
                    <a:pt x="1236" y="7945"/>
                    <a:pt x="1236" y="7150"/>
                  </a:cubicBezTo>
                  <a:cubicBezTo>
                    <a:pt x="1236" y="6803"/>
                    <a:pt x="488" y="6058"/>
                    <a:pt x="748" y="5661"/>
                  </a:cubicBezTo>
                  <a:cubicBezTo>
                    <a:pt x="1236" y="4916"/>
                    <a:pt x="1984" y="4916"/>
                    <a:pt x="2733" y="4519"/>
                  </a:cubicBezTo>
                  <a:cubicBezTo>
                    <a:pt x="2960" y="4916"/>
                    <a:pt x="2960" y="5661"/>
                    <a:pt x="3220" y="5661"/>
                  </a:cubicBezTo>
                  <a:cubicBezTo>
                    <a:pt x="3969" y="4916"/>
                    <a:pt x="3969" y="4121"/>
                    <a:pt x="4457" y="3377"/>
                  </a:cubicBezTo>
                  <a:cubicBezTo>
                    <a:pt x="4717" y="2632"/>
                    <a:pt x="4945" y="1887"/>
                    <a:pt x="5465" y="1490"/>
                  </a:cubicBezTo>
                  <a:cubicBezTo>
                    <a:pt x="5953" y="1490"/>
                    <a:pt x="6213" y="2632"/>
                    <a:pt x="6701" y="2632"/>
                  </a:cubicBezTo>
                  <a:cubicBezTo>
                    <a:pt x="7449" y="2632"/>
                    <a:pt x="8425" y="1887"/>
                    <a:pt x="9173" y="1887"/>
                  </a:cubicBezTo>
                  <a:cubicBezTo>
                    <a:pt x="9922" y="1887"/>
                    <a:pt x="10670" y="2632"/>
                    <a:pt x="11418" y="2632"/>
                  </a:cubicBezTo>
                  <a:cubicBezTo>
                    <a:pt x="12394" y="2234"/>
                    <a:pt x="13142" y="1490"/>
                    <a:pt x="14151" y="1092"/>
                  </a:cubicBezTo>
                  <a:cubicBezTo>
                    <a:pt x="14639" y="745"/>
                    <a:pt x="15127" y="348"/>
                    <a:pt x="15647" y="0"/>
                  </a:cubicBezTo>
                  <a:cubicBezTo>
                    <a:pt x="16623" y="1092"/>
                    <a:pt x="17371" y="3029"/>
                    <a:pt x="18380" y="3774"/>
                  </a:cubicBezTo>
                  <a:cubicBezTo>
                    <a:pt x="18867" y="4121"/>
                    <a:pt x="19616" y="3377"/>
                    <a:pt x="20364" y="3774"/>
                  </a:cubicBezTo>
                  <a:cubicBezTo>
                    <a:pt x="20852" y="4121"/>
                    <a:pt x="21600" y="4916"/>
                    <a:pt x="21340" y="5661"/>
                  </a:cubicBezTo>
                  <a:cubicBezTo>
                    <a:pt x="20852" y="6803"/>
                    <a:pt x="19355" y="5263"/>
                    <a:pt x="18867" y="6406"/>
                  </a:cubicBezTo>
                  <a:cubicBezTo>
                    <a:pt x="18119" y="7548"/>
                    <a:pt x="18640" y="9832"/>
                    <a:pt x="18640" y="11371"/>
                  </a:cubicBezTo>
                  <a:cubicBezTo>
                    <a:pt x="18867" y="12861"/>
                    <a:pt x="19355" y="14003"/>
                    <a:pt x="19876" y="15542"/>
                  </a:cubicBezTo>
                  <a:cubicBezTo>
                    <a:pt x="19355" y="15890"/>
                    <a:pt x="18867" y="16287"/>
                    <a:pt x="18380" y="17032"/>
                  </a:cubicBezTo>
                  <a:cubicBezTo>
                    <a:pt x="18119" y="17777"/>
                    <a:pt x="18380" y="18571"/>
                    <a:pt x="18119" y="18919"/>
                  </a:cubicBezTo>
                  <a:cubicBezTo>
                    <a:pt x="17631" y="20061"/>
                    <a:pt x="17143" y="21203"/>
                    <a:pt x="16395" y="21600"/>
                  </a:cubicBezTo>
                  <a:cubicBezTo>
                    <a:pt x="15387" y="21600"/>
                    <a:pt x="14639" y="20806"/>
                    <a:pt x="13663" y="20458"/>
                  </a:cubicBezTo>
                  <a:cubicBezTo>
                    <a:pt x="13402" y="19713"/>
                    <a:pt x="13402" y="18571"/>
                    <a:pt x="12914" y="17777"/>
                  </a:cubicBezTo>
                  <a:cubicBezTo>
                    <a:pt x="12394" y="17429"/>
                    <a:pt x="11906" y="18174"/>
                    <a:pt x="11418" y="18174"/>
                  </a:cubicBezTo>
                  <a:cubicBezTo>
                    <a:pt x="10410" y="17777"/>
                    <a:pt x="9694" y="16684"/>
                    <a:pt x="8686" y="17032"/>
                  </a:cubicBezTo>
                  <a:cubicBezTo>
                    <a:pt x="7937" y="17032"/>
                    <a:pt x="7449" y="18571"/>
                    <a:pt x="6701" y="18919"/>
                  </a:cubicBezTo>
                  <a:cubicBezTo>
                    <a:pt x="6213" y="19316"/>
                    <a:pt x="5465" y="19316"/>
                    <a:pt x="4717" y="18919"/>
                  </a:cubicBezTo>
                  <a:cubicBezTo>
                    <a:pt x="4196" y="18919"/>
                    <a:pt x="3708" y="17777"/>
                    <a:pt x="3220" y="17777"/>
                  </a:cubicBezTo>
                  <a:cubicBezTo>
                    <a:pt x="2733" y="17429"/>
                    <a:pt x="2212" y="17777"/>
                    <a:pt x="1984" y="1777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99" name="Shape 2393">
              <a:extLst>
                <a:ext uri="{FF2B5EF4-FFF2-40B4-BE49-F238E27FC236}">
                  <a16:creationId xmlns:a16="http://schemas.microsoft.com/office/drawing/2014/main" id="{ECDCACB9-CA06-086C-571C-AAB591F0E9C6}"/>
                </a:ext>
              </a:extLst>
            </p:cNvPr>
            <p:cNvSpPr/>
            <p:nvPr/>
          </p:nvSpPr>
          <p:spPr>
            <a:xfrm>
              <a:off x="3246458" y="5257063"/>
              <a:ext cx="216689" cy="205731"/>
            </a:xfrm>
            <a:custGeom>
              <a:avLst/>
              <a:gdLst/>
              <a:ahLst/>
              <a:cxnLst>
                <a:cxn ang="0">
                  <a:pos x="wd2" y="hd2"/>
                </a:cxn>
                <a:cxn ang="5400000">
                  <a:pos x="wd2" y="hd2"/>
                </a:cxn>
                <a:cxn ang="10800000">
                  <a:pos x="wd2" y="hd2"/>
                </a:cxn>
                <a:cxn ang="16200000">
                  <a:pos x="wd2" y="hd2"/>
                </a:cxn>
              </a:cxnLst>
              <a:rect l="0" t="0" r="r" b="b"/>
              <a:pathLst>
                <a:path w="21600" h="21235" extrusionOk="0">
                  <a:moveTo>
                    <a:pt x="0" y="12441"/>
                  </a:moveTo>
                  <a:cubicBezTo>
                    <a:pt x="774" y="13244"/>
                    <a:pt x="2086" y="13767"/>
                    <a:pt x="2860" y="14291"/>
                  </a:cubicBezTo>
                  <a:cubicBezTo>
                    <a:pt x="3364" y="14849"/>
                    <a:pt x="3600" y="15896"/>
                    <a:pt x="4374" y="16175"/>
                  </a:cubicBezTo>
                  <a:cubicBezTo>
                    <a:pt x="5148" y="16419"/>
                    <a:pt x="6191" y="16175"/>
                    <a:pt x="7200" y="16419"/>
                  </a:cubicBezTo>
                  <a:cubicBezTo>
                    <a:pt x="7974" y="16419"/>
                    <a:pt x="9017" y="16175"/>
                    <a:pt x="9791" y="16699"/>
                  </a:cubicBezTo>
                  <a:cubicBezTo>
                    <a:pt x="10295" y="17222"/>
                    <a:pt x="9791" y="18827"/>
                    <a:pt x="10295" y="19106"/>
                  </a:cubicBezTo>
                  <a:cubicBezTo>
                    <a:pt x="11338" y="19386"/>
                    <a:pt x="11843" y="18025"/>
                    <a:pt x="12852" y="18025"/>
                  </a:cubicBezTo>
                  <a:cubicBezTo>
                    <a:pt x="13121" y="18025"/>
                    <a:pt x="13391" y="18827"/>
                    <a:pt x="13626" y="19106"/>
                  </a:cubicBezTo>
                  <a:cubicBezTo>
                    <a:pt x="13895" y="19630"/>
                    <a:pt x="13391" y="20188"/>
                    <a:pt x="13626" y="20432"/>
                  </a:cubicBezTo>
                  <a:cubicBezTo>
                    <a:pt x="13895" y="20956"/>
                    <a:pt x="14669" y="20956"/>
                    <a:pt x="15174" y="21235"/>
                  </a:cubicBezTo>
                  <a:cubicBezTo>
                    <a:pt x="15679" y="20956"/>
                    <a:pt x="16452" y="20712"/>
                    <a:pt x="16957" y="20188"/>
                  </a:cubicBezTo>
                  <a:cubicBezTo>
                    <a:pt x="17226" y="19630"/>
                    <a:pt x="16957" y="18827"/>
                    <a:pt x="17495" y="18583"/>
                  </a:cubicBezTo>
                  <a:cubicBezTo>
                    <a:pt x="18000" y="18304"/>
                    <a:pt x="18774" y="18583"/>
                    <a:pt x="19548" y="18827"/>
                  </a:cubicBezTo>
                  <a:cubicBezTo>
                    <a:pt x="20321" y="18025"/>
                    <a:pt x="21600" y="17780"/>
                    <a:pt x="21600" y="16699"/>
                  </a:cubicBezTo>
                  <a:cubicBezTo>
                    <a:pt x="21600" y="16175"/>
                    <a:pt x="20321" y="16419"/>
                    <a:pt x="19817" y="16419"/>
                  </a:cubicBezTo>
                  <a:cubicBezTo>
                    <a:pt x="19279" y="16419"/>
                    <a:pt x="18505" y="16419"/>
                    <a:pt x="18269" y="16175"/>
                  </a:cubicBezTo>
                  <a:cubicBezTo>
                    <a:pt x="17731" y="15617"/>
                    <a:pt x="18000" y="15093"/>
                    <a:pt x="18269" y="14291"/>
                  </a:cubicBezTo>
                  <a:cubicBezTo>
                    <a:pt x="18269" y="13488"/>
                    <a:pt x="18505" y="12721"/>
                    <a:pt x="18505" y="11918"/>
                  </a:cubicBezTo>
                  <a:cubicBezTo>
                    <a:pt x="18505" y="11360"/>
                    <a:pt x="19043" y="10592"/>
                    <a:pt x="18774" y="9789"/>
                  </a:cubicBezTo>
                  <a:cubicBezTo>
                    <a:pt x="18774" y="9510"/>
                    <a:pt x="18269" y="9231"/>
                    <a:pt x="17731" y="8987"/>
                  </a:cubicBezTo>
                  <a:cubicBezTo>
                    <a:pt x="16957" y="8708"/>
                    <a:pt x="15679" y="8987"/>
                    <a:pt x="14905" y="8184"/>
                  </a:cubicBezTo>
                  <a:cubicBezTo>
                    <a:pt x="14400" y="7905"/>
                    <a:pt x="14400" y="7382"/>
                    <a:pt x="14164" y="6579"/>
                  </a:cubicBezTo>
                  <a:lnTo>
                    <a:pt x="14164" y="6056"/>
                  </a:lnTo>
                  <a:cubicBezTo>
                    <a:pt x="15174" y="6056"/>
                    <a:pt x="16217" y="7382"/>
                    <a:pt x="17226" y="7103"/>
                  </a:cubicBezTo>
                  <a:cubicBezTo>
                    <a:pt x="17731" y="6823"/>
                    <a:pt x="17226" y="5777"/>
                    <a:pt x="17226" y="4974"/>
                  </a:cubicBezTo>
                  <a:cubicBezTo>
                    <a:pt x="16957" y="4451"/>
                    <a:pt x="16721" y="4171"/>
                    <a:pt x="16217" y="3648"/>
                  </a:cubicBezTo>
                  <a:cubicBezTo>
                    <a:pt x="16217" y="3648"/>
                    <a:pt x="14400" y="3369"/>
                    <a:pt x="14164" y="3369"/>
                  </a:cubicBezTo>
                  <a:lnTo>
                    <a:pt x="12852" y="2322"/>
                  </a:lnTo>
                  <a:cubicBezTo>
                    <a:pt x="12348" y="2043"/>
                    <a:pt x="11843" y="2043"/>
                    <a:pt x="11338" y="2043"/>
                  </a:cubicBezTo>
                  <a:cubicBezTo>
                    <a:pt x="11069" y="2043"/>
                    <a:pt x="11338" y="2566"/>
                    <a:pt x="11338" y="2845"/>
                  </a:cubicBezTo>
                  <a:cubicBezTo>
                    <a:pt x="10800" y="2845"/>
                    <a:pt x="10564" y="2845"/>
                    <a:pt x="10295" y="2566"/>
                  </a:cubicBezTo>
                  <a:cubicBezTo>
                    <a:pt x="9791" y="1764"/>
                    <a:pt x="9791" y="438"/>
                    <a:pt x="9017" y="193"/>
                  </a:cubicBezTo>
                  <a:cubicBezTo>
                    <a:pt x="7705" y="-365"/>
                    <a:pt x="6426" y="438"/>
                    <a:pt x="5148" y="717"/>
                  </a:cubicBezTo>
                  <a:cubicBezTo>
                    <a:pt x="5148" y="717"/>
                    <a:pt x="4643" y="3124"/>
                    <a:pt x="4643" y="3369"/>
                  </a:cubicBezTo>
                  <a:lnTo>
                    <a:pt x="5652" y="4974"/>
                  </a:lnTo>
                  <a:cubicBezTo>
                    <a:pt x="5148" y="5253"/>
                    <a:pt x="4643" y="4974"/>
                    <a:pt x="4643" y="5497"/>
                  </a:cubicBezTo>
                  <a:cubicBezTo>
                    <a:pt x="4138" y="6300"/>
                    <a:pt x="4643" y="7626"/>
                    <a:pt x="4138" y="8429"/>
                  </a:cubicBezTo>
                  <a:cubicBezTo>
                    <a:pt x="3869" y="8987"/>
                    <a:pt x="3364" y="7905"/>
                    <a:pt x="2860" y="8184"/>
                  </a:cubicBezTo>
                  <a:cubicBezTo>
                    <a:pt x="2086" y="8429"/>
                    <a:pt x="1548" y="9510"/>
                    <a:pt x="774" y="10034"/>
                  </a:cubicBezTo>
                  <a:cubicBezTo>
                    <a:pt x="774" y="10592"/>
                    <a:pt x="1043" y="11115"/>
                    <a:pt x="774" y="11639"/>
                  </a:cubicBezTo>
                  <a:cubicBezTo>
                    <a:pt x="774" y="11918"/>
                    <a:pt x="269" y="12162"/>
                    <a:pt x="0" y="1244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0" name="Shape 2394">
              <a:extLst>
                <a:ext uri="{FF2B5EF4-FFF2-40B4-BE49-F238E27FC236}">
                  <a16:creationId xmlns:a16="http://schemas.microsoft.com/office/drawing/2014/main" id="{9FEE1A32-5606-E417-D919-0E7B9DAF9738}"/>
                </a:ext>
              </a:extLst>
            </p:cNvPr>
            <p:cNvSpPr/>
            <p:nvPr/>
          </p:nvSpPr>
          <p:spPr>
            <a:xfrm>
              <a:off x="3387672" y="5274237"/>
              <a:ext cx="259798" cy="216804"/>
            </a:xfrm>
            <a:custGeom>
              <a:avLst/>
              <a:gdLst/>
              <a:ahLst/>
              <a:cxnLst>
                <a:cxn ang="0">
                  <a:pos x="wd2" y="hd2"/>
                </a:cxn>
                <a:cxn ang="5400000">
                  <a:pos x="wd2" y="hd2"/>
                </a:cxn>
                <a:cxn ang="10800000">
                  <a:pos x="wd2" y="hd2"/>
                </a:cxn>
                <a:cxn ang="16200000">
                  <a:pos x="wd2" y="hd2"/>
                </a:cxn>
              </a:cxnLst>
              <a:rect l="0" t="0" r="r" b="b"/>
              <a:pathLst>
                <a:path w="21600" h="21463" extrusionOk="0">
                  <a:moveTo>
                    <a:pt x="2549" y="3158"/>
                  </a:moveTo>
                  <a:cubicBezTo>
                    <a:pt x="2549" y="3923"/>
                    <a:pt x="2970" y="4922"/>
                    <a:pt x="2549" y="5188"/>
                  </a:cubicBezTo>
                  <a:cubicBezTo>
                    <a:pt x="1709" y="5454"/>
                    <a:pt x="840" y="4190"/>
                    <a:pt x="0" y="4190"/>
                  </a:cubicBezTo>
                  <a:lnTo>
                    <a:pt x="0" y="4689"/>
                  </a:lnTo>
                  <a:cubicBezTo>
                    <a:pt x="196" y="5454"/>
                    <a:pt x="196" y="5954"/>
                    <a:pt x="616" y="6220"/>
                  </a:cubicBezTo>
                  <a:cubicBezTo>
                    <a:pt x="1261" y="6985"/>
                    <a:pt x="2325" y="6719"/>
                    <a:pt x="2970" y="6985"/>
                  </a:cubicBezTo>
                  <a:cubicBezTo>
                    <a:pt x="3418" y="7218"/>
                    <a:pt x="3838" y="7485"/>
                    <a:pt x="3838" y="7751"/>
                  </a:cubicBezTo>
                  <a:cubicBezTo>
                    <a:pt x="4062" y="8516"/>
                    <a:pt x="3614" y="9249"/>
                    <a:pt x="3614" y="9781"/>
                  </a:cubicBezTo>
                  <a:cubicBezTo>
                    <a:pt x="3614" y="10547"/>
                    <a:pt x="3418" y="11279"/>
                    <a:pt x="3418" y="12044"/>
                  </a:cubicBezTo>
                  <a:cubicBezTo>
                    <a:pt x="3194" y="12810"/>
                    <a:pt x="2970" y="13309"/>
                    <a:pt x="3418" y="13841"/>
                  </a:cubicBezTo>
                  <a:cubicBezTo>
                    <a:pt x="3614" y="14074"/>
                    <a:pt x="4258" y="14074"/>
                    <a:pt x="4707" y="14074"/>
                  </a:cubicBezTo>
                  <a:cubicBezTo>
                    <a:pt x="5127" y="14074"/>
                    <a:pt x="6191" y="13841"/>
                    <a:pt x="6191" y="14341"/>
                  </a:cubicBezTo>
                  <a:cubicBezTo>
                    <a:pt x="6191" y="15372"/>
                    <a:pt x="5127" y="15605"/>
                    <a:pt x="4482" y="16371"/>
                  </a:cubicBezTo>
                  <a:cubicBezTo>
                    <a:pt x="4707" y="16637"/>
                    <a:pt x="5127" y="16903"/>
                    <a:pt x="5351" y="17136"/>
                  </a:cubicBezTo>
                  <a:cubicBezTo>
                    <a:pt x="5771" y="17136"/>
                    <a:pt x="6191" y="16903"/>
                    <a:pt x="6416" y="17136"/>
                  </a:cubicBezTo>
                  <a:cubicBezTo>
                    <a:pt x="6612" y="17669"/>
                    <a:pt x="6191" y="18667"/>
                    <a:pt x="6612" y="19167"/>
                  </a:cubicBezTo>
                  <a:cubicBezTo>
                    <a:pt x="7480" y="20198"/>
                    <a:pt x="8545" y="20198"/>
                    <a:pt x="9413" y="20698"/>
                  </a:cubicBezTo>
                  <a:cubicBezTo>
                    <a:pt x="9609" y="20964"/>
                    <a:pt x="9609" y="21463"/>
                    <a:pt x="9833" y="21463"/>
                  </a:cubicBezTo>
                  <a:cubicBezTo>
                    <a:pt x="10478" y="20964"/>
                    <a:pt x="10478" y="20431"/>
                    <a:pt x="10898" y="19932"/>
                  </a:cubicBezTo>
                  <a:cubicBezTo>
                    <a:pt x="11122" y="19433"/>
                    <a:pt x="11318" y="18934"/>
                    <a:pt x="11767" y="18667"/>
                  </a:cubicBezTo>
                  <a:cubicBezTo>
                    <a:pt x="12187" y="18667"/>
                    <a:pt x="12411" y="19433"/>
                    <a:pt x="12831" y="19433"/>
                  </a:cubicBezTo>
                  <a:cubicBezTo>
                    <a:pt x="13475" y="19433"/>
                    <a:pt x="14316" y="18934"/>
                    <a:pt x="14960" y="18934"/>
                  </a:cubicBezTo>
                  <a:cubicBezTo>
                    <a:pt x="15605" y="18934"/>
                    <a:pt x="16249" y="19433"/>
                    <a:pt x="16893" y="19433"/>
                  </a:cubicBezTo>
                  <a:cubicBezTo>
                    <a:pt x="17734" y="19167"/>
                    <a:pt x="18378" y="18667"/>
                    <a:pt x="19247" y="18401"/>
                  </a:cubicBezTo>
                  <a:cubicBezTo>
                    <a:pt x="19667" y="18168"/>
                    <a:pt x="20087" y="17902"/>
                    <a:pt x="20535" y="17669"/>
                  </a:cubicBezTo>
                  <a:cubicBezTo>
                    <a:pt x="20956" y="16903"/>
                    <a:pt x="21600" y="16138"/>
                    <a:pt x="21600" y="15372"/>
                  </a:cubicBezTo>
                  <a:cubicBezTo>
                    <a:pt x="21600" y="15106"/>
                    <a:pt x="20732" y="15106"/>
                    <a:pt x="20535" y="14840"/>
                  </a:cubicBezTo>
                  <a:cubicBezTo>
                    <a:pt x="20311" y="13575"/>
                    <a:pt x="21180" y="12310"/>
                    <a:pt x="20732" y="11046"/>
                  </a:cubicBezTo>
                  <a:cubicBezTo>
                    <a:pt x="20535" y="9781"/>
                    <a:pt x="19023" y="9016"/>
                    <a:pt x="19023" y="7751"/>
                  </a:cubicBezTo>
                  <a:cubicBezTo>
                    <a:pt x="19023" y="6985"/>
                    <a:pt x="20311" y="7485"/>
                    <a:pt x="20535" y="6719"/>
                  </a:cubicBezTo>
                  <a:cubicBezTo>
                    <a:pt x="20956" y="5687"/>
                    <a:pt x="20311" y="4423"/>
                    <a:pt x="20311" y="3424"/>
                  </a:cubicBezTo>
                  <a:cubicBezTo>
                    <a:pt x="20535" y="2892"/>
                    <a:pt x="21180" y="2659"/>
                    <a:pt x="20956" y="2126"/>
                  </a:cubicBezTo>
                  <a:cubicBezTo>
                    <a:pt x="20732" y="1394"/>
                    <a:pt x="20311" y="628"/>
                    <a:pt x="19667" y="362"/>
                  </a:cubicBezTo>
                  <a:cubicBezTo>
                    <a:pt x="18826" y="96"/>
                    <a:pt x="17734" y="-137"/>
                    <a:pt x="16893" y="96"/>
                  </a:cubicBezTo>
                  <a:cubicBezTo>
                    <a:pt x="16249" y="362"/>
                    <a:pt x="16025" y="1128"/>
                    <a:pt x="15605" y="1627"/>
                  </a:cubicBezTo>
                  <a:cubicBezTo>
                    <a:pt x="15409" y="2126"/>
                    <a:pt x="15184" y="2892"/>
                    <a:pt x="14764" y="3158"/>
                  </a:cubicBezTo>
                  <a:cubicBezTo>
                    <a:pt x="14120" y="3424"/>
                    <a:pt x="13027" y="2892"/>
                    <a:pt x="12411" y="2892"/>
                  </a:cubicBezTo>
                  <a:cubicBezTo>
                    <a:pt x="11542" y="3158"/>
                    <a:pt x="10898" y="3657"/>
                    <a:pt x="10254" y="3657"/>
                  </a:cubicBezTo>
                  <a:cubicBezTo>
                    <a:pt x="9833" y="3657"/>
                    <a:pt x="9609" y="3158"/>
                    <a:pt x="9189" y="3158"/>
                  </a:cubicBezTo>
                  <a:cubicBezTo>
                    <a:pt x="8965" y="3158"/>
                    <a:pt x="8769" y="3657"/>
                    <a:pt x="8545" y="3657"/>
                  </a:cubicBezTo>
                  <a:cubicBezTo>
                    <a:pt x="7704" y="3923"/>
                    <a:pt x="7060" y="3657"/>
                    <a:pt x="6191" y="3424"/>
                  </a:cubicBezTo>
                  <a:cubicBezTo>
                    <a:pt x="5351" y="3158"/>
                    <a:pt x="4482" y="2392"/>
                    <a:pt x="3614" y="2392"/>
                  </a:cubicBezTo>
                  <a:cubicBezTo>
                    <a:pt x="3194" y="2392"/>
                    <a:pt x="2970" y="2892"/>
                    <a:pt x="2549" y="31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1" name="Shape 2395">
              <a:extLst>
                <a:ext uri="{FF2B5EF4-FFF2-40B4-BE49-F238E27FC236}">
                  <a16:creationId xmlns:a16="http://schemas.microsoft.com/office/drawing/2014/main" id="{78637D16-1715-844E-B544-FD12F7506415}"/>
                </a:ext>
              </a:extLst>
            </p:cNvPr>
            <p:cNvSpPr/>
            <p:nvPr/>
          </p:nvSpPr>
          <p:spPr>
            <a:xfrm>
              <a:off x="2712340" y="5018742"/>
              <a:ext cx="542687" cy="650686"/>
            </a:xfrm>
            <a:custGeom>
              <a:avLst/>
              <a:gdLst/>
              <a:ahLst/>
              <a:cxnLst>
                <a:cxn ang="0">
                  <a:pos x="wd2" y="hd2"/>
                </a:cxn>
                <a:cxn ang="5400000">
                  <a:pos x="wd2" y="hd2"/>
                </a:cxn>
                <a:cxn ang="10800000">
                  <a:pos x="wd2" y="hd2"/>
                </a:cxn>
                <a:cxn ang="16200000">
                  <a:pos x="wd2" y="hd2"/>
                </a:cxn>
              </a:cxnLst>
              <a:rect l="0" t="0" r="r" b="b"/>
              <a:pathLst>
                <a:path w="21154" h="21548" extrusionOk="0">
                  <a:moveTo>
                    <a:pt x="4125" y="1579"/>
                  </a:moveTo>
                  <a:cubicBezTo>
                    <a:pt x="4533" y="2686"/>
                    <a:pt x="5138" y="3971"/>
                    <a:pt x="3625" y="4474"/>
                  </a:cubicBezTo>
                  <a:cubicBezTo>
                    <a:pt x="3125" y="4652"/>
                    <a:pt x="2520" y="6273"/>
                    <a:pt x="2928" y="6440"/>
                  </a:cubicBezTo>
                  <a:cubicBezTo>
                    <a:pt x="4638" y="7211"/>
                    <a:pt x="1823" y="8832"/>
                    <a:pt x="718" y="8921"/>
                  </a:cubicBezTo>
                  <a:cubicBezTo>
                    <a:pt x="-387" y="8921"/>
                    <a:pt x="113" y="9513"/>
                    <a:pt x="113" y="10105"/>
                  </a:cubicBezTo>
                  <a:cubicBezTo>
                    <a:pt x="508" y="10105"/>
                    <a:pt x="810" y="10027"/>
                    <a:pt x="1218" y="10195"/>
                  </a:cubicBezTo>
                  <a:cubicBezTo>
                    <a:pt x="1415" y="10284"/>
                    <a:pt x="1415" y="10619"/>
                    <a:pt x="1520" y="10798"/>
                  </a:cubicBezTo>
                  <a:cubicBezTo>
                    <a:pt x="1626" y="11055"/>
                    <a:pt x="1626" y="11312"/>
                    <a:pt x="1718" y="11480"/>
                  </a:cubicBezTo>
                  <a:cubicBezTo>
                    <a:pt x="1718" y="11648"/>
                    <a:pt x="1915" y="11815"/>
                    <a:pt x="1823" y="11994"/>
                  </a:cubicBezTo>
                  <a:cubicBezTo>
                    <a:pt x="1823" y="12240"/>
                    <a:pt x="1520" y="12329"/>
                    <a:pt x="1415" y="12497"/>
                  </a:cubicBezTo>
                  <a:cubicBezTo>
                    <a:pt x="1218" y="12586"/>
                    <a:pt x="1218" y="12754"/>
                    <a:pt x="1021" y="12843"/>
                  </a:cubicBezTo>
                  <a:cubicBezTo>
                    <a:pt x="718" y="12921"/>
                    <a:pt x="310" y="12921"/>
                    <a:pt x="8" y="13011"/>
                  </a:cubicBezTo>
                  <a:lnTo>
                    <a:pt x="8" y="13100"/>
                  </a:lnTo>
                  <a:cubicBezTo>
                    <a:pt x="113" y="15313"/>
                    <a:pt x="3125" y="14296"/>
                    <a:pt x="4638" y="14296"/>
                  </a:cubicBezTo>
                  <a:cubicBezTo>
                    <a:pt x="4125" y="14296"/>
                    <a:pt x="3231" y="15145"/>
                    <a:pt x="2731" y="15570"/>
                  </a:cubicBezTo>
                  <a:cubicBezTo>
                    <a:pt x="2823" y="15749"/>
                    <a:pt x="2928" y="15994"/>
                    <a:pt x="2928" y="16251"/>
                  </a:cubicBezTo>
                  <a:cubicBezTo>
                    <a:pt x="2823" y="16687"/>
                    <a:pt x="2625" y="17201"/>
                    <a:pt x="2218" y="17536"/>
                  </a:cubicBezTo>
                  <a:cubicBezTo>
                    <a:pt x="2126" y="17626"/>
                    <a:pt x="1823" y="17447"/>
                    <a:pt x="1626" y="17536"/>
                  </a:cubicBezTo>
                  <a:cubicBezTo>
                    <a:pt x="1323" y="17793"/>
                    <a:pt x="915" y="18050"/>
                    <a:pt x="810" y="18475"/>
                  </a:cubicBezTo>
                  <a:cubicBezTo>
                    <a:pt x="810" y="18643"/>
                    <a:pt x="1323" y="18732"/>
                    <a:pt x="1218" y="18900"/>
                  </a:cubicBezTo>
                  <a:cubicBezTo>
                    <a:pt x="1218" y="19067"/>
                    <a:pt x="915" y="19157"/>
                    <a:pt x="810" y="19324"/>
                  </a:cubicBezTo>
                  <a:cubicBezTo>
                    <a:pt x="718" y="19503"/>
                    <a:pt x="613" y="19760"/>
                    <a:pt x="718" y="19928"/>
                  </a:cubicBezTo>
                  <a:cubicBezTo>
                    <a:pt x="1021" y="20274"/>
                    <a:pt x="1415" y="20442"/>
                    <a:pt x="1823" y="20609"/>
                  </a:cubicBezTo>
                  <a:cubicBezTo>
                    <a:pt x="2020" y="20699"/>
                    <a:pt x="2428" y="20777"/>
                    <a:pt x="2428" y="20609"/>
                  </a:cubicBezTo>
                  <a:cubicBezTo>
                    <a:pt x="2428" y="20274"/>
                    <a:pt x="1626" y="19760"/>
                    <a:pt x="2020" y="19503"/>
                  </a:cubicBezTo>
                  <a:cubicBezTo>
                    <a:pt x="2428" y="19324"/>
                    <a:pt x="2625" y="20095"/>
                    <a:pt x="3033" y="20274"/>
                  </a:cubicBezTo>
                  <a:cubicBezTo>
                    <a:pt x="3231" y="20352"/>
                    <a:pt x="3625" y="20274"/>
                    <a:pt x="3836" y="20442"/>
                  </a:cubicBezTo>
                  <a:cubicBezTo>
                    <a:pt x="4033" y="20609"/>
                    <a:pt x="3836" y="20866"/>
                    <a:pt x="3730" y="21034"/>
                  </a:cubicBezTo>
                  <a:cubicBezTo>
                    <a:pt x="5230" y="21548"/>
                    <a:pt x="5230" y="21548"/>
                    <a:pt x="5230" y="21548"/>
                  </a:cubicBezTo>
                  <a:cubicBezTo>
                    <a:pt x="5230" y="21380"/>
                    <a:pt x="5138" y="21123"/>
                    <a:pt x="5230" y="20866"/>
                  </a:cubicBezTo>
                  <a:cubicBezTo>
                    <a:pt x="5441" y="20699"/>
                    <a:pt x="5638" y="20442"/>
                    <a:pt x="5940" y="20352"/>
                  </a:cubicBezTo>
                  <a:cubicBezTo>
                    <a:pt x="6138" y="20352"/>
                    <a:pt x="6138" y="20777"/>
                    <a:pt x="6348" y="20866"/>
                  </a:cubicBezTo>
                  <a:cubicBezTo>
                    <a:pt x="6651" y="20866"/>
                    <a:pt x="6848" y="20699"/>
                    <a:pt x="7151" y="20609"/>
                  </a:cubicBezTo>
                  <a:cubicBezTo>
                    <a:pt x="7243" y="20274"/>
                    <a:pt x="7545" y="19928"/>
                    <a:pt x="7545" y="19503"/>
                  </a:cubicBezTo>
                  <a:cubicBezTo>
                    <a:pt x="7651" y="19324"/>
                    <a:pt x="7453" y="19067"/>
                    <a:pt x="7453" y="18900"/>
                  </a:cubicBezTo>
                  <a:lnTo>
                    <a:pt x="7743" y="18386"/>
                  </a:lnTo>
                  <a:lnTo>
                    <a:pt x="8848" y="18050"/>
                  </a:lnTo>
                  <a:cubicBezTo>
                    <a:pt x="8953" y="18218"/>
                    <a:pt x="9058" y="18386"/>
                    <a:pt x="9255" y="18643"/>
                  </a:cubicBezTo>
                  <a:cubicBezTo>
                    <a:pt x="9453" y="18386"/>
                    <a:pt x="9558" y="18050"/>
                    <a:pt x="9861" y="18050"/>
                  </a:cubicBezTo>
                  <a:cubicBezTo>
                    <a:pt x="10163" y="17961"/>
                    <a:pt x="10268" y="18475"/>
                    <a:pt x="10466" y="18475"/>
                  </a:cubicBezTo>
                  <a:cubicBezTo>
                    <a:pt x="10965" y="18307"/>
                    <a:pt x="11163" y="17883"/>
                    <a:pt x="11465" y="17626"/>
                  </a:cubicBezTo>
                  <a:cubicBezTo>
                    <a:pt x="11360" y="17201"/>
                    <a:pt x="11163" y="16855"/>
                    <a:pt x="11163" y="16430"/>
                  </a:cubicBezTo>
                  <a:cubicBezTo>
                    <a:pt x="11163" y="16084"/>
                    <a:pt x="11571" y="15827"/>
                    <a:pt x="11571" y="15570"/>
                  </a:cubicBezTo>
                  <a:cubicBezTo>
                    <a:pt x="11465" y="15234"/>
                    <a:pt x="10860" y="15145"/>
                    <a:pt x="10663" y="14810"/>
                  </a:cubicBezTo>
                  <a:cubicBezTo>
                    <a:pt x="10558" y="14631"/>
                    <a:pt x="10663" y="14296"/>
                    <a:pt x="10663" y="14039"/>
                  </a:cubicBezTo>
                  <a:cubicBezTo>
                    <a:pt x="10768" y="13949"/>
                    <a:pt x="10663" y="13692"/>
                    <a:pt x="10860" y="13614"/>
                  </a:cubicBezTo>
                  <a:cubicBezTo>
                    <a:pt x="11071" y="13435"/>
                    <a:pt x="11465" y="13614"/>
                    <a:pt x="11663" y="13525"/>
                  </a:cubicBezTo>
                  <a:cubicBezTo>
                    <a:pt x="11873" y="13435"/>
                    <a:pt x="11965" y="13178"/>
                    <a:pt x="12268" y="13178"/>
                  </a:cubicBezTo>
                  <a:cubicBezTo>
                    <a:pt x="12465" y="13178"/>
                    <a:pt x="12676" y="13357"/>
                    <a:pt x="12873" y="13525"/>
                  </a:cubicBezTo>
                  <a:lnTo>
                    <a:pt x="13070" y="14553"/>
                  </a:lnTo>
                  <a:cubicBezTo>
                    <a:pt x="13070" y="14631"/>
                    <a:pt x="13781" y="15749"/>
                    <a:pt x="13781" y="15749"/>
                  </a:cubicBezTo>
                  <a:cubicBezTo>
                    <a:pt x="13978" y="15749"/>
                    <a:pt x="14175" y="15749"/>
                    <a:pt x="14280" y="15916"/>
                  </a:cubicBezTo>
                  <a:cubicBezTo>
                    <a:pt x="14386" y="15994"/>
                    <a:pt x="14386" y="16251"/>
                    <a:pt x="14478" y="16430"/>
                  </a:cubicBezTo>
                  <a:cubicBezTo>
                    <a:pt x="14780" y="16598"/>
                    <a:pt x="15083" y="16765"/>
                    <a:pt x="15385" y="16765"/>
                  </a:cubicBezTo>
                  <a:cubicBezTo>
                    <a:pt x="15583" y="16855"/>
                    <a:pt x="15688" y="16430"/>
                    <a:pt x="15780" y="16598"/>
                  </a:cubicBezTo>
                  <a:cubicBezTo>
                    <a:pt x="15991" y="16855"/>
                    <a:pt x="15885" y="17369"/>
                    <a:pt x="16083" y="17704"/>
                  </a:cubicBezTo>
                  <a:cubicBezTo>
                    <a:pt x="16188" y="17883"/>
                    <a:pt x="16385" y="17883"/>
                    <a:pt x="16490" y="17961"/>
                  </a:cubicBezTo>
                  <a:cubicBezTo>
                    <a:pt x="16490" y="17626"/>
                    <a:pt x="16293" y="17201"/>
                    <a:pt x="16490" y="16944"/>
                  </a:cubicBezTo>
                  <a:cubicBezTo>
                    <a:pt x="16688" y="16598"/>
                    <a:pt x="17096" y="16341"/>
                    <a:pt x="17490" y="16430"/>
                  </a:cubicBezTo>
                  <a:cubicBezTo>
                    <a:pt x="17898" y="16430"/>
                    <a:pt x="17898" y="16944"/>
                    <a:pt x="18201" y="17112"/>
                  </a:cubicBezTo>
                  <a:cubicBezTo>
                    <a:pt x="18398" y="17279"/>
                    <a:pt x="18595" y="17447"/>
                    <a:pt x="18700" y="17369"/>
                  </a:cubicBezTo>
                  <a:cubicBezTo>
                    <a:pt x="18898" y="17201"/>
                    <a:pt x="18503" y="16855"/>
                    <a:pt x="18595" y="16687"/>
                  </a:cubicBezTo>
                  <a:cubicBezTo>
                    <a:pt x="18595" y="16508"/>
                    <a:pt x="18898" y="16341"/>
                    <a:pt x="19003" y="16173"/>
                  </a:cubicBezTo>
                  <a:cubicBezTo>
                    <a:pt x="18806" y="15749"/>
                    <a:pt x="18398" y="15313"/>
                    <a:pt x="18503" y="14810"/>
                  </a:cubicBezTo>
                  <a:cubicBezTo>
                    <a:pt x="18503" y="14463"/>
                    <a:pt x="19200" y="14385"/>
                    <a:pt x="19398" y="14039"/>
                  </a:cubicBezTo>
                  <a:cubicBezTo>
                    <a:pt x="19503" y="13782"/>
                    <a:pt x="19306" y="13357"/>
                    <a:pt x="19398" y="13100"/>
                  </a:cubicBezTo>
                  <a:cubicBezTo>
                    <a:pt x="19398" y="12921"/>
                    <a:pt x="19398" y="12676"/>
                    <a:pt x="19503" y="12586"/>
                  </a:cubicBezTo>
                  <a:cubicBezTo>
                    <a:pt x="19911" y="12329"/>
                    <a:pt x="20411" y="12162"/>
                    <a:pt x="20805" y="11905"/>
                  </a:cubicBezTo>
                  <a:cubicBezTo>
                    <a:pt x="20910" y="11815"/>
                    <a:pt x="21108" y="11737"/>
                    <a:pt x="21108" y="11648"/>
                  </a:cubicBezTo>
                  <a:cubicBezTo>
                    <a:pt x="21213" y="11480"/>
                    <a:pt x="21108" y="11312"/>
                    <a:pt x="21108" y="11134"/>
                  </a:cubicBezTo>
                  <a:cubicBezTo>
                    <a:pt x="20411" y="10362"/>
                    <a:pt x="19911" y="9513"/>
                    <a:pt x="19200" y="8832"/>
                  </a:cubicBezTo>
                  <a:cubicBezTo>
                    <a:pt x="19003" y="8575"/>
                    <a:pt x="18503" y="8742"/>
                    <a:pt x="18306" y="8575"/>
                  </a:cubicBezTo>
                  <a:cubicBezTo>
                    <a:pt x="18095" y="8318"/>
                    <a:pt x="18201" y="7893"/>
                    <a:pt x="18003" y="7547"/>
                  </a:cubicBezTo>
                  <a:cubicBezTo>
                    <a:pt x="17898" y="7468"/>
                    <a:pt x="17595" y="7379"/>
                    <a:pt x="17398" y="7379"/>
                  </a:cubicBezTo>
                  <a:cubicBezTo>
                    <a:pt x="17096" y="7290"/>
                    <a:pt x="16688" y="7468"/>
                    <a:pt x="16385" y="7379"/>
                  </a:cubicBezTo>
                  <a:cubicBezTo>
                    <a:pt x="15885" y="7290"/>
                    <a:pt x="15280" y="7122"/>
                    <a:pt x="14978" y="6787"/>
                  </a:cubicBezTo>
                  <a:cubicBezTo>
                    <a:pt x="14688" y="6351"/>
                    <a:pt x="15188" y="5669"/>
                    <a:pt x="14780" y="5334"/>
                  </a:cubicBezTo>
                  <a:cubicBezTo>
                    <a:pt x="14175" y="4988"/>
                    <a:pt x="13281" y="5591"/>
                    <a:pt x="12570" y="5412"/>
                  </a:cubicBezTo>
                  <a:cubicBezTo>
                    <a:pt x="12373" y="5334"/>
                    <a:pt x="12570" y="4988"/>
                    <a:pt x="12465" y="4820"/>
                  </a:cubicBezTo>
                  <a:cubicBezTo>
                    <a:pt x="12465" y="4563"/>
                    <a:pt x="12373" y="4306"/>
                    <a:pt x="12163" y="4049"/>
                  </a:cubicBezTo>
                  <a:cubicBezTo>
                    <a:pt x="11873" y="3714"/>
                    <a:pt x="11268" y="3457"/>
                    <a:pt x="11071" y="3021"/>
                  </a:cubicBezTo>
                  <a:cubicBezTo>
                    <a:pt x="10965" y="2775"/>
                    <a:pt x="11071" y="2429"/>
                    <a:pt x="11163" y="2172"/>
                  </a:cubicBezTo>
                  <a:cubicBezTo>
                    <a:pt x="11360" y="1836"/>
                    <a:pt x="11873" y="1658"/>
                    <a:pt x="12163" y="1322"/>
                  </a:cubicBezTo>
                  <a:cubicBezTo>
                    <a:pt x="12465" y="976"/>
                    <a:pt x="12676" y="551"/>
                    <a:pt x="12873" y="205"/>
                  </a:cubicBezTo>
                  <a:cubicBezTo>
                    <a:pt x="12873" y="127"/>
                    <a:pt x="12873" y="37"/>
                    <a:pt x="12768" y="37"/>
                  </a:cubicBezTo>
                  <a:cubicBezTo>
                    <a:pt x="12373" y="-52"/>
                    <a:pt x="11965" y="37"/>
                    <a:pt x="11571" y="127"/>
                  </a:cubicBezTo>
                  <a:cubicBezTo>
                    <a:pt x="11163" y="294"/>
                    <a:pt x="10860" y="719"/>
                    <a:pt x="10360" y="808"/>
                  </a:cubicBezTo>
                  <a:cubicBezTo>
                    <a:pt x="9966" y="976"/>
                    <a:pt x="9453" y="641"/>
                    <a:pt x="9058" y="719"/>
                  </a:cubicBezTo>
                  <a:cubicBezTo>
                    <a:pt x="8650" y="898"/>
                    <a:pt x="8650" y="1490"/>
                    <a:pt x="8256" y="1747"/>
                  </a:cubicBezTo>
                  <a:cubicBezTo>
                    <a:pt x="7953" y="1836"/>
                    <a:pt x="7545" y="1747"/>
                    <a:pt x="7243" y="1579"/>
                  </a:cubicBezTo>
                  <a:cubicBezTo>
                    <a:pt x="6940" y="1401"/>
                    <a:pt x="7045" y="1065"/>
                    <a:pt x="6743" y="976"/>
                  </a:cubicBezTo>
                  <a:cubicBezTo>
                    <a:pt x="6440" y="808"/>
                    <a:pt x="6046" y="719"/>
                    <a:pt x="5638" y="808"/>
                  </a:cubicBezTo>
                  <a:cubicBezTo>
                    <a:pt x="5533" y="898"/>
                    <a:pt x="5533" y="1155"/>
                    <a:pt x="5441" y="1233"/>
                  </a:cubicBezTo>
                  <a:cubicBezTo>
                    <a:pt x="5033" y="1401"/>
                    <a:pt x="4638" y="1401"/>
                    <a:pt x="4125" y="157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2" name="Shape 2396">
              <a:extLst>
                <a:ext uri="{FF2B5EF4-FFF2-40B4-BE49-F238E27FC236}">
                  <a16:creationId xmlns:a16="http://schemas.microsoft.com/office/drawing/2014/main" id="{823E2A27-2825-5FDB-0463-E4775EC312D5}"/>
                </a:ext>
              </a:extLst>
            </p:cNvPr>
            <p:cNvSpPr/>
            <p:nvPr/>
          </p:nvSpPr>
          <p:spPr>
            <a:xfrm>
              <a:off x="2712814" y="5323723"/>
              <a:ext cx="46993" cy="88528"/>
            </a:xfrm>
            <a:custGeom>
              <a:avLst/>
              <a:gdLst/>
              <a:ahLst/>
              <a:cxnLst>
                <a:cxn ang="0">
                  <a:pos x="wd2" y="hd2"/>
                </a:cxn>
                <a:cxn ang="5400000">
                  <a:pos x="wd2" y="hd2"/>
                </a:cxn>
                <a:cxn ang="10800000">
                  <a:pos x="wd2" y="hd2"/>
                </a:cxn>
                <a:cxn ang="16200000">
                  <a:pos x="wd2" y="hd2"/>
                </a:cxn>
              </a:cxnLst>
              <a:rect l="0" t="0" r="r" b="b"/>
              <a:pathLst>
                <a:path w="20834" h="21166" extrusionOk="0">
                  <a:moveTo>
                    <a:pt x="1192" y="132"/>
                  </a:moveTo>
                  <a:cubicBezTo>
                    <a:pt x="1192" y="779"/>
                    <a:pt x="1192" y="1427"/>
                    <a:pt x="1192" y="1993"/>
                  </a:cubicBezTo>
                  <a:cubicBezTo>
                    <a:pt x="0" y="8222"/>
                    <a:pt x="0" y="15018"/>
                    <a:pt x="0" y="21166"/>
                  </a:cubicBezTo>
                  <a:cubicBezTo>
                    <a:pt x="3426" y="20519"/>
                    <a:pt x="8044" y="20519"/>
                    <a:pt x="11470" y="19953"/>
                  </a:cubicBezTo>
                  <a:cubicBezTo>
                    <a:pt x="13705" y="19305"/>
                    <a:pt x="13705" y="18092"/>
                    <a:pt x="15939" y="17445"/>
                  </a:cubicBezTo>
                  <a:cubicBezTo>
                    <a:pt x="17131" y="16231"/>
                    <a:pt x="20557" y="15584"/>
                    <a:pt x="20557" y="13804"/>
                  </a:cubicBezTo>
                  <a:cubicBezTo>
                    <a:pt x="21600" y="12510"/>
                    <a:pt x="19366" y="11296"/>
                    <a:pt x="19366" y="10083"/>
                  </a:cubicBezTo>
                  <a:cubicBezTo>
                    <a:pt x="18323" y="8869"/>
                    <a:pt x="18323" y="7009"/>
                    <a:pt x="17131" y="5148"/>
                  </a:cubicBezTo>
                  <a:cubicBezTo>
                    <a:pt x="15939" y="3854"/>
                    <a:pt x="15939" y="1427"/>
                    <a:pt x="13705" y="779"/>
                  </a:cubicBezTo>
                  <a:cubicBezTo>
                    <a:pt x="9087" y="-434"/>
                    <a:pt x="5661" y="132"/>
                    <a:pt x="1192" y="13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3" name="Shape 2397">
              <a:extLst>
                <a:ext uri="{FF2B5EF4-FFF2-40B4-BE49-F238E27FC236}">
                  <a16:creationId xmlns:a16="http://schemas.microsoft.com/office/drawing/2014/main" id="{D6388D9F-D12B-12BB-9E72-617289DE0009}"/>
                </a:ext>
              </a:extLst>
            </p:cNvPr>
            <p:cNvSpPr/>
            <p:nvPr/>
          </p:nvSpPr>
          <p:spPr>
            <a:xfrm>
              <a:off x="2995328" y="4710927"/>
              <a:ext cx="1228893" cy="847010"/>
            </a:xfrm>
            <a:custGeom>
              <a:avLst/>
              <a:gdLst/>
              <a:ahLst/>
              <a:cxnLst>
                <a:cxn ang="0">
                  <a:pos x="wd2" y="hd2"/>
                </a:cxn>
                <a:cxn ang="5400000">
                  <a:pos x="wd2" y="hd2"/>
                </a:cxn>
                <a:cxn ang="10800000">
                  <a:pos x="wd2" y="hd2"/>
                </a:cxn>
                <a:cxn ang="16200000">
                  <a:pos x="wd2" y="hd2"/>
                </a:cxn>
              </a:cxnLst>
              <a:rect l="0" t="0" r="r" b="b"/>
              <a:pathLst>
                <a:path w="21572" h="21600" extrusionOk="0">
                  <a:moveTo>
                    <a:pt x="830" y="8002"/>
                  </a:moveTo>
                  <a:cubicBezTo>
                    <a:pt x="1013" y="7942"/>
                    <a:pt x="1149" y="7942"/>
                    <a:pt x="1279" y="7805"/>
                  </a:cubicBezTo>
                  <a:cubicBezTo>
                    <a:pt x="1416" y="7676"/>
                    <a:pt x="1416" y="7349"/>
                    <a:pt x="1552" y="7280"/>
                  </a:cubicBezTo>
                  <a:cubicBezTo>
                    <a:pt x="1688" y="7220"/>
                    <a:pt x="1824" y="7676"/>
                    <a:pt x="1913" y="7547"/>
                  </a:cubicBezTo>
                  <a:cubicBezTo>
                    <a:pt x="2049" y="7151"/>
                    <a:pt x="2007" y="6696"/>
                    <a:pt x="2049" y="6232"/>
                  </a:cubicBezTo>
                  <a:cubicBezTo>
                    <a:pt x="2049" y="5974"/>
                    <a:pt x="2137" y="5707"/>
                    <a:pt x="2049" y="5441"/>
                  </a:cubicBezTo>
                  <a:cubicBezTo>
                    <a:pt x="2007" y="5183"/>
                    <a:pt x="1688" y="5114"/>
                    <a:pt x="1688" y="4856"/>
                  </a:cubicBezTo>
                  <a:cubicBezTo>
                    <a:pt x="1688" y="4590"/>
                    <a:pt x="1871" y="4530"/>
                    <a:pt x="2007" y="4392"/>
                  </a:cubicBezTo>
                  <a:cubicBezTo>
                    <a:pt x="2096" y="4332"/>
                    <a:pt x="2273" y="4392"/>
                    <a:pt x="2321" y="4263"/>
                  </a:cubicBezTo>
                  <a:cubicBezTo>
                    <a:pt x="2368" y="4066"/>
                    <a:pt x="2137" y="3868"/>
                    <a:pt x="2137" y="3670"/>
                  </a:cubicBezTo>
                  <a:cubicBezTo>
                    <a:pt x="2137" y="3473"/>
                    <a:pt x="2232" y="3215"/>
                    <a:pt x="2321" y="3077"/>
                  </a:cubicBezTo>
                  <a:cubicBezTo>
                    <a:pt x="2368" y="2888"/>
                    <a:pt x="2504" y="2690"/>
                    <a:pt x="2640" y="2622"/>
                  </a:cubicBezTo>
                  <a:cubicBezTo>
                    <a:pt x="2818" y="2553"/>
                    <a:pt x="3043" y="2750"/>
                    <a:pt x="3226" y="2690"/>
                  </a:cubicBezTo>
                  <a:cubicBezTo>
                    <a:pt x="3315" y="2690"/>
                    <a:pt x="3362" y="2553"/>
                    <a:pt x="3451" y="2493"/>
                  </a:cubicBezTo>
                  <a:cubicBezTo>
                    <a:pt x="3634" y="2424"/>
                    <a:pt x="3900" y="2493"/>
                    <a:pt x="4084" y="2364"/>
                  </a:cubicBezTo>
                  <a:cubicBezTo>
                    <a:pt x="4261" y="2295"/>
                    <a:pt x="4356" y="1968"/>
                    <a:pt x="4533" y="1968"/>
                  </a:cubicBezTo>
                  <a:cubicBezTo>
                    <a:pt x="4764" y="1968"/>
                    <a:pt x="4942" y="2226"/>
                    <a:pt x="5166" y="2424"/>
                  </a:cubicBezTo>
                  <a:cubicBezTo>
                    <a:pt x="5214" y="2493"/>
                    <a:pt x="5214" y="2690"/>
                    <a:pt x="5302" y="2690"/>
                  </a:cubicBezTo>
                  <a:cubicBezTo>
                    <a:pt x="5622" y="2553"/>
                    <a:pt x="5983" y="2364"/>
                    <a:pt x="6296" y="2028"/>
                  </a:cubicBezTo>
                  <a:cubicBezTo>
                    <a:pt x="6391" y="1968"/>
                    <a:pt x="6208" y="1573"/>
                    <a:pt x="6344" y="1573"/>
                  </a:cubicBezTo>
                  <a:cubicBezTo>
                    <a:pt x="6527" y="1504"/>
                    <a:pt x="6657" y="2028"/>
                    <a:pt x="6793" y="1900"/>
                  </a:cubicBezTo>
                  <a:cubicBezTo>
                    <a:pt x="7018" y="1642"/>
                    <a:pt x="6841" y="1109"/>
                    <a:pt x="7018" y="851"/>
                  </a:cubicBezTo>
                  <a:cubicBezTo>
                    <a:pt x="7113" y="722"/>
                    <a:pt x="7290" y="911"/>
                    <a:pt x="7426" y="911"/>
                  </a:cubicBezTo>
                  <a:cubicBezTo>
                    <a:pt x="7515" y="851"/>
                    <a:pt x="7610" y="782"/>
                    <a:pt x="7746" y="782"/>
                  </a:cubicBezTo>
                  <a:cubicBezTo>
                    <a:pt x="7923" y="851"/>
                    <a:pt x="8148" y="980"/>
                    <a:pt x="8332" y="1049"/>
                  </a:cubicBezTo>
                  <a:cubicBezTo>
                    <a:pt x="8420" y="1109"/>
                    <a:pt x="8556" y="1178"/>
                    <a:pt x="8645" y="1306"/>
                  </a:cubicBezTo>
                  <a:cubicBezTo>
                    <a:pt x="8781" y="1444"/>
                    <a:pt x="8829" y="1702"/>
                    <a:pt x="8917" y="1900"/>
                  </a:cubicBezTo>
                  <a:cubicBezTo>
                    <a:pt x="9006" y="2028"/>
                    <a:pt x="9053" y="2166"/>
                    <a:pt x="9189" y="2226"/>
                  </a:cubicBezTo>
                  <a:cubicBezTo>
                    <a:pt x="9278" y="2226"/>
                    <a:pt x="9325" y="2028"/>
                    <a:pt x="9414" y="2028"/>
                  </a:cubicBezTo>
                  <a:cubicBezTo>
                    <a:pt x="9598" y="2097"/>
                    <a:pt x="9686" y="2493"/>
                    <a:pt x="9870" y="2493"/>
                  </a:cubicBezTo>
                  <a:cubicBezTo>
                    <a:pt x="9959" y="2424"/>
                    <a:pt x="10006" y="2166"/>
                    <a:pt x="10006" y="1968"/>
                  </a:cubicBezTo>
                  <a:cubicBezTo>
                    <a:pt x="10006" y="1771"/>
                    <a:pt x="9775" y="1573"/>
                    <a:pt x="9870" y="1444"/>
                  </a:cubicBezTo>
                  <a:cubicBezTo>
                    <a:pt x="10006" y="1375"/>
                    <a:pt x="10095" y="1642"/>
                    <a:pt x="10183" y="1771"/>
                  </a:cubicBezTo>
                  <a:cubicBezTo>
                    <a:pt x="10231" y="1900"/>
                    <a:pt x="10272" y="2097"/>
                    <a:pt x="10367" y="2097"/>
                  </a:cubicBezTo>
                  <a:cubicBezTo>
                    <a:pt x="10455" y="2097"/>
                    <a:pt x="10367" y="1839"/>
                    <a:pt x="10408" y="1702"/>
                  </a:cubicBezTo>
                  <a:cubicBezTo>
                    <a:pt x="10455" y="1702"/>
                    <a:pt x="10503" y="1839"/>
                    <a:pt x="10544" y="1839"/>
                  </a:cubicBezTo>
                  <a:cubicBezTo>
                    <a:pt x="10592" y="1900"/>
                    <a:pt x="10680" y="1771"/>
                    <a:pt x="10728" y="1839"/>
                  </a:cubicBezTo>
                  <a:cubicBezTo>
                    <a:pt x="10769" y="1968"/>
                    <a:pt x="10680" y="2166"/>
                    <a:pt x="10769" y="2295"/>
                  </a:cubicBezTo>
                  <a:cubicBezTo>
                    <a:pt x="10816" y="2364"/>
                    <a:pt x="10905" y="2226"/>
                    <a:pt x="10952" y="2226"/>
                  </a:cubicBezTo>
                  <a:cubicBezTo>
                    <a:pt x="11000" y="2226"/>
                    <a:pt x="11000" y="2364"/>
                    <a:pt x="11000" y="2364"/>
                  </a:cubicBezTo>
                  <a:cubicBezTo>
                    <a:pt x="11225" y="2226"/>
                    <a:pt x="11402" y="2028"/>
                    <a:pt x="11585" y="1900"/>
                  </a:cubicBezTo>
                  <a:cubicBezTo>
                    <a:pt x="11674" y="1839"/>
                    <a:pt x="11810" y="1771"/>
                    <a:pt x="11858" y="1702"/>
                  </a:cubicBezTo>
                  <a:cubicBezTo>
                    <a:pt x="11946" y="1573"/>
                    <a:pt x="11946" y="1444"/>
                    <a:pt x="11994" y="1306"/>
                  </a:cubicBezTo>
                  <a:cubicBezTo>
                    <a:pt x="12804" y="1504"/>
                    <a:pt x="12804" y="1504"/>
                    <a:pt x="12804" y="1504"/>
                  </a:cubicBezTo>
                  <a:cubicBezTo>
                    <a:pt x="12804" y="1504"/>
                    <a:pt x="13076" y="1573"/>
                    <a:pt x="13124" y="1573"/>
                  </a:cubicBezTo>
                  <a:cubicBezTo>
                    <a:pt x="13165" y="1573"/>
                    <a:pt x="13348" y="1444"/>
                    <a:pt x="13348" y="1444"/>
                  </a:cubicBezTo>
                  <a:cubicBezTo>
                    <a:pt x="13485" y="1504"/>
                    <a:pt x="13662" y="1642"/>
                    <a:pt x="13798" y="1642"/>
                  </a:cubicBezTo>
                  <a:cubicBezTo>
                    <a:pt x="13845" y="1642"/>
                    <a:pt x="13845" y="1444"/>
                    <a:pt x="13887" y="1444"/>
                  </a:cubicBezTo>
                  <a:cubicBezTo>
                    <a:pt x="13982" y="1375"/>
                    <a:pt x="14118" y="1444"/>
                    <a:pt x="14248" y="1504"/>
                  </a:cubicBezTo>
                  <a:cubicBezTo>
                    <a:pt x="14384" y="1573"/>
                    <a:pt x="14478" y="1771"/>
                    <a:pt x="14656" y="1839"/>
                  </a:cubicBezTo>
                  <a:cubicBezTo>
                    <a:pt x="14839" y="1839"/>
                    <a:pt x="14975" y="1642"/>
                    <a:pt x="15153" y="1642"/>
                  </a:cubicBezTo>
                  <a:cubicBezTo>
                    <a:pt x="15289" y="1642"/>
                    <a:pt x="15425" y="1771"/>
                    <a:pt x="15514" y="1702"/>
                  </a:cubicBezTo>
                  <a:cubicBezTo>
                    <a:pt x="15561" y="1642"/>
                    <a:pt x="15425" y="1504"/>
                    <a:pt x="15425" y="1375"/>
                  </a:cubicBezTo>
                  <a:cubicBezTo>
                    <a:pt x="15472" y="1109"/>
                    <a:pt x="15472" y="851"/>
                    <a:pt x="15608" y="584"/>
                  </a:cubicBezTo>
                  <a:cubicBezTo>
                    <a:pt x="15697" y="327"/>
                    <a:pt x="15833" y="258"/>
                    <a:pt x="16011" y="0"/>
                  </a:cubicBezTo>
                  <a:cubicBezTo>
                    <a:pt x="16466" y="258"/>
                    <a:pt x="16875" y="584"/>
                    <a:pt x="17141" y="1049"/>
                  </a:cubicBezTo>
                  <a:cubicBezTo>
                    <a:pt x="17413" y="1573"/>
                    <a:pt x="17910" y="1771"/>
                    <a:pt x="18271" y="2166"/>
                  </a:cubicBezTo>
                  <a:cubicBezTo>
                    <a:pt x="18365" y="2226"/>
                    <a:pt x="18679" y="2493"/>
                    <a:pt x="18679" y="2553"/>
                  </a:cubicBezTo>
                  <a:cubicBezTo>
                    <a:pt x="18679" y="3077"/>
                    <a:pt x="18501" y="3077"/>
                    <a:pt x="18862" y="3541"/>
                  </a:cubicBezTo>
                  <a:cubicBezTo>
                    <a:pt x="19312" y="4134"/>
                    <a:pt x="19448" y="4659"/>
                    <a:pt x="19626" y="5441"/>
                  </a:cubicBezTo>
                  <a:cubicBezTo>
                    <a:pt x="19720" y="5776"/>
                    <a:pt x="19945" y="7091"/>
                    <a:pt x="20170" y="7220"/>
                  </a:cubicBezTo>
                  <a:cubicBezTo>
                    <a:pt x="20265" y="7418"/>
                    <a:pt x="20939" y="7873"/>
                    <a:pt x="20939" y="7873"/>
                  </a:cubicBezTo>
                  <a:cubicBezTo>
                    <a:pt x="20986" y="8991"/>
                    <a:pt x="21164" y="9059"/>
                    <a:pt x="21572" y="9317"/>
                  </a:cubicBezTo>
                  <a:cubicBezTo>
                    <a:pt x="21525" y="9584"/>
                    <a:pt x="21572" y="9842"/>
                    <a:pt x="21389" y="9910"/>
                  </a:cubicBezTo>
                  <a:cubicBezTo>
                    <a:pt x="21028" y="10108"/>
                    <a:pt x="20625" y="9979"/>
                    <a:pt x="20306" y="9842"/>
                  </a:cubicBezTo>
                  <a:cubicBezTo>
                    <a:pt x="20034" y="9781"/>
                    <a:pt x="19898" y="9257"/>
                    <a:pt x="19626" y="9257"/>
                  </a:cubicBezTo>
                  <a:cubicBezTo>
                    <a:pt x="19401" y="9317"/>
                    <a:pt x="19359" y="9781"/>
                    <a:pt x="19223" y="9979"/>
                  </a:cubicBezTo>
                  <a:cubicBezTo>
                    <a:pt x="18998" y="10366"/>
                    <a:pt x="18768" y="10830"/>
                    <a:pt x="18454" y="11028"/>
                  </a:cubicBezTo>
                  <a:cubicBezTo>
                    <a:pt x="18271" y="11157"/>
                    <a:pt x="18046" y="10899"/>
                    <a:pt x="17863" y="10959"/>
                  </a:cubicBezTo>
                  <a:cubicBezTo>
                    <a:pt x="17638" y="11088"/>
                    <a:pt x="17460" y="11423"/>
                    <a:pt x="17277" y="11621"/>
                  </a:cubicBezTo>
                  <a:cubicBezTo>
                    <a:pt x="17188" y="11750"/>
                    <a:pt x="17052" y="11879"/>
                    <a:pt x="17011" y="12076"/>
                  </a:cubicBezTo>
                  <a:cubicBezTo>
                    <a:pt x="16963" y="12343"/>
                    <a:pt x="17099" y="12798"/>
                    <a:pt x="16963" y="12867"/>
                  </a:cubicBezTo>
                  <a:cubicBezTo>
                    <a:pt x="16780" y="12996"/>
                    <a:pt x="16644" y="12472"/>
                    <a:pt x="16419" y="12403"/>
                  </a:cubicBezTo>
                  <a:cubicBezTo>
                    <a:pt x="16105" y="12403"/>
                    <a:pt x="15745" y="12472"/>
                    <a:pt x="15425" y="12669"/>
                  </a:cubicBezTo>
                  <a:cubicBezTo>
                    <a:pt x="15153" y="12798"/>
                    <a:pt x="14975" y="13125"/>
                    <a:pt x="14792" y="13323"/>
                  </a:cubicBezTo>
                  <a:cubicBezTo>
                    <a:pt x="14615" y="13391"/>
                    <a:pt x="14478" y="13452"/>
                    <a:pt x="14342" y="13452"/>
                  </a:cubicBezTo>
                  <a:cubicBezTo>
                    <a:pt x="14248" y="13452"/>
                    <a:pt x="14159" y="13520"/>
                    <a:pt x="14159" y="13391"/>
                  </a:cubicBezTo>
                  <a:cubicBezTo>
                    <a:pt x="14118" y="13194"/>
                    <a:pt x="14206" y="12996"/>
                    <a:pt x="14248" y="12730"/>
                  </a:cubicBezTo>
                  <a:cubicBezTo>
                    <a:pt x="14248" y="12601"/>
                    <a:pt x="14295" y="12403"/>
                    <a:pt x="14248" y="12205"/>
                  </a:cubicBezTo>
                  <a:cubicBezTo>
                    <a:pt x="14159" y="12008"/>
                    <a:pt x="14023" y="11879"/>
                    <a:pt x="13845" y="11879"/>
                  </a:cubicBezTo>
                  <a:cubicBezTo>
                    <a:pt x="13662" y="11819"/>
                    <a:pt x="13485" y="11947"/>
                    <a:pt x="13348" y="12008"/>
                  </a:cubicBezTo>
                  <a:cubicBezTo>
                    <a:pt x="13124" y="12145"/>
                    <a:pt x="12852" y="12205"/>
                    <a:pt x="12715" y="12472"/>
                  </a:cubicBezTo>
                  <a:cubicBezTo>
                    <a:pt x="12621" y="12669"/>
                    <a:pt x="12804" y="12996"/>
                    <a:pt x="12715" y="13194"/>
                  </a:cubicBezTo>
                  <a:cubicBezTo>
                    <a:pt x="12668" y="13323"/>
                    <a:pt x="12491" y="12996"/>
                    <a:pt x="12396" y="13065"/>
                  </a:cubicBezTo>
                  <a:cubicBezTo>
                    <a:pt x="12355" y="13125"/>
                    <a:pt x="12532" y="13391"/>
                    <a:pt x="12443" y="13520"/>
                  </a:cubicBezTo>
                  <a:cubicBezTo>
                    <a:pt x="12355" y="13589"/>
                    <a:pt x="12171" y="13323"/>
                    <a:pt x="12082" y="13452"/>
                  </a:cubicBezTo>
                  <a:cubicBezTo>
                    <a:pt x="11994" y="13589"/>
                    <a:pt x="12082" y="13847"/>
                    <a:pt x="12130" y="13985"/>
                  </a:cubicBezTo>
                  <a:cubicBezTo>
                    <a:pt x="12219" y="14440"/>
                    <a:pt x="12260" y="14896"/>
                    <a:pt x="12491" y="15291"/>
                  </a:cubicBezTo>
                  <a:cubicBezTo>
                    <a:pt x="12621" y="15558"/>
                    <a:pt x="12852" y="15686"/>
                    <a:pt x="13076" y="15815"/>
                  </a:cubicBezTo>
                  <a:cubicBezTo>
                    <a:pt x="13212" y="15884"/>
                    <a:pt x="13348" y="15884"/>
                    <a:pt x="13485" y="15884"/>
                  </a:cubicBezTo>
                  <a:cubicBezTo>
                    <a:pt x="13662" y="15815"/>
                    <a:pt x="13887" y="15815"/>
                    <a:pt x="14118" y="15815"/>
                  </a:cubicBezTo>
                  <a:cubicBezTo>
                    <a:pt x="14295" y="15815"/>
                    <a:pt x="14520" y="15755"/>
                    <a:pt x="14751" y="15755"/>
                  </a:cubicBezTo>
                  <a:cubicBezTo>
                    <a:pt x="14703" y="16013"/>
                    <a:pt x="14615" y="16280"/>
                    <a:pt x="14615" y="16546"/>
                  </a:cubicBezTo>
                  <a:cubicBezTo>
                    <a:pt x="14615" y="16804"/>
                    <a:pt x="14751" y="17002"/>
                    <a:pt x="14751" y="17259"/>
                  </a:cubicBezTo>
                  <a:cubicBezTo>
                    <a:pt x="14792" y="17595"/>
                    <a:pt x="14751" y="17981"/>
                    <a:pt x="14656" y="18317"/>
                  </a:cubicBezTo>
                  <a:cubicBezTo>
                    <a:pt x="14615" y="18514"/>
                    <a:pt x="14431" y="18514"/>
                    <a:pt x="14342" y="18712"/>
                  </a:cubicBezTo>
                  <a:cubicBezTo>
                    <a:pt x="14342" y="18772"/>
                    <a:pt x="14384" y="18910"/>
                    <a:pt x="14431" y="18970"/>
                  </a:cubicBezTo>
                  <a:cubicBezTo>
                    <a:pt x="14567" y="19099"/>
                    <a:pt x="14792" y="19039"/>
                    <a:pt x="14887" y="19168"/>
                  </a:cubicBezTo>
                  <a:cubicBezTo>
                    <a:pt x="14975" y="19236"/>
                    <a:pt x="14975" y="19434"/>
                    <a:pt x="14887" y="19434"/>
                  </a:cubicBezTo>
                  <a:cubicBezTo>
                    <a:pt x="14751" y="19563"/>
                    <a:pt x="14567" y="19494"/>
                    <a:pt x="14431" y="19563"/>
                  </a:cubicBezTo>
                  <a:cubicBezTo>
                    <a:pt x="14342" y="19623"/>
                    <a:pt x="14248" y="19821"/>
                    <a:pt x="14159" y="19890"/>
                  </a:cubicBezTo>
                  <a:cubicBezTo>
                    <a:pt x="13934" y="19890"/>
                    <a:pt x="13709" y="19563"/>
                    <a:pt x="13526" y="19692"/>
                  </a:cubicBezTo>
                  <a:cubicBezTo>
                    <a:pt x="13348" y="19821"/>
                    <a:pt x="13165" y="20087"/>
                    <a:pt x="13165" y="20414"/>
                  </a:cubicBezTo>
                  <a:cubicBezTo>
                    <a:pt x="13212" y="20680"/>
                    <a:pt x="13485" y="20680"/>
                    <a:pt x="13662" y="20809"/>
                  </a:cubicBezTo>
                  <a:cubicBezTo>
                    <a:pt x="13485" y="20878"/>
                    <a:pt x="13348" y="20938"/>
                    <a:pt x="13212" y="21076"/>
                  </a:cubicBezTo>
                  <a:cubicBezTo>
                    <a:pt x="13124" y="21136"/>
                    <a:pt x="13029" y="21265"/>
                    <a:pt x="12940" y="21265"/>
                  </a:cubicBezTo>
                  <a:cubicBezTo>
                    <a:pt x="12852" y="21265"/>
                    <a:pt x="12804" y="21136"/>
                    <a:pt x="12715" y="21136"/>
                  </a:cubicBezTo>
                  <a:cubicBezTo>
                    <a:pt x="12621" y="21136"/>
                    <a:pt x="12532" y="21265"/>
                    <a:pt x="12443" y="21265"/>
                  </a:cubicBezTo>
                  <a:cubicBezTo>
                    <a:pt x="12355" y="21265"/>
                    <a:pt x="12307" y="21136"/>
                    <a:pt x="12219" y="21136"/>
                  </a:cubicBezTo>
                  <a:cubicBezTo>
                    <a:pt x="12130" y="21265"/>
                    <a:pt x="12035" y="21462"/>
                    <a:pt x="11994" y="21600"/>
                  </a:cubicBezTo>
                  <a:cubicBezTo>
                    <a:pt x="11899" y="21334"/>
                    <a:pt x="11810" y="21136"/>
                    <a:pt x="11769" y="20878"/>
                  </a:cubicBezTo>
                  <a:cubicBezTo>
                    <a:pt x="11769" y="20612"/>
                    <a:pt x="11674" y="20216"/>
                    <a:pt x="11810" y="20018"/>
                  </a:cubicBezTo>
                  <a:cubicBezTo>
                    <a:pt x="11899" y="19821"/>
                    <a:pt x="12171" y="20087"/>
                    <a:pt x="12260" y="19890"/>
                  </a:cubicBezTo>
                  <a:cubicBezTo>
                    <a:pt x="12307" y="19761"/>
                    <a:pt x="12171" y="19623"/>
                    <a:pt x="12082" y="19563"/>
                  </a:cubicBezTo>
                  <a:cubicBezTo>
                    <a:pt x="11946" y="19494"/>
                    <a:pt x="11810" y="19623"/>
                    <a:pt x="11722" y="19563"/>
                  </a:cubicBezTo>
                  <a:cubicBezTo>
                    <a:pt x="11538" y="19434"/>
                    <a:pt x="11402" y="19099"/>
                    <a:pt x="11225" y="18910"/>
                  </a:cubicBezTo>
                  <a:cubicBezTo>
                    <a:pt x="11313" y="18712"/>
                    <a:pt x="11449" y="18514"/>
                    <a:pt x="11449" y="18317"/>
                  </a:cubicBezTo>
                  <a:cubicBezTo>
                    <a:pt x="11449" y="18248"/>
                    <a:pt x="11266" y="18248"/>
                    <a:pt x="11225" y="18179"/>
                  </a:cubicBezTo>
                  <a:cubicBezTo>
                    <a:pt x="11177" y="17852"/>
                    <a:pt x="11361" y="17526"/>
                    <a:pt x="11266" y="17199"/>
                  </a:cubicBezTo>
                  <a:cubicBezTo>
                    <a:pt x="11225" y="16873"/>
                    <a:pt x="10905" y="16675"/>
                    <a:pt x="10905" y="16348"/>
                  </a:cubicBezTo>
                  <a:cubicBezTo>
                    <a:pt x="10905" y="16151"/>
                    <a:pt x="11177" y="16280"/>
                    <a:pt x="11225" y="16082"/>
                  </a:cubicBezTo>
                  <a:cubicBezTo>
                    <a:pt x="11313" y="15815"/>
                    <a:pt x="11177" y="15489"/>
                    <a:pt x="11177" y="15231"/>
                  </a:cubicBezTo>
                  <a:cubicBezTo>
                    <a:pt x="11225" y="15093"/>
                    <a:pt x="11361" y="15033"/>
                    <a:pt x="11313" y="14896"/>
                  </a:cubicBezTo>
                  <a:cubicBezTo>
                    <a:pt x="11266" y="14707"/>
                    <a:pt x="11177" y="14509"/>
                    <a:pt x="11041" y="14440"/>
                  </a:cubicBezTo>
                  <a:cubicBezTo>
                    <a:pt x="10864" y="14371"/>
                    <a:pt x="10633" y="14311"/>
                    <a:pt x="10455" y="14371"/>
                  </a:cubicBezTo>
                  <a:cubicBezTo>
                    <a:pt x="10319" y="14440"/>
                    <a:pt x="10272" y="14638"/>
                    <a:pt x="10183" y="14767"/>
                  </a:cubicBezTo>
                  <a:cubicBezTo>
                    <a:pt x="10142" y="14896"/>
                    <a:pt x="10095" y="15093"/>
                    <a:pt x="10006" y="15162"/>
                  </a:cubicBezTo>
                  <a:cubicBezTo>
                    <a:pt x="9870" y="15231"/>
                    <a:pt x="9639" y="15093"/>
                    <a:pt x="9509" y="15093"/>
                  </a:cubicBezTo>
                  <a:cubicBezTo>
                    <a:pt x="9325" y="15162"/>
                    <a:pt x="9189" y="15291"/>
                    <a:pt x="9053" y="15291"/>
                  </a:cubicBezTo>
                  <a:cubicBezTo>
                    <a:pt x="8965" y="15291"/>
                    <a:pt x="8917" y="15162"/>
                    <a:pt x="8829" y="15162"/>
                  </a:cubicBezTo>
                  <a:cubicBezTo>
                    <a:pt x="8781" y="15162"/>
                    <a:pt x="8740" y="15291"/>
                    <a:pt x="8692" y="15291"/>
                  </a:cubicBezTo>
                  <a:cubicBezTo>
                    <a:pt x="8515" y="15360"/>
                    <a:pt x="8379" y="15291"/>
                    <a:pt x="8196" y="15231"/>
                  </a:cubicBezTo>
                  <a:cubicBezTo>
                    <a:pt x="8018" y="15162"/>
                    <a:pt x="7835" y="14964"/>
                    <a:pt x="7651" y="14964"/>
                  </a:cubicBezTo>
                  <a:cubicBezTo>
                    <a:pt x="7562" y="14964"/>
                    <a:pt x="7515" y="15093"/>
                    <a:pt x="7426" y="15162"/>
                  </a:cubicBezTo>
                  <a:cubicBezTo>
                    <a:pt x="7379" y="15033"/>
                    <a:pt x="7338" y="14964"/>
                    <a:pt x="7249" y="14835"/>
                  </a:cubicBezTo>
                  <a:cubicBezTo>
                    <a:pt x="7249" y="14835"/>
                    <a:pt x="6929" y="14767"/>
                    <a:pt x="6888" y="14767"/>
                  </a:cubicBezTo>
                  <a:lnTo>
                    <a:pt x="6657" y="14509"/>
                  </a:lnTo>
                  <a:cubicBezTo>
                    <a:pt x="6569" y="14440"/>
                    <a:pt x="6480" y="14440"/>
                    <a:pt x="6391" y="14440"/>
                  </a:cubicBezTo>
                  <a:cubicBezTo>
                    <a:pt x="6344" y="14440"/>
                    <a:pt x="6391" y="14569"/>
                    <a:pt x="6391" y="14638"/>
                  </a:cubicBezTo>
                  <a:cubicBezTo>
                    <a:pt x="6296" y="14638"/>
                    <a:pt x="6255" y="14638"/>
                    <a:pt x="6208" y="14569"/>
                  </a:cubicBezTo>
                  <a:cubicBezTo>
                    <a:pt x="6119" y="14371"/>
                    <a:pt x="6119" y="14045"/>
                    <a:pt x="5983" y="13985"/>
                  </a:cubicBezTo>
                  <a:cubicBezTo>
                    <a:pt x="5752" y="13847"/>
                    <a:pt x="5527" y="14045"/>
                    <a:pt x="5302" y="14113"/>
                  </a:cubicBezTo>
                  <a:cubicBezTo>
                    <a:pt x="5302" y="14113"/>
                    <a:pt x="5214" y="14707"/>
                    <a:pt x="5214" y="14767"/>
                  </a:cubicBezTo>
                  <a:lnTo>
                    <a:pt x="5391" y="15162"/>
                  </a:lnTo>
                  <a:cubicBezTo>
                    <a:pt x="5302" y="15231"/>
                    <a:pt x="5214" y="15162"/>
                    <a:pt x="5214" y="15291"/>
                  </a:cubicBezTo>
                  <a:cubicBezTo>
                    <a:pt x="5125" y="15489"/>
                    <a:pt x="5214" y="15815"/>
                    <a:pt x="5125" y="16013"/>
                  </a:cubicBezTo>
                  <a:cubicBezTo>
                    <a:pt x="5078" y="16151"/>
                    <a:pt x="4989" y="15884"/>
                    <a:pt x="4900" y="15953"/>
                  </a:cubicBezTo>
                  <a:cubicBezTo>
                    <a:pt x="4764" y="16013"/>
                    <a:pt x="4669" y="16280"/>
                    <a:pt x="4533" y="16408"/>
                  </a:cubicBezTo>
                  <a:cubicBezTo>
                    <a:pt x="4220" y="15815"/>
                    <a:pt x="3995" y="15162"/>
                    <a:pt x="3676" y="14638"/>
                  </a:cubicBezTo>
                  <a:cubicBezTo>
                    <a:pt x="3587" y="14440"/>
                    <a:pt x="3362" y="14569"/>
                    <a:pt x="3273" y="14440"/>
                  </a:cubicBezTo>
                  <a:cubicBezTo>
                    <a:pt x="3179" y="14242"/>
                    <a:pt x="3226" y="13916"/>
                    <a:pt x="3137" y="13649"/>
                  </a:cubicBezTo>
                  <a:cubicBezTo>
                    <a:pt x="3090" y="13589"/>
                    <a:pt x="2954" y="13520"/>
                    <a:pt x="2865" y="13520"/>
                  </a:cubicBezTo>
                  <a:cubicBezTo>
                    <a:pt x="2729" y="13452"/>
                    <a:pt x="2546" y="13589"/>
                    <a:pt x="2409" y="13520"/>
                  </a:cubicBezTo>
                  <a:cubicBezTo>
                    <a:pt x="2185" y="13452"/>
                    <a:pt x="1913" y="13323"/>
                    <a:pt x="1776" y="13065"/>
                  </a:cubicBezTo>
                  <a:cubicBezTo>
                    <a:pt x="1646" y="12730"/>
                    <a:pt x="1871" y="12205"/>
                    <a:pt x="1688" y="11947"/>
                  </a:cubicBezTo>
                  <a:cubicBezTo>
                    <a:pt x="1416" y="11681"/>
                    <a:pt x="1013" y="12145"/>
                    <a:pt x="694" y="12008"/>
                  </a:cubicBezTo>
                  <a:cubicBezTo>
                    <a:pt x="605" y="11947"/>
                    <a:pt x="694" y="11681"/>
                    <a:pt x="646" y="11552"/>
                  </a:cubicBezTo>
                  <a:cubicBezTo>
                    <a:pt x="646" y="11354"/>
                    <a:pt x="605" y="11157"/>
                    <a:pt x="510" y="10959"/>
                  </a:cubicBezTo>
                  <a:cubicBezTo>
                    <a:pt x="380" y="10701"/>
                    <a:pt x="108" y="10503"/>
                    <a:pt x="19" y="10168"/>
                  </a:cubicBezTo>
                  <a:cubicBezTo>
                    <a:pt x="-28" y="9979"/>
                    <a:pt x="19" y="9713"/>
                    <a:pt x="61" y="9515"/>
                  </a:cubicBezTo>
                  <a:cubicBezTo>
                    <a:pt x="149" y="9257"/>
                    <a:pt x="380" y="9120"/>
                    <a:pt x="510" y="8862"/>
                  </a:cubicBezTo>
                  <a:cubicBezTo>
                    <a:pt x="646" y="8595"/>
                    <a:pt x="741" y="8269"/>
                    <a:pt x="830" y="800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4" name="Shape 2398">
              <a:extLst>
                <a:ext uri="{FF2B5EF4-FFF2-40B4-BE49-F238E27FC236}">
                  <a16:creationId xmlns:a16="http://schemas.microsoft.com/office/drawing/2014/main" id="{466B94F7-999C-F57D-08FB-49B1AC72166B}"/>
                </a:ext>
              </a:extLst>
            </p:cNvPr>
            <p:cNvSpPr/>
            <p:nvPr/>
          </p:nvSpPr>
          <p:spPr>
            <a:xfrm>
              <a:off x="3827668" y="5476552"/>
              <a:ext cx="392093" cy="230301"/>
            </a:xfrm>
            <a:custGeom>
              <a:avLst/>
              <a:gdLst/>
              <a:ahLst/>
              <a:cxnLst>
                <a:cxn ang="0">
                  <a:pos x="wd2" y="hd2"/>
                </a:cxn>
                <a:cxn ang="5400000">
                  <a:pos x="wd2" y="hd2"/>
                </a:cxn>
                <a:cxn ang="10800000">
                  <a:pos x="wd2" y="hd2"/>
                </a:cxn>
                <a:cxn ang="16200000">
                  <a:pos x="wd2" y="hd2"/>
                </a:cxn>
              </a:cxnLst>
              <a:rect l="0" t="0" r="r" b="b"/>
              <a:pathLst>
                <a:path w="21600" h="19481" extrusionOk="0">
                  <a:moveTo>
                    <a:pt x="428" y="15819"/>
                  </a:moveTo>
                  <a:cubicBezTo>
                    <a:pt x="279" y="15162"/>
                    <a:pt x="130" y="14276"/>
                    <a:pt x="0" y="13848"/>
                  </a:cubicBezTo>
                  <a:cubicBezTo>
                    <a:pt x="0" y="13619"/>
                    <a:pt x="1135" y="13419"/>
                    <a:pt x="1135" y="13191"/>
                  </a:cubicBezTo>
                  <a:cubicBezTo>
                    <a:pt x="1135" y="12991"/>
                    <a:pt x="1265" y="9276"/>
                    <a:pt x="1414" y="8619"/>
                  </a:cubicBezTo>
                  <a:cubicBezTo>
                    <a:pt x="1563" y="8162"/>
                    <a:pt x="1991" y="6648"/>
                    <a:pt x="2121" y="5562"/>
                  </a:cubicBezTo>
                  <a:cubicBezTo>
                    <a:pt x="2549" y="5762"/>
                    <a:pt x="2828" y="6219"/>
                    <a:pt x="3126" y="5991"/>
                  </a:cubicBezTo>
                  <a:cubicBezTo>
                    <a:pt x="4540" y="5133"/>
                    <a:pt x="5823" y="3819"/>
                    <a:pt x="6958" y="2276"/>
                  </a:cubicBezTo>
                  <a:cubicBezTo>
                    <a:pt x="7386" y="1619"/>
                    <a:pt x="7237" y="1419"/>
                    <a:pt x="7665" y="762"/>
                  </a:cubicBezTo>
                  <a:cubicBezTo>
                    <a:pt x="9079" y="762"/>
                    <a:pt x="9935" y="-1209"/>
                    <a:pt x="10940" y="1191"/>
                  </a:cubicBezTo>
                  <a:cubicBezTo>
                    <a:pt x="11367" y="2048"/>
                    <a:pt x="11647" y="2933"/>
                    <a:pt x="12502" y="2505"/>
                  </a:cubicBezTo>
                  <a:cubicBezTo>
                    <a:pt x="13488" y="2048"/>
                    <a:pt x="14344" y="1191"/>
                    <a:pt x="15330" y="762"/>
                  </a:cubicBezTo>
                  <a:cubicBezTo>
                    <a:pt x="17470" y="1419"/>
                    <a:pt x="19181" y="-1638"/>
                    <a:pt x="20447" y="1848"/>
                  </a:cubicBezTo>
                  <a:cubicBezTo>
                    <a:pt x="20874" y="2933"/>
                    <a:pt x="21172" y="3819"/>
                    <a:pt x="21600" y="4905"/>
                  </a:cubicBezTo>
                  <a:cubicBezTo>
                    <a:pt x="19181" y="7305"/>
                    <a:pt x="19181" y="7305"/>
                    <a:pt x="19181" y="7305"/>
                  </a:cubicBezTo>
                  <a:cubicBezTo>
                    <a:pt x="18902" y="7305"/>
                    <a:pt x="18474" y="7076"/>
                    <a:pt x="18474" y="7533"/>
                  </a:cubicBezTo>
                  <a:cubicBezTo>
                    <a:pt x="18047" y="8619"/>
                    <a:pt x="18474" y="10562"/>
                    <a:pt x="17767" y="11219"/>
                  </a:cubicBezTo>
                  <a:cubicBezTo>
                    <a:pt x="16763" y="11876"/>
                    <a:pt x="15628" y="10362"/>
                    <a:pt x="14623" y="10562"/>
                  </a:cubicBezTo>
                  <a:cubicBezTo>
                    <a:pt x="14065" y="10791"/>
                    <a:pt x="13060" y="11448"/>
                    <a:pt x="13209" y="12533"/>
                  </a:cubicBezTo>
                  <a:cubicBezTo>
                    <a:pt x="13358" y="13419"/>
                    <a:pt x="14344" y="12333"/>
                    <a:pt x="14921" y="12533"/>
                  </a:cubicBezTo>
                  <a:cubicBezTo>
                    <a:pt x="15330" y="12991"/>
                    <a:pt x="16186" y="13619"/>
                    <a:pt x="15907" y="14276"/>
                  </a:cubicBezTo>
                  <a:cubicBezTo>
                    <a:pt x="15200" y="15162"/>
                    <a:pt x="14065" y="14276"/>
                    <a:pt x="13358" y="15162"/>
                  </a:cubicBezTo>
                  <a:cubicBezTo>
                    <a:pt x="12930" y="15591"/>
                    <a:pt x="13916" y="17133"/>
                    <a:pt x="13358" y="17562"/>
                  </a:cubicBezTo>
                  <a:cubicBezTo>
                    <a:pt x="12353" y="18648"/>
                    <a:pt x="10791" y="19962"/>
                    <a:pt x="9507" y="19305"/>
                  </a:cubicBezTo>
                  <a:cubicBezTo>
                    <a:pt x="8670" y="18648"/>
                    <a:pt x="9935" y="16019"/>
                    <a:pt x="9377" y="15162"/>
                  </a:cubicBezTo>
                  <a:cubicBezTo>
                    <a:pt x="8800" y="14076"/>
                    <a:pt x="7535" y="13419"/>
                    <a:pt x="6679" y="14076"/>
                  </a:cubicBezTo>
                  <a:cubicBezTo>
                    <a:pt x="5395" y="15162"/>
                    <a:pt x="4967" y="17562"/>
                    <a:pt x="4112" y="19305"/>
                  </a:cubicBezTo>
                  <a:cubicBezTo>
                    <a:pt x="3684" y="19076"/>
                    <a:pt x="3126" y="18648"/>
                    <a:pt x="2549" y="18648"/>
                  </a:cubicBezTo>
                  <a:cubicBezTo>
                    <a:pt x="1991" y="18419"/>
                    <a:pt x="1414" y="18876"/>
                    <a:pt x="856" y="18648"/>
                  </a:cubicBezTo>
                  <a:cubicBezTo>
                    <a:pt x="707" y="18419"/>
                    <a:pt x="1135" y="17991"/>
                    <a:pt x="1135" y="17762"/>
                  </a:cubicBezTo>
                  <a:cubicBezTo>
                    <a:pt x="986" y="17133"/>
                    <a:pt x="558" y="16476"/>
                    <a:pt x="428" y="1581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5" name="Shape 2399">
              <a:extLst>
                <a:ext uri="{FF2B5EF4-FFF2-40B4-BE49-F238E27FC236}">
                  <a16:creationId xmlns:a16="http://schemas.microsoft.com/office/drawing/2014/main" id="{D0FE373F-5C79-558E-FC7A-5900521E6939}"/>
                </a:ext>
              </a:extLst>
            </p:cNvPr>
            <p:cNvSpPr/>
            <p:nvPr/>
          </p:nvSpPr>
          <p:spPr>
            <a:xfrm>
              <a:off x="4175505" y="5534488"/>
              <a:ext cx="158718" cy="183220"/>
            </a:xfrm>
            <a:custGeom>
              <a:avLst/>
              <a:gdLst/>
              <a:ahLst/>
              <a:cxnLst>
                <a:cxn ang="0">
                  <a:pos x="wd2" y="hd2"/>
                </a:cxn>
                <a:cxn ang="5400000">
                  <a:pos x="wd2" y="hd2"/>
                </a:cxn>
                <a:cxn ang="10800000">
                  <a:pos x="wd2" y="hd2"/>
                </a:cxn>
                <a:cxn ang="16200000">
                  <a:pos x="wd2" y="hd2"/>
                </a:cxn>
              </a:cxnLst>
              <a:rect l="0" t="0" r="r" b="b"/>
              <a:pathLst>
                <a:path w="21600" h="21336" extrusionOk="0">
                  <a:moveTo>
                    <a:pt x="5937" y="0"/>
                  </a:moveTo>
                  <a:cubicBezTo>
                    <a:pt x="0" y="3299"/>
                    <a:pt x="0" y="3299"/>
                    <a:pt x="0" y="3299"/>
                  </a:cubicBezTo>
                  <a:cubicBezTo>
                    <a:pt x="2101" y="5105"/>
                    <a:pt x="4886" y="6284"/>
                    <a:pt x="5937" y="8404"/>
                  </a:cubicBezTo>
                  <a:cubicBezTo>
                    <a:pt x="6622" y="9583"/>
                    <a:pt x="4156" y="11114"/>
                    <a:pt x="4886" y="12292"/>
                  </a:cubicBezTo>
                  <a:cubicBezTo>
                    <a:pt x="5206" y="14413"/>
                    <a:pt x="7307" y="15905"/>
                    <a:pt x="8357" y="17673"/>
                  </a:cubicBezTo>
                  <a:cubicBezTo>
                    <a:pt x="9407" y="18890"/>
                    <a:pt x="9773" y="20697"/>
                    <a:pt x="11142" y="21286"/>
                  </a:cubicBezTo>
                  <a:cubicBezTo>
                    <a:pt x="12193" y="21600"/>
                    <a:pt x="13608" y="20383"/>
                    <a:pt x="13928" y="19479"/>
                  </a:cubicBezTo>
                  <a:cubicBezTo>
                    <a:pt x="13928" y="18576"/>
                    <a:pt x="12193" y="18301"/>
                    <a:pt x="12193" y="17673"/>
                  </a:cubicBezTo>
                  <a:cubicBezTo>
                    <a:pt x="12558" y="16809"/>
                    <a:pt x="14293" y="16180"/>
                    <a:pt x="14978" y="15277"/>
                  </a:cubicBezTo>
                  <a:cubicBezTo>
                    <a:pt x="15344" y="14688"/>
                    <a:pt x="14978" y="13510"/>
                    <a:pt x="16029" y="12881"/>
                  </a:cubicBezTo>
                  <a:cubicBezTo>
                    <a:pt x="17764" y="11389"/>
                    <a:pt x="19499" y="11389"/>
                    <a:pt x="21600" y="10211"/>
                  </a:cubicBezTo>
                  <a:cubicBezTo>
                    <a:pt x="21280" y="9897"/>
                    <a:pt x="20550" y="9308"/>
                    <a:pt x="19865" y="8679"/>
                  </a:cubicBezTo>
                  <a:cubicBezTo>
                    <a:pt x="18129" y="7187"/>
                    <a:pt x="15344" y="7187"/>
                    <a:pt x="13243" y="5695"/>
                  </a:cubicBezTo>
                  <a:cubicBezTo>
                    <a:pt x="12558" y="5695"/>
                    <a:pt x="7307" y="1807"/>
                    <a:pt x="6622" y="1178"/>
                  </a:cubicBezTo>
                  <a:cubicBezTo>
                    <a:pt x="6256" y="903"/>
                    <a:pt x="5937" y="314"/>
                    <a:pt x="593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6" name="Shape 2400">
              <a:extLst>
                <a:ext uri="{FF2B5EF4-FFF2-40B4-BE49-F238E27FC236}">
                  <a16:creationId xmlns:a16="http://schemas.microsoft.com/office/drawing/2014/main" id="{16C17394-D79E-F14D-782C-40E0758EF87C}"/>
                </a:ext>
              </a:extLst>
            </p:cNvPr>
            <p:cNvSpPr/>
            <p:nvPr/>
          </p:nvSpPr>
          <p:spPr>
            <a:xfrm>
              <a:off x="3861859" y="6281951"/>
              <a:ext cx="202477" cy="200632"/>
            </a:xfrm>
            <a:custGeom>
              <a:avLst/>
              <a:gdLst/>
              <a:ahLst/>
              <a:cxnLst>
                <a:cxn ang="0">
                  <a:pos x="wd2" y="hd2"/>
                </a:cxn>
                <a:cxn ang="5400000">
                  <a:pos x="wd2" y="hd2"/>
                </a:cxn>
                <a:cxn ang="10800000">
                  <a:pos x="wd2" y="hd2"/>
                </a:cxn>
                <a:cxn ang="16200000">
                  <a:pos x="wd2" y="hd2"/>
                </a:cxn>
              </a:cxnLst>
              <a:rect l="0" t="0" r="r" b="b"/>
              <a:pathLst>
                <a:path w="21511" h="21314" extrusionOk="0">
                  <a:moveTo>
                    <a:pt x="7916" y="0"/>
                  </a:moveTo>
                  <a:cubicBezTo>
                    <a:pt x="10137" y="286"/>
                    <a:pt x="12322" y="-286"/>
                    <a:pt x="14221" y="823"/>
                  </a:cubicBezTo>
                  <a:cubicBezTo>
                    <a:pt x="15582" y="1359"/>
                    <a:pt x="15582" y="3290"/>
                    <a:pt x="16693" y="4113"/>
                  </a:cubicBezTo>
                  <a:cubicBezTo>
                    <a:pt x="18054" y="4649"/>
                    <a:pt x="19701" y="3540"/>
                    <a:pt x="21063" y="4113"/>
                  </a:cubicBezTo>
                  <a:cubicBezTo>
                    <a:pt x="21600" y="4363"/>
                    <a:pt x="21600" y="5472"/>
                    <a:pt x="21349" y="5722"/>
                  </a:cubicBezTo>
                  <a:cubicBezTo>
                    <a:pt x="19988" y="7117"/>
                    <a:pt x="17230" y="6831"/>
                    <a:pt x="16119" y="8189"/>
                  </a:cubicBezTo>
                  <a:cubicBezTo>
                    <a:pt x="15582" y="9012"/>
                    <a:pt x="17516" y="9548"/>
                    <a:pt x="18054" y="10085"/>
                  </a:cubicBezTo>
                  <a:cubicBezTo>
                    <a:pt x="17230" y="10657"/>
                    <a:pt x="16406" y="11193"/>
                    <a:pt x="15582" y="11730"/>
                  </a:cubicBezTo>
                  <a:cubicBezTo>
                    <a:pt x="15582" y="11730"/>
                    <a:pt x="15045" y="14484"/>
                    <a:pt x="15045" y="14770"/>
                  </a:cubicBezTo>
                  <a:cubicBezTo>
                    <a:pt x="15045" y="15020"/>
                    <a:pt x="9851" y="16665"/>
                    <a:pt x="9851" y="16665"/>
                  </a:cubicBezTo>
                  <a:cubicBezTo>
                    <a:pt x="8740" y="18310"/>
                    <a:pt x="7666" y="19919"/>
                    <a:pt x="6555" y="21314"/>
                  </a:cubicBezTo>
                  <a:cubicBezTo>
                    <a:pt x="5731" y="20491"/>
                    <a:pt x="5194" y="19669"/>
                    <a:pt x="4370" y="18846"/>
                  </a:cubicBezTo>
                  <a:cubicBezTo>
                    <a:pt x="3546" y="17738"/>
                    <a:pt x="3009" y="16379"/>
                    <a:pt x="2185" y="15306"/>
                  </a:cubicBezTo>
                  <a:cubicBezTo>
                    <a:pt x="1648" y="14770"/>
                    <a:pt x="537" y="15306"/>
                    <a:pt x="537" y="14770"/>
                  </a:cubicBezTo>
                  <a:cubicBezTo>
                    <a:pt x="287" y="13375"/>
                    <a:pt x="1110" y="12016"/>
                    <a:pt x="1361" y="10907"/>
                  </a:cubicBezTo>
                  <a:cubicBezTo>
                    <a:pt x="1648" y="9548"/>
                    <a:pt x="2185" y="8189"/>
                    <a:pt x="1899" y="6831"/>
                  </a:cubicBezTo>
                  <a:cubicBezTo>
                    <a:pt x="1899" y="5722"/>
                    <a:pt x="824" y="4935"/>
                    <a:pt x="0" y="3827"/>
                  </a:cubicBezTo>
                  <a:cubicBezTo>
                    <a:pt x="0" y="3827"/>
                    <a:pt x="1361" y="2182"/>
                    <a:pt x="1361" y="1895"/>
                  </a:cubicBezTo>
                  <a:cubicBezTo>
                    <a:pt x="1648" y="1645"/>
                    <a:pt x="3546" y="2468"/>
                    <a:pt x="3546" y="2468"/>
                  </a:cubicBezTo>
                  <a:cubicBezTo>
                    <a:pt x="5194" y="1645"/>
                    <a:pt x="6555" y="823"/>
                    <a:pt x="7916"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7" name="Shape 2401">
              <a:extLst>
                <a:ext uri="{FF2B5EF4-FFF2-40B4-BE49-F238E27FC236}">
                  <a16:creationId xmlns:a16="http://schemas.microsoft.com/office/drawing/2014/main" id="{E77439E3-6FC4-BEF2-1A7B-171BD2D4306A}"/>
                </a:ext>
              </a:extLst>
            </p:cNvPr>
            <p:cNvSpPr/>
            <p:nvPr/>
          </p:nvSpPr>
          <p:spPr>
            <a:xfrm>
              <a:off x="3616590" y="6377372"/>
              <a:ext cx="520422" cy="586837"/>
            </a:xfrm>
            <a:custGeom>
              <a:avLst/>
              <a:gdLst/>
              <a:ahLst/>
              <a:cxnLst>
                <a:cxn ang="0">
                  <a:pos x="wd2" y="hd2"/>
                </a:cxn>
                <a:cxn ang="5400000">
                  <a:pos x="wd2" y="hd2"/>
                </a:cxn>
                <a:cxn ang="10800000">
                  <a:pos x="wd2" y="hd2"/>
                </a:cxn>
                <a:cxn ang="16200000">
                  <a:pos x="wd2" y="hd2"/>
                </a:cxn>
              </a:cxnLst>
              <a:rect l="0" t="0" r="r" b="b"/>
              <a:pathLst>
                <a:path w="21498" h="21490" extrusionOk="0">
                  <a:moveTo>
                    <a:pt x="12659" y="3876"/>
                  </a:moveTo>
                  <a:cubicBezTo>
                    <a:pt x="13091" y="3394"/>
                    <a:pt x="13509" y="2839"/>
                    <a:pt x="13940" y="2271"/>
                  </a:cubicBezTo>
                  <a:cubicBezTo>
                    <a:pt x="13940" y="2271"/>
                    <a:pt x="15960" y="1703"/>
                    <a:pt x="15960" y="1617"/>
                  </a:cubicBezTo>
                  <a:cubicBezTo>
                    <a:pt x="15960" y="1518"/>
                    <a:pt x="16169" y="568"/>
                    <a:pt x="16169" y="568"/>
                  </a:cubicBezTo>
                  <a:cubicBezTo>
                    <a:pt x="16489" y="383"/>
                    <a:pt x="16809" y="197"/>
                    <a:pt x="17130" y="0"/>
                  </a:cubicBezTo>
                  <a:cubicBezTo>
                    <a:pt x="17561" y="383"/>
                    <a:pt x="18202" y="568"/>
                    <a:pt x="18299" y="1049"/>
                  </a:cubicBezTo>
                  <a:cubicBezTo>
                    <a:pt x="18411" y="1419"/>
                    <a:pt x="17770" y="1703"/>
                    <a:pt x="17770" y="2086"/>
                  </a:cubicBezTo>
                  <a:cubicBezTo>
                    <a:pt x="17882" y="2370"/>
                    <a:pt x="17979" y="2839"/>
                    <a:pt x="18411" y="2925"/>
                  </a:cubicBezTo>
                  <a:cubicBezTo>
                    <a:pt x="18731" y="3123"/>
                    <a:pt x="19149" y="2839"/>
                    <a:pt x="19581" y="2740"/>
                  </a:cubicBezTo>
                  <a:cubicBezTo>
                    <a:pt x="19901" y="3308"/>
                    <a:pt x="19998" y="3962"/>
                    <a:pt x="20319" y="4443"/>
                  </a:cubicBezTo>
                  <a:cubicBezTo>
                    <a:pt x="20639" y="4814"/>
                    <a:pt x="21280" y="4912"/>
                    <a:pt x="21391" y="5283"/>
                  </a:cubicBezTo>
                  <a:cubicBezTo>
                    <a:pt x="21600" y="5949"/>
                    <a:pt x="21489" y="6603"/>
                    <a:pt x="21168" y="7171"/>
                  </a:cubicBezTo>
                  <a:cubicBezTo>
                    <a:pt x="20848" y="7739"/>
                    <a:pt x="19998" y="8122"/>
                    <a:pt x="19358" y="8591"/>
                  </a:cubicBezTo>
                  <a:cubicBezTo>
                    <a:pt x="19051" y="8875"/>
                    <a:pt x="18202" y="8875"/>
                    <a:pt x="18202" y="9245"/>
                  </a:cubicBezTo>
                  <a:cubicBezTo>
                    <a:pt x="17979" y="9911"/>
                    <a:pt x="18620" y="10565"/>
                    <a:pt x="18829" y="11232"/>
                  </a:cubicBezTo>
                  <a:cubicBezTo>
                    <a:pt x="18299" y="11417"/>
                    <a:pt x="17770" y="11417"/>
                    <a:pt x="17450" y="11787"/>
                  </a:cubicBezTo>
                  <a:cubicBezTo>
                    <a:pt x="17241" y="12071"/>
                    <a:pt x="17338" y="12553"/>
                    <a:pt x="17338" y="12923"/>
                  </a:cubicBezTo>
                  <a:cubicBezTo>
                    <a:pt x="17338" y="12923"/>
                    <a:pt x="15960" y="12269"/>
                    <a:pt x="15848" y="12269"/>
                  </a:cubicBezTo>
                  <a:cubicBezTo>
                    <a:pt x="15751" y="12269"/>
                    <a:pt x="15110" y="12824"/>
                    <a:pt x="15110" y="12824"/>
                  </a:cubicBezTo>
                  <a:cubicBezTo>
                    <a:pt x="15222" y="13207"/>
                    <a:pt x="15431" y="13577"/>
                    <a:pt x="15319" y="13861"/>
                  </a:cubicBezTo>
                  <a:cubicBezTo>
                    <a:pt x="15222" y="14342"/>
                    <a:pt x="14581" y="14614"/>
                    <a:pt x="14581" y="14997"/>
                  </a:cubicBezTo>
                  <a:cubicBezTo>
                    <a:pt x="14581" y="15466"/>
                    <a:pt x="14999" y="15848"/>
                    <a:pt x="15222" y="16219"/>
                  </a:cubicBezTo>
                  <a:cubicBezTo>
                    <a:pt x="15222" y="16219"/>
                    <a:pt x="13188" y="16885"/>
                    <a:pt x="13091" y="16885"/>
                  </a:cubicBezTo>
                  <a:cubicBezTo>
                    <a:pt x="13091" y="16971"/>
                    <a:pt x="12659" y="17539"/>
                    <a:pt x="12659" y="17539"/>
                  </a:cubicBezTo>
                  <a:cubicBezTo>
                    <a:pt x="11810" y="17823"/>
                    <a:pt x="10751" y="17922"/>
                    <a:pt x="9999" y="18490"/>
                  </a:cubicBezTo>
                  <a:cubicBezTo>
                    <a:pt x="9679" y="18576"/>
                    <a:pt x="9999" y="19057"/>
                    <a:pt x="9999" y="19341"/>
                  </a:cubicBezTo>
                  <a:cubicBezTo>
                    <a:pt x="9790" y="19526"/>
                    <a:pt x="9470" y="20094"/>
                    <a:pt x="9261" y="19897"/>
                  </a:cubicBezTo>
                  <a:cubicBezTo>
                    <a:pt x="8621" y="19428"/>
                    <a:pt x="8941" y="18391"/>
                    <a:pt x="8300" y="18107"/>
                  </a:cubicBezTo>
                  <a:cubicBezTo>
                    <a:pt x="7771" y="17823"/>
                    <a:pt x="7130" y="18206"/>
                    <a:pt x="6713" y="18490"/>
                  </a:cubicBezTo>
                  <a:cubicBezTo>
                    <a:pt x="6601" y="18490"/>
                    <a:pt x="6713" y="18773"/>
                    <a:pt x="6601" y="18773"/>
                  </a:cubicBezTo>
                  <a:cubicBezTo>
                    <a:pt x="5961" y="19057"/>
                    <a:pt x="5222" y="18860"/>
                    <a:pt x="4679" y="19243"/>
                  </a:cubicBezTo>
                  <a:cubicBezTo>
                    <a:pt x="4359" y="19526"/>
                    <a:pt x="4679" y="19995"/>
                    <a:pt x="4679" y="20279"/>
                  </a:cubicBezTo>
                  <a:cubicBezTo>
                    <a:pt x="4582" y="20464"/>
                    <a:pt x="4470" y="20650"/>
                    <a:pt x="4359" y="20748"/>
                  </a:cubicBezTo>
                  <a:cubicBezTo>
                    <a:pt x="4039" y="21032"/>
                    <a:pt x="3830" y="21217"/>
                    <a:pt x="3509" y="21316"/>
                  </a:cubicBezTo>
                  <a:cubicBezTo>
                    <a:pt x="3189" y="21403"/>
                    <a:pt x="2660" y="21403"/>
                    <a:pt x="2242" y="21403"/>
                  </a:cubicBezTo>
                  <a:cubicBezTo>
                    <a:pt x="1922" y="21403"/>
                    <a:pt x="1490" y="21600"/>
                    <a:pt x="1170" y="21403"/>
                  </a:cubicBezTo>
                  <a:cubicBezTo>
                    <a:pt x="961" y="21316"/>
                    <a:pt x="1281" y="21032"/>
                    <a:pt x="1281" y="20847"/>
                  </a:cubicBezTo>
                  <a:cubicBezTo>
                    <a:pt x="1281" y="20464"/>
                    <a:pt x="1170" y="20094"/>
                    <a:pt x="1072" y="19712"/>
                  </a:cubicBezTo>
                  <a:cubicBezTo>
                    <a:pt x="850" y="19144"/>
                    <a:pt x="223" y="18675"/>
                    <a:pt x="432" y="18107"/>
                  </a:cubicBezTo>
                  <a:cubicBezTo>
                    <a:pt x="529" y="17737"/>
                    <a:pt x="1922" y="18206"/>
                    <a:pt x="1810" y="17737"/>
                  </a:cubicBezTo>
                  <a:cubicBezTo>
                    <a:pt x="1713" y="16885"/>
                    <a:pt x="641" y="16317"/>
                    <a:pt x="0" y="15663"/>
                  </a:cubicBezTo>
                  <a:cubicBezTo>
                    <a:pt x="111" y="15663"/>
                    <a:pt x="111" y="15663"/>
                    <a:pt x="111" y="15663"/>
                  </a:cubicBezTo>
                  <a:cubicBezTo>
                    <a:pt x="320" y="15379"/>
                    <a:pt x="432" y="15095"/>
                    <a:pt x="752" y="14811"/>
                  </a:cubicBezTo>
                  <a:cubicBezTo>
                    <a:pt x="961" y="14614"/>
                    <a:pt x="1602" y="14811"/>
                    <a:pt x="1713" y="14528"/>
                  </a:cubicBezTo>
                  <a:cubicBezTo>
                    <a:pt x="1810" y="14145"/>
                    <a:pt x="961" y="13775"/>
                    <a:pt x="1072" y="13392"/>
                  </a:cubicBezTo>
                  <a:cubicBezTo>
                    <a:pt x="1281" y="12923"/>
                    <a:pt x="2131" y="12923"/>
                    <a:pt x="2340" y="12454"/>
                  </a:cubicBezTo>
                  <a:cubicBezTo>
                    <a:pt x="2562" y="12170"/>
                    <a:pt x="2033" y="11886"/>
                    <a:pt x="2033" y="11504"/>
                  </a:cubicBezTo>
                  <a:cubicBezTo>
                    <a:pt x="2033" y="11232"/>
                    <a:pt x="2562" y="11035"/>
                    <a:pt x="2340" y="10849"/>
                  </a:cubicBezTo>
                  <a:cubicBezTo>
                    <a:pt x="2242" y="10565"/>
                    <a:pt x="1170" y="10664"/>
                    <a:pt x="1393" y="10282"/>
                  </a:cubicBezTo>
                  <a:cubicBezTo>
                    <a:pt x="1602" y="9813"/>
                    <a:pt x="2660" y="10096"/>
                    <a:pt x="2980" y="9627"/>
                  </a:cubicBezTo>
                  <a:cubicBezTo>
                    <a:pt x="3189" y="9245"/>
                    <a:pt x="2660" y="8776"/>
                    <a:pt x="2451" y="8393"/>
                  </a:cubicBezTo>
                  <a:cubicBezTo>
                    <a:pt x="2980" y="8307"/>
                    <a:pt x="3509" y="8393"/>
                    <a:pt x="3941" y="8122"/>
                  </a:cubicBezTo>
                  <a:cubicBezTo>
                    <a:pt x="4359" y="7924"/>
                    <a:pt x="4359" y="7270"/>
                    <a:pt x="4902" y="7072"/>
                  </a:cubicBezTo>
                  <a:cubicBezTo>
                    <a:pt x="5111" y="6986"/>
                    <a:pt x="5543" y="7554"/>
                    <a:pt x="5752" y="7356"/>
                  </a:cubicBezTo>
                  <a:cubicBezTo>
                    <a:pt x="6072" y="7171"/>
                    <a:pt x="5752" y="6702"/>
                    <a:pt x="5863" y="6418"/>
                  </a:cubicBezTo>
                  <a:cubicBezTo>
                    <a:pt x="6169" y="6036"/>
                    <a:pt x="6713" y="5764"/>
                    <a:pt x="7130" y="5665"/>
                  </a:cubicBezTo>
                  <a:cubicBezTo>
                    <a:pt x="7771" y="5567"/>
                    <a:pt x="8509" y="6233"/>
                    <a:pt x="8941" y="5851"/>
                  </a:cubicBezTo>
                  <a:cubicBezTo>
                    <a:pt x="9470" y="5381"/>
                    <a:pt x="8732" y="4160"/>
                    <a:pt x="9373" y="3876"/>
                  </a:cubicBezTo>
                  <a:cubicBezTo>
                    <a:pt x="9999" y="3493"/>
                    <a:pt x="10751" y="4345"/>
                    <a:pt x="11601" y="4345"/>
                  </a:cubicBezTo>
                  <a:cubicBezTo>
                    <a:pt x="11921" y="4443"/>
                    <a:pt x="12241" y="4061"/>
                    <a:pt x="12659" y="387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8" name="Shape 2402">
              <a:extLst>
                <a:ext uri="{FF2B5EF4-FFF2-40B4-BE49-F238E27FC236}">
                  <a16:creationId xmlns:a16="http://schemas.microsoft.com/office/drawing/2014/main" id="{7D9673EA-DA2E-F1F2-51D1-7E455302A8E4}"/>
                </a:ext>
              </a:extLst>
            </p:cNvPr>
            <p:cNvSpPr/>
            <p:nvPr/>
          </p:nvSpPr>
          <p:spPr>
            <a:xfrm>
              <a:off x="4031317" y="6373566"/>
              <a:ext cx="281246" cy="125874"/>
            </a:xfrm>
            <a:custGeom>
              <a:avLst/>
              <a:gdLst/>
              <a:ahLst/>
              <a:cxnLst>
                <a:cxn ang="0">
                  <a:pos x="wd2" y="hd2"/>
                </a:cxn>
                <a:cxn ang="5400000">
                  <a:pos x="wd2" y="hd2"/>
                </a:cxn>
                <a:cxn ang="10800000">
                  <a:pos x="wd2" y="hd2"/>
                </a:cxn>
                <a:cxn ang="16200000">
                  <a:pos x="wd2" y="hd2"/>
                </a:cxn>
              </a:cxnLst>
              <a:rect l="0" t="0" r="r" b="b"/>
              <a:pathLst>
                <a:path w="21200" h="21077" extrusionOk="0">
                  <a:moveTo>
                    <a:pt x="0" y="490"/>
                  </a:moveTo>
                  <a:cubicBezTo>
                    <a:pt x="1172" y="943"/>
                    <a:pt x="2343" y="490"/>
                    <a:pt x="3311" y="1395"/>
                  </a:cubicBezTo>
                  <a:cubicBezTo>
                    <a:pt x="4279" y="1791"/>
                    <a:pt x="4865" y="4392"/>
                    <a:pt x="5833" y="4392"/>
                  </a:cubicBezTo>
                  <a:cubicBezTo>
                    <a:pt x="7005" y="4392"/>
                    <a:pt x="7387" y="943"/>
                    <a:pt x="8380" y="490"/>
                  </a:cubicBezTo>
                  <a:cubicBezTo>
                    <a:pt x="9348" y="490"/>
                    <a:pt x="10112" y="3091"/>
                    <a:pt x="11080" y="3544"/>
                  </a:cubicBezTo>
                  <a:cubicBezTo>
                    <a:pt x="11666" y="3544"/>
                    <a:pt x="12074" y="1395"/>
                    <a:pt x="12634" y="1791"/>
                  </a:cubicBezTo>
                  <a:cubicBezTo>
                    <a:pt x="13627" y="1791"/>
                    <a:pt x="14213" y="3996"/>
                    <a:pt x="14977" y="3996"/>
                  </a:cubicBezTo>
                  <a:cubicBezTo>
                    <a:pt x="15945" y="3544"/>
                    <a:pt x="16531" y="490"/>
                    <a:pt x="17525" y="94"/>
                  </a:cubicBezTo>
                  <a:cubicBezTo>
                    <a:pt x="18492" y="-358"/>
                    <a:pt x="19460" y="943"/>
                    <a:pt x="20428" y="1395"/>
                  </a:cubicBezTo>
                  <a:cubicBezTo>
                    <a:pt x="20428" y="3091"/>
                    <a:pt x="20428" y="4392"/>
                    <a:pt x="20428" y="6145"/>
                  </a:cubicBezTo>
                  <a:cubicBezTo>
                    <a:pt x="20632" y="7897"/>
                    <a:pt x="21600" y="10894"/>
                    <a:pt x="21014" y="12195"/>
                  </a:cubicBezTo>
                  <a:cubicBezTo>
                    <a:pt x="19078" y="14796"/>
                    <a:pt x="16531" y="13495"/>
                    <a:pt x="14392" y="15644"/>
                  </a:cubicBezTo>
                  <a:cubicBezTo>
                    <a:pt x="13806" y="16040"/>
                    <a:pt x="14595" y="19093"/>
                    <a:pt x="14009" y="19941"/>
                  </a:cubicBezTo>
                  <a:cubicBezTo>
                    <a:pt x="13220" y="21242"/>
                    <a:pt x="12074" y="21242"/>
                    <a:pt x="10902" y="20846"/>
                  </a:cubicBezTo>
                  <a:cubicBezTo>
                    <a:pt x="10698" y="20846"/>
                    <a:pt x="11080" y="19546"/>
                    <a:pt x="10698" y="19093"/>
                  </a:cubicBezTo>
                  <a:cubicBezTo>
                    <a:pt x="10112" y="19093"/>
                    <a:pt x="9526" y="20846"/>
                    <a:pt x="8966" y="20394"/>
                  </a:cubicBezTo>
                  <a:cubicBezTo>
                    <a:pt x="8380" y="19546"/>
                    <a:pt x="8380" y="17340"/>
                    <a:pt x="7973" y="16040"/>
                  </a:cubicBezTo>
                  <a:cubicBezTo>
                    <a:pt x="7591" y="15192"/>
                    <a:pt x="7005" y="13891"/>
                    <a:pt x="6419" y="13495"/>
                  </a:cubicBezTo>
                  <a:cubicBezTo>
                    <a:pt x="5833" y="12591"/>
                    <a:pt x="5247" y="13043"/>
                    <a:pt x="4483" y="13043"/>
                  </a:cubicBezTo>
                  <a:cubicBezTo>
                    <a:pt x="3693" y="13495"/>
                    <a:pt x="2929" y="14796"/>
                    <a:pt x="2343" y="13891"/>
                  </a:cubicBezTo>
                  <a:cubicBezTo>
                    <a:pt x="1554" y="13495"/>
                    <a:pt x="1375" y="11347"/>
                    <a:pt x="1172" y="10046"/>
                  </a:cubicBezTo>
                  <a:cubicBezTo>
                    <a:pt x="1172" y="8293"/>
                    <a:pt x="2343" y="6993"/>
                    <a:pt x="2140" y="5296"/>
                  </a:cubicBezTo>
                  <a:cubicBezTo>
                    <a:pt x="1961" y="3091"/>
                    <a:pt x="790" y="2243"/>
                    <a:pt x="0" y="49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09" name="Shape 2403">
              <a:extLst>
                <a:ext uri="{FF2B5EF4-FFF2-40B4-BE49-F238E27FC236}">
                  <a16:creationId xmlns:a16="http://schemas.microsoft.com/office/drawing/2014/main" id="{EA0ABEB5-7E1E-96A3-5180-55354B5C2357}"/>
                </a:ext>
              </a:extLst>
            </p:cNvPr>
            <p:cNvSpPr/>
            <p:nvPr/>
          </p:nvSpPr>
          <p:spPr>
            <a:xfrm>
              <a:off x="4056393" y="6325342"/>
              <a:ext cx="520201" cy="628483"/>
            </a:xfrm>
            <a:custGeom>
              <a:avLst/>
              <a:gdLst/>
              <a:ahLst/>
              <a:cxnLst>
                <a:cxn ang="0">
                  <a:pos x="wd2" y="hd2"/>
                </a:cxn>
                <a:cxn ang="5400000">
                  <a:pos x="wd2" y="hd2"/>
                </a:cxn>
                <a:cxn ang="10800000">
                  <a:pos x="wd2" y="hd2"/>
                </a:cxn>
                <a:cxn ang="16200000">
                  <a:pos x="wd2" y="hd2"/>
                </a:cxn>
              </a:cxnLst>
              <a:rect l="0" t="0" r="r" b="b"/>
              <a:pathLst>
                <a:path w="21307" h="21600" extrusionOk="0">
                  <a:moveTo>
                    <a:pt x="10046" y="1948"/>
                  </a:moveTo>
                  <a:cubicBezTo>
                    <a:pt x="10473" y="1855"/>
                    <a:pt x="11094" y="1948"/>
                    <a:pt x="11411" y="1681"/>
                  </a:cubicBezTo>
                  <a:cubicBezTo>
                    <a:pt x="11728" y="1414"/>
                    <a:pt x="11411" y="881"/>
                    <a:pt x="11632" y="533"/>
                  </a:cubicBezTo>
                  <a:cubicBezTo>
                    <a:pt x="11839" y="267"/>
                    <a:pt x="12266" y="0"/>
                    <a:pt x="12680" y="0"/>
                  </a:cubicBezTo>
                  <a:cubicBezTo>
                    <a:pt x="13315" y="0"/>
                    <a:pt x="13839" y="267"/>
                    <a:pt x="14363" y="348"/>
                  </a:cubicBezTo>
                  <a:cubicBezTo>
                    <a:pt x="14253" y="800"/>
                    <a:pt x="13949" y="1241"/>
                    <a:pt x="14046" y="1681"/>
                  </a:cubicBezTo>
                  <a:cubicBezTo>
                    <a:pt x="14156" y="2122"/>
                    <a:pt x="14473" y="2481"/>
                    <a:pt x="14680" y="2829"/>
                  </a:cubicBezTo>
                  <a:cubicBezTo>
                    <a:pt x="14887" y="3096"/>
                    <a:pt x="15204" y="3188"/>
                    <a:pt x="15315" y="3455"/>
                  </a:cubicBezTo>
                  <a:cubicBezTo>
                    <a:pt x="15315" y="3803"/>
                    <a:pt x="14997" y="4070"/>
                    <a:pt x="14997" y="4429"/>
                  </a:cubicBezTo>
                  <a:cubicBezTo>
                    <a:pt x="14997" y="4870"/>
                    <a:pt x="14887" y="5403"/>
                    <a:pt x="15108" y="5843"/>
                  </a:cubicBezTo>
                  <a:cubicBezTo>
                    <a:pt x="15204" y="6110"/>
                    <a:pt x="15425" y="6470"/>
                    <a:pt x="15742" y="6551"/>
                  </a:cubicBezTo>
                  <a:cubicBezTo>
                    <a:pt x="16266" y="6643"/>
                    <a:pt x="16901" y="6284"/>
                    <a:pt x="17425" y="6377"/>
                  </a:cubicBezTo>
                  <a:cubicBezTo>
                    <a:pt x="18046" y="6470"/>
                    <a:pt x="18584" y="6817"/>
                    <a:pt x="19108" y="7084"/>
                  </a:cubicBezTo>
                  <a:cubicBezTo>
                    <a:pt x="19425" y="7351"/>
                    <a:pt x="19632" y="7699"/>
                    <a:pt x="19839" y="8058"/>
                  </a:cubicBezTo>
                  <a:cubicBezTo>
                    <a:pt x="19949" y="8325"/>
                    <a:pt x="20059" y="8672"/>
                    <a:pt x="20156" y="8939"/>
                  </a:cubicBezTo>
                  <a:cubicBezTo>
                    <a:pt x="19742" y="9206"/>
                    <a:pt x="19218" y="9299"/>
                    <a:pt x="18901" y="9565"/>
                  </a:cubicBezTo>
                  <a:cubicBezTo>
                    <a:pt x="18680" y="9739"/>
                    <a:pt x="18901" y="10099"/>
                    <a:pt x="19108" y="10272"/>
                  </a:cubicBezTo>
                  <a:cubicBezTo>
                    <a:pt x="19315" y="10539"/>
                    <a:pt x="19839" y="10713"/>
                    <a:pt x="19949" y="11072"/>
                  </a:cubicBezTo>
                  <a:cubicBezTo>
                    <a:pt x="20059" y="11246"/>
                    <a:pt x="19742" y="11594"/>
                    <a:pt x="19839" y="11780"/>
                  </a:cubicBezTo>
                  <a:cubicBezTo>
                    <a:pt x="19949" y="11954"/>
                    <a:pt x="20266" y="11861"/>
                    <a:pt x="20473" y="12046"/>
                  </a:cubicBezTo>
                  <a:cubicBezTo>
                    <a:pt x="20791" y="12220"/>
                    <a:pt x="20997" y="12487"/>
                    <a:pt x="21218" y="12754"/>
                  </a:cubicBezTo>
                  <a:cubicBezTo>
                    <a:pt x="21218" y="12928"/>
                    <a:pt x="21315" y="13194"/>
                    <a:pt x="21218" y="13287"/>
                  </a:cubicBezTo>
                  <a:cubicBezTo>
                    <a:pt x="20791" y="13554"/>
                    <a:pt x="20266" y="13809"/>
                    <a:pt x="19742" y="13728"/>
                  </a:cubicBezTo>
                  <a:cubicBezTo>
                    <a:pt x="19218" y="13554"/>
                    <a:pt x="18997" y="12928"/>
                    <a:pt x="18363" y="12661"/>
                  </a:cubicBezTo>
                  <a:cubicBezTo>
                    <a:pt x="18266" y="12568"/>
                    <a:pt x="18266" y="12928"/>
                    <a:pt x="18266" y="13020"/>
                  </a:cubicBezTo>
                  <a:cubicBezTo>
                    <a:pt x="18156" y="13287"/>
                    <a:pt x="17949" y="13554"/>
                    <a:pt x="17949" y="13809"/>
                  </a:cubicBezTo>
                  <a:cubicBezTo>
                    <a:pt x="18046" y="14168"/>
                    <a:pt x="18363" y="14435"/>
                    <a:pt x="18680" y="14516"/>
                  </a:cubicBezTo>
                  <a:cubicBezTo>
                    <a:pt x="19218" y="14609"/>
                    <a:pt x="19632" y="14075"/>
                    <a:pt x="20059" y="14075"/>
                  </a:cubicBezTo>
                  <a:cubicBezTo>
                    <a:pt x="20473" y="14075"/>
                    <a:pt x="20901" y="14261"/>
                    <a:pt x="21108" y="14516"/>
                  </a:cubicBezTo>
                  <a:cubicBezTo>
                    <a:pt x="21315" y="15142"/>
                    <a:pt x="21425" y="15849"/>
                    <a:pt x="21108" y="16383"/>
                  </a:cubicBezTo>
                  <a:cubicBezTo>
                    <a:pt x="20901" y="16649"/>
                    <a:pt x="20266" y="16209"/>
                    <a:pt x="19949" y="16383"/>
                  </a:cubicBezTo>
                  <a:cubicBezTo>
                    <a:pt x="19632" y="16557"/>
                    <a:pt x="19632" y="16916"/>
                    <a:pt x="19535" y="17264"/>
                  </a:cubicBezTo>
                  <a:cubicBezTo>
                    <a:pt x="19315" y="17623"/>
                    <a:pt x="19218" y="17971"/>
                    <a:pt x="19108" y="18330"/>
                  </a:cubicBezTo>
                  <a:cubicBezTo>
                    <a:pt x="19108" y="18864"/>
                    <a:pt x="19218" y="19304"/>
                    <a:pt x="19315" y="19838"/>
                  </a:cubicBezTo>
                  <a:cubicBezTo>
                    <a:pt x="19315" y="20012"/>
                    <a:pt x="19315" y="20186"/>
                    <a:pt x="19218" y="20278"/>
                  </a:cubicBezTo>
                  <a:cubicBezTo>
                    <a:pt x="19108" y="20371"/>
                    <a:pt x="18791" y="20371"/>
                    <a:pt x="18680" y="20278"/>
                  </a:cubicBezTo>
                  <a:cubicBezTo>
                    <a:pt x="18046" y="19745"/>
                    <a:pt x="17632" y="19038"/>
                    <a:pt x="16901" y="18678"/>
                  </a:cubicBezTo>
                  <a:cubicBezTo>
                    <a:pt x="16680" y="18504"/>
                    <a:pt x="16473" y="18945"/>
                    <a:pt x="16266" y="18945"/>
                  </a:cubicBezTo>
                  <a:cubicBezTo>
                    <a:pt x="15839" y="18864"/>
                    <a:pt x="15632" y="18238"/>
                    <a:pt x="15315" y="18423"/>
                  </a:cubicBezTo>
                  <a:cubicBezTo>
                    <a:pt x="14887" y="18597"/>
                    <a:pt x="15108" y="19130"/>
                    <a:pt x="14887" y="19478"/>
                  </a:cubicBezTo>
                  <a:cubicBezTo>
                    <a:pt x="14680" y="19664"/>
                    <a:pt x="14363" y="19745"/>
                    <a:pt x="14046" y="19838"/>
                  </a:cubicBezTo>
                  <a:cubicBezTo>
                    <a:pt x="13728" y="19838"/>
                    <a:pt x="13315" y="19478"/>
                    <a:pt x="13108" y="19745"/>
                  </a:cubicBezTo>
                  <a:cubicBezTo>
                    <a:pt x="12570" y="20278"/>
                    <a:pt x="12680" y="20986"/>
                    <a:pt x="12473" y="21600"/>
                  </a:cubicBezTo>
                  <a:cubicBezTo>
                    <a:pt x="12046" y="21345"/>
                    <a:pt x="11411" y="21252"/>
                    <a:pt x="11204" y="20893"/>
                  </a:cubicBezTo>
                  <a:cubicBezTo>
                    <a:pt x="11094" y="20545"/>
                    <a:pt x="11839" y="20012"/>
                    <a:pt x="11522" y="19745"/>
                  </a:cubicBezTo>
                  <a:cubicBezTo>
                    <a:pt x="11204" y="19397"/>
                    <a:pt x="10473" y="19304"/>
                    <a:pt x="9935" y="19478"/>
                  </a:cubicBezTo>
                  <a:cubicBezTo>
                    <a:pt x="9411" y="19664"/>
                    <a:pt x="9315" y="20638"/>
                    <a:pt x="8570" y="20638"/>
                  </a:cubicBezTo>
                  <a:cubicBezTo>
                    <a:pt x="8156" y="20638"/>
                    <a:pt x="8156" y="19838"/>
                    <a:pt x="7839" y="19478"/>
                  </a:cubicBezTo>
                  <a:cubicBezTo>
                    <a:pt x="7839" y="18771"/>
                    <a:pt x="8253" y="17890"/>
                    <a:pt x="7728" y="17264"/>
                  </a:cubicBezTo>
                  <a:cubicBezTo>
                    <a:pt x="7411" y="16823"/>
                    <a:pt x="6459" y="17449"/>
                    <a:pt x="5935" y="17264"/>
                  </a:cubicBezTo>
                  <a:cubicBezTo>
                    <a:pt x="5728" y="17183"/>
                    <a:pt x="6253" y="16823"/>
                    <a:pt x="6253" y="16649"/>
                  </a:cubicBezTo>
                  <a:cubicBezTo>
                    <a:pt x="6142" y="16383"/>
                    <a:pt x="5618" y="16383"/>
                    <a:pt x="5522" y="16209"/>
                  </a:cubicBezTo>
                  <a:cubicBezTo>
                    <a:pt x="5301" y="15942"/>
                    <a:pt x="5411" y="15675"/>
                    <a:pt x="5204" y="15409"/>
                  </a:cubicBezTo>
                  <a:cubicBezTo>
                    <a:pt x="4984" y="15235"/>
                    <a:pt x="4570" y="15316"/>
                    <a:pt x="4459" y="15049"/>
                  </a:cubicBezTo>
                  <a:cubicBezTo>
                    <a:pt x="4363" y="14875"/>
                    <a:pt x="4887" y="14435"/>
                    <a:pt x="4570" y="14261"/>
                  </a:cubicBezTo>
                  <a:cubicBezTo>
                    <a:pt x="4142" y="14075"/>
                    <a:pt x="3618" y="14783"/>
                    <a:pt x="3301" y="14516"/>
                  </a:cubicBezTo>
                  <a:cubicBezTo>
                    <a:pt x="2777" y="14261"/>
                    <a:pt x="3094" y="13554"/>
                    <a:pt x="2666" y="13101"/>
                  </a:cubicBezTo>
                  <a:cubicBezTo>
                    <a:pt x="2570" y="12928"/>
                    <a:pt x="2142" y="13101"/>
                    <a:pt x="1935" y="13020"/>
                  </a:cubicBezTo>
                  <a:cubicBezTo>
                    <a:pt x="1508" y="12835"/>
                    <a:pt x="1094" y="12487"/>
                    <a:pt x="666" y="12313"/>
                  </a:cubicBezTo>
                  <a:cubicBezTo>
                    <a:pt x="459" y="11687"/>
                    <a:pt x="-175" y="11072"/>
                    <a:pt x="46" y="10446"/>
                  </a:cubicBezTo>
                  <a:cubicBezTo>
                    <a:pt x="46" y="10099"/>
                    <a:pt x="887" y="10099"/>
                    <a:pt x="1191" y="9832"/>
                  </a:cubicBezTo>
                  <a:cubicBezTo>
                    <a:pt x="1825" y="9391"/>
                    <a:pt x="2666" y="9032"/>
                    <a:pt x="2984" y="8499"/>
                  </a:cubicBezTo>
                  <a:cubicBezTo>
                    <a:pt x="3301" y="7965"/>
                    <a:pt x="3411" y="7351"/>
                    <a:pt x="3204" y="6725"/>
                  </a:cubicBezTo>
                  <a:cubicBezTo>
                    <a:pt x="3094" y="6377"/>
                    <a:pt x="2459" y="6284"/>
                    <a:pt x="2142" y="5936"/>
                  </a:cubicBezTo>
                  <a:cubicBezTo>
                    <a:pt x="1825" y="5484"/>
                    <a:pt x="1728" y="4870"/>
                    <a:pt x="1411" y="4336"/>
                  </a:cubicBezTo>
                  <a:cubicBezTo>
                    <a:pt x="1825" y="4336"/>
                    <a:pt x="2142" y="4243"/>
                    <a:pt x="2459" y="4429"/>
                  </a:cubicBezTo>
                  <a:cubicBezTo>
                    <a:pt x="2777" y="4510"/>
                    <a:pt x="3094" y="4777"/>
                    <a:pt x="3301" y="4951"/>
                  </a:cubicBezTo>
                  <a:cubicBezTo>
                    <a:pt x="3522" y="5217"/>
                    <a:pt x="3522" y="5670"/>
                    <a:pt x="3839" y="5843"/>
                  </a:cubicBezTo>
                  <a:cubicBezTo>
                    <a:pt x="4142" y="5936"/>
                    <a:pt x="4459" y="5577"/>
                    <a:pt x="4777" y="5577"/>
                  </a:cubicBezTo>
                  <a:cubicBezTo>
                    <a:pt x="4984" y="5670"/>
                    <a:pt x="4777" y="5936"/>
                    <a:pt x="4887" y="5936"/>
                  </a:cubicBezTo>
                  <a:cubicBezTo>
                    <a:pt x="5522" y="6017"/>
                    <a:pt x="6142" y="6017"/>
                    <a:pt x="6570" y="5751"/>
                  </a:cubicBezTo>
                  <a:cubicBezTo>
                    <a:pt x="6887" y="5577"/>
                    <a:pt x="6459" y="4951"/>
                    <a:pt x="6777" y="4870"/>
                  </a:cubicBezTo>
                  <a:cubicBezTo>
                    <a:pt x="7935" y="4429"/>
                    <a:pt x="9315" y="4696"/>
                    <a:pt x="10363" y="4162"/>
                  </a:cubicBezTo>
                  <a:cubicBezTo>
                    <a:pt x="10680" y="3896"/>
                    <a:pt x="10156" y="3281"/>
                    <a:pt x="10046" y="2922"/>
                  </a:cubicBezTo>
                  <a:cubicBezTo>
                    <a:pt x="10046" y="2562"/>
                    <a:pt x="10046" y="2296"/>
                    <a:pt x="10046" y="19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0" name="Shape 2404">
              <a:extLst>
                <a:ext uri="{FF2B5EF4-FFF2-40B4-BE49-F238E27FC236}">
                  <a16:creationId xmlns:a16="http://schemas.microsoft.com/office/drawing/2014/main" id="{1740E3F5-8F9F-FA43-CD0F-BC5E6A3A2E09}"/>
                </a:ext>
              </a:extLst>
            </p:cNvPr>
            <p:cNvSpPr/>
            <p:nvPr/>
          </p:nvSpPr>
          <p:spPr>
            <a:xfrm>
              <a:off x="4398890" y="6130943"/>
              <a:ext cx="859917" cy="514686"/>
            </a:xfrm>
            <a:custGeom>
              <a:avLst/>
              <a:gdLst/>
              <a:ahLst/>
              <a:cxnLst>
                <a:cxn ang="0">
                  <a:pos x="wd2" y="hd2"/>
                </a:cxn>
                <a:cxn ang="5400000">
                  <a:pos x="wd2" y="hd2"/>
                </a:cxn>
                <a:cxn ang="10800000">
                  <a:pos x="wd2" y="hd2"/>
                </a:cxn>
                <a:cxn ang="16200000">
                  <a:pos x="wd2" y="hd2"/>
                </a:cxn>
              </a:cxnLst>
              <a:rect l="0" t="0" r="r" b="b"/>
              <a:pathLst>
                <a:path w="21552" h="21442" extrusionOk="0">
                  <a:moveTo>
                    <a:pt x="1759" y="5732"/>
                  </a:moveTo>
                  <a:cubicBezTo>
                    <a:pt x="1691" y="6055"/>
                    <a:pt x="1497" y="6379"/>
                    <a:pt x="1497" y="6688"/>
                  </a:cubicBezTo>
                  <a:cubicBezTo>
                    <a:pt x="1497" y="6913"/>
                    <a:pt x="1759" y="7124"/>
                    <a:pt x="1691" y="7335"/>
                  </a:cubicBezTo>
                  <a:cubicBezTo>
                    <a:pt x="1565" y="7771"/>
                    <a:pt x="1244" y="7883"/>
                    <a:pt x="982" y="8094"/>
                  </a:cubicBezTo>
                  <a:cubicBezTo>
                    <a:pt x="720" y="8305"/>
                    <a:pt x="467" y="8305"/>
                    <a:pt x="205" y="8516"/>
                  </a:cubicBezTo>
                  <a:cubicBezTo>
                    <a:pt x="138" y="9065"/>
                    <a:pt x="-48" y="9599"/>
                    <a:pt x="11" y="10133"/>
                  </a:cubicBezTo>
                  <a:cubicBezTo>
                    <a:pt x="79" y="10668"/>
                    <a:pt x="273" y="11104"/>
                    <a:pt x="400" y="11526"/>
                  </a:cubicBezTo>
                  <a:cubicBezTo>
                    <a:pt x="526" y="11849"/>
                    <a:pt x="720" y="11962"/>
                    <a:pt x="788" y="12285"/>
                  </a:cubicBezTo>
                  <a:cubicBezTo>
                    <a:pt x="788" y="12707"/>
                    <a:pt x="594" y="13030"/>
                    <a:pt x="594" y="13466"/>
                  </a:cubicBezTo>
                  <a:cubicBezTo>
                    <a:pt x="594" y="14001"/>
                    <a:pt x="526" y="14647"/>
                    <a:pt x="661" y="15182"/>
                  </a:cubicBezTo>
                  <a:cubicBezTo>
                    <a:pt x="720" y="15505"/>
                    <a:pt x="856" y="15941"/>
                    <a:pt x="1050" y="16040"/>
                  </a:cubicBezTo>
                  <a:cubicBezTo>
                    <a:pt x="1371" y="16152"/>
                    <a:pt x="1759" y="15716"/>
                    <a:pt x="2080" y="15829"/>
                  </a:cubicBezTo>
                  <a:cubicBezTo>
                    <a:pt x="2460" y="15941"/>
                    <a:pt x="2789" y="16363"/>
                    <a:pt x="3110" y="16687"/>
                  </a:cubicBezTo>
                  <a:cubicBezTo>
                    <a:pt x="3304" y="17010"/>
                    <a:pt x="3431" y="17432"/>
                    <a:pt x="3558" y="17868"/>
                  </a:cubicBezTo>
                  <a:cubicBezTo>
                    <a:pt x="3625" y="18191"/>
                    <a:pt x="3693" y="18613"/>
                    <a:pt x="3752" y="18937"/>
                  </a:cubicBezTo>
                  <a:cubicBezTo>
                    <a:pt x="3752" y="19049"/>
                    <a:pt x="3752" y="19049"/>
                    <a:pt x="3752" y="19049"/>
                  </a:cubicBezTo>
                  <a:cubicBezTo>
                    <a:pt x="4140" y="18838"/>
                    <a:pt x="4529" y="18515"/>
                    <a:pt x="4917" y="18402"/>
                  </a:cubicBezTo>
                  <a:cubicBezTo>
                    <a:pt x="5432" y="18191"/>
                    <a:pt x="6015" y="17966"/>
                    <a:pt x="6530" y="17966"/>
                  </a:cubicBezTo>
                  <a:cubicBezTo>
                    <a:pt x="6783" y="17966"/>
                    <a:pt x="7172" y="18079"/>
                    <a:pt x="7239" y="18515"/>
                  </a:cubicBezTo>
                  <a:cubicBezTo>
                    <a:pt x="7298" y="19049"/>
                    <a:pt x="6724" y="19583"/>
                    <a:pt x="6918" y="20118"/>
                  </a:cubicBezTo>
                  <a:cubicBezTo>
                    <a:pt x="7045" y="20666"/>
                    <a:pt x="7560" y="20441"/>
                    <a:pt x="7881" y="20441"/>
                  </a:cubicBezTo>
                  <a:cubicBezTo>
                    <a:pt x="8464" y="20554"/>
                    <a:pt x="9105" y="20343"/>
                    <a:pt x="9688" y="20441"/>
                  </a:cubicBezTo>
                  <a:cubicBezTo>
                    <a:pt x="10136" y="20441"/>
                    <a:pt x="10659" y="20765"/>
                    <a:pt x="11107" y="20877"/>
                  </a:cubicBezTo>
                  <a:cubicBezTo>
                    <a:pt x="11428" y="20976"/>
                    <a:pt x="11748" y="21088"/>
                    <a:pt x="12078" y="21201"/>
                  </a:cubicBezTo>
                  <a:cubicBezTo>
                    <a:pt x="12719" y="21299"/>
                    <a:pt x="13361" y="21524"/>
                    <a:pt x="14011" y="21412"/>
                  </a:cubicBezTo>
                  <a:cubicBezTo>
                    <a:pt x="14265" y="21412"/>
                    <a:pt x="14459" y="20877"/>
                    <a:pt x="14653" y="20666"/>
                  </a:cubicBezTo>
                  <a:cubicBezTo>
                    <a:pt x="14974" y="20343"/>
                    <a:pt x="15236" y="20118"/>
                    <a:pt x="15489" y="19794"/>
                  </a:cubicBezTo>
                  <a:cubicBezTo>
                    <a:pt x="15751" y="19372"/>
                    <a:pt x="15945" y="18838"/>
                    <a:pt x="16139" y="18402"/>
                  </a:cubicBezTo>
                  <a:cubicBezTo>
                    <a:pt x="16266" y="18079"/>
                    <a:pt x="16334" y="17544"/>
                    <a:pt x="16587" y="17432"/>
                  </a:cubicBezTo>
                  <a:cubicBezTo>
                    <a:pt x="17043" y="17333"/>
                    <a:pt x="17490" y="17657"/>
                    <a:pt x="17946" y="17657"/>
                  </a:cubicBezTo>
                  <a:cubicBezTo>
                    <a:pt x="18461" y="17657"/>
                    <a:pt x="18977" y="17868"/>
                    <a:pt x="19492" y="17544"/>
                  </a:cubicBezTo>
                  <a:cubicBezTo>
                    <a:pt x="19745" y="17333"/>
                    <a:pt x="20007" y="16687"/>
                    <a:pt x="20074" y="16152"/>
                  </a:cubicBezTo>
                  <a:cubicBezTo>
                    <a:pt x="20133" y="15941"/>
                    <a:pt x="19813" y="15716"/>
                    <a:pt x="19813" y="15393"/>
                  </a:cubicBezTo>
                  <a:cubicBezTo>
                    <a:pt x="19880" y="14971"/>
                    <a:pt x="20007" y="14535"/>
                    <a:pt x="20268" y="14324"/>
                  </a:cubicBezTo>
                  <a:cubicBezTo>
                    <a:pt x="20657" y="14099"/>
                    <a:pt x="21172" y="14212"/>
                    <a:pt x="21552" y="14212"/>
                  </a:cubicBezTo>
                  <a:cubicBezTo>
                    <a:pt x="21552" y="13143"/>
                    <a:pt x="21552" y="12285"/>
                    <a:pt x="21172" y="11202"/>
                  </a:cubicBezTo>
                  <a:cubicBezTo>
                    <a:pt x="21037" y="10780"/>
                    <a:pt x="21104" y="10344"/>
                    <a:pt x="21037" y="9922"/>
                  </a:cubicBezTo>
                  <a:cubicBezTo>
                    <a:pt x="20910" y="9163"/>
                    <a:pt x="20784" y="8840"/>
                    <a:pt x="20589" y="8305"/>
                  </a:cubicBezTo>
                  <a:cubicBezTo>
                    <a:pt x="19813" y="6379"/>
                    <a:pt x="18335" y="4649"/>
                    <a:pt x="17237" y="3046"/>
                  </a:cubicBezTo>
                  <a:cubicBezTo>
                    <a:pt x="16072" y="1218"/>
                    <a:pt x="14400" y="1865"/>
                    <a:pt x="12981" y="894"/>
                  </a:cubicBezTo>
                  <a:cubicBezTo>
                    <a:pt x="12137" y="360"/>
                    <a:pt x="10786" y="1105"/>
                    <a:pt x="10076" y="360"/>
                  </a:cubicBezTo>
                  <a:cubicBezTo>
                    <a:pt x="9367" y="-76"/>
                    <a:pt x="8852" y="-76"/>
                    <a:pt x="8075" y="149"/>
                  </a:cubicBezTo>
                  <a:cubicBezTo>
                    <a:pt x="7433" y="247"/>
                    <a:pt x="6657" y="-76"/>
                    <a:pt x="5947" y="149"/>
                  </a:cubicBezTo>
                  <a:cubicBezTo>
                    <a:pt x="4655" y="472"/>
                    <a:pt x="4461" y="2835"/>
                    <a:pt x="4334" y="4649"/>
                  </a:cubicBezTo>
                  <a:cubicBezTo>
                    <a:pt x="4267" y="5197"/>
                    <a:pt x="3431" y="5619"/>
                    <a:pt x="3304" y="6590"/>
                  </a:cubicBezTo>
                  <a:cubicBezTo>
                    <a:pt x="3043" y="6590"/>
                    <a:pt x="2274" y="6154"/>
                    <a:pt x="1759" y="573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1" name="Shape 2405">
              <a:extLst>
                <a:ext uri="{FF2B5EF4-FFF2-40B4-BE49-F238E27FC236}">
                  <a16:creationId xmlns:a16="http://schemas.microsoft.com/office/drawing/2014/main" id="{3DF16BC9-44A4-848A-72FF-32EC802A091E}"/>
                </a:ext>
              </a:extLst>
            </p:cNvPr>
            <p:cNvSpPr/>
            <p:nvPr/>
          </p:nvSpPr>
          <p:spPr>
            <a:xfrm>
              <a:off x="4495096" y="6471563"/>
              <a:ext cx="770132" cy="559764"/>
            </a:xfrm>
            <a:custGeom>
              <a:avLst/>
              <a:gdLst/>
              <a:ahLst/>
              <a:cxnLst>
                <a:cxn ang="0">
                  <a:pos x="wd2" y="hd2"/>
                </a:cxn>
                <a:cxn ang="5400000">
                  <a:pos x="wd2" y="hd2"/>
                </a:cxn>
                <a:cxn ang="10800000">
                  <a:pos x="wd2" y="hd2"/>
                </a:cxn>
                <a:cxn ang="16200000">
                  <a:pos x="wd2" y="hd2"/>
                </a:cxn>
              </a:cxnLst>
              <a:rect l="0" t="0" r="r" b="b"/>
              <a:pathLst>
                <a:path w="21530" h="20761" extrusionOk="0">
                  <a:moveTo>
                    <a:pt x="933" y="15984"/>
                  </a:moveTo>
                  <a:cubicBezTo>
                    <a:pt x="867" y="15409"/>
                    <a:pt x="792" y="14934"/>
                    <a:pt x="792" y="14358"/>
                  </a:cubicBezTo>
                  <a:cubicBezTo>
                    <a:pt x="867" y="13971"/>
                    <a:pt x="933" y="13595"/>
                    <a:pt x="1084" y="13208"/>
                  </a:cubicBezTo>
                  <a:cubicBezTo>
                    <a:pt x="1150" y="12832"/>
                    <a:pt x="1150" y="12445"/>
                    <a:pt x="1367" y="12257"/>
                  </a:cubicBezTo>
                  <a:cubicBezTo>
                    <a:pt x="1584" y="12070"/>
                    <a:pt x="2018" y="12545"/>
                    <a:pt x="2159" y="12257"/>
                  </a:cubicBezTo>
                  <a:cubicBezTo>
                    <a:pt x="2376" y="11682"/>
                    <a:pt x="2300" y="10919"/>
                    <a:pt x="2159" y="10243"/>
                  </a:cubicBezTo>
                  <a:cubicBezTo>
                    <a:pt x="2018" y="9968"/>
                    <a:pt x="1725" y="9768"/>
                    <a:pt x="1443" y="9768"/>
                  </a:cubicBezTo>
                  <a:cubicBezTo>
                    <a:pt x="1150" y="9768"/>
                    <a:pt x="867" y="10344"/>
                    <a:pt x="500" y="10243"/>
                  </a:cubicBezTo>
                  <a:cubicBezTo>
                    <a:pt x="283" y="10156"/>
                    <a:pt x="66" y="9868"/>
                    <a:pt x="0" y="9481"/>
                  </a:cubicBezTo>
                  <a:cubicBezTo>
                    <a:pt x="0" y="9205"/>
                    <a:pt x="141" y="8918"/>
                    <a:pt x="217" y="8630"/>
                  </a:cubicBezTo>
                  <a:cubicBezTo>
                    <a:pt x="217" y="8530"/>
                    <a:pt x="217" y="8142"/>
                    <a:pt x="283" y="8242"/>
                  </a:cubicBezTo>
                  <a:cubicBezTo>
                    <a:pt x="717" y="8530"/>
                    <a:pt x="867" y="9205"/>
                    <a:pt x="1226" y="9393"/>
                  </a:cubicBezTo>
                  <a:cubicBezTo>
                    <a:pt x="1584" y="9481"/>
                    <a:pt x="1942" y="9205"/>
                    <a:pt x="2234" y="8918"/>
                  </a:cubicBezTo>
                  <a:cubicBezTo>
                    <a:pt x="2300" y="8818"/>
                    <a:pt x="2234" y="8530"/>
                    <a:pt x="2234" y="8342"/>
                  </a:cubicBezTo>
                  <a:cubicBezTo>
                    <a:pt x="2084" y="8055"/>
                    <a:pt x="1942" y="7767"/>
                    <a:pt x="1725" y="7579"/>
                  </a:cubicBezTo>
                  <a:cubicBezTo>
                    <a:pt x="1584" y="7379"/>
                    <a:pt x="1367" y="7479"/>
                    <a:pt x="1292" y="7292"/>
                  </a:cubicBezTo>
                  <a:cubicBezTo>
                    <a:pt x="1226" y="7092"/>
                    <a:pt x="1443" y="6716"/>
                    <a:pt x="1367" y="6529"/>
                  </a:cubicBezTo>
                  <a:cubicBezTo>
                    <a:pt x="1292" y="6141"/>
                    <a:pt x="933" y="5953"/>
                    <a:pt x="792" y="5666"/>
                  </a:cubicBezTo>
                  <a:cubicBezTo>
                    <a:pt x="651" y="5478"/>
                    <a:pt x="500" y="5090"/>
                    <a:pt x="651" y="4903"/>
                  </a:cubicBezTo>
                  <a:cubicBezTo>
                    <a:pt x="867" y="4615"/>
                    <a:pt x="1226" y="4515"/>
                    <a:pt x="1509" y="4227"/>
                  </a:cubicBezTo>
                  <a:cubicBezTo>
                    <a:pt x="1509" y="4328"/>
                    <a:pt x="1509" y="4328"/>
                    <a:pt x="1509" y="4328"/>
                  </a:cubicBezTo>
                  <a:cubicBezTo>
                    <a:pt x="1942" y="4140"/>
                    <a:pt x="2376" y="3852"/>
                    <a:pt x="2810" y="3752"/>
                  </a:cubicBezTo>
                  <a:cubicBezTo>
                    <a:pt x="3385" y="3565"/>
                    <a:pt x="4035" y="3364"/>
                    <a:pt x="4610" y="3364"/>
                  </a:cubicBezTo>
                  <a:cubicBezTo>
                    <a:pt x="4893" y="3364"/>
                    <a:pt x="5327" y="3465"/>
                    <a:pt x="5402" y="3852"/>
                  </a:cubicBezTo>
                  <a:cubicBezTo>
                    <a:pt x="5468" y="4328"/>
                    <a:pt x="4827" y="4803"/>
                    <a:pt x="5044" y="5278"/>
                  </a:cubicBezTo>
                  <a:cubicBezTo>
                    <a:pt x="5186" y="5766"/>
                    <a:pt x="5761" y="5566"/>
                    <a:pt x="6119" y="5566"/>
                  </a:cubicBezTo>
                  <a:cubicBezTo>
                    <a:pt x="6769" y="5666"/>
                    <a:pt x="7486" y="5478"/>
                    <a:pt x="8137" y="5566"/>
                  </a:cubicBezTo>
                  <a:cubicBezTo>
                    <a:pt x="8636" y="5566"/>
                    <a:pt x="9221" y="5853"/>
                    <a:pt x="9720" y="5953"/>
                  </a:cubicBezTo>
                  <a:cubicBezTo>
                    <a:pt x="10079" y="6041"/>
                    <a:pt x="10437" y="6141"/>
                    <a:pt x="10805" y="6241"/>
                  </a:cubicBezTo>
                  <a:cubicBezTo>
                    <a:pt x="11521" y="6329"/>
                    <a:pt x="12238" y="6529"/>
                    <a:pt x="12964" y="6429"/>
                  </a:cubicBezTo>
                  <a:cubicBezTo>
                    <a:pt x="13247" y="6429"/>
                    <a:pt x="13463" y="5953"/>
                    <a:pt x="13680" y="5766"/>
                  </a:cubicBezTo>
                  <a:cubicBezTo>
                    <a:pt x="14039" y="5478"/>
                    <a:pt x="14331" y="5278"/>
                    <a:pt x="14614" y="4990"/>
                  </a:cubicBezTo>
                  <a:cubicBezTo>
                    <a:pt x="14906" y="4615"/>
                    <a:pt x="15123" y="4140"/>
                    <a:pt x="15340" y="3752"/>
                  </a:cubicBezTo>
                  <a:cubicBezTo>
                    <a:pt x="15481" y="3465"/>
                    <a:pt x="15557" y="2989"/>
                    <a:pt x="15839" y="2889"/>
                  </a:cubicBezTo>
                  <a:cubicBezTo>
                    <a:pt x="16348" y="2802"/>
                    <a:pt x="16848" y="3089"/>
                    <a:pt x="17357" y="3089"/>
                  </a:cubicBezTo>
                  <a:cubicBezTo>
                    <a:pt x="17932" y="3089"/>
                    <a:pt x="18508" y="3277"/>
                    <a:pt x="19083" y="2989"/>
                  </a:cubicBezTo>
                  <a:cubicBezTo>
                    <a:pt x="19366" y="2802"/>
                    <a:pt x="19658" y="2226"/>
                    <a:pt x="19733" y="1751"/>
                  </a:cubicBezTo>
                  <a:cubicBezTo>
                    <a:pt x="19799" y="1563"/>
                    <a:pt x="19441" y="1363"/>
                    <a:pt x="19441" y="1076"/>
                  </a:cubicBezTo>
                  <a:cubicBezTo>
                    <a:pt x="19516" y="700"/>
                    <a:pt x="19658" y="313"/>
                    <a:pt x="19950" y="125"/>
                  </a:cubicBezTo>
                  <a:cubicBezTo>
                    <a:pt x="20384" y="-75"/>
                    <a:pt x="20959" y="25"/>
                    <a:pt x="21383" y="25"/>
                  </a:cubicBezTo>
                  <a:cubicBezTo>
                    <a:pt x="21383" y="500"/>
                    <a:pt x="21317" y="988"/>
                    <a:pt x="21459" y="1463"/>
                  </a:cubicBezTo>
                  <a:cubicBezTo>
                    <a:pt x="21600" y="2889"/>
                    <a:pt x="21534" y="4715"/>
                    <a:pt x="21242" y="6141"/>
                  </a:cubicBezTo>
                  <a:cubicBezTo>
                    <a:pt x="19950" y="9581"/>
                    <a:pt x="19950" y="9581"/>
                    <a:pt x="19950" y="9581"/>
                  </a:cubicBezTo>
                  <a:cubicBezTo>
                    <a:pt x="19733" y="10243"/>
                    <a:pt x="19658" y="11682"/>
                    <a:pt x="19658" y="12357"/>
                  </a:cubicBezTo>
                  <a:cubicBezTo>
                    <a:pt x="19658" y="12920"/>
                    <a:pt x="19158" y="16172"/>
                    <a:pt x="18941" y="16360"/>
                  </a:cubicBezTo>
                  <a:cubicBezTo>
                    <a:pt x="18432" y="16747"/>
                    <a:pt x="17857" y="17035"/>
                    <a:pt x="17423" y="17510"/>
                  </a:cubicBezTo>
                  <a:cubicBezTo>
                    <a:pt x="16990" y="17885"/>
                    <a:pt x="16924" y="18949"/>
                    <a:pt x="16565" y="19524"/>
                  </a:cubicBezTo>
                  <a:cubicBezTo>
                    <a:pt x="15990" y="19999"/>
                    <a:pt x="15123" y="21525"/>
                    <a:pt x="14614" y="20287"/>
                  </a:cubicBezTo>
                  <a:cubicBezTo>
                    <a:pt x="14255" y="19324"/>
                    <a:pt x="14472" y="19036"/>
                    <a:pt x="13397" y="18661"/>
                  </a:cubicBezTo>
                  <a:cubicBezTo>
                    <a:pt x="14114" y="18661"/>
                    <a:pt x="14548" y="19899"/>
                    <a:pt x="14039" y="20287"/>
                  </a:cubicBezTo>
                  <a:cubicBezTo>
                    <a:pt x="13030" y="19799"/>
                    <a:pt x="12747" y="19524"/>
                    <a:pt x="11738" y="19236"/>
                  </a:cubicBezTo>
                  <a:cubicBezTo>
                    <a:pt x="11012" y="19036"/>
                    <a:pt x="10296" y="19136"/>
                    <a:pt x="9654" y="18949"/>
                  </a:cubicBezTo>
                  <a:cubicBezTo>
                    <a:pt x="9504" y="18949"/>
                    <a:pt x="9362" y="18748"/>
                    <a:pt x="9221" y="18748"/>
                  </a:cubicBezTo>
                  <a:cubicBezTo>
                    <a:pt x="8419" y="18748"/>
                    <a:pt x="7561" y="19424"/>
                    <a:pt x="6769" y="19036"/>
                  </a:cubicBezTo>
                  <a:cubicBezTo>
                    <a:pt x="6336" y="18848"/>
                    <a:pt x="6411" y="17885"/>
                    <a:pt x="6194" y="17323"/>
                  </a:cubicBezTo>
                  <a:cubicBezTo>
                    <a:pt x="5902" y="16747"/>
                    <a:pt x="5761" y="15797"/>
                    <a:pt x="5252" y="15597"/>
                  </a:cubicBezTo>
                  <a:cubicBezTo>
                    <a:pt x="4535" y="15309"/>
                    <a:pt x="3743" y="16172"/>
                    <a:pt x="2951" y="16172"/>
                  </a:cubicBezTo>
                  <a:cubicBezTo>
                    <a:pt x="2810" y="16172"/>
                    <a:pt x="2659" y="15797"/>
                    <a:pt x="2451" y="15697"/>
                  </a:cubicBezTo>
                  <a:cubicBezTo>
                    <a:pt x="1942" y="15697"/>
                    <a:pt x="1443" y="15884"/>
                    <a:pt x="933" y="1598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4" name="Shape 2406">
              <a:extLst>
                <a:ext uri="{FF2B5EF4-FFF2-40B4-BE49-F238E27FC236}">
                  <a16:creationId xmlns:a16="http://schemas.microsoft.com/office/drawing/2014/main" id="{FEB3CA75-6BFA-21C1-47CA-6DE177A77336}"/>
                </a:ext>
              </a:extLst>
            </p:cNvPr>
            <p:cNvSpPr/>
            <p:nvPr/>
          </p:nvSpPr>
          <p:spPr>
            <a:xfrm>
              <a:off x="4318791" y="6860444"/>
              <a:ext cx="701244" cy="543812"/>
            </a:xfrm>
            <a:custGeom>
              <a:avLst/>
              <a:gdLst/>
              <a:ahLst/>
              <a:cxnLst>
                <a:cxn ang="0">
                  <a:pos x="wd2" y="hd2"/>
                </a:cxn>
                <a:cxn ang="5400000">
                  <a:pos x="wd2" y="hd2"/>
                </a:cxn>
                <a:cxn ang="10800000">
                  <a:pos x="wd2" y="hd2"/>
                </a:cxn>
                <a:cxn ang="16200000">
                  <a:pos x="wd2" y="hd2"/>
                </a:cxn>
              </a:cxnLst>
              <a:rect l="0" t="0" r="r" b="b"/>
              <a:pathLst>
                <a:path w="21020" h="21427" extrusionOk="0">
                  <a:moveTo>
                    <a:pt x="1251" y="3677"/>
                  </a:moveTo>
                  <a:cubicBezTo>
                    <a:pt x="1402" y="2973"/>
                    <a:pt x="1321" y="2164"/>
                    <a:pt x="1715" y="1553"/>
                  </a:cubicBezTo>
                  <a:cubicBezTo>
                    <a:pt x="1867" y="1248"/>
                    <a:pt x="2170" y="1659"/>
                    <a:pt x="2402" y="1659"/>
                  </a:cubicBezTo>
                  <a:cubicBezTo>
                    <a:pt x="2634" y="1553"/>
                    <a:pt x="2866" y="1460"/>
                    <a:pt x="3018" y="1248"/>
                  </a:cubicBezTo>
                  <a:cubicBezTo>
                    <a:pt x="3180" y="849"/>
                    <a:pt x="3018" y="239"/>
                    <a:pt x="3331" y="39"/>
                  </a:cubicBezTo>
                  <a:cubicBezTo>
                    <a:pt x="3563" y="-173"/>
                    <a:pt x="3715" y="544"/>
                    <a:pt x="4028" y="637"/>
                  </a:cubicBezTo>
                  <a:cubicBezTo>
                    <a:pt x="4179" y="637"/>
                    <a:pt x="4331" y="132"/>
                    <a:pt x="4492" y="331"/>
                  </a:cubicBezTo>
                  <a:cubicBezTo>
                    <a:pt x="5027" y="743"/>
                    <a:pt x="5330" y="1553"/>
                    <a:pt x="5795" y="2164"/>
                  </a:cubicBezTo>
                  <a:cubicBezTo>
                    <a:pt x="5876" y="2270"/>
                    <a:pt x="6108" y="2270"/>
                    <a:pt x="6189" y="2164"/>
                  </a:cubicBezTo>
                  <a:cubicBezTo>
                    <a:pt x="6259" y="2057"/>
                    <a:pt x="6259" y="1858"/>
                    <a:pt x="6259" y="1659"/>
                  </a:cubicBezTo>
                  <a:cubicBezTo>
                    <a:pt x="6805" y="1553"/>
                    <a:pt x="7340" y="1354"/>
                    <a:pt x="7885" y="1354"/>
                  </a:cubicBezTo>
                  <a:cubicBezTo>
                    <a:pt x="8107" y="1460"/>
                    <a:pt x="8269" y="1858"/>
                    <a:pt x="8420" y="1858"/>
                  </a:cubicBezTo>
                  <a:cubicBezTo>
                    <a:pt x="9269" y="1858"/>
                    <a:pt x="10117" y="942"/>
                    <a:pt x="10884" y="1248"/>
                  </a:cubicBezTo>
                  <a:cubicBezTo>
                    <a:pt x="11430" y="1460"/>
                    <a:pt x="11581" y="2469"/>
                    <a:pt x="11894" y="3080"/>
                  </a:cubicBezTo>
                  <a:cubicBezTo>
                    <a:pt x="12127" y="3677"/>
                    <a:pt x="12046" y="4699"/>
                    <a:pt x="12510" y="4898"/>
                  </a:cubicBezTo>
                  <a:cubicBezTo>
                    <a:pt x="13358" y="5310"/>
                    <a:pt x="14277" y="4593"/>
                    <a:pt x="15136" y="4593"/>
                  </a:cubicBezTo>
                  <a:cubicBezTo>
                    <a:pt x="15287" y="4593"/>
                    <a:pt x="15439" y="4805"/>
                    <a:pt x="15600" y="4805"/>
                  </a:cubicBezTo>
                  <a:cubicBezTo>
                    <a:pt x="16287" y="5005"/>
                    <a:pt x="17054" y="4898"/>
                    <a:pt x="17832" y="5111"/>
                  </a:cubicBezTo>
                  <a:cubicBezTo>
                    <a:pt x="18912" y="5416"/>
                    <a:pt x="19215" y="5708"/>
                    <a:pt x="20296" y="6226"/>
                  </a:cubicBezTo>
                  <a:cubicBezTo>
                    <a:pt x="20064" y="6425"/>
                    <a:pt x="19761" y="6425"/>
                    <a:pt x="19215" y="6226"/>
                  </a:cubicBezTo>
                  <a:cubicBezTo>
                    <a:pt x="18993" y="6120"/>
                    <a:pt x="18296" y="6425"/>
                    <a:pt x="17983" y="6518"/>
                  </a:cubicBezTo>
                  <a:cubicBezTo>
                    <a:pt x="17680" y="6624"/>
                    <a:pt x="19064" y="6731"/>
                    <a:pt x="19296" y="6731"/>
                  </a:cubicBezTo>
                  <a:cubicBezTo>
                    <a:pt x="20296" y="6731"/>
                    <a:pt x="21073" y="6731"/>
                    <a:pt x="20064" y="8045"/>
                  </a:cubicBezTo>
                  <a:cubicBezTo>
                    <a:pt x="19912" y="8244"/>
                    <a:pt x="19609" y="8961"/>
                    <a:pt x="19761" y="9266"/>
                  </a:cubicBezTo>
                  <a:cubicBezTo>
                    <a:pt x="19993" y="9771"/>
                    <a:pt x="20457" y="9054"/>
                    <a:pt x="20690" y="8961"/>
                  </a:cubicBezTo>
                  <a:cubicBezTo>
                    <a:pt x="21538" y="8549"/>
                    <a:pt x="20528" y="10381"/>
                    <a:pt x="20144" y="10687"/>
                  </a:cubicBezTo>
                  <a:cubicBezTo>
                    <a:pt x="19215" y="11696"/>
                    <a:pt x="17832" y="13315"/>
                    <a:pt x="16751" y="11696"/>
                  </a:cubicBezTo>
                  <a:cubicBezTo>
                    <a:pt x="16671" y="11497"/>
                    <a:pt x="16055" y="12200"/>
                    <a:pt x="15822" y="12399"/>
                  </a:cubicBezTo>
                  <a:cubicBezTo>
                    <a:pt x="15439" y="12705"/>
                    <a:pt x="14974" y="12399"/>
                    <a:pt x="14590" y="12811"/>
                  </a:cubicBezTo>
                  <a:cubicBezTo>
                    <a:pt x="13974" y="13727"/>
                    <a:pt x="13823" y="13315"/>
                    <a:pt x="13045" y="13727"/>
                  </a:cubicBezTo>
                  <a:cubicBezTo>
                    <a:pt x="11117" y="14630"/>
                    <a:pt x="13823" y="14736"/>
                    <a:pt x="14358" y="14537"/>
                  </a:cubicBezTo>
                  <a:cubicBezTo>
                    <a:pt x="14590" y="14431"/>
                    <a:pt x="15600" y="13315"/>
                    <a:pt x="15752" y="13926"/>
                  </a:cubicBezTo>
                  <a:cubicBezTo>
                    <a:pt x="15822" y="14736"/>
                    <a:pt x="15671" y="15957"/>
                    <a:pt x="15671" y="16767"/>
                  </a:cubicBezTo>
                  <a:cubicBezTo>
                    <a:pt x="15519" y="17776"/>
                    <a:pt x="14742" y="19608"/>
                    <a:pt x="13823" y="20524"/>
                  </a:cubicBezTo>
                  <a:cubicBezTo>
                    <a:pt x="13510" y="20219"/>
                    <a:pt x="12975" y="19303"/>
                    <a:pt x="12591" y="19104"/>
                  </a:cubicBezTo>
                  <a:cubicBezTo>
                    <a:pt x="11965" y="18798"/>
                    <a:pt x="11278" y="18281"/>
                    <a:pt x="10581" y="18586"/>
                  </a:cubicBezTo>
                  <a:cubicBezTo>
                    <a:pt x="10268" y="18692"/>
                    <a:pt x="10733" y="20418"/>
                    <a:pt x="10733" y="20830"/>
                  </a:cubicBezTo>
                  <a:cubicBezTo>
                    <a:pt x="10349" y="20923"/>
                    <a:pt x="9965" y="21228"/>
                    <a:pt x="9582" y="21427"/>
                  </a:cubicBezTo>
                  <a:cubicBezTo>
                    <a:pt x="9117" y="20923"/>
                    <a:pt x="8501" y="19807"/>
                    <a:pt x="7956" y="19502"/>
                  </a:cubicBezTo>
                  <a:cubicBezTo>
                    <a:pt x="7724" y="19396"/>
                    <a:pt x="7491" y="19701"/>
                    <a:pt x="7188" y="19608"/>
                  </a:cubicBezTo>
                  <a:cubicBezTo>
                    <a:pt x="7037" y="19608"/>
                    <a:pt x="6956" y="19197"/>
                    <a:pt x="6805" y="19197"/>
                  </a:cubicBezTo>
                  <a:cubicBezTo>
                    <a:pt x="6340" y="19104"/>
                    <a:pt x="5957" y="19197"/>
                    <a:pt x="5492" y="19303"/>
                  </a:cubicBezTo>
                  <a:cubicBezTo>
                    <a:pt x="5563" y="19303"/>
                    <a:pt x="5563" y="19303"/>
                    <a:pt x="5563" y="19303"/>
                  </a:cubicBezTo>
                  <a:cubicBezTo>
                    <a:pt x="5330" y="18997"/>
                    <a:pt x="5027" y="18692"/>
                    <a:pt x="4795" y="18387"/>
                  </a:cubicBezTo>
                  <a:cubicBezTo>
                    <a:pt x="4714" y="18188"/>
                    <a:pt x="4876" y="18081"/>
                    <a:pt x="4795" y="17882"/>
                  </a:cubicBezTo>
                  <a:cubicBezTo>
                    <a:pt x="4714" y="17577"/>
                    <a:pt x="4563" y="17179"/>
                    <a:pt x="4331" y="16966"/>
                  </a:cubicBezTo>
                  <a:cubicBezTo>
                    <a:pt x="4179" y="16873"/>
                    <a:pt x="4028" y="17179"/>
                    <a:pt x="3876" y="17179"/>
                  </a:cubicBezTo>
                  <a:cubicBezTo>
                    <a:pt x="3644" y="17272"/>
                    <a:pt x="3412" y="17072"/>
                    <a:pt x="3180" y="17179"/>
                  </a:cubicBezTo>
                  <a:cubicBezTo>
                    <a:pt x="2715" y="17272"/>
                    <a:pt x="2331" y="17989"/>
                    <a:pt x="1867" y="17882"/>
                  </a:cubicBezTo>
                  <a:cubicBezTo>
                    <a:pt x="1483" y="17776"/>
                    <a:pt x="1321" y="16966"/>
                    <a:pt x="1019" y="16661"/>
                  </a:cubicBezTo>
                  <a:cubicBezTo>
                    <a:pt x="867" y="16568"/>
                    <a:pt x="554" y="16767"/>
                    <a:pt x="473" y="16568"/>
                  </a:cubicBezTo>
                  <a:cubicBezTo>
                    <a:pt x="322" y="16263"/>
                    <a:pt x="473" y="15851"/>
                    <a:pt x="473" y="15453"/>
                  </a:cubicBezTo>
                  <a:cubicBezTo>
                    <a:pt x="322" y="14842"/>
                    <a:pt x="-62" y="14231"/>
                    <a:pt x="9" y="13621"/>
                  </a:cubicBezTo>
                  <a:cubicBezTo>
                    <a:pt x="9" y="12811"/>
                    <a:pt x="241" y="12001"/>
                    <a:pt x="705" y="11497"/>
                  </a:cubicBezTo>
                  <a:cubicBezTo>
                    <a:pt x="1099" y="10979"/>
                    <a:pt x="1867" y="11191"/>
                    <a:pt x="2331" y="10886"/>
                  </a:cubicBezTo>
                  <a:cubicBezTo>
                    <a:pt x="2634" y="10780"/>
                    <a:pt x="2866" y="10381"/>
                    <a:pt x="2947" y="10076"/>
                  </a:cubicBezTo>
                  <a:cubicBezTo>
                    <a:pt x="3099" y="9359"/>
                    <a:pt x="3331" y="8549"/>
                    <a:pt x="3099" y="7939"/>
                  </a:cubicBezTo>
                  <a:cubicBezTo>
                    <a:pt x="3018" y="7633"/>
                    <a:pt x="2483" y="8045"/>
                    <a:pt x="2331" y="7739"/>
                  </a:cubicBezTo>
                  <a:cubicBezTo>
                    <a:pt x="2099" y="7328"/>
                    <a:pt x="2250" y="6624"/>
                    <a:pt x="2170" y="6120"/>
                  </a:cubicBezTo>
                  <a:cubicBezTo>
                    <a:pt x="2099" y="5509"/>
                    <a:pt x="2018" y="5005"/>
                    <a:pt x="1786" y="4500"/>
                  </a:cubicBezTo>
                  <a:cubicBezTo>
                    <a:pt x="1715" y="4195"/>
                    <a:pt x="1402" y="3889"/>
                    <a:pt x="1251" y="367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5" name="Shape 2407">
              <a:extLst>
                <a:ext uri="{FF2B5EF4-FFF2-40B4-BE49-F238E27FC236}">
                  <a16:creationId xmlns:a16="http://schemas.microsoft.com/office/drawing/2014/main" id="{EEA192F1-7D91-E427-77AE-919CFE6DECBE}"/>
                </a:ext>
              </a:extLst>
            </p:cNvPr>
            <p:cNvSpPr/>
            <p:nvPr/>
          </p:nvSpPr>
          <p:spPr>
            <a:xfrm>
              <a:off x="3855763" y="6820370"/>
              <a:ext cx="163326" cy="185486"/>
            </a:xfrm>
            <a:custGeom>
              <a:avLst/>
              <a:gdLst/>
              <a:ahLst/>
              <a:cxnLst>
                <a:cxn ang="0">
                  <a:pos x="wd2" y="hd2"/>
                </a:cxn>
                <a:cxn ang="5400000">
                  <a:pos x="wd2" y="hd2"/>
                </a:cxn>
                <a:cxn ang="10800000">
                  <a:pos x="wd2" y="hd2"/>
                </a:cxn>
                <a:cxn ang="16200000">
                  <a:pos x="wd2" y="hd2"/>
                </a:cxn>
              </a:cxnLst>
              <a:rect l="0" t="0" r="r" b="b"/>
              <a:pathLst>
                <a:path w="21045" h="21600" extrusionOk="0">
                  <a:moveTo>
                    <a:pt x="445" y="9936"/>
                  </a:moveTo>
                  <a:cubicBezTo>
                    <a:pt x="445" y="9033"/>
                    <a:pt x="-555" y="7501"/>
                    <a:pt x="445" y="7226"/>
                  </a:cubicBezTo>
                  <a:cubicBezTo>
                    <a:pt x="2791" y="5420"/>
                    <a:pt x="6094" y="5105"/>
                    <a:pt x="8746" y="4202"/>
                  </a:cubicBezTo>
                  <a:cubicBezTo>
                    <a:pt x="8746" y="4202"/>
                    <a:pt x="10093" y="2396"/>
                    <a:pt x="10093" y="2121"/>
                  </a:cubicBezTo>
                  <a:cubicBezTo>
                    <a:pt x="10397" y="2121"/>
                    <a:pt x="16742" y="0"/>
                    <a:pt x="16742" y="0"/>
                  </a:cubicBezTo>
                  <a:cubicBezTo>
                    <a:pt x="17394" y="1217"/>
                    <a:pt x="18046" y="2396"/>
                    <a:pt x="18698" y="3927"/>
                  </a:cubicBezTo>
                  <a:cubicBezTo>
                    <a:pt x="18698" y="4831"/>
                    <a:pt x="18046" y="5695"/>
                    <a:pt x="18394" y="6323"/>
                  </a:cubicBezTo>
                  <a:cubicBezTo>
                    <a:pt x="19046" y="7501"/>
                    <a:pt x="21045" y="7501"/>
                    <a:pt x="21045" y="8719"/>
                  </a:cubicBezTo>
                  <a:cubicBezTo>
                    <a:pt x="21045" y="10211"/>
                    <a:pt x="18698" y="11114"/>
                    <a:pt x="17699" y="12332"/>
                  </a:cubicBezTo>
                  <a:cubicBezTo>
                    <a:pt x="17394" y="13196"/>
                    <a:pt x="16742" y="14413"/>
                    <a:pt x="16742" y="15316"/>
                  </a:cubicBezTo>
                  <a:cubicBezTo>
                    <a:pt x="16395" y="17398"/>
                    <a:pt x="16395" y="19519"/>
                    <a:pt x="16395" y="21600"/>
                  </a:cubicBezTo>
                  <a:cubicBezTo>
                    <a:pt x="15047" y="21011"/>
                    <a:pt x="13744" y="19833"/>
                    <a:pt x="12396" y="19519"/>
                  </a:cubicBezTo>
                  <a:cubicBezTo>
                    <a:pt x="11092" y="19519"/>
                    <a:pt x="10093" y="21325"/>
                    <a:pt x="9093" y="21011"/>
                  </a:cubicBezTo>
                  <a:cubicBezTo>
                    <a:pt x="6746" y="20422"/>
                    <a:pt x="5095" y="18615"/>
                    <a:pt x="3791" y="17123"/>
                  </a:cubicBezTo>
                  <a:cubicBezTo>
                    <a:pt x="2791" y="16220"/>
                    <a:pt x="2444" y="14727"/>
                    <a:pt x="2140" y="13510"/>
                  </a:cubicBezTo>
                  <a:cubicBezTo>
                    <a:pt x="1444" y="12332"/>
                    <a:pt x="1140" y="11114"/>
                    <a:pt x="445" y="993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6" name="Shape 2408">
              <a:extLst>
                <a:ext uri="{FF2B5EF4-FFF2-40B4-BE49-F238E27FC236}">
                  <a16:creationId xmlns:a16="http://schemas.microsoft.com/office/drawing/2014/main" id="{88A07456-768F-BD6C-E89C-AA1F2E7965D5}"/>
                </a:ext>
              </a:extLst>
            </p:cNvPr>
            <p:cNvSpPr/>
            <p:nvPr/>
          </p:nvSpPr>
          <p:spPr>
            <a:xfrm>
              <a:off x="3959108" y="6683606"/>
              <a:ext cx="292972" cy="466447"/>
            </a:xfrm>
            <a:custGeom>
              <a:avLst/>
              <a:gdLst/>
              <a:ahLst/>
              <a:cxnLst>
                <a:cxn ang="0">
                  <a:pos x="wd2" y="hd2"/>
                </a:cxn>
                <a:cxn ang="5400000">
                  <a:pos x="wd2" y="hd2"/>
                </a:cxn>
                <a:cxn ang="10800000">
                  <a:pos x="wd2" y="hd2"/>
                </a:cxn>
                <a:cxn ang="16200000">
                  <a:pos x="wd2" y="hd2"/>
                </a:cxn>
              </a:cxnLst>
              <a:rect l="0" t="0" r="r" b="b"/>
              <a:pathLst>
                <a:path w="20995" h="21600" extrusionOk="0">
                  <a:moveTo>
                    <a:pt x="8145" y="0"/>
                  </a:moveTo>
                  <a:cubicBezTo>
                    <a:pt x="8894" y="234"/>
                    <a:pt x="9620" y="703"/>
                    <a:pt x="10370" y="953"/>
                  </a:cubicBezTo>
                  <a:cubicBezTo>
                    <a:pt x="10733" y="1063"/>
                    <a:pt x="11482" y="828"/>
                    <a:pt x="11652" y="1063"/>
                  </a:cubicBezTo>
                  <a:cubicBezTo>
                    <a:pt x="12402" y="1672"/>
                    <a:pt x="11845" y="2626"/>
                    <a:pt x="12764" y="2970"/>
                  </a:cubicBezTo>
                  <a:cubicBezTo>
                    <a:pt x="13321" y="3329"/>
                    <a:pt x="14240" y="2376"/>
                    <a:pt x="14990" y="2626"/>
                  </a:cubicBezTo>
                  <a:cubicBezTo>
                    <a:pt x="15546" y="2860"/>
                    <a:pt x="14627" y="3454"/>
                    <a:pt x="14796" y="3689"/>
                  </a:cubicBezTo>
                  <a:cubicBezTo>
                    <a:pt x="14990" y="4048"/>
                    <a:pt x="15715" y="3939"/>
                    <a:pt x="16102" y="4173"/>
                  </a:cubicBezTo>
                  <a:cubicBezTo>
                    <a:pt x="16465" y="4533"/>
                    <a:pt x="16272" y="4892"/>
                    <a:pt x="16659" y="5252"/>
                  </a:cubicBezTo>
                  <a:cubicBezTo>
                    <a:pt x="16828" y="5486"/>
                    <a:pt x="17747" y="5486"/>
                    <a:pt x="17941" y="5845"/>
                  </a:cubicBezTo>
                  <a:cubicBezTo>
                    <a:pt x="17941" y="6080"/>
                    <a:pt x="17022" y="6564"/>
                    <a:pt x="17384" y="6674"/>
                  </a:cubicBezTo>
                  <a:cubicBezTo>
                    <a:pt x="18304" y="6924"/>
                    <a:pt x="19973" y="6080"/>
                    <a:pt x="20529" y="6674"/>
                  </a:cubicBezTo>
                  <a:cubicBezTo>
                    <a:pt x="21448" y="7518"/>
                    <a:pt x="20722" y="8706"/>
                    <a:pt x="20722" y="9659"/>
                  </a:cubicBezTo>
                  <a:cubicBezTo>
                    <a:pt x="20335" y="10269"/>
                    <a:pt x="19779" y="10737"/>
                    <a:pt x="19416" y="11331"/>
                  </a:cubicBezTo>
                  <a:cubicBezTo>
                    <a:pt x="19247" y="11925"/>
                    <a:pt x="19779" y="12769"/>
                    <a:pt x="19053" y="13004"/>
                  </a:cubicBezTo>
                  <a:cubicBezTo>
                    <a:pt x="17941" y="13488"/>
                    <a:pt x="16272" y="12879"/>
                    <a:pt x="14990" y="13238"/>
                  </a:cubicBezTo>
                  <a:cubicBezTo>
                    <a:pt x="14071" y="13488"/>
                    <a:pt x="14071" y="14442"/>
                    <a:pt x="13321" y="14801"/>
                  </a:cubicBezTo>
                  <a:cubicBezTo>
                    <a:pt x="12595" y="14911"/>
                    <a:pt x="12039" y="13957"/>
                    <a:pt x="11482" y="14207"/>
                  </a:cubicBezTo>
                  <a:cubicBezTo>
                    <a:pt x="10926" y="14442"/>
                    <a:pt x="11289" y="15161"/>
                    <a:pt x="11482" y="15630"/>
                  </a:cubicBezTo>
                  <a:cubicBezTo>
                    <a:pt x="11652" y="16223"/>
                    <a:pt x="12208" y="16817"/>
                    <a:pt x="12595" y="17427"/>
                  </a:cubicBezTo>
                  <a:cubicBezTo>
                    <a:pt x="12039" y="17427"/>
                    <a:pt x="11482" y="17661"/>
                    <a:pt x="11095" y="17536"/>
                  </a:cubicBezTo>
                  <a:cubicBezTo>
                    <a:pt x="10733" y="17302"/>
                    <a:pt x="10926" y="16817"/>
                    <a:pt x="10539" y="16708"/>
                  </a:cubicBezTo>
                  <a:cubicBezTo>
                    <a:pt x="10176" y="16583"/>
                    <a:pt x="9451" y="16817"/>
                    <a:pt x="9064" y="16942"/>
                  </a:cubicBezTo>
                  <a:cubicBezTo>
                    <a:pt x="8894" y="17067"/>
                    <a:pt x="9257" y="17302"/>
                    <a:pt x="9257" y="17536"/>
                  </a:cubicBezTo>
                  <a:cubicBezTo>
                    <a:pt x="9064" y="17786"/>
                    <a:pt x="8338" y="17786"/>
                    <a:pt x="8532" y="18021"/>
                  </a:cubicBezTo>
                  <a:cubicBezTo>
                    <a:pt x="9064" y="18615"/>
                    <a:pt x="10007" y="19209"/>
                    <a:pt x="11095" y="19334"/>
                  </a:cubicBezTo>
                  <a:cubicBezTo>
                    <a:pt x="12208" y="19334"/>
                    <a:pt x="12958" y="18849"/>
                    <a:pt x="13877" y="18615"/>
                  </a:cubicBezTo>
                  <a:cubicBezTo>
                    <a:pt x="14071" y="19099"/>
                    <a:pt x="14240" y="19568"/>
                    <a:pt x="14240" y="20053"/>
                  </a:cubicBezTo>
                  <a:cubicBezTo>
                    <a:pt x="14240" y="20287"/>
                    <a:pt x="14433" y="20647"/>
                    <a:pt x="14071" y="20647"/>
                  </a:cubicBezTo>
                  <a:cubicBezTo>
                    <a:pt x="13514" y="20772"/>
                    <a:pt x="12764" y="20522"/>
                    <a:pt x="12039" y="20412"/>
                  </a:cubicBezTo>
                  <a:cubicBezTo>
                    <a:pt x="11095" y="20162"/>
                    <a:pt x="10370" y="19818"/>
                    <a:pt x="9451" y="19818"/>
                  </a:cubicBezTo>
                  <a:cubicBezTo>
                    <a:pt x="9257" y="19818"/>
                    <a:pt x="9064" y="20053"/>
                    <a:pt x="8894" y="20162"/>
                  </a:cubicBezTo>
                  <a:cubicBezTo>
                    <a:pt x="8701" y="20522"/>
                    <a:pt x="8701" y="21006"/>
                    <a:pt x="8338" y="21241"/>
                  </a:cubicBezTo>
                  <a:cubicBezTo>
                    <a:pt x="8145" y="21475"/>
                    <a:pt x="7782" y="21600"/>
                    <a:pt x="7419" y="21600"/>
                  </a:cubicBezTo>
                  <a:cubicBezTo>
                    <a:pt x="6863" y="21475"/>
                    <a:pt x="6669" y="21115"/>
                    <a:pt x="6306" y="20881"/>
                  </a:cubicBezTo>
                  <a:cubicBezTo>
                    <a:pt x="5943" y="20162"/>
                    <a:pt x="5750" y="19334"/>
                    <a:pt x="5000" y="18849"/>
                  </a:cubicBezTo>
                  <a:cubicBezTo>
                    <a:pt x="4081" y="18380"/>
                    <a:pt x="2799" y="18255"/>
                    <a:pt x="1880" y="17896"/>
                  </a:cubicBezTo>
                  <a:cubicBezTo>
                    <a:pt x="1130" y="17661"/>
                    <a:pt x="17" y="17661"/>
                    <a:pt x="17" y="17177"/>
                  </a:cubicBezTo>
                  <a:cubicBezTo>
                    <a:pt x="-152" y="16474"/>
                    <a:pt x="936" y="15989"/>
                    <a:pt x="1323" y="15395"/>
                  </a:cubicBezTo>
                  <a:cubicBezTo>
                    <a:pt x="1493" y="15270"/>
                    <a:pt x="1493" y="15036"/>
                    <a:pt x="1686" y="14911"/>
                  </a:cubicBezTo>
                  <a:cubicBezTo>
                    <a:pt x="1686" y="14082"/>
                    <a:pt x="1686" y="13238"/>
                    <a:pt x="1880" y="12410"/>
                  </a:cubicBezTo>
                  <a:cubicBezTo>
                    <a:pt x="1880" y="12050"/>
                    <a:pt x="2243" y="11566"/>
                    <a:pt x="2412" y="11222"/>
                  </a:cubicBezTo>
                  <a:cubicBezTo>
                    <a:pt x="2968" y="10737"/>
                    <a:pt x="4274" y="10378"/>
                    <a:pt x="4274" y="9784"/>
                  </a:cubicBezTo>
                  <a:cubicBezTo>
                    <a:pt x="4274" y="9300"/>
                    <a:pt x="3162" y="9300"/>
                    <a:pt x="2799" y="8831"/>
                  </a:cubicBezTo>
                  <a:cubicBezTo>
                    <a:pt x="2605" y="8581"/>
                    <a:pt x="2968" y="8237"/>
                    <a:pt x="2968" y="7877"/>
                  </a:cubicBezTo>
                  <a:cubicBezTo>
                    <a:pt x="2605" y="7268"/>
                    <a:pt x="2243" y="6799"/>
                    <a:pt x="1880" y="6314"/>
                  </a:cubicBezTo>
                  <a:cubicBezTo>
                    <a:pt x="1493" y="5845"/>
                    <a:pt x="767" y="5361"/>
                    <a:pt x="767" y="4767"/>
                  </a:cubicBezTo>
                  <a:cubicBezTo>
                    <a:pt x="767" y="4282"/>
                    <a:pt x="1880" y="3939"/>
                    <a:pt x="2049" y="3329"/>
                  </a:cubicBezTo>
                  <a:cubicBezTo>
                    <a:pt x="2243" y="2970"/>
                    <a:pt x="1880" y="2501"/>
                    <a:pt x="1686" y="2016"/>
                  </a:cubicBezTo>
                  <a:cubicBezTo>
                    <a:pt x="1686" y="2016"/>
                    <a:pt x="2799" y="1313"/>
                    <a:pt x="2968" y="1313"/>
                  </a:cubicBezTo>
                  <a:cubicBezTo>
                    <a:pt x="3162" y="1313"/>
                    <a:pt x="5556" y="2141"/>
                    <a:pt x="5556" y="2141"/>
                  </a:cubicBezTo>
                  <a:cubicBezTo>
                    <a:pt x="5556" y="1672"/>
                    <a:pt x="5387" y="1063"/>
                    <a:pt x="5750" y="703"/>
                  </a:cubicBezTo>
                  <a:cubicBezTo>
                    <a:pt x="6306" y="234"/>
                    <a:pt x="7225" y="234"/>
                    <a:pt x="8145"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7" name="Shape 2409">
              <a:extLst>
                <a:ext uri="{FF2B5EF4-FFF2-40B4-BE49-F238E27FC236}">
                  <a16:creationId xmlns:a16="http://schemas.microsoft.com/office/drawing/2014/main" id="{2C3050EC-CF19-F162-849B-D8786336AE1D}"/>
                </a:ext>
              </a:extLst>
            </p:cNvPr>
            <p:cNvSpPr/>
            <p:nvPr/>
          </p:nvSpPr>
          <p:spPr>
            <a:xfrm>
              <a:off x="4078147" y="7043790"/>
              <a:ext cx="74725" cy="57207"/>
            </a:xfrm>
            <a:custGeom>
              <a:avLst/>
              <a:gdLst/>
              <a:ahLst/>
              <a:cxnLst>
                <a:cxn ang="0">
                  <a:pos x="wd2" y="hd2"/>
                </a:cxn>
                <a:cxn ang="5400000">
                  <a:pos x="wd2" y="hd2"/>
                </a:cxn>
                <a:cxn ang="10800000">
                  <a:pos x="wd2" y="hd2"/>
                </a:cxn>
                <a:cxn ang="16200000">
                  <a:pos x="wd2" y="hd2"/>
                </a:cxn>
              </a:cxnLst>
              <a:rect l="0" t="0" r="r" b="b"/>
              <a:pathLst>
                <a:path w="20972" h="20898" extrusionOk="0">
                  <a:moveTo>
                    <a:pt x="20972" y="15253"/>
                  </a:moveTo>
                  <a:cubicBezTo>
                    <a:pt x="15973" y="5925"/>
                    <a:pt x="15973" y="5925"/>
                    <a:pt x="15973" y="5925"/>
                  </a:cubicBezTo>
                  <a:cubicBezTo>
                    <a:pt x="13803" y="5925"/>
                    <a:pt x="11634" y="7766"/>
                    <a:pt x="10125" y="6784"/>
                  </a:cubicBezTo>
                  <a:cubicBezTo>
                    <a:pt x="8710" y="4943"/>
                    <a:pt x="9465" y="1139"/>
                    <a:pt x="7955" y="280"/>
                  </a:cubicBezTo>
                  <a:cubicBezTo>
                    <a:pt x="6541" y="-702"/>
                    <a:pt x="3711" y="1139"/>
                    <a:pt x="2202" y="2121"/>
                  </a:cubicBezTo>
                  <a:cubicBezTo>
                    <a:pt x="1541" y="3103"/>
                    <a:pt x="2956" y="4943"/>
                    <a:pt x="2956" y="6784"/>
                  </a:cubicBezTo>
                  <a:cubicBezTo>
                    <a:pt x="2202" y="8748"/>
                    <a:pt x="-628" y="8748"/>
                    <a:pt x="127" y="10589"/>
                  </a:cubicBezTo>
                  <a:cubicBezTo>
                    <a:pt x="2202" y="15253"/>
                    <a:pt x="5880" y="19916"/>
                    <a:pt x="10125" y="20898"/>
                  </a:cubicBezTo>
                  <a:cubicBezTo>
                    <a:pt x="14464" y="20898"/>
                    <a:pt x="17388" y="17093"/>
                    <a:pt x="20972" y="1525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8" name="Shape 2410">
              <a:extLst>
                <a:ext uri="{FF2B5EF4-FFF2-40B4-BE49-F238E27FC236}">
                  <a16:creationId xmlns:a16="http://schemas.microsoft.com/office/drawing/2014/main" id="{1F291088-FCBA-879C-D236-E7DE6E67891B}"/>
                </a:ext>
              </a:extLst>
            </p:cNvPr>
            <p:cNvSpPr/>
            <p:nvPr/>
          </p:nvSpPr>
          <p:spPr>
            <a:xfrm>
              <a:off x="3945752" y="6889841"/>
              <a:ext cx="480615" cy="432813"/>
            </a:xfrm>
            <a:custGeom>
              <a:avLst/>
              <a:gdLst/>
              <a:ahLst/>
              <a:cxnLst>
                <a:cxn ang="0">
                  <a:pos x="wd2" y="hd2"/>
                </a:cxn>
                <a:cxn ang="5400000">
                  <a:pos x="wd2" y="hd2"/>
                </a:cxn>
                <a:cxn ang="10800000">
                  <a:pos x="wd2" y="hd2"/>
                </a:cxn>
                <a:cxn ang="16200000">
                  <a:pos x="wd2" y="hd2"/>
                </a:cxn>
              </a:cxnLst>
              <a:rect l="0" t="0" r="r" b="b"/>
              <a:pathLst>
                <a:path w="21307" h="21334" extrusionOk="0">
                  <a:moveTo>
                    <a:pt x="9164" y="9658"/>
                  </a:moveTo>
                  <a:cubicBezTo>
                    <a:pt x="8371" y="8393"/>
                    <a:pt x="8371" y="8393"/>
                    <a:pt x="8371" y="8393"/>
                  </a:cubicBezTo>
                  <a:cubicBezTo>
                    <a:pt x="8132" y="7744"/>
                    <a:pt x="7788" y="7112"/>
                    <a:pt x="7683" y="6479"/>
                  </a:cubicBezTo>
                  <a:cubicBezTo>
                    <a:pt x="7564" y="5980"/>
                    <a:pt x="7339" y="5215"/>
                    <a:pt x="7683" y="4965"/>
                  </a:cubicBezTo>
                  <a:cubicBezTo>
                    <a:pt x="8027" y="4699"/>
                    <a:pt x="8371" y="5714"/>
                    <a:pt x="8820" y="5597"/>
                  </a:cubicBezTo>
                  <a:cubicBezTo>
                    <a:pt x="9284" y="5215"/>
                    <a:pt x="9284" y="4200"/>
                    <a:pt x="9852" y="3933"/>
                  </a:cubicBezTo>
                  <a:cubicBezTo>
                    <a:pt x="10645" y="3551"/>
                    <a:pt x="11677" y="4200"/>
                    <a:pt x="12365" y="3684"/>
                  </a:cubicBezTo>
                  <a:cubicBezTo>
                    <a:pt x="12814" y="3434"/>
                    <a:pt x="12485" y="2536"/>
                    <a:pt x="12590" y="1903"/>
                  </a:cubicBezTo>
                  <a:cubicBezTo>
                    <a:pt x="12814" y="1271"/>
                    <a:pt x="13158" y="772"/>
                    <a:pt x="13398" y="123"/>
                  </a:cubicBezTo>
                  <a:cubicBezTo>
                    <a:pt x="13742" y="638"/>
                    <a:pt x="13742" y="1787"/>
                    <a:pt x="14190" y="1787"/>
                  </a:cubicBezTo>
                  <a:cubicBezTo>
                    <a:pt x="14998" y="1787"/>
                    <a:pt x="15103" y="389"/>
                    <a:pt x="15671" y="123"/>
                  </a:cubicBezTo>
                  <a:cubicBezTo>
                    <a:pt x="16255" y="-127"/>
                    <a:pt x="17047" y="6"/>
                    <a:pt x="17391" y="505"/>
                  </a:cubicBezTo>
                  <a:cubicBezTo>
                    <a:pt x="17735" y="888"/>
                    <a:pt x="16928" y="1654"/>
                    <a:pt x="17047" y="2153"/>
                  </a:cubicBezTo>
                  <a:cubicBezTo>
                    <a:pt x="17272" y="2669"/>
                    <a:pt x="17960" y="2802"/>
                    <a:pt x="18424" y="3168"/>
                  </a:cubicBezTo>
                  <a:cubicBezTo>
                    <a:pt x="18648" y="3434"/>
                    <a:pt x="19112" y="3817"/>
                    <a:pt x="19216" y="4200"/>
                  </a:cubicBezTo>
                  <a:cubicBezTo>
                    <a:pt x="19560" y="4832"/>
                    <a:pt x="19680" y="5464"/>
                    <a:pt x="19785" y="6230"/>
                  </a:cubicBezTo>
                  <a:cubicBezTo>
                    <a:pt x="19904" y="6862"/>
                    <a:pt x="19680" y="7744"/>
                    <a:pt x="20024" y="8260"/>
                  </a:cubicBezTo>
                  <a:cubicBezTo>
                    <a:pt x="20248" y="8643"/>
                    <a:pt x="21041" y="8127"/>
                    <a:pt x="21161" y="8510"/>
                  </a:cubicBezTo>
                  <a:cubicBezTo>
                    <a:pt x="21505" y="9275"/>
                    <a:pt x="21161" y="10290"/>
                    <a:pt x="20937" y="11189"/>
                  </a:cubicBezTo>
                  <a:cubicBezTo>
                    <a:pt x="20817" y="11572"/>
                    <a:pt x="20473" y="12071"/>
                    <a:pt x="20024" y="12204"/>
                  </a:cubicBezTo>
                  <a:cubicBezTo>
                    <a:pt x="19336" y="12587"/>
                    <a:pt x="18199" y="12320"/>
                    <a:pt x="17616" y="12969"/>
                  </a:cubicBezTo>
                  <a:cubicBezTo>
                    <a:pt x="16928" y="13602"/>
                    <a:pt x="16584" y="14617"/>
                    <a:pt x="16584" y="15632"/>
                  </a:cubicBezTo>
                  <a:cubicBezTo>
                    <a:pt x="16479" y="16397"/>
                    <a:pt x="17047" y="17163"/>
                    <a:pt x="17272" y="17928"/>
                  </a:cubicBezTo>
                  <a:cubicBezTo>
                    <a:pt x="16928" y="17795"/>
                    <a:pt x="16584" y="17662"/>
                    <a:pt x="16255" y="17546"/>
                  </a:cubicBezTo>
                  <a:cubicBezTo>
                    <a:pt x="16255" y="17546"/>
                    <a:pt x="14086" y="17662"/>
                    <a:pt x="13846" y="17662"/>
                  </a:cubicBezTo>
                  <a:cubicBezTo>
                    <a:pt x="13742" y="17662"/>
                    <a:pt x="13398" y="18428"/>
                    <a:pt x="13398" y="18428"/>
                  </a:cubicBezTo>
                  <a:cubicBezTo>
                    <a:pt x="12814" y="18810"/>
                    <a:pt x="12365" y="19326"/>
                    <a:pt x="11797" y="19576"/>
                  </a:cubicBezTo>
                  <a:cubicBezTo>
                    <a:pt x="11333" y="19709"/>
                    <a:pt x="10885" y="19576"/>
                    <a:pt x="10301" y="19709"/>
                  </a:cubicBezTo>
                  <a:cubicBezTo>
                    <a:pt x="9733" y="19959"/>
                    <a:pt x="9164" y="20458"/>
                    <a:pt x="8596" y="20591"/>
                  </a:cubicBezTo>
                  <a:cubicBezTo>
                    <a:pt x="8132" y="20724"/>
                    <a:pt x="7564" y="20841"/>
                    <a:pt x="6995" y="20724"/>
                  </a:cubicBezTo>
                  <a:cubicBezTo>
                    <a:pt x="6771" y="20591"/>
                    <a:pt x="6651" y="19959"/>
                    <a:pt x="6427" y="20092"/>
                  </a:cubicBezTo>
                  <a:cubicBezTo>
                    <a:pt x="5963" y="20208"/>
                    <a:pt x="6083" y="20841"/>
                    <a:pt x="5963" y="21223"/>
                  </a:cubicBezTo>
                  <a:cubicBezTo>
                    <a:pt x="5739" y="21223"/>
                    <a:pt x="5395" y="21473"/>
                    <a:pt x="5275" y="21223"/>
                  </a:cubicBezTo>
                  <a:cubicBezTo>
                    <a:pt x="4826" y="20591"/>
                    <a:pt x="4707" y="19709"/>
                    <a:pt x="4826" y="18944"/>
                  </a:cubicBezTo>
                  <a:cubicBezTo>
                    <a:pt x="4826" y="18561"/>
                    <a:pt x="5739" y="18677"/>
                    <a:pt x="5619" y="18178"/>
                  </a:cubicBezTo>
                  <a:cubicBezTo>
                    <a:pt x="5619" y="17795"/>
                    <a:pt x="4826" y="18045"/>
                    <a:pt x="4602" y="17662"/>
                  </a:cubicBezTo>
                  <a:cubicBezTo>
                    <a:pt x="4258" y="17163"/>
                    <a:pt x="4707" y="16264"/>
                    <a:pt x="4258" y="15765"/>
                  </a:cubicBezTo>
                  <a:cubicBezTo>
                    <a:pt x="3675" y="15133"/>
                    <a:pt x="2418" y="15249"/>
                    <a:pt x="1745" y="14617"/>
                  </a:cubicBezTo>
                  <a:cubicBezTo>
                    <a:pt x="1401" y="14234"/>
                    <a:pt x="1625" y="13469"/>
                    <a:pt x="1401" y="12969"/>
                  </a:cubicBezTo>
                  <a:cubicBezTo>
                    <a:pt x="1162" y="12587"/>
                    <a:pt x="713" y="12320"/>
                    <a:pt x="369" y="11954"/>
                  </a:cubicBezTo>
                  <a:cubicBezTo>
                    <a:pt x="249" y="11688"/>
                    <a:pt x="-95" y="11438"/>
                    <a:pt x="25" y="11189"/>
                  </a:cubicBezTo>
                  <a:cubicBezTo>
                    <a:pt x="144" y="10806"/>
                    <a:pt x="713" y="10423"/>
                    <a:pt x="1057" y="10673"/>
                  </a:cubicBezTo>
                  <a:cubicBezTo>
                    <a:pt x="1506" y="10939"/>
                    <a:pt x="1401" y="11821"/>
                    <a:pt x="1850" y="12204"/>
                  </a:cubicBezTo>
                  <a:cubicBezTo>
                    <a:pt x="2313" y="12587"/>
                    <a:pt x="2882" y="12836"/>
                    <a:pt x="3450" y="12703"/>
                  </a:cubicBezTo>
                  <a:cubicBezTo>
                    <a:pt x="3914" y="12703"/>
                    <a:pt x="4138" y="12320"/>
                    <a:pt x="4482" y="12071"/>
                  </a:cubicBezTo>
                  <a:cubicBezTo>
                    <a:pt x="4707" y="12320"/>
                    <a:pt x="4826" y="12703"/>
                    <a:pt x="5170" y="12836"/>
                  </a:cubicBezTo>
                  <a:cubicBezTo>
                    <a:pt x="5395" y="12836"/>
                    <a:pt x="5619" y="12703"/>
                    <a:pt x="5739" y="12454"/>
                  </a:cubicBezTo>
                  <a:cubicBezTo>
                    <a:pt x="5963" y="12204"/>
                    <a:pt x="5963" y="11688"/>
                    <a:pt x="6083" y="11305"/>
                  </a:cubicBezTo>
                  <a:cubicBezTo>
                    <a:pt x="6188" y="11189"/>
                    <a:pt x="6307" y="10939"/>
                    <a:pt x="6427" y="10939"/>
                  </a:cubicBezTo>
                  <a:cubicBezTo>
                    <a:pt x="6995" y="10939"/>
                    <a:pt x="7444" y="11305"/>
                    <a:pt x="8027" y="11572"/>
                  </a:cubicBezTo>
                  <a:cubicBezTo>
                    <a:pt x="8476" y="11688"/>
                    <a:pt x="8940" y="11954"/>
                    <a:pt x="9284" y="11821"/>
                  </a:cubicBezTo>
                  <a:cubicBezTo>
                    <a:pt x="9508" y="11821"/>
                    <a:pt x="9389" y="11438"/>
                    <a:pt x="9389" y="11189"/>
                  </a:cubicBezTo>
                  <a:cubicBezTo>
                    <a:pt x="9389" y="10673"/>
                    <a:pt x="9284" y="10174"/>
                    <a:pt x="9164" y="96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89" name="Shape 2411">
              <a:extLst>
                <a:ext uri="{FF2B5EF4-FFF2-40B4-BE49-F238E27FC236}">
                  <a16:creationId xmlns:a16="http://schemas.microsoft.com/office/drawing/2014/main" id="{EAFD402C-0F57-ABD0-6292-1C2310F7B132}"/>
                </a:ext>
              </a:extLst>
            </p:cNvPr>
            <p:cNvSpPr/>
            <p:nvPr/>
          </p:nvSpPr>
          <p:spPr>
            <a:xfrm>
              <a:off x="3726436" y="6868504"/>
              <a:ext cx="364003" cy="543186"/>
            </a:xfrm>
            <a:custGeom>
              <a:avLst/>
              <a:gdLst/>
              <a:ahLst/>
              <a:cxnLst>
                <a:cxn ang="0">
                  <a:pos x="wd2" y="hd2"/>
                </a:cxn>
                <a:cxn ang="5400000">
                  <a:pos x="wd2" y="hd2"/>
                </a:cxn>
                <a:cxn ang="10800000">
                  <a:pos x="wd2" y="hd2"/>
                </a:cxn>
                <a:cxn ang="16200000">
                  <a:pos x="wd2" y="hd2"/>
                </a:cxn>
              </a:cxnLst>
              <a:rect l="0" t="0" r="r" b="b"/>
              <a:pathLst>
                <a:path w="21347" h="21402" extrusionOk="0">
                  <a:moveTo>
                    <a:pt x="202" y="2444"/>
                  </a:moveTo>
                  <a:cubicBezTo>
                    <a:pt x="202" y="2139"/>
                    <a:pt x="-253" y="1634"/>
                    <a:pt x="202" y="1329"/>
                  </a:cubicBezTo>
                  <a:cubicBezTo>
                    <a:pt x="972" y="917"/>
                    <a:pt x="2020" y="1130"/>
                    <a:pt x="2929" y="824"/>
                  </a:cubicBezTo>
                  <a:cubicBezTo>
                    <a:pt x="3087" y="824"/>
                    <a:pt x="2929" y="519"/>
                    <a:pt x="3087" y="519"/>
                  </a:cubicBezTo>
                  <a:cubicBezTo>
                    <a:pt x="3680" y="214"/>
                    <a:pt x="4589" y="-198"/>
                    <a:pt x="5340" y="107"/>
                  </a:cubicBezTo>
                  <a:cubicBezTo>
                    <a:pt x="6249" y="413"/>
                    <a:pt x="5794" y="1528"/>
                    <a:pt x="6703" y="2032"/>
                  </a:cubicBezTo>
                  <a:cubicBezTo>
                    <a:pt x="7000" y="2245"/>
                    <a:pt x="7454" y="1634"/>
                    <a:pt x="7751" y="1435"/>
                  </a:cubicBezTo>
                  <a:cubicBezTo>
                    <a:pt x="8067" y="1833"/>
                    <a:pt x="8205" y="2245"/>
                    <a:pt x="8521" y="2643"/>
                  </a:cubicBezTo>
                  <a:cubicBezTo>
                    <a:pt x="8660" y="3055"/>
                    <a:pt x="8818" y="3559"/>
                    <a:pt x="9272" y="3864"/>
                  </a:cubicBezTo>
                  <a:cubicBezTo>
                    <a:pt x="9865" y="4369"/>
                    <a:pt x="10616" y="4980"/>
                    <a:pt x="11683" y="5179"/>
                  </a:cubicBezTo>
                  <a:cubicBezTo>
                    <a:pt x="12138" y="5285"/>
                    <a:pt x="12592" y="4674"/>
                    <a:pt x="13185" y="4674"/>
                  </a:cubicBezTo>
                  <a:cubicBezTo>
                    <a:pt x="13798" y="4780"/>
                    <a:pt x="14391" y="5179"/>
                    <a:pt x="15003" y="5378"/>
                  </a:cubicBezTo>
                  <a:cubicBezTo>
                    <a:pt x="14845" y="5484"/>
                    <a:pt x="14845" y="5683"/>
                    <a:pt x="14707" y="5789"/>
                  </a:cubicBezTo>
                  <a:cubicBezTo>
                    <a:pt x="14391" y="6294"/>
                    <a:pt x="13501" y="6706"/>
                    <a:pt x="13640" y="7303"/>
                  </a:cubicBezTo>
                  <a:cubicBezTo>
                    <a:pt x="13640" y="7714"/>
                    <a:pt x="14549" y="7714"/>
                    <a:pt x="15161" y="7914"/>
                  </a:cubicBezTo>
                  <a:cubicBezTo>
                    <a:pt x="15912" y="8219"/>
                    <a:pt x="16960" y="8325"/>
                    <a:pt x="17711" y="8723"/>
                  </a:cubicBezTo>
                  <a:cubicBezTo>
                    <a:pt x="18323" y="9135"/>
                    <a:pt x="18481" y="9839"/>
                    <a:pt x="18778" y="10449"/>
                  </a:cubicBezTo>
                  <a:cubicBezTo>
                    <a:pt x="18323" y="10648"/>
                    <a:pt x="18027" y="10954"/>
                    <a:pt x="17414" y="10954"/>
                  </a:cubicBezTo>
                  <a:cubicBezTo>
                    <a:pt x="16663" y="11060"/>
                    <a:pt x="15912" y="10861"/>
                    <a:pt x="15300" y="10556"/>
                  </a:cubicBezTo>
                  <a:cubicBezTo>
                    <a:pt x="14707" y="10250"/>
                    <a:pt x="14845" y="9547"/>
                    <a:pt x="14252" y="9334"/>
                  </a:cubicBezTo>
                  <a:cubicBezTo>
                    <a:pt x="13798" y="9135"/>
                    <a:pt x="13047" y="9440"/>
                    <a:pt x="12889" y="9746"/>
                  </a:cubicBezTo>
                  <a:cubicBezTo>
                    <a:pt x="12731" y="9945"/>
                    <a:pt x="13185" y="10144"/>
                    <a:pt x="13343" y="10356"/>
                  </a:cubicBezTo>
                  <a:cubicBezTo>
                    <a:pt x="13798" y="10648"/>
                    <a:pt x="14391" y="10861"/>
                    <a:pt x="14707" y="11166"/>
                  </a:cubicBezTo>
                  <a:cubicBezTo>
                    <a:pt x="15003" y="11565"/>
                    <a:pt x="14707" y="12175"/>
                    <a:pt x="15161" y="12481"/>
                  </a:cubicBezTo>
                  <a:cubicBezTo>
                    <a:pt x="16051" y="12985"/>
                    <a:pt x="17711" y="12892"/>
                    <a:pt x="18481" y="13397"/>
                  </a:cubicBezTo>
                  <a:cubicBezTo>
                    <a:pt x="19074" y="13795"/>
                    <a:pt x="18481" y="14512"/>
                    <a:pt x="18936" y="14910"/>
                  </a:cubicBezTo>
                  <a:cubicBezTo>
                    <a:pt x="19232" y="15215"/>
                    <a:pt x="20280" y="15016"/>
                    <a:pt x="20280" y="15322"/>
                  </a:cubicBezTo>
                  <a:cubicBezTo>
                    <a:pt x="20438" y="15720"/>
                    <a:pt x="19232" y="15627"/>
                    <a:pt x="19232" y="15932"/>
                  </a:cubicBezTo>
                  <a:cubicBezTo>
                    <a:pt x="19074" y="16543"/>
                    <a:pt x="19232" y="17247"/>
                    <a:pt x="19825" y="17751"/>
                  </a:cubicBezTo>
                  <a:cubicBezTo>
                    <a:pt x="19983" y="17950"/>
                    <a:pt x="20438" y="17751"/>
                    <a:pt x="20734" y="17751"/>
                  </a:cubicBezTo>
                  <a:cubicBezTo>
                    <a:pt x="20892" y="18163"/>
                    <a:pt x="21347" y="18561"/>
                    <a:pt x="21347" y="18972"/>
                  </a:cubicBezTo>
                  <a:cubicBezTo>
                    <a:pt x="21347" y="19172"/>
                    <a:pt x="20892" y="19371"/>
                    <a:pt x="20892" y="19583"/>
                  </a:cubicBezTo>
                  <a:cubicBezTo>
                    <a:pt x="20892" y="19889"/>
                    <a:pt x="21189" y="20194"/>
                    <a:pt x="21189" y="20499"/>
                  </a:cubicBezTo>
                  <a:cubicBezTo>
                    <a:pt x="21189" y="20698"/>
                    <a:pt x="21031" y="21004"/>
                    <a:pt x="20892" y="21203"/>
                  </a:cubicBezTo>
                  <a:cubicBezTo>
                    <a:pt x="20438" y="21203"/>
                    <a:pt x="20142" y="21309"/>
                    <a:pt x="19825" y="21097"/>
                  </a:cubicBezTo>
                  <a:cubicBezTo>
                    <a:pt x="19529" y="21004"/>
                    <a:pt x="19825" y="20698"/>
                    <a:pt x="19687" y="20592"/>
                  </a:cubicBezTo>
                  <a:cubicBezTo>
                    <a:pt x="19391" y="20287"/>
                    <a:pt x="18936" y="20088"/>
                    <a:pt x="18481" y="19981"/>
                  </a:cubicBezTo>
                  <a:cubicBezTo>
                    <a:pt x="18323" y="19981"/>
                    <a:pt x="18027" y="20088"/>
                    <a:pt x="17869" y="20088"/>
                  </a:cubicBezTo>
                  <a:cubicBezTo>
                    <a:pt x="17414" y="20088"/>
                    <a:pt x="16960" y="19782"/>
                    <a:pt x="16505" y="19782"/>
                  </a:cubicBezTo>
                  <a:cubicBezTo>
                    <a:pt x="16209" y="19782"/>
                    <a:pt x="15912" y="19981"/>
                    <a:pt x="15912" y="20194"/>
                  </a:cubicBezTo>
                  <a:cubicBezTo>
                    <a:pt x="15754" y="20499"/>
                    <a:pt x="16209" y="20791"/>
                    <a:pt x="16367" y="21004"/>
                  </a:cubicBezTo>
                  <a:cubicBezTo>
                    <a:pt x="16209" y="21097"/>
                    <a:pt x="16209" y="21402"/>
                    <a:pt x="16051" y="21402"/>
                  </a:cubicBezTo>
                  <a:cubicBezTo>
                    <a:pt x="15458" y="21203"/>
                    <a:pt x="14707" y="21004"/>
                    <a:pt x="14391" y="20592"/>
                  </a:cubicBezTo>
                  <a:cubicBezTo>
                    <a:pt x="14094" y="20088"/>
                    <a:pt x="14845" y="19477"/>
                    <a:pt x="14845" y="18866"/>
                  </a:cubicBezTo>
                  <a:cubicBezTo>
                    <a:pt x="14707" y="18667"/>
                    <a:pt x="14391" y="18468"/>
                    <a:pt x="13956" y="18468"/>
                  </a:cubicBezTo>
                  <a:cubicBezTo>
                    <a:pt x="13501" y="18468"/>
                    <a:pt x="13047" y="18667"/>
                    <a:pt x="12434" y="18866"/>
                  </a:cubicBezTo>
                  <a:cubicBezTo>
                    <a:pt x="12138" y="18866"/>
                    <a:pt x="11841" y="19065"/>
                    <a:pt x="11525" y="19172"/>
                  </a:cubicBezTo>
                  <a:cubicBezTo>
                    <a:pt x="11071" y="19278"/>
                    <a:pt x="10616" y="19477"/>
                    <a:pt x="10162" y="19583"/>
                  </a:cubicBezTo>
                  <a:cubicBezTo>
                    <a:pt x="9865" y="19371"/>
                    <a:pt x="9727" y="18866"/>
                    <a:pt x="9272" y="18866"/>
                  </a:cubicBezTo>
                  <a:cubicBezTo>
                    <a:pt x="8818" y="18866"/>
                    <a:pt x="8660" y="19278"/>
                    <a:pt x="8363" y="19477"/>
                  </a:cubicBezTo>
                  <a:cubicBezTo>
                    <a:pt x="7751" y="18773"/>
                    <a:pt x="7000" y="18056"/>
                    <a:pt x="6703" y="17247"/>
                  </a:cubicBezTo>
                  <a:cubicBezTo>
                    <a:pt x="6545" y="16941"/>
                    <a:pt x="7454" y="16742"/>
                    <a:pt x="7296" y="16437"/>
                  </a:cubicBezTo>
                  <a:cubicBezTo>
                    <a:pt x="7158" y="16238"/>
                    <a:pt x="6407" y="16543"/>
                    <a:pt x="6407" y="16331"/>
                  </a:cubicBezTo>
                  <a:cubicBezTo>
                    <a:pt x="6091" y="15932"/>
                    <a:pt x="6091" y="15322"/>
                    <a:pt x="6407" y="14910"/>
                  </a:cubicBezTo>
                  <a:cubicBezTo>
                    <a:pt x="6703" y="14512"/>
                    <a:pt x="7612" y="14406"/>
                    <a:pt x="7909" y="13901"/>
                  </a:cubicBezTo>
                  <a:cubicBezTo>
                    <a:pt x="8205" y="13397"/>
                    <a:pt x="8363" y="12786"/>
                    <a:pt x="7909" y="12281"/>
                  </a:cubicBezTo>
                  <a:cubicBezTo>
                    <a:pt x="7454" y="11777"/>
                    <a:pt x="6545" y="11472"/>
                    <a:pt x="5636" y="11259"/>
                  </a:cubicBezTo>
                  <a:cubicBezTo>
                    <a:pt x="4885" y="11166"/>
                    <a:pt x="3976" y="11671"/>
                    <a:pt x="3225" y="11472"/>
                  </a:cubicBezTo>
                  <a:cubicBezTo>
                    <a:pt x="2316" y="11259"/>
                    <a:pt x="1269" y="10954"/>
                    <a:pt x="656" y="10356"/>
                  </a:cubicBezTo>
                  <a:cubicBezTo>
                    <a:pt x="202" y="9839"/>
                    <a:pt x="-95" y="8936"/>
                    <a:pt x="360" y="8431"/>
                  </a:cubicBezTo>
                  <a:cubicBezTo>
                    <a:pt x="814" y="8020"/>
                    <a:pt x="2316" y="8936"/>
                    <a:pt x="2632" y="8524"/>
                  </a:cubicBezTo>
                  <a:cubicBezTo>
                    <a:pt x="2929" y="7914"/>
                    <a:pt x="1565" y="7303"/>
                    <a:pt x="1565" y="6706"/>
                  </a:cubicBezTo>
                  <a:cubicBezTo>
                    <a:pt x="1427" y="5989"/>
                    <a:pt x="2178" y="5484"/>
                    <a:pt x="2178" y="4780"/>
                  </a:cubicBezTo>
                  <a:cubicBezTo>
                    <a:pt x="2178" y="4568"/>
                    <a:pt x="1427" y="4873"/>
                    <a:pt x="1427" y="4674"/>
                  </a:cubicBezTo>
                  <a:cubicBezTo>
                    <a:pt x="1427" y="4064"/>
                    <a:pt x="2474" y="3453"/>
                    <a:pt x="2178" y="2842"/>
                  </a:cubicBezTo>
                  <a:cubicBezTo>
                    <a:pt x="1881" y="2444"/>
                    <a:pt x="814" y="2537"/>
                    <a:pt x="202" y="244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0" name="Shape 2412">
              <a:extLst>
                <a:ext uri="{FF2B5EF4-FFF2-40B4-BE49-F238E27FC236}">
                  <a16:creationId xmlns:a16="http://schemas.microsoft.com/office/drawing/2014/main" id="{796F3C84-28BC-F0E2-0B6F-F648C21C53E3}"/>
                </a:ext>
              </a:extLst>
            </p:cNvPr>
            <p:cNvSpPr/>
            <p:nvPr/>
          </p:nvSpPr>
          <p:spPr>
            <a:xfrm>
              <a:off x="3441951" y="6804018"/>
              <a:ext cx="440382" cy="631456"/>
            </a:xfrm>
            <a:custGeom>
              <a:avLst/>
              <a:gdLst/>
              <a:ahLst/>
              <a:cxnLst>
                <a:cxn ang="0">
                  <a:pos x="wd2" y="hd2"/>
                </a:cxn>
                <a:cxn ang="5400000">
                  <a:pos x="wd2" y="hd2"/>
                </a:cxn>
                <a:cxn ang="10800000">
                  <a:pos x="wd2" y="hd2"/>
                </a:cxn>
                <a:cxn ang="16200000">
                  <a:pos x="wd2" y="hd2"/>
                </a:cxn>
              </a:cxnLst>
              <a:rect l="0" t="0" r="r" b="b"/>
              <a:pathLst>
                <a:path w="21490" h="21600" extrusionOk="0">
                  <a:moveTo>
                    <a:pt x="8553" y="0"/>
                  </a:moveTo>
                  <a:cubicBezTo>
                    <a:pt x="9309" y="612"/>
                    <a:pt x="10575" y="1143"/>
                    <a:pt x="10690" y="1939"/>
                  </a:cubicBezTo>
                  <a:cubicBezTo>
                    <a:pt x="10822" y="2378"/>
                    <a:pt x="9178" y="1939"/>
                    <a:pt x="9063" y="2286"/>
                  </a:cubicBezTo>
                  <a:cubicBezTo>
                    <a:pt x="8816" y="2817"/>
                    <a:pt x="9556" y="3256"/>
                    <a:pt x="9819" y="3787"/>
                  </a:cubicBezTo>
                  <a:cubicBezTo>
                    <a:pt x="9934" y="4145"/>
                    <a:pt x="10065" y="4491"/>
                    <a:pt x="10065" y="4849"/>
                  </a:cubicBezTo>
                  <a:cubicBezTo>
                    <a:pt x="10065" y="5022"/>
                    <a:pt x="9687" y="5287"/>
                    <a:pt x="9934" y="5368"/>
                  </a:cubicBezTo>
                  <a:cubicBezTo>
                    <a:pt x="10312" y="5553"/>
                    <a:pt x="10822" y="5368"/>
                    <a:pt x="11200" y="5368"/>
                  </a:cubicBezTo>
                  <a:cubicBezTo>
                    <a:pt x="11693" y="5368"/>
                    <a:pt x="12317" y="5368"/>
                    <a:pt x="12695" y="5287"/>
                  </a:cubicBezTo>
                  <a:cubicBezTo>
                    <a:pt x="13074" y="5195"/>
                    <a:pt x="13320" y="5022"/>
                    <a:pt x="13698" y="4756"/>
                  </a:cubicBezTo>
                  <a:cubicBezTo>
                    <a:pt x="13830" y="4664"/>
                    <a:pt x="13961" y="4491"/>
                    <a:pt x="14076" y="4318"/>
                  </a:cubicBezTo>
                  <a:cubicBezTo>
                    <a:pt x="14586" y="4399"/>
                    <a:pt x="15474" y="4318"/>
                    <a:pt x="15720" y="4664"/>
                  </a:cubicBezTo>
                  <a:cubicBezTo>
                    <a:pt x="15967" y="5195"/>
                    <a:pt x="15095" y="5726"/>
                    <a:pt x="15095" y="6257"/>
                  </a:cubicBezTo>
                  <a:cubicBezTo>
                    <a:pt x="15095" y="6430"/>
                    <a:pt x="15720" y="6165"/>
                    <a:pt x="15720" y="6350"/>
                  </a:cubicBezTo>
                  <a:cubicBezTo>
                    <a:pt x="15720" y="6961"/>
                    <a:pt x="15095" y="7400"/>
                    <a:pt x="15211" y="8024"/>
                  </a:cubicBezTo>
                  <a:cubicBezTo>
                    <a:pt x="15211" y="8543"/>
                    <a:pt x="16345" y="9074"/>
                    <a:pt x="16098" y="9605"/>
                  </a:cubicBezTo>
                  <a:cubicBezTo>
                    <a:pt x="15835" y="9963"/>
                    <a:pt x="14586" y="9166"/>
                    <a:pt x="14208" y="9524"/>
                  </a:cubicBezTo>
                  <a:cubicBezTo>
                    <a:pt x="13830" y="9963"/>
                    <a:pt x="14076" y="10748"/>
                    <a:pt x="14454" y="11198"/>
                  </a:cubicBezTo>
                  <a:cubicBezTo>
                    <a:pt x="14964" y="11718"/>
                    <a:pt x="15835" y="11983"/>
                    <a:pt x="16591" y="12168"/>
                  </a:cubicBezTo>
                  <a:cubicBezTo>
                    <a:pt x="17216" y="12341"/>
                    <a:pt x="17972" y="11903"/>
                    <a:pt x="18597" y="11983"/>
                  </a:cubicBezTo>
                  <a:cubicBezTo>
                    <a:pt x="19353" y="12168"/>
                    <a:pt x="20109" y="12434"/>
                    <a:pt x="20487" y="12872"/>
                  </a:cubicBezTo>
                  <a:cubicBezTo>
                    <a:pt x="20865" y="13311"/>
                    <a:pt x="20734" y="13842"/>
                    <a:pt x="20487" y="14281"/>
                  </a:cubicBezTo>
                  <a:cubicBezTo>
                    <a:pt x="20241" y="14719"/>
                    <a:pt x="19485" y="14812"/>
                    <a:pt x="19238" y="15158"/>
                  </a:cubicBezTo>
                  <a:cubicBezTo>
                    <a:pt x="18975" y="15516"/>
                    <a:pt x="18975" y="16047"/>
                    <a:pt x="19238" y="16393"/>
                  </a:cubicBezTo>
                  <a:cubicBezTo>
                    <a:pt x="19238" y="16578"/>
                    <a:pt x="19863" y="16313"/>
                    <a:pt x="19978" y="16486"/>
                  </a:cubicBezTo>
                  <a:cubicBezTo>
                    <a:pt x="20109" y="16751"/>
                    <a:pt x="19353" y="16924"/>
                    <a:pt x="19485" y="17190"/>
                  </a:cubicBezTo>
                  <a:cubicBezTo>
                    <a:pt x="19731" y="17894"/>
                    <a:pt x="20356" y="18518"/>
                    <a:pt x="20865" y="19129"/>
                  </a:cubicBezTo>
                  <a:cubicBezTo>
                    <a:pt x="21112" y="19568"/>
                    <a:pt x="21490" y="19926"/>
                    <a:pt x="21490" y="20365"/>
                  </a:cubicBezTo>
                  <a:cubicBezTo>
                    <a:pt x="21490" y="20538"/>
                    <a:pt x="20997" y="20723"/>
                    <a:pt x="20734" y="20896"/>
                  </a:cubicBezTo>
                  <a:cubicBezTo>
                    <a:pt x="20487" y="21161"/>
                    <a:pt x="20356" y="21334"/>
                    <a:pt x="20109" y="21600"/>
                  </a:cubicBezTo>
                  <a:cubicBezTo>
                    <a:pt x="19863" y="21427"/>
                    <a:pt x="19731" y="21334"/>
                    <a:pt x="19616" y="21069"/>
                  </a:cubicBezTo>
                  <a:cubicBezTo>
                    <a:pt x="19485" y="20977"/>
                    <a:pt x="19731" y="20630"/>
                    <a:pt x="19485" y="20630"/>
                  </a:cubicBezTo>
                  <a:cubicBezTo>
                    <a:pt x="19106" y="20538"/>
                    <a:pt x="18728" y="20723"/>
                    <a:pt x="18482" y="20896"/>
                  </a:cubicBezTo>
                  <a:cubicBezTo>
                    <a:pt x="18219" y="20977"/>
                    <a:pt x="18482" y="21242"/>
                    <a:pt x="18219" y="21334"/>
                  </a:cubicBezTo>
                  <a:cubicBezTo>
                    <a:pt x="17972" y="21427"/>
                    <a:pt x="17726" y="21242"/>
                    <a:pt x="17479" y="21161"/>
                  </a:cubicBezTo>
                  <a:cubicBezTo>
                    <a:pt x="17348" y="20977"/>
                    <a:pt x="17348" y="20723"/>
                    <a:pt x="17101" y="20630"/>
                  </a:cubicBezTo>
                  <a:cubicBezTo>
                    <a:pt x="16723" y="20538"/>
                    <a:pt x="16213" y="20896"/>
                    <a:pt x="15835" y="20803"/>
                  </a:cubicBezTo>
                  <a:cubicBezTo>
                    <a:pt x="15342" y="20630"/>
                    <a:pt x="14964" y="20192"/>
                    <a:pt x="14832" y="19834"/>
                  </a:cubicBezTo>
                  <a:cubicBezTo>
                    <a:pt x="14717" y="19661"/>
                    <a:pt x="15211" y="19222"/>
                    <a:pt x="14832" y="19129"/>
                  </a:cubicBezTo>
                  <a:cubicBezTo>
                    <a:pt x="14339" y="19037"/>
                    <a:pt x="13830" y="19487"/>
                    <a:pt x="13320" y="19568"/>
                  </a:cubicBezTo>
                  <a:cubicBezTo>
                    <a:pt x="12958" y="19568"/>
                    <a:pt x="12580" y="19395"/>
                    <a:pt x="12317" y="19303"/>
                  </a:cubicBezTo>
                  <a:cubicBezTo>
                    <a:pt x="11578" y="19037"/>
                    <a:pt x="10822" y="18691"/>
                    <a:pt x="10065" y="18598"/>
                  </a:cubicBezTo>
                  <a:cubicBezTo>
                    <a:pt x="9819" y="18598"/>
                    <a:pt x="9819" y="18864"/>
                    <a:pt x="9687" y="18956"/>
                  </a:cubicBezTo>
                  <a:cubicBezTo>
                    <a:pt x="9556" y="18956"/>
                    <a:pt x="9441" y="18864"/>
                    <a:pt x="9441" y="18864"/>
                  </a:cubicBezTo>
                  <a:cubicBezTo>
                    <a:pt x="9063" y="18864"/>
                    <a:pt x="8685" y="19037"/>
                    <a:pt x="8306" y="19037"/>
                  </a:cubicBezTo>
                  <a:cubicBezTo>
                    <a:pt x="7797" y="19222"/>
                    <a:pt x="7172" y="19395"/>
                    <a:pt x="6679" y="19395"/>
                  </a:cubicBezTo>
                  <a:cubicBezTo>
                    <a:pt x="6169" y="19395"/>
                    <a:pt x="5923" y="19037"/>
                    <a:pt x="5413" y="18956"/>
                  </a:cubicBezTo>
                  <a:cubicBezTo>
                    <a:pt x="5035" y="18864"/>
                    <a:pt x="4674" y="18691"/>
                    <a:pt x="4164" y="18772"/>
                  </a:cubicBezTo>
                  <a:cubicBezTo>
                    <a:pt x="3786" y="18864"/>
                    <a:pt x="3786" y="19303"/>
                    <a:pt x="3539" y="19568"/>
                  </a:cubicBezTo>
                  <a:cubicBezTo>
                    <a:pt x="2915" y="19753"/>
                    <a:pt x="2915" y="19753"/>
                    <a:pt x="2915" y="19753"/>
                  </a:cubicBezTo>
                  <a:cubicBezTo>
                    <a:pt x="2652" y="19395"/>
                    <a:pt x="2537" y="18864"/>
                    <a:pt x="2158" y="18598"/>
                  </a:cubicBezTo>
                  <a:cubicBezTo>
                    <a:pt x="1780" y="18333"/>
                    <a:pt x="1271" y="18425"/>
                    <a:pt x="1024" y="18160"/>
                  </a:cubicBezTo>
                  <a:cubicBezTo>
                    <a:pt x="646" y="17894"/>
                    <a:pt x="646" y="17548"/>
                    <a:pt x="646" y="17190"/>
                  </a:cubicBezTo>
                  <a:cubicBezTo>
                    <a:pt x="778" y="16924"/>
                    <a:pt x="1534" y="16844"/>
                    <a:pt x="1649" y="16486"/>
                  </a:cubicBezTo>
                  <a:cubicBezTo>
                    <a:pt x="1649" y="16220"/>
                    <a:pt x="1024" y="16047"/>
                    <a:pt x="893" y="15782"/>
                  </a:cubicBezTo>
                  <a:cubicBezTo>
                    <a:pt x="893" y="15608"/>
                    <a:pt x="893" y="15343"/>
                    <a:pt x="1024" y="15077"/>
                  </a:cubicBezTo>
                  <a:cubicBezTo>
                    <a:pt x="1024" y="14985"/>
                    <a:pt x="1156" y="14812"/>
                    <a:pt x="1271" y="14719"/>
                  </a:cubicBezTo>
                  <a:cubicBezTo>
                    <a:pt x="1402" y="14546"/>
                    <a:pt x="1912" y="14454"/>
                    <a:pt x="1780" y="14281"/>
                  </a:cubicBezTo>
                  <a:cubicBezTo>
                    <a:pt x="1649" y="13842"/>
                    <a:pt x="893" y="13576"/>
                    <a:pt x="646" y="13219"/>
                  </a:cubicBezTo>
                  <a:cubicBezTo>
                    <a:pt x="268" y="12780"/>
                    <a:pt x="22" y="12341"/>
                    <a:pt x="22" y="11810"/>
                  </a:cubicBezTo>
                  <a:cubicBezTo>
                    <a:pt x="22" y="11452"/>
                    <a:pt x="400" y="11014"/>
                    <a:pt x="400" y="10667"/>
                  </a:cubicBezTo>
                  <a:cubicBezTo>
                    <a:pt x="400" y="10229"/>
                    <a:pt x="-110" y="9778"/>
                    <a:pt x="22" y="9432"/>
                  </a:cubicBezTo>
                  <a:cubicBezTo>
                    <a:pt x="22" y="8901"/>
                    <a:pt x="22" y="8462"/>
                    <a:pt x="400" y="8104"/>
                  </a:cubicBezTo>
                  <a:cubicBezTo>
                    <a:pt x="646" y="7931"/>
                    <a:pt x="1156" y="8277"/>
                    <a:pt x="1402" y="8104"/>
                  </a:cubicBezTo>
                  <a:cubicBezTo>
                    <a:pt x="1649" y="7931"/>
                    <a:pt x="1156" y="7666"/>
                    <a:pt x="1156" y="7492"/>
                  </a:cubicBezTo>
                  <a:cubicBezTo>
                    <a:pt x="1156" y="7227"/>
                    <a:pt x="1534" y="7054"/>
                    <a:pt x="1402" y="6869"/>
                  </a:cubicBezTo>
                  <a:cubicBezTo>
                    <a:pt x="1402" y="6615"/>
                    <a:pt x="893" y="6523"/>
                    <a:pt x="646" y="6350"/>
                  </a:cubicBezTo>
                  <a:cubicBezTo>
                    <a:pt x="400" y="6084"/>
                    <a:pt x="400" y="5818"/>
                    <a:pt x="268" y="5553"/>
                  </a:cubicBezTo>
                  <a:cubicBezTo>
                    <a:pt x="268" y="5634"/>
                    <a:pt x="268" y="5634"/>
                    <a:pt x="268" y="5634"/>
                  </a:cubicBezTo>
                  <a:cubicBezTo>
                    <a:pt x="778" y="5818"/>
                    <a:pt x="1271" y="6257"/>
                    <a:pt x="1912" y="6165"/>
                  </a:cubicBezTo>
                  <a:cubicBezTo>
                    <a:pt x="2537" y="6165"/>
                    <a:pt x="3276" y="5818"/>
                    <a:pt x="3539" y="5368"/>
                  </a:cubicBezTo>
                  <a:cubicBezTo>
                    <a:pt x="4295" y="4318"/>
                    <a:pt x="3786" y="2909"/>
                    <a:pt x="4789" y="1939"/>
                  </a:cubicBezTo>
                  <a:cubicBezTo>
                    <a:pt x="5298" y="1489"/>
                    <a:pt x="6301" y="2286"/>
                    <a:pt x="7057" y="2113"/>
                  </a:cubicBezTo>
                  <a:cubicBezTo>
                    <a:pt x="7304" y="2020"/>
                    <a:pt x="7172" y="1674"/>
                    <a:pt x="7304" y="1408"/>
                  </a:cubicBezTo>
                  <a:cubicBezTo>
                    <a:pt x="7304" y="1408"/>
                    <a:pt x="7928" y="970"/>
                    <a:pt x="7928" y="877"/>
                  </a:cubicBezTo>
                  <a:cubicBezTo>
                    <a:pt x="7928" y="785"/>
                    <a:pt x="8553" y="0"/>
                    <a:pt x="8553"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1" name="Shape 2413">
              <a:extLst>
                <a:ext uri="{FF2B5EF4-FFF2-40B4-BE49-F238E27FC236}">
                  <a16:creationId xmlns:a16="http://schemas.microsoft.com/office/drawing/2014/main" id="{9C26FA8F-06FE-8D55-B30C-13F39CCD2AAD}"/>
                </a:ext>
              </a:extLst>
            </p:cNvPr>
            <p:cNvSpPr/>
            <p:nvPr/>
          </p:nvSpPr>
          <p:spPr>
            <a:xfrm>
              <a:off x="2912757" y="6859021"/>
              <a:ext cx="564487" cy="478340"/>
            </a:xfrm>
            <a:custGeom>
              <a:avLst/>
              <a:gdLst/>
              <a:ahLst/>
              <a:cxnLst>
                <a:cxn ang="0">
                  <a:pos x="wd2" y="hd2"/>
                </a:cxn>
                <a:cxn ang="5400000">
                  <a:pos x="wd2" y="hd2"/>
                </a:cxn>
                <a:cxn ang="10800000">
                  <a:pos x="wd2" y="hd2"/>
                </a:cxn>
                <a:cxn ang="16200000">
                  <a:pos x="wd2" y="hd2"/>
                </a:cxn>
              </a:cxnLst>
              <a:rect l="0" t="0" r="r" b="b"/>
              <a:pathLst>
                <a:path w="21429" h="21600" extrusionOk="0">
                  <a:moveTo>
                    <a:pt x="414" y="20430"/>
                  </a:moveTo>
                  <a:cubicBezTo>
                    <a:pt x="311" y="19852"/>
                    <a:pt x="311" y="19852"/>
                    <a:pt x="311" y="19852"/>
                  </a:cubicBezTo>
                  <a:cubicBezTo>
                    <a:pt x="311" y="19746"/>
                    <a:pt x="311" y="19502"/>
                    <a:pt x="311" y="19502"/>
                  </a:cubicBezTo>
                  <a:cubicBezTo>
                    <a:pt x="311" y="19396"/>
                    <a:pt x="311" y="19396"/>
                    <a:pt x="311" y="19396"/>
                  </a:cubicBezTo>
                  <a:cubicBezTo>
                    <a:pt x="414" y="19396"/>
                    <a:pt x="414" y="19153"/>
                    <a:pt x="311" y="19046"/>
                  </a:cubicBezTo>
                  <a:cubicBezTo>
                    <a:pt x="311" y="18925"/>
                    <a:pt x="311" y="18925"/>
                    <a:pt x="209" y="18803"/>
                  </a:cubicBezTo>
                  <a:cubicBezTo>
                    <a:pt x="120" y="18575"/>
                    <a:pt x="17" y="18225"/>
                    <a:pt x="209" y="18119"/>
                  </a:cubicBezTo>
                  <a:lnTo>
                    <a:pt x="311" y="17997"/>
                  </a:lnTo>
                  <a:cubicBezTo>
                    <a:pt x="311" y="17876"/>
                    <a:pt x="311" y="17876"/>
                    <a:pt x="311" y="17769"/>
                  </a:cubicBezTo>
                  <a:lnTo>
                    <a:pt x="311" y="17648"/>
                  </a:lnTo>
                  <a:cubicBezTo>
                    <a:pt x="120" y="16599"/>
                    <a:pt x="120" y="16599"/>
                    <a:pt x="120" y="16599"/>
                  </a:cubicBezTo>
                  <a:cubicBezTo>
                    <a:pt x="120" y="16493"/>
                    <a:pt x="209" y="16143"/>
                    <a:pt x="17" y="16143"/>
                  </a:cubicBezTo>
                  <a:cubicBezTo>
                    <a:pt x="17" y="15565"/>
                    <a:pt x="-85" y="15565"/>
                    <a:pt x="209" y="15094"/>
                  </a:cubicBezTo>
                  <a:cubicBezTo>
                    <a:pt x="503" y="14745"/>
                    <a:pt x="503" y="14395"/>
                    <a:pt x="120" y="14045"/>
                  </a:cubicBezTo>
                  <a:cubicBezTo>
                    <a:pt x="120" y="13817"/>
                    <a:pt x="209" y="13696"/>
                    <a:pt x="209" y="13346"/>
                  </a:cubicBezTo>
                  <a:cubicBezTo>
                    <a:pt x="209" y="13118"/>
                    <a:pt x="17" y="12996"/>
                    <a:pt x="17" y="12768"/>
                  </a:cubicBezTo>
                  <a:cubicBezTo>
                    <a:pt x="17" y="12419"/>
                    <a:pt x="606" y="12191"/>
                    <a:pt x="606" y="11613"/>
                  </a:cubicBezTo>
                  <a:cubicBezTo>
                    <a:pt x="1283" y="11142"/>
                    <a:pt x="1872" y="10686"/>
                    <a:pt x="2562" y="10215"/>
                  </a:cubicBezTo>
                  <a:cubicBezTo>
                    <a:pt x="3240" y="9759"/>
                    <a:pt x="4314" y="9637"/>
                    <a:pt x="4608" y="8710"/>
                  </a:cubicBezTo>
                  <a:cubicBezTo>
                    <a:pt x="4800" y="7889"/>
                    <a:pt x="3828" y="7083"/>
                    <a:pt x="3726" y="6156"/>
                  </a:cubicBezTo>
                  <a:cubicBezTo>
                    <a:pt x="3636" y="5457"/>
                    <a:pt x="3342" y="4408"/>
                    <a:pt x="3828" y="3952"/>
                  </a:cubicBezTo>
                  <a:cubicBezTo>
                    <a:pt x="4212" y="3603"/>
                    <a:pt x="4608" y="4879"/>
                    <a:pt x="5094" y="4879"/>
                  </a:cubicBezTo>
                  <a:cubicBezTo>
                    <a:pt x="5683" y="4879"/>
                    <a:pt x="6079" y="4287"/>
                    <a:pt x="6667" y="3952"/>
                  </a:cubicBezTo>
                  <a:cubicBezTo>
                    <a:pt x="6757" y="4530"/>
                    <a:pt x="6949" y="5107"/>
                    <a:pt x="7153" y="5807"/>
                  </a:cubicBezTo>
                  <a:cubicBezTo>
                    <a:pt x="7153" y="5807"/>
                    <a:pt x="8228" y="6035"/>
                    <a:pt x="8317" y="5928"/>
                  </a:cubicBezTo>
                  <a:cubicBezTo>
                    <a:pt x="8317" y="5807"/>
                    <a:pt x="9008" y="4879"/>
                    <a:pt x="9008" y="4879"/>
                  </a:cubicBezTo>
                  <a:cubicBezTo>
                    <a:pt x="9391" y="4758"/>
                    <a:pt x="9980" y="5229"/>
                    <a:pt x="10082" y="4758"/>
                  </a:cubicBezTo>
                  <a:cubicBezTo>
                    <a:pt x="10274" y="4408"/>
                    <a:pt x="9596" y="4059"/>
                    <a:pt x="9494" y="3709"/>
                  </a:cubicBezTo>
                  <a:cubicBezTo>
                    <a:pt x="9494" y="3359"/>
                    <a:pt x="9788" y="2903"/>
                    <a:pt x="10082" y="2782"/>
                  </a:cubicBezTo>
                  <a:cubicBezTo>
                    <a:pt x="10274" y="2675"/>
                    <a:pt x="10862" y="2554"/>
                    <a:pt x="10964" y="2903"/>
                  </a:cubicBezTo>
                  <a:cubicBezTo>
                    <a:pt x="11156" y="3359"/>
                    <a:pt x="10466" y="4059"/>
                    <a:pt x="10760" y="4408"/>
                  </a:cubicBezTo>
                  <a:cubicBezTo>
                    <a:pt x="11246" y="4879"/>
                    <a:pt x="11936" y="4408"/>
                    <a:pt x="12422" y="4180"/>
                  </a:cubicBezTo>
                  <a:cubicBezTo>
                    <a:pt x="13011" y="3952"/>
                    <a:pt x="13497" y="3481"/>
                    <a:pt x="14085" y="3131"/>
                  </a:cubicBezTo>
                  <a:cubicBezTo>
                    <a:pt x="14379" y="3025"/>
                    <a:pt x="14763" y="3025"/>
                    <a:pt x="15057" y="2903"/>
                  </a:cubicBezTo>
                  <a:cubicBezTo>
                    <a:pt x="15057" y="2903"/>
                    <a:pt x="16630" y="4287"/>
                    <a:pt x="16630" y="4180"/>
                  </a:cubicBezTo>
                  <a:cubicBezTo>
                    <a:pt x="16630" y="4059"/>
                    <a:pt x="17013" y="3131"/>
                    <a:pt x="17013" y="3131"/>
                  </a:cubicBezTo>
                  <a:cubicBezTo>
                    <a:pt x="16822" y="2675"/>
                    <a:pt x="16336" y="2204"/>
                    <a:pt x="16527" y="1748"/>
                  </a:cubicBezTo>
                  <a:cubicBezTo>
                    <a:pt x="16822" y="927"/>
                    <a:pt x="17602" y="578"/>
                    <a:pt x="18088" y="0"/>
                  </a:cubicBezTo>
                  <a:cubicBezTo>
                    <a:pt x="18382" y="350"/>
                    <a:pt x="18676" y="578"/>
                    <a:pt x="18970" y="1049"/>
                  </a:cubicBezTo>
                  <a:cubicBezTo>
                    <a:pt x="19264" y="1505"/>
                    <a:pt x="19264" y="2326"/>
                    <a:pt x="19648" y="2675"/>
                  </a:cubicBezTo>
                  <a:cubicBezTo>
                    <a:pt x="20044" y="3025"/>
                    <a:pt x="21016" y="2326"/>
                    <a:pt x="21119" y="2903"/>
                  </a:cubicBezTo>
                  <a:cubicBezTo>
                    <a:pt x="21310" y="3603"/>
                    <a:pt x="20530" y="4180"/>
                    <a:pt x="20236" y="4879"/>
                  </a:cubicBezTo>
                  <a:cubicBezTo>
                    <a:pt x="20338" y="5229"/>
                    <a:pt x="20338" y="5579"/>
                    <a:pt x="20530" y="5928"/>
                  </a:cubicBezTo>
                  <a:cubicBezTo>
                    <a:pt x="20722" y="6156"/>
                    <a:pt x="21119" y="6278"/>
                    <a:pt x="21119" y="6612"/>
                  </a:cubicBezTo>
                  <a:cubicBezTo>
                    <a:pt x="21221" y="6855"/>
                    <a:pt x="20927" y="7083"/>
                    <a:pt x="20927" y="7433"/>
                  </a:cubicBezTo>
                  <a:cubicBezTo>
                    <a:pt x="20927" y="7661"/>
                    <a:pt x="21310" y="8011"/>
                    <a:pt x="21119" y="8239"/>
                  </a:cubicBezTo>
                  <a:cubicBezTo>
                    <a:pt x="20927" y="8467"/>
                    <a:pt x="20530" y="8011"/>
                    <a:pt x="20338" y="8239"/>
                  </a:cubicBezTo>
                  <a:cubicBezTo>
                    <a:pt x="20044" y="8710"/>
                    <a:pt x="20044" y="9288"/>
                    <a:pt x="20044" y="9987"/>
                  </a:cubicBezTo>
                  <a:cubicBezTo>
                    <a:pt x="19942" y="10443"/>
                    <a:pt x="20338" y="11036"/>
                    <a:pt x="20338" y="11613"/>
                  </a:cubicBezTo>
                  <a:cubicBezTo>
                    <a:pt x="20338" y="12069"/>
                    <a:pt x="20044" y="12647"/>
                    <a:pt x="20044" y="13118"/>
                  </a:cubicBezTo>
                  <a:cubicBezTo>
                    <a:pt x="20044" y="13817"/>
                    <a:pt x="20236" y="14395"/>
                    <a:pt x="20530" y="14973"/>
                  </a:cubicBezTo>
                  <a:cubicBezTo>
                    <a:pt x="20722" y="15444"/>
                    <a:pt x="21310" y="15793"/>
                    <a:pt x="21413" y="16371"/>
                  </a:cubicBezTo>
                  <a:cubicBezTo>
                    <a:pt x="21515" y="16599"/>
                    <a:pt x="21119" y="16721"/>
                    <a:pt x="21016" y="16949"/>
                  </a:cubicBezTo>
                  <a:cubicBezTo>
                    <a:pt x="20824" y="16949"/>
                    <a:pt x="20722" y="16949"/>
                    <a:pt x="20530" y="17070"/>
                  </a:cubicBezTo>
                  <a:cubicBezTo>
                    <a:pt x="20441" y="17177"/>
                    <a:pt x="20441" y="17648"/>
                    <a:pt x="20236" y="17769"/>
                  </a:cubicBezTo>
                  <a:cubicBezTo>
                    <a:pt x="20044" y="17997"/>
                    <a:pt x="19750" y="17997"/>
                    <a:pt x="19456" y="17997"/>
                  </a:cubicBezTo>
                  <a:cubicBezTo>
                    <a:pt x="19264" y="17997"/>
                    <a:pt x="19060" y="17876"/>
                    <a:pt x="18868" y="17769"/>
                  </a:cubicBezTo>
                  <a:cubicBezTo>
                    <a:pt x="18676" y="17420"/>
                    <a:pt x="18574" y="16721"/>
                    <a:pt x="18190" y="16721"/>
                  </a:cubicBezTo>
                  <a:cubicBezTo>
                    <a:pt x="17704" y="16721"/>
                    <a:pt x="17499" y="17648"/>
                    <a:pt x="16924" y="17769"/>
                  </a:cubicBezTo>
                  <a:cubicBezTo>
                    <a:pt x="16630" y="17876"/>
                    <a:pt x="16336" y="17070"/>
                    <a:pt x="15939" y="17298"/>
                  </a:cubicBezTo>
                  <a:cubicBezTo>
                    <a:pt x="15747" y="17420"/>
                    <a:pt x="16131" y="18225"/>
                    <a:pt x="15837" y="18225"/>
                  </a:cubicBezTo>
                  <a:cubicBezTo>
                    <a:pt x="15453" y="18347"/>
                    <a:pt x="15057" y="17526"/>
                    <a:pt x="14673" y="17648"/>
                  </a:cubicBezTo>
                  <a:cubicBezTo>
                    <a:pt x="14379" y="17769"/>
                    <a:pt x="14673" y="18697"/>
                    <a:pt x="14379" y="18697"/>
                  </a:cubicBezTo>
                  <a:cubicBezTo>
                    <a:pt x="13701" y="18575"/>
                    <a:pt x="13113" y="17070"/>
                    <a:pt x="12422" y="17420"/>
                  </a:cubicBezTo>
                  <a:cubicBezTo>
                    <a:pt x="11450" y="17876"/>
                    <a:pt x="11348" y="19746"/>
                    <a:pt x="10466" y="20551"/>
                  </a:cubicBezTo>
                  <a:cubicBezTo>
                    <a:pt x="10274" y="20779"/>
                    <a:pt x="9890" y="20202"/>
                    <a:pt x="9596" y="20323"/>
                  </a:cubicBezTo>
                  <a:cubicBezTo>
                    <a:pt x="9008" y="20551"/>
                    <a:pt x="8522" y="21129"/>
                    <a:pt x="8023" y="21600"/>
                  </a:cubicBezTo>
                  <a:cubicBezTo>
                    <a:pt x="7243" y="21357"/>
                    <a:pt x="6373" y="21478"/>
                    <a:pt x="5785" y="20901"/>
                  </a:cubicBezTo>
                  <a:cubicBezTo>
                    <a:pt x="5389" y="20551"/>
                    <a:pt x="5785" y="19502"/>
                    <a:pt x="5389" y="19153"/>
                  </a:cubicBezTo>
                  <a:cubicBezTo>
                    <a:pt x="5005" y="18803"/>
                    <a:pt x="4314" y="19274"/>
                    <a:pt x="3828" y="19046"/>
                  </a:cubicBezTo>
                  <a:cubicBezTo>
                    <a:pt x="3636" y="19046"/>
                    <a:pt x="3931" y="18697"/>
                    <a:pt x="3828" y="18575"/>
                  </a:cubicBezTo>
                  <a:cubicBezTo>
                    <a:pt x="3342" y="18225"/>
                    <a:pt x="3534" y="18453"/>
                    <a:pt x="3048" y="18225"/>
                  </a:cubicBezTo>
                  <a:cubicBezTo>
                    <a:pt x="3342" y="17876"/>
                    <a:pt x="3636" y="17648"/>
                    <a:pt x="3726" y="17177"/>
                  </a:cubicBezTo>
                  <a:cubicBezTo>
                    <a:pt x="4020" y="16249"/>
                    <a:pt x="5785" y="15565"/>
                    <a:pt x="5785" y="14395"/>
                  </a:cubicBezTo>
                  <a:cubicBezTo>
                    <a:pt x="4212" y="15793"/>
                    <a:pt x="3151" y="17420"/>
                    <a:pt x="1283" y="18453"/>
                  </a:cubicBezTo>
                  <a:cubicBezTo>
                    <a:pt x="797" y="19046"/>
                    <a:pt x="606" y="19746"/>
                    <a:pt x="414" y="2043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2" name="Shape 2414">
              <a:extLst>
                <a:ext uri="{FF2B5EF4-FFF2-40B4-BE49-F238E27FC236}">
                  <a16:creationId xmlns:a16="http://schemas.microsoft.com/office/drawing/2014/main" id="{5F8B0591-728D-E38E-5DD4-FA8EEB0E4444}"/>
                </a:ext>
              </a:extLst>
            </p:cNvPr>
            <p:cNvSpPr/>
            <p:nvPr/>
          </p:nvSpPr>
          <p:spPr>
            <a:xfrm>
              <a:off x="2662273" y="6983893"/>
              <a:ext cx="267230" cy="381712"/>
            </a:xfrm>
            <a:custGeom>
              <a:avLst/>
              <a:gdLst/>
              <a:ahLst/>
              <a:cxnLst>
                <a:cxn ang="0">
                  <a:pos x="wd2" y="hd2"/>
                </a:cxn>
                <a:cxn ang="5400000">
                  <a:pos x="wd2" y="hd2"/>
                </a:cxn>
                <a:cxn ang="10800000">
                  <a:pos x="wd2" y="hd2"/>
                </a:cxn>
                <a:cxn ang="16200000">
                  <a:pos x="wd2" y="hd2"/>
                </a:cxn>
              </a:cxnLst>
              <a:rect l="0" t="0" r="r" b="b"/>
              <a:pathLst>
                <a:path w="21600" h="21600" extrusionOk="0">
                  <a:moveTo>
                    <a:pt x="21600" y="7448"/>
                  </a:moveTo>
                  <a:cubicBezTo>
                    <a:pt x="21192" y="7162"/>
                    <a:pt x="20131" y="7162"/>
                    <a:pt x="19532" y="7009"/>
                  </a:cubicBezTo>
                  <a:cubicBezTo>
                    <a:pt x="18689" y="6856"/>
                    <a:pt x="19097" y="6570"/>
                    <a:pt x="18063" y="7009"/>
                  </a:cubicBezTo>
                  <a:cubicBezTo>
                    <a:pt x="17438" y="7162"/>
                    <a:pt x="17438" y="6723"/>
                    <a:pt x="17030" y="6570"/>
                  </a:cubicBezTo>
                  <a:cubicBezTo>
                    <a:pt x="17030" y="6131"/>
                    <a:pt x="16404" y="5558"/>
                    <a:pt x="16186" y="5118"/>
                  </a:cubicBezTo>
                  <a:cubicBezTo>
                    <a:pt x="15778" y="4679"/>
                    <a:pt x="15153" y="4373"/>
                    <a:pt x="14527" y="4087"/>
                  </a:cubicBezTo>
                  <a:cubicBezTo>
                    <a:pt x="14119" y="3934"/>
                    <a:pt x="13493" y="3648"/>
                    <a:pt x="13085" y="3361"/>
                  </a:cubicBezTo>
                  <a:cubicBezTo>
                    <a:pt x="12868" y="3075"/>
                    <a:pt x="11834" y="2483"/>
                    <a:pt x="11834" y="2330"/>
                  </a:cubicBezTo>
                  <a:cubicBezTo>
                    <a:pt x="11426" y="2330"/>
                    <a:pt x="10392" y="3208"/>
                    <a:pt x="9957" y="3361"/>
                  </a:cubicBezTo>
                  <a:cubicBezTo>
                    <a:pt x="9549" y="3495"/>
                    <a:pt x="8297" y="4240"/>
                    <a:pt x="8080" y="3934"/>
                  </a:cubicBezTo>
                  <a:cubicBezTo>
                    <a:pt x="7889" y="3648"/>
                    <a:pt x="7889" y="3361"/>
                    <a:pt x="7889" y="2922"/>
                  </a:cubicBezTo>
                  <a:cubicBezTo>
                    <a:pt x="7889" y="2769"/>
                    <a:pt x="6638" y="2922"/>
                    <a:pt x="6420" y="2922"/>
                  </a:cubicBezTo>
                  <a:cubicBezTo>
                    <a:pt x="6230" y="2922"/>
                    <a:pt x="6012" y="1471"/>
                    <a:pt x="5794" y="1318"/>
                  </a:cubicBezTo>
                  <a:cubicBezTo>
                    <a:pt x="5169" y="745"/>
                    <a:pt x="4353" y="439"/>
                    <a:pt x="3727" y="0"/>
                  </a:cubicBezTo>
                  <a:cubicBezTo>
                    <a:pt x="3319" y="306"/>
                    <a:pt x="2693" y="592"/>
                    <a:pt x="2476" y="1031"/>
                  </a:cubicBezTo>
                  <a:cubicBezTo>
                    <a:pt x="2476" y="1604"/>
                    <a:pt x="2693" y="2196"/>
                    <a:pt x="3101" y="2769"/>
                  </a:cubicBezTo>
                  <a:cubicBezTo>
                    <a:pt x="3509" y="3361"/>
                    <a:pt x="4761" y="3801"/>
                    <a:pt x="4978" y="4526"/>
                  </a:cubicBezTo>
                  <a:cubicBezTo>
                    <a:pt x="4978" y="4966"/>
                    <a:pt x="3727" y="4966"/>
                    <a:pt x="3509" y="5252"/>
                  </a:cubicBezTo>
                  <a:cubicBezTo>
                    <a:pt x="2911" y="5691"/>
                    <a:pt x="3101" y="6417"/>
                    <a:pt x="2476" y="6856"/>
                  </a:cubicBezTo>
                  <a:cubicBezTo>
                    <a:pt x="1850" y="7448"/>
                    <a:pt x="816" y="7735"/>
                    <a:pt x="0" y="8174"/>
                  </a:cubicBezTo>
                  <a:cubicBezTo>
                    <a:pt x="190" y="8613"/>
                    <a:pt x="0" y="8900"/>
                    <a:pt x="190" y="9186"/>
                  </a:cubicBezTo>
                  <a:cubicBezTo>
                    <a:pt x="408" y="9339"/>
                    <a:pt x="626" y="9339"/>
                    <a:pt x="816" y="9339"/>
                  </a:cubicBezTo>
                  <a:cubicBezTo>
                    <a:pt x="1659" y="9492"/>
                    <a:pt x="2476" y="9339"/>
                    <a:pt x="3101" y="9492"/>
                  </a:cubicBezTo>
                  <a:cubicBezTo>
                    <a:pt x="3727" y="9625"/>
                    <a:pt x="4135" y="9931"/>
                    <a:pt x="4570" y="10218"/>
                  </a:cubicBezTo>
                  <a:cubicBezTo>
                    <a:pt x="4761" y="10370"/>
                    <a:pt x="4570" y="10657"/>
                    <a:pt x="4761" y="10943"/>
                  </a:cubicBezTo>
                  <a:cubicBezTo>
                    <a:pt x="4761" y="10943"/>
                    <a:pt x="5169" y="12700"/>
                    <a:pt x="5386" y="12834"/>
                  </a:cubicBezTo>
                  <a:cubicBezTo>
                    <a:pt x="5604" y="12834"/>
                    <a:pt x="6855" y="13140"/>
                    <a:pt x="6855" y="13140"/>
                  </a:cubicBezTo>
                  <a:cubicBezTo>
                    <a:pt x="6855" y="13426"/>
                    <a:pt x="6638" y="13712"/>
                    <a:pt x="6855" y="13999"/>
                  </a:cubicBezTo>
                  <a:cubicBezTo>
                    <a:pt x="7046" y="14152"/>
                    <a:pt x="7889" y="13999"/>
                    <a:pt x="7889" y="14305"/>
                  </a:cubicBezTo>
                  <a:cubicBezTo>
                    <a:pt x="7889" y="14744"/>
                    <a:pt x="6638" y="14877"/>
                    <a:pt x="6638" y="15317"/>
                  </a:cubicBezTo>
                  <a:cubicBezTo>
                    <a:pt x="6855" y="16042"/>
                    <a:pt x="7889" y="16634"/>
                    <a:pt x="8515" y="17360"/>
                  </a:cubicBezTo>
                  <a:cubicBezTo>
                    <a:pt x="8923" y="17513"/>
                    <a:pt x="9331" y="17799"/>
                    <a:pt x="9766" y="17799"/>
                  </a:cubicBezTo>
                  <a:cubicBezTo>
                    <a:pt x="11208" y="17513"/>
                    <a:pt x="12459" y="16482"/>
                    <a:pt x="13901" y="16482"/>
                  </a:cubicBezTo>
                  <a:cubicBezTo>
                    <a:pt x="14745" y="16482"/>
                    <a:pt x="15370" y="17227"/>
                    <a:pt x="15153" y="17666"/>
                  </a:cubicBezTo>
                  <a:cubicBezTo>
                    <a:pt x="14935" y="18525"/>
                    <a:pt x="13276" y="18831"/>
                    <a:pt x="13085" y="19690"/>
                  </a:cubicBezTo>
                  <a:cubicBezTo>
                    <a:pt x="12868" y="19996"/>
                    <a:pt x="15153" y="21294"/>
                    <a:pt x="15561" y="21600"/>
                  </a:cubicBezTo>
                  <a:cubicBezTo>
                    <a:pt x="16622" y="21008"/>
                    <a:pt x="17873" y="20435"/>
                    <a:pt x="19097" y="19996"/>
                  </a:cubicBezTo>
                  <a:cubicBezTo>
                    <a:pt x="20131" y="19690"/>
                    <a:pt x="20757" y="19117"/>
                    <a:pt x="21192" y="18525"/>
                  </a:cubicBezTo>
                  <a:cubicBezTo>
                    <a:pt x="20974" y="17799"/>
                    <a:pt x="20974" y="17799"/>
                    <a:pt x="20974" y="17799"/>
                  </a:cubicBezTo>
                  <a:cubicBezTo>
                    <a:pt x="20974" y="17666"/>
                    <a:pt x="20974" y="17360"/>
                    <a:pt x="20974" y="17360"/>
                  </a:cubicBezTo>
                  <a:cubicBezTo>
                    <a:pt x="20974" y="17227"/>
                    <a:pt x="20974" y="17227"/>
                    <a:pt x="20974" y="17227"/>
                  </a:cubicBezTo>
                  <a:cubicBezTo>
                    <a:pt x="21192" y="17227"/>
                    <a:pt x="21192" y="16921"/>
                    <a:pt x="20974" y="16787"/>
                  </a:cubicBezTo>
                  <a:cubicBezTo>
                    <a:pt x="20974" y="16634"/>
                    <a:pt x="20974" y="16634"/>
                    <a:pt x="20757" y="16482"/>
                  </a:cubicBezTo>
                  <a:cubicBezTo>
                    <a:pt x="20566" y="16195"/>
                    <a:pt x="20349" y="15756"/>
                    <a:pt x="20757" y="15622"/>
                  </a:cubicBezTo>
                  <a:lnTo>
                    <a:pt x="20974" y="15469"/>
                  </a:lnTo>
                  <a:cubicBezTo>
                    <a:pt x="20974" y="15317"/>
                    <a:pt x="20974" y="15317"/>
                    <a:pt x="20974" y="15183"/>
                  </a:cubicBezTo>
                  <a:lnTo>
                    <a:pt x="20974" y="15030"/>
                  </a:lnTo>
                  <a:cubicBezTo>
                    <a:pt x="20566" y="13712"/>
                    <a:pt x="20566" y="13712"/>
                    <a:pt x="20566" y="13712"/>
                  </a:cubicBezTo>
                  <a:cubicBezTo>
                    <a:pt x="20566" y="13579"/>
                    <a:pt x="20757" y="13140"/>
                    <a:pt x="20349" y="13140"/>
                  </a:cubicBezTo>
                  <a:cubicBezTo>
                    <a:pt x="20349" y="12414"/>
                    <a:pt x="20131" y="12414"/>
                    <a:pt x="20757" y="11822"/>
                  </a:cubicBezTo>
                  <a:cubicBezTo>
                    <a:pt x="21382" y="11382"/>
                    <a:pt x="21382" y="10943"/>
                    <a:pt x="20566" y="10504"/>
                  </a:cubicBezTo>
                  <a:cubicBezTo>
                    <a:pt x="20566" y="10218"/>
                    <a:pt x="20757" y="10065"/>
                    <a:pt x="20757" y="9625"/>
                  </a:cubicBezTo>
                  <a:cubicBezTo>
                    <a:pt x="20757" y="9339"/>
                    <a:pt x="20349" y="9186"/>
                    <a:pt x="20349" y="8900"/>
                  </a:cubicBezTo>
                  <a:cubicBezTo>
                    <a:pt x="20349" y="8460"/>
                    <a:pt x="21600" y="8174"/>
                    <a:pt x="21600" y="74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3" name="Shape 2415">
              <a:extLst>
                <a:ext uri="{FF2B5EF4-FFF2-40B4-BE49-F238E27FC236}">
                  <a16:creationId xmlns:a16="http://schemas.microsoft.com/office/drawing/2014/main" id="{F59CAA9B-E906-CF2E-1950-676A08F6716D}"/>
                </a:ext>
              </a:extLst>
            </p:cNvPr>
            <p:cNvSpPr/>
            <p:nvPr/>
          </p:nvSpPr>
          <p:spPr>
            <a:xfrm>
              <a:off x="2507681" y="7116199"/>
              <a:ext cx="90339" cy="161701"/>
            </a:xfrm>
            <a:custGeom>
              <a:avLst/>
              <a:gdLst/>
              <a:ahLst/>
              <a:cxnLst>
                <a:cxn ang="0">
                  <a:pos x="wd2" y="hd2"/>
                </a:cxn>
                <a:cxn ang="5400000">
                  <a:pos x="wd2" y="hd2"/>
                </a:cxn>
                <a:cxn ang="10800000">
                  <a:pos x="wd2" y="hd2"/>
                </a:cxn>
                <a:cxn ang="16200000">
                  <a:pos x="wd2" y="hd2"/>
                </a:cxn>
              </a:cxnLst>
              <a:rect l="0" t="0" r="r" b="b"/>
              <a:pathLst>
                <a:path w="21600" h="21600" extrusionOk="0">
                  <a:moveTo>
                    <a:pt x="0" y="2066"/>
                  </a:moveTo>
                  <a:cubicBezTo>
                    <a:pt x="1290" y="1347"/>
                    <a:pt x="2499" y="0"/>
                    <a:pt x="4352" y="0"/>
                  </a:cubicBezTo>
                  <a:cubicBezTo>
                    <a:pt x="5561" y="0"/>
                    <a:pt x="4916" y="1347"/>
                    <a:pt x="5561" y="2066"/>
                  </a:cubicBezTo>
                  <a:cubicBezTo>
                    <a:pt x="6770" y="2380"/>
                    <a:pt x="8624" y="2066"/>
                    <a:pt x="9833" y="2380"/>
                  </a:cubicBezTo>
                  <a:cubicBezTo>
                    <a:pt x="10478" y="3054"/>
                    <a:pt x="9833" y="4086"/>
                    <a:pt x="10478" y="4805"/>
                  </a:cubicBezTo>
                  <a:cubicBezTo>
                    <a:pt x="11687" y="5119"/>
                    <a:pt x="12976" y="5119"/>
                    <a:pt x="14185" y="5119"/>
                  </a:cubicBezTo>
                  <a:cubicBezTo>
                    <a:pt x="14830" y="6511"/>
                    <a:pt x="14185" y="7859"/>
                    <a:pt x="15394" y="9251"/>
                  </a:cubicBezTo>
                  <a:cubicBezTo>
                    <a:pt x="16684" y="11990"/>
                    <a:pt x="20955" y="14729"/>
                    <a:pt x="21600" y="17828"/>
                  </a:cubicBezTo>
                  <a:cubicBezTo>
                    <a:pt x="21600" y="19220"/>
                    <a:pt x="18537" y="20208"/>
                    <a:pt x="17248" y="21600"/>
                  </a:cubicBezTo>
                  <a:cubicBezTo>
                    <a:pt x="16684" y="20926"/>
                    <a:pt x="15394" y="19894"/>
                    <a:pt x="14185" y="19220"/>
                  </a:cubicBezTo>
                  <a:cubicBezTo>
                    <a:pt x="12331" y="17828"/>
                    <a:pt x="9833" y="16795"/>
                    <a:pt x="8624" y="15762"/>
                  </a:cubicBezTo>
                  <a:cubicBezTo>
                    <a:pt x="5561" y="13382"/>
                    <a:pt x="1854" y="10957"/>
                    <a:pt x="0" y="8218"/>
                  </a:cubicBezTo>
                  <a:cubicBezTo>
                    <a:pt x="0" y="7544"/>
                    <a:pt x="2499" y="7185"/>
                    <a:pt x="2499" y="6511"/>
                  </a:cubicBezTo>
                  <a:cubicBezTo>
                    <a:pt x="2499" y="4805"/>
                    <a:pt x="645" y="3413"/>
                    <a:pt x="0" y="206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4" name="Shape 2416">
              <a:extLst>
                <a:ext uri="{FF2B5EF4-FFF2-40B4-BE49-F238E27FC236}">
                  <a16:creationId xmlns:a16="http://schemas.microsoft.com/office/drawing/2014/main" id="{7F444E58-0658-1484-B644-885A1119AD27}"/>
                </a:ext>
              </a:extLst>
            </p:cNvPr>
            <p:cNvSpPr/>
            <p:nvPr/>
          </p:nvSpPr>
          <p:spPr>
            <a:xfrm>
              <a:off x="2582004" y="7122986"/>
              <a:ext cx="103706" cy="123853"/>
            </a:xfrm>
            <a:custGeom>
              <a:avLst/>
              <a:gdLst/>
              <a:ahLst/>
              <a:cxnLst>
                <a:cxn ang="0">
                  <a:pos x="wd2" y="hd2"/>
                </a:cxn>
                <a:cxn ang="5400000">
                  <a:pos x="wd2" y="hd2"/>
                </a:cxn>
                <a:cxn ang="10800000">
                  <a:pos x="wd2" y="hd2"/>
                </a:cxn>
                <a:cxn ang="16200000">
                  <a:pos x="wd2" y="hd2"/>
                </a:cxn>
              </a:cxnLst>
              <a:rect l="0" t="0" r="r" b="b"/>
              <a:pathLst>
                <a:path w="21292" h="20739" extrusionOk="0">
                  <a:moveTo>
                    <a:pt x="16338" y="911"/>
                  </a:moveTo>
                  <a:cubicBezTo>
                    <a:pt x="16823" y="2211"/>
                    <a:pt x="16338" y="3059"/>
                    <a:pt x="16823" y="3907"/>
                  </a:cubicBezTo>
                  <a:cubicBezTo>
                    <a:pt x="17377" y="4360"/>
                    <a:pt x="17931" y="4360"/>
                    <a:pt x="18415" y="4360"/>
                  </a:cubicBezTo>
                  <a:cubicBezTo>
                    <a:pt x="19454" y="6113"/>
                    <a:pt x="20562" y="7413"/>
                    <a:pt x="21046" y="9109"/>
                  </a:cubicBezTo>
                  <a:cubicBezTo>
                    <a:pt x="21600" y="13011"/>
                    <a:pt x="21046" y="16460"/>
                    <a:pt x="21046" y="20362"/>
                  </a:cubicBezTo>
                  <a:cubicBezTo>
                    <a:pt x="20008" y="20362"/>
                    <a:pt x="18969" y="21210"/>
                    <a:pt x="17931" y="20362"/>
                  </a:cubicBezTo>
                  <a:cubicBezTo>
                    <a:pt x="17377" y="19909"/>
                    <a:pt x="19454" y="19457"/>
                    <a:pt x="19454" y="18609"/>
                  </a:cubicBezTo>
                  <a:cubicBezTo>
                    <a:pt x="18969" y="18157"/>
                    <a:pt x="17931" y="17761"/>
                    <a:pt x="17377" y="16913"/>
                  </a:cubicBezTo>
                  <a:cubicBezTo>
                    <a:pt x="15231" y="15160"/>
                    <a:pt x="13638" y="12163"/>
                    <a:pt x="10454" y="10862"/>
                  </a:cubicBezTo>
                  <a:cubicBezTo>
                    <a:pt x="9485" y="10410"/>
                    <a:pt x="11008" y="14312"/>
                    <a:pt x="9485" y="13859"/>
                  </a:cubicBezTo>
                  <a:cubicBezTo>
                    <a:pt x="7408" y="13463"/>
                    <a:pt x="6854" y="11258"/>
                    <a:pt x="5262" y="9958"/>
                  </a:cubicBezTo>
                  <a:cubicBezTo>
                    <a:pt x="3185" y="8261"/>
                    <a:pt x="1592" y="6113"/>
                    <a:pt x="0" y="3907"/>
                  </a:cubicBezTo>
                  <a:cubicBezTo>
                    <a:pt x="554" y="2607"/>
                    <a:pt x="554" y="458"/>
                    <a:pt x="2077" y="62"/>
                  </a:cubicBezTo>
                  <a:cubicBezTo>
                    <a:pt x="4223" y="-390"/>
                    <a:pt x="6300" y="1759"/>
                    <a:pt x="8446" y="1759"/>
                  </a:cubicBezTo>
                  <a:cubicBezTo>
                    <a:pt x="11008" y="2211"/>
                    <a:pt x="13638" y="1363"/>
                    <a:pt x="16338" y="91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5" name="Shape 2417">
              <a:extLst>
                <a:ext uri="{FF2B5EF4-FFF2-40B4-BE49-F238E27FC236}">
                  <a16:creationId xmlns:a16="http://schemas.microsoft.com/office/drawing/2014/main" id="{B032B4B7-67CB-63CE-E98F-72F6A5D37FF1}"/>
                </a:ext>
              </a:extLst>
            </p:cNvPr>
            <p:cNvSpPr/>
            <p:nvPr/>
          </p:nvSpPr>
          <p:spPr>
            <a:xfrm>
              <a:off x="2671193" y="7148903"/>
              <a:ext cx="94800" cy="1527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2366" y="383"/>
                    <a:pt x="4656" y="0"/>
                    <a:pt x="6411" y="383"/>
                  </a:cubicBezTo>
                  <a:cubicBezTo>
                    <a:pt x="8167" y="718"/>
                    <a:pt x="9312" y="1485"/>
                    <a:pt x="10533" y="2203"/>
                  </a:cubicBezTo>
                  <a:cubicBezTo>
                    <a:pt x="11067" y="2586"/>
                    <a:pt x="10533" y="3305"/>
                    <a:pt x="11067" y="4023"/>
                  </a:cubicBezTo>
                  <a:cubicBezTo>
                    <a:pt x="11067" y="4023"/>
                    <a:pt x="12212" y="8429"/>
                    <a:pt x="12823" y="8765"/>
                  </a:cubicBezTo>
                  <a:cubicBezTo>
                    <a:pt x="13433" y="8765"/>
                    <a:pt x="16944" y="9531"/>
                    <a:pt x="16944" y="9531"/>
                  </a:cubicBezTo>
                  <a:cubicBezTo>
                    <a:pt x="16944" y="10249"/>
                    <a:pt x="16334" y="10968"/>
                    <a:pt x="16944" y="11686"/>
                  </a:cubicBezTo>
                  <a:cubicBezTo>
                    <a:pt x="17478" y="12069"/>
                    <a:pt x="19845" y="11686"/>
                    <a:pt x="19845" y="12452"/>
                  </a:cubicBezTo>
                  <a:cubicBezTo>
                    <a:pt x="19845" y="13554"/>
                    <a:pt x="16334" y="13889"/>
                    <a:pt x="16334" y="14991"/>
                  </a:cubicBezTo>
                  <a:cubicBezTo>
                    <a:pt x="16944" y="16811"/>
                    <a:pt x="19845" y="18295"/>
                    <a:pt x="21600" y="20115"/>
                  </a:cubicBezTo>
                  <a:cubicBezTo>
                    <a:pt x="19234" y="20498"/>
                    <a:pt x="16944" y="21217"/>
                    <a:pt x="13967" y="21600"/>
                  </a:cubicBezTo>
                  <a:cubicBezTo>
                    <a:pt x="11678" y="21600"/>
                    <a:pt x="9312" y="21600"/>
                    <a:pt x="7022" y="21600"/>
                  </a:cubicBezTo>
                  <a:cubicBezTo>
                    <a:pt x="5877" y="20882"/>
                    <a:pt x="4656" y="20115"/>
                    <a:pt x="4656" y="19397"/>
                  </a:cubicBezTo>
                  <a:cubicBezTo>
                    <a:pt x="4656" y="18295"/>
                    <a:pt x="7022" y="17912"/>
                    <a:pt x="7556" y="16811"/>
                  </a:cubicBezTo>
                  <a:cubicBezTo>
                    <a:pt x="7556" y="15374"/>
                    <a:pt x="8167" y="13889"/>
                    <a:pt x="7022" y="13171"/>
                  </a:cubicBezTo>
                  <a:cubicBezTo>
                    <a:pt x="5877" y="12452"/>
                    <a:pt x="4122" y="13171"/>
                    <a:pt x="2900" y="13554"/>
                  </a:cubicBezTo>
                  <a:cubicBezTo>
                    <a:pt x="2900" y="10249"/>
                    <a:pt x="3511" y="7328"/>
                    <a:pt x="2900" y="4023"/>
                  </a:cubicBezTo>
                  <a:cubicBezTo>
                    <a:pt x="2366" y="2586"/>
                    <a:pt x="1145" y="1485"/>
                    <a:pt x="0"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6" name="Shape 2418">
              <a:extLst>
                <a:ext uri="{FF2B5EF4-FFF2-40B4-BE49-F238E27FC236}">
                  <a16:creationId xmlns:a16="http://schemas.microsoft.com/office/drawing/2014/main" id="{292E9E95-7E0D-021E-2236-1F825258E869}"/>
                </a:ext>
              </a:extLst>
            </p:cNvPr>
            <p:cNvSpPr/>
            <p:nvPr/>
          </p:nvSpPr>
          <p:spPr>
            <a:xfrm>
              <a:off x="2567140" y="7147417"/>
              <a:ext cx="138906" cy="216702"/>
            </a:xfrm>
            <a:custGeom>
              <a:avLst/>
              <a:gdLst/>
              <a:ahLst/>
              <a:cxnLst>
                <a:cxn ang="0">
                  <a:pos x="wd2" y="hd2"/>
                </a:cxn>
                <a:cxn ang="5400000">
                  <a:pos x="wd2" y="hd2"/>
                </a:cxn>
                <a:cxn ang="10800000">
                  <a:pos x="wd2" y="hd2"/>
                </a:cxn>
                <a:cxn ang="16200000">
                  <a:pos x="wd2" y="hd2"/>
                </a:cxn>
              </a:cxnLst>
              <a:rect l="0" t="0" r="r" b="b"/>
              <a:pathLst>
                <a:path w="21297" h="21600" extrusionOk="0">
                  <a:moveTo>
                    <a:pt x="0" y="774"/>
                  </a:moveTo>
                  <a:cubicBezTo>
                    <a:pt x="2371" y="0"/>
                    <a:pt x="2371" y="0"/>
                    <a:pt x="2371" y="0"/>
                  </a:cubicBezTo>
                  <a:cubicBezTo>
                    <a:pt x="3557" y="1312"/>
                    <a:pt x="4743" y="2591"/>
                    <a:pt x="6289" y="3600"/>
                  </a:cubicBezTo>
                  <a:cubicBezTo>
                    <a:pt x="7475" y="4374"/>
                    <a:pt x="7887" y="5686"/>
                    <a:pt x="9434" y="5921"/>
                  </a:cubicBezTo>
                  <a:cubicBezTo>
                    <a:pt x="10568" y="6191"/>
                    <a:pt x="9434" y="3869"/>
                    <a:pt x="10156" y="4138"/>
                  </a:cubicBezTo>
                  <a:cubicBezTo>
                    <a:pt x="12527" y="4912"/>
                    <a:pt x="13713" y="6695"/>
                    <a:pt x="15311" y="7738"/>
                  </a:cubicBezTo>
                  <a:cubicBezTo>
                    <a:pt x="15723" y="8243"/>
                    <a:pt x="16496" y="8479"/>
                    <a:pt x="16857" y="8748"/>
                  </a:cubicBezTo>
                  <a:cubicBezTo>
                    <a:pt x="16857" y="9252"/>
                    <a:pt x="15311" y="9521"/>
                    <a:pt x="15723" y="9791"/>
                  </a:cubicBezTo>
                  <a:cubicBezTo>
                    <a:pt x="16496" y="10295"/>
                    <a:pt x="17270" y="9791"/>
                    <a:pt x="18043" y="9791"/>
                  </a:cubicBezTo>
                  <a:cubicBezTo>
                    <a:pt x="18868" y="9521"/>
                    <a:pt x="20053" y="9017"/>
                    <a:pt x="20827" y="9521"/>
                  </a:cubicBezTo>
                  <a:cubicBezTo>
                    <a:pt x="21600" y="10026"/>
                    <a:pt x="21188" y="11069"/>
                    <a:pt x="21188" y="12079"/>
                  </a:cubicBezTo>
                  <a:cubicBezTo>
                    <a:pt x="20827" y="12852"/>
                    <a:pt x="19229" y="13121"/>
                    <a:pt x="19229" y="13895"/>
                  </a:cubicBezTo>
                  <a:cubicBezTo>
                    <a:pt x="19229" y="14400"/>
                    <a:pt x="20053" y="14938"/>
                    <a:pt x="20827" y="15443"/>
                  </a:cubicBezTo>
                  <a:cubicBezTo>
                    <a:pt x="19641" y="16217"/>
                    <a:pt x="18043" y="16991"/>
                    <a:pt x="17682" y="18000"/>
                  </a:cubicBezTo>
                  <a:cubicBezTo>
                    <a:pt x="17682" y="18505"/>
                    <a:pt x="20053" y="18774"/>
                    <a:pt x="20053" y="19548"/>
                  </a:cubicBezTo>
                  <a:cubicBezTo>
                    <a:pt x="20053" y="20321"/>
                    <a:pt x="18868" y="21095"/>
                    <a:pt x="18043" y="21600"/>
                  </a:cubicBezTo>
                  <a:cubicBezTo>
                    <a:pt x="16496" y="21331"/>
                    <a:pt x="15311" y="20557"/>
                    <a:pt x="14125" y="20557"/>
                  </a:cubicBezTo>
                  <a:cubicBezTo>
                    <a:pt x="12166" y="20321"/>
                    <a:pt x="10156" y="20826"/>
                    <a:pt x="8248" y="21095"/>
                  </a:cubicBezTo>
                  <a:cubicBezTo>
                    <a:pt x="6702" y="20052"/>
                    <a:pt x="4743" y="19043"/>
                    <a:pt x="3557" y="18000"/>
                  </a:cubicBezTo>
                  <a:cubicBezTo>
                    <a:pt x="2784" y="16452"/>
                    <a:pt x="2784" y="14669"/>
                    <a:pt x="1959" y="13121"/>
                  </a:cubicBezTo>
                  <a:cubicBezTo>
                    <a:pt x="2784" y="12079"/>
                    <a:pt x="4743" y="11338"/>
                    <a:pt x="4743" y="10295"/>
                  </a:cubicBezTo>
                  <a:cubicBezTo>
                    <a:pt x="4330" y="7974"/>
                    <a:pt x="1598" y="5921"/>
                    <a:pt x="773" y="3869"/>
                  </a:cubicBezTo>
                  <a:cubicBezTo>
                    <a:pt x="0" y="2826"/>
                    <a:pt x="412" y="1817"/>
                    <a:pt x="0" y="77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7" name="Shape 2419">
              <a:extLst>
                <a:ext uri="{FF2B5EF4-FFF2-40B4-BE49-F238E27FC236}">
                  <a16:creationId xmlns:a16="http://schemas.microsoft.com/office/drawing/2014/main" id="{3D21D5F5-1FE8-8124-218A-BA661A649C74}"/>
                </a:ext>
              </a:extLst>
            </p:cNvPr>
            <p:cNvSpPr/>
            <p:nvPr/>
          </p:nvSpPr>
          <p:spPr>
            <a:xfrm>
              <a:off x="2683084" y="7275262"/>
              <a:ext cx="172095" cy="128995"/>
            </a:xfrm>
            <a:custGeom>
              <a:avLst/>
              <a:gdLst/>
              <a:ahLst/>
              <a:cxnLst>
                <a:cxn ang="0">
                  <a:pos x="wd2" y="hd2"/>
                </a:cxn>
                <a:cxn ang="5400000">
                  <a:pos x="wd2" y="hd2"/>
                </a:cxn>
                <a:cxn ang="10800000">
                  <a:pos x="wd2" y="hd2"/>
                </a:cxn>
                <a:cxn ang="16200000">
                  <a:pos x="wd2" y="hd2"/>
                </a:cxn>
              </a:cxnLst>
              <a:rect l="0" t="0" r="r" b="b"/>
              <a:pathLst>
                <a:path w="21600" h="21600" extrusionOk="0">
                  <a:moveTo>
                    <a:pt x="2578" y="4354"/>
                  </a:moveTo>
                  <a:cubicBezTo>
                    <a:pt x="3847" y="4354"/>
                    <a:pt x="5157" y="4354"/>
                    <a:pt x="6425" y="4354"/>
                  </a:cubicBezTo>
                  <a:cubicBezTo>
                    <a:pt x="8074" y="3902"/>
                    <a:pt x="9342" y="3053"/>
                    <a:pt x="10652" y="2601"/>
                  </a:cubicBezTo>
                  <a:cubicBezTo>
                    <a:pt x="11286" y="3053"/>
                    <a:pt x="11920" y="3902"/>
                    <a:pt x="12596" y="3902"/>
                  </a:cubicBezTo>
                  <a:cubicBezTo>
                    <a:pt x="14837" y="3053"/>
                    <a:pt x="16781" y="0"/>
                    <a:pt x="19022" y="0"/>
                  </a:cubicBezTo>
                  <a:cubicBezTo>
                    <a:pt x="20332" y="0"/>
                    <a:pt x="21304" y="2205"/>
                    <a:pt x="20966" y="3506"/>
                  </a:cubicBezTo>
                  <a:cubicBezTo>
                    <a:pt x="20628" y="6050"/>
                    <a:pt x="18049" y="6955"/>
                    <a:pt x="17753" y="9499"/>
                  </a:cubicBezTo>
                  <a:cubicBezTo>
                    <a:pt x="17415" y="10404"/>
                    <a:pt x="20966" y="14249"/>
                    <a:pt x="21600" y="15154"/>
                  </a:cubicBezTo>
                  <a:cubicBezTo>
                    <a:pt x="19994" y="16454"/>
                    <a:pt x="18387" y="17755"/>
                    <a:pt x="16781" y="18603"/>
                  </a:cubicBezTo>
                  <a:cubicBezTo>
                    <a:pt x="11920" y="20752"/>
                    <a:pt x="6763" y="19451"/>
                    <a:pt x="2874" y="21600"/>
                  </a:cubicBezTo>
                  <a:cubicBezTo>
                    <a:pt x="2578" y="19451"/>
                    <a:pt x="2874" y="17303"/>
                    <a:pt x="2240" y="15550"/>
                  </a:cubicBezTo>
                  <a:cubicBezTo>
                    <a:pt x="1944" y="14702"/>
                    <a:pt x="972" y="15154"/>
                    <a:pt x="296" y="14702"/>
                  </a:cubicBezTo>
                  <a:cubicBezTo>
                    <a:pt x="972" y="13853"/>
                    <a:pt x="1944" y="12553"/>
                    <a:pt x="1944" y="11252"/>
                  </a:cubicBezTo>
                  <a:cubicBezTo>
                    <a:pt x="1944" y="9952"/>
                    <a:pt x="0" y="9499"/>
                    <a:pt x="0" y="8651"/>
                  </a:cubicBezTo>
                  <a:cubicBezTo>
                    <a:pt x="296" y="6955"/>
                    <a:pt x="1606" y="5654"/>
                    <a:pt x="2578" y="435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398" name="Shape 2420">
              <a:extLst>
                <a:ext uri="{FF2B5EF4-FFF2-40B4-BE49-F238E27FC236}">
                  <a16:creationId xmlns:a16="http://schemas.microsoft.com/office/drawing/2014/main" id="{83ED0139-4087-1B99-DF6E-DA858E5A758A}"/>
                </a:ext>
              </a:extLst>
            </p:cNvPr>
            <p:cNvSpPr/>
            <p:nvPr/>
          </p:nvSpPr>
          <p:spPr>
            <a:xfrm>
              <a:off x="2329304" y="7280928"/>
              <a:ext cx="161670" cy="161980"/>
            </a:xfrm>
            <a:custGeom>
              <a:avLst/>
              <a:gdLst/>
              <a:ahLst/>
              <a:cxnLst>
                <a:cxn ang="0">
                  <a:pos x="wd2" y="hd2"/>
                </a:cxn>
                <a:cxn ang="5400000">
                  <a:pos x="wd2" y="hd2"/>
                </a:cxn>
                <a:cxn ang="10800000">
                  <a:pos x="wd2" y="hd2"/>
                </a:cxn>
                <a:cxn ang="16200000">
                  <a:pos x="wd2" y="hd2"/>
                </a:cxn>
              </a:cxnLst>
              <a:rect l="0" t="0" r="r" b="b"/>
              <a:pathLst>
                <a:path w="21401" h="21247" extrusionOk="0">
                  <a:moveTo>
                    <a:pt x="15774" y="0"/>
                  </a:moveTo>
                  <a:cubicBezTo>
                    <a:pt x="17119" y="1016"/>
                    <a:pt x="18822" y="2032"/>
                    <a:pt x="20211" y="3357"/>
                  </a:cubicBezTo>
                  <a:cubicBezTo>
                    <a:pt x="20883" y="4373"/>
                    <a:pt x="21241" y="5699"/>
                    <a:pt x="21241" y="6714"/>
                  </a:cubicBezTo>
                  <a:cubicBezTo>
                    <a:pt x="21600" y="7730"/>
                    <a:pt x="21241" y="8437"/>
                    <a:pt x="21241" y="9409"/>
                  </a:cubicBezTo>
                  <a:cubicBezTo>
                    <a:pt x="21241" y="11132"/>
                    <a:pt x="21241" y="12457"/>
                    <a:pt x="21241" y="14180"/>
                  </a:cubicBezTo>
                  <a:cubicBezTo>
                    <a:pt x="19852" y="15151"/>
                    <a:pt x="18822" y="16874"/>
                    <a:pt x="17477" y="17537"/>
                  </a:cubicBezTo>
                  <a:cubicBezTo>
                    <a:pt x="16760" y="17846"/>
                    <a:pt x="15774" y="16521"/>
                    <a:pt x="15057" y="16874"/>
                  </a:cubicBezTo>
                  <a:cubicBezTo>
                    <a:pt x="12996" y="17537"/>
                    <a:pt x="10262" y="20231"/>
                    <a:pt x="8559" y="21247"/>
                  </a:cubicBezTo>
                  <a:cubicBezTo>
                    <a:pt x="5826" y="20231"/>
                    <a:pt x="2734" y="20894"/>
                    <a:pt x="1389" y="16874"/>
                  </a:cubicBezTo>
                  <a:cubicBezTo>
                    <a:pt x="1031" y="15858"/>
                    <a:pt x="672" y="14489"/>
                    <a:pt x="0" y="12457"/>
                  </a:cubicBezTo>
                  <a:cubicBezTo>
                    <a:pt x="2061" y="12457"/>
                    <a:pt x="6184" y="12810"/>
                    <a:pt x="8246" y="12148"/>
                  </a:cubicBezTo>
                  <a:cubicBezTo>
                    <a:pt x="8918" y="11794"/>
                    <a:pt x="9276" y="10425"/>
                    <a:pt x="8918" y="9409"/>
                  </a:cubicBezTo>
                  <a:cubicBezTo>
                    <a:pt x="8559" y="7421"/>
                    <a:pt x="6856" y="6052"/>
                    <a:pt x="6498" y="4020"/>
                  </a:cubicBezTo>
                  <a:cubicBezTo>
                    <a:pt x="6498" y="2695"/>
                    <a:pt x="6856" y="1016"/>
                    <a:pt x="8246" y="310"/>
                  </a:cubicBezTo>
                  <a:cubicBezTo>
                    <a:pt x="9276" y="-353"/>
                    <a:pt x="10979" y="663"/>
                    <a:pt x="12324" y="663"/>
                  </a:cubicBezTo>
                  <a:cubicBezTo>
                    <a:pt x="13713" y="663"/>
                    <a:pt x="14744" y="0"/>
                    <a:pt x="15774"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0" name="Shape 2421">
              <a:extLst>
                <a:ext uri="{FF2B5EF4-FFF2-40B4-BE49-F238E27FC236}">
                  <a16:creationId xmlns:a16="http://schemas.microsoft.com/office/drawing/2014/main" id="{3D144FD1-6CF8-EACB-CC51-200E0ABA0B1C}"/>
                </a:ext>
              </a:extLst>
            </p:cNvPr>
            <p:cNvSpPr/>
            <p:nvPr/>
          </p:nvSpPr>
          <p:spPr>
            <a:xfrm>
              <a:off x="2427411" y="7119825"/>
              <a:ext cx="192906" cy="278485"/>
            </a:xfrm>
            <a:custGeom>
              <a:avLst/>
              <a:gdLst/>
              <a:ahLst/>
              <a:cxnLst>
                <a:cxn ang="0">
                  <a:pos x="wd2" y="hd2"/>
                </a:cxn>
                <a:cxn ang="5400000">
                  <a:pos x="wd2" y="hd2"/>
                </a:cxn>
                <a:cxn ang="10800000">
                  <a:pos x="wd2" y="hd2"/>
                </a:cxn>
                <a:cxn ang="16200000">
                  <a:pos x="wd2" y="hd2"/>
                </a:cxn>
              </a:cxnLst>
              <a:rect l="0" t="0" r="r" b="b"/>
              <a:pathLst>
                <a:path w="21600" h="21435" extrusionOk="0">
                  <a:moveTo>
                    <a:pt x="8934" y="846"/>
                  </a:moveTo>
                  <a:cubicBezTo>
                    <a:pt x="9236" y="1624"/>
                    <a:pt x="10103" y="2428"/>
                    <a:pt x="10103" y="3413"/>
                  </a:cubicBezTo>
                  <a:cubicBezTo>
                    <a:pt x="10103" y="3802"/>
                    <a:pt x="8934" y="4010"/>
                    <a:pt x="8934" y="4399"/>
                  </a:cubicBezTo>
                  <a:cubicBezTo>
                    <a:pt x="9801" y="5980"/>
                    <a:pt x="11535" y="7381"/>
                    <a:pt x="12968" y="8755"/>
                  </a:cubicBezTo>
                  <a:cubicBezTo>
                    <a:pt x="13533" y="9351"/>
                    <a:pt x="14702" y="9948"/>
                    <a:pt x="15569" y="10752"/>
                  </a:cubicBezTo>
                  <a:cubicBezTo>
                    <a:pt x="16134" y="11141"/>
                    <a:pt x="16737" y="11737"/>
                    <a:pt x="17001" y="12126"/>
                  </a:cubicBezTo>
                  <a:cubicBezTo>
                    <a:pt x="17604" y="13319"/>
                    <a:pt x="17604" y="14693"/>
                    <a:pt x="18170" y="15886"/>
                  </a:cubicBezTo>
                  <a:cubicBezTo>
                    <a:pt x="19037" y="16690"/>
                    <a:pt x="20469" y="17468"/>
                    <a:pt x="21600" y="18271"/>
                  </a:cubicBezTo>
                  <a:cubicBezTo>
                    <a:pt x="21035" y="18453"/>
                    <a:pt x="21035" y="19257"/>
                    <a:pt x="20168" y="19257"/>
                  </a:cubicBezTo>
                  <a:cubicBezTo>
                    <a:pt x="19602" y="19257"/>
                    <a:pt x="19037" y="18453"/>
                    <a:pt x="18170" y="18453"/>
                  </a:cubicBezTo>
                  <a:cubicBezTo>
                    <a:pt x="17303" y="18453"/>
                    <a:pt x="16134" y="18660"/>
                    <a:pt x="15569" y="19257"/>
                  </a:cubicBezTo>
                  <a:cubicBezTo>
                    <a:pt x="15267" y="19853"/>
                    <a:pt x="15569" y="20450"/>
                    <a:pt x="15569" y="21046"/>
                  </a:cubicBezTo>
                  <a:cubicBezTo>
                    <a:pt x="14136" y="21228"/>
                    <a:pt x="12402" y="21435"/>
                    <a:pt x="10970" y="21435"/>
                  </a:cubicBezTo>
                  <a:cubicBezTo>
                    <a:pt x="9537" y="21435"/>
                    <a:pt x="8067" y="20839"/>
                    <a:pt x="6936" y="20657"/>
                  </a:cubicBezTo>
                  <a:cubicBezTo>
                    <a:pt x="6936" y="19646"/>
                    <a:pt x="6936" y="18868"/>
                    <a:pt x="6936" y="17857"/>
                  </a:cubicBezTo>
                  <a:cubicBezTo>
                    <a:pt x="6936" y="17286"/>
                    <a:pt x="7238" y="16871"/>
                    <a:pt x="6936" y="16275"/>
                  </a:cubicBezTo>
                  <a:cubicBezTo>
                    <a:pt x="6936" y="15678"/>
                    <a:pt x="6635" y="14901"/>
                    <a:pt x="6069" y="14304"/>
                  </a:cubicBezTo>
                  <a:cubicBezTo>
                    <a:pt x="4901" y="13526"/>
                    <a:pt x="3468" y="12930"/>
                    <a:pt x="2337" y="12333"/>
                  </a:cubicBezTo>
                  <a:cubicBezTo>
                    <a:pt x="0" y="8755"/>
                    <a:pt x="0" y="8755"/>
                    <a:pt x="0" y="8755"/>
                  </a:cubicBezTo>
                  <a:cubicBezTo>
                    <a:pt x="0" y="4606"/>
                    <a:pt x="0" y="4606"/>
                    <a:pt x="0" y="4606"/>
                  </a:cubicBezTo>
                  <a:cubicBezTo>
                    <a:pt x="1169" y="4010"/>
                    <a:pt x="2337" y="3621"/>
                    <a:pt x="3166" y="3024"/>
                  </a:cubicBezTo>
                  <a:cubicBezTo>
                    <a:pt x="4637" y="2013"/>
                    <a:pt x="6069" y="639"/>
                    <a:pt x="7803" y="42"/>
                  </a:cubicBezTo>
                  <a:cubicBezTo>
                    <a:pt x="8369" y="-165"/>
                    <a:pt x="8670" y="431"/>
                    <a:pt x="8934" y="84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1" name="Shape 2422">
              <a:extLst>
                <a:ext uri="{FF2B5EF4-FFF2-40B4-BE49-F238E27FC236}">
                  <a16:creationId xmlns:a16="http://schemas.microsoft.com/office/drawing/2014/main" id="{83202BD5-FDB4-1024-7439-934AAFAB3378}"/>
                </a:ext>
              </a:extLst>
            </p:cNvPr>
            <p:cNvSpPr/>
            <p:nvPr/>
          </p:nvSpPr>
          <p:spPr>
            <a:xfrm>
              <a:off x="2046873" y="7164610"/>
              <a:ext cx="249392" cy="217346"/>
            </a:xfrm>
            <a:custGeom>
              <a:avLst/>
              <a:gdLst/>
              <a:ahLst/>
              <a:cxnLst>
                <a:cxn ang="0">
                  <a:pos x="wd2" y="hd2"/>
                </a:cxn>
                <a:cxn ang="5400000">
                  <a:pos x="wd2" y="hd2"/>
                </a:cxn>
                <a:cxn ang="10800000">
                  <a:pos x="wd2" y="hd2"/>
                </a:cxn>
                <a:cxn ang="16200000">
                  <a:pos x="wd2" y="hd2"/>
                </a:cxn>
              </a:cxnLst>
              <a:rect l="0" t="0" r="r" b="b"/>
              <a:pathLst>
                <a:path w="21600" h="21371" extrusionOk="0">
                  <a:moveTo>
                    <a:pt x="19151" y="14758"/>
                  </a:moveTo>
                  <a:cubicBezTo>
                    <a:pt x="19822" y="12731"/>
                    <a:pt x="21367" y="9674"/>
                    <a:pt x="21600" y="7381"/>
                  </a:cubicBezTo>
                  <a:cubicBezTo>
                    <a:pt x="21600" y="6384"/>
                    <a:pt x="20259" y="5885"/>
                    <a:pt x="19822" y="5121"/>
                  </a:cubicBezTo>
                  <a:cubicBezTo>
                    <a:pt x="18918" y="3593"/>
                    <a:pt x="18481" y="2064"/>
                    <a:pt x="17577" y="535"/>
                  </a:cubicBezTo>
                  <a:cubicBezTo>
                    <a:pt x="17140" y="801"/>
                    <a:pt x="16703" y="1300"/>
                    <a:pt x="16266" y="1034"/>
                  </a:cubicBezTo>
                  <a:cubicBezTo>
                    <a:pt x="15595" y="1034"/>
                    <a:pt x="15129" y="-229"/>
                    <a:pt x="14487" y="37"/>
                  </a:cubicBezTo>
                  <a:cubicBezTo>
                    <a:pt x="13584" y="303"/>
                    <a:pt x="13584" y="1565"/>
                    <a:pt x="13147" y="2562"/>
                  </a:cubicBezTo>
                  <a:cubicBezTo>
                    <a:pt x="12476" y="4091"/>
                    <a:pt x="12243" y="5620"/>
                    <a:pt x="11572" y="6882"/>
                  </a:cubicBezTo>
                  <a:cubicBezTo>
                    <a:pt x="10902" y="8145"/>
                    <a:pt x="10028" y="8909"/>
                    <a:pt x="9357" y="9940"/>
                  </a:cubicBezTo>
                  <a:cubicBezTo>
                    <a:pt x="2886" y="9674"/>
                    <a:pt x="2886" y="9674"/>
                    <a:pt x="2886" y="9674"/>
                  </a:cubicBezTo>
                  <a:cubicBezTo>
                    <a:pt x="2886" y="11202"/>
                    <a:pt x="3119" y="11701"/>
                    <a:pt x="2011" y="13229"/>
                  </a:cubicBezTo>
                  <a:cubicBezTo>
                    <a:pt x="1778" y="13728"/>
                    <a:pt x="0" y="15024"/>
                    <a:pt x="0" y="15257"/>
                  </a:cubicBezTo>
                  <a:cubicBezTo>
                    <a:pt x="0" y="16785"/>
                    <a:pt x="1108" y="19078"/>
                    <a:pt x="2215" y="19842"/>
                  </a:cubicBezTo>
                  <a:cubicBezTo>
                    <a:pt x="4227" y="21105"/>
                    <a:pt x="4897" y="20607"/>
                    <a:pt x="7346" y="21371"/>
                  </a:cubicBezTo>
                  <a:cubicBezTo>
                    <a:pt x="7346" y="17284"/>
                    <a:pt x="12913" y="19078"/>
                    <a:pt x="15362" y="19078"/>
                  </a:cubicBezTo>
                  <a:cubicBezTo>
                    <a:pt x="14487" y="16021"/>
                    <a:pt x="16703" y="15024"/>
                    <a:pt x="19151" y="1475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2" name="Shape 2423">
              <a:extLst>
                <a:ext uri="{FF2B5EF4-FFF2-40B4-BE49-F238E27FC236}">
                  <a16:creationId xmlns:a16="http://schemas.microsoft.com/office/drawing/2014/main" id="{88D1C7EF-1648-6D57-621D-39E204BA8E73}"/>
                </a:ext>
              </a:extLst>
            </p:cNvPr>
            <p:cNvSpPr/>
            <p:nvPr/>
          </p:nvSpPr>
          <p:spPr>
            <a:xfrm>
              <a:off x="2250522" y="7133503"/>
              <a:ext cx="198851" cy="242025"/>
            </a:xfrm>
            <a:custGeom>
              <a:avLst/>
              <a:gdLst/>
              <a:ahLst/>
              <a:cxnLst>
                <a:cxn ang="0">
                  <a:pos x="wd2" y="hd2"/>
                </a:cxn>
                <a:cxn ang="5400000">
                  <a:pos x="wd2" y="hd2"/>
                </a:cxn>
                <a:cxn ang="10800000">
                  <a:pos x="wd2" y="hd2"/>
                </a:cxn>
                <a:cxn ang="16200000">
                  <a:pos x="wd2" y="hd2"/>
                </a:cxn>
              </a:cxnLst>
              <a:rect l="0" t="0" r="r" b="b"/>
              <a:pathLst>
                <a:path w="21600" h="21213" extrusionOk="0">
                  <a:moveTo>
                    <a:pt x="0" y="3145"/>
                  </a:moveTo>
                  <a:cubicBezTo>
                    <a:pt x="843" y="3145"/>
                    <a:pt x="1980" y="3587"/>
                    <a:pt x="2274" y="3145"/>
                  </a:cubicBezTo>
                  <a:cubicBezTo>
                    <a:pt x="2824" y="2261"/>
                    <a:pt x="1137" y="1112"/>
                    <a:pt x="1687" y="434"/>
                  </a:cubicBezTo>
                  <a:cubicBezTo>
                    <a:pt x="2274" y="-214"/>
                    <a:pt x="3667" y="-8"/>
                    <a:pt x="4511" y="228"/>
                  </a:cubicBezTo>
                  <a:cubicBezTo>
                    <a:pt x="5611" y="434"/>
                    <a:pt x="6198" y="1112"/>
                    <a:pt x="7004" y="1584"/>
                  </a:cubicBezTo>
                  <a:cubicBezTo>
                    <a:pt x="7591" y="2026"/>
                    <a:pt x="7848" y="2703"/>
                    <a:pt x="8435" y="3145"/>
                  </a:cubicBezTo>
                  <a:cubicBezTo>
                    <a:pt x="8985" y="3587"/>
                    <a:pt x="9241" y="4501"/>
                    <a:pt x="10085" y="4501"/>
                  </a:cubicBezTo>
                  <a:cubicBezTo>
                    <a:pt x="10928" y="4501"/>
                    <a:pt x="10672" y="3145"/>
                    <a:pt x="11515" y="2939"/>
                  </a:cubicBezTo>
                  <a:cubicBezTo>
                    <a:pt x="12615" y="2261"/>
                    <a:pt x="14009" y="2026"/>
                    <a:pt x="15439" y="2026"/>
                  </a:cubicBezTo>
                  <a:cubicBezTo>
                    <a:pt x="16833" y="2026"/>
                    <a:pt x="18226" y="2468"/>
                    <a:pt x="19326" y="2939"/>
                  </a:cubicBezTo>
                  <a:cubicBezTo>
                    <a:pt x="19620" y="3145"/>
                    <a:pt x="19326" y="3587"/>
                    <a:pt x="19326" y="4059"/>
                  </a:cubicBezTo>
                  <a:cubicBezTo>
                    <a:pt x="19326" y="8774"/>
                    <a:pt x="19326" y="8774"/>
                    <a:pt x="19326" y="8774"/>
                  </a:cubicBezTo>
                  <a:cubicBezTo>
                    <a:pt x="21600" y="12840"/>
                    <a:pt x="21600" y="12840"/>
                    <a:pt x="21600" y="12840"/>
                  </a:cubicBezTo>
                  <a:cubicBezTo>
                    <a:pt x="20757" y="12840"/>
                    <a:pt x="19913" y="13282"/>
                    <a:pt x="18776" y="13282"/>
                  </a:cubicBezTo>
                  <a:cubicBezTo>
                    <a:pt x="17676" y="13282"/>
                    <a:pt x="16283" y="12605"/>
                    <a:pt x="15439" y="13047"/>
                  </a:cubicBezTo>
                  <a:cubicBezTo>
                    <a:pt x="14302" y="13518"/>
                    <a:pt x="14009" y="14638"/>
                    <a:pt x="14009" y="15522"/>
                  </a:cubicBezTo>
                  <a:cubicBezTo>
                    <a:pt x="14302" y="16877"/>
                    <a:pt x="15696" y="17791"/>
                    <a:pt x="15989" y="19117"/>
                  </a:cubicBezTo>
                  <a:cubicBezTo>
                    <a:pt x="16283" y="19795"/>
                    <a:pt x="15989" y="20708"/>
                    <a:pt x="15439" y="20944"/>
                  </a:cubicBezTo>
                  <a:cubicBezTo>
                    <a:pt x="13752" y="21386"/>
                    <a:pt x="10378" y="21150"/>
                    <a:pt x="8691" y="21150"/>
                  </a:cubicBezTo>
                  <a:cubicBezTo>
                    <a:pt x="7298" y="18675"/>
                    <a:pt x="5354" y="15758"/>
                    <a:pt x="2824" y="15758"/>
                  </a:cubicBezTo>
                  <a:cubicBezTo>
                    <a:pt x="2530" y="15758"/>
                    <a:pt x="2274" y="15758"/>
                    <a:pt x="1980" y="15758"/>
                  </a:cubicBezTo>
                  <a:cubicBezTo>
                    <a:pt x="2824" y="13960"/>
                    <a:pt x="4767" y="11249"/>
                    <a:pt x="5061" y="9216"/>
                  </a:cubicBezTo>
                  <a:cubicBezTo>
                    <a:pt x="5061" y="8332"/>
                    <a:pt x="3374" y="7890"/>
                    <a:pt x="2824" y="7212"/>
                  </a:cubicBezTo>
                  <a:cubicBezTo>
                    <a:pt x="1687" y="5856"/>
                    <a:pt x="1137" y="4501"/>
                    <a:pt x="0" y="314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3" name="Shape 2424">
              <a:extLst>
                <a:ext uri="{FF2B5EF4-FFF2-40B4-BE49-F238E27FC236}">
                  <a16:creationId xmlns:a16="http://schemas.microsoft.com/office/drawing/2014/main" id="{AFA78553-EF2C-08BE-E709-F5DCBA84C20D}"/>
                </a:ext>
              </a:extLst>
            </p:cNvPr>
            <p:cNvSpPr/>
            <p:nvPr/>
          </p:nvSpPr>
          <p:spPr>
            <a:xfrm>
              <a:off x="1510256" y="6876859"/>
              <a:ext cx="450065" cy="452131"/>
            </a:xfrm>
            <a:custGeom>
              <a:avLst/>
              <a:gdLst/>
              <a:ahLst/>
              <a:cxnLst>
                <a:cxn ang="0">
                  <a:pos x="wd2" y="hd2"/>
                </a:cxn>
                <a:cxn ang="5400000">
                  <a:pos x="wd2" y="hd2"/>
                </a:cxn>
                <a:cxn ang="10800000">
                  <a:pos x="wd2" y="hd2"/>
                </a:cxn>
                <a:cxn ang="16200000">
                  <a:pos x="wd2" y="hd2"/>
                </a:cxn>
              </a:cxnLst>
              <a:rect l="0" t="0" r="r" b="b"/>
              <a:pathLst>
                <a:path w="21600" h="21276" extrusionOk="0">
                  <a:moveTo>
                    <a:pt x="17771" y="15771"/>
                  </a:moveTo>
                  <a:cubicBezTo>
                    <a:pt x="17658" y="15168"/>
                    <a:pt x="17658" y="14199"/>
                    <a:pt x="17529" y="13595"/>
                  </a:cubicBezTo>
                  <a:lnTo>
                    <a:pt x="17529" y="13468"/>
                  </a:lnTo>
                  <a:cubicBezTo>
                    <a:pt x="17658" y="12865"/>
                    <a:pt x="18272" y="12134"/>
                    <a:pt x="17771" y="11769"/>
                  </a:cubicBezTo>
                  <a:cubicBezTo>
                    <a:pt x="16915" y="11054"/>
                    <a:pt x="15429" y="11658"/>
                    <a:pt x="14443" y="11054"/>
                  </a:cubicBezTo>
                  <a:cubicBezTo>
                    <a:pt x="14072" y="10800"/>
                    <a:pt x="15429" y="10689"/>
                    <a:pt x="15558" y="10196"/>
                  </a:cubicBezTo>
                  <a:cubicBezTo>
                    <a:pt x="15671" y="9831"/>
                    <a:pt x="14815" y="9466"/>
                    <a:pt x="14944" y="8989"/>
                  </a:cubicBezTo>
                  <a:cubicBezTo>
                    <a:pt x="15299" y="8259"/>
                    <a:pt x="16042" y="7655"/>
                    <a:pt x="16786" y="7163"/>
                  </a:cubicBezTo>
                  <a:cubicBezTo>
                    <a:pt x="17028" y="7036"/>
                    <a:pt x="17400" y="7655"/>
                    <a:pt x="17658" y="7528"/>
                  </a:cubicBezTo>
                  <a:cubicBezTo>
                    <a:pt x="18514" y="7290"/>
                    <a:pt x="19257" y="6432"/>
                    <a:pt x="20001" y="6067"/>
                  </a:cubicBezTo>
                  <a:cubicBezTo>
                    <a:pt x="20485" y="5829"/>
                    <a:pt x="21600" y="6067"/>
                    <a:pt x="21600" y="5591"/>
                  </a:cubicBezTo>
                  <a:cubicBezTo>
                    <a:pt x="21600" y="4733"/>
                    <a:pt x="20615" y="4129"/>
                    <a:pt x="20243" y="3399"/>
                  </a:cubicBezTo>
                  <a:cubicBezTo>
                    <a:pt x="20001" y="3161"/>
                    <a:pt x="19871" y="2922"/>
                    <a:pt x="19742" y="2668"/>
                  </a:cubicBezTo>
                  <a:cubicBezTo>
                    <a:pt x="19629" y="2430"/>
                    <a:pt x="19742" y="2065"/>
                    <a:pt x="19500" y="2065"/>
                  </a:cubicBezTo>
                  <a:cubicBezTo>
                    <a:pt x="19015" y="1826"/>
                    <a:pt x="18385" y="2192"/>
                    <a:pt x="17900" y="2065"/>
                  </a:cubicBezTo>
                  <a:cubicBezTo>
                    <a:pt x="17658" y="1954"/>
                    <a:pt x="17658" y="1350"/>
                    <a:pt x="17400" y="1350"/>
                  </a:cubicBezTo>
                  <a:cubicBezTo>
                    <a:pt x="17028" y="1223"/>
                    <a:pt x="17028" y="1826"/>
                    <a:pt x="16786" y="1954"/>
                  </a:cubicBezTo>
                  <a:cubicBezTo>
                    <a:pt x="16543" y="1954"/>
                    <a:pt x="16172" y="1699"/>
                    <a:pt x="16172" y="1461"/>
                  </a:cubicBezTo>
                  <a:cubicBezTo>
                    <a:pt x="16042" y="1350"/>
                    <a:pt x="16543" y="1223"/>
                    <a:pt x="16543" y="985"/>
                  </a:cubicBezTo>
                  <a:cubicBezTo>
                    <a:pt x="16543" y="619"/>
                    <a:pt x="16285" y="365"/>
                    <a:pt x="16285" y="0"/>
                  </a:cubicBezTo>
                  <a:cubicBezTo>
                    <a:pt x="15186" y="254"/>
                    <a:pt x="15186" y="254"/>
                    <a:pt x="15186" y="254"/>
                  </a:cubicBezTo>
                  <a:cubicBezTo>
                    <a:pt x="14815" y="254"/>
                    <a:pt x="13958" y="2319"/>
                    <a:pt x="13215" y="2668"/>
                  </a:cubicBezTo>
                  <a:cubicBezTo>
                    <a:pt x="12472" y="2922"/>
                    <a:pt x="11842" y="2668"/>
                    <a:pt x="12101" y="3637"/>
                  </a:cubicBezTo>
                  <a:cubicBezTo>
                    <a:pt x="12214" y="4256"/>
                    <a:pt x="11228" y="4129"/>
                    <a:pt x="11115" y="3891"/>
                  </a:cubicBezTo>
                  <a:cubicBezTo>
                    <a:pt x="10986" y="3891"/>
                    <a:pt x="10986" y="3764"/>
                    <a:pt x="10986" y="3764"/>
                  </a:cubicBezTo>
                  <a:cubicBezTo>
                    <a:pt x="10986" y="3764"/>
                    <a:pt x="10986" y="3764"/>
                    <a:pt x="10857" y="3764"/>
                  </a:cubicBezTo>
                  <a:lnTo>
                    <a:pt x="10743" y="3891"/>
                  </a:lnTo>
                  <a:cubicBezTo>
                    <a:pt x="10372" y="4987"/>
                    <a:pt x="8772" y="6067"/>
                    <a:pt x="8772" y="4129"/>
                  </a:cubicBezTo>
                  <a:cubicBezTo>
                    <a:pt x="8272" y="4002"/>
                    <a:pt x="6414" y="4002"/>
                    <a:pt x="5929" y="4129"/>
                  </a:cubicBezTo>
                  <a:cubicBezTo>
                    <a:pt x="5929" y="4860"/>
                    <a:pt x="6672" y="6067"/>
                    <a:pt x="5558" y="6559"/>
                  </a:cubicBezTo>
                  <a:cubicBezTo>
                    <a:pt x="4200" y="7036"/>
                    <a:pt x="3086" y="7401"/>
                    <a:pt x="1729" y="8259"/>
                  </a:cubicBezTo>
                  <a:cubicBezTo>
                    <a:pt x="372" y="8989"/>
                    <a:pt x="0" y="8735"/>
                    <a:pt x="0" y="10562"/>
                  </a:cubicBezTo>
                  <a:cubicBezTo>
                    <a:pt x="2229" y="10562"/>
                    <a:pt x="3086" y="9593"/>
                    <a:pt x="4814" y="11658"/>
                  </a:cubicBezTo>
                  <a:cubicBezTo>
                    <a:pt x="5315" y="12134"/>
                    <a:pt x="5800" y="14326"/>
                    <a:pt x="4701" y="14326"/>
                  </a:cubicBezTo>
                  <a:cubicBezTo>
                    <a:pt x="2973" y="14326"/>
                    <a:pt x="4200" y="14199"/>
                    <a:pt x="3086" y="15295"/>
                  </a:cubicBezTo>
                  <a:cubicBezTo>
                    <a:pt x="1729" y="16502"/>
                    <a:pt x="1115" y="15056"/>
                    <a:pt x="2973" y="16391"/>
                  </a:cubicBezTo>
                  <a:cubicBezTo>
                    <a:pt x="3344" y="16629"/>
                    <a:pt x="3215" y="17598"/>
                    <a:pt x="3700" y="17598"/>
                  </a:cubicBezTo>
                  <a:cubicBezTo>
                    <a:pt x="3829" y="17598"/>
                    <a:pt x="4330" y="16391"/>
                    <a:pt x="4944" y="16264"/>
                  </a:cubicBezTo>
                  <a:cubicBezTo>
                    <a:pt x="6915" y="16629"/>
                    <a:pt x="7771" y="16867"/>
                    <a:pt x="9758" y="16867"/>
                  </a:cubicBezTo>
                  <a:cubicBezTo>
                    <a:pt x="9758" y="17471"/>
                    <a:pt x="5929" y="17598"/>
                    <a:pt x="5428" y="17598"/>
                  </a:cubicBezTo>
                  <a:cubicBezTo>
                    <a:pt x="4200" y="17836"/>
                    <a:pt x="6058" y="18328"/>
                    <a:pt x="6301" y="18439"/>
                  </a:cubicBezTo>
                  <a:cubicBezTo>
                    <a:pt x="7286" y="18932"/>
                    <a:pt x="5929" y="20028"/>
                    <a:pt x="7415" y="20504"/>
                  </a:cubicBezTo>
                  <a:cubicBezTo>
                    <a:pt x="9629" y="21235"/>
                    <a:pt x="9629" y="21235"/>
                    <a:pt x="9629" y="21235"/>
                  </a:cubicBezTo>
                  <a:cubicBezTo>
                    <a:pt x="10743" y="21600"/>
                    <a:pt x="11487" y="19424"/>
                    <a:pt x="12844" y="19535"/>
                  </a:cubicBezTo>
                  <a:cubicBezTo>
                    <a:pt x="14443" y="19535"/>
                    <a:pt x="14815" y="19059"/>
                    <a:pt x="16285" y="18694"/>
                  </a:cubicBezTo>
                  <a:cubicBezTo>
                    <a:pt x="16285" y="17105"/>
                    <a:pt x="16543" y="16025"/>
                    <a:pt x="17771" y="1577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4" name="Shape 2425">
              <a:extLst>
                <a:ext uri="{FF2B5EF4-FFF2-40B4-BE49-F238E27FC236}">
                  <a16:creationId xmlns:a16="http://schemas.microsoft.com/office/drawing/2014/main" id="{2119A8A2-C742-7DEE-DA25-F017395696AC}"/>
                </a:ext>
              </a:extLst>
            </p:cNvPr>
            <p:cNvSpPr/>
            <p:nvPr/>
          </p:nvSpPr>
          <p:spPr>
            <a:xfrm>
              <a:off x="1810997" y="6848615"/>
              <a:ext cx="586348" cy="417674"/>
            </a:xfrm>
            <a:custGeom>
              <a:avLst/>
              <a:gdLst/>
              <a:ahLst/>
              <a:cxnLst>
                <a:cxn ang="0">
                  <a:pos x="wd2" y="hd2"/>
                </a:cxn>
                <a:cxn ang="5400000">
                  <a:pos x="wd2" y="hd2"/>
                </a:cxn>
                <a:cxn ang="10800000">
                  <a:pos x="wd2" y="hd2"/>
                </a:cxn>
                <a:cxn ang="16200000">
                  <a:pos x="wd2" y="hd2"/>
                </a:cxn>
              </a:cxnLst>
              <a:rect l="0" t="0" r="r" b="b"/>
              <a:pathLst>
                <a:path w="21366" h="21089" extrusionOk="0">
                  <a:moveTo>
                    <a:pt x="2581" y="18346"/>
                  </a:moveTo>
                  <a:cubicBezTo>
                    <a:pt x="2495" y="17699"/>
                    <a:pt x="2495" y="16660"/>
                    <a:pt x="2397" y="16013"/>
                  </a:cubicBezTo>
                  <a:lnTo>
                    <a:pt x="2397" y="15876"/>
                  </a:lnTo>
                  <a:cubicBezTo>
                    <a:pt x="2495" y="15229"/>
                    <a:pt x="2962" y="14445"/>
                    <a:pt x="2581" y="14054"/>
                  </a:cubicBezTo>
                  <a:cubicBezTo>
                    <a:pt x="1930" y="13287"/>
                    <a:pt x="799" y="13934"/>
                    <a:pt x="49" y="13287"/>
                  </a:cubicBezTo>
                  <a:cubicBezTo>
                    <a:pt x="-234" y="13015"/>
                    <a:pt x="799" y="12895"/>
                    <a:pt x="897" y="12367"/>
                  </a:cubicBezTo>
                  <a:cubicBezTo>
                    <a:pt x="983" y="11975"/>
                    <a:pt x="332" y="11584"/>
                    <a:pt x="430" y="11073"/>
                  </a:cubicBezTo>
                  <a:cubicBezTo>
                    <a:pt x="700" y="10289"/>
                    <a:pt x="1266" y="9642"/>
                    <a:pt x="1831" y="9114"/>
                  </a:cubicBezTo>
                  <a:cubicBezTo>
                    <a:pt x="2016" y="8977"/>
                    <a:pt x="2298" y="9642"/>
                    <a:pt x="2495" y="9505"/>
                  </a:cubicBezTo>
                  <a:cubicBezTo>
                    <a:pt x="3147" y="9250"/>
                    <a:pt x="3712" y="8330"/>
                    <a:pt x="4278" y="7938"/>
                  </a:cubicBezTo>
                  <a:cubicBezTo>
                    <a:pt x="4647" y="7683"/>
                    <a:pt x="5495" y="7938"/>
                    <a:pt x="5495" y="7427"/>
                  </a:cubicBezTo>
                  <a:cubicBezTo>
                    <a:pt x="5495" y="6507"/>
                    <a:pt x="4745" y="5860"/>
                    <a:pt x="4462" y="5076"/>
                  </a:cubicBezTo>
                  <a:cubicBezTo>
                    <a:pt x="4278" y="4821"/>
                    <a:pt x="4179" y="4565"/>
                    <a:pt x="4081" y="4293"/>
                  </a:cubicBezTo>
                  <a:cubicBezTo>
                    <a:pt x="4831" y="4293"/>
                    <a:pt x="5679" y="4293"/>
                    <a:pt x="6528" y="4429"/>
                  </a:cubicBezTo>
                  <a:cubicBezTo>
                    <a:pt x="6909" y="4565"/>
                    <a:pt x="7277" y="5076"/>
                    <a:pt x="7659" y="4957"/>
                  </a:cubicBezTo>
                  <a:cubicBezTo>
                    <a:pt x="8126" y="4821"/>
                    <a:pt x="8408" y="3918"/>
                    <a:pt x="8876" y="3918"/>
                  </a:cubicBezTo>
                  <a:cubicBezTo>
                    <a:pt x="9343" y="3782"/>
                    <a:pt x="9810" y="4685"/>
                    <a:pt x="10191" y="4429"/>
                  </a:cubicBezTo>
                  <a:cubicBezTo>
                    <a:pt x="11408" y="3782"/>
                    <a:pt x="12158" y="2095"/>
                    <a:pt x="13289" y="1312"/>
                  </a:cubicBezTo>
                  <a:cubicBezTo>
                    <a:pt x="13670" y="1039"/>
                    <a:pt x="14039" y="1959"/>
                    <a:pt x="14420" y="1823"/>
                  </a:cubicBezTo>
                  <a:cubicBezTo>
                    <a:pt x="14973" y="1567"/>
                    <a:pt x="15170" y="528"/>
                    <a:pt x="15723" y="273"/>
                  </a:cubicBezTo>
                  <a:cubicBezTo>
                    <a:pt x="16006" y="136"/>
                    <a:pt x="16203" y="920"/>
                    <a:pt x="16485" y="920"/>
                  </a:cubicBezTo>
                  <a:cubicBezTo>
                    <a:pt x="16768" y="784"/>
                    <a:pt x="16854" y="0"/>
                    <a:pt x="17137" y="0"/>
                  </a:cubicBezTo>
                  <a:cubicBezTo>
                    <a:pt x="17887" y="273"/>
                    <a:pt x="18268" y="1431"/>
                    <a:pt x="18920" y="1567"/>
                  </a:cubicBezTo>
                  <a:cubicBezTo>
                    <a:pt x="19202" y="1703"/>
                    <a:pt x="19202" y="920"/>
                    <a:pt x="19301" y="664"/>
                  </a:cubicBezTo>
                  <a:cubicBezTo>
                    <a:pt x="19583" y="784"/>
                    <a:pt x="19866" y="784"/>
                    <a:pt x="20051" y="1039"/>
                  </a:cubicBezTo>
                  <a:cubicBezTo>
                    <a:pt x="20149" y="1431"/>
                    <a:pt x="19866" y="1959"/>
                    <a:pt x="19952" y="2351"/>
                  </a:cubicBezTo>
                  <a:cubicBezTo>
                    <a:pt x="20149" y="2743"/>
                    <a:pt x="20702" y="2487"/>
                    <a:pt x="20899" y="2879"/>
                  </a:cubicBezTo>
                  <a:cubicBezTo>
                    <a:pt x="21182" y="3390"/>
                    <a:pt x="21366" y="4174"/>
                    <a:pt x="21366" y="4821"/>
                  </a:cubicBezTo>
                  <a:cubicBezTo>
                    <a:pt x="21182" y="6115"/>
                    <a:pt x="20616" y="7291"/>
                    <a:pt x="20333" y="8603"/>
                  </a:cubicBezTo>
                  <a:cubicBezTo>
                    <a:pt x="20149" y="9505"/>
                    <a:pt x="20333" y="10544"/>
                    <a:pt x="20149" y="11328"/>
                  </a:cubicBezTo>
                  <a:cubicBezTo>
                    <a:pt x="19952" y="11975"/>
                    <a:pt x="19387" y="12112"/>
                    <a:pt x="19202" y="12759"/>
                  </a:cubicBezTo>
                  <a:cubicBezTo>
                    <a:pt x="18834" y="13543"/>
                    <a:pt x="18637" y="14445"/>
                    <a:pt x="18354" y="15365"/>
                  </a:cubicBezTo>
                  <a:cubicBezTo>
                    <a:pt x="18084" y="15093"/>
                    <a:pt x="17887" y="14701"/>
                    <a:pt x="17518" y="14582"/>
                  </a:cubicBezTo>
                  <a:cubicBezTo>
                    <a:pt x="17235" y="14445"/>
                    <a:pt x="16768" y="14326"/>
                    <a:pt x="16571" y="14701"/>
                  </a:cubicBezTo>
                  <a:cubicBezTo>
                    <a:pt x="16387" y="15093"/>
                    <a:pt x="16953" y="15757"/>
                    <a:pt x="16768" y="16268"/>
                  </a:cubicBezTo>
                  <a:cubicBezTo>
                    <a:pt x="16670" y="16524"/>
                    <a:pt x="16289" y="16268"/>
                    <a:pt x="16006" y="16268"/>
                  </a:cubicBezTo>
                  <a:cubicBezTo>
                    <a:pt x="15822" y="16404"/>
                    <a:pt x="15637" y="16660"/>
                    <a:pt x="15453" y="16524"/>
                  </a:cubicBezTo>
                  <a:cubicBezTo>
                    <a:pt x="15170" y="16524"/>
                    <a:pt x="14973" y="15876"/>
                    <a:pt x="14703" y="16013"/>
                  </a:cubicBezTo>
                  <a:cubicBezTo>
                    <a:pt x="14322" y="16149"/>
                    <a:pt x="14322" y="16796"/>
                    <a:pt x="14137" y="17307"/>
                  </a:cubicBezTo>
                  <a:cubicBezTo>
                    <a:pt x="13855" y="18091"/>
                    <a:pt x="13756" y="18874"/>
                    <a:pt x="13473" y="19522"/>
                  </a:cubicBezTo>
                  <a:cubicBezTo>
                    <a:pt x="13191" y="20169"/>
                    <a:pt x="12822" y="20561"/>
                    <a:pt x="12539" y="21089"/>
                  </a:cubicBezTo>
                  <a:cubicBezTo>
                    <a:pt x="9810" y="20953"/>
                    <a:pt x="9810" y="20953"/>
                    <a:pt x="9810" y="20953"/>
                  </a:cubicBezTo>
                  <a:cubicBezTo>
                    <a:pt x="9060" y="20953"/>
                    <a:pt x="8495" y="21600"/>
                    <a:pt x="7941" y="20050"/>
                  </a:cubicBezTo>
                  <a:cubicBezTo>
                    <a:pt x="7659" y="19777"/>
                    <a:pt x="6909" y="18619"/>
                    <a:pt x="6810" y="18091"/>
                  </a:cubicBezTo>
                  <a:cubicBezTo>
                    <a:pt x="6429" y="18091"/>
                    <a:pt x="5876" y="18738"/>
                    <a:pt x="5495" y="18874"/>
                  </a:cubicBezTo>
                  <a:cubicBezTo>
                    <a:pt x="4831" y="19130"/>
                    <a:pt x="4364" y="18483"/>
                    <a:pt x="3897" y="18346"/>
                  </a:cubicBezTo>
                  <a:cubicBezTo>
                    <a:pt x="3331" y="18227"/>
                    <a:pt x="2864" y="18227"/>
                    <a:pt x="2581" y="1834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5" name="Shape 2426">
              <a:extLst>
                <a:ext uri="{FF2B5EF4-FFF2-40B4-BE49-F238E27FC236}">
                  <a16:creationId xmlns:a16="http://schemas.microsoft.com/office/drawing/2014/main" id="{9515C0AC-B74E-F40A-7ED7-3754DA120916}"/>
                </a:ext>
              </a:extLst>
            </p:cNvPr>
            <p:cNvSpPr/>
            <p:nvPr/>
          </p:nvSpPr>
          <p:spPr>
            <a:xfrm>
              <a:off x="1848451" y="6482639"/>
              <a:ext cx="543778" cy="463237"/>
            </a:xfrm>
            <a:custGeom>
              <a:avLst/>
              <a:gdLst/>
              <a:ahLst/>
              <a:cxnLst>
                <a:cxn ang="0">
                  <a:pos x="wd2" y="hd2"/>
                </a:cxn>
                <a:cxn ang="5400000">
                  <a:pos x="wd2" y="hd2"/>
                </a:cxn>
                <a:cxn ang="10800000">
                  <a:pos x="wd2" y="hd2"/>
                </a:cxn>
                <a:cxn ang="16200000">
                  <a:pos x="wd2" y="hd2"/>
                </a:cxn>
              </a:cxnLst>
              <a:rect l="0" t="0" r="r" b="b"/>
              <a:pathLst>
                <a:path w="21427" h="21383" extrusionOk="0">
                  <a:moveTo>
                    <a:pt x="12696" y="1181"/>
                  </a:moveTo>
                  <a:cubicBezTo>
                    <a:pt x="16041" y="0"/>
                    <a:pt x="16041" y="0"/>
                    <a:pt x="16041" y="0"/>
                  </a:cubicBezTo>
                  <a:cubicBezTo>
                    <a:pt x="16652" y="109"/>
                    <a:pt x="17356" y="-124"/>
                    <a:pt x="17767" y="358"/>
                  </a:cubicBezTo>
                  <a:cubicBezTo>
                    <a:pt x="18073" y="715"/>
                    <a:pt x="17661" y="1306"/>
                    <a:pt x="17661" y="1772"/>
                  </a:cubicBezTo>
                  <a:cubicBezTo>
                    <a:pt x="17767" y="2254"/>
                    <a:pt x="17661" y="3201"/>
                    <a:pt x="18165" y="3326"/>
                  </a:cubicBezTo>
                  <a:cubicBezTo>
                    <a:pt x="18776" y="3435"/>
                    <a:pt x="19281" y="2611"/>
                    <a:pt x="19785" y="2129"/>
                  </a:cubicBezTo>
                  <a:lnTo>
                    <a:pt x="19891" y="3077"/>
                  </a:lnTo>
                  <a:cubicBezTo>
                    <a:pt x="19785" y="3201"/>
                    <a:pt x="19480" y="3792"/>
                    <a:pt x="19480" y="3792"/>
                  </a:cubicBezTo>
                  <a:cubicBezTo>
                    <a:pt x="19480" y="3792"/>
                    <a:pt x="19387" y="4631"/>
                    <a:pt x="19387" y="4740"/>
                  </a:cubicBezTo>
                  <a:lnTo>
                    <a:pt x="20090" y="5688"/>
                  </a:lnTo>
                  <a:cubicBezTo>
                    <a:pt x="20396" y="6294"/>
                    <a:pt x="20595" y="6993"/>
                    <a:pt x="20807" y="7599"/>
                  </a:cubicBezTo>
                  <a:cubicBezTo>
                    <a:pt x="20807" y="7599"/>
                    <a:pt x="21511" y="8423"/>
                    <a:pt x="21418" y="8423"/>
                  </a:cubicBezTo>
                  <a:cubicBezTo>
                    <a:pt x="21312" y="8547"/>
                    <a:pt x="20197" y="9371"/>
                    <a:pt x="20197" y="9371"/>
                  </a:cubicBezTo>
                  <a:cubicBezTo>
                    <a:pt x="19998" y="9604"/>
                    <a:pt x="19586" y="9728"/>
                    <a:pt x="19586" y="9961"/>
                  </a:cubicBezTo>
                  <a:cubicBezTo>
                    <a:pt x="19692" y="10567"/>
                    <a:pt x="20502" y="10800"/>
                    <a:pt x="20502" y="11391"/>
                  </a:cubicBezTo>
                  <a:cubicBezTo>
                    <a:pt x="20502" y="11748"/>
                    <a:pt x="19785" y="11624"/>
                    <a:pt x="19692" y="11981"/>
                  </a:cubicBezTo>
                  <a:cubicBezTo>
                    <a:pt x="19480" y="12572"/>
                    <a:pt x="19692" y="13178"/>
                    <a:pt x="19692" y="13768"/>
                  </a:cubicBezTo>
                  <a:cubicBezTo>
                    <a:pt x="19785" y="14592"/>
                    <a:pt x="19998" y="15540"/>
                    <a:pt x="19998" y="16379"/>
                  </a:cubicBezTo>
                  <a:cubicBezTo>
                    <a:pt x="19891" y="16845"/>
                    <a:pt x="19586" y="17094"/>
                    <a:pt x="19387" y="17451"/>
                  </a:cubicBezTo>
                  <a:cubicBezTo>
                    <a:pt x="19281" y="17684"/>
                    <a:pt x="19281" y="18399"/>
                    <a:pt x="18975" y="18275"/>
                  </a:cubicBezTo>
                  <a:cubicBezTo>
                    <a:pt x="18272" y="18151"/>
                    <a:pt x="17860" y="17094"/>
                    <a:pt x="17050" y="16845"/>
                  </a:cubicBezTo>
                  <a:cubicBezTo>
                    <a:pt x="16745" y="16845"/>
                    <a:pt x="16652" y="17560"/>
                    <a:pt x="16347" y="17684"/>
                  </a:cubicBezTo>
                  <a:cubicBezTo>
                    <a:pt x="16041" y="17684"/>
                    <a:pt x="15829" y="16970"/>
                    <a:pt x="15524" y="17094"/>
                  </a:cubicBezTo>
                  <a:cubicBezTo>
                    <a:pt x="14926" y="17327"/>
                    <a:pt x="14714" y="18275"/>
                    <a:pt x="14116" y="18508"/>
                  </a:cubicBezTo>
                  <a:cubicBezTo>
                    <a:pt x="13705" y="18632"/>
                    <a:pt x="13306" y="17793"/>
                    <a:pt x="12895" y="18042"/>
                  </a:cubicBezTo>
                  <a:cubicBezTo>
                    <a:pt x="11674" y="18757"/>
                    <a:pt x="10864" y="20295"/>
                    <a:pt x="9549" y="20885"/>
                  </a:cubicBezTo>
                  <a:cubicBezTo>
                    <a:pt x="9138" y="21119"/>
                    <a:pt x="8633" y="20295"/>
                    <a:pt x="8129" y="20419"/>
                  </a:cubicBezTo>
                  <a:cubicBezTo>
                    <a:pt x="7624" y="20419"/>
                    <a:pt x="7319" y="21243"/>
                    <a:pt x="6815" y="21367"/>
                  </a:cubicBezTo>
                  <a:cubicBezTo>
                    <a:pt x="6403" y="21476"/>
                    <a:pt x="6005" y="21010"/>
                    <a:pt x="5593" y="20885"/>
                  </a:cubicBezTo>
                  <a:cubicBezTo>
                    <a:pt x="4677" y="20761"/>
                    <a:pt x="3761" y="20761"/>
                    <a:pt x="2951" y="20761"/>
                  </a:cubicBezTo>
                  <a:cubicBezTo>
                    <a:pt x="2858" y="20528"/>
                    <a:pt x="2951" y="20171"/>
                    <a:pt x="2752" y="20171"/>
                  </a:cubicBezTo>
                  <a:cubicBezTo>
                    <a:pt x="2354" y="19938"/>
                    <a:pt x="1836" y="20295"/>
                    <a:pt x="1438" y="20171"/>
                  </a:cubicBezTo>
                  <a:cubicBezTo>
                    <a:pt x="1239" y="20062"/>
                    <a:pt x="1239" y="19471"/>
                    <a:pt x="1026" y="19471"/>
                  </a:cubicBezTo>
                  <a:cubicBezTo>
                    <a:pt x="721" y="19347"/>
                    <a:pt x="721" y="19938"/>
                    <a:pt x="522" y="20062"/>
                  </a:cubicBezTo>
                  <a:cubicBezTo>
                    <a:pt x="323" y="20062"/>
                    <a:pt x="17" y="19813"/>
                    <a:pt x="17" y="19580"/>
                  </a:cubicBezTo>
                  <a:cubicBezTo>
                    <a:pt x="-89" y="19471"/>
                    <a:pt x="323" y="19347"/>
                    <a:pt x="323" y="19114"/>
                  </a:cubicBezTo>
                  <a:cubicBezTo>
                    <a:pt x="323" y="18757"/>
                    <a:pt x="110" y="18508"/>
                    <a:pt x="110" y="18151"/>
                  </a:cubicBezTo>
                  <a:cubicBezTo>
                    <a:pt x="2248" y="17560"/>
                    <a:pt x="2248" y="17560"/>
                    <a:pt x="2248" y="17560"/>
                  </a:cubicBezTo>
                  <a:cubicBezTo>
                    <a:pt x="2752" y="17451"/>
                    <a:pt x="3164" y="18151"/>
                    <a:pt x="3761" y="17451"/>
                  </a:cubicBezTo>
                  <a:cubicBezTo>
                    <a:pt x="4372" y="16845"/>
                    <a:pt x="5288" y="16255"/>
                    <a:pt x="5699" y="15664"/>
                  </a:cubicBezTo>
                  <a:cubicBezTo>
                    <a:pt x="6005" y="15198"/>
                    <a:pt x="6098" y="14592"/>
                    <a:pt x="6602" y="14359"/>
                  </a:cubicBezTo>
                  <a:cubicBezTo>
                    <a:pt x="7213" y="14126"/>
                    <a:pt x="7717" y="14359"/>
                    <a:pt x="8235" y="13877"/>
                  </a:cubicBezTo>
                  <a:cubicBezTo>
                    <a:pt x="8633" y="13287"/>
                    <a:pt x="9244" y="12696"/>
                    <a:pt x="9656" y="12106"/>
                  </a:cubicBezTo>
                  <a:cubicBezTo>
                    <a:pt x="10864" y="10210"/>
                    <a:pt x="11474" y="9013"/>
                    <a:pt x="12284" y="6760"/>
                  </a:cubicBezTo>
                  <a:cubicBezTo>
                    <a:pt x="12390" y="6403"/>
                    <a:pt x="12390" y="5579"/>
                    <a:pt x="12483" y="5097"/>
                  </a:cubicBezTo>
                  <a:cubicBezTo>
                    <a:pt x="12590" y="4631"/>
                    <a:pt x="12789" y="4631"/>
                    <a:pt x="13001" y="4149"/>
                  </a:cubicBezTo>
                  <a:cubicBezTo>
                    <a:pt x="13306" y="3668"/>
                    <a:pt x="13001" y="2378"/>
                    <a:pt x="13001" y="1772"/>
                  </a:cubicBezTo>
                  <a:cubicBezTo>
                    <a:pt x="13399" y="1663"/>
                    <a:pt x="13811" y="1663"/>
                    <a:pt x="14209" y="1539"/>
                  </a:cubicBezTo>
                  <a:cubicBezTo>
                    <a:pt x="14209" y="1430"/>
                    <a:pt x="14209" y="1430"/>
                    <a:pt x="14209" y="1430"/>
                  </a:cubicBezTo>
                  <a:cubicBezTo>
                    <a:pt x="13904" y="1430"/>
                    <a:pt x="12789" y="1306"/>
                    <a:pt x="12696" y="118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6" name="Shape 2427">
              <a:extLst>
                <a:ext uri="{FF2B5EF4-FFF2-40B4-BE49-F238E27FC236}">
                  <a16:creationId xmlns:a16="http://schemas.microsoft.com/office/drawing/2014/main" id="{99CC0D38-17C8-858D-D3E4-43F8921F056C}"/>
                </a:ext>
              </a:extLst>
            </p:cNvPr>
            <p:cNvSpPr/>
            <p:nvPr/>
          </p:nvSpPr>
          <p:spPr>
            <a:xfrm>
              <a:off x="2565661" y="7351328"/>
              <a:ext cx="139386" cy="100500"/>
            </a:xfrm>
            <a:custGeom>
              <a:avLst/>
              <a:gdLst/>
              <a:ahLst/>
              <a:cxnLst>
                <a:cxn ang="0">
                  <a:pos x="wd2" y="hd2"/>
                </a:cxn>
                <a:cxn ang="5400000">
                  <a:pos x="wd2" y="hd2"/>
                </a:cxn>
                <a:cxn ang="10800000">
                  <a:pos x="wd2" y="hd2"/>
                </a:cxn>
                <a:cxn ang="16200000">
                  <a:pos x="wd2" y="hd2"/>
                </a:cxn>
              </a:cxnLst>
              <a:rect l="0" t="0" r="r" b="b"/>
              <a:pathLst>
                <a:path w="21371" h="21232" extrusionOk="0">
                  <a:moveTo>
                    <a:pt x="8432" y="1261"/>
                  </a:moveTo>
                  <a:cubicBezTo>
                    <a:pt x="10339" y="694"/>
                    <a:pt x="12350" y="-368"/>
                    <a:pt x="14308" y="128"/>
                  </a:cubicBezTo>
                  <a:cubicBezTo>
                    <a:pt x="15494" y="128"/>
                    <a:pt x="16680" y="1757"/>
                    <a:pt x="18226" y="2323"/>
                  </a:cubicBezTo>
                  <a:cubicBezTo>
                    <a:pt x="19051" y="2890"/>
                    <a:pt x="20237" y="2323"/>
                    <a:pt x="20598" y="3385"/>
                  </a:cubicBezTo>
                  <a:cubicBezTo>
                    <a:pt x="21371" y="5581"/>
                    <a:pt x="21010" y="8272"/>
                    <a:pt x="21371" y="10963"/>
                  </a:cubicBezTo>
                  <a:cubicBezTo>
                    <a:pt x="18226" y="12592"/>
                    <a:pt x="15907" y="15283"/>
                    <a:pt x="13896" y="21232"/>
                  </a:cubicBezTo>
                  <a:cubicBezTo>
                    <a:pt x="12350" y="19107"/>
                    <a:pt x="11525" y="15850"/>
                    <a:pt x="9617" y="14787"/>
                  </a:cubicBezTo>
                  <a:cubicBezTo>
                    <a:pt x="8071" y="14221"/>
                    <a:pt x="6885" y="17479"/>
                    <a:pt x="5699" y="16912"/>
                  </a:cubicBezTo>
                  <a:cubicBezTo>
                    <a:pt x="4101" y="15850"/>
                    <a:pt x="4514" y="12592"/>
                    <a:pt x="3740" y="11530"/>
                  </a:cubicBezTo>
                  <a:cubicBezTo>
                    <a:pt x="2967" y="9901"/>
                    <a:pt x="1369" y="9901"/>
                    <a:pt x="183" y="8839"/>
                  </a:cubicBezTo>
                  <a:cubicBezTo>
                    <a:pt x="183" y="7210"/>
                    <a:pt x="-229" y="5581"/>
                    <a:pt x="183" y="3952"/>
                  </a:cubicBezTo>
                  <a:cubicBezTo>
                    <a:pt x="957" y="2323"/>
                    <a:pt x="2555" y="1757"/>
                    <a:pt x="3740" y="1757"/>
                  </a:cubicBezTo>
                  <a:cubicBezTo>
                    <a:pt x="4926" y="1757"/>
                    <a:pt x="5699" y="3952"/>
                    <a:pt x="6473" y="3952"/>
                  </a:cubicBezTo>
                  <a:cubicBezTo>
                    <a:pt x="7658" y="3952"/>
                    <a:pt x="7658" y="1757"/>
                    <a:pt x="8432" y="12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7" name="Shape 2428">
              <a:extLst>
                <a:ext uri="{FF2B5EF4-FFF2-40B4-BE49-F238E27FC236}">
                  <a16:creationId xmlns:a16="http://schemas.microsoft.com/office/drawing/2014/main" id="{BEB036ED-D99D-E6A9-47DA-D7484AB59FEE}"/>
                </a:ext>
              </a:extLst>
            </p:cNvPr>
            <p:cNvSpPr/>
            <p:nvPr/>
          </p:nvSpPr>
          <p:spPr>
            <a:xfrm>
              <a:off x="2394708" y="7389728"/>
              <a:ext cx="262770" cy="126053"/>
            </a:xfrm>
            <a:custGeom>
              <a:avLst/>
              <a:gdLst/>
              <a:ahLst/>
              <a:cxnLst>
                <a:cxn ang="0">
                  <a:pos x="wd2" y="hd2"/>
                </a:cxn>
                <a:cxn ang="5400000">
                  <a:pos x="wd2" y="hd2"/>
                </a:cxn>
                <a:cxn ang="10800000">
                  <a:pos x="wd2" y="hd2"/>
                </a:cxn>
                <a:cxn ang="16200000">
                  <a:pos x="wd2" y="hd2"/>
                </a:cxn>
              </a:cxnLst>
              <a:rect l="0" t="0" r="r" b="b"/>
              <a:pathLst>
                <a:path w="21600" h="20867" extrusionOk="0">
                  <a:moveTo>
                    <a:pt x="7857" y="0"/>
                  </a:moveTo>
                  <a:cubicBezTo>
                    <a:pt x="8690" y="389"/>
                    <a:pt x="9773" y="1666"/>
                    <a:pt x="10828" y="1666"/>
                  </a:cubicBezTo>
                  <a:cubicBezTo>
                    <a:pt x="11883" y="1666"/>
                    <a:pt x="13160" y="1222"/>
                    <a:pt x="14215" y="833"/>
                  </a:cubicBezTo>
                  <a:cubicBezTo>
                    <a:pt x="14853" y="1666"/>
                    <a:pt x="15714" y="1666"/>
                    <a:pt x="16131" y="2943"/>
                  </a:cubicBezTo>
                  <a:cubicBezTo>
                    <a:pt x="16547" y="3776"/>
                    <a:pt x="16325" y="6330"/>
                    <a:pt x="17186" y="7163"/>
                  </a:cubicBezTo>
                  <a:cubicBezTo>
                    <a:pt x="17824" y="7607"/>
                    <a:pt x="18463" y="5053"/>
                    <a:pt x="19296" y="5497"/>
                  </a:cubicBezTo>
                  <a:cubicBezTo>
                    <a:pt x="20323" y="6330"/>
                    <a:pt x="20767" y="8884"/>
                    <a:pt x="21600" y="10550"/>
                  </a:cubicBezTo>
                  <a:cubicBezTo>
                    <a:pt x="21600" y="10994"/>
                    <a:pt x="21600" y="11439"/>
                    <a:pt x="21406" y="11827"/>
                  </a:cubicBezTo>
                  <a:cubicBezTo>
                    <a:pt x="19684" y="21600"/>
                    <a:pt x="20323" y="18213"/>
                    <a:pt x="14853" y="20323"/>
                  </a:cubicBezTo>
                  <a:cubicBezTo>
                    <a:pt x="11466" y="21600"/>
                    <a:pt x="3609" y="21156"/>
                    <a:pt x="2332" y="13104"/>
                  </a:cubicBezTo>
                  <a:cubicBezTo>
                    <a:pt x="1694" y="10550"/>
                    <a:pt x="861" y="9717"/>
                    <a:pt x="0" y="8884"/>
                  </a:cubicBezTo>
                  <a:cubicBezTo>
                    <a:pt x="1055" y="7607"/>
                    <a:pt x="2749" y="4220"/>
                    <a:pt x="4026" y="3387"/>
                  </a:cubicBezTo>
                  <a:cubicBezTo>
                    <a:pt x="4470" y="2943"/>
                    <a:pt x="5081" y="4609"/>
                    <a:pt x="5525" y="4220"/>
                  </a:cubicBezTo>
                  <a:cubicBezTo>
                    <a:pt x="6358" y="3387"/>
                    <a:pt x="6996" y="1222"/>
                    <a:pt x="785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8" name="Shape 2429">
              <a:extLst>
                <a:ext uri="{FF2B5EF4-FFF2-40B4-BE49-F238E27FC236}">
                  <a16:creationId xmlns:a16="http://schemas.microsoft.com/office/drawing/2014/main" id="{AEA282AE-7190-1480-609A-602CC0A92AFE}"/>
                </a:ext>
              </a:extLst>
            </p:cNvPr>
            <p:cNvSpPr/>
            <p:nvPr/>
          </p:nvSpPr>
          <p:spPr>
            <a:xfrm>
              <a:off x="2918817" y="7263367"/>
              <a:ext cx="213859" cy="209270"/>
            </a:xfrm>
            <a:custGeom>
              <a:avLst/>
              <a:gdLst/>
              <a:ahLst/>
              <a:cxnLst>
                <a:cxn ang="0">
                  <a:pos x="wd2" y="hd2"/>
                </a:cxn>
                <a:cxn ang="5400000">
                  <a:pos x="wd2" y="hd2"/>
                </a:cxn>
                <a:cxn ang="10800000">
                  <a:pos x="wd2" y="hd2"/>
                </a:cxn>
                <a:cxn ang="16200000">
                  <a:pos x="wd2" y="hd2"/>
                </a:cxn>
              </a:cxnLst>
              <a:rect l="0" t="0" r="r" b="b"/>
              <a:pathLst>
                <a:path w="20888" h="21600" extrusionOk="0">
                  <a:moveTo>
                    <a:pt x="7299" y="0"/>
                  </a:moveTo>
                  <a:cubicBezTo>
                    <a:pt x="6543" y="1082"/>
                    <a:pt x="5556" y="2129"/>
                    <a:pt x="5030" y="3489"/>
                  </a:cubicBezTo>
                  <a:cubicBezTo>
                    <a:pt x="4537" y="5339"/>
                    <a:pt x="2269" y="5862"/>
                    <a:pt x="1512" y="7747"/>
                  </a:cubicBezTo>
                  <a:cubicBezTo>
                    <a:pt x="1019" y="9073"/>
                    <a:pt x="526" y="10678"/>
                    <a:pt x="0" y="12004"/>
                  </a:cubicBezTo>
                  <a:cubicBezTo>
                    <a:pt x="526" y="13330"/>
                    <a:pt x="-230" y="12527"/>
                    <a:pt x="756" y="13330"/>
                  </a:cubicBezTo>
                  <a:cubicBezTo>
                    <a:pt x="1775" y="13853"/>
                    <a:pt x="2762" y="13086"/>
                    <a:pt x="3781" y="13330"/>
                  </a:cubicBezTo>
                  <a:cubicBezTo>
                    <a:pt x="4537" y="13609"/>
                    <a:pt x="4537" y="14656"/>
                    <a:pt x="5293" y="14935"/>
                  </a:cubicBezTo>
                  <a:cubicBezTo>
                    <a:pt x="5786" y="15214"/>
                    <a:pt x="6806" y="14656"/>
                    <a:pt x="7299" y="15214"/>
                  </a:cubicBezTo>
                  <a:cubicBezTo>
                    <a:pt x="7792" y="15738"/>
                    <a:pt x="7792" y="16540"/>
                    <a:pt x="7792" y="17343"/>
                  </a:cubicBezTo>
                  <a:cubicBezTo>
                    <a:pt x="7792" y="17866"/>
                    <a:pt x="7036" y="17866"/>
                    <a:pt x="7036" y="18390"/>
                  </a:cubicBezTo>
                  <a:cubicBezTo>
                    <a:pt x="6806" y="19192"/>
                    <a:pt x="7036" y="19995"/>
                    <a:pt x="7299" y="20797"/>
                  </a:cubicBezTo>
                  <a:cubicBezTo>
                    <a:pt x="8548" y="21077"/>
                    <a:pt x="9567" y="21600"/>
                    <a:pt x="11047" y="21600"/>
                  </a:cubicBezTo>
                  <a:cubicBezTo>
                    <a:pt x="12559" y="21600"/>
                    <a:pt x="14071" y="20274"/>
                    <a:pt x="15847" y="20274"/>
                  </a:cubicBezTo>
                  <a:cubicBezTo>
                    <a:pt x="16833" y="20274"/>
                    <a:pt x="17852" y="20797"/>
                    <a:pt x="18838" y="21077"/>
                  </a:cubicBezTo>
                  <a:cubicBezTo>
                    <a:pt x="18838" y="19716"/>
                    <a:pt x="19332" y="18111"/>
                    <a:pt x="19102" y="16784"/>
                  </a:cubicBezTo>
                  <a:cubicBezTo>
                    <a:pt x="18838" y="15738"/>
                    <a:pt x="17096" y="15458"/>
                    <a:pt x="17326" y="14656"/>
                  </a:cubicBezTo>
                  <a:cubicBezTo>
                    <a:pt x="17852" y="13330"/>
                    <a:pt x="20088" y="13609"/>
                    <a:pt x="20614" y="12283"/>
                  </a:cubicBezTo>
                  <a:cubicBezTo>
                    <a:pt x="21370" y="10678"/>
                    <a:pt x="20351" y="9317"/>
                    <a:pt x="20088" y="7747"/>
                  </a:cubicBezTo>
                  <a:cubicBezTo>
                    <a:pt x="18082" y="7188"/>
                    <a:pt x="15847" y="7468"/>
                    <a:pt x="14334" y="6142"/>
                  </a:cubicBezTo>
                  <a:cubicBezTo>
                    <a:pt x="13315" y="5339"/>
                    <a:pt x="14334" y="2931"/>
                    <a:pt x="13315" y="2129"/>
                  </a:cubicBezTo>
                  <a:cubicBezTo>
                    <a:pt x="12329" y="1326"/>
                    <a:pt x="10554" y="2408"/>
                    <a:pt x="9304" y="1884"/>
                  </a:cubicBezTo>
                  <a:cubicBezTo>
                    <a:pt x="8811" y="1884"/>
                    <a:pt x="9567" y="1082"/>
                    <a:pt x="9304" y="803"/>
                  </a:cubicBezTo>
                  <a:cubicBezTo>
                    <a:pt x="8055" y="0"/>
                    <a:pt x="8548" y="523"/>
                    <a:pt x="7299"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09" name="Shape 2430">
              <a:extLst>
                <a:ext uri="{FF2B5EF4-FFF2-40B4-BE49-F238E27FC236}">
                  <a16:creationId xmlns:a16="http://schemas.microsoft.com/office/drawing/2014/main" id="{9EA763FB-3FAF-C5A9-6FBE-57758030C9D6}"/>
                </a:ext>
              </a:extLst>
            </p:cNvPr>
            <p:cNvSpPr/>
            <p:nvPr/>
          </p:nvSpPr>
          <p:spPr>
            <a:xfrm>
              <a:off x="2901596" y="7379320"/>
              <a:ext cx="97771" cy="111156"/>
            </a:xfrm>
            <a:custGeom>
              <a:avLst/>
              <a:gdLst/>
              <a:ahLst/>
              <a:cxnLst>
                <a:cxn ang="0">
                  <a:pos x="wd2" y="hd2"/>
                </a:cxn>
                <a:cxn ang="5400000">
                  <a:pos x="wd2" y="hd2"/>
                </a:cxn>
                <a:cxn ang="10800000">
                  <a:pos x="wd2" y="hd2"/>
                </a:cxn>
                <a:cxn ang="16200000">
                  <a:pos x="wd2" y="hd2"/>
                </a:cxn>
              </a:cxnLst>
              <a:rect l="0" t="0" r="r" b="b"/>
              <a:pathLst>
                <a:path w="21600" h="21600" extrusionOk="0">
                  <a:moveTo>
                    <a:pt x="3948" y="0"/>
                  </a:moveTo>
                  <a:cubicBezTo>
                    <a:pt x="5139" y="2502"/>
                    <a:pt x="3426" y="988"/>
                    <a:pt x="5661" y="2502"/>
                  </a:cubicBezTo>
                  <a:cubicBezTo>
                    <a:pt x="7970" y="3490"/>
                    <a:pt x="10204" y="2041"/>
                    <a:pt x="12513" y="2502"/>
                  </a:cubicBezTo>
                  <a:cubicBezTo>
                    <a:pt x="14226" y="3029"/>
                    <a:pt x="14226" y="5005"/>
                    <a:pt x="15939" y="5532"/>
                  </a:cubicBezTo>
                  <a:cubicBezTo>
                    <a:pt x="17057" y="6059"/>
                    <a:pt x="19366" y="5005"/>
                    <a:pt x="20483" y="6059"/>
                  </a:cubicBezTo>
                  <a:cubicBezTo>
                    <a:pt x="21600" y="7046"/>
                    <a:pt x="21600" y="8561"/>
                    <a:pt x="21600" y="10076"/>
                  </a:cubicBezTo>
                  <a:cubicBezTo>
                    <a:pt x="21600" y="11063"/>
                    <a:pt x="19887" y="11063"/>
                    <a:pt x="19887" y="12051"/>
                  </a:cubicBezTo>
                  <a:cubicBezTo>
                    <a:pt x="19366" y="13566"/>
                    <a:pt x="19887" y="15080"/>
                    <a:pt x="20483" y="16595"/>
                  </a:cubicBezTo>
                  <a:cubicBezTo>
                    <a:pt x="19887" y="17583"/>
                    <a:pt x="19887" y="19098"/>
                    <a:pt x="18770" y="19624"/>
                  </a:cubicBezTo>
                  <a:cubicBezTo>
                    <a:pt x="18174" y="20151"/>
                    <a:pt x="17057" y="19098"/>
                    <a:pt x="15939" y="19624"/>
                  </a:cubicBezTo>
                  <a:cubicBezTo>
                    <a:pt x="14822" y="19624"/>
                    <a:pt x="14226" y="20612"/>
                    <a:pt x="13630" y="21600"/>
                  </a:cubicBezTo>
                  <a:cubicBezTo>
                    <a:pt x="11396" y="20612"/>
                    <a:pt x="8491" y="21139"/>
                    <a:pt x="7374" y="19098"/>
                  </a:cubicBezTo>
                  <a:cubicBezTo>
                    <a:pt x="6257" y="18110"/>
                    <a:pt x="7970" y="16595"/>
                    <a:pt x="7970" y="15080"/>
                  </a:cubicBezTo>
                  <a:cubicBezTo>
                    <a:pt x="7970" y="13566"/>
                    <a:pt x="8491" y="11524"/>
                    <a:pt x="7374" y="10076"/>
                  </a:cubicBezTo>
                  <a:cubicBezTo>
                    <a:pt x="6778" y="9022"/>
                    <a:pt x="4543" y="9022"/>
                    <a:pt x="3426" y="8034"/>
                  </a:cubicBezTo>
                  <a:cubicBezTo>
                    <a:pt x="1117" y="6520"/>
                    <a:pt x="1713" y="7046"/>
                    <a:pt x="0" y="5005"/>
                  </a:cubicBezTo>
                  <a:cubicBezTo>
                    <a:pt x="1713" y="4017"/>
                    <a:pt x="2830" y="2041"/>
                    <a:pt x="3948"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0" name="Shape 2431">
              <a:extLst>
                <a:ext uri="{FF2B5EF4-FFF2-40B4-BE49-F238E27FC236}">
                  <a16:creationId xmlns:a16="http://schemas.microsoft.com/office/drawing/2014/main" id="{D7657557-845D-90F5-2D26-BDD4096AE85F}"/>
                </a:ext>
              </a:extLst>
            </p:cNvPr>
            <p:cNvSpPr/>
            <p:nvPr/>
          </p:nvSpPr>
          <p:spPr>
            <a:xfrm>
              <a:off x="3375922" y="7233637"/>
              <a:ext cx="124387" cy="174014"/>
            </a:xfrm>
            <a:custGeom>
              <a:avLst/>
              <a:gdLst/>
              <a:ahLst/>
              <a:cxnLst>
                <a:cxn ang="0">
                  <a:pos x="wd2" y="hd2"/>
                </a:cxn>
                <a:cxn ang="5400000">
                  <a:pos x="wd2" y="hd2"/>
                </a:cxn>
                <a:cxn ang="10800000">
                  <a:pos x="wd2" y="hd2"/>
                </a:cxn>
                <a:cxn ang="16200000">
                  <a:pos x="wd2" y="hd2"/>
                </a:cxn>
              </a:cxnLst>
              <a:rect l="0" t="0" r="r" b="b"/>
              <a:pathLst>
                <a:path w="21321" h="21469" extrusionOk="0">
                  <a:moveTo>
                    <a:pt x="5884" y="2243"/>
                  </a:moveTo>
                  <a:cubicBezTo>
                    <a:pt x="6748" y="2534"/>
                    <a:pt x="7670" y="2866"/>
                    <a:pt x="8534" y="2866"/>
                  </a:cubicBezTo>
                  <a:cubicBezTo>
                    <a:pt x="9859" y="2866"/>
                    <a:pt x="11183" y="2866"/>
                    <a:pt x="12047" y="2243"/>
                  </a:cubicBezTo>
                  <a:cubicBezTo>
                    <a:pt x="12969" y="1911"/>
                    <a:pt x="12969" y="623"/>
                    <a:pt x="13372" y="332"/>
                  </a:cubicBezTo>
                  <a:cubicBezTo>
                    <a:pt x="14236" y="0"/>
                    <a:pt x="14697" y="0"/>
                    <a:pt x="15561" y="0"/>
                  </a:cubicBezTo>
                  <a:cubicBezTo>
                    <a:pt x="15158" y="332"/>
                    <a:pt x="14697" y="955"/>
                    <a:pt x="14697" y="1288"/>
                  </a:cubicBezTo>
                  <a:cubicBezTo>
                    <a:pt x="14236" y="2243"/>
                    <a:pt x="14236" y="3198"/>
                    <a:pt x="14236" y="3822"/>
                  </a:cubicBezTo>
                  <a:cubicBezTo>
                    <a:pt x="14697" y="4777"/>
                    <a:pt x="16886" y="5400"/>
                    <a:pt x="16886" y="6355"/>
                  </a:cubicBezTo>
                  <a:cubicBezTo>
                    <a:pt x="16483" y="7643"/>
                    <a:pt x="13833" y="7934"/>
                    <a:pt x="13372" y="8889"/>
                  </a:cubicBezTo>
                  <a:cubicBezTo>
                    <a:pt x="13372" y="10177"/>
                    <a:pt x="13372" y="11423"/>
                    <a:pt x="14697" y="12378"/>
                  </a:cubicBezTo>
                  <a:cubicBezTo>
                    <a:pt x="15561" y="13334"/>
                    <a:pt x="17347" y="13002"/>
                    <a:pt x="18671" y="13957"/>
                  </a:cubicBezTo>
                  <a:cubicBezTo>
                    <a:pt x="19996" y="14912"/>
                    <a:pt x="20399" y="16823"/>
                    <a:pt x="21321" y="18111"/>
                  </a:cubicBezTo>
                  <a:cubicBezTo>
                    <a:pt x="17347" y="19066"/>
                    <a:pt x="13833" y="20645"/>
                    <a:pt x="9398" y="21268"/>
                  </a:cubicBezTo>
                  <a:cubicBezTo>
                    <a:pt x="7670" y="21600"/>
                    <a:pt x="5020" y="21600"/>
                    <a:pt x="3235" y="20645"/>
                  </a:cubicBezTo>
                  <a:cubicBezTo>
                    <a:pt x="1967" y="19689"/>
                    <a:pt x="1507" y="18111"/>
                    <a:pt x="1046" y="16823"/>
                  </a:cubicBezTo>
                  <a:cubicBezTo>
                    <a:pt x="182" y="15535"/>
                    <a:pt x="-279" y="13957"/>
                    <a:pt x="182" y="12711"/>
                  </a:cubicBezTo>
                  <a:cubicBezTo>
                    <a:pt x="182" y="12046"/>
                    <a:pt x="1507" y="11755"/>
                    <a:pt x="1507" y="11091"/>
                  </a:cubicBezTo>
                  <a:cubicBezTo>
                    <a:pt x="1967" y="9512"/>
                    <a:pt x="182" y="8266"/>
                    <a:pt x="1046" y="6978"/>
                  </a:cubicBezTo>
                  <a:cubicBezTo>
                    <a:pt x="1967" y="6023"/>
                    <a:pt x="4559" y="6688"/>
                    <a:pt x="5481" y="6023"/>
                  </a:cubicBezTo>
                  <a:cubicBezTo>
                    <a:pt x="6345" y="5400"/>
                    <a:pt x="4559" y="4777"/>
                    <a:pt x="4559" y="4112"/>
                  </a:cubicBezTo>
                  <a:cubicBezTo>
                    <a:pt x="5020" y="3489"/>
                    <a:pt x="5481" y="2866"/>
                    <a:pt x="5884" y="224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1" name="Shape 2432">
              <a:extLst>
                <a:ext uri="{FF2B5EF4-FFF2-40B4-BE49-F238E27FC236}">
                  <a16:creationId xmlns:a16="http://schemas.microsoft.com/office/drawing/2014/main" id="{27928788-0FE2-B9B8-A366-2C5B6116E975}"/>
                </a:ext>
              </a:extLst>
            </p:cNvPr>
            <p:cNvSpPr/>
            <p:nvPr/>
          </p:nvSpPr>
          <p:spPr>
            <a:xfrm>
              <a:off x="3514024" y="7348103"/>
              <a:ext cx="307459" cy="192894"/>
            </a:xfrm>
            <a:custGeom>
              <a:avLst/>
              <a:gdLst/>
              <a:ahLst/>
              <a:cxnLst>
                <a:cxn ang="0">
                  <a:pos x="wd2" y="hd2"/>
                </a:cxn>
                <a:cxn ang="5400000">
                  <a:pos x="wd2" y="hd2"/>
                </a:cxn>
                <a:cxn ang="10800000">
                  <a:pos x="wd2" y="hd2"/>
                </a:cxn>
                <a:cxn ang="16200000">
                  <a:pos x="wd2" y="hd2"/>
                </a:cxn>
              </a:cxnLst>
              <a:rect l="0" t="0" r="r" b="b"/>
              <a:pathLst>
                <a:path w="21503" h="21270" extrusionOk="0">
                  <a:moveTo>
                    <a:pt x="2688" y="21005"/>
                  </a:moveTo>
                  <a:cubicBezTo>
                    <a:pt x="2877" y="19890"/>
                    <a:pt x="3231" y="18737"/>
                    <a:pt x="2877" y="17622"/>
                  </a:cubicBezTo>
                  <a:cubicBezTo>
                    <a:pt x="2688" y="16767"/>
                    <a:pt x="1792" y="16470"/>
                    <a:pt x="1438" y="15614"/>
                  </a:cubicBezTo>
                  <a:cubicBezTo>
                    <a:pt x="1085" y="14797"/>
                    <a:pt x="354" y="13941"/>
                    <a:pt x="354" y="13086"/>
                  </a:cubicBezTo>
                  <a:cubicBezTo>
                    <a:pt x="542" y="12231"/>
                    <a:pt x="1627" y="12789"/>
                    <a:pt x="1792" y="12231"/>
                  </a:cubicBezTo>
                  <a:cubicBezTo>
                    <a:pt x="2146" y="11636"/>
                    <a:pt x="2146" y="10781"/>
                    <a:pt x="1981" y="9926"/>
                  </a:cubicBezTo>
                  <a:cubicBezTo>
                    <a:pt x="1627" y="9108"/>
                    <a:pt x="896" y="8514"/>
                    <a:pt x="707" y="7659"/>
                  </a:cubicBezTo>
                  <a:cubicBezTo>
                    <a:pt x="354" y="6246"/>
                    <a:pt x="165" y="4573"/>
                    <a:pt x="0" y="3123"/>
                  </a:cubicBezTo>
                  <a:cubicBezTo>
                    <a:pt x="354" y="2268"/>
                    <a:pt x="354" y="855"/>
                    <a:pt x="896" y="558"/>
                  </a:cubicBezTo>
                  <a:cubicBezTo>
                    <a:pt x="1627" y="297"/>
                    <a:pt x="2146" y="855"/>
                    <a:pt x="2688" y="1152"/>
                  </a:cubicBezTo>
                  <a:cubicBezTo>
                    <a:pt x="3419" y="1413"/>
                    <a:pt x="3773" y="2565"/>
                    <a:pt x="4504" y="2565"/>
                  </a:cubicBezTo>
                  <a:cubicBezTo>
                    <a:pt x="5211" y="2565"/>
                    <a:pt x="6107" y="2008"/>
                    <a:pt x="6838" y="1413"/>
                  </a:cubicBezTo>
                  <a:cubicBezTo>
                    <a:pt x="7381" y="1413"/>
                    <a:pt x="7923" y="855"/>
                    <a:pt x="8466" y="855"/>
                  </a:cubicBezTo>
                  <a:cubicBezTo>
                    <a:pt x="8466" y="855"/>
                    <a:pt x="8631" y="1152"/>
                    <a:pt x="8819" y="1152"/>
                  </a:cubicBezTo>
                  <a:cubicBezTo>
                    <a:pt x="9008" y="855"/>
                    <a:pt x="9008" y="0"/>
                    <a:pt x="9362" y="0"/>
                  </a:cubicBezTo>
                  <a:cubicBezTo>
                    <a:pt x="10446" y="297"/>
                    <a:pt x="11531" y="1413"/>
                    <a:pt x="12592" y="2268"/>
                  </a:cubicBezTo>
                  <a:cubicBezTo>
                    <a:pt x="12969" y="2565"/>
                    <a:pt x="13512" y="3123"/>
                    <a:pt x="14031" y="3123"/>
                  </a:cubicBezTo>
                  <a:cubicBezTo>
                    <a:pt x="14762" y="2863"/>
                    <a:pt x="15493" y="1413"/>
                    <a:pt x="16200" y="1710"/>
                  </a:cubicBezTo>
                  <a:cubicBezTo>
                    <a:pt x="16742" y="2008"/>
                    <a:pt x="16035" y="3420"/>
                    <a:pt x="16200" y="3978"/>
                  </a:cubicBezTo>
                  <a:cubicBezTo>
                    <a:pt x="16389" y="5130"/>
                    <a:pt x="16931" y="6543"/>
                    <a:pt x="17638" y="7101"/>
                  </a:cubicBezTo>
                  <a:cubicBezTo>
                    <a:pt x="18181" y="7398"/>
                    <a:pt x="18912" y="6246"/>
                    <a:pt x="19454" y="6543"/>
                  </a:cubicBezTo>
                  <a:cubicBezTo>
                    <a:pt x="19808" y="6841"/>
                    <a:pt x="19808" y="7659"/>
                    <a:pt x="19997" y="8253"/>
                  </a:cubicBezTo>
                  <a:cubicBezTo>
                    <a:pt x="19808" y="8811"/>
                    <a:pt x="19454" y="9369"/>
                    <a:pt x="19454" y="10224"/>
                  </a:cubicBezTo>
                  <a:cubicBezTo>
                    <a:pt x="19454" y="10781"/>
                    <a:pt x="20162" y="10521"/>
                    <a:pt x="20350" y="10781"/>
                  </a:cubicBezTo>
                  <a:cubicBezTo>
                    <a:pt x="20704" y="11636"/>
                    <a:pt x="20893" y="12492"/>
                    <a:pt x="21246" y="13347"/>
                  </a:cubicBezTo>
                  <a:cubicBezTo>
                    <a:pt x="21058" y="13941"/>
                    <a:pt x="20704" y="14499"/>
                    <a:pt x="20893" y="15354"/>
                  </a:cubicBezTo>
                  <a:cubicBezTo>
                    <a:pt x="20893" y="15912"/>
                    <a:pt x="21435" y="16209"/>
                    <a:pt x="21435" y="17064"/>
                  </a:cubicBezTo>
                  <a:cubicBezTo>
                    <a:pt x="21600" y="17622"/>
                    <a:pt x="21435" y="18180"/>
                    <a:pt x="21246" y="18737"/>
                  </a:cubicBezTo>
                  <a:cubicBezTo>
                    <a:pt x="20704" y="18737"/>
                    <a:pt x="20162" y="19332"/>
                    <a:pt x="19619" y="19035"/>
                  </a:cubicBezTo>
                  <a:cubicBezTo>
                    <a:pt x="18912" y="18737"/>
                    <a:pt x="18558" y="17064"/>
                    <a:pt x="17827" y="16767"/>
                  </a:cubicBezTo>
                  <a:cubicBezTo>
                    <a:pt x="17638" y="16470"/>
                    <a:pt x="17285" y="16767"/>
                    <a:pt x="16931" y="17325"/>
                  </a:cubicBezTo>
                  <a:cubicBezTo>
                    <a:pt x="16742" y="17622"/>
                    <a:pt x="16931" y="18737"/>
                    <a:pt x="16742" y="18737"/>
                  </a:cubicBezTo>
                  <a:cubicBezTo>
                    <a:pt x="16035" y="19035"/>
                    <a:pt x="15493" y="18477"/>
                    <a:pt x="14762" y="18180"/>
                  </a:cubicBezTo>
                  <a:cubicBezTo>
                    <a:pt x="11885" y="17882"/>
                    <a:pt x="9173" y="17064"/>
                    <a:pt x="6296" y="17325"/>
                  </a:cubicBezTo>
                  <a:cubicBezTo>
                    <a:pt x="5754" y="17325"/>
                    <a:pt x="5211" y="18477"/>
                    <a:pt x="5046" y="19332"/>
                  </a:cubicBezTo>
                  <a:cubicBezTo>
                    <a:pt x="5046" y="19890"/>
                    <a:pt x="5754" y="20745"/>
                    <a:pt x="5400" y="21005"/>
                  </a:cubicBezTo>
                  <a:cubicBezTo>
                    <a:pt x="4669" y="21600"/>
                    <a:pt x="3608" y="21005"/>
                    <a:pt x="2688" y="2100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2" name="Shape 2433">
              <a:extLst>
                <a:ext uri="{FF2B5EF4-FFF2-40B4-BE49-F238E27FC236}">
                  <a16:creationId xmlns:a16="http://schemas.microsoft.com/office/drawing/2014/main" id="{742C7F3B-8C8C-F89A-B51C-FB91643F588F}"/>
                </a:ext>
              </a:extLst>
            </p:cNvPr>
            <p:cNvSpPr/>
            <p:nvPr/>
          </p:nvSpPr>
          <p:spPr>
            <a:xfrm>
              <a:off x="3791993" y="7406587"/>
              <a:ext cx="62094" cy="71328"/>
            </a:xfrm>
            <a:custGeom>
              <a:avLst/>
              <a:gdLst/>
              <a:ahLst/>
              <a:cxnLst>
                <a:cxn ang="0">
                  <a:pos x="wd2" y="hd2"/>
                </a:cxn>
                <a:cxn ang="5400000">
                  <a:pos x="wd2" y="hd2"/>
                </a:cxn>
                <a:cxn ang="10800000">
                  <a:pos x="wd2" y="hd2"/>
                </a:cxn>
                <a:cxn ang="16200000">
                  <a:pos x="wd2" y="hd2"/>
                </a:cxn>
              </a:cxnLst>
              <a:rect l="0" t="0" r="r" b="b"/>
              <a:pathLst>
                <a:path w="21600" h="20413" extrusionOk="0">
                  <a:moveTo>
                    <a:pt x="2715" y="4683"/>
                  </a:moveTo>
                  <a:cubicBezTo>
                    <a:pt x="4485" y="5364"/>
                    <a:pt x="6256" y="6921"/>
                    <a:pt x="8026" y="6143"/>
                  </a:cubicBezTo>
                  <a:cubicBezTo>
                    <a:pt x="9915" y="5364"/>
                    <a:pt x="8026" y="3126"/>
                    <a:pt x="9915" y="2445"/>
                  </a:cubicBezTo>
                  <a:cubicBezTo>
                    <a:pt x="11685" y="986"/>
                    <a:pt x="14400" y="-571"/>
                    <a:pt x="17115" y="207"/>
                  </a:cubicBezTo>
                  <a:cubicBezTo>
                    <a:pt x="18885" y="207"/>
                    <a:pt x="17115" y="3126"/>
                    <a:pt x="18059" y="3905"/>
                  </a:cubicBezTo>
                  <a:cubicBezTo>
                    <a:pt x="18885" y="6143"/>
                    <a:pt x="19830" y="6921"/>
                    <a:pt x="21600" y="8380"/>
                  </a:cubicBezTo>
                  <a:cubicBezTo>
                    <a:pt x="19830" y="9840"/>
                    <a:pt x="18885" y="10618"/>
                    <a:pt x="18059" y="12078"/>
                  </a:cubicBezTo>
                  <a:cubicBezTo>
                    <a:pt x="18059" y="12856"/>
                    <a:pt x="19830" y="14315"/>
                    <a:pt x="19830" y="15094"/>
                  </a:cubicBezTo>
                  <a:cubicBezTo>
                    <a:pt x="18059" y="17332"/>
                    <a:pt x="17115" y="19570"/>
                    <a:pt x="14400" y="20251"/>
                  </a:cubicBezTo>
                  <a:cubicBezTo>
                    <a:pt x="12630" y="21029"/>
                    <a:pt x="10741" y="18791"/>
                    <a:pt x="8970" y="18013"/>
                  </a:cubicBezTo>
                  <a:cubicBezTo>
                    <a:pt x="7200" y="15775"/>
                    <a:pt x="6256" y="13537"/>
                    <a:pt x="4485" y="11299"/>
                  </a:cubicBezTo>
                  <a:cubicBezTo>
                    <a:pt x="3541" y="10618"/>
                    <a:pt x="0" y="11299"/>
                    <a:pt x="0" y="9840"/>
                  </a:cubicBezTo>
                  <a:cubicBezTo>
                    <a:pt x="0" y="7602"/>
                    <a:pt x="1770" y="6143"/>
                    <a:pt x="2715" y="468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3" name="Shape 2434">
              <a:extLst>
                <a:ext uri="{FF2B5EF4-FFF2-40B4-BE49-F238E27FC236}">
                  <a16:creationId xmlns:a16="http://schemas.microsoft.com/office/drawing/2014/main" id="{762E83FC-A158-153F-80B2-805E6AE42CB3}"/>
                </a:ext>
              </a:extLst>
            </p:cNvPr>
            <p:cNvSpPr/>
            <p:nvPr/>
          </p:nvSpPr>
          <p:spPr>
            <a:xfrm>
              <a:off x="3811754" y="7348103"/>
              <a:ext cx="112194" cy="178052"/>
            </a:xfrm>
            <a:custGeom>
              <a:avLst/>
              <a:gdLst/>
              <a:ahLst/>
              <a:cxnLst>
                <a:cxn ang="0">
                  <a:pos x="wd2" y="hd2"/>
                </a:cxn>
                <a:cxn ang="5400000">
                  <a:pos x="wd2" y="hd2"/>
                </a:cxn>
                <a:cxn ang="10800000">
                  <a:pos x="wd2" y="hd2"/>
                </a:cxn>
                <a:cxn ang="16200000">
                  <a:pos x="wd2" y="hd2"/>
                </a:cxn>
              </a:cxnLst>
              <a:rect l="0" t="0" r="r" b="b"/>
              <a:pathLst>
                <a:path w="20962" h="21600" extrusionOk="0">
                  <a:moveTo>
                    <a:pt x="10692" y="1885"/>
                  </a:moveTo>
                  <a:cubicBezTo>
                    <a:pt x="11634" y="1271"/>
                    <a:pt x="12136" y="0"/>
                    <a:pt x="13581" y="0"/>
                  </a:cubicBezTo>
                  <a:cubicBezTo>
                    <a:pt x="15025" y="0"/>
                    <a:pt x="15464" y="1557"/>
                    <a:pt x="16406" y="2213"/>
                  </a:cubicBezTo>
                  <a:cubicBezTo>
                    <a:pt x="16406" y="2828"/>
                    <a:pt x="15967" y="3443"/>
                    <a:pt x="15967" y="4386"/>
                  </a:cubicBezTo>
                  <a:cubicBezTo>
                    <a:pt x="16406" y="5041"/>
                    <a:pt x="18353" y="5041"/>
                    <a:pt x="18855" y="5943"/>
                  </a:cubicBezTo>
                  <a:cubicBezTo>
                    <a:pt x="19294" y="7542"/>
                    <a:pt x="17850" y="9099"/>
                    <a:pt x="17850" y="10657"/>
                  </a:cubicBezTo>
                  <a:cubicBezTo>
                    <a:pt x="17411" y="10657"/>
                    <a:pt x="17411" y="10657"/>
                    <a:pt x="17411" y="10657"/>
                  </a:cubicBezTo>
                  <a:cubicBezTo>
                    <a:pt x="20299" y="12542"/>
                    <a:pt x="20299" y="12542"/>
                    <a:pt x="20299" y="12542"/>
                  </a:cubicBezTo>
                  <a:cubicBezTo>
                    <a:pt x="20299" y="13485"/>
                    <a:pt x="20739" y="14099"/>
                    <a:pt x="20739" y="15042"/>
                  </a:cubicBezTo>
                  <a:cubicBezTo>
                    <a:pt x="20739" y="16600"/>
                    <a:pt x="21241" y="18157"/>
                    <a:pt x="20739" y="19715"/>
                  </a:cubicBezTo>
                  <a:cubicBezTo>
                    <a:pt x="20739" y="20043"/>
                    <a:pt x="19294" y="19428"/>
                    <a:pt x="18855" y="19715"/>
                  </a:cubicBezTo>
                  <a:cubicBezTo>
                    <a:pt x="17850" y="20043"/>
                    <a:pt x="17850" y="20985"/>
                    <a:pt x="17411" y="21600"/>
                  </a:cubicBezTo>
                  <a:cubicBezTo>
                    <a:pt x="13581" y="20985"/>
                    <a:pt x="10190" y="20370"/>
                    <a:pt x="6862" y="20043"/>
                  </a:cubicBezTo>
                  <a:cubicBezTo>
                    <a:pt x="5920" y="20043"/>
                    <a:pt x="5418" y="20657"/>
                    <a:pt x="4915" y="20657"/>
                  </a:cubicBezTo>
                  <a:cubicBezTo>
                    <a:pt x="3471" y="20657"/>
                    <a:pt x="2529" y="20657"/>
                    <a:pt x="1085" y="20657"/>
                  </a:cubicBezTo>
                  <a:cubicBezTo>
                    <a:pt x="1588" y="20043"/>
                    <a:pt x="2027" y="19428"/>
                    <a:pt x="1588" y="18813"/>
                  </a:cubicBezTo>
                  <a:cubicBezTo>
                    <a:pt x="1588" y="17870"/>
                    <a:pt x="143" y="17542"/>
                    <a:pt x="143" y="16928"/>
                  </a:cubicBezTo>
                  <a:cubicBezTo>
                    <a:pt x="-359" y="15985"/>
                    <a:pt x="583" y="15370"/>
                    <a:pt x="1085" y="14714"/>
                  </a:cubicBezTo>
                  <a:cubicBezTo>
                    <a:pt x="2027" y="15042"/>
                    <a:pt x="3032" y="15985"/>
                    <a:pt x="3974" y="15657"/>
                  </a:cubicBezTo>
                  <a:cubicBezTo>
                    <a:pt x="5418" y="15370"/>
                    <a:pt x="5920" y="14427"/>
                    <a:pt x="6862" y="13485"/>
                  </a:cubicBezTo>
                  <a:cubicBezTo>
                    <a:pt x="6862" y="13157"/>
                    <a:pt x="5920" y="12542"/>
                    <a:pt x="5920" y="12214"/>
                  </a:cubicBezTo>
                  <a:cubicBezTo>
                    <a:pt x="6360" y="11599"/>
                    <a:pt x="6862" y="11271"/>
                    <a:pt x="7804" y="10657"/>
                  </a:cubicBezTo>
                  <a:cubicBezTo>
                    <a:pt x="8746" y="9714"/>
                    <a:pt x="9248" y="9099"/>
                    <a:pt x="10190" y="8156"/>
                  </a:cubicBezTo>
                  <a:cubicBezTo>
                    <a:pt x="11194" y="7542"/>
                    <a:pt x="13078" y="6886"/>
                    <a:pt x="13078" y="6271"/>
                  </a:cubicBezTo>
                  <a:cubicBezTo>
                    <a:pt x="13078" y="4713"/>
                    <a:pt x="11634" y="3443"/>
                    <a:pt x="10692" y="188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4" name="Shape 2435">
              <a:extLst>
                <a:ext uri="{FF2B5EF4-FFF2-40B4-BE49-F238E27FC236}">
                  <a16:creationId xmlns:a16="http://schemas.microsoft.com/office/drawing/2014/main" id="{20E59E38-8297-8201-B592-AB9C94C9ADCE}"/>
                </a:ext>
              </a:extLst>
            </p:cNvPr>
            <p:cNvSpPr/>
            <p:nvPr/>
          </p:nvSpPr>
          <p:spPr>
            <a:xfrm>
              <a:off x="3897534" y="7337697"/>
              <a:ext cx="169407" cy="166293"/>
            </a:xfrm>
            <a:custGeom>
              <a:avLst/>
              <a:gdLst/>
              <a:ahLst/>
              <a:cxnLst>
                <a:cxn ang="0">
                  <a:pos x="wd2" y="hd2"/>
                </a:cxn>
                <a:cxn ang="5400000">
                  <a:pos x="wd2" y="hd2"/>
                </a:cxn>
                <a:cxn ang="10800000">
                  <a:pos x="wd2" y="hd2"/>
                </a:cxn>
                <a:cxn ang="16200000">
                  <a:pos x="wd2" y="hd2"/>
                </a:cxn>
              </a:cxnLst>
              <a:rect l="0" t="0" r="r" b="b"/>
              <a:pathLst>
                <a:path w="21262" h="21052" extrusionOk="0">
                  <a:moveTo>
                    <a:pt x="13542" y="8186"/>
                  </a:moveTo>
                  <a:cubicBezTo>
                    <a:pt x="13205" y="8486"/>
                    <a:pt x="13205" y="9471"/>
                    <a:pt x="12867" y="9471"/>
                  </a:cubicBezTo>
                  <a:cubicBezTo>
                    <a:pt x="11602" y="8829"/>
                    <a:pt x="9998" y="8186"/>
                    <a:pt x="9323" y="6857"/>
                  </a:cubicBezTo>
                  <a:cubicBezTo>
                    <a:pt x="8691" y="5229"/>
                    <a:pt x="10294" y="3257"/>
                    <a:pt x="10294" y="1286"/>
                  </a:cubicBezTo>
                  <a:cubicBezTo>
                    <a:pt x="9998" y="643"/>
                    <a:pt x="9323" y="0"/>
                    <a:pt x="8395" y="0"/>
                  </a:cubicBezTo>
                  <a:cubicBezTo>
                    <a:pt x="7425" y="0"/>
                    <a:pt x="6455" y="643"/>
                    <a:pt x="5147" y="1286"/>
                  </a:cubicBezTo>
                  <a:cubicBezTo>
                    <a:pt x="4514" y="1286"/>
                    <a:pt x="3881" y="1929"/>
                    <a:pt x="3206" y="2271"/>
                  </a:cubicBezTo>
                  <a:cubicBezTo>
                    <a:pt x="2236" y="2614"/>
                    <a:pt x="1266" y="3257"/>
                    <a:pt x="295" y="3600"/>
                  </a:cubicBezTo>
                  <a:cubicBezTo>
                    <a:pt x="295" y="4243"/>
                    <a:pt x="0" y="4886"/>
                    <a:pt x="0" y="5871"/>
                  </a:cubicBezTo>
                  <a:cubicBezTo>
                    <a:pt x="295" y="6557"/>
                    <a:pt x="1603" y="6557"/>
                    <a:pt x="1941" y="7500"/>
                  </a:cubicBezTo>
                  <a:cubicBezTo>
                    <a:pt x="2236" y="9171"/>
                    <a:pt x="1266" y="10800"/>
                    <a:pt x="1266" y="12429"/>
                  </a:cubicBezTo>
                  <a:cubicBezTo>
                    <a:pt x="970" y="12429"/>
                    <a:pt x="970" y="12429"/>
                    <a:pt x="970" y="12429"/>
                  </a:cubicBezTo>
                  <a:cubicBezTo>
                    <a:pt x="2911" y="14400"/>
                    <a:pt x="2911" y="14400"/>
                    <a:pt x="2911" y="14400"/>
                  </a:cubicBezTo>
                  <a:cubicBezTo>
                    <a:pt x="3544" y="13414"/>
                    <a:pt x="3881" y="11786"/>
                    <a:pt x="5147" y="11443"/>
                  </a:cubicBezTo>
                  <a:cubicBezTo>
                    <a:pt x="6117" y="11100"/>
                    <a:pt x="6750" y="12429"/>
                    <a:pt x="7720" y="12729"/>
                  </a:cubicBezTo>
                  <a:cubicBezTo>
                    <a:pt x="8691" y="12729"/>
                    <a:pt x="9323" y="12429"/>
                    <a:pt x="10294" y="12429"/>
                  </a:cubicBezTo>
                  <a:cubicBezTo>
                    <a:pt x="10969" y="12429"/>
                    <a:pt x="11897" y="12086"/>
                    <a:pt x="12234" y="12429"/>
                  </a:cubicBezTo>
                  <a:cubicBezTo>
                    <a:pt x="12572" y="12729"/>
                    <a:pt x="11897" y="13714"/>
                    <a:pt x="12234" y="14057"/>
                  </a:cubicBezTo>
                  <a:cubicBezTo>
                    <a:pt x="12572" y="14400"/>
                    <a:pt x="13542" y="14057"/>
                    <a:pt x="13837" y="14700"/>
                  </a:cubicBezTo>
                  <a:cubicBezTo>
                    <a:pt x="14175" y="15386"/>
                    <a:pt x="14808" y="16671"/>
                    <a:pt x="14175" y="17014"/>
                  </a:cubicBezTo>
                  <a:cubicBezTo>
                    <a:pt x="12867" y="17357"/>
                    <a:pt x="11897" y="15386"/>
                    <a:pt x="10969" y="15686"/>
                  </a:cubicBezTo>
                  <a:cubicBezTo>
                    <a:pt x="10294" y="15686"/>
                    <a:pt x="10294" y="17014"/>
                    <a:pt x="10294" y="17657"/>
                  </a:cubicBezTo>
                  <a:cubicBezTo>
                    <a:pt x="10631" y="18643"/>
                    <a:pt x="11264" y="19629"/>
                    <a:pt x="11602" y="20614"/>
                  </a:cubicBezTo>
                  <a:cubicBezTo>
                    <a:pt x="12867" y="20614"/>
                    <a:pt x="14175" y="21600"/>
                    <a:pt x="15145" y="20614"/>
                  </a:cubicBezTo>
                  <a:cubicBezTo>
                    <a:pt x="16411" y="18986"/>
                    <a:pt x="15441" y="15686"/>
                    <a:pt x="17381" y="14057"/>
                  </a:cubicBezTo>
                  <a:cubicBezTo>
                    <a:pt x="18352" y="13071"/>
                    <a:pt x="19997" y="15686"/>
                    <a:pt x="20925" y="15043"/>
                  </a:cubicBezTo>
                  <a:cubicBezTo>
                    <a:pt x="21600" y="14400"/>
                    <a:pt x="19997" y="13071"/>
                    <a:pt x="19997" y="12086"/>
                  </a:cubicBezTo>
                  <a:cubicBezTo>
                    <a:pt x="20292" y="11786"/>
                    <a:pt x="20925" y="11443"/>
                    <a:pt x="21262" y="11443"/>
                  </a:cubicBezTo>
                  <a:cubicBezTo>
                    <a:pt x="20630" y="10457"/>
                    <a:pt x="20292" y="9814"/>
                    <a:pt x="19322" y="9171"/>
                  </a:cubicBezTo>
                  <a:cubicBezTo>
                    <a:pt x="18352" y="8486"/>
                    <a:pt x="16748" y="8486"/>
                    <a:pt x="15441" y="8186"/>
                  </a:cubicBezTo>
                  <a:cubicBezTo>
                    <a:pt x="14808" y="8186"/>
                    <a:pt x="14175" y="8186"/>
                    <a:pt x="13542" y="81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5" name="Shape 2436">
              <a:extLst>
                <a:ext uri="{FF2B5EF4-FFF2-40B4-BE49-F238E27FC236}">
                  <a16:creationId xmlns:a16="http://schemas.microsoft.com/office/drawing/2014/main" id="{58DF32AB-48DE-58E1-452C-C16F1904EB33}"/>
                </a:ext>
              </a:extLst>
            </p:cNvPr>
            <p:cNvSpPr/>
            <p:nvPr/>
          </p:nvSpPr>
          <p:spPr>
            <a:xfrm>
              <a:off x="3997769" y="7370402"/>
              <a:ext cx="85238" cy="56157"/>
            </a:xfrm>
            <a:custGeom>
              <a:avLst/>
              <a:gdLst/>
              <a:ahLst/>
              <a:cxnLst>
                <a:cxn ang="0">
                  <a:pos x="wd2" y="hd2"/>
                </a:cxn>
                <a:cxn ang="5400000">
                  <a:pos x="wd2" y="hd2"/>
                </a:cxn>
                <a:cxn ang="10800000">
                  <a:pos x="wd2" y="hd2"/>
                </a:cxn>
                <a:cxn ang="16200000">
                  <a:pos x="wd2" y="hd2"/>
                </a:cxn>
              </a:cxnLst>
              <a:rect l="0" t="0" r="r" b="b"/>
              <a:pathLst>
                <a:path w="21074" h="21600" extrusionOk="0">
                  <a:moveTo>
                    <a:pt x="17252" y="21600"/>
                  </a:moveTo>
                  <a:cubicBezTo>
                    <a:pt x="16006" y="18643"/>
                    <a:pt x="15342" y="16714"/>
                    <a:pt x="13431" y="14786"/>
                  </a:cubicBezTo>
                  <a:cubicBezTo>
                    <a:pt x="11520" y="12729"/>
                    <a:pt x="8363" y="12729"/>
                    <a:pt x="5788" y="11829"/>
                  </a:cubicBezTo>
                  <a:cubicBezTo>
                    <a:pt x="4542" y="11829"/>
                    <a:pt x="3296" y="11829"/>
                    <a:pt x="2049" y="11829"/>
                  </a:cubicBezTo>
                  <a:cubicBezTo>
                    <a:pt x="1385" y="9771"/>
                    <a:pt x="-526" y="6943"/>
                    <a:pt x="139" y="3986"/>
                  </a:cubicBezTo>
                  <a:cubicBezTo>
                    <a:pt x="139" y="1929"/>
                    <a:pt x="1385" y="0"/>
                    <a:pt x="2631" y="0"/>
                  </a:cubicBezTo>
                  <a:cubicBezTo>
                    <a:pt x="4542" y="0"/>
                    <a:pt x="6452" y="2957"/>
                    <a:pt x="8363" y="2957"/>
                  </a:cubicBezTo>
                  <a:cubicBezTo>
                    <a:pt x="9028" y="2957"/>
                    <a:pt x="10274" y="1929"/>
                    <a:pt x="10939" y="1929"/>
                  </a:cubicBezTo>
                  <a:cubicBezTo>
                    <a:pt x="12849" y="2957"/>
                    <a:pt x="14760" y="4886"/>
                    <a:pt x="16006" y="7843"/>
                  </a:cubicBezTo>
                  <a:cubicBezTo>
                    <a:pt x="16588" y="8871"/>
                    <a:pt x="15342" y="11829"/>
                    <a:pt x="16588" y="12729"/>
                  </a:cubicBezTo>
                  <a:cubicBezTo>
                    <a:pt x="17917" y="14786"/>
                    <a:pt x="19163" y="13757"/>
                    <a:pt x="21074" y="13757"/>
                  </a:cubicBezTo>
                  <a:cubicBezTo>
                    <a:pt x="19828" y="21600"/>
                    <a:pt x="19828" y="21600"/>
                    <a:pt x="19828" y="21600"/>
                  </a:cubicBezTo>
                  <a:cubicBezTo>
                    <a:pt x="17252" y="21600"/>
                    <a:pt x="17252" y="21600"/>
                    <a:pt x="17252"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6" name="Shape 2437">
              <a:extLst>
                <a:ext uri="{FF2B5EF4-FFF2-40B4-BE49-F238E27FC236}">
                  <a16:creationId xmlns:a16="http://schemas.microsoft.com/office/drawing/2014/main" id="{65E6CCAE-8DCE-D571-386A-47EBA48D0FC1}"/>
                </a:ext>
              </a:extLst>
            </p:cNvPr>
            <p:cNvSpPr/>
            <p:nvPr/>
          </p:nvSpPr>
          <p:spPr>
            <a:xfrm>
              <a:off x="3904966" y="7427659"/>
              <a:ext cx="108235" cy="116335"/>
            </a:xfrm>
            <a:custGeom>
              <a:avLst/>
              <a:gdLst/>
              <a:ahLst/>
              <a:cxnLst>
                <a:cxn ang="0">
                  <a:pos x="wd2" y="hd2"/>
                </a:cxn>
                <a:cxn ang="5400000">
                  <a:pos x="wd2" y="hd2"/>
                </a:cxn>
                <a:cxn ang="10800000">
                  <a:pos x="wd2" y="hd2"/>
                </a:cxn>
                <a:cxn ang="16200000">
                  <a:pos x="wd2" y="hd2"/>
                </a:cxn>
              </a:cxnLst>
              <a:rect l="0" t="0" r="r" b="b"/>
              <a:pathLst>
                <a:path w="21034" h="21189" extrusionOk="0">
                  <a:moveTo>
                    <a:pt x="3029" y="4314"/>
                  </a:moveTo>
                  <a:cubicBezTo>
                    <a:pt x="4017" y="2903"/>
                    <a:pt x="4544" y="571"/>
                    <a:pt x="6520" y="80"/>
                  </a:cubicBezTo>
                  <a:cubicBezTo>
                    <a:pt x="8034" y="-411"/>
                    <a:pt x="9022" y="1491"/>
                    <a:pt x="10537" y="1921"/>
                  </a:cubicBezTo>
                  <a:cubicBezTo>
                    <a:pt x="12051" y="1921"/>
                    <a:pt x="13039" y="1491"/>
                    <a:pt x="14554" y="1491"/>
                  </a:cubicBezTo>
                  <a:cubicBezTo>
                    <a:pt x="15607" y="1491"/>
                    <a:pt x="17056" y="1000"/>
                    <a:pt x="17583" y="1491"/>
                  </a:cubicBezTo>
                  <a:cubicBezTo>
                    <a:pt x="18110" y="1921"/>
                    <a:pt x="17056" y="3332"/>
                    <a:pt x="17583" y="3823"/>
                  </a:cubicBezTo>
                  <a:cubicBezTo>
                    <a:pt x="18110" y="4314"/>
                    <a:pt x="19624" y="3823"/>
                    <a:pt x="20085" y="4744"/>
                  </a:cubicBezTo>
                  <a:cubicBezTo>
                    <a:pt x="20612" y="5725"/>
                    <a:pt x="21600" y="7566"/>
                    <a:pt x="20612" y="8057"/>
                  </a:cubicBezTo>
                  <a:cubicBezTo>
                    <a:pt x="18571" y="8548"/>
                    <a:pt x="17056" y="5725"/>
                    <a:pt x="15607" y="6155"/>
                  </a:cubicBezTo>
                  <a:cubicBezTo>
                    <a:pt x="14554" y="6155"/>
                    <a:pt x="14554" y="8057"/>
                    <a:pt x="14554" y="8978"/>
                  </a:cubicBezTo>
                  <a:cubicBezTo>
                    <a:pt x="15080" y="10389"/>
                    <a:pt x="16068" y="11800"/>
                    <a:pt x="16595" y="13212"/>
                  </a:cubicBezTo>
                  <a:cubicBezTo>
                    <a:pt x="14554" y="14132"/>
                    <a:pt x="12051" y="14623"/>
                    <a:pt x="10537" y="16034"/>
                  </a:cubicBezTo>
                  <a:cubicBezTo>
                    <a:pt x="8561" y="17446"/>
                    <a:pt x="7046" y="19287"/>
                    <a:pt x="5532" y="21189"/>
                  </a:cubicBezTo>
                  <a:cubicBezTo>
                    <a:pt x="0" y="17875"/>
                    <a:pt x="0" y="17875"/>
                    <a:pt x="0" y="17875"/>
                  </a:cubicBezTo>
                  <a:cubicBezTo>
                    <a:pt x="461" y="16955"/>
                    <a:pt x="461" y="15544"/>
                    <a:pt x="1515" y="15053"/>
                  </a:cubicBezTo>
                  <a:cubicBezTo>
                    <a:pt x="1976" y="14623"/>
                    <a:pt x="3490" y="15544"/>
                    <a:pt x="3490" y="15053"/>
                  </a:cubicBezTo>
                  <a:cubicBezTo>
                    <a:pt x="4017" y="12721"/>
                    <a:pt x="3490" y="10389"/>
                    <a:pt x="3490" y="8057"/>
                  </a:cubicBezTo>
                  <a:cubicBezTo>
                    <a:pt x="3490" y="6646"/>
                    <a:pt x="3029" y="5725"/>
                    <a:pt x="3029" y="431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7" name="Shape 2438">
              <a:extLst>
                <a:ext uri="{FF2B5EF4-FFF2-40B4-BE49-F238E27FC236}">
                  <a16:creationId xmlns:a16="http://schemas.microsoft.com/office/drawing/2014/main" id="{163687E4-0C24-18AF-845C-E5F82C649F00}"/>
                </a:ext>
              </a:extLst>
            </p:cNvPr>
            <p:cNvSpPr/>
            <p:nvPr/>
          </p:nvSpPr>
          <p:spPr>
            <a:xfrm>
              <a:off x="4077396" y="7244043"/>
              <a:ext cx="441547" cy="335103"/>
            </a:xfrm>
            <a:custGeom>
              <a:avLst/>
              <a:gdLst/>
              <a:ahLst/>
              <a:cxnLst>
                <a:cxn ang="0">
                  <a:pos x="wd2" y="hd2"/>
                </a:cxn>
                <a:cxn ang="5400000">
                  <a:pos x="wd2" y="hd2"/>
                </a:cxn>
                <a:cxn ang="10800000">
                  <a:pos x="wd2" y="hd2"/>
                </a:cxn>
                <a:cxn ang="16200000">
                  <a:pos x="wd2" y="hd2"/>
                </a:cxn>
              </a:cxnLst>
              <a:rect l="0" t="0" r="r" b="b"/>
              <a:pathLst>
                <a:path w="21403" h="21471" extrusionOk="0">
                  <a:moveTo>
                    <a:pt x="0" y="11707"/>
                  </a:moveTo>
                  <a:cubicBezTo>
                    <a:pt x="245" y="10390"/>
                    <a:pt x="245" y="10390"/>
                    <a:pt x="245" y="10390"/>
                  </a:cubicBezTo>
                  <a:cubicBezTo>
                    <a:pt x="360" y="10066"/>
                    <a:pt x="491" y="9569"/>
                    <a:pt x="491" y="9245"/>
                  </a:cubicBezTo>
                  <a:cubicBezTo>
                    <a:pt x="491" y="8748"/>
                    <a:pt x="245" y="8251"/>
                    <a:pt x="245" y="7754"/>
                  </a:cubicBezTo>
                  <a:cubicBezTo>
                    <a:pt x="245" y="7409"/>
                    <a:pt x="621" y="7085"/>
                    <a:pt x="621" y="6761"/>
                  </a:cubicBezTo>
                  <a:cubicBezTo>
                    <a:pt x="621" y="6091"/>
                    <a:pt x="245" y="5443"/>
                    <a:pt x="114" y="4774"/>
                  </a:cubicBezTo>
                  <a:cubicBezTo>
                    <a:pt x="245" y="4277"/>
                    <a:pt x="114" y="3456"/>
                    <a:pt x="621" y="3305"/>
                  </a:cubicBezTo>
                  <a:cubicBezTo>
                    <a:pt x="867" y="3132"/>
                    <a:pt x="997" y="3953"/>
                    <a:pt x="1243" y="4126"/>
                  </a:cubicBezTo>
                  <a:cubicBezTo>
                    <a:pt x="1864" y="4277"/>
                    <a:pt x="2485" y="4126"/>
                    <a:pt x="2992" y="3953"/>
                  </a:cubicBezTo>
                  <a:cubicBezTo>
                    <a:pt x="3614" y="3780"/>
                    <a:pt x="4235" y="3132"/>
                    <a:pt x="4856" y="2808"/>
                  </a:cubicBezTo>
                  <a:cubicBezTo>
                    <a:pt x="5494" y="2635"/>
                    <a:pt x="5985" y="2808"/>
                    <a:pt x="6491" y="2635"/>
                  </a:cubicBezTo>
                  <a:cubicBezTo>
                    <a:pt x="7113" y="2311"/>
                    <a:pt x="7603" y="1642"/>
                    <a:pt x="8241" y="1145"/>
                  </a:cubicBezTo>
                  <a:cubicBezTo>
                    <a:pt x="8241" y="1145"/>
                    <a:pt x="8617" y="151"/>
                    <a:pt x="8732" y="151"/>
                  </a:cubicBezTo>
                  <a:cubicBezTo>
                    <a:pt x="8993" y="151"/>
                    <a:pt x="11364" y="0"/>
                    <a:pt x="11364" y="0"/>
                  </a:cubicBezTo>
                  <a:cubicBezTo>
                    <a:pt x="11724" y="151"/>
                    <a:pt x="12100" y="324"/>
                    <a:pt x="12476" y="497"/>
                  </a:cubicBezTo>
                  <a:cubicBezTo>
                    <a:pt x="12476" y="1145"/>
                    <a:pt x="12231" y="1814"/>
                    <a:pt x="12476" y="2311"/>
                  </a:cubicBezTo>
                  <a:cubicBezTo>
                    <a:pt x="12607" y="2635"/>
                    <a:pt x="13114" y="2311"/>
                    <a:pt x="13359" y="2462"/>
                  </a:cubicBezTo>
                  <a:cubicBezTo>
                    <a:pt x="13850" y="2959"/>
                    <a:pt x="14111" y="4277"/>
                    <a:pt x="14732" y="4450"/>
                  </a:cubicBezTo>
                  <a:cubicBezTo>
                    <a:pt x="15485" y="4622"/>
                    <a:pt x="16106" y="3456"/>
                    <a:pt x="16858" y="3305"/>
                  </a:cubicBezTo>
                  <a:cubicBezTo>
                    <a:pt x="17234" y="3132"/>
                    <a:pt x="17610" y="3456"/>
                    <a:pt x="17986" y="3305"/>
                  </a:cubicBezTo>
                  <a:cubicBezTo>
                    <a:pt x="18232" y="3305"/>
                    <a:pt x="18477" y="2808"/>
                    <a:pt x="18722" y="2959"/>
                  </a:cubicBezTo>
                  <a:cubicBezTo>
                    <a:pt x="19098" y="3305"/>
                    <a:pt x="19344" y="3953"/>
                    <a:pt x="19474" y="4450"/>
                  </a:cubicBezTo>
                  <a:cubicBezTo>
                    <a:pt x="19605" y="4774"/>
                    <a:pt x="19344" y="4946"/>
                    <a:pt x="19474" y="5270"/>
                  </a:cubicBezTo>
                  <a:cubicBezTo>
                    <a:pt x="19850" y="5767"/>
                    <a:pt x="20341" y="6264"/>
                    <a:pt x="20717" y="6761"/>
                  </a:cubicBezTo>
                  <a:cubicBezTo>
                    <a:pt x="20603" y="6761"/>
                    <a:pt x="20603" y="6761"/>
                    <a:pt x="20603" y="6761"/>
                  </a:cubicBezTo>
                  <a:cubicBezTo>
                    <a:pt x="20848" y="7085"/>
                    <a:pt x="21600" y="7582"/>
                    <a:pt x="21355" y="7906"/>
                  </a:cubicBezTo>
                  <a:cubicBezTo>
                    <a:pt x="21093" y="8575"/>
                    <a:pt x="20472" y="8251"/>
                    <a:pt x="19981" y="8251"/>
                  </a:cubicBezTo>
                  <a:cubicBezTo>
                    <a:pt x="19605" y="8251"/>
                    <a:pt x="19098" y="8078"/>
                    <a:pt x="18853" y="8402"/>
                  </a:cubicBezTo>
                  <a:cubicBezTo>
                    <a:pt x="18477" y="8748"/>
                    <a:pt x="18608" y="9396"/>
                    <a:pt x="18608" y="9893"/>
                  </a:cubicBezTo>
                  <a:cubicBezTo>
                    <a:pt x="18477" y="10217"/>
                    <a:pt x="18477" y="10714"/>
                    <a:pt x="18477" y="11038"/>
                  </a:cubicBezTo>
                  <a:cubicBezTo>
                    <a:pt x="18232" y="11534"/>
                    <a:pt x="18232" y="12204"/>
                    <a:pt x="17986" y="12528"/>
                  </a:cubicBezTo>
                  <a:cubicBezTo>
                    <a:pt x="17725" y="13025"/>
                    <a:pt x="17103" y="13025"/>
                    <a:pt x="16858" y="13522"/>
                  </a:cubicBezTo>
                  <a:cubicBezTo>
                    <a:pt x="16727" y="14191"/>
                    <a:pt x="16973" y="14839"/>
                    <a:pt x="16858" y="15509"/>
                  </a:cubicBezTo>
                  <a:cubicBezTo>
                    <a:pt x="16858" y="15833"/>
                    <a:pt x="16597" y="16006"/>
                    <a:pt x="16597" y="16157"/>
                  </a:cubicBezTo>
                  <a:cubicBezTo>
                    <a:pt x="16482" y="16826"/>
                    <a:pt x="16597" y="17647"/>
                    <a:pt x="16482" y="18295"/>
                  </a:cubicBezTo>
                  <a:cubicBezTo>
                    <a:pt x="16351" y="18792"/>
                    <a:pt x="16106" y="18965"/>
                    <a:pt x="15975" y="19289"/>
                  </a:cubicBezTo>
                  <a:cubicBezTo>
                    <a:pt x="15730" y="19462"/>
                    <a:pt x="15354" y="19462"/>
                    <a:pt x="15223" y="19786"/>
                  </a:cubicBezTo>
                  <a:cubicBezTo>
                    <a:pt x="14978" y="20131"/>
                    <a:pt x="15223" y="20952"/>
                    <a:pt x="14847" y="21276"/>
                  </a:cubicBezTo>
                  <a:cubicBezTo>
                    <a:pt x="14732" y="21449"/>
                    <a:pt x="14356" y="21276"/>
                    <a:pt x="13980" y="21276"/>
                  </a:cubicBezTo>
                  <a:cubicBezTo>
                    <a:pt x="13850" y="20952"/>
                    <a:pt x="13850" y="20455"/>
                    <a:pt x="13604" y="20282"/>
                  </a:cubicBezTo>
                  <a:cubicBezTo>
                    <a:pt x="13490" y="20282"/>
                    <a:pt x="13359" y="20952"/>
                    <a:pt x="13228" y="20779"/>
                  </a:cubicBezTo>
                  <a:cubicBezTo>
                    <a:pt x="12738" y="20282"/>
                    <a:pt x="12852" y="18792"/>
                    <a:pt x="12231" y="18792"/>
                  </a:cubicBezTo>
                  <a:cubicBezTo>
                    <a:pt x="11479" y="18641"/>
                    <a:pt x="11233" y="19958"/>
                    <a:pt x="10726" y="20455"/>
                  </a:cubicBezTo>
                  <a:cubicBezTo>
                    <a:pt x="10350" y="20952"/>
                    <a:pt x="10105" y="21600"/>
                    <a:pt x="9615" y="21449"/>
                  </a:cubicBezTo>
                  <a:cubicBezTo>
                    <a:pt x="9238" y="21449"/>
                    <a:pt x="8993" y="20779"/>
                    <a:pt x="8732" y="20282"/>
                  </a:cubicBezTo>
                  <a:cubicBezTo>
                    <a:pt x="8486" y="19786"/>
                    <a:pt x="8486" y="18965"/>
                    <a:pt x="8110" y="18641"/>
                  </a:cubicBezTo>
                  <a:cubicBezTo>
                    <a:pt x="7865" y="18468"/>
                    <a:pt x="7358" y="19289"/>
                    <a:pt x="7113" y="18965"/>
                  </a:cubicBezTo>
                  <a:cubicBezTo>
                    <a:pt x="6737" y="18468"/>
                    <a:pt x="7113" y="16978"/>
                    <a:pt x="6491" y="16654"/>
                  </a:cubicBezTo>
                  <a:cubicBezTo>
                    <a:pt x="5985" y="16330"/>
                    <a:pt x="5608" y="17474"/>
                    <a:pt x="5232" y="17971"/>
                  </a:cubicBezTo>
                  <a:cubicBezTo>
                    <a:pt x="4987" y="18468"/>
                    <a:pt x="4856" y="19289"/>
                    <a:pt x="4497" y="19462"/>
                  </a:cubicBezTo>
                  <a:cubicBezTo>
                    <a:pt x="4121" y="19462"/>
                    <a:pt x="4366" y="18641"/>
                    <a:pt x="4497" y="18295"/>
                  </a:cubicBezTo>
                  <a:cubicBezTo>
                    <a:pt x="4497" y="17474"/>
                    <a:pt x="4987" y="16826"/>
                    <a:pt x="4742" y="16157"/>
                  </a:cubicBezTo>
                  <a:cubicBezTo>
                    <a:pt x="4497" y="15336"/>
                    <a:pt x="3614" y="15185"/>
                    <a:pt x="2992" y="14688"/>
                  </a:cubicBezTo>
                  <a:cubicBezTo>
                    <a:pt x="2485" y="14191"/>
                    <a:pt x="1864" y="13846"/>
                    <a:pt x="1357" y="13198"/>
                  </a:cubicBezTo>
                  <a:cubicBezTo>
                    <a:pt x="1243" y="13025"/>
                    <a:pt x="1243" y="12701"/>
                    <a:pt x="1112" y="12528"/>
                  </a:cubicBezTo>
                  <a:cubicBezTo>
                    <a:pt x="867" y="12204"/>
                    <a:pt x="360" y="12031"/>
                    <a:pt x="0" y="1170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8" name="Shape 2439">
              <a:extLst>
                <a:ext uri="{FF2B5EF4-FFF2-40B4-BE49-F238E27FC236}">
                  <a16:creationId xmlns:a16="http://schemas.microsoft.com/office/drawing/2014/main" id="{A0F43AD0-AA97-4F3D-CAE1-05A91BA2EE22}"/>
                </a:ext>
              </a:extLst>
            </p:cNvPr>
            <p:cNvSpPr/>
            <p:nvPr/>
          </p:nvSpPr>
          <p:spPr>
            <a:xfrm>
              <a:off x="3897533" y="7426891"/>
              <a:ext cx="473848" cy="332655"/>
            </a:xfrm>
            <a:custGeom>
              <a:avLst/>
              <a:gdLst/>
              <a:ahLst/>
              <a:cxnLst>
                <a:cxn ang="0">
                  <a:pos x="wd2" y="hd2"/>
                </a:cxn>
                <a:cxn ang="5400000">
                  <a:pos x="wd2" y="hd2"/>
                </a:cxn>
                <a:cxn ang="10800000">
                  <a:pos x="wd2" y="hd2"/>
                </a:cxn>
                <a:cxn ang="16200000">
                  <a:pos x="wd2" y="hd2"/>
                </a:cxn>
              </a:cxnLst>
              <a:rect l="0" t="0" r="r" b="b"/>
              <a:pathLst>
                <a:path w="21600" h="21600" extrusionOk="0">
                  <a:moveTo>
                    <a:pt x="4228" y="4693"/>
                  </a:moveTo>
                  <a:cubicBezTo>
                    <a:pt x="4689" y="4693"/>
                    <a:pt x="5166" y="5197"/>
                    <a:pt x="5519" y="4693"/>
                  </a:cubicBezTo>
                  <a:cubicBezTo>
                    <a:pt x="5980" y="3859"/>
                    <a:pt x="5627" y="2171"/>
                    <a:pt x="6334" y="1338"/>
                  </a:cubicBezTo>
                  <a:cubicBezTo>
                    <a:pt x="6688" y="833"/>
                    <a:pt x="7287" y="2171"/>
                    <a:pt x="7625" y="1842"/>
                  </a:cubicBezTo>
                  <a:cubicBezTo>
                    <a:pt x="7871" y="1513"/>
                    <a:pt x="7287" y="833"/>
                    <a:pt x="7287" y="329"/>
                  </a:cubicBezTo>
                  <a:cubicBezTo>
                    <a:pt x="7395" y="175"/>
                    <a:pt x="7625" y="0"/>
                    <a:pt x="7748" y="0"/>
                  </a:cubicBezTo>
                  <a:cubicBezTo>
                    <a:pt x="8225" y="0"/>
                    <a:pt x="8225" y="0"/>
                    <a:pt x="8225" y="0"/>
                  </a:cubicBezTo>
                  <a:cubicBezTo>
                    <a:pt x="8563" y="329"/>
                    <a:pt x="9040" y="504"/>
                    <a:pt x="9270" y="833"/>
                  </a:cubicBezTo>
                  <a:cubicBezTo>
                    <a:pt x="9393" y="1009"/>
                    <a:pt x="9393" y="1338"/>
                    <a:pt x="9501" y="1513"/>
                  </a:cubicBezTo>
                  <a:cubicBezTo>
                    <a:pt x="9978" y="2171"/>
                    <a:pt x="10562" y="2522"/>
                    <a:pt x="11038" y="3026"/>
                  </a:cubicBezTo>
                  <a:cubicBezTo>
                    <a:pt x="11622" y="3531"/>
                    <a:pt x="12453" y="3684"/>
                    <a:pt x="12683" y="4517"/>
                  </a:cubicBezTo>
                  <a:cubicBezTo>
                    <a:pt x="12914" y="5197"/>
                    <a:pt x="12453" y="5855"/>
                    <a:pt x="12453" y="6688"/>
                  </a:cubicBezTo>
                  <a:cubicBezTo>
                    <a:pt x="12330" y="7039"/>
                    <a:pt x="12099" y="7872"/>
                    <a:pt x="12453" y="7872"/>
                  </a:cubicBezTo>
                  <a:cubicBezTo>
                    <a:pt x="12791" y="7697"/>
                    <a:pt x="12914" y="6864"/>
                    <a:pt x="13144" y="6359"/>
                  </a:cubicBezTo>
                  <a:cubicBezTo>
                    <a:pt x="13498" y="5855"/>
                    <a:pt x="13852" y="4693"/>
                    <a:pt x="14328" y="5022"/>
                  </a:cubicBezTo>
                  <a:cubicBezTo>
                    <a:pt x="14912" y="5351"/>
                    <a:pt x="14559" y="6864"/>
                    <a:pt x="14912" y="7368"/>
                  </a:cubicBezTo>
                  <a:cubicBezTo>
                    <a:pt x="15143" y="7697"/>
                    <a:pt x="15620" y="6864"/>
                    <a:pt x="15850" y="7039"/>
                  </a:cubicBezTo>
                  <a:cubicBezTo>
                    <a:pt x="16204" y="7368"/>
                    <a:pt x="16204" y="8201"/>
                    <a:pt x="16434" y="8706"/>
                  </a:cubicBezTo>
                  <a:cubicBezTo>
                    <a:pt x="16680" y="9210"/>
                    <a:pt x="16911" y="9890"/>
                    <a:pt x="17265" y="9890"/>
                  </a:cubicBezTo>
                  <a:cubicBezTo>
                    <a:pt x="17726" y="10043"/>
                    <a:pt x="17956" y="9386"/>
                    <a:pt x="18310" y="8881"/>
                  </a:cubicBezTo>
                  <a:cubicBezTo>
                    <a:pt x="18787" y="8377"/>
                    <a:pt x="19017" y="7039"/>
                    <a:pt x="19724" y="7193"/>
                  </a:cubicBezTo>
                  <a:cubicBezTo>
                    <a:pt x="20309" y="7193"/>
                    <a:pt x="20201" y="8706"/>
                    <a:pt x="20662" y="9210"/>
                  </a:cubicBezTo>
                  <a:cubicBezTo>
                    <a:pt x="20785" y="9386"/>
                    <a:pt x="20908" y="8706"/>
                    <a:pt x="21016" y="8706"/>
                  </a:cubicBezTo>
                  <a:cubicBezTo>
                    <a:pt x="21246" y="8881"/>
                    <a:pt x="21246" y="9386"/>
                    <a:pt x="21369" y="9715"/>
                  </a:cubicBezTo>
                  <a:cubicBezTo>
                    <a:pt x="21492" y="10394"/>
                    <a:pt x="21600" y="11052"/>
                    <a:pt x="21600" y="11885"/>
                  </a:cubicBezTo>
                  <a:cubicBezTo>
                    <a:pt x="21600" y="12565"/>
                    <a:pt x="21369" y="13223"/>
                    <a:pt x="21246" y="13903"/>
                  </a:cubicBezTo>
                  <a:cubicBezTo>
                    <a:pt x="21139" y="14232"/>
                    <a:pt x="21246" y="14583"/>
                    <a:pt x="21246" y="15087"/>
                  </a:cubicBezTo>
                  <a:cubicBezTo>
                    <a:pt x="21246" y="15920"/>
                    <a:pt x="21369" y="16929"/>
                    <a:pt x="21492" y="17916"/>
                  </a:cubicBezTo>
                  <a:cubicBezTo>
                    <a:pt x="20785" y="18267"/>
                    <a:pt x="20785" y="18267"/>
                    <a:pt x="20785" y="18267"/>
                  </a:cubicBezTo>
                  <a:cubicBezTo>
                    <a:pt x="20078" y="18267"/>
                    <a:pt x="19371" y="18091"/>
                    <a:pt x="18556" y="18091"/>
                  </a:cubicBezTo>
                  <a:cubicBezTo>
                    <a:pt x="18079" y="18267"/>
                    <a:pt x="17618" y="18596"/>
                    <a:pt x="17142" y="18267"/>
                  </a:cubicBezTo>
                  <a:cubicBezTo>
                    <a:pt x="16788" y="18091"/>
                    <a:pt x="16788" y="17412"/>
                    <a:pt x="16557" y="16929"/>
                  </a:cubicBezTo>
                  <a:cubicBezTo>
                    <a:pt x="16557" y="16929"/>
                    <a:pt x="15727" y="16754"/>
                    <a:pt x="15620" y="16754"/>
                  </a:cubicBezTo>
                  <a:cubicBezTo>
                    <a:pt x="15497" y="16754"/>
                    <a:pt x="14082" y="18267"/>
                    <a:pt x="14082" y="18267"/>
                  </a:cubicBezTo>
                  <a:cubicBezTo>
                    <a:pt x="12683" y="18925"/>
                    <a:pt x="11392" y="19604"/>
                    <a:pt x="9978" y="20262"/>
                  </a:cubicBezTo>
                  <a:cubicBezTo>
                    <a:pt x="8917" y="20613"/>
                    <a:pt x="7871" y="21096"/>
                    <a:pt x="6811" y="21271"/>
                  </a:cubicBezTo>
                  <a:cubicBezTo>
                    <a:pt x="6334" y="21271"/>
                    <a:pt x="5750" y="20942"/>
                    <a:pt x="5273" y="21096"/>
                  </a:cubicBezTo>
                  <a:cubicBezTo>
                    <a:pt x="4689" y="21096"/>
                    <a:pt x="4228" y="21600"/>
                    <a:pt x="3644" y="21600"/>
                  </a:cubicBezTo>
                  <a:cubicBezTo>
                    <a:pt x="3059" y="21600"/>
                    <a:pt x="2583" y="21271"/>
                    <a:pt x="2106" y="21096"/>
                  </a:cubicBezTo>
                  <a:cubicBezTo>
                    <a:pt x="2106" y="20613"/>
                    <a:pt x="2460" y="20109"/>
                    <a:pt x="2352" y="19604"/>
                  </a:cubicBezTo>
                  <a:cubicBezTo>
                    <a:pt x="1999" y="18749"/>
                    <a:pt x="1522" y="17916"/>
                    <a:pt x="938" y="17412"/>
                  </a:cubicBezTo>
                  <a:cubicBezTo>
                    <a:pt x="707" y="17258"/>
                    <a:pt x="354" y="18091"/>
                    <a:pt x="231" y="17762"/>
                  </a:cubicBezTo>
                  <a:cubicBezTo>
                    <a:pt x="0" y="17083"/>
                    <a:pt x="354" y="16249"/>
                    <a:pt x="354" y="15570"/>
                  </a:cubicBezTo>
                  <a:cubicBezTo>
                    <a:pt x="354" y="15087"/>
                    <a:pt x="0" y="14736"/>
                    <a:pt x="0" y="14232"/>
                  </a:cubicBezTo>
                  <a:cubicBezTo>
                    <a:pt x="0" y="13728"/>
                    <a:pt x="108" y="13223"/>
                    <a:pt x="354" y="12719"/>
                  </a:cubicBezTo>
                  <a:cubicBezTo>
                    <a:pt x="584" y="12390"/>
                    <a:pt x="938" y="12061"/>
                    <a:pt x="1291" y="12236"/>
                  </a:cubicBezTo>
                  <a:cubicBezTo>
                    <a:pt x="1645" y="12236"/>
                    <a:pt x="1999" y="12894"/>
                    <a:pt x="2460" y="12894"/>
                  </a:cubicBezTo>
                  <a:cubicBezTo>
                    <a:pt x="2706" y="12894"/>
                    <a:pt x="2583" y="12390"/>
                    <a:pt x="2706" y="12061"/>
                  </a:cubicBezTo>
                  <a:cubicBezTo>
                    <a:pt x="2706" y="11381"/>
                    <a:pt x="2706" y="10548"/>
                    <a:pt x="2583" y="9890"/>
                  </a:cubicBezTo>
                  <a:cubicBezTo>
                    <a:pt x="2352" y="9057"/>
                    <a:pt x="1999" y="8201"/>
                    <a:pt x="1645" y="7544"/>
                  </a:cubicBezTo>
                  <a:cubicBezTo>
                    <a:pt x="1999" y="6864"/>
                    <a:pt x="2352" y="6206"/>
                    <a:pt x="2813" y="5702"/>
                  </a:cubicBezTo>
                  <a:cubicBezTo>
                    <a:pt x="3167" y="5197"/>
                    <a:pt x="3751" y="5022"/>
                    <a:pt x="4228" y="469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19" name="Shape 2440">
              <a:extLst>
                <a:ext uri="{FF2B5EF4-FFF2-40B4-BE49-F238E27FC236}">
                  <a16:creationId xmlns:a16="http://schemas.microsoft.com/office/drawing/2014/main" id="{6903654F-3366-A829-359B-2C81BE24AF3E}"/>
                </a:ext>
              </a:extLst>
            </p:cNvPr>
            <p:cNvSpPr/>
            <p:nvPr/>
          </p:nvSpPr>
          <p:spPr>
            <a:xfrm>
              <a:off x="4459421" y="7346516"/>
              <a:ext cx="181012" cy="101135"/>
            </a:xfrm>
            <a:custGeom>
              <a:avLst/>
              <a:gdLst/>
              <a:ahLst/>
              <a:cxnLst>
                <a:cxn ang="0">
                  <a:pos x="wd2" y="hd2"/>
                </a:cxn>
                <a:cxn ang="5400000">
                  <a:pos x="wd2" y="hd2"/>
                </a:cxn>
                <a:cxn ang="10800000">
                  <a:pos x="wd2" y="hd2"/>
                </a:cxn>
                <a:cxn ang="16200000">
                  <a:pos x="wd2" y="hd2"/>
                </a:cxn>
              </a:cxnLst>
              <a:rect l="0" t="0" r="r" b="b"/>
              <a:pathLst>
                <a:path w="21600" h="20763" extrusionOk="0">
                  <a:moveTo>
                    <a:pt x="12031" y="20763"/>
                  </a:moveTo>
                  <a:cubicBezTo>
                    <a:pt x="12637" y="19728"/>
                    <a:pt x="13243" y="18624"/>
                    <a:pt x="13566" y="17105"/>
                  </a:cubicBezTo>
                  <a:cubicBezTo>
                    <a:pt x="14494" y="11792"/>
                    <a:pt x="15100" y="12344"/>
                    <a:pt x="18491" y="12344"/>
                  </a:cubicBezTo>
                  <a:cubicBezTo>
                    <a:pt x="19420" y="12344"/>
                    <a:pt x="20348" y="12344"/>
                    <a:pt x="21600" y="11792"/>
                  </a:cubicBezTo>
                  <a:cubicBezTo>
                    <a:pt x="19743" y="9169"/>
                    <a:pt x="17280" y="3373"/>
                    <a:pt x="15100" y="1785"/>
                  </a:cubicBezTo>
                  <a:cubicBezTo>
                    <a:pt x="14171" y="1233"/>
                    <a:pt x="13243" y="2820"/>
                    <a:pt x="12031" y="2337"/>
                  </a:cubicBezTo>
                  <a:cubicBezTo>
                    <a:pt x="11426" y="2337"/>
                    <a:pt x="11103" y="198"/>
                    <a:pt x="10497" y="198"/>
                  </a:cubicBezTo>
                  <a:cubicBezTo>
                    <a:pt x="8640" y="-285"/>
                    <a:pt x="7106" y="198"/>
                    <a:pt x="5249" y="750"/>
                  </a:cubicBezTo>
                  <a:cubicBezTo>
                    <a:pt x="5854" y="1785"/>
                    <a:pt x="7711" y="3373"/>
                    <a:pt x="7106" y="4408"/>
                  </a:cubicBezTo>
                  <a:cubicBezTo>
                    <a:pt x="6460" y="6547"/>
                    <a:pt x="4926" y="5512"/>
                    <a:pt x="3714" y="5512"/>
                  </a:cubicBezTo>
                  <a:cubicBezTo>
                    <a:pt x="2786" y="5512"/>
                    <a:pt x="1534" y="4960"/>
                    <a:pt x="929" y="5995"/>
                  </a:cubicBezTo>
                  <a:cubicBezTo>
                    <a:pt x="0" y="7099"/>
                    <a:pt x="323" y="9169"/>
                    <a:pt x="323" y="10757"/>
                  </a:cubicBezTo>
                  <a:cubicBezTo>
                    <a:pt x="0" y="11792"/>
                    <a:pt x="0" y="13379"/>
                    <a:pt x="0" y="14414"/>
                  </a:cubicBezTo>
                  <a:cubicBezTo>
                    <a:pt x="929" y="16001"/>
                    <a:pt x="2140" y="18141"/>
                    <a:pt x="3391" y="18624"/>
                  </a:cubicBezTo>
                  <a:cubicBezTo>
                    <a:pt x="4320" y="19176"/>
                    <a:pt x="4926" y="16001"/>
                    <a:pt x="5854" y="16553"/>
                  </a:cubicBezTo>
                  <a:cubicBezTo>
                    <a:pt x="6783" y="16553"/>
                    <a:pt x="6460" y="19728"/>
                    <a:pt x="7388" y="20211"/>
                  </a:cubicBezTo>
                  <a:cubicBezTo>
                    <a:pt x="9246" y="21315"/>
                    <a:pt x="9851" y="20211"/>
                    <a:pt x="12031" y="2076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0" name="Shape 2441">
              <a:extLst>
                <a:ext uri="{FF2B5EF4-FFF2-40B4-BE49-F238E27FC236}">
                  <a16:creationId xmlns:a16="http://schemas.microsoft.com/office/drawing/2014/main" id="{DE8D327A-BAB6-4620-44A9-00B5C482DF64}"/>
                </a:ext>
              </a:extLst>
            </p:cNvPr>
            <p:cNvSpPr/>
            <p:nvPr/>
          </p:nvSpPr>
          <p:spPr>
            <a:xfrm>
              <a:off x="4668407" y="7329687"/>
              <a:ext cx="111756" cy="62035"/>
            </a:xfrm>
            <a:custGeom>
              <a:avLst/>
              <a:gdLst/>
              <a:ahLst/>
              <a:cxnLst>
                <a:cxn ang="0">
                  <a:pos x="wd2" y="hd2"/>
                </a:cxn>
                <a:cxn ang="5400000">
                  <a:pos x="wd2" y="hd2"/>
                </a:cxn>
                <a:cxn ang="10800000">
                  <a:pos x="wd2" y="hd2"/>
                </a:cxn>
                <a:cxn ang="16200000">
                  <a:pos x="wd2" y="hd2"/>
                </a:cxn>
              </a:cxnLst>
              <a:rect l="0" t="0" r="r" b="b"/>
              <a:pathLst>
                <a:path w="20356" h="19271" extrusionOk="0">
                  <a:moveTo>
                    <a:pt x="1579" y="18367"/>
                  </a:moveTo>
                  <a:cubicBezTo>
                    <a:pt x="2990" y="16697"/>
                    <a:pt x="4892" y="15967"/>
                    <a:pt x="6304" y="16697"/>
                  </a:cubicBezTo>
                  <a:cubicBezTo>
                    <a:pt x="9556" y="17532"/>
                    <a:pt x="13299" y="19932"/>
                    <a:pt x="16613" y="19097"/>
                  </a:cubicBezTo>
                  <a:cubicBezTo>
                    <a:pt x="18024" y="18367"/>
                    <a:pt x="18945" y="17532"/>
                    <a:pt x="20356" y="15967"/>
                  </a:cubicBezTo>
                  <a:cubicBezTo>
                    <a:pt x="18454" y="13567"/>
                    <a:pt x="15201" y="6367"/>
                    <a:pt x="12870" y="4802"/>
                  </a:cubicBezTo>
                  <a:cubicBezTo>
                    <a:pt x="9065" y="2402"/>
                    <a:pt x="4892" y="-1668"/>
                    <a:pt x="658" y="732"/>
                  </a:cubicBezTo>
                  <a:cubicBezTo>
                    <a:pt x="-1244" y="1567"/>
                    <a:pt x="1579" y="15132"/>
                    <a:pt x="1579" y="1836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1" name="Shape 2442">
              <a:extLst>
                <a:ext uri="{FF2B5EF4-FFF2-40B4-BE49-F238E27FC236}">
                  <a16:creationId xmlns:a16="http://schemas.microsoft.com/office/drawing/2014/main" id="{B6D91290-D0CE-D9C6-4303-360086901D1D}"/>
                </a:ext>
              </a:extLst>
            </p:cNvPr>
            <p:cNvSpPr/>
            <p:nvPr/>
          </p:nvSpPr>
          <p:spPr>
            <a:xfrm>
              <a:off x="4362624" y="7416484"/>
              <a:ext cx="745286" cy="497664"/>
            </a:xfrm>
            <a:custGeom>
              <a:avLst/>
              <a:gdLst/>
              <a:ahLst/>
              <a:cxnLst>
                <a:cxn ang="0">
                  <a:pos x="wd2" y="hd2"/>
                </a:cxn>
                <a:cxn ang="5400000">
                  <a:pos x="wd2" y="hd2"/>
                </a:cxn>
                <a:cxn ang="10800000">
                  <a:pos x="wd2" y="hd2"/>
                </a:cxn>
                <a:cxn ang="16200000">
                  <a:pos x="wd2" y="hd2"/>
                </a:cxn>
              </a:cxnLst>
              <a:rect l="0" t="0" r="r" b="b"/>
              <a:pathLst>
                <a:path w="20365" h="21600" extrusionOk="0">
                  <a:moveTo>
                    <a:pt x="6154" y="1010"/>
                  </a:moveTo>
                  <a:cubicBezTo>
                    <a:pt x="5868" y="1347"/>
                    <a:pt x="5656" y="1801"/>
                    <a:pt x="5168" y="1801"/>
                  </a:cubicBezTo>
                  <a:cubicBezTo>
                    <a:pt x="4606" y="1904"/>
                    <a:pt x="3409" y="1801"/>
                    <a:pt x="2985" y="1230"/>
                  </a:cubicBezTo>
                  <a:cubicBezTo>
                    <a:pt x="3685" y="1230"/>
                    <a:pt x="4745" y="1801"/>
                    <a:pt x="5380" y="1347"/>
                  </a:cubicBezTo>
                  <a:cubicBezTo>
                    <a:pt x="4883" y="1230"/>
                    <a:pt x="4745" y="1464"/>
                    <a:pt x="4321" y="1230"/>
                  </a:cubicBezTo>
                  <a:cubicBezTo>
                    <a:pt x="4109" y="1128"/>
                    <a:pt x="4183" y="454"/>
                    <a:pt x="3971" y="454"/>
                  </a:cubicBezTo>
                  <a:cubicBezTo>
                    <a:pt x="3759" y="337"/>
                    <a:pt x="3621" y="1010"/>
                    <a:pt x="3409" y="893"/>
                  </a:cubicBezTo>
                  <a:cubicBezTo>
                    <a:pt x="3123" y="791"/>
                    <a:pt x="2847" y="337"/>
                    <a:pt x="2635" y="0"/>
                  </a:cubicBezTo>
                  <a:cubicBezTo>
                    <a:pt x="2497" y="337"/>
                    <a:pt x="2497" y="791"/>
                    <a:pt x="2359" y="1010"/>
                  </a:cubicBezTo>
                  <a:cubicBezTo>
                    <a:pt x="2212" y="1347"/>
                    <a:pt x="1861" y="1347"/>
                    <a:pt x="1723" y="1684"/>
                  </a:cubicBezTo>
                  <a:cubicBezTo>
                    <a:pt x="1650" y="2138"/>
                    <a:pt x="1788" y="2577"/>
                    <a:pt x="1723" y="3031"/>
                  </a:cubicBezTo>
                  <a:cubicBezTo>
                    <a:pt x="1723" y="3251"/>
                    <a:pt x="1576" y="3368"/>
                    <a:pt x="1576" y="3471"/>
                  </a:cubicBezTo>
                  <a:cubicBezTo>
                    <a:pt x="1511" y="3925"/>
                    <a:pt x="1576" y="4481"/>
                    <a:pt x="1511" y="4920"/>
                  </a:cubicBezTo>
                  <a:cubicBezTo>
                    <a:pt x="1438" y="5257"/>
                    <a:pt x="1300" y="5374"/>
                    <a:pt x="1226" y="5594"/>
                  </a:cubicBezTo>
                  <a:cubicBezTo>
                    <a:pt x="1088" y="5711"/>
                    <a:pt x="876" y="5711"/>
                    <a:pt x="802" y="5931"/>
                  </a:cubicBezTo>
                  <a:cubicBezTo>
                    <a:pt x="664" y="6165"/>
                    <a:pt x="802" y="6722"/>
                    <a:pt x="590" y="6941"/>
                  </a:cubicBezTo>
                  <a:cubicBezTo>
                    <a:pt x="526" y="7058"/>
                    <a:pt x="314" y="6941"/>
                    <a:pt x="102" y="6941"/>
                  </a:cubicBezTo>
                  <a:cubicBezTo>
                    <a:pt x="176" y="7395"/>
                    <a:pt x="240" y="7835"/>
                    <a:pt x="240" y="8391"/>
                  </a:cubicBezTo>
                  <a:cubicBezTo>
                    <a:pt x="240" y="8845"/>
                    <a:pt x="102" y="9284"/>
                    <a:pt x="28" y="9738"/>
                  </a:cubicBezTo>
                  <a:cubicBezTo>
                    <a:pt x="-36" y="9958"/>
                    <a:pt x="28" y="10192"/>
                    <a:pt x="28" y="10529"/>
                  </a:cubicBezTo>
                  <a:cubicBezTo>
                    <a:pt x="28" y="11086"/>
                    <a:pt x="102" y="11759"/>
                    <a:pt x="176" y="12418"/>
                  </a:cubicBezTo>
                  <a:cubicBezTo>
                    <a:pt x="664" y="12418"/>
                    <a:pt x="1226" y="12081"/>
                    <a:pt x="1650" y="12316"/>
                  </a:cubicBezTo>
                  <a:cubicBezTo>
                    <a:pt x="1861" y="12535"/>
                    <a:pt x="1576" y="13311"/>
                    <a:pt x="1788" y="13429"/>
                  </a:cubicBezTo>
                  <a:cubicBezTo>
                    <a:pt x="2212" y="13648"/>
                    <a:pt x="2709" y="13429"/>
                    <a:pt x="3123" y="13311"/>
                  </a:cubicBezTo>
                  <a:cubicBezTo>
                    <a:pt x="3483" y="13311"/>
                    <a:pt x="3833" y="13092"/>
                    <a:pt x="4183" y="13311"/>
                  </a:cubicBezTo>
                  <a:cubicBezTo>
                    <a:pt x="4468" y="13546"/>
                    <a:pt x="4606" y="14102"/>
                    <a:pt x="4818" y="14439"/>
                  </a:cubicBezTo>
                  <a:cubicBezTo>
                    <a:pt x="5168" y="14878"/>
                    <a:pt x="5518" y="15113"/>
                    <a:pt x="5868" y="15449"/>
                  </a:cubicBezTo>
                  <a:cubicBezTo>
                    <a:pt x="6080" y="15786"/>
                    <a:pt x="6154" y="16226"/>
                    <a:pt x="6366" y="16445"/>
                  </a:cubicBezTo>
                  <a:cubicBezTo>
                    <a:pt x="6716" y="16899"/>
                    <a:pt x="7139" y="17339"/>
                    <a:pt x="7628" y="17573"/>
                  </a:cubicBezTo>
                  <a:cubicBezTo>
                    <a:pt x="7987" y="17573"/>
                    <a:pt x="8263" y="17002"/>
                    <a:pt x="8613" y="17002"/>
                  </a:cubicBezTo>
                  <a:cubicBezTo>
                    <a:pt x="8899" y="17002"/>
                    <a:pt x="9111" y="17456"/>
                    <a:pt x="9387" y="17573"/>
                  </a:cubicBezTo>
                  <a:cubicBezTo>
                    <a:pt x="9672" y="17573"/>
                    <a:pt x="10023" y="17119"/>
                    <a:pt x="10308" y="17339"/>
                  </a:cubicBezTo>
                  <a:cubicBezTo>
                    <a:pt x="10723" y="17793"/>
                    <a:pt x="10870" y="18905"/>
                    <a:pt x="11284" y="19477"/>
                  </a:cubicBezTo>
                  <a:cubicBezTo>
                    <a:pt x="11432" y="19696"/>
                    <a:pt x="11782" y="19140"/>
                    <a:pt x="11920" y="19477"/>
                  </a:cubicBezTo>
                  <a:cubicBezTo>
                    <a:pt x="11994" y="19813"/>
                    <a:pt x="11708" y="20707"/>
                    <a:pt x="11708" y="21029"/>
                  </a:cubicBezTo>
                  <a:cubicBezTo>
                    <a:pt x="11846" y="21146"/>
                    <a:pt x="11994" y="21146"/>
                    <a:pt x="12132" y="21146"/>
                  </a:cubicBezTo>
                  <a:cubicBezTo>
                    <a:pt x="12556" y="21146"/>
                    <a:pt x="12979" y="21600"/>
                    <a:pt x="13403" y="21600"/>
                  </a:cubicBezTo>
                  <a:cubicBezTo>
                    <a:pt x="13403" y="21029"/>
                    <a:pt x="13329" y="20253"/>
                    <a:pt x="13256" y="19579"/>
                  </a:cubicBezTo>
                  <a:cubicBezTo>
                    <a:pt x="13615" y="18012"/>
                    <a:pt x="13541" y="16782"/>
                    <a:pt x="14665" y="16108"/>
                  </a:cubicBezTo>
                  <a:cubicBezTo>
                    <a:pt x="15650" y="15449"/>
                    <a:pt x="16562" y="14776"/>
                    <a:pt x="17548" y="14439"/>
                  </a:cubicBezTo>
                  <a:cubicBezTo>
                    <a:pt x="19943" y="13648"/>
                    <a:pt x="19943" y="9738"/>
                    <a:pt x="19095" y="6941"/>
                  </a:cubicBezTo>
                  <a:cubicBezTo>
                    <a:pt x="18884" y="6048"/>
                    <a:pt x="19657" y="6268"/>
                    <a:pt x="19943" y="5711"/>
                  </a:cubicBezTo>
                  <a:cubicBezTo>
                    <a:pt x="21564" y="3251"/>
                    <a:pt x="18045" y="3925"/>
                    <a:pt x="17336" y="4261"/>
                  </a:cubicBezTo>
                  <a:cubicBezTo>
                    <a:pt x="16212" y="4701"/>
                    <a:pt x="14950" y="4261"/>
                    <a:pt x="13965" y="5257"/>
                  </a:cubicBezTo>
                  <a:cubicBezTo>
                    <a:pt x="13679" y="5492"/>
                    <a:pt x="11920" y="5931"/>
                    <a:pt x="12694" y="5038"/>
                  </a:cubicBezTo>
                  <a:cubicBezTo>
                    <a:pt x="13753" y="3925"/>
                    <a:pt x="9949" y="571"/>
                    <a:pt x="9884" y="2475"/>
                  </a:cubicBezTo>
                  <a:cubicBezTo>
                    <a:pt x="9884" y="3925"/>
                    <a:pt x="9175" y="3925"/>
                    <a:pt x="8613" y="3807"/>
                  </a:cubicBezTo>
                  <a:cubicBezTo>
                    <a:pt x="8549" y="4261"/>
                    <a:pt x="8475" y="4261"/>
                    <a:pt x="8401" y="4598"/>
                  </a:cubicBezTo>
                  <a:cubicBezTo>
                    <a:pt x="8337" y="4920"/>
                    <a:pt x="8475" y="5374"/>
                    <a:pt x="8337" y="5492"/>
                  </a:cubicBezTo>
                  <a:cubicBezTo>
                    <a:pt x="7913" y="5711"/>
                    <a:pt x="7489" y="5594"/>
                    <a:pt x="7066" y="5374"/>
                  </a:cubicBezTo>
                  <a:cubicBezTo>
                    <a:pt x="6854" y="5257"/>
                    <a:pt x="6789" y="4920"/>
                    <a:pt x="6578" y="4701"/>
                  </a:cubicBezTo>
                  <a:cubicBezTo>
                    <a:pt x="6430" y="4481"/>
                    <a:pt x="6154" y="4027"/>
                    <a:pt x="6016" y="4261"/>
                  </a:cubicBezTo>
                  <a:cubicBezTo>
                    <a:pt x="5804" y="4364"/>
                    <a:pt x="6080" y="5038"/>
                    <a:pt x="5868" y="5155"/>
                  </a:cubicBezTo>
                  <a:cubicBezTo>
                    <a:pt x="5656" y="5374"/>
                    <a:pt x="5306" y="5257"/>
                    <a:pt x="5095" y="5038"/>
                  </a:cubicBezTo>
                  <a:cubicBezTo>
                    <a:pt x="4956" y="4920"/>
                    <a:pt x="5168" y="4598"/>
                    <a:pt x="5242" y="4481"/>
                  </a:cubicBezTo>
                  <a:cubicBezTo>
                    <a:pt x="5380" y="4144"/>
                    <a:pt x="5380" y="3807"/>
                    <a:pt x="5518" y="3588"/>
                  </a:cubicBezTo>
                  <a:cubicBezTo>
                    <a:pt x="5804" y="3031"/>
                    <a:pt x="6218" y="2914"/>
                    <a:pt x="6430" y="2358"/>
                  </a:cubicBezTo>
                  <a:cubicBezTo>
                    <a:pt x="6578" y="2138"/>
                    <a:pt x="6430" y="1684"/>
                    <a:pt x="6366" y="1464"/>
                  </a:cubicBezTo>
                  <a:cubicBezTo>
                    <a:pt x="6218" y="1128"/>
                    <a:pt x="6292" y="1347"/>
                    <a:pt x="6154" y="101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2" name="Shape 2443">
              <a:extLst>
                <a:ext uri="{FF2B5EF4-FFF2-40B4-BE49-F238E27FC236}">
                  <a16:creationId xmlns:a16="http://schemas.microsoft.com/office/drawing/2014/main" id="{DD38EE13-26F2-8A6F-2AFB-41E643E39BA3}"/>
                </a:ext>
              </a:extLst>
            </p:cNvPr>
            <p:cNvSpPr/>
            <p:nvPr/>
          </p:nvSpPr>
          <p:spPr>
            <a:xfrm>
              <a:off x="4547522" y="7428983"/>
              <a:ext cx="172464" cy="117130"/>
            </a:xfrm>
            <a:custGeom>
              <a:avLst/>
              <a:gdLst/>
              <a:ahLst/>
              <a:cxnLst>
                <a:cxn ang="0">
                  <a:pos x="wd2" y="hd2"/>
                </a:cxn>
                <a:cxn ang="5400000">
                  <a:pos x="wd2" y="hd2"/>
                </a:cxn>
                <a:cxn ang="10800000">
                  <a:pos x="wd2" y="hd2"/>
                </a:cxn>
                <a:cxn ang="16200000">
                  <a:pos x="wd2" y="hd2"/>
                </a:cxn>
              </a:cxnLst>
              <a:rect l="0" t="0" r="r" b="b"/>
              <a:pathLst>
                <a:path w="19613" h="20561" extrusionOk="0">
                  <a:moveTo>
                    <a:pt x="14793" y="13321"/>
                  </a:moveTo>
                  <a:cubicBezTo>
                    <a:pt x="13035" y="12909"/>
                    <a:pt x="11582" y="11555"/>
                    <a:pt x="11888" y="11555"/>
                  </a:cubicBezTo>
                  <a:cubicBezTo>
                    <a:pt x="12461" y="10613"/>
                    <a:pt x="13341" y="8377"/>
                    <a:pt x="14220" y="8377"/>
                  </a:cubicBezTo>
                  <a:cubicBezTo>
                    <a:pt x="15367" y="7965"/>
                    <a:pt x="21216" y="7494"/>
                    <a:pt x="19190" y="2962"/>
                  </a:cubicBezTo>
                  <a:cubicBezTo>
                    <a:pt x="17431" y="-628"/>
                    <a:pt x="13035" y="1197"/>
                    <a:pt x="10129" y="314"/>
                  </a:cubicBezTo>
                  <a:cubicBezTo>
                    <a:pt x="6918" y="-628"/>
                    <a:pt x="5733" y="726"/>
                    <a:pt x="4586" y="2079"/>
                  </a:cubicBezTo>
                  <a:cubicBezTo>
                    <a:pt x="5159" y="3433"/>
                    <a:pt x="4854" y="2550"/>
                    <a:pt x="5465" y="3904"/>
                  </a:cubicBezTo>
                  <a:cubicBezTo>
                    <a:pt x="5733" y="4787"/>
                    <a:pt x="6344" y="6611"/>
                    <a:pt x="5733" y="7494"/>
                  </a:cubicBezTo>
                  <a:cubicBezTo>
                    <a:pt x="4854" y="9731"/>
                    <a:pt x="3133" y="10201"/>
                    <a:pt x="1948" y="12438"/>
                  </a:cubicBezTo>
                  <a:cubicBezTo>
                    <a:pt x="1375" y="13321"/>
                    <a:pt x="1375" y="14674"/>
                    <a:pt x="801" y="16028"/>
                  </a:cubicBezTo>
                  <a:cubicBezTo>
                    <a:pt x="495" y="16499"/>
                    <a:pt x="-384" y="17794"/>
                    <a:pt x="189" y="18265"/>
                  </a:cubicBezTo>
                  <a:cubicBezTo>
                    <a:pt x="1069" y="19147"/>
                    <a:pt x="2521" y="19618"/>
                    <a:pt x="3401" y="18735"/>
                  </a:cubicBezTo>
                  <a:cubicBezTo>
                    <a:pt x="4280" y="18265"/>
                    <a:pt x="3133" y="15557"/>
                    <a:pt x="4012" y="15145"/>
                  </a:cubicBezTo>
                  <a:cubicBezTo>
                    <a:pt x="4586" y="14204"/>
                    <a:pt x="5733" y="16028"/>
                    <a:pt x="6344" y="16911"/>
                  </a:cubicBezTo>
                  <a:cubicBezTo>
                    <a:pt x="7224" y="17794"/>
                    <a:pt x="7491" y="19147"/>
                    <a:pt x="8371" y="19618"/>
                  </a:cubicBezTo>
                  <a:cubicBezTo>
                    <a:pt x="10129" y="20501"/>
                    <a:pt x="11888" y="20972"/>
                    <a:pt x="13646" y="20089"/>
                  </a:cubicBezTo>
                  <a:cubicBezTo>
                    <a:pt x="14220" y="19618"/>
                    <a:pt x="13646" y="17794"/>
                    <a:pt x="13914" y="16499"/>
                  </a:cubicBezTo>
                  <a:cubicBezTo>
                    <a:pt x="14220" y="15145"/>
                    <a:pt x="14526" y="15145"/>
                    <a:pt x="14793" y="1332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3" name="Shape 2444">
              <a:extLst>
                <a:ext uri="{FF2B5EF4-FFF2-40B4-BE49-F238E27FC236}">
                  <a16:creationId xmlns:a16="http://schemas.microsoft.com/office/drawing/2014/main" id="{C2EF8D55-B6B4-BCAA-F51E-AE402132ACB9}"/>
                </a:ext>
              </a:extLst>
            </p:cNvPr>
            <p:cNvSpPr/>
            <p:nvPr/>
          </p:nvSpPr>
          <p:spPr>
            <a:xfrm>
              <a:off x="3681907" y="5176477"/>
              <a:ext cx="155834" cy="156988"/>
            </a:xfrm>
            <a:custGeom>
              <a:avLst/>
              <a:gdLst/>
              <a:ahLst/>
              <a:cxnLst>
                <a:cxn ang="0">
                  <a:pos x="wd2" y="hd2"/>
                </a:cxn>
                <a:cxn ang="5400000">
                  <a:pos x="wd2" y="hd2"/>
                </a:cxn>
                <a:cxn ang="10800000">
                  <a:pos x="wd2" y="hd2"/>
                </a:cxn>
                <a:cxn ang="16200000">
                  <a:pos x="wd2" y="hd2"/>
                </a:cxn>
              </a:cxnLst>
              <a:rect l="0" t="0" r="r" b="b"/>
              <a:pathLst>
                <a:path w="21207" h="21363" extrusionOk="0">
                  <a:moveTo>
                    <a:pt x="21207" y="7755"/>
                  </a:moveTo>
                  <a:cubicBezTo>
                    <a:pt x="20887" y="10540"/>
                    <a:pt x="20157" y="13006"/>
                    <a:pt x="20157" y="15792"/>
                  </a:cubicBezTo>
                  <a:cubicBezTo>
                    <a:pt x="20157" y="17527"/>
                    <a:pt x="20522" y="18943"/>
                    <a:pt x="20887" y="20678"/>
                  </a:cubicBezTo>
                  <a:cubicBezTo>
                    <a:pt x="19106" y="20678"/>
                    <a:pt x="17371" y="20998"/>
                    <a:pt x="16001" y="20998"/>
                  </a:cubicBezTo>
                  <a:cubicBezTo>
                    <a:pt x="14220" y="20998"/>
                    <a:pt x="12485" y="20998"/>
                    <a:pt x="11115" y="21363"/>
                  </a:cubicBezTo>
                  <a:cubicBezTo>
                    <a:pt x="10065" y="21363"/>
                    <a:pt x="9014" y="21363"/>
                    <a:pt x="7964" y="20998"/>
                  </a:cubicBezTo>
                  <a:cubicBezTo>
                    <a:pt x="6229" y="20313"/>
                    <a:pt x="4448" y="19628"/>
                    <a:pt x="3443" y="18212"/>
                  </a:cubicBezTo>
                  <a:cubicBezTo>
                    <a:pt x="1662" y="16111"/>
                    <a:pt x="1342" y="13691"/>
                    <a:pt x="657" y="11271"/>
                  </a:cubicBezTo>
                  <a:cubicBezTo>
                    <a:pt x="292" y="10540"/>
                    <a:pt x="-393" y="9170"/>
                    <a:pt x="292" y="8440"/>
                  </a:cubicBezTo>
                  <a:cubicBezTo>
                    <a:pt x="977" y="7755"/>
                    <a:pt x="2393" y="9170"/>
                    <a:pt x="3078" y="8805"/>
                  </a:cubicBezTo>
                  <a:cubicBezTo>
                    <a:pt x="3763" y="8120"/>
                    <a:pt x="2393" y="6704"/>
                    <a:pt x="2712" y="6385"/>
                  </a:cubicBezTo>
                  <a:cubicBezTo>
                    <a:pt x="3443" y="6019"/>
                    <a:pt x="4813" y="7755"/>
                    <a:pt x="5178" y="7070"/>
                  </a:cubicBezTo>
                  <a:cubicBezTo>
                    <a:pt x="5863" y="6019"/>
                    <a:pt x="4448" y="4284"/>
                    <a:pt x="5178" y="3234"/>
                  </a:cubicBezTo>
                  <a:cubicBezTo>
                    <a:pt x="6229" y="1818"/>
                    <a:pt x="8329" y="1498"/>
                    <a:pt x="10065" y="768"/>
                  </a:cubicBezTo>
                  <a:cubicBezTo>
                    <a:pt x="11115" y="448"/>
                    <a:pt x="12485" y="-237"/>
                    <a:pt x="13900" y="83"/>
                  </a:cubicBezTo>
                  <a:cubicBezTo>
                    <a:pt x="15270" y="83"/>
                    <a:pt x="16321" y="768"/>
                    <a:pt x="17006" y="1818"/>
                  </a:cubicBezTo>
                  <a:cubicBezTo>
                    <a:pt x="17371" y="2868"/>
                    <a:pt x="17006" y="3919"/>
                    <a:pt x="17006" y="4604"/>
                  </a:cubicBezTo>
                  <a:cubicBezTo>
                    <a:pt x="16686" y="6019"/>
                    <a:pt x="16001" y="7070"/>
                    <a:pt x="16321" y="8120"/>
                  </a:cubicBezTo>
                  <a:cubicBezTo>
                    <a:pt x="16321" y="8805"/>
                    <a:pt x="17006" y="8440"/>
                    <a:pt x="17736" y="8440"/>
                  </a:cubicBezTo>
                  <a:cubicBezTo>
                    <a:pt x="18787" y="8440"/>
                    <a:pt x="19837" y="8120"/>
                    <a:pt x="21207" y="77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4" name="Shape 2445">
              <a:extLst>
                <a:ext uri="{FF2B5EF4-FFF2-40B4-BE49-F238E27FC236}">
                  <a16:creationId xmlns:a16="http://schemas.microsoft.com/office/drawing/2014/main" id="{2CC1620A-1B1C-5597-A1BE-6ED79027623A}"/>
                </a:ext>
              </a:extLst>
            </p:cNvPr>
            <p:cNvSpPr/>
            <p:nvPr/>
          </p:nvSpPr>
          <p:spPr>
            <a:xfrm>
              <a:off x="3745913" y="5073650"/>
              <a:ext cx="666769" cy="533342"/>
            </a:xfrm>
            <a:custGeom>
              <a:avLst/>
              <a:gdLst/>
              <a:ahLst/>
              <a:cxnLst>
                <a:cxn ang="0">
                  <a:pos x="wd2" y="hd2"/>
                </a:cxn>
                <a:cxn ang="5400000">
                  <a:pos x="wd2" y="hd2"/>
                </a:cxn>
                <a:cxn ang="10800000">
                  <a:pos x="wd2" y="hd2"/>
                </a:cxn>
                <a:cxn ang="16200000">
                  <a:pos x="wd2" y="hd2"/>
                </a:cxn>
              </a:cxnLst>
              <a:rect l="0" t="0" r="r" b="b"/>
              <a:pathLst>
                <a:path w="21352" h="21600" extrusionOk="0">
                  <a:moveTo>
                    <a:pt x="15339" y="96"/>
                  </a:moveTo>
                  <a:cubicBezTo>
                    <a:pt x="15253" y="519"/>
                    <a:pt x="15339" y="929"/>
                    <a:pt x="15004" y="1038"/>
                  </a:cubicBezTo>
                  <a:cubicBezTo>
                    <a:pt x="14346" y="1353"/>
                    <a:pt x="13612" y="1148"/>
                    <a:pt x="13029" y="929"/>
                  </a:cubicBezTo>
                  <a:cubicBezTo>
                    <a:pt x="12533" y="833"/>
                    <a:pt x="12284" y="0"/>
                    <a:pt x="11788" y="0"/>
                  </a:cubicBezTo>
                  <a:cubicBezTo>
                    <a:pt x="11378" y="96"/>
                    <a:pt x="11302" y="833"/>
                    <a:pt x="11054" y="1148"/>
                  </a:cubicBezTo>
                  <a:cubicBezTo>
                    <a:pt x="10643" y="1762"/>
                    <a:pt x="10222" y="2500"/>
                    <a:pt x="9650" y="2814"/>
                  </a:cubicBezTo>
                  <a:cubicBezTo>
                    <a:pt x="9316" y="3019"/>
                    <a:pt x="8906" y="2609"/>
                    <a:pt x="8571" y="2705"/>
                  </a:cubicBezTo>
                  <a:cubicBezTo>
                    <a:pt x="8161" y="2910"/>
                    <a:pt x="7837" y="3443"/>
                    <a:pt x="7502" y="3757"/>
                  </a:cubicBezTo>
                  <a:cubicBezTo>
                    <a:pt x="7340" y="3962"/>
                    <a:pt x="7092" y="4167"/>
                    <a:pt x="7016" y="4481"/>
                  </a:cubicBezTo>
                  <a:cubicBezTo>
                    <a:pt x="6930" y="4905"/>
                    <a:pt x="7178" y="5629"/>
                    <a:pt x="6930" y="5738"/>
                  </a:cubicBezTo>
                  <a:cubicBezTo>
                    <a:pt x="6596" y="5943"/>
                    <a:pt x="6347" y="5110"/>
                    <a:pt x="5937" y="5000"/>
                  </a:cubicBezTo>
                  <a:cubicBezTo>
                    <a:pt x="5365" y="5000"/>
                    <a:pt x="4706" y="5110"/>
                    <a:pt x="4124" y="5424"/>
                  </a:cubicBezTo>
                  <a:cubicBezTo>
                    <a:pt x="3627" y="5629"/>
                    <a:pt x="3303" y="6148"/>
                    <a:pt x="2969" y="6462"/>
                  </a:cubicBezTo>
                  <a:cubicBezTo>
                    <a:pt x="2893" y="7296"/>
                    <a:pt x="2720" y="8033"/>
                    <a:pt x="2720" y="8867"/>
                  </a:cubicBezTo>
                  <a:cubicBezTo>
                    <a:pt x="2720" y="9386"/>
                    <a:pt x="2807" y="9809"/>
                    <a:pt x="2893" y="10329"/>
                  </a:cubicBezTo>
                  <a:cubicBezTo>
                    <a:pt x="2807" y="10739"/>
                    <a:pt x="2645" y="11162"/>
                    <a:pt x="2645" y="11586"/>
                  </a:cubicBezTo>
                  <a:cubicBezTo>
                    <a:pt x="2645" y="11995"/>
                    <a:pt x="2893" y="12310"/>
                    <a:pt x="2893" y="12720"/>
                  </a:cubicBezTo>
                  <a:cubicBezTo>
                    <a:pt x="2969" y="13252"/>
                    <a:pt x="2893" y="13867"/>
                    <a:pt x="2720" y="14400"/>
                  </a:cubicBezTo>
                  <a:cubicBezTo>
                    <a:pt x="2645" y="14714"/>
                    <a:pt x="2310" y="14714"/>
                    <a:pt x="2148" y="15028"/>
                  </a:cubicBezTo>
                  <a:cubicBezTo>
                    <a:pt x="2148" y="15124"/>
                    <a:pt x="2224" y="15343"/>
                    <a:pt x="2310" y="15438"/>
                  </a:cubicBezTo>
                  <a:cubicBezTo>
                    <a:pt x="2558" y="15643"/>
                    <a:pt x="2969" y="15548"/>
                    <a:pt x="3141" y="15753"/>
                  </a:cubicBezTo>
                  <a:cubicBezTo>
                    <a:pt x="3303" y="15862"/>
                    <a:pt x="3303" y="16176"/>
                    <a:pt x="3141" y="16176"/>
                  </a:cubicBezTo>
                  <a:cubicBezTo>
                    <a:pt x="2893" y="16381"/>
                    <a:pt x="2558" y="16272"/>
                    <a:pt x="2310" y="16381"/>
                  </a:cubicBezTo>
                  <a:cubicBezTo>
                    <a:pt x="2148" y="16477"/>
                    <a:pt x="1975" y="16791"/>
                    <a:pt x="1813" y="16900"/>
                  </a:cubicBezTo>
                  <a:cubicBezTo>
                    <a:pt x="1403" y="16900"/>
                    <a:pt x="993" y="16381"/>
                    <a:pt x="658" y="16586"/>
                  </a:cubicBezTo>
                  <a:cubicBezTo>
                    <a:pt x="335" y="16791"/>
                    <a:pt x="0" y="17214"/>
                    <a:pt x="0" y="17734"/>
                  </a:cubicBezTo>
                  <a:cubicBezTo>
                    <a:pt x="86" y="18157"/>
                    <a:pt x="583" y="18157"/>
                    <a:pt x="907" y="18362"/>
                  </a:cubicBezTo>
                  <a:cubicBezTo>
                    <a:pt x="1490" y="18362"/>
                    <a:pt x="2062" y="18157"/>
                    <a:pt x="2645" y="18253"/>
                  </a:cubicBezTo>
                  <a:cubicBezTo>
                    <a:pt x="3141" y="18362"/>
                    <a:pt x="3465" y="18786"/>
                    <a:pt x="3875" y="18991"/>
                  </a:cubicBezTo>
                  <a:cubicBezTo>
                    <a:pt x="4124" y="19086"/>
                    <a:pt x="4285" y="19305"/>
                    <a:pt x="4458" y="19195"/>
                  </a:cubicBezTo>
                  <a:cubicBezTo>
                    <a:pt x="5279" y="18786"/>
                    <a:pt x="6023" y="18157"/>
                    <a:pt x="6682" y="17419"/>
                  </a:cubicBezTo>
                  <a:cubicBezTo>
                    <a:pt x="6930" y="17105"/>
                    <a:pt x="6844" y="17009"/>
                    <a:pt x="7092" y="16695"/>
                  </a:cubicBezTo>
                  <a:cubicBezTo>
                    <a:pt x="7178" y="16477"/>
                    <a:pt x="7912" y="15957"/>
                    <a:pt x="7999" y="15957"/>
                  </a:cubicBezTo>
                  <a:cubicBezTo>
                    <a:pt x="8333" y="15753"/>
                    <a:pt x="8992" y="15753"/>
                    <a:pt x="9240" y="16067"/>
                  </a:cubicBezTo>
                  <a:cubicBezTo>
                    <a:pt x="9402" y="16381"/>
                    <a:pt x="9737" y="16477"/>
                    <a:pt x="9985" y="16477"/>
                  </a:cubicBezTo>
                  <a:cubicBezTo>
                    <a:pt x="10395" y="16477"/>
                    <a:pt x="10719" y="16176"/>
                    <a:pt x="11129" y="16176"/>
                  </a:cubicBezTo>
                  <a:cubicBezTo>
                    <a:pt x="11216" y="16176"/>
                    <a:pt x="11302" y="16176"/>
                    <a:pt x="11378" y="16176"/>
                  </a:cubicBezTo>
                  <a:cubicBezTo>
                    <a:pt x="11464" y="15343"/>
                    <a:pt x="11464" y="14605"/>
                    <a:pt x="11712" y="13867"/>
                  </a:cubicBezTo>
                  <a:cubicBezTo>
                    <a:pt x="11788" y="13553"/>
                    <a:pt x="11960" y="13252"/>
                    <a:pt x="12122" y="13034"/>
                  </a:cubicBezTo>
                  <a:cubicBezTo>
                    <a:pt x="12371" y="12829"/>
                    <a:pt x="12705" y="12720"/>
                    <a:pt x="12954" y="12829"/>
                  </a:cubicBezTo>
                  <a:cubicBezTo>
                    <a:pt x="13364" y="13034"/>
                    <a:pt x="13849" y="13252"/>
                    <a:pt x="14184" y="13772"/>
                  </a:cubicBezTo>
                  <a:cubicBezTo>
                    <a:pt x="14346" y="14086"/>
                    <a:pt x="14098" y="15028"/>
                    <a:pt x="14022" y="15438"/>
                  </a:cubicBezTo>
                  <a:cubicBezTo>
                    <a:pt x="14346" y="15643"/>
                    <a:pt x="14594" y="15862"/>
                    <a:pt x="14929" y="16381"/>
                  </a:cubicBezTo>
                  <a:cubicBezTo>
                    <a:pt x="15587" y="17419"/>
                    <a:pt x="16742" y="19715"/>
                    <a:pt x="17897" y="19400"/>
                  </a:cubicBezTo>
                  <a:cubicBezTo>
                    <a:pt x="18880" y="19195"/>
                    <a:pt x="19301" y="18786"/>
                    <a:pt x="20207" y="19305"/>
                  </a:cubicBezTo>
                  <a:cubicBezTo>
                    <a:pt x="21600" y="20029"/>
                    <a:pt x="20693" y="20548"/>
                    <a:pt x="20693" y="21600"/>
                  </a:cubicBezTo>
                  <a:cubicBezTo>
                    <a:pt x="20780" y="21286"/>
                    <a:pt x="21276" y="21176"/>
                    <a:pt x="21352" y="20452"/>
                  </a:cubicBezTo>
                  <a:cubicBezTo>
                    <a:pt x="21352" y="19619"/>
                    <a:pt x="21190" y="19195"/>
                    <a:pt x="20942" y="18567"/>
                  </a:cubicBezTo>
                  <a:cubicBezTo>
                    <a:pt x="20445" y="16900"/>
                    <a:pt x="19301" y="15438"/>
                    <a:pt x="18631" y="13976"/>
                  </a:cubicBezTo>
                  <a:cubicBezTo>
                    <a:pt x="18146" y="12829"/>
                    <a:pt x="16991" y="11271"/>
                    <a:pt x="16742" y="10219"/>
                  </a:cubicBezTo>
                  <a:cubicBezTo>
                    <a:pt x="15836" y="7924"/>
                    <a:pt x="14184" y="4481"/>
                    <a:pt x="16084" y="2391"/>
                  </a:cubicBezTo>
                  <a:cubicBezTo>
                    <a:pt x="16332" y="2186"/>
                    <a:pt x="17476" y="2186"/>
                    <a:pt x="17563" y="1872"/>
                  </a:cubicBezTo>
                  <a:cubicBezTo>
                    <a:pt x="17725" y="1448"/>
                    <a:pt x="16332" y="833"/>
                    <a:pt x="16084" y="615"/>
                  </a:cubicBezTo>
                  <a:cubicBezTo>
                    <a:pt x="15836" y="410"/>
                    <a:pt x="15587" y="205"/>
                    <a:pt x="15339" y="9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5" name="Shape 2446">
              <a:extLst>
                <a:ext uri="{FF2B5EF4-FFF2-40B4-BE49-F238E27FC236}">
                  <a16:creationId xmlns:a16="http://schemas.microsoft.com/office/drawing/2014/main" id="{00FF54BA-C882-BFC2-3365-40718198A445}"/>
                </a:ext>
              </a:extLst>
            </p:cNvPr>
            <p:cNvSpPr/>
            <p:nvPr/>
          </p:nvSpPr>
          <p:spPr>
            <a:xfrm>
              <a:off x="4101180" y="5388959"/>
              <a:ext cx="89910" cy="84239"/>
            </a:xfrm>
            <a:custGeom>
              <a:avLst/>
              <a:gdLst/>
              <a:ahLst/>
              <a:cxnLst>
                <a:cxn ang="0">
                  <a:pos x="wd2" y="hd2"/>
                </a:cxn>
                <a:cxn ang="5400000">
                  <a:pos x="wd2" y="hd2"/>
                </a:cxn>
                <a:cxn ang="10800000">
                  <a:pos x="wd2" y="hd2"/>
                </a:cxn>
                <a:cxn ang="16200000">
                  <a:pos x="wd2" y="hd2"/>
                </a:cxn>
              </a:cxnLst>
              <a:rect l="0" t="0" r="r" b="b"/>
              <a:pathLst>
                <a:path w="20813" h="21187" extrusionOk="0">
                  <a:moveTo>
                    <a:pt x="0" y="21187"/>
                  </a:moveTo>
                  <a:cubicBezTo>
                    <a:pt x="7855" y="20504"/>
                    <a:pt x="13196" y="14613"/>
                    <a:pt x="19244" y="16577"/>
                  </a:cubicBezTo>
                  <a:cubicBezTo>
                    <a:pt x="19793" y="14015"/>
                    <a:pt x="21600" y="8125"/>
                    <a:pt x="20422" y="6161"/>
                  </a:cubicBezTo>
                  <a:cubicBezTo>
                    <a:pt x="17987" y="2917"/>
                    <a:pt x="14452" y="1551"/>
                    <a:pt x="11468" y="270"/>
                  </a:cubicBezTo>
                  <a:cubicBezTo>
                    <a:pt x="9661" y="-413"/>
                    <a:pt x="7226" y="270"/>
                    <a:pt x="5420" y="1551"/>
                  </a:cubicBezTo>
                  <a:cubicBezTo>
                    <a:pt x="4241" y="2917"/>
                    <a:pt x="2985" y="4795"/>
                    <a:pt x="2435" y="6759"/>
                  </a:cubicBezTo>
                  <a:cubicBezTo>
                    <a:pt x="628" y="11369"/>
                    <a:pt x="628" y="15979"/>
                    <a:pt x="0" y="2118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6" name="Shape 2447">
              <a:extLst>
                <a:ext uri="{FF2B5EF4-FFF2-40B4-BE49-F238E27FC236}">
                  <a16:creationId xmlns:a16="http://schemas.microsoft.com/office/drawing/2014/main" id="{C73FB5D0-89FD-8429-138C-0C54524471AF}"/>
                </a:ext>
              </a:extLst>
            </p:cNvPr>
            <p:cNvSpPr/>
            <p:nvPr/>
          </p:nvSpPr>
          <p:spPr>
            <a:xfrm>
              <a:off x="3431036" y="4669075"/>
              <a:ext cx="155719" cy="139632"/>
            </a:xfrm>
            <a:custGeom>
              <a:avLst/>
              <a:gdLst/>
              <a:ahLst/>
              <a:cxnLst>
                <a:cxn ang="0">
                  <a:pos x="wd2" y="hd2"/>
                </a:cxn>
                <a:cxn ang="5400000">
                  <a:pos x="wd2" y="hd2"/>
                </a:cxn>
                <a:cxn ang="10800000">
                  <a:pos x="wd2" y="hd2"/>
                </a:cxn>
                <a:cxn ang="16200000">
                  <a:pos x="wd2" y="hd2"/>
                </a:cxn>
              </a:cxnLst>
              <a:rect l="0" t="0" r="r" b="b"/>
              <a:pathLst>
                <a:path w="21192" h="21407" extrusionOk="0">
                  <a:moveTo>
                    <a:pt x="813" y="11173"/>
                  </a:moveTo>
                  <a:cubicBezTo>
                    <a:pt x="2183" y="11584"/>
                    <a:pt x="3919" y="12356"/>
                    <a:pt x="5334" y="12767"/>
                  </a:cubicBezTo>
                  <a:cubicBezTo>
                    <a:pt x="6019" y="13127"/>
                    <a:pt x="7070" y="13538"/>
                    <a:pt x="7755" y="14310"/>
                  </a:cubicBezTo>
                  <a:cubicBezTo>
                    <a:pt x="8805" y="15133"/>
                    <a:pt x="9170" y="16676"/>
                    <a:pt x="9855" y="17858"/>
                  </a:cubicBezTo>
                  <a:cubicBezTo>
                    <a:pt x="10540" y="18630"/>
                    <a:pt x="10905" y="19453"/>
                    <a:pt x="11956" y="19813"/>
                  </a:cubicBezTo>
                  <a:cubicBezTo>
                    <a:pt x="12641" y="19813"/>
                    <a:pt x="13006" y="18630"/>
                    <a:pt x="13691" y="18630"/>
                  </a:cubicBezTo>
                  <a:cubicBezTo>
                    <a:pt x="15107" y="19041"/>
                    <a:pt x="15792" y="21407"/>
                    <a:pt x="17207" y="21407"/>
                  </a:cubicBezTo>
                  <a:cubicBezTo>
                    <a:pt x="17892" y="20996"/>
                    <a:pt x="18258" y="19453"/>
                    <a:pt x="18258" y="18270"/>
                  </a:cubicBezTo>
                  <a:cubicBezTo>
                    <a:pt x="18258" y="17087"/>
                    <a:pt x="16477" y="15904"/>
                    <a:pt x="17207" y="15133"/>
                  </a:cubicBezTo>
                  <a:cubicBezTo>
                    <a:pt x="18258" y="14721"/>
                    <a:pt x="18943" y="16316"/>
                    <a:pt x="19628" y="17087"/>
                  </a:cubicBezTo>
                  <a:cubicBezTo>
                    <a:pt x="19628" y="15904"/>
                    <a:pt x="20313" y="14310"/>
                    <a:pt x="19993" y="12767"/>
                  </a:cubicBezTo>
                  <a:cubicBezTo>
                    <a:pt x="19993" y="11584"/>
                    <a:pt x="18258" y="10401"/>
                    <a:pt x="18258" y="9218"/>
                  </a:cubicBezTo>
                  <a:cubicBezTo>
                    <a:pt x="18577" y="7624"/>
                    <a:pt x="20313" y="7624"/>
                    <a:pt x="20678" y="6493"/>
                  </a:cubicBezTo>
                  <a:cubicBezTo>
                    <a:pt x="21363" y="5670"/>
                    <a:pt x="21363" y="4127"/>
                    <a:pt x="20678" y="2944"/>
                  </a:cubicBezTo>
                  <a:cubicBezTo>
                    <a:pt x="20678" y="2533"/>
                    <a:pt x="19628" y="2944"/>
                    <a:pt x="18943" y="2944"/>
                  </a:cubicBezTo>
                  <a:cubicBezTo>
                    <a:pt x="18577" y="3356"/>
                    <a:pt x="17892" y="3716"/>
                    <a:pt x="17527" y="3716"/>
                  </a:cubicBezTo>
                  <a:cubicBezTo>
                    <a:pt x="16477" y="3356"/>
                    <a:pt x="15792" y="2173"/>
                    <a:pt x="14741" y="2173"/>
                  </a:cubicBezTo>
                  <a:cubicBezTo>
                    <a:pt x="13371" y="2173"/>
                    <a:pt x="11956" y="2944"/>
                    <a:pt x="10905" y="3716"/>
                  </a:cubicBezTo>
                  <a:cubicBezTo>
                    <a:pt x="10221" y="3716"/>
                    <a:pt x="10221" y="5670"/>
                    <a:pt x="9855" y="5310"/>
                  </a:cubicBezTo>
                  <a:cubicBezTo>
                    <a:pt x="8120" y="4127"/>
                    <a:pt x="8120" y="1350"/>
                    <a:pt x="6385" y="578"/>
                  </a:cubicBezTo>
                  <a:cubicBezTo>
                    <a:pt x="5334" y="-193"/>
                    <a:pt x="3599" y="-193"/>
                    <a:pt x="2549" y="578"/>
                  </a:cubicBezTo>
                  <a:cubicBezTo>
                    <a:pt x="1498" y="1350"/>
                    <a:pt x="2549" y="2944"/>
                    <a:pt x="1864" y="4127"/>
                  </a:cubicBezTo>
                  <a:cubicBezTo>
                    <a:pt x="1864" y="4487"/>
                    <a:pt x="448" y="4487"/>
                    <a:pt x="83" y="4898"/>
                  </a:cubicBezTo>
                  <a:cubicBezTo>
                    <a:pt x="-237" y="6853"/>
                    <a:pt x="448" y="9218"/>
                    <a:pt x="813" y="1117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7" name="Shape 2448">
              <a:extLst>
                <a:ext uri="{FF2B5EF4-FFF2-40B4-BE49-F238E27FC236}">
                  <a16:creationId xmlns:a16="http://schemas.microsoft.com/office/drawing/2014/main" id="{2CEA43F8-BD59-CC84-C7FC-44766D7EDAF1}"/>
                </a:ext>
              </a:extLst>
            </p:cNvPr>
            <p:cNvSpPr/>
            <p:nvPr/>
          </p:nvSpPr>
          <p:spPr>
            <a:xfrm>
              <a:off x="3648955" y="4689403"/>
              <a:ext cx="77279" cy="80648"/>
            </a:xfrm>
            <a:custGeom>
              <a:avLst/>
              <a:gdLst/>
              <a:ahLst/>
              <a:cxnLst>
                <a:cxn ang="0">
                  <a:pos x="wd2" y="hd2"/>
                </a:cxn>
                <a:cxn ang="5400000">
                  <a:pos x="wd2" y="hd2"/>
                </a:cxn>
                <a:cxn ang="10800000">
                  <a:pos x="wd2" y="hd2"/>
                </a:cxn>
                <a:cxn ang="16200000">
                  <a:pos x="wd2" y="hd2"/>
                </a:cxn>
              </a:cxnLst>
              <a:rect l="0" t="0" r="r" b="b"/>
              <a:pathLst>
                <a:path w="20134" h="21011" extrusionOk="0">
                  <a:moveTo>
                    <a:pt x="7742" y="18975"/>
                  </a:moveTo>
                  <a:cubicBezTo>
                    <a:pt x="19821" y="21011"/>
                    <a:pt x="19821" y="21011"/>
                    <a:pt x="19821" y="21011"/>
                  </a:cubicBezTo>
                  <a:cubicBezTo>
                    <a:pt x="19821" y="19683"/>
                    <a:pt x="20526" y="18355"/>
                    <a:pt x="19821" y="16939"/>
                  </a:cubicBezTo>
                  <a:cubicBezTo>
                    <a:pt x="19115" y="15611"/>
                    <a:pt x="16470" y="16319"/>
                    <a:pt x="15148" y="14903"/>
                  </a:cubicBezTo>
                  <a:cubicBezTo>
                    <a:pt x="13737" y="14283"/>
                    <a:pt x="12415" y="12247"/>
                    <a:pt x="12415" y="10919"/>
                  </a:cubicBezTo>
                  <a:cubicBezTo>
                    <a:pt x="13120" y="9503"/>
                    <a:pt x="16470" y="10211"/>
                    <a:pt x="16470" y="8883"/>
                  </a:cubicBezTo>
                  <a:cubicBezTo>
                    <a:pt x="16470" y="6139"/>
                    <a:pt x="13737" y="4811"/>
                    <a:pt x="12415" y="2775"/>
                  </a:cubicBezTo>
                  <a:cubicBezTo>
                    <a:pt x="9770" y="2067"/>
                    <a:pt x="7742" y="-589"/>
                    <a:pt x="5009" y="119"/>
                  </a:cubicBezTo>
                  <a:cubicBezTo>
                    <a:pt x="3687" y="119"/>
                    <a:pt x="4392" y="3483"/>
                    <a:pt x="2982" y="4811"/>
                  </a:cubicBezTo>
                  <a:cubicBezTo>
                    <a:pt x="2364" y="5519"/>
                    <a:pt x="1659" y="5519"/>
                    <a:pt x="1659" y="6139"/>
                  </a:cubicBezTo>
                  <a:cubicBezTo>
                    <a:pt x="954" y="6847"/>
                    <a:pt x="2982" y="7467"/>
                    <a:pt x="2982" y="8175"/>
                  </a:cubicBezTo>
                  <a:cubicBezTo>
                    <a:pt x="2364" y="11539"/>
                    <a:pt x="-1074" y="14283"/>
                    <a:pt x="337" y="17647"/>
                  </a:cubicBezTo>
                  <a:cubicBezTo>
                    <a:pt x="954" y="19683"/>
                    <a:pt x="5009" y="18355"/>
                    <a:pt x="7742" y="1897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8" name="Shape 2449">
              <a:extLst>
                <a:ext uri="{FF2B5EF4-FFF2-40B4-BE49-F238E27FC236}">
                  <a16:creationId xmlns:a16="http://schemas.microsoft.com/office/drawing/2014/main" id="{4C1E2715-68F5-10AB-A551-CF818DEA3BF0}"/>
                </a:ext>
              </a:extLst>
            </p:cNvPr>
            <p:cNvSpPr/>
            <p:nvPr/>
          </p:nvSpPr>
          <p:spPr>
            <a:xfrm>
              <a:off x="3598752" y="4559298"/>
              <a:ext cx="123043" cy="102239"/>
            </a:xfrm>
            <a:custGeom>
              <a:avLst/>
              <a:gdLst/>
              <a:ahLst/>
              <a:cxnLst>
                <a:cxn ang="0">
                  <a:pos x="wd2" y="hd2"/>
                </a:cxn>
                <a:cxn ang="5400000">
                  <a:pos x="wd2" y="hd2"/>
                </a:cxn>
                <a:cxn ang="10800000">
                  <a:pos x="wd2" y="hd2"/>
                </a:cxn>
                <a:cxn ang="16200000">
                  <a:pos x="wd2" y="hd2"/>
                </a:cxn>
              </a:cxnLst>
              <a:rect l="0" t="0" r="r" b="b"/>
              <a:pathLst>
                <a:path w="21600" h="21600" extrusionOk="0">
                  <a:moveTo>
                    <a:pt x="21600" y="16218"/>
                  </a:moveTo>
                  <a:cubicBezTo>
                    <a:pt x="20243" y="21104"/>
                    <a:pt x="20243" y="21104"/>
                    <a:pt x="20243" y="21104"/>
                  </a:cubicBezTo>
                  <a:cubicBezTo>
                    <a:pt x="18000" y="21104"/>
                    <a:pt x="16230" y="21600"/>
                    <a:pt x="13987" y="21600"/>
                  </a:cubicBezTo>
                  <a:cubicBezTo>
                    <a:pt x="12630" y="21600"/>
                    <a:pt x="11744" y="21600"/>
                    <a:pt x="10800" y="21600"/>
                  </a:cubicBezTo>
                  <a:cubicBezTo>
                    <a:pt x="9030" y="20538"/>
                    <a:pt x="8085" y="18909"/>
                    <a:pt x="6315" y="18413"/>
                  </a:cubicBezTo>
                  <a:cubicBezTo>
                    <a:pt x="5843" y="17847"/>
                    <a:pt x="5843" y="20042"/>
                    <a:pt x="4957" y="20042"/>
                  </a:cubicBezTo>
                  <a:cubicBezTo>
                    <a:pt x="3128" y="20042"/>
                    <a:pt x="1770" y="18909"/>
                    <a:pt x="0" y="18413"/>
                  </a:cubicBezTo>
                  <a:cubicBezTo>
                    <a:pt x="885" y="16784"/>
                    <a:pt x="2243" y="15155"/>
                    <a:pt x="2715" y="13527"/>
                  </a:cubicBezTo>
                  <a:cubicBezTo>
                    <a:pt x="3128" y="11898"/>
                    <a:pt x="3128" y="9702"/>
                    <a:pt x="3600" y="8144"/>
                  </a:cubicBezTo>
                  <a:cubicBezTo>
                    <a:pt x="4957" y="5949"/>
                    <a:pt x="7200" y="3753"/>
                    <a:pt x="9030" y="2195"/>
                  </a:cubicBezTo>
                  <a:cubicBezTo>
                    <a:pt x="10800" y="567"/>
                    <a:pt x="12630" y="567"/>
                    <a:pt x="14400" y="0"/>
                  </a:cubicBezTo>
                  <a:cubicBezTo>
                    <a:pt x="16643" y="1629"/>
                    <a:pt x="18472" y="3258"/>
                    <a:pt x="18472" y="4320"/>
                  </a:cubicBezTo>
                  <a:cubicBezTo>
                    <a:pt x="18944" y="4320"/>
                    <a:pt x="18944" y="4887"/>
                    <a:pt x="18944" y="5382"/>
                  </a:cubicBezTo>
                  <a:cubicBezTo>
                    <a:pt x="14872" y="6515"/>
                    <a:pt x="21187" y="14022"/>
                    <a:pt x="21600" y="1621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29" name="Shape 2450">
              <a:extLst>
                <a:ext uri="{FF2B5EF4-FFF2-40B4-BE49-F238E27FC236}">
                  <a16:creationId xmlns:a16="http://schemas.microsoft.com/office/drawing/2014/main" id="{CC89EE20-10D8-1D19-46EE-B1B29514BB6A}"/>
                </a:ext>
              </a:extLst>
            </p:cNvPr>
            <p:cNvSpPr/>
            <p:nvPr/>
          </p:nvSpPr>
          <p:spPr>
            <a:xfrm>
              <a:off x="3565766" y="4646289"/>
              <a:ext cx="148596" cy="157954"/>
            </a:xfrm>
            <a:custGeom>
              <a:avLst/>
              <a:gdLst/>
              <a:ahLst/>
              <a:cxnLst>
                <a:cxn ang="0">
                  <a:pos x="wd2" y="hd2"/>
                </a:cxn>
                <a:cxn ang="5400000">
                  <a:pos x="wd2" y="hd2"/>
                </a:cxn>
                <a:cxn ang="10800000">
                  <a:pos x="wd2" y="hd2"/>
                </a:cxn>
                <a:cxn ang="16200000">
                  <a:pos x="wd2" y="hd2"/>
                </a:cxn>
              </a:cxnLst>
              <a:rect l="0" t="0" r="r" b="b"/>
              <a:pathLst>
                <a:path w="21216" h="21296" extrusionOk="0">
                  <a:moveTo>
                    <a:pt x="720" y="5620"/>
                  </a:moveTo>
                  <a:cubicBezTo>
                    <a:pt x="720" y="4937"/>
                    <a:pt x="-384" y="4207"/>
                    <a:pt x="336" y="3524"/>
                  </a:cubicBezTo>
                  <a:cubicBezTo>
                    <a:pt x="1104" y="2840"/>
                    <a:pt x="2928" y="3524"/>
                    <a:pt x="3648" y="2840"/>
                  </a:cubicBezTo>
                  <a:cubicBezTo>
                    <a:pt x="4752" y="2111"/>
                    <a:pt x="4368" y="744"/>
                    <a:pt x="4752" y="61"/>
                  </a:cubicBezTo>
                  <a:cubicBezTo>
                    <a:pt x="6192" y="380"/>
                    <a:pt x="7296" y="1109"/>
                    <a:pt x="8784" y="1109"/>
                  </a:cubicBezTo>
                  <a:cubicBezTo>
                    <a:pt x="9504" y="1109"/>
                    <a:pt x="9504" y="-304"/>
                    <a:pt x="9888" y="61"/>
                  </a:cubicBezTo>
                  <a:cubicBezTo>
                    <a:pt x="11328" y="380"/>
                    <a:pt x="12096" y="1428"/>
                    <a:pt x="13536" y="2111"/>
                  </a:cubicBezTo>
                  <a:cubicBezTo>
                    <a:pt x="14304" y="2111"/>
                    <a:pt x="15024" y="2111"/>
                    <a:pt x="16128" y="2111"/>
                  </a:cubicBezTo>
                  <a:cubicBezTo>
                    <a:pt x="17952" y="2111"/>
                    <a:pt x="19392" y="1792"/>
                    <a:pt x="21216" y="1792"/>
                  </a:cubicBezTo>
                  <a:cubicBezTo>
                    <a:pt x="20880" y="4207"/>
                    <a:pt x="20880" y="4207"/>
                    <a:pt x="20880" y="4207"/>
                  </a:cubicBezTo>
                  <a:cubicBezTo>
                    <a:pt x="18672" y="7352"/>
                    <a:pt x="18672" y="7352"/>
                    <a:pt x="18672" y="7352"/>
                  </a:cubicBezTo>
                  <a:cubicBezTo>
                    <a:pt x="17232" y="6987"/>
                    <a:pt x="16128" y="5620"/>
                    <a:pt x="14640" y="5985"/>
                  </a:cubicBezTo>
                  <a:cubicBezTo>
                    <a:pt x="13920" y="5985"/>
                    <a:pt x="14304" y="7716"/>
                    <a:pt x="13536" y="8400"/>
                  </a:cubicBezTo>
                  <a:cubicBezTo>
                    <a:pt x="13200" y="8764"/>
                    <a:pt x="12816" y="8764"/>
                    <a:pt x="12816" y="9083"/>
                  </a:cubicBezTo>
                  <a:cubicBezTo>
                    <a:pt x="12432" y="9448"/>
                    <a:pt x="13536" y="9767"/>
                    <a:pt x="13536" y="10131"/>
                  </a:cubicBezTo>
                  <a:cubicBezTo>
                    <a:pt x="13200" y="11863"/>
                    <a:pt x="11328" y="13276"/>
                    <a:pt x="12096" y="15007"/>
                  </a:cubicBezTo>
                  <a:cubicBezTo>
                    <a:pt x="12432" y="16055"/>
                    <a:pt x="14640" y="15372"/>
                    <a:pt x="16128" y="15691"/>
                  </a:cubicBezTo>
                  <a:cubicBezTo>
                    <a:pt x="15744" y="16420"/>
                    <a:pt x="15744" y="17104"/>
                    <a:pt x="15024" y="17787"/>
                  </a:cubicBezTo>
                  <a:cubicBezTo>
                    <a:pt x="14640" y="18152"/>
                    <a:pt x="13536" y="18516"/>
                    <a:pt x="12816" y="18835"/>
                  </a:cubicBezTo>
                  <a:cubicBezTo>
                    <a:pt x="11328" y="19519"/>
                    <a:pt x="9888" y="20567"/>
                    <a:pt x="8064" y="21296"/>
                  </a:cubicBezTo>
                  <a:cubicBezTo>
                    <a:pt x="8064" y="21296"/>
                    <a:pt x="8064" y="20567"/>
                    <a:pt x="7680" y="20567"/>
                  </a:cubicBezTo>
                  <a:cubicBezTo>
                    <a:pt x="7296" y="20567"/>
                    <a:pt x="6576" y="21296"/>
                    <a:pt x="6192" y="20931"/>
                  </a:cubicBezTo>
                  <a:cubicBezTo>
                    <a:pt x="5472" y="20248"/>
                    <a:pt x="6192" y="19200"/>
                    <a:pt x="5856" y="18516"/>
                  </a:cubicBezTo>
                  <a:cubicBezTo>
                    <a:pt x="5472" y="18152"/>
                    <a:pt x="4752" y="18835"/>
                    <a:pt x="4368" y="18516"/>
                  </a:cubicBezTo>
                  <a:cubicBezTo>
                    <a:pt x="4032" y="18516"/>
                    <a:pt x="3648" y="17787"/>
                    <a:pt x="3264" y="17787"/>
                  </a:cubicBezTo>
                  <a:cubicBezTo>
                    <a:pt x="2928" y="18516"/>
                    <a:pt x="3648" y="19883"/>
                    <a:pt x="2928" y="19883"/>
                  </a:cubicBezTo>
                  <a:cubicBezTo>
                    <a:pt x="2160" y="19883"/>
                    <a:pt x="1824" y="18835"/>
                    <a:pt x="1440" y="18152"/>
                  </a:cubicBezTo>
                  <a:cubicBezTo>
                    <a:pt x="1440" y="17104"/>
                    <a:pt x="2160" y="15691"/>
                    <a:pt x="1824" y="14324"/>
                  </a:cubicBezTo>
                  <a:cubicBezTo>
                    <a:pt x="1824" y="13276"/>
                    <a:pt x="0" y="12228"/>
                    <a:pt x="0" y="11180"/>
                  </a:cubicBezTo>
                  <a:cubicBezTo>
                    <a:pt x="336" y="9767"/>
                    <a:pt x="2160" y="9767"/>
                    <a:pt x="2544" y="8764"/>
                  </a:cubicBezTo>
                  <a:cubicBezTo>
                    <a:pt x="3264" y="8035"/>
                    <a:pt x="3264" y="6668"/>
                    <a:pt x="2544" y="5620"/>
                  </a:cubicBezTo>
                  <a:cubicBezTo>
                    <a:pt x="2544" y="5255"/>
                    <a:pt x="1440" y="5620"/>
                    <a:pt x="720" y="56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0" name="Shape 2451">
              <a:extLst>
                <a:ext uri="{FF2B5EF4-FFF2-40B4-BE49-F238E27FC236}">
                  <a16:creationId xmlns:a16="http://schemas.microsoft.com/office/drawing/2014/main" id="{B0758D3D-0103-9B08-04ED-866DC291FF40}"/>
                </a:ext>
              </a:extLst>
            </p:cNvPr>
            <p:cNvSpPr/>
            <p:nvPr/>
          </p:nvSpPr>
          <p:spPr>
            <a:xfrm>
              <a:off x="3696860" y="4636599"/>
              <a:ext cx="210743" cy="146834"/>
            </a:xfrm>
            <a:custGeom>
              <a:avLst/>
              <a:gdLst/>
              <a:ahLst/>
              <a:cxnLst>
                <a:cxn ang="0">
                  <a:pos x="wd2" y="hd2"/>
                </a:cxn>
                <a:cxn ang="5400000">
                  <a:pos x="wd2" y="hd2"/>
                </a:cxn>
                <a:cxn ang="10800000">
                  <a:pos x="wd2" y="hd2"/>
                </a:cxn>
                <a:cxn ang="16200000">
                  <a:pos x="wd2" y="hd2"/>
                </a:cxn>
              </a:cxnLst>
              <a:rect l="0" t="0" r="r" b="b"/>
              <a:pathLst>
                <a:path w="21600" h="21600" extrusionOk="0">
                  <a:moveTo>
                    <a:pt x="21600" y="10998"/>
                  </a:moveTo>
                  <a:cubicBezTo>
                    <a:pt x="20565" y="12484"/>
                    <a:pt x="19771" y="12881"/>
                    <a:pt x="19254" y="14367"/>
                  </a:cubicBezTo>
                  <a:cubicBezTo>
                    <a:pt x="18460" y="15903"/>
                    <a:pt x="18460" y="17389"/>
                    <a:pt x="18184" y="18925"/>
                  </a:cubicBezTo>
                  <a:cubicBezTo>
                    <a:pt x="18184" y="19668"/>
                    <a:pt x="18978" y="20461"/>
                    <a:pt x="18702" y="20807"/>
                  </a:cubicBezTo>
                  <a:cubicBezTo>
                    <a:pt x="18184" y="21204"/>
                    <a:pt x="17390" y="20461"/>
                    <a:pt x="16597" y="20461"/>
                  </a:cubicBezTo>
                  <a:cubicBezTo>
                    <a:pt x="15562" y="20461"/>
                    <a:pt x="14768" y="21600"/>
                    <a:pt x="13698" y="21600"/>
                  </a:cubicBezTo>
                  <a:cubicBezTo>
                    <a:pt x="12663" y="21204"/>
                    <a:pt x="12111" y="20064"/>
                    <a:pt x="11318" y="19668"/>
                  </a:cubicBezTo>
                  <a:cubicBezTo>
                    <a:pt x="10558" y="19321"/>
                    <a:pt x="9765" y="18925"/>
                    <a:pt x="9213" y="19321"/>
                  </a:cubicBezTo>
                  <a:cubicBezTo>
                    <a:pt x="8971" y="19321"/>
                    <a:pt x="8971" y="20461"/>
                    <a:pt x="8695" y="20461"/>
                  </a:cubicBezTo>
                  <a:cubicBezTo>
                    <a:pt x="7902" y="20461"/>
                    <a:pt x="6866" y="19668"/>
                    <a:pt x="6073" y="19321"/>
                  </a:cubicBezTo>
                  <a:cubicBezTo>
                    <a:pt x="6073" y="19321"/>
                    <a:pt x="5003" y="20064"/>
                    <a:pt x="4762" y="20064"/>
                  </a:cubicBezTo>
                  <a:cubicBezTo>
                    <a:pt x="4486" y="20064"/>
                    <a:pt x="2898" y="19668"/>
                    <a:pt x="2898" y="19668"/>
                  </a:cubicBezTo>
                  <a:cubicBezTo>
                    <a:pt x="2898" y="18925"/>
                    <a:pt x="3174" y="18182"/>
                    <a:pt x="2898" y="17389"/>
                  </a:cubicBezTo>
                  <a:cubicBezTo>
                    <a:pt x="2622" y="16646"/>
                    <a:pt x="1587" y="17042"/>
                    <a:pt x="1070" y="16250"/>
                  </a:cubicBezTo>
                  <a:cubicBezTo>
                    <a:pt x="518" y="15903"/>
                    <a:pt x="0" y="14763"/>
                    <a:pt x="0" y="14020"/>
                  </a:cubicBezTo>
                  <a:cubicBezTo>
                    <a:pt x="276" y="13228"/>
                    <a:pt x="1587" y="13624"/>
                    <a:pt x="1587" y="12881"/>
                  </a:cubicBezTo>
                  <a:cubicBezTo>
                    <a:pt x="1587" y="11345"/>
                    <a:pt x="518" y="10602"/>
                    <a:pt x="0" y="9462"/>
                  </a:cubicBezTo>
                  <a:cubicBezTo>
                    <a:pt x="1587" y="6044"/>
                    <a:pt x="1587" y="6044"/>
                    <a:pt x="1587" y="6044"/>
                  </a:cubicBezTo>
                  <a:cubicBezTo>
                    <a:pt x="1829" y="3418"/>
                    <a:pt x="1829" y="3418"/>
                    <a:pt x="1829" y="3418"/>
                  </a:cubicBezTo>
                  <a:cubicBezTo>
                    <a:pt x="2622" y="0"/>
                    <a:pt x="2622" y="0"/>
                    <a:pt x="2622" y="0"/>
                  </a:cubicBezTo>
                  <a:cubicBezTo>
                    <a:pt x="3692" y="0"/>
                    <a:pt x="7902" y="3022"/>
                    <a:pt x="8971" y="3765"/>
                  </a:cubicBezTo>
                  <a:cubicBezTo>
                    <a:pt x="12663" y="6837"/>
                    <a:pt x="17390" y="8323"/>
                    <a:pt x="21600" y="1099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1" name="Shape 2452">
              <a:extLst>
                <a:ext uri="{FF2B5EF4-FFF2-40B4-BE49-F238E27FC236}">
                  <a16:creationId xmlns:a16="http://schemas.microsoft.com/office/drawing/2014/main" id="{42321677-C205-51C0-9448-C3AAA2C6B9B2}"/>
                </a:ext>
              </a:extLst>
            </p:cNvPr>
            <p:cNvSpPr/>
            <p:nvPr/>
          </p:nvSpPr>
          <p:spPr>
            <a:xfrm>
              <a:off x="2901596" y="3546942"/>
              <a:ext cx="664118" cy="970395"/>
            </a:xfrm>
            <a:custGeom>
              <a:avLst/>
              <a:gdLst/>
              <a:ahLst/>
              <a:cxnLst>
                <a:cxn ang="0">
                  <a:pos x="wd2" y="hd2"/>
                </a:cxn>
                <a:cxn ang="5400000">
                  <a:pos x="wd2" y="hd2"/>
                </a:cxn>
                <a:cxn ang="10800000">
                  <a:pos x="wd2" y="hd2"/>
                </a:cxn>
                <a:cxn ang="16200000">
                  <a:pos x="wd2" y="hd2"/>
                </a:cxn>
              </a:cxnLst>
              <a:rect l="0" t="0" r="r" b="b"/>
              <a:pathLst>
                <a:path w="21600" h="21600" extrusionOk="0">
                  <a:moveTo>
                    <a:pt x="16241" y="17706"/>
                  </a:moveTo>
                  <a:cubicBezTo>
                    <a:pt x="16066" y="17706"/>
                    <a:pt x="15901" y="17654"/>
                    <a:pt x="15825" y="17654"/>
                  </a:cubicBezTo>
                  <a:cubicBezTo>
                    <a:pt x="15649" y="17706"/>
                    <a:pt x="15573" y="17766"/>
                    <a:pt x="15485" y="17819"/>
                  </a:cubicBezTo>
                  <a:cubicBezTo>
                    <a:pt x="15321" y="17991"/>
                    <a:pt x="15156" y="18111"/>
                    <a:pt x="15068" y="18284"/>
                  </a:cubicBezTo>
                  <a:cubicBezTo>
                    <a:pt x="15068" y="18396"/>
                    <a:pt x="15321" y="18449"/>
                    <a:pt x="15233" y="18561"/>
                  </a:cubicBezTo>
                  <a:cubicBezTo>
                    <a:pt x="15156" y="18674"/>
                    <a:pt x="14816" y="18734"/>
                    <a:pt x="14816" y="18847"/>
                  </a:cubicBezTo>
                  <a:cubicBezTo>
                    <a:pt x="14816" y="19019"/>
                    <a:pt x="15068" y="19079"/>
                    <a:pt x="15233" y="19192"/>
                  </a:cubicBezTo>
                  <a:cubicBezTo>
                    <a:pt x="15156" y="19304"/>
                    <a:pt x="14981" y="19417"/>
                    <a:pt x="14816" y="19537"/>
                  </a:cubicBezTo>
                  <a:cubicBezTo>
                    <a:pt x="14652" y="19762"/>
                    <a:pt x="14652" y="20047"/>
                    <a:pt x="14400" y="20220"/>
                  </a:cubicBezTo>
                  <a:cubicBezTo>
                    <a:pt x="14312" y="20392"/>
                    <a:pt x="14060" y="20512"/>
                    <a:pt x="13808" y="20512"/>
                  </a:cubicBezTo>
                  <a:cubicBezTo>
                    <a:pt x="13644" y="20512"/>
                    <a:pt x="13556" y="20280"/>
                    <a:pt x="13392" y="20220"/>
                  </a:cubicBezTo>
                  <a:cubicBezTo>
                    <a:pt x="13140" y="20107"/>
                    <a:pt x="12811" y="19934"/>
                    <a:pt x="12471" y="19934"/>
                  </a:cubicBezTo>
                  <a:cubicBezTo>
                    <a:pt x="12142" y="19994"/>
                    <a:pt x="11967" y="20280"/>
                    <a:pt x="11715" y="20340"/>
                  </a:cubicBezTo>
                  <a:cubicBezTo>
                    <a:pt x="11463" y="20452"/>
                    <a:pt x="11211" y="20512"/>
                    <a:pt x="10959" y="20512"/>
                  </a:cubicBezTo>
                  <a:cubicBezTo>
                    <a:pt x="10630" y="20565"/>
                    <a:pt x="10290" y="20392"/>
                    <a:pt x="9962" y="20512"/>
                  </a:cubicBezTo>
                  <a:cubicBezTo>
                    <a:pt x="9874" y="20565"/>
                    <a:pt x="9962" y="20737"/>
                    <a:pt x="9874" y="20857"/>
                  </a:cubicBezTo>
                  <a:cubicBezTo>
                    <a:pt x="9797" y="20970"/>
                    <a:pt x="9622" y="21022"/>
                    <a:pt x="9545" y="21142"/>
                  </a:cubicBezTo>
                  <a:cubicBezTo>
                    <a:pt x="9545" y="21142"/>
                    <a:pt x="9129" y="21082"/>
                    <a:pt x="9041" y="21082"/>
                  </a:cubicBezTo>
                  <a:cubicBezTo>
                    <a:pt x="8953" y="21082"/>
                    <a:pt x="8789" y="21600"/>
                    <a:pt x="8789" y="21600"/>
                  </a:cubicBezTo>
                  <a:cubicBezTo>
                    <a:pt x="8449" y="21540"/>
                    <a:pt x="8197" y="21367"/>
                    <a:pt x="7868" y="21307"/>
                  </a:cubicBezTo>
                  <a:cubicBezTo>
                    <a:pt x="7529" y="21307"/>
                    <a:pt x="7277" y="21427"/>
                    <a:pt x="7025" y="21427"/>
                  </a:cubicBezTo>
                  <a:cubicBezTo>
                    <a:pt x="6948" y="21367"/>
                    <a:pt x="6784" y="21367"/>
                    <a:pt x="6608" y="21307"/>
                  </a:cubicBezTo>
                  <a:cubicBezTo>
                    <a:pt x="6532" y="21195"/>
                    <a:pt x="6532" y="21082"/>
                    <a:pt x="6444" y="21022"/>
                  </a:cubicBezTo>
                  <a:cubicBezTo>
                    <a:pt x="6279" y="20857"/>
                    <a:pt x="6027" y="20737"/>
                    <a:pt x="5775" y="20565"/>
                  </a:cubicBezTo>
                  <a:cubicBezTo>
                    <a:pt x="5688" y="20452"/>
                    <a:pt x="5611" y="20280"/>
                    <a:pt x="5436" y="20167"/>
                  </a:cubicBezTo>
                  <a:cubicBezTo>
                    <a:pt x="5359" y="20107"/>
                    <a:pt x="5436" y="20280"/>
                    <a:pt x="5359" y="20340"/>
                  </a:cubicBezTo>
                  <a:cubicBezTo>
                    <a:pt x="5195" y="20452"/>
                    <a:pt x="4855" y="20452"/>
                    <a:pt x="4690" y="20565"/>
                  </a:cubicBezTo>
                  <a:cubicBezTo>
                    <a:pt x="4438" y="20737"/>
                    <a:pt x="4351" y="20970"/>
                    <a:pt x="4099" y="21082"/>
                  </a:cubicBezTo>
                  <a:cubicBezTo>
                    <a:pt x="3934" y="21195"/>
                    <a:pt x="3682" y="21195"/>
                    <a:pt x="3430" y="21142"/>
                  </a:cubicBezTo>
                  <a:cubicBezTo>
                    <a:pt x="3266" y="21082"/>
                    <a:pt x="3101" y="20910"/>
                    <a:pt x="2926" y="20797"/>
                  </a:cubicBezTo>
                  <a:cubicBezTo>
                    <a:pt x="2762" y="20625"/>
                    <a:pt x="2762" y="20452"/>
                    <a:pt x="2674" y="20280"/>
                  </a:cubicBezTo>
                  <a:cubicBezTo>
                    <a:pt x="2674" y="20167"/>
                    <a:pt x="2674" y="20047"/>
                    <a:pt x="2597" y="19994"/>
                  </a:cubicBezTo>
                  <a:cubicBezTo>
                    <a:pt x="2510" y="19822"/>
                    <a:pt x="2181" y="19709"/>
                    <a:pt x="2258" y="19537"/>
                  </a:cubicBezTo>
                  <a:cubicBezTo>
                    <a:pt x="2258" y="19417"/>
                    <a:pt x="2510" y="19304"/>
                    <a:pt x="2674" y="19192"/>
                  </a:cubicBezTo>
                  <a:cubicBezTo>
                    <a:pt x="2849" y="19019"/>
                    <a:pt x="3101" y="18847"/>
                    <a:pt x="3178" y="18621"/>
                  </a:cubicBezTo>
                  <a:cubicBezTo>
                    <a:pt x="3178" y="18396"/>
                    <a:pt x="2926" y="18224"/>
                    <a:pt x="2762" y="18051"/>
                  </a:cubicBezTo>
                  <a:cubicBezTo>
                    <a:pt x="2674" y="17939"/>
                    <a:pt x="2345" y="17991"/>
                    <a:pt x="2345" y="17939"/>
                  </a:cubicBezTo>
                  <a:cubicBezTo>
                    <a:pt x="2345" y="17819"/>
                    <a:pt x="2597" y="17819"/>
                    <a:pt x="2674" y="17706"/>
                  </a:cubicBezTo>
                  <a:cubicBezTo>
                    <a:pt x="2849" y="17481"/>
                    <a:pt x="2674" y="17136"/>
                    <a:pt x="2926" y="16963"/>
                  </a:cubicBezTo>
                  <a:cubicBezTo>
                    <a:pt x="3266" y="16678"/>
                    <a:pt x="3934" y="16738"/>
                    <a:pt x="4351" y="16506"/>
                  </a:cubicBezTo>
                  <a:cubicBezTo>
                    <a:pt x="4438" y="16446"/>
                    <a:pt x="4351" y="16273"/>
                    <a:pt x="4263" y="16161"/>
                  </a:cubicBezTo>
                  <a:cubicBezTo>
                    <a:pt x="4263" y="16048"/>
                    <a:pt x="4099" y="15988"/>
                    <a:pt x="4011" y="15876"/>
                  </a:cubicBezTo>
                  <a:cubicBezTo>
                    <a:pt x="4011" y="15763"/>
                    <a:pt x="4186" y="15530"/>
                    <a:pt x="4011" y="15530"/>
                  </a:cubicBezTo>
                  <a:cubicBezTo>
                    <a:pt x="3770" y="15418"/>
                    <a:pt x="3430" y="15643"/>
                    <a:pt x="3101" y="15643"/>
                  </a:cubicBezTo>
                  <a:cubicBezTo>
                    <a:pt x="2926" y="15643"/>
                    <a:pt x="2926" y="15530"/>
                    <a:pt x="2849" y="15470"/>
                  </a:cubicBezTo>
                  <a:cubicBezTo>
                    <a:pt x="2674" y="15245"/>
                    <a:pt x="2597" y="14960"/>
                    <a:pt x="2345" y="14788"/>
                  </a:cubicBezTo>
                  <a:cubicBezTo>
                    <a:pt x="2181" y="14675"/>
                    <a:pt x="1929" y="14788"/>
                    <a:pt x="1753" y="14675"/>
                  </a:cubicBezTo>
                  <a:cubicBezTo>
                    <a:pt x="1589" y="14615"/>
                    <a:pt x="1425" y="14503"/>
                    <a:pt x="1337" y="14382"/>
                  </a:cubicBezTo>
                  <a:cubicBezTo>
                    <a:pt x="1173" y="14157"/>
                    <a:pt x="1337" y="13872"/>
                    <a:pt x="1085" y="13640"/>
                  </a:cubicBezTo>
                  <a:cubicBezTo>
                    <a:pt x="833" y="13407"/>
                    <a:pt x="329" y="13355"/>
                    <a:pt x="0" y="13235"/>
                  </a:cubicBezTo>
                  <a:cubicBezTo>
                    <a:pt x="88" y="13182"/>
                    <a:pt x="88" y="13122"/>
                    <a:pt x="88" y="13122"/>
                  </a:cubicBezTo>
                  <a:cubicBezTo>
                    <a:pt x="164" y="12949"/>
                    <a:pt x="504" y="12319"/>
                    <a:pt x="756" y="12319"/>
                  </a:cubicBezTo>
                  <a:cubicBezTo>
                    <a:pt x="921" y="12267"/>
                    <a:pt x="1249" y="12267"/>
                    <a:pt x="1249" y="12094"/>
                  </a:cubicBezTo>
                  <a:cubicBezTo>
                    <a:pt x="1249" y="11922"/>
                    <a:pt x="1425" y="11809"/>
                    <a:pt x="1425" y="11689"/>
                  </a:cubicBezTo>
                  <a:cubicBezTo>
                    <a:pt x="833" y="11577"/>
                    <a:pt x="1501" y="11171"/>
                    <a:pt x="1589" y="11006"/>
                  </a:cubicBezTo>
                  <a:cubicBezTo>
                    <a:pt x="2005" y="10774"/>
                    <a:pt x="2258" y="10661"/>
                    <a:pt x="2597" y="10376"/>
                  </a:cubicBezTo>
                  <a:cubicBezTo>
                    <a:pt x="2926" y="10091"/>
                    <a:pt x="3770" y="9513"/>
                    <a:pt x="4263" y="9401"/>
                  </a:cubicBezTo>
                  <a:cubicBezTo>
                    <a:pt x="4603" y="9341"/>
                    <a:pt x="4942" y="9281"/>
                    <a:pt x="5195" y="9401"/>
                  </a:cubicBezTo>
                  <a:cubicBezTo>
                    <a:pt x="5271" y="9453"/>
                    <a:pt x="5436" y="9626"/>
                    <a:pt x="5523" y="9573"/>
                  </a:cubicBezTo>
                  <a:cubicBezTo>
                    <a:pt x="5611" y="9573"/>
                    <a:pt x="5863" y="9453"/>
                    <a:pt x="5940" y="9401"/>
                  </a:cubicBezTo>
                  <a:cubicBezTo>
                    <a:pt x="6532" y="9281"/>
                    <a:pt x="6192" y="8425"/>
                    <a:pt x="6444" y="8425"/>
                  </a:cubicBezTo>
                  <a:cubicBezTo>
                    <a:pt x="6948" y="8253"/>
                    <a:pt x="6948" y="8253"/>
                    <a:pt x="6948" y="8253"/>
                  </a:cubicBezTo>
                  <a:cubicBezTo>
                    <a:pt x="7277" y="8140"/>
                    <a:pt x="7529" y="7855"/>
                    <a:pt x="7956" y="7908"/>
                  </a:cubicBezTo>
                  <a:cubicBezTo>
                    <a:pt x="8197" y="7968"/>
                    <a:pt x="8625" y="7683"/>
                    <a:pt x="8789" y="7563"/>
                  </a:cubicBezTo>
                  <a:cubicBezTo>
                    <a:pt x="8877" y="7510"/>
                    <a:pt x="9293" y="7165"/>
                    <a:pt x="9293" y="7045"/>
                  </a:cubicBezTo>
                  <a:cubicBezTo>
                    <a:pt x="9205" y="7045"/>
                    <a:pt x="9205" y="7045"/>
                    <a:pt x="9129" y="7045"/>
                  </a:cubicBezTo>
                  <a:cubicBezTo>
                    <a:pt x="9129" y="6992"/>
                    <a:pt x="8537" y="6707"/>
                    <a:pt x="8449" y="6647"/>
                  </a:cubicBezTo>
                  <a:cubicBezTo>
                    <a:pt x="8197" y="6302"/>
                    <a:pt x="8373" y="6077"/>
                    <a:pt x="8197" y="5732"/>
                  </a:cubicBezTo>
                  <a:cubicBezTo>
                    <a:pt x="8197" y="5559"/>
                    <a:pt x="8121" y="5327"/>
                    <a:pt x="7956" y="5214"/>
                  </a:cubicBezTo>
                  <a:cubicBezTo>
                    <a:pt x="7868" y="5154"/>
                    <a:pt x="7529" y="4989"/>
                    <a:pt x="7452" y="4869"/>
                  </a:cubicBezTo>
                  <a:cubicBezTo>
                    <a:pt x="7452" y="4869"/>
                    <a:pt x="7364" y="4817"/>
                    <a:pt x="7277" y="4817"/>
                  </a:cubicBezTo>
                  <a:lnTo>
                    <a:pt x="7200" y="4817"/>
                  </a:lnTo>
                  <a:cubicBezTo>
                    <a:pt x="7200" y="4757"/>
                    <a:pt x="7277" y="4359"/>
                    <a:pt x="7112" y="4299"/>
                  </a:cubicBezTo>
                  <a:cubicBezTo>
                    <a:pt x="7025" y="4186"/>
                    <a:pt x="6784" y="4126"/>
                    <a:pt x="6784" y="4014"/>
                  </a:cubicBezTo>
                  <a:cubicBezTo>
                    <a:pt x="6696" y="3954"/>
                    <a:pt x="6608" y="3901"/>
                    <a:pt x="6608" y="3901"/>
                  </a:cubicBezTo>
                  <a:cubicBezTo>
                    <a:pt x="6532" y="3841"/>
                    <a:pt x="6356" y="3496"/>
                    <a:pt x="6356" y="3436"/>
                  </a:cubicBezTo>
                  <a:cubicBezTo>
                    <a:pt x="6444" y="3436"/>
                    <a:pt x="6444" y="3436"/>
                    <a:pt x="6444" y="3436"/>
                  </a:cubicBezTo>
                  <a:cubicBezTo>
                    <a:pt x="6860" y="3436"/>
                    <a:pt x="7364" y="3496"/>
                    <a:pt x="7781" y="3496"/>
                  </a:cubicBezTo>
                  <a:cubicBezTo>
                    <a:pt x="8033" y="3264"/>
                    <a:pt x="8197" y="2866"/>
                    <a:pt x="8537" y="2581"/>
                  </a:cubicBezTo>
                  <a:cubicBezTo>
                    <a:pt x="8701" y="2461"/>
                    <a:pt x="8953" y="2408"/>
                    <a:pt x="9129" y="2296"/>
                  </a:cubicBezTo>
                  <a:cubicBezTo>
                    <a:pt x="9293" y="2063"/>
                    <a:pt x="9293" y="2063"/>
                    <a:pt x="9293" y="1838"/>
                  </a:cubicBezTo>
                  <a:lnTo>
                    <a:pt x="9293" y="1778"/>
                  </a:lnTo>
                  <a:cubicBezTo>
                    <a:pt x="9370" y="1778"/>
                    <a:pt x="9458" y="1718"/>
                    <a:pt x="9458" y="1718"/>
                  </a:cubicBezTo>
                  <a:cubicBezTo>
                    <a:pt x="9545" y="1666"/>
                    <a:pt x="9710" y="1493"/>
                    <a:pt x="9710" y="1433"/>
                  </a:cubicBezTo>
                  <a:cubicBezTo>
                    <a:pt x="10466" y="1433"/>
                    <a:pt x="10038" y="1035"/>
                    <a:pt x="10542" y="975"/>
                  </a:cubicBezTo>
                  <a:cubicBezTo>
                    <a:pt x="10630" y="863"/>
                    <a:pt x="10630" y="630"/>
                    <a:pt x="10718" y="570"/>
                  </a:cubicBezTo>
                  <a:cubicBezTo>
                    <a:pt x="10718" y="518"/>
                    <a:pt x="10718" y="458"/>
                    <a:pt x="10718" y="398"/>
                  </a:cubicBezTo>
                  <a:lnTo>
                    <a:pt x="10795" y="345"/>
                  </a:lnTo>
                  <a:cubicBezTo>
                    <a:pt x="10882" y="285"/>
                    <a:pt x="10959" y="233"/>
                    <a:pt x="11047" y="233"/>
                  </a:cubicBezTo>
                  <a:cubicBezTo>
                    <a:pt x="11047" y="173"/>
                    <a:pt x="11134" y="173"/>
                    <a:pt x="11134" y="173"/>
                  </a:cubicBezTo>
                  <a:cubicBezTo>
                    <a:pt x="11211" y="173"/>
                    <a:pt x="11299" y="113"/>
                    <a:pt x="11299" y="113"/>
                  </a:cubicBezTo>
                  <a:cubicBezTo>
                    <a:pt x="11463" y="0"/>
                    <a:pt x="11463" y="0"/>
                    <a:pt x="11463" y="0"/>
                  </a:cubicBezTo>
                  <a:cubicBezTo>
                    <a:pt x="11715" y="345"/>
                    <a:pt x="12055" y="690"/>
                    <a:pt x="12307" y="975"/>
                  </a:cubicBezTo>
                  <a:cubicBezTo>
                    <a:pt x="13052" y="1951"/>
                    <a:pt x="14312" y="2296"/>
                    <a:pt x="15649" y="2633"/>
                  </a:cubicBezTo>
                  <a:cubicBezTo>
                    <a:pt x="16241" y="2753"/>
                    <a:pt x="15573" y="2926"/>
                    <a:pt x="15573" y="3099"/>
                  </a:cubicBezTo>
                  <a:cubicBezTo>
                    <a:pt x="15573" y="3099"/>
                    <a:pt x="16405" y="3781"/>
                    <a:pt x="16570" y="3841"/>
                  </a:cubicBezTo>
                  <a:cubicBezTo>
                    <a:pt x="17162" y="4066"/>
                    <a:pt x="17490" y="4066"/>
                    <a:pt x="17918" y="4584"/>
                  </a:cubicBezTo>
                  <a:cubicBezTo>
                    <a:pt x="18159" y="4989"/>
                    <a:pt x="18334" y="5042"/>
                    <a:pt x="18334" y="5499"/>
                  </a:cubicBezTo>
                  <a:cubicBezTo>
                    <a:pt x="18334" y="5845"/>
                    <a:pt x="18751" y="6017"/>
                    <a:pt x="18751" y="6302"/>
                  </a:cubicBezTo>
                  <a:cubicBezTo>
                    <a:pt x="18751" y="6647"/>
                    <a:pt x="19167" y="6535"/>
                    <a:pt x="19167" y="6992"/>
                  </a:cubicBezTo>
                  <a:cubicBezTo>
                    <a:pt x="19079" y="7390"/>
                    <a:pt x="19584" y="8193"/>
                    <a:pt x="19167" y="8538"/>
                  </a:cubicBezTo>
                  <a:cubicBezTo>
                    <a:pt x="18159" y="9401"/>
                    <a:pt x="20088" y="9971"/>
                    <a:pt x="19923" y="10256"/>
                  </a:cubicBezTo>
                  <a:cubicBezTo>
                    <a:pt x="19419" y="10834"/>
                    <a:pt x="19836" y="11862"/>
                    <a:pt x="20340" y="12379"/>
                  </a:cubicBezTo>
                  <a:cubicBezTo>
                    <a:pt x="20340" y="12552"/>
                    <a:pt x="20504" y="12724"/>
                    <a:pt x="20504" y="12897"/>
                  </a:cubicBezTo>
                  <a:cubicBezTo>
                    <a:pt x="20679" y="13122"/>
                    <a:pt x="20175" y="13295"/>
                    <a:pt x="20340" y="13640"/>
                  </a:cubicBezTo>
                  <a:cubicBezTo>
                    <a:pt x="21260" y="15185"/>
                    <a:pt x="21260" y="15185"/>
                    <a:pt x="21260" y="15185"/>
                  </a:cubicBezTo>
                  <a:cubicBezTo>
                    <a:pt x="21425" y="15358"/>
                    <a:pt x="21512" y="15590"/>
                    <a:pt x="21600" y="15763"/>
                  </a:cubicBezTo>
                  <a:cubicBezTo>
                    <a:pt x="21348" y="15815"/>
                    <a:pt x="21425" y="15763"/>
                    <a:pt x="21173" y="15876"/>
                  </a:cubicBezTo>
                  <a:cubicBezTo>
                    <a:pt x="21008" y="15928"/>
                    <a:pt x="21096" y="16048"/>
                    <a:pt x="20921" y="16161"/>
                  </a:cubicBezTo>
                  <a:cubicBezTo>
                    <a:pt x="20844" y="16221"/>
                    <a:pt x="20756" y="16273"/>
                    <a:pt x="20592" y="16273"/>
                  </a:cubicBezTo>
                  <a:cubicBezTo>
                    <a:pt x="20427" y="16333"/>
                    <a:pt x="20252" y="16221"/>
                    <a:pt x="20088" y="16161"/>
                  </a:cubicBezTo>
                  <a:cubicBezTo>
                    <a:pt x="19836" y="16161"/>
                    <a:pt x="19671" y="16221"/>
                    <a:pt x="19419" y="16221"/>
                  </a:cubicBezTo>
                  <a:cubicBezTo>
                    <a:pt x="19332" y="16221"/>
                    <a:pt x="19167" y="16101"/>
                    <a:pt x="19079" y="16101"/>
                  </a:cubicBezTo>
                  <a:cubicBezTo>
                    <a:pt x="18838" y="16048"/>
                    <a:pt x="18663" y="16048"/>
                    <a:pt x="18499" y="16048"/>
                  </a:cubicBezTo>
                  <a:cubicBezTo>
                    <a:pt x="18334" y="15928"/>
                    <a:pt x="18247" y="15703"/>
                    <a:pt x="18082" y="15703"/>
                  </a:cubicBezTo>
                  <a:cubicBezTo>
                    <a:pt x="17742" y="15703"/>
                    <a:pt x="17414" y="15815"/>
                    <a:pt x="17238" y="16048"/>
                  </a:cubicBezTo>
                  <a:cubicBezTo>
                    <a:pt x="17074" y="16161"/>
                    <a:pt x="17490" y="16393"/>
                    <a:pt x="17414" y="16566"/>
                  </a:cubicBezTo>
                  <a:cubicBezTo>
                    <a:pt x="17238" y="16738"/>
                    <a:pt x="16822" y="16678"/>
                    <a:pt x="16570" y="16851"/>
                  </a:cubicBezTo>
                  <a:cubicBezTo>
                    <a:pt x="16405" y="17076"/>
                    <a:pt x="16318" y="17421"/>
                    <a:pt x="16241" y="1770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2" name="Shape 2453">
              <a:extLst>
                <a:ext uri="{FF2B5EF4-FFF2-40B4-BE49-F238E27FC236}">
                  <a16:creationId xmlns:a16="http://schemas.microsoft.com/office/drawing/2014/main" id="{6D5187EB-E3E2-C647-69AF-886CCA527CEF}"/>
                </a:ext>
              </a:extLst>
            </p:cNvPr>
            <p:cNvSpPr/>
            <p:nvPr/>
          </p:nvSpPr>
          <p:spPr>
            <a:xfrm>
              <a:off x="3503465" y="4376448"/>
              <a:ext cx="121708" cy="128515"/>
            </a:xfrm>
            <a:custGeom>
              <a:avLst/>
              <a:gdLst/>
              <a:ahLst/>
              <a:cxnLst>
                <a:cxn ang="0">
                  <a:pos x="wd2" y="hd2"/>
                </a:cxn>
                <a:cxn ang="5400000">
                  <a:pos x="wd2" y="hd2"/>
                </a:cxn>
                <a:cxn ang="10800000">
                  <a:pos x="wd2" y="hd2"/>
                </a:cxn>
                <a:cxn ang="16200000">
                  <a:pos x="wd2" y="hd2"/>
                </a:cxn>
              </a:cxnLst>
              <a:rect l="0" t="0" r="r" b="b"/>
              <a:pathLst>
                <a:path w="20862" h="21274" extrusionOk="0">
                  <a:moveTo>
                    <a:pt x="18667" y="0"/>
                  </a:moveTo>
                  <a:cubicBezTo>
                    <a:pt x="16473" y="833"/>
                    <a:pt x="14682" y="1666"/>
                    <a:pt x="12083" y="2110"/>
                  </a:cubicBezTo>
                  <a:cubicBezTo>
                    <a:pt x="9831" y="2110"/>
                    <a:pt x="7636" y="1666"/>
                    <a:pt x="4980" y="1666"/>
                  </a:cubicBezTo>
                  <a:cubicBezTo>
                    <a:pt x="3651" y="1666"/>
                    <a:pt x="1457" y="833"/>
                    <a:pt x="590" y="2110"/>
                  </a:cubicBezTo>
                  <a:cubicBezTo>
                    <a:pt x="-738" y="4220"/>
                    <a:pt x="590" y="6774"/>
                    <a:pt x="590" y="9329"/>
                  </a:cubicBezTo>
                  <a:cubicBezTo>
                    <a:pt x="995" y="9717"/>
                    <a:pt x="995" y="10161"/>
                    <a:pt x="1457" y="10161"/>
                  </a:cubicBezTo>
                  <a:cubicBezTo>
                    <a:pt x="2785" y="10550"/>
                    <a:pt x="3651" y="10161"/>
                    <a:pt x="4980" y="10550"/>
                  </a:cubicBezTo>
                  <a:cubicBezTo>
                    <a:pt x="4980" y="10550"/>
                    <a:pt x="6308" y="16547"/>
                    <a:pt x="6308" y="16936"/>
                  </a:cubicBezTo>
                  <a:cubicBezTo>
                    <a:pt x="6308" y="17380"/>
                    <a:pt x="7174" y="21156"/>
                    <a:pt x="7174" y="21156"/>
                  </a:cubicBezTo>
                  <a:cubicBezTo>
                    <a:pt x="8965" y="21156"/>
                    <a:pt x="10755" y="21600"/>
                    <a:pt x="12488" y="20767"/>
                  </a:cubicBezTo>
                  <a:cubicBezTo>
                    <a:pt x="13354" y="20767"/>
                    <a:pt x="13354" y="19490"/>
                    <a:pt x="13354" y="18657"/>
                  </a:cubicBezTo>
                  <a:cubicBezTo>
                    <a:pt x="13816" y="17380"/>
                    <a:pt x="12950" y="15659"/>
                    <a:pt x="13816" y="14826"/>
                  </a:cubicBezTo>
                  <a:cubicBezTo>
                    <a:pt x="14278" y="13549"/>
                    <a:pt x="16011" y="13993"/>
                    <a:pt x="16877" y="13549"/>
                  </a:cubicBezTo>
                  <a:cubicBezTo>
                    <a:pt x="18667" y="13104"/>
                    <a:pt x="19129" y="12716"/>
                    <a:pt x="20862" y="11827"/>
                  </a:cubicBezTo>
                  <a:cubicBezTo>
                    <a:pt x="19534" y="9329"/>
                    <a:pt x="18667" y="4220"/>
                    <a:pt x="18667" y="2110"/>
                  </a:cubicBezTo>
                  <a:cubicBezTo>
                    <a:pt x="18667" y="1666"/>
                    <a:pt x="18667" y="833"/>
                    <a:pt x="1866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3" name="Shape 2454">
              <a:extLst>
                <a:ext uri="{FF2B5EF4-FFF2-40B4-BE49-F238E27FC236}">
                  <a16:creationId xmlns:a16="http://schemas.microsoft.com/office/drawing/2014/main" id="{A63EA220-1B3B-820F-AC38-F2CCB6B3DB18}"/>
                </a:ext>
              </a:extLst>
            </p:cNvPr>
            <p:cNvSpPr/>
            <p:nvPr/>
          </p:nvSpPr>
          <p:spPr>
            <a:xfrm>
              <a:off x="3096323" y="4397852"/>
              <a:ext cx="583849" cy="419772"/>
            </a:xfrm>
            <a:custGeom>
              <a:avLst/>
              <a:gdLst/>
              <a:ahLst/>
              <a:cxnLst>
                <a:cxn ang="0">
                  <a:pos x="wd2" y="hd2"/>
                </a:cxn>
                <a:cxn ang="5400000">
                  <a:pos x="wd2" y="hd2"/>
                </a:cxn>
                <a:cxn ang="10800000">
                  <a:pos x="wd2" y="hd2"/>
                </a:cxn>
                <a:cxn ang="16200000">
                  <a:pos x="wd2" y="hd2"/>
                </a:cxn>
              </a:cxnLst>
              <a:rect l="0" t="0" r="r" b="b"/>
              <a:pathLst>
                <a:path w="21600" h="21570" extrusionOk="0">
                  <a:moveTo>
                    <a:pt x="760" y="5799"/>
                  </a:moveTo>
                  <a:cubicBezTo>
                    <a:pt x="1046" y="5799"/>
                    <a:pt x="1333" y="5522"/>
                    <a:pt x="1719" y="5522"/>
                  </a:cubicBezTo>
                  <a:cubicBezTo>
                    <a:pt x="2093" y="5661"/>
                    <a:pt x="2379" y="6060"/>
                    <a:pt x="2765" y="6198"/>
                  </a:cubicBezTo>
                  <a:cubicBezTo>
                    <a:pt x="2765" y="6198"/>
                    <a:pt x="2952" y="5001"/>
                    <a:pt x="3052" y="5001"/>
                  </a:cubicBezTo>
                  <a:cubicBezTo>
                    <a:pt x="3152" y="5001"/>
                    <a:pt x="3625" y="5140"/>
                    <a:pt x="3625" y="5140"/>
                  </a:cubicBezTo>
                  <a:cubicBezTo>
                    <a:pt x="3712" y="4863"/>
                    <a:pt x="3911" y="4741"/>
                    <a:pt x="3999" y="4481"/>
                  </a:cubicBezTo>
                  <a:cubicBezTo>
                    <a:pt x="4098" y="4203"/>
                    <a:pt x="3999" y="3804"/>
                    <a:pt x="4098" y="3683"/>
                  </a:cubicBezTo>
                  <a:cubicBezTo>
                    <a:pt x="4472" y="3405"/>
                    <a:pt x="4858" y="3804"/>
                    <a:pt x="5232" y="3683"/>
                  </a:cubicBezTo>
                  <a:cubicBezTo>
                    <a:pt x="5518" y="3683"/>
                    <a:pt x="5805" y="3544"/>
                    <a:pt x="6091" y="3284"/>
                  </a:cubicBezTo>
                  <a:cubicBezTo>
                    <a:pt x="6378" y="3145"/>
                    <a:pt x="6577" y="2486"/>
                    <a:pt x="6951" y="2347"/>
                  </a:cubicBezTo>
                  <a:cubicBezTo>
                    <a:pt x="7337" y="2347"/>
                    <a:pt x="7711" y="2746"/>
                    <a:pt x="7997" y="3006"/>
                  </a:cubicBezTo>
                  <a:cubicBezTo>
                    <a:pt x="8184" y="3145"/>
                    <a:pt x="8284" y="3683"/>
                    <a:pt x="8471" y="3683"/>
                  </a:cubicBezTo>
                  <a:cubicBezTo>
                    <a:pt x="8757" y="3683"/>
                    <a:pt x="9044" y="3405"/>
                    <a:pt x="9143" y="3006"/>
                  </a:cubicBezTo>
                  <a:cubicBezTo>
                    <a:pt x="9430" y="2607"/>
                    <a:pt x="9430" y="1948"/>
                    <a:pt x="9617" y="1427"/>
                  </a:cubicBezTo>
                  <a:cubicBezTo>
                    <a:pt x="9803" y="1150"/>
                    <a:pt x="10003" y="890"/>
                    <a:pt x="10090" y="629"/>
                  </a:cubicBezTo>
                  <a:cubicBezTo>
                    <a:pt x="10476" y="629"/>
                    <a:pt x="10949" y="629"/>
                    <a:pt x="11236" y="490"/>
                  </a:cubicBezTo>
                  <a:cubicBezTo>
                    <a:pt x="11423" y="490"/>
                    <a:pt x="11423" y="91"/>
                    <a:pt x="11522" y="91"/>
                  </a:cubicBezTo>
                  <a:cubicBezTo>
                    <a:pt x="11610" y="-30"/>
                    <a:pt x="11797" y="-30"/>
                    <a:pt x="11896" y="91"/>
                  </a:cubicBezTo>
                  <a:cubicBezTo>
                    <a:pt x="11996" y="230"/>
                    <a:pt x="12083" y="490"/>
                    <a:pt x="12282" y="490"/>
                  </a:cubicBezTo>
                  <a:cubicBezTo>
                    <a:pt x="12469" y="629"/>
                    <a:pt x="12756" y="369"/>
                    <a:pt x="12943" y="490"/>
                  </a:cubicBezTo>
                  <a:cubicBezTo>
                    <a:pt x="13142" y="629"/>
                    <a:pt x="13042" y="890"/>
                    <a:pt x="13142" y="1028"/>
                  </a:cubicBezTo>
                  <a:cubicBezTo>
                    <a:pt x="13229" y="1150"/>
                    <a:pt x="13329" y="1028"/>
                    <a:pt x="13416" y="1150"/>
                  </a:cubicBezTo>
                  <a:cubicBezTo>
                    <a:pt x="13516" y="1289"/>
                    <a:pt x="13416" y="1826"/>
                    <a:pt x="13615" y="1826"/>
                  </a:cubicBezTo>
                  <a:cubicBezTo>
                    <a:pt x="13989" y="1688"/>
                    <a:pt x="14089" y="768"/>
                    <a:pt x="14462" y="768"/>
                  </a:cubicBezTo>
                  <a:cubicBezTo>
                    <a:pt x="14749" y="768"/>
                    <a:pt x="14462" y="1549"/>
                    <a:pt x="14662" y="1826"/>
                  </a:cubicBezTo>
                  <a:cubicBezTo>
                    <a:pt x="14749" y="1948"/>
                    <a:pt x="14948" y="1826"/>
                    <a:pt x="15135" y="1826"/>
                  </a:cubicBezTo>
                  <a:cubicBezTo>
                    <a:pt x="15222" y="1948"/>
                    <a:pt x="15222" y="2087"/>
                    <a:pt x="15322" y="2087"/>
                  </a:cubicBezTo>
                  <a:cubicBezTo>
                    <a:pt x="15608" y="2208"/>
                    <a:pt x="15795" y="2087"/>
                    <a:pt x="16082" y="2208"/>
                  </a:cubicBezTo>
                  <a:cubicBezTo>
                    <a:pt x="16082" y="2208"/>
                    <a:pt x="16368" y="4082"/>
                    <a:pt x="16368" y="4203"/>
                  </a:cubicBezTo>
                  <a:cubicBezTo>
                    <a:pt x="16368" y="4342"/>
                    <a:pt x="16555" y="5522"/>
                    <a:pt x="16555" y="5522"/>
                  </a:cubicBezTo>
                  <a:cubicBezTo>
                    <a:pt x="16941" y="5522"/>
                    <a:pt x="17327" y="5661"/>
                    <a:pt x="17701" y="5400"/>
                  </a:cubicBezTo>
                  <a:cubicBezTo>
                    <a:pt x="17888" y="5400"/>
                    <a:pt x="17888" y="5001"/>
                    <a:pt x="17888" y="4741"/>
                  </a:cubicBezTo>
                  <a:cubicBezTo>
                    <a:pt x="17988" y="4342"/>
                    <a:pt x="17801" y="3804"/>
                    <a:pt x="17988" y="3544"/>
                  </a:cubicBezTo>
                  <a:cubicBezTo>
                    <a:pt x="18087" y="3145"/>
                    <a:pt x="18461" y="3284"/>
                    <a:pt x="18648" y="3145"/>
                  </a:cubicBezTo>
                  <a:cubicBezTo>
                    <a:pt x="19034" y="3006"/>
                    <a:pt x="19134" y="2885"/>
                    <a:pt x="19507" y="2607"/>
                  </a:cubicBezTo>
                  <a:cubicBezTo>
                    <a:pt x="19607" y="2746"/>
                    <a:pt x="19607" y="2885"/>
                    <a:pt x="19694" y="3006"/>
                  </a:cubicBezTo>
                  <a:cubicBezTo>
                    <a:pt x="19607" y="3943"/>
                    <a:pt x="20080" y="5921"/>
                    <a:pt x="20466" y="6719"/>
                  </a:cubicBezTo>
                  <a:cubicBezTo>
                    <a:pt x="20554" y="7118"/>
                    <a:pt x="21127" y="7777"/>
                    <a:pt x="21600" y="8315"/>
                  </a:cubicBezTo>
                  <a:cubicBezTo>
                    <a:pt x="21226" y="8454"/>
                    <a:pt x="20840" y="8454"/>
                    <a:pt x="20466" y="8853"/>
                  </a:cubicBezTo>
                  <a:cubicBezTo>
                    <a:pt x="20080" y="9235"/>
                    <a:pt x="19607" y="9772"/>
                    <a:pt x="19320" y="10310"/>
                  </a:cubicBezTo>
                  <a:cubicBezTo>
                    <a:pt x="19221" y="10692"/>
                    <a:pt x="19221" y="11230"/>
                    <a:pt x="19134" y="11629"/>
                  </a:cubicBezTo>
                  <a:cubicBezTo>
                    <a:pt x="19034" y="12028"/>
                    <a:pt x="18747" y="12427"/>
                    <a:pt x="18561" y="12826"/>
                  </a:cubicBezTo>
                  <a:cubicBezTo>
                    <a:pt x="18461" y="13086"/>
                    <a:pt x="18561" y="13607"/>
                    <a:pt x="18274" y="13884"/>
                  </a:cubicBezTo>
                  <a:cubicBezTo>
                    <a:pt x="18087" y="14144"/>
                    <a:pt x="17614" y="13884"/>
                    <a:pt x="17415" y="14144"/>
                  </a:cubicBezTo>
                  <a:cubicBezTo>
                    <a:pt x="17228" y="14405"/>
                    <a:pt x="17514" y="14682"/>
                    <a:pt x="17514" y="14943"/>
                  </a:cubicBezTo>
                  <a:cubicBezTo>
                    <a:pt x="17415" y="15081"/>
                    <a:pt x="17228" y="15203"/>
                    <a:pt x="17128" y="15203"/>
                  </a:cubicBezTo>
                  <a:cubicBezTo>
                    <a:pt x="16842" y="15081"/>
                    <a:pt x="16655" y="14682"/>
                    <a:pt x="16368" y="14682"/>
                  </a:cubicBezTo>
                  <a:cubicBezTo>
                    <a:pt x="15994" y="14682"/>
                    <a:pt x="15608" y="14943"/>
                    <a:pt x="15322" y="15203"/>
                  </a:cubicBezTo>
                  <a:cubicBezTo>
                    <a:pt x="15135" y="15203"/>
                    <a:pt x="15135" y="15862"/>
                    <a:pt x="15035" y="15741"/>
                  </a:cubicBezTo>
                  <a:cubicBezTo>
                    <a:pt x="14562" y="15342"/>
                    <a:pt x="14562" y="14405"/>
                    <a:pt x="14089" y="14144"/>
                  </a:cubicBezTo>
                  <a:cubicBezTo>
                    <a:pt x="13802" y="13884"/>
                    <a:pt x="13329" y="13884"/>
                    <a:pt x="13042" y="14144"/>
                  </a:cubicBezTo>
                  <a:cubicBezTo>
                    <a:pt x="12756" y="14405"/>
                    <a:pt x="13042" y="14943"/>
                    <a:pt x="12855" y="15342"/>
                  </a:cubicBezTo>
                  <a:cubicBezTo>
                    <a:pt x="12855" y="15463"/>
                    <a:pt x="12469" y="15463"/>
                    <a:pt x="12370" y="15602"/>
                  </a:cubicBezTo>
                  <a:cubicBezTo>
                    <a:pt x="12282" y="16261"/>
                    <a:pt x="12469" y="17059"/>
                    <a:pt x="12569" y="17718"/>
                  </a:cubicBezTo>
                  <a:cubicBezTo>
                    <a:pt x="12282" y="17718"/>
                    <a:pt x="12083" y="17857"/>
                    <a:pt x="11896" y="17979"/>
                  </a:cubicBezTo>
                  <a:cubicBezTo>
                    <a:pt x="11610" y="17979"/>
                    <a:pt x="11236" y="17597"/>
                    <a:pt x="11037" y="17857"/>
                  </a:cubicBezTo>
                  <a:cubicBezTo>
                    <a:pt x="10663" y="18378"/>
                    <a:pt x="11037" y="19453"/>
                    <a:pt x="10563" y="19974"/>
                  </a:cubicBezTo>
                  <a:cubicBezTo>
                    <a:pt x="10277" y="20234"/>
                    <a:pt x="10003" y="19176"/>
                    <a:pt x="9617" y="19315"/>
                  </a:cubicBezTo>
                  <a:cubicBezTo>
                    <a:pt x="9330" y="19315"/>
                    <a:pt x="9716" y="20113"/>
                    <a:pt x="9517" y="20234"/>
                  </a:cubicBezTo>
                  <a:cubicBezTo>
                    <a:pt x="8857" y="20911"/>
                    <a:pt x="8097" y="21292"/>
                    <a:pt x="7424" y="21570"/>
                  </a:cubicBezTo>
                  <a:cubicBezTo>
                    <a:pt x="7237" y="21570"/>
                    <a:pt x="7237" y="21171"/>
                    <a:pt x="7138" y="21032"/>
                  </a:cubicBezTo>
                  <a:cubicBezTo>
                    <a:pt x="6664" y="20633"/>
                    <a:pt x="6291" y="20113"/>
                    <a:pt x="5805" y="20113"/>
                  </a:cubicBezTo>
                  <a:cubicBezTo>
                    <a:pt x="5431" y="20113"/>
                    <a:pt x="5232" y="20772"/>
                    <a:pt x="4858" y="20911"/>
                  </a:cubicBezTo>
                  <a:cubicBezTo>
                    <a:pt x="4472" y="21171"/>
                    <a:pt x="3911" y="21032"/>
                    <a:pt x="3525" y="21171"/>
                  </a:cubicBezTo>
                  <a:cubicBezTo>
                    <a:pt x="3525" y="20512"/>
                    <a:pt x="3625" y="19852"/>
                    <a:pt x="3625" y="19176"/>
                  </a:cubicBezTo>
                  <a:cubicBezTo>
                    <a:pt x="3625" y="18655"/>
                    <a:pt x="3525" y="17979"/>
                    <a:pt x="3338" y="17597"/>
                  </a:cubicBezTo>
                  <a:cubicBezTo>
                    <a:pt x="3239" y="17319"/>
                    <a:pt x="3052" y="17718"/>
                    <a:pt x="2952" y="17597"/>
                  </a:cubicBezTo>
                  <a:cubicBezTo>
                    <a:pt x="2865" y="17458"/>
                    <a:pt x="2865" y="17198"/>
                    <a:pt x="2765" y="16920"/>
                  </a:cubicBezTo>
                  <a:cubicBezTo>
                    <a:pt x="2192" y="16261"/>
                    <a:pt x="1532" y="15741"/>
                    <a:pt x="1046" y="14943"/>
                  </a:cubicBezTo>
                  <a:cubicBezTo>
                    <a:pt x="760" y="14405"/>
                    <a:pt x="573" y="13745"/>
                    <a:pt x="673" y="13225"/>
                  </a:cubicBezTo>
                  <a:cubicBezTo>
                    <a:pt x="673" y="12826"/>
                    <a:pt x="1146" y="12687"/>
                    <a:pt x="1246" y="12288"/>
                  </a:cubicBezTo>
                  <a:cubicBezTo>
                    <a:pt x="1246" y="12028"/>
                    <a:pt x="1146" y="11750"/>
                    <a:pt x="1046" y="11490"/>
                  </a:cubicBezTo>
                  <a:cubicBezTo>
                    <a:pt x="959" y="11369"/>
                    <a:pt x="673" y="11490"/>
                    <a:pt x="486" y="11230"/>
                  </a:cubicBezTo>
                  <a:cubicBezTo>
                    <a:pt x="287" y="10970"/>
                    <a:pt x="100" y="10570"/>
                    <a:pt x="0" y="10033"/>
                  </a:cubicBezTo>
                  <a:cubicBezTo>
                    <a:pt x="0" y="9772"/>
                    <a:pt x="287" y="9634"/>
                    <a:pt x="386" y="9512"/>
                  </a:cubicBezTo>
                  <a:cubicBezTo>
                    <a:pt x="486" y="9113"/>
                    <a:pt x="386" y="8714"/>
                    <a:pt x="386" y="8454"/>
                  </a:cubicBezTo>
                  <a:cubicBezTo>
                    <a:pt x="486" y="8055"/>
                    <a:pt x="486" y="7777"/>
                    <a:pt x="573" y="7378"/>
                  </a:cubicBezTo>
                  <a:cubicBezTo>
                    <a:pt x="573" y="7118"/>
                    <a:pt x="760" y="6979"/>
                    <a:pt x="760" y="6719"/>
                  </a:cubicBezTo>
                  <a:cubicBezTo>
                    <a:pt x="860" y="6459"/>
                    <a:pt x="760" y="6060"/>
                    <a:pt x="760" y="579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4" name="Shape 2455">
              <a:extLst>
                <a:ext uri="{FF2B5EF4-FFF2-40B4-BE49-F238E27FC236}">
                  <a16:creationId xmlns:a16="http://schemas.microsoft.com/office/drawing/2014/main" id="{F88481EE-0CB1-C66C-517C-46A3A9C0E5DD}"/>
                </a:ext>
              </a:extLst>
            </p:cNvPr>
            <p:cNvSpPr/>
            <p:nvPr/>
          </p:nvSpPr>
          <p:spPr>
            <a:xfrm>
              <a:off x="2404406" y="4141570"/>
              <a:ext cx="789689" cy="1044225"/>
            </a:xfrm>
            <a:custGeom>
              <a:avLst/>
              <a:gdLst/>
              <a:ahLst/>
              <a:cxnLst>
                <a:cxn ang="0">
                  <a:pos x="wd2" y="hd2"/>
                </a:cxn>
                <a:cxn ang="5400000">
                  <a:pos x="wd2" y="hd2"/>
                </a:cxn>
                <a:cxn ang="10800000">
                  <a:pos x="wd2" y="hd2"/>
                </a:cxn>
                <a:cxn ang="16200000">
                  <a:pos x="wd2" y="hd2"/>
                </a:cxn>
              </a:cxnLst>
              <a:rect l="0" t="0" r="r" b="b"/>
              <a:pathLst>
                <a:path w="21378" h="21051" extrusionOk="0">
                  <a:moveTo>
                    <a:pt x="8338" y="3535"/>
                  </a:moveTo>
                  <a:cubicBezTo>
                    <a:pt x="8338" y="3590"/>
                    <a:pt x="8201" y="3794"/>
                    <a:pt x="7991" y="3896"/>
                  </a:cubicBezTo>
                  <a:cubicBezTo>
                    <a:pt x="7507" y="4419"/>
                    <a:pt x="8201" y="4154"/>
                    <a:pt x="8548" y="4154"/>
                  </a:cubicBezTo>
                  <a:cubicBezTo>
                    <a:pt x="8548" y="4929"/>
                    <a:pt x="6321" y="4107"/>
                    <a:pt x="6047" y="4263"/>
                  </a:cubicBezTo>
                  <a:cubicBezTo>
                    <a:pt x="5700" y="4467"/>
                    <a:pt x="5144" y="4310"/>
                    <a:pt x="4934" y="4623"/>
                  </a:cubicBezTo>
                  <a:cubicBezTo>
                    <a:pt x="4870" y="4678"/>
                    <a:pt x="4797" y="4882"/>
                    <a:pt x="4870" y="4929"/>
                  </a:cubicBezTo>
                  <a:cubicBezTo>
                    <a:pt x="4934" y="4984"/>
                    <a:pt x="5071" y="4984"/>
                    <a:pt x="5144" y="4984"/>
                  </a:cubicBezTo>
                  <a:cubicBezTo>
                    <a:pt x="5217" y="4984"/>
                    <a:pt x="5491" y="4984"/>
                    <a:pt x="5491" y="5038"/>
                  </a:cubicBezTo>
                  <a:cubicBezTo>
                    <a:pt x="5071" y="5086"/>
                    <a:pt x="5354" y="5915"/>
                    <a:pt x="4514" y="5398"/>
                  </a:cubicBezTo>
                  <a:cubicBezTo>
                    <a:pt x="3821" y="4929"/>
                    <a:pt x="3611" y="5867"/>
                    <a:pt x="3264" y="6330"/>
                  </a:cubicBezTo>
                  <a:cubicBezTo>
                    <a:pt x="2981" y="6751"/>
                    <a:pt x="2917" y="6853"/>
                    <a:pt x="3054" y="7316"/>
                  </a:cubicBezTo>
                  <a:cubicBezTo>
                    <a:pt x="3118" y="7683"/>
                    <a:pt x="2634" y="7995"/>
                    <a:pt x="2424" y="8308"/>
                  </a:cubicBezTo>
                  <a:cubicBezTo>
                    <a:pt x="2078" y="8825"/>
                    <a:pt x="1311" y="9192"/>
                    <a:pt x="1028" y="9811"/>
                  </a:cubicBezTo>
                  <a:cubicBezTo>
                    <a:pt x="891" y="10124"/>
                    <a:pt x="964" y="10334"/>
                    <a:pt x="964" y="10640"/>
                  </a:cubicBezTo>
                  <a:cubicBezTo>
                    <a:pt x="964" y="10953"/>
                    <a:pt x="608" y="11368"/>
                    <a:pt x="608" y="11735"/>
                  </a:cubicBezTo>
                  <a:cubicBezTo>
                    <a:pt x="608" y="12048"/>
                    <a:pt x="335" y="12095"/>
                    <a:pt x="52" y="12197"/>
                  </a:cubicBezTo>
                  <a:cubicBezTo>
                    <a:pt x="-222" y="12306"/>
                    <a:pt x="681" y="12931"/>
                    <a:pt x="754" y="13135"/>
                  </a:cubicBezTo>
                  <a:cubicBezTo>
                    <a:pt x="891" y="13448"/>
                    <a:pt x="1101" y="13394"/>
                    <a:pt x="1311" y="13605"/>
                  </a:cubicBezTo>
                  <a:cubicBezTo>
                    <a:pt x="1521" y="13808"/>
                    <a:pt x="1731" y="14019"/>
                    <a:pt x="1868" y="14223"/>
                  </a:cubicBezTo>
                  <a:cubicBezTo>
                    <a:pt x="2005" y="14692"/>
                    <a:pt x="2561" y="15005"/>
                    <a:pt x="2917" y="15365"/>
                  </a:cubicBezTo>
                  <a:cubicBezTo>
                    <a:pt x="3118" y="15631"/>
                    <a:pt x="3054" y="16147"/>
                    <a:pt x="3054" y="16406"/>
                  </a:cubicBezTo>
                  <a:cubicBezTo>
                    <a:pt x="3191" y="16977"/>
                    <a:pt x="4030" y="17500"/>
                    <a:pt x="4304" y="18017"/>
                  </a:cubicBezTo>
                  <a:cubicBezTo>
                    <a:pt x="4724" y="18799"/>
                    <a:pt x="5071" y="18119"/>
                    <a:pt x="5700" y="18119"/>
                  </a:cubicBezTo>
                  <a:cubicBezTo>
                    <a:pt x="5700" y="18534"/>
                    <a:pt x="4724" y="19003"/>
                    <a:pt x="5144" y="19520"/>
                  </a:cubicBezTo>
                  <a:cubicBezTo>
                    <a:pt x="5217" y="19887"/>
                    <a:pt x="6248" y="21600"/>
                    <a:pt x="6878" y="20873"/>
                  </a:cubicBezTo>
                  <a:cubicBezTo>
                    <a:pt x="7297" y="20403"/>
                    <a:pt x="8128" y="18799"/>
                    <a:pt x="8621" y="18534"/>
                  </a:cubicBezTo>
                  <a:cubicBezTo>
                    <a:pt x="8684" y="18642"/>
                    <a:pt x="9177" y="19003"/>
                    <a:pt x="9314" y="19105"/>
                  </a:cubicBezTo>
                  <a:cubicBezTo>
                    <a:pt x="9661" y="19418"/>
                    <a:pt x="9460" y="19520"/>
                    <a:pt x="9734" y="19159"/>
                  </a:cubicBezTo>
                  <a:cubicBezTo>
                    <a:pt x="10017" y="18901"/>
                    <a:pt x="10920" y="17759"/>
                    <a:pt x="11057" y="18275"/>
                  </a:cubicBezTo>
                  <a:cubicBezTo>
                    <a:pt x="11130" y="18384"/>
                    <a:pt x="11194" y="18486"/>
                    <a:pt x="11194" y="18642"/>
                  </a:cubicBezTo>
                  <a:cubicBezTo>
                    <a:pt x="11550" y="18534"/>
                    <a:pt x="11824" y="18534"/>
                    <a:pt x="12107" y="18432"/>
                  </a:cubicBezTo>
                  <a:cubicBezTo>
                    <a:pt x="12170" y="18384"/>
                    <a:pt x="12170" y="18228"/>
                    <a:pt x="12243" y="18173"/>
                  </a:cubicBezTo>
                  <a:cubicBezTo>
                    <a:pt x="12526" y="18119"/>
                    <a:pt x="12800" y="18173"/>
                    <a:pt x="13010" y="18275"/>
                  </a:cubicBezTo>
                  <a:cubicBezTo>
                    <a:pt x="13220" y="18330"/>
                    <a:pt x="13147" y="18534"/>
                    <a:pt x="13357" y="18642"/>
                  </a:cubicBezTo>
                  <a:cubicBezTo>
                    <a:pt x="13567" y="18744"/>
                    <a:pt x="13849" y="18799"/>
                    <a:pt x="14059" y="18744"/>
                  </a:cubicBezTo>
                  <a:cubicBezTo>
                    <a:pt x="14333" y="18588"/>
                    <a:pt x="14333" y="18228"/>
                    <a:pt x="14616" y="18119"/>
                  </a:cubicBezTo>
                  <a:cubicBezTo>
                    <a:pt x="14890" y="18071"/>
                    <a:pt x="15246" y="18275"/>
                    <a:pt x="15519" y="18173"/>
                  </a:cubicBezTo>
                  <a:cubicBezTo>
                    <a:pt x="15866" y="18119"/>
                    <a:pt x="16076" y="17861"/>
                    <a:pt x="16359" y="17759"/>
                  </a:cubicBezTo>
                  <a:cubicBezTo>
                    <a:pt x="16633" y="17704"/>
                    <a:pt x="16916" y="17650"/>
                    <a:pt x="17189" y="17704"/>
                  </a:cubicBezTo>
                  <a:cubicBezTo>
                    <a:pt x="17262" y="17704"/>
                    <a:pt x="17262" y="17759"/>
                    <a:pt x="17262" y="17806"/>
                  </a:cubicBezTo>
                  <a:cubicBezTo>
                    <a:pt x="17545" y="17759"/>
                    <a:pt x="17755" y="17759"/>
                    <a:pt x="17956" y="17650"/>
                  </a:cubicBezTo>
                  <a:cubicBezTo>
                    <a:pt x="18166" y="17548"/>
                    <a:pt x="18166" y="17290"/>
                    <a:pt x="18376" y="17235"/>
                  </a:cubicBezTo>
                  <a:cubicBezTo>
                    <a:pt x="18586" y="17188"/>
                    <a:pt x="18795" y="17548"/>
                    <a:pt x="18932" y="17446"/>
                  </a:cubicBezTo>
                  <a:cubicBezTo>
                    <a:pt x="19142" y="17133"/>
                    <a:pt x="19078" y="16773"/>
                    <a:pt x="19142" y="16406"/>
                  </a:cubicBezTo>
                  <a:cubicBezTo>
                    <a:pt x="19142" y="16202"/>
                    <a:pt x="19279" y="15991"/>
                    <a:pt x="19142" y="15780"/>
                  </a:cubicBezTo>
                  <a:cubicBezTo>
                    <a:pt x="19078" y="15576"/>
                    <a:pt x="18586" y="15522"/>
                    <a:pt x="18586" y="15318"/>
                  </a:cubicBezTo>
                  <a:cubicBezTo>
                    <a:pt x="18586" y="15107"/>
                    <a:pt x="18868" y="15059"/>
                    <a:pt x="19078" y="14951"/>
                  </a:cubicBezTo>
                  <a:cubicBezTo>
                    <a:pt x="19215" y="14903"/>
                    <a:pt x="19489" y="14951"/>
                    <a:pt x="19562" y="14849"/>
                  </a:cubicBezTo>
                  <a:cubicBezTo>
                    <a:pt x="19635" y="14692"/>
                    <a:pt x="19279" y="14536"/>
                    <a:pt x="19279" y="14380"/>
                  </a:cubicBezTo>
                  <a:cubicBezTo>
                    <a:pt x="19279" y="14223"/>
                    <a:pt x="19425" y="14019"/>
                    <a:pt x="19562" y="13910"/>
                  </a:cubicBezTo>
                  <a:cubicBezTo>
                    <a:pt x="19635" y="13761"/>
                    <a:pt x="19845" y="13605"/>
                    <a:pt x="20055" y="13550"/>
                  </a:cubicBezTo>
                  <a:cubicBezTo>
                    <a:pt x="20329" y="13496"/>
                    <a:pt x="20675" y="13652"/>
                    <a:pt x="20958" y="13605"/>
                  </a:cubicBezTo>
                  <a:cubicBezTo>
                    <a:pt x="21095" y="13605"/>
                    <a:pt x="21168" y="13496"/>
                    <a:pt x="21305" y="13448"/>
                  </a:cubicBezTo>
                  <a:cubicBezTo>
                    <a:pt x="21305" y="13190"/>
                    <a:pt x="21378" y="12931"/>
                    <a:pt x="21378" y="12666"/>
                  </a:cubicBezTo>
                  <a:cubicBezTo>
                    <a:pt x="21378" y="12462"/>
                    <a:pt x="21305" y="12197"/>
                    <a:pt x="21168" y="12048"/>
                  </a:cubicBezTo>
                  <a:cubicBezTo>
                    <a:pt x="21095" y="11939"/>
                    <a:pt x="20958" y="12095"/>
                    <a:pt x="20885" y="12048"/>
                  </a:cubicBezTo>
                  <a:cubicBezTo>
                    <a:pt x="20821" y="11993"/>
                    <a:pt x="20821" y="11891"/>
                    <a:pt x="20748" y="11782"/>
                  </a:cubicBezTo>
                  <a:cubicBezTo>
                    <a:pt x="20329" y="11524"/>
                    <a:pt x="19845" y="11320"/>
                    <a:pt x="19489" y="11007"/>
                  </a:cubicBezTo>
                  <a:cubicBezTo>
                    <a:pt x="19279" y="10797"/>
                    <a:pt x="19142" y="10538"/>
                    <a:pt x="19215" y="10334"/>
                  </a:cubicBezTo>
                  <a:cubicBezTo>
                    <a:pt x="19215" y="10178"/>
                    <a:pt x="19562" y="10124"/>
                    <a:pt x="19635" y="9967"/>
                  </a:cubicBezTo>
                  <a:cubicBezTo>
                    <a:pt x="19635" y="9865"/>
                    <a:pt x="19562" y="9756"/>
                    <a:pt x="19489" y="9654"/>
                  </a:cubicBezTo>
                  <a:cubicBezTo>
                    <a:pt x="19425" y="9607"/>
                    <a:pt x="19215" y="9654"/>
                    <a:pt x="19078" y="9552"/>
                  </a:cubicBezTo>
                  <a:cubicBezTo>
                    <a:pt x="18932" y="9450"/>
                    <a:pt x="18795" y="9294"/>
                    <a:pt x="18722" y="9083"/>
                  </a:cubicBezTo>
                  <a:cubicBezTo>
                    <a:pt x="18722" y="8981"/>
                    <a:pt x="18932" y="8927"/>
                    <a:pt x="19005" y="8879"/>
                  </a:cubicBezTo>
                  <a:cubicBezTo>
                    <a:pt x="19078" y="8723"/>
                    <a:pt x="19005" y="8567"/>
                    <a:pt x="19005" y="8465"/>
                  </a:cubicBezTo>
                  <a:cubicBezTo>
                    <a:pt x="19078" y="8308"/>
                    <a:pt x="19078" y="8199"/>
                    <a:pt x="19142" y="8043"/>
                  </a:cubicBezTo>
                  <a:cubicBezTo>
                    <a:pt x="19142" y="7941"/>
                    <a:pt x="19279" y="7887"/>
                    <a:pt x="19279" y="7785"/>
                  </a:cubicBezTo>
                  <a:cubicBezTo>
                    <a:pt x="19352" y="7683"/>
                    <a:pt x="19279" y="7526"/>
                    <a:pt x="19279" y="7424"/>
                  </a:cubicBezTo>
                  <a:cubicBezTo>
                    <a:pt x="19215" y="7370"/>
                    <a:pt x="19078" y="7370"/>
                    <a:pt x="18932" y="7316"/>
                  </a:cubicBezTo>
                  <a:cubicBezTo>
                    <a:pt x="18868" y="7214"/>
                    <a:pt x="18868" y="7112"/>
                    <a:pt x="18795" y="7057"/>
                  </a:cubicBezTo>
                  <a:cubicBezTo>
                    <a:pt x="18659" y="6908"/>
                    <a:pt x="18449" y="6799"/>
                    <a:pt x="18239" y="6642"/>
                  </a:cubicBezTo>
                  <a:cubicBezTo>
                    <a:pt x="18166" y="6541"/>
                    <a:pt x="18102" y="6384"/>
                    <a:pt x="17956" y="6282"/>
                  </a:cubicBezTo>
                  <a:cubicBezTo>
                    <a:pt x="17892" y="6228"/>
                    <a:pt x="17956" y="6384"/>
                    <a:pt x="17892" y="6439"/>
                  </a:cubicBezTo>
                  <a:cubicBezTo>
                    <a:pt x="17755" y="6541"/>
                    <a:pt x="17472" y="6541"/>
                    <a:pt x="17335" y="6642"/>
                  </a:cubicBezTo>
                  <a:cubicBezTo>
                    <a:pt x="17126" y="6799"/>
                    <a:pt x="17053" y="7010"/>
                    <a:pt x="16843" y="7112"/>
                  </a:cubicBezTo>
                  <a:cubicBezTo>
                    <a:pt x="16706" y="7214"/>
                    <a:pt x="16496" y="7214"/>
                    <a:pt x="16286" y="7166"/>
                  </a:cubicBezTo>
                  <a:cubicBezTo>
                    <a:pt x="16149" y="7112"/>
                    <a:pt x="16012" y="6955"/>
                    <a:pt x="15866" y="6853"/>
                  </a:cubicBezTo>
                  <a:cubicBezTo>
                    <a:pt x="15729" y="6697"/>
                    <a:pt x="15729" y="6541"/>
                    <a:pt x="15656" y="6384"/>
                  </a:cubicBezTo>
                  <a:cubicBezTo>
                    <a:pt x="15656" y="6282"/>
                    <a:pt x="15656" y="6173"/>
                    <a:pt x="15592" y="6126"/>
                  </a:cubicBezTo>
                  <a:cubicBezTo>
                    <a:pt x="15519" y="5969"/>
                    <a:pt x="15246" y="5867"/>
                    <a:pt x="15310" y="5711"/>
                  </a:cubicBezTo>
                  <a:cubicBezTo>
                    <a:pt x="15310" y="5602"/>
                    <a:pt x="15519" y="5500"/>
                    <a:pt x="15656" y="5398"/>
                  </a:cubicBezTo>
                  <a:cubicBezTo>
                    <a:pt x="15802" y="5242"/>
                    <a:pt x="16012" y="5086"/>
                    <a:pt x="16076" y="4882"/>
                  </a:cubicBezTo>
                  <a:cubicBezTo>
                    <a:pt x="16076" y="4678"/>
                    <a:pt x="15866" y="4521"/>
                    <a:pt x="15729" y="4365"/>
                  </a:cubicBezTo>
                  <a:cubicBezTo>
                    <a:pt x="15656" y="4263"/>
                    <a:pt x="15383" y="4310"/>
                    <a:pt x="15383" y="4263"/>
                  </a:cubicBezTo>
                  <a:cubicBezTo>
                    <a:pt x="15383" y="4154"/>
                    <a:pt x="15592" y="4154"/>
                    <a:pt x="15656" y="4052"/>
                  </a:cubicBezTo>
                  <a:cubicBezTo>
                    <a:pt x="15802" y="3848"/>
                    <a:pt x="15656" y="3535"/>
                    <a:pt x="15866" y="3379"/>
                  </a:cubicBezTo>
                  <a:cubicBezTo>
                    <a:pt x="16149" y="3121"/>
                    <a:pt x="16706" y="3175"/>
                    <a:pt x="17053" y="2964"/>
                  </a:cubicBezTo>
                  <a:cubicBezTo>
                    <a:pt x="17126" y="2910"/>
                    <a:pt x="17053" y="2754"/>
                    <a:pt x="16980" y="2652"/>
                  </a:cubicBezTo>
                  <a:cubicBezTo>
                    <a:pt x="16980" y="2550"/>
                    <a:pt x="16843" y="2495"/>
                    <a:pt x="16770" y="2393"/>
                  </a:cubicBezTo>
                  <a:cubicBezTo>
                    <a:pt x="16770" y="2291"/>
                    <a:pt x="16916" y="2080"/>
                    <a:pt x="16770" y="2080"/>
                  </a:cubicBezTo>
                  <a:cubicBezTo>
                    <a:pt x="16569" y="1978"/>
                    <a:pt x="16286" y="2182"/>
                    <a:pt x="16012" y="2182"/>
                  </a:cubicBezTo>
                  <a:cubicBezTo>
                    <a:pt x="15866" y="2182"/>
                    <a:pt x="15866" y="2080"/>
                    <a:pt x="15802" y="2026"/>
                  </a:cubicBezTo>
                  <a:cubicBezTo>
                    <a:pt x="15656" y="1822"/>
                    <a:pt x="15592" y="1564"/>
                    <a:pt x="15383" y="1407"/>
                  </a:cubicBezTo>
                  <a:cubicBezTo>
                    <a:pt x="15246" y="1305"/>
                    <a:pt x="15036" y="1407"/>
                    <a:pt x="14890" y="1305"/>
                  </a:cubicBezTo>
                  <a:cubicBezTo>
                    <a:pt x="14753" y="1251"/>
                    <a:pt x="14616" y="1149"/>
                    <a:pt x="14543" y="1040"/>
                  </a:cubicBezTo>
                  <a:cubicBezTo>
                    <a:pt x="14406" y="836"/>
                    <a:pt x="14543" y="578"/>
                    <a:pt x="14333" y="367"/>
                  </a:cubicBezTo>
                  <a:cubicBezTo>
                    <a:pt x="14123" y="156"/>
                    <a:pt x="13703" y="109"/>
                    <a:pt x="13430" y="0"/>
                  </a:cubicBezTo>
                  <a:cubicBezTo>
                    <a:pt x="13357" y="54"/>
                    <a:pt x="13147" y="109"/>
                    <a:pt x="13010" y="211"/>
                  </a:cubicBezTo>
                  <a:cubicBezTo>
                    <a:pt x="12800" y="367"/>
                    <a:pt x="12526" y="578"/>
                    <a:pt x="12170" y="625"/>
                  </a:cubicBezTo>
                  <a:cubicBezTo>
                    <a:pt x="12034" y="680"/>
                    <a:pt x="11687" y="680"/>
                    <a:pt x="11687" y="782"/>
                  </a:cubicBezTo>
                  <a:cubicBezTo>
                    <a:pt x="11614" y="782"/>
                    <a:pt x="11614" y="938"/>
                    <a:pt x="11614" y="993"/>
                  </a:cubicBezTo>
                  <a:cubicBezTo>
                    <a:pt x="11550" y="1040"/>
                    <a:pt x="11477" y="1040"/>
                    <a:pt x="11404" y="1095"/>
                  </a:cubicBezTo>
                  <a:cubicBezTo>
                    <a:pt x="11194" y="1251"/>
                    <a:pt x="11194" y="1353"/>
                    <a:pt x="11057" y="1509"/>
                  </a:cubicBezTo>
                  <a:cubicBezTo>
                    <a:pt x="10637" y="1611"/>
                    <a:pt x="10364" y="2135"/>
                    <a:pt x="9807" y="2182"/>
                  </a:cubicBezTo>
                  <a:cubicBezTo>
                    <a:pt x="9734" y="2291"/>
                    <a:pt x="8684" y="2237"/>
                    <a:pt x="8621" y="2135"/>
                  </a:cubicBezTo>
                  <a:lnTo>
                    <a:pt x="8548" y="2237"/>
                  </a:lnTo>
                  <a:cubicBezTo>
                    <a:pt x="8484" y="2291"/>
                    <a:pt x="8548" y="2291"/>
                    <a:pt x="8548" y="2339"/>
                  </a:cubicBezTo>
                  <a:cubicBezTo>
                    <a:pt x="8830" y="2550"/>
                    <a:pt x="8830" y="2550"/>
                    <a:pt x="8830" y="2550"/>
                  </a:cubicBezTo>
                  <a:cubicBezTo>
                    <a:pt x="9040" y="2550"/>
                    <a:pt x="8621" y="3019"/>
                    <a:pt x="8548" y="3066"/>
                  </a:cubicBezTo>
                  <a:cubicBezTo>
                    <a:pt x="8484" y="3175"/>
                    <a:pt x="8484" y="3481"/>
                    <a:pt x="8274" y="3535"/>
                  </a:cubicBezTo>
                  <a:lnTo>
                    <a:pt x="8338" y="3535"/>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5" name="Shape 2456">
              <a:extLst>
                <a:ext uri="{FF2B5EF4-FFF2-40B4-BE49-F238E27FC236}">
                  <a16:creationId xmlns:a16="http://schemas.microsoft.com/office/drawing/2014/main" id="{056FD916-2B7B-084B-AB5F-47DCCF5D9207}"/>
                </a:ext>
              </a:extLst>
            </p:cNvPr>
            <p:cNvSpPr/>
            <p:nvPr/>
          </p:nvSpPr>
          <p:spPr>
            <a:xfrm>
              <a:off x="3356456" y="4340770"/>
              <a:ext cx="175068" cy="93492"/>
            </a:xfrm>
            <a:custGeom>
              <a:avLst/>
              <a:gdLst/>
              <a:ahLst/>
              <a:cxnLst>
                <a:cxn ang="0">
                  <a:pos x="wd2" y="hd2"/>
                </a:cxn>
                <a:cxn ang="5400000">
                  <a:pos x="wd2" y="hd2"/>
                </a:cxn>
                <a:cxn ang="10800000">
                  <a:pos x="wd2" y="hd2"/>
                </a:cxn>
                <a:cxn ang="16200000">
                  <a:pos x="wd2" y="hd2"/>
                </a:cxn>
              </a:cxnLst>
              <a:rect l="0" t="0" r="r" b="b"/>
              <a:pathLst>
                <a:path w="21600" h="21301" extrusionOk="0">
                  <a:moveTo>
                    <a:pt x="21600" y="10454"/>
                  </a:moveTo>
                  <a:cubicBezTo>
                    <a:pt x="20351" y="4074"/>
                    <a:pt x="20351" y="4074"/>
                    <a:pt x="20351" y="4074"/>
                  </a:cubicBezTo>
                  <a:cubicBezTo>
                    <a:pt x="19061" y="3459"/>
                    <a:pt x="17813" y="2921"/>
                    <a:pt x="16190" y="2921"/>
                  </a:cubicBezTo>
                  <a:cubicBezTo>
                    <a:pt x="15274" y="2921"/>
                    <a:pt x="14317" y="4689"/>
                    <a:pt x="13027" y="4689"/>
                  </a:cubicBezTo>
                  <a:cubicBezTo>
                    <a:pt x="11445" y="4689"/>
                    <a:pt x="9864" y="4689"/>
                    <a:pt x="8240" y="4074"/>
                  </a:cubicBezTo>
                  <a:cubicBezTo>
                    <a:pt x="7283" y="2921"/>
                    <a:pt x="6368" y="1691"/>
                    <a:pt x="5410" y="538"/>
                  </a:cubicBezTo>
                  <a:cubicBezTo>
                    <a:pt x="4745" y="538"/>
                    <a:pt x="4120" y="0"/>
                    <a:pt x="3829" y="0"/>
                  </a:cubicBezTo>
                  <a:cubicBezTo>
                    <a:pt x="3163" y="538"/>
                    <a:pt x="2872" y="1153"/>
                    <a:pt x="2539" y="1691"/>
                  </a:cubicBezTo>
                  <a:cubicBezTo>
                    <a:pt x="1914" y="3459"/>
                    <a:pt x="1290" y="4689"/>
                    <a:pt x="957" y="6457"/>
                  </a:cubicBezTo>
                  <a:cubicBezTo>
                    <a:pt x="957" y="7610"/>
                    <a:pt x="1914" y="8148"/>
                    <a:pt x="1582" y="9301"/>
                  </a:cubicBezTo>
                  <a:cubicBezTo>
                    <a:pt x="1290" y="10454"/>
                    <a:pt x="0" y="11069"/>
                    <a:pt x="0" y="12222"/>
                  </a:cubicBezTo>
                  <a:cubicBezTo>
                    <a:pt x="0" y="13990"/>
                    <a:pt x="957" y="14605"/>
                    <a:pt x="1582" y="15758"/>
                  </a:cubicBezTo>
                  <a:cubicBezTo>
                    <a:pt x="2872" y="15758"/>
                    <a:pt x="4453" y="15758"/>
                    <a:pt x="5410" y="15143"/>
                  </a:cubicBezTo>
                  <a:cubicBezTo>
                    <a:pt x="6035" y="15143"/>
                    <a:pt x="6035" y="13375"/>
                    <a:pt x="6368" y="13375"/>
                  </a:cubicBezTo>
                  <a:cubicBezTo>
                    <a:pt x="6659" y="12837"/>
                    <a:pt x="7283" y="12837"/>
                    <a:pt x="7616" y="13375"/>
                  </a:cubicBezTo>
                  <a:cubicBezTo>
                    <a:pt x="7949" y="13990"/>
                    <a:pt x="8240" y="15143"/>
                    <a:pt x="8906" y="15143"/>
                  </a:cubicBezTo>
                  <a:cubicBezTo>
                    <a:pt x="9531" y="15758"/>
                    <a:pt x="10488" y="14605"/>
                    <a:pt x="11112" y="15143"/>
                  </a:cubicBezTo>
                  <a:cubicBezTo>
                    <a:pt x="11778" y="15758"/>
                    <a:pt x="11445" y="16911"/>
                    <a:pt x="11778" y="17526"/>
                  </a:cubicBezTo>
                  <a:cubicBezTo>
                    <a:pt x="12069" y="18064"/>
                    <a:pt x="12402" y="17526"/>
                    <a:pt x="12694" y="18064"/>
                  </a:cubicBezTo>
                  <a:cubicBezTo>
                    <a:pt x="13027" y="18679"/>
                    <a:pt x="12694" y="21062"/>
                    <a:pt x="13360" y="21062"/>
                  </a:cubicBezTo>
                  <a:cubicBezTo>
                    <a:pt x="14608" y="20447"/>
                    <a:pt x="14941" y="16373"/>
                    <a:pt x="16190" y="16373"/>
                  </a:cubicBezTo>
                  <a:cubicBezTo>
                    <a:pt x="17147" y="16373"/>
                    <a:pt x="16190" y="19832"/>
                    <a:pt x="16855" y="21062"/>
                  </a:cubicBezTo>
                  <a:cubicBezTo>
                    <a:pt x="17147" y="21600"/>
                    <a:pt x="17813" y="21062"/>
                    <a:pt x="18437" y="21062"/>
                  </a:cubicBezTo>
                  <a:cubicBezTo>
                    <a:pt x="18437" y="17526"/>
                    <a:pt x="17480" y="13990"/>
                    <a:pt x="18437" y="11069"/>
                  </a:cubicBezTo>
                  <a:cubicBezTo>
                    <a:pt x="19061" y="9301"/>
                    <a:pt x="20643" y="10454"/>
                    <a:pt x="21600" y="1045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6" name="Shape 2457">
              <a:extLst>
                <a:ext uri="{FF2B5EF4-FFF2-40B4-BE49-F238E27FC236}">
                  <a16:creationId xmlns:a16="http://schemas.microsoft.com/office/drawing/2014/main" id="{35C27BFD-39BD-C798-791B-2EFFCE68544F}"/>
                </a:ext>
              </a:extLst>
            </p:cNvPr>
            <p:cNvSpPr/>
            <p:nvPr/>
          </p:nvSpPr>
          <p:spPr>
            <a:xfrm>
              <a:off x="3521456" y="4312526"/>
              <a:ext cx="94144" cy="76965"/>
            </a:xfrm>
            <a:custGeom>
              <a:avLst/>
              <a:gdLst/>
              <a:ahLst/>
              <a:cxnLst>
                <a:cxn ang="0">
                  <a:pos x="wd2" y="hd2"/>
                </a:cxn>
                <a:cxn ang="5400000">
                  <a:pos x="wd2" y="hd2"/>
                </a:cxn>
                <a:cxn ang="10800000">
                  <a:pos x="wd2" y="hd2"/>
                </a:cxn>
                <a:cxn ang="16200000">
                  <a:pos x="wd2" y="hd2"/>
                </a:cxn>
              </a:cxnLst>
              <a:rect l="0" t="0" r="r" b="b"/>
              <a:pathLst>
                <a:path w="20799" h="21600" extrusionOk="0">
                  <a:moveTo>
                    <a:pt x="0" y="7200"/>
                  </a:moveTo>
                  <a:cubicBezTo>
                    <a:pt x="0" y="12979"/>
                    <a:pt x="0" y="12979"/>
                    <a:pt x="0" y="12979"/>
                  </a:cubicBezTo>
                  <a:cubicBezTo>
                    <a:pt x="2234" y="20842"/>
                    <a:pt x="2234" y="20842"/>
                    <a:pt x="2234" y="20842"/>
                  </a:cubicBezTo>
                  <a:cubicBezTo>
                    <a:pt x="5661" y="20842"/>
                    <a:pt x="8491" y="21600"/>
                    <a:pt x="11396" y="21600"/>
                  </a:cubicBezTo>
                  <a:cubicBezTo>
                    <a:pt x="14748" y="20842"/>
                    <a:pt x="17057" y="19421"/>
                    <a:pt x="19887" y="18000"/>
                  </a:cubicBezTo>
                  <a:cubicBezTo>
                    <a:pt x="20483" y="13737"/>
                    <a:pt x="21600" y="7200"/>
                    <a:pt x="19887" y="5779"/>
                  </a:cubicBezTo>
                  <a:cubicBezTo>
                    <a:pt x="18770" y="4263"/>
                    <a:pt x="17057" y="2179"/>
                    <a:pt x="15939" y="0"/>
                  </a:cubicBezTo>
                  <a:cubicBezTo>
                    <a:pt x="13630" y="2842"/>
                    <a:pt x="13034" y="4263"/>
                    <a:pt x="10204" y="5779"/>
                  </a:cubicBezTo>
                  <a:cubicBezTo>
                    <a:pt x="6778" y="7200"/>
                    <a:pt x="3426" y="6442"/>
                    <a:pt x="0" y="72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7" name="Shape 2458">
              <a:extLst>
                <a:ext uri="{FF2B5EF4-FFF2-40B4-BE49-F238E27FC236}">
                  <a16:creationId xmlns:a16="http://schemas.microsoft.com/office/drawing/2014/main" id="{CFBBC668-1759-A122-E320-4B253A1560D2}"/>
                </a:ext>
              </a:extLst>
            </p:cNvPr>
            <p:cNvSpPr/>
            <p:nvPr/>
          </p:nvSpPr>
          <p:spPr>
            <a:xfrm>
              <a:off x="3401051" y="4253064"/>
              <a:ext cx="121554" cy="108183"/>
            </a:xfrm>
            <a:custGeom>
              <a:avLst/>
              <a:gdLst/>
              <a:ahLst/>
              <a:cxnLst>
                <a:cxn ang="0">
                  <a:pos x="wd2" y="hd2"/>
                </a:cxn>
                <a:cxn ang="5400000">
                  <a:pos x="wd2" y="hd2"/>
                </a:cxn>
                <a:cxn ang="10800000">
                  <a:pos x="wd2" y="hd2"/>
                </a:cxn>
                <a:cxn ang="16200000">
                  <a:pos x="wd2" y="hd2"/>
                </a:cxn>
              </a:cxnLst>
              <a:rect l="0" t="0" r="r" b="b"/>
              <a:pathLst>
                <a:path w="21600" h="21600" extrusionOk="0">
                  <a:moveTo>
                    <a:pt x="21600" y="16957"/>
                  </a:moveTo>
                  <a:cubicBezTo>
                    <a:pt x="19735" y="15409"/>
                    <a:pt x="16967" y="14871"/>
                    <a:pt x="15583" y="12852"/>
                  </a:cubicBezTo>
                  <a:cubicBezTo>
                    <a:pt x="14681" y="11305"/>
                    <a:pt x="16967" y="9757"/>
                    <a:pt x="16065" y="8209"/>
                  </a:cubicBezTo>
                  <a:cubicBezTo>
                    <a:pt x="15583" y="7200"/>
                    <a:pt x="13297" y="7738"/>
                    <a:pt x="12394" y="6662"/>
                  </a:cubicBezTo>
                  <a:cubicBezTo>
                    <a:pt x="11913" y="5652"/>
                    <a:pt x="12394" y="4105"/>
                    <a:pt x="12394" y="3095"/>
                  </a:cubicBezTo>
                  <a:cubicBezTo>
                    <a:pt x="11492" y="2019"/>
                    <a:pt x="11011" y="0"/>
                    <a:pt x="10108" y="0"/>
                  </a:cubicBezTo>
                  <a:cubicBezTo>
                    <a:pt x="8243" y="0"/>
                    <a:pt x="6438" y="1009"/>
                    <a:pt x="5475" y="3095"/>
                  </a:cubicBezTo>
                  <a:cubicBezTo>
                    <a:pt x="4573" y="4105"/>
                    <a:pt x="6859" y="6191"/>
                    <a:pt x="6438" y="7738"/>
                  </a:cubicBezTo>
                  <a:cubicBezTo>
                    <a:pt x="5475" y="9286"/>
                    <a:pt x="3189" y="8748"/>
                    <a:pt x="1805" y="10295"/>
                  </a:cubicBezTo>
                  <a:cubicBezTo>
                    <a:pt x="903" y="12314"/>
                    <a:pt x="421" y="15409"/>
                    <a:pt x="0" y="17966"/>
                  </a:cubicBezTo>
                  <a:cubicBezTo>
                    <a:pt x="1384" y="18976"/>
                    <a:pt x="2708" y="20052"/>
                    <a:pt x="4091" y="21062"/>
                  </a:cubicBezTo>
                  <a:cubicBezTo>
                    <a:pt x="6438" y="21600"/>
                    <a:pt x="8724" y="21600"/>
                    <a:pt x="11011" y="21600"/>
                  </a:cubicBezTo>
                  <a:cubicBezTo>
                    <a:pt x="12876" y="21600"/>
                    <a:pt x="14260" y="20052"/>
                    <a:pt x="15583" y="20052"/>
                  </a:cubicBezTo>
                  <a:cubicBezTo>
                    <a:pt x="17930" y="20052"/>
                    <a:pt x="19735" y="20523"/>
                    <a:pt x="21600" y="21062"/>
                  </a:cubicBezTo>
                  <a:cubicBezTo>
                    <a:pt x="21600" y="16957"/>
                    <a:pt x="21600" y="16957"/>
                    <a:pt x="21600" y="1695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8" name="Shape 2459">
              <a:extLst>
                <a:ext uri="{FF2B5EF4-FFF2-40B4-BE49-F238E27FC236}">
                  <a16:creationId xmlns:a16="http://schemas.microsoft.com/office/drawing/2014/main" id="{D5DD9B07-E8E1-C7F4-F2D9-FC825C9E91B7}"/>
                </a:ext>
              </a:extLst>
            </p:cNvPr>
            <p:cNvSpPr/>
            <p:nvPr/>
          </p:nvSpPr>
          <p:spPr>
            <a:xfrm>
              <a:off x="3469435" y="4256036"/>
              <a:ext cx="124522" cy="82909"/>
            </a:xfrm>
            <a:custGeom>
              <a:avLst/>
              <a:gdLst/>
              <a:ahLst/>
              <a:cxnLst>
                <a:cxn ang="0">
                  <a:pos x="wd2" y="hd2"/>
                </a:cxn>
                <a:cxn ang="5400000">
                  <a:pos x="wd2" y="hd2"/>
                </a:cxn>
                <a:cxn ang="10800000">
                  <a:pos x="wd2" y="hd2"/>
                </a:cxn>
                <a:cxn ang="16200000">
                  <a:pos x="wd2" y="hd2"/>
                </a:cxn>
              </a:cxnLst>
              <a:rect l="0" t="0" r="r" b="b"/>
              <a:pathLst>
                <a:path w="21344" h="21600" extrusionOk="0">
                  <a:moveTo>
                    <a:pt x="21344" y="14872"/>
                  </a:moveTo>
                  <a:cubicBezTo>
                    <a:pt x="19098" y="10800"/>
                    <a:pt x="17830" y="5400"/>
                    <a:pt x="16506" y="0"/>
                  </a:cubicBezTo>
                  <a:cubicBezTo>
                    <a:pt x="15181" y="620"/>
                    <a:pt x="15584" y="0"/>
                    <a:pt x="14259" y="1328"/>
                  </a:cubicBezTo>
                  <a:cubicBezTo>
                    <a:pt x="13395" y="1948"/>
                    <a:pt x="13856" y="3364"/>
                    <a:pt x="12934" y="4692"/>
                  </a:cubicBezTo>
                  <a:cubicBezTo>
                    <a:pt x="12531" y="5400"/>
                    <a:pt x="12070" y="6020"/>
                    <a:pt x="11206" y="6020"/>
                  </a:cubicBezTo>
                  <a:cubicBezTo>
                    <a:pt x="10342" y="6728"/>
                    <a:pt x="9421" y="5400"/>
                    <a:pt x="8557" y="4692"/>
                  </a:cubicBezTo>
                  <a:cubicBezTo>
                    <a:pt x="7232" y="4692"/>
                    <a:pt x="6368" y="5400"/>
                    <a:pt x="5043" y="5400"/>
                  </a:cubicBezTo>
                  <a:cubicBezTo>
                    <a:pt x="4582" y="5400"/>
                    <a:pt x="3718" y="3984"/>
                    <a:pt x="3258" y="3984"/>
                  </a:cubicBezTo>
                  <a:cubicBezTo>
                    <a:pt x="1990" y="3364"/>
                    <a:pt x="1069" y="3364"/>
                    <a:pt x="205" y="3364"/>
                  </a:cubicBezTo>
                  <a:cubicBezTo>
                    <a:pt x="205" y="4692"/>
                    <a:pt x="-256" y="6728"/>
                    <a:pt x="205" y="8056"/>
                  </a:cubicBezTo>
                  <a:cubicBezTo>
                    <a:pt x="1069" y="9472"/>
                    <a:pt x="3258" y="8764"/>
                    <a:pt x="3718" y="10092"/>
                  </a:cubicBezTo>
                  <a:cubicBezTo>
                    <a:pt x="4582" y="12128"/>
                    <a:pt x="2394" y="14164"/>
                    <a:pt x="3258" y="16200"/>
                  </a:cubicBezTo>
                  <a:cubicBezTo>
                    <a:pt x="4582" y="18856"/>
                    <a:pt x="7232" y="19564"/>
                    <a:pt x="9018" y="21600"/>
                  </a:cubicBezTo>
                  <a:cubicBezTo>
                    <a:pt x="11667" y="20892"/>
                    <a:pt x="14259" y="21600"/>
                    <a:pt x="16909" y="20272"/>
                  </a:cubicBezTo>
                  <a:cubicBezTo>
                    <a:pt x="19098" y="18856"/>
                    <a:pt x="19558" y="17528"/>
                    <a:pt x="21344" y="1487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39" name="Shape 2460">
              <a:extLst>
                <a:ext uri="{FF2B5EF4-FFF2-40B4-BE49-F238E27FC236}">
                  <a16:creationId xmlns:a16="http://schemas.microsoft.com/office/drawing/2014/main" id="{CFB7314C-D3B6-ED8D-C747-00FB681150C7}"/>
                </a:ext>
              </a:extLst>
            </p:cNvPr>
            <p:cNvSpPr/>
            <p:nvPr/>
          </p:nvSpPr>
          <p:spPr>
            <a:xfrm>
              <a:off x="1581025" y="3862095"/>
              <a:ext cx="1254832" cy="784573"/>
            </a:xfrm>
            <a:custGeom>
              <a:avLst/>
              <a:gdLst/>
              <a:ahLst/>
              <a:cxnLst>
                <a:cxn ang="0">
                  <a:pos x="wd2" y="hd2"/>
                </a:cxn>
                <a:cxn ang="5400000">
                  <a:pos x="wd2" y="hd2"/>
                </a:cxn>
                <a:cxn ang="10800000">
                  <a:pos x="wd2" y="hd2"/>
                </a:cxn>
                <a:cxn ang="16200000">
                  <a:pos x="wd2" y="hd2"/>
                </a:cxn>
              </a:cxnLst>
              <a:rect l="0" t="0" r="r" b="b"/>
              <a:pathLst>
                <a:path w="21457" h="21600" extrusionOk="0">
                  <a:moveTo>
                    <a:pt x="21457" y="8783"/>
                  </a:moveTo>
                  <a:cubicBezTo>
                    <a:pt x="21411" y="8783"/>
                    <a:pt x="21411" y="8996"/>
                    <a:pt x="21411" y="9070"/>
                  </a:cubicBezTo>
                  <a:cubicBezTo>
                    <a:pt x="21371" y="9135"/>
                    <a:pt x="21324" y="9135"/>
                    <a:pt x="21278" y="9209"/>
                  </a:cubicBezTo>
                  <a:cubicBezTo>
                    <a:pt x="21146" y="9423"/>
                    <a:pt x="21146" y="9562"/>
                    <a:pt x="21059" y="9775"/>
                  </a:cubicBezTo>
                  <a:cubicBezTo>
                    <a:pt x="20794" y="9914"/>
                    <a:pt x="20622" y="10628"/>
                    <a:pt x="20270" y="10693"/>
                  </a:cubicBezTo>
                  <a:cubicBezTo>
                    <a:pt x="20224" y="10842"/>
                    <a:pt x="19561" y="10768"/>
                    <a:pt x="19521" y="10628"/>
                  </a:cubicBezTo>
                  <a:lnTo>
                    <a:pt x="19475" y="10768"/>
                  </a:lnTo>
                  <a:cubicBezTo>
                    <a:pt x="19435" y="10842"/>
                    <a:pt x="19475" y="10842"/>
                    <a:pt x="19475" y="10907"/>
                  </a:cubicBezTo>
                  <a:cubicBezTo>
                    <a:pt x="19654" y="11194"/>
                    <a:pt x="19654" y="11194"/>
                    <a:pt x="19654" y="11194"/>
                  </a:cubicBezTo>
                  <a:cubicBezTo>
                    <a:pt x="19786" y="11194"/>
                    <a:pt x="19521" y="11834"/>
                    <a:pt x="19475" y="11899"/>
                  </a:cubicBezTo>
                  <a:cubicBezTo>
                    <a:pt x="19435" y="12047"/>
                    <a:pt x="19435" y="12465"/>
                    <a:pt x="19302" y="12539"/>
                  </a:cubicBezTo>
                  <a:cubicBezTo>
                    <a:pt x="19343" y="12539"/>
                    <a:pt x="19343" y="12539"/>
                    <a:pt x="19343" y="12539"/>
                  </a:cubicBezTo>
                  <a:cubicBezTo>
                    <a:pt x="19302" y="12539"/>
                    <a:pt x="19210" y="12613"/>
                    <a:pt x="19037" y="12752"/>
                  </a:cubicBezTo>
                  <a:cubicBezTo>
                    <a:pt x="18640" y="13179"/>
                    <a:pt x="17591" y="13179"/>
                    <a:pt x="17061" y="13030"/>
                  </a:cubicBezTo>
                  <a:cubicBezTo>
                    <a:pt x="16491" y="12817"/>
                    <a:pt x="15920" y="12966"/>
                    <a:pt x="15344" y="13030"/>
                  </a:cubicBezTo>
                  <a:cubicBezTo>
                    <a:pt x="14993" y="13105"/>
                    <a:pt x="14906" y="12613"/>
                    <a:pt x="14687" y="12613"/>
                  </a:cubicBezTo>
                  <a:cubicBezTo>
                    <a:pt x="14687" y="12966"/>
                    <a:pt x="14728" y="13179"/>
                    <a:pt x="14641" y="13531"/>
                  </a:cubicBezTo>
                  <a:cubicBezTo>
                    <a:pt x="14555" y="13884"/>
                    <a:pt x="14728" y="14162"/>
                    <a:pt x="14728" y="14514"/>
                  </a:cubicBezTo>
                  <a:cubicBezTo>
                    <a:pt x="14728" y="15572"/>
                    <a:pt x="14290" y="15219"/>
                    <a:pt x="13892" y="15572"/>
                  </a:cubicBezTo>
                  <a:cubicBezTo>
                    <a:pt x="13368" y="15507"/>
                    <a:pt x="13495" y="15154"/>
                    <a:pt x="13011" y="15720"/>
                  </a:cubicBezTo>
                  <a:cubicBezTo>
                    <a:pt x="12619" y="16137"/>
                    <a:pt x="12440" y="16638"/>
                    <a:pt x="12135" y="16991"/>
                  </a:cubicBezTo>
                  <a:cubicBezTo>
                    <a:pt x="11737" y="17491"/>
                    <a:pt x="10683" y="18475"/>
                    <a:pt x="10239" y="17844"/>
                  </a:cubicBezTo>
                  <a:cubicBezTo>
                    <a:pt x="10199" y="17770"/>
                    <a:pt x="10066" y="17278"/>
                    <a:pt x="10020" y="17343"/>
                  </a:cubicBezTo>
                  <a:cubicBezTo>
                    <a:pt x="9934" y="17844"/>
                    <a:pt x="10020" y="17909"/>
                    <a:pt x="10020" y="18335"/>
                  </a:cubicBezTo>
                  <a:cubicBezTo>
                    <a:pt x="9934" y="17983"/>
                    <a:pt x="9404" y="17770"/>
                    <a:pt x="9231" y="17556"/>
                  </a:cubicBezTo>
                  <a:cubicBezTo>
                    <a:pt x="9006" y="17278"/>
                    <a:pt x="8747" y="16852"/>
                    <a:pt x="8701" y="16351"/>
                  </a:cubicBezTo>
                  <a:cubicBezTo>
                    <a:pt x="8655" y="15924"/>
                    <a:pt x="8568" y="16564"/>
                    <a:pt x="8436" y="16564"/>
                  </a:cubicBezTo>
                  <a:cubicBezTo>
                    <a:pt x="8303" y="16564"/>
                    <a:pt x="7866" y="15998"/>
                    <a:pt x="7687" y="15859"/>
                  </a:cubicBezTo>
                  <a:cubicBezTo>
                    <a:pt x="7422" y="15720"/>
                    <a:pt x="7249" y="14941"/>
                    <a:pt x="7203" y="15785"/>
                  </a:cubicBezTo>
                  <a:cubicBezTo>
                    <a:pt x="7163" y="16286"/>
                    <a:pt x="7335" y="16499"/>
                    <a:pt x="7514" y="16712"/>
                  </a:cubicBezTo>
                  <a:cubicBezTo>
                    <a:pt x="7906" y="17204"/>
                    <a:pt x="7422" y="18475"/>
                    <a:pt x="7468" y="19050"/>
                  </a:cubicBezTo>
                  <a:cubicBezTo>
                    <a:pt x="7554" y="19615"/>
                    <a:pt x="7601" y="19968"/>
                    <a:pt x="7295" y="20394"/>
                  </a:cubicBezTo>
                  <a:cubicBezTo>
                    <a:pt x="7117" y="20533"/>
                    <a:pt x="6454" y="19829"/>
                    <a:pt x="6235" y="19680"/>
                  </a:cubicBezTo>
                  <a:cubicBezTo>
                    <a:pt x="5619" y="19189"/>
                    <a:pt x="5532" y="18196"/>
                    <a:pt x="5094" y="17695"/>
                  </a:cubicBezTo>
                  <a:cubicBezTo>
                    <a:pt x="4737" y="17343"/>
                    <a:pt x="4564" y="17204"/>
                    <a:pt x="4299" y="16777"/>
                  </a:cubicBezTo>
                  <a:cubicBezTo>
                    <a:pt x="4167" y="16564"/>
                    <a:pt x="3902" y="16712"/>
                    <a:pt x="3729" y="16712"/>
                  </a:cubicBezTo>
                  <a:cubicBezTo>
                    <a:pt x="3596" y="16638"/>
                    <a:pt x="3464" y="16286"/>
                    <a:pt x="3377" y="16072"/>
                  </a:cubicBezTo>
                  <a:cubicBezTo>
                    <a:pt x="3112" y="15646"/>
                    <a:pt x="2582" y="16499"/>
                    <a:pt x="2363" y="16712"/>
                  </a:cubicBezTo>
                  <a:cubicBezTo>
                    <a:pt x="1879" y="17139"/>
                    <a:pt x="2363" y="17983"/>
                    <a:pt x="2450" y="18623"/>
                  </a:cubicBezTo>
                  <a:cubicBezTo>
                    <a:pt x="2582" y="19754"/>
                    <a:pt x="2582" y="19754"/>
                    <a:pt x="2582" y="19754"/>
                  </a:cubicBezTo>
                  <a:cubicBezTo>
                    <a:pt x="2847" y="20320"/>
                    <a:pt x="2847" y="20320"/>
                    <a:pt x="2847" y="20320"/>
                  </a:cubicBezTo>
                  <a:cubicBezTo>
                    <a:pt x="2801" y="21025"/>
                    <a:pt x="2801" y="21025"/>
                    <a:pt x="2801" y="21025"/>
                  </a:cubicBezTo>
                  <a:cubicBezTo>
                    <a:pt x="2761" y="21312"/>
                    <a:pt x="3020" y="21452"/>
                    <a:pt x="3066" y="21600"/>
                  </a:cubicBezTo>
                  <a:cubicBezTo>
                    <a:pt x="2496" y="21600"/>
                    <a:pt x="1879" y="20886"/>
                    <a:pt x="2144" y="19968"/>
                  </a:cubicBezTo>
                  <a:cubicBezTo>
                    <a:pt x="2231" y="19680"/>
                    <a:pt x="1701" y="17983"/>
                    <a:pt x="1528" y="17695"/>
                  </a:cubicBezTo>
                  <a:cubicBezTo>
                    <a:pt x="1309" y="17139"/>
                    <a:pt x="825" y="16852"/>
                    <a:pt x="606" y="16212"/>
                  </a:cubicBezTo>
                  <a:cubicBezTo>
                    <a:pt x="473" y="15433"/>
                    <a:pt x="-143" y="14440"/>
                    <a:pt x="30" y="13457"/>
                  </a:cubicBezTo>
                  <a:cubicBezTo>
                    <a:pt x="116" y="12817"/>
                    <a:pt x="208" y="11686"/>
                    <a:pt x="779" y="11686"/>
                  </a:cubicBezTo>
                  <a:cubicBezTo>
                    <a:pt x="779" y="11899"/>
                    <a:pt x="998" y="12400"/>
                    <a:pt x="1044" y="12678"/>
                  </a:cubicBezTo>
                  <a:cubicBezTo>
                    <a:pt x="1084" y="13030"/>
                    <a:pt x="1044" y="13457"/>
                    <a:pt x="1044" y="13810"/>
                  </a:cubicBezTo>
                  <a:cubicBezTo>
                    <a:pt x="1084" y="14514"/>
                    <a:pt x="1966" y="14728"/>
                    <a:pt x="1747" y="14023"/>
                  </a:cubicBezTo>
                  <a:cubicBezTo>
                    <a:pt x="1482" y="13318"/>
                    <a:pt x="1309" y="12613"/>
                    <a:pt x="1263" y="11899"/>
                  </a:cubicBezTo>
                  <a:cubicBezTo>
                    <a:pt x="1568" y="11621"/>
                    <a:pt x="2058" y="11407"/>
                    <a:pt x="2277" y="11046"/>
                  </a:cubicBezTo>
                  <a:cubicBezTo>
                    <a:pt x="2496" y="10768"/>
                    <a:pt x="2450" y="10128"/>
                    <a:pt x="2669" y="9988"/>
                  </a:cubicBezTo>
                  <a:cubicBezTo>
                    <a:pt x="2934" y="9914"/>
                    <a:pt x="3112" y="10480"/>
                    <a:pt x="3331" y="10628"/>
                  </a:cubicBezTo>
                  <a:cubicBezTo>
                    <a:pt x="3642" y="10768"/>
                    <a:pt x="3994" y="10842"/>
                    <a:pt x="4299" y="10768"/>
                  </a:cubicBezTo>
                  <a:cubicBezTo>
                    <a:pt x="4605" y="10768"/>
                    <a:pt x="4916" y="10628"/>
                    <a:pt x="5181" y="10415"/>
                  </a:cubicBezTo>
                  <a:cubicBezTo>
                    <a:pt x="5267" y="10341"/>
                    <a:pt x="5267" y="10053"/>
                    <a:pt x="5313" y="9914"/>
                  </a:cubicBezTo>
                  <a:cubicBezTo>
                    <a:pt x="5313" y="9914"/>
                    <a:pt x="5094" y="9562"/>
                    <a:pt x="5094" y="9497"/>
                  </a:cubicBezTo>
                  <a:cubicBezTo>
                    <a:pt x="5094" y="9423"/>
                    <a:pt x="5267" y="8505"/>
                    <a:pt x="5267" y="8505"/>
                  </a:cubicBezTo>
                  <a:cubicBezTo>
                    <a:pt x="5313" y="8356"/>
                    <a:pt x="5400" y="8143"/>
                    <a:pt x="5486" y="8078"/>
                  </a:cubicBezTo>
                  <a:cubicBezTo>
                    <a:pt x="5532" y="8004"/>
                    <a:pt x="5619" y="8143"/>
                    <a:pt x="5665" y="8143"/>
                  </a:cubicBezTo>
                  <a:cubicBezTo>
                    <a:pt x="5797" y="8004"/>
                    <a:pt x="5837" y="7651"/>
                    <a:pt x="5970" y="7651"/>
                  </a:cubicBezTo>
                  <a:cubicBezTo>
                    <a:pt x="6149" y="7577"/>
                    <a:pt x="6368" y="7865"/>
                    <a:pt x="6546" y="7790"/>
                  </a:cubicBezTo>
                  <a:cubicBezTo>
                    <a:pt x="6679" y="7790"/>
                    <a:pt x="6805" y="7577"/>
                    <a:pt x="6898" y="7512"/>
                  </a:cubicBezTo>
                  <a:cubicBezTo>
                    <a:pt x="6938" y="7716"/>
                    <a:pt x="6898" y="8217"/>
                    <a:pt x="7070" y="8217"/>
                  </a:cubicBezTo>
                  <a:cubicBezTo>
                    <a:pt x="7203" y="8291"/>
                    <a:pt x="7249" y="7865"/>
                    <a:pt x="7295" y="7577"/>
                  </a:cubicBezTo>
                  <a:cubicBezTo>
                    <a:pt x="7382" y="7299"/>
                    <a:pt x="7335" y="6937"/>
                    <a:pt x="7422" y="6659"/>
                  </a:cubicBezTo>
                  <a:cubicBezTo>
                    <a:pt x="7468" y="6520"/>
                    <a:pt x="7601" y="6659"/>
                    <a:pt x="7647" y="6585"/>
                  </a:cubicBezTo>
                  <a:cubicBezTo>
                    <a:pt x="7733" y="6167"/>
                    <a:pt x="7733" y="5667"/>
                    <a:pt x="7819" y="5240"/>
                  </a:cubicBezTo>
                  <a:cubicBezTo>
                    <a:pt x="7952" y="4748"/>
                    <a:pt x="8084" y="4322"/>
                    <a:pt x="8303" y="4034"/>
                  </a:cubicBezTo>
                  <a:cubicBezTo>
                    <a:pt x="8390" y="3895"/>
                    <a:pt x="8522" y="4034"/>
                    <a:pt x="8655" y="4034"/>
                  </a:cubicBezTo>
                  <a:cubicBezTo>
                    <a:pt x="8747" y="3969"/>
                    <a:pt x="8787" y="3756"/>
                    <a:pt x="8880" y="3756"/>
                  </a:cubicBezTo>
                  <a:cubicBezTo>
                    <a:pt x="8920" y="3682"/>
                    <a:pt x="9006" y="3682"/>
                    <a:pt x="9099" y="3756"/>
                  </a:cubicBezTo>
                  <a:cubicBezTo>
                    <a:pt x="9358" y="3969"/>
                    <a:pt x="9490" y="4461"/>
                    <a:pt x="9801" y="4600"/>
                  </a:cubicBezTo>
                  <a:cubicBezTo>
                    <a:pt x="9888" y="4674"/>
                    <a:pt x="9934" y="4396"/>
                    <a:pt x="9974" y="4248"/>
                  </a:cubicBezTo>
                  <a:cubicBezTo>
                    <a:pt x="9974" y="4248"/>
                    <a:pt x="9974" y="3830"/>
                    <a:pt x="9974" y="3756"/>
                  </a:cubicBezTo>
                  <a:cubicBezTo>
                    <a:pt x="9974" y="3617"/>
                    <a:pt x="10285" y="2977"/>
                    <a:pt x="10285" y="2977"/>
                  </a:cubicBezTo>
                  <a:cubicBezTo>
                    <a:pt x="10239" y="2764"/>
                    <a:pt x="10107" y="2615"/>
                    <a:pt x="10107" y="2411"/>
                  </a:cubicBezTo>
                  <a:cubicBezTo>
                    <a:pt x="10107" y="2050"/>
                    <a:pt x="10107" y="1632"/>
                    <a:pt x="10239" y="1419"/>
                  </a:cubicBezTo>
                  <a:cubicBezTo>
                    <a:pt x="10418" y="1067"/>
                    <a:pt x="10769" y="1131"/>
                    <a:pt x="10988" y="853"/>
                  </a:cubicBezTo>
                  <a:cubicBezTo>
                    <a:pt x="11075" y="779"/>
                    <a:pt x="10902" y="566"/>
                    <a:pt x="10942" y="492"/>
                  </a:cubicBezTo>
                  <a:cubicBezTo>
                    <a:pt x="10988" y="278"/>
                    <a:pt x="11121" y="139"/>
                    <a:pt x="11207" y="0"/>
                  </a:cubicBezTo>
                  <a:cubicBezTo>
                    <a:pt x="11294" y="65"/>
                    <a:pt x="11340" y="213"/>
                    <a:pt x="11426" y="213"/>
                  </a:cubicBezTo>
                  <a:cubicBezTo>
                    <a:pt x="11651" y="278"/>
                    <a:pt x="11870" y="139"/>
                    <a:pt x="12089" y="213"/>
                  </a:cubicBezTo>
                  <a:cubicBezTo>
                    <a:pt x="12308" y="213"/>
                    <a:pt x="12486" y="352"/>
                    <a:pt x="12659" y="566"/>
                  </a:cubicBezTo>
                  <a:cubicBezTo>
                    <a:pt x="12792" y="779"/>
                    <a:pt x="12878" y="1067"/>
                    <a:pt x="12970" y="1280"/>
                  </a:cubicBezTo>
                  <a:cubicBezTo>
                    <a:pt x="13057" y="1419"/>
                    <a:pt x="13103" y="1632"/>
                    <a:pt x="13143" y="1771"/>
                  </a:cubicBezTo>
                  <a:cubicBezTo>
                    <a:pt x="13235" y="2050"/>
                    <a:pt x="13322" y="2337"/>
                    <a:pt x="13408" y="2550"/>
                  </a:cubicBezTo>
                  <a:cubicBezTo>
                    <a:pt x="13495" y="2764"/>
                    <a:pt x="13627" y="2903"/>
                    <a:pt x="13673" y="3116"/>
                  </a:cubicBezTo>
                  <a:cubicBezTo>
                    <a:pt x="13719" y="3255"/>
                    <a:pt x="13673" y="3543"/>
                    <a:pt x="13719" y="3682"/>
                  </a:cubicBezTo>
                  <a:cubicBezTo>
                    <a:pt x="13719" y="3830"/>
                    <a:pt x="13852" y="3969"/>
                    <a:pt x="13892" y="4034"/>
                  </a:cubicBezTo>
                  <a:cubicBezTo>
                    <a:pt x="13984" y="4183"/>
                    <a:pt x="14071" y="4396"/>
                    <a:pt x="14203" y="4461"/>
                  </a:cubicBezTo>
                  <a:cubicBezTo>
                    <a:pt x="14244" y="4535"/>
                    <a:pt x="14376" y="4535"/>
                    <a:pt x="14422" y="4461"/>
                  </a:cubicBezTo>
                  <a:cubicBezTo>
                    <a:pt x="14509" y="4183"/>
                    <a:pt x="14462" y="3830"/>
                    <a:pt x="14595" y="3617"/>
                  </a:cubicBezTo>
                  <a:cubicBezTo>
                    <a:pt x="14641" y="3543"/>
                    <a:pt x="14820" y="3756"/>
                    <a:pt x="14860" y="3617"/>
                  </a:cubicBezTo>
                  <a:cubicBezTo>
                    <a:pt x="14946" y="3404"/>
                    <a:pt x="14860" y="3042"/>
                    <a:pt x="14860" y="2764"/>
                  </a:cubicBezTo>
                  <a:cubicBezTo>
                    <a:pt x="14860" y="2476"/>
                    <a:pt x="14774" y="2198"/>
                    <a:pt x="14860" y="1985"/>
                  </a:cubicBezTo>
                  <a:cubicBezTo>
                    <a:pt x="14906" y="1846"/>
                    <a:pt x="15039" y="1846"/>
                    <a:pt x="15125" y="1771"/>
                  </a:cubicBezTo>
                  <a:cubicBezTo>
                    <a:pt x="15258" y="1632"/>
                    <a:pt x="15390" y="1558"/>
                    <a:pt x="15477" y="1419"/>
                  </a:cubicBezTo>
                  <a:cubicBezTo>
                    <a:pt x="15569" y="1484"/>
                    <a:pt x="15609" y="1558"/>
                    <a:pt x="15695" y="1558"/>
                  </a:cubicBezTo>
                  <a:cubicBezTo>
                    <a:pt x="15828" y="1558"/>
                    <a:pt x="16007" y="1484"/>
                    <a:pt x="16179" y="1419"/>
                  </a:cubicBezTo>
                  <a:cubicBezTo>
                    <a:pt x="16444" y="1345"/>
                    <a:pt x="16756" y="1419"/>
                    <a:pt x="16975" y="1206"/>
                  </a:cubicBezTo>
                  <a:cubicBezTo>
                    <a:pt x="17107" y="1067"/>
                    <a:pt x="17021" y="705"/>
                    <a:pt x="17153" y="566"/>
                  </a:cubicBezTo>
                  <a:cubicBezTo>
                    <a:pt x="17193" y="492"/>
                    <a:pt x="17280" y="705"/>
                    <a:pt x="17372" y="705"/>
                  </a:cubicBezTo>
                  <a:cubicBezTo>
                    <a:pt x="17545" y="853"/>
                    <a:pt x="17764" y="705"/>
                    <a:pt x="17896" y="918"/>
                  </a:cubicBezTo>
                  <a:cubicBezTo>
                    <a:pt x="17942" y="1131"/>
                    <a:pt x="17724" y="1206"/>
                    <a:pt x="17631" y="1345"/>
                  </a:cubicBezTo>
                  <a:cubicBezTo>
                    <a:pt x="17505" y="1484"/>
                    <a:pt x="17412" y="1632"/>
                    <a:pt x="17326" y="1846"/>
                  </a:cubicBezTo>
                  <a:cubicBezTo>
                    <a:pt x="17280" y="2050"/>
                    <a:pt x="17240" y="2337"/>
                    <a:pt x="17240" y="2550"/>
                  </a:cubicBezTo>
                  <a:cubicBezTo>
                    <a:pt x="17240" y="2764"/>
                    <a:pt x="17193" y="3042"/>
                    <a:pt x="17280" y="3190"/>
                  </a:cubicBezTo>
                  <a:cubicBezTo>
                    <a:pt x="17412" y="3255"/>
                    <a:pt x="17505" y="2977"/>
                    <a:pt x="17631" y="2829"/>
                  </a:cubicBezTo>
                  <a:cubicBezTo>
                    <a:pt x="17724" y="2690"/>
                    <a:pt x="17810" y="2411"/>
                    <a:pt x="17977" y="2337"/>
                  </a:cubicBezTo>
                  <a:cubicBezTo>
                    <a:pt x="18069" y="2263"/>
                    <a:pt x="18156" y="2411"/>
                    <a:pt x="18242" y="2550"/>
                  </a:cubicBezTo>
                  <a:cubicBezTo>
                    <a:pt x="18334" y="2615"/>
                    <a:pt x="18334" y="2977"/>
                    <a:pt x="18467" y="2977"/>
                  </a:cubicBezTo>
                  <a:cubicBezTo>
                    <a:pt x="18640" y="3042"/>
                    <a:pt x="18859" y="2690"/>
                    <a:pt x="19083" y="2764"/>
                  </a:cubicBezTo>
                  <a:cubicBezTo>
                    <a:pt x="19170" y="2829"/>
                    <a:pt x="19124" y="3042"/>
                    <a:pt x="19124" y="3190"/>
                  </a:cubicBezTo>
                  <a:cubicBezTo>
                    <a:pt x="19210" y="3404"/>
                    <a:pt x="19256" y="3543"/>
                    <a:pt x="19302" y="3756"/>
                  </a:cubicBezTo>
                  <a:cubicBezTo>
                    <a:pt x="19389" y="3969"/>
                    <a:pt x="19521" y="4109"/>
                    <a:pt x="19608" y="4322"/>
                  </a:cubicBezTo>
                  <a:cubicBezTo>
                    <a:pt x="19654" y="4461"/>
                    <a:pt x="19561" y="4748"/>
                    <a:pt x="19654" y="4888"/>
                  </a:cubicBezTo>
                  <a:cubicBezTo>
                    <a:pt x="19694" y="4962"/>
                    <a:pt x="19786" y="4888"/>
                    <a:pt x="19873" y="4888"/>
                  </a:cubicBezTo>
                  <a:cubicBezTo>
                    <a:pt x="19919" y="4888"/>
                    <a:pt x="19959" y="5027"/>
                    <a:pt x="20005" y="4962"/>
                  </a:cubicBezTo>
                  <a:cubicBezTo>
                    <a:pt x="20178" y="4888"/>
                    <a:pt x="20270" y="4600"/>
                    <a:pt x="20443" y="4535"/>
                  </a:cubicBezTo>
                  <a:cubicBezTo>
                    <a:pt x="20535" y="4535"/>
                    <a:pt x="20622" y="4674"/>
                    <a:pt x="20708" y="4748"/>
                  </a:cubicBezTo>
                  <a:cubicBezTo>
                    <a:pt x="20841" y="4748"/>
                    <a:pt x="20927" y="4535"/>
                    <a:pt x="21019" y="4600"/>
                  </a:cubicBezTo>
                  <a:cubicBezTo>
                    <a:pt x="21106" y="4674"/>
                    <a:pt x="21192" y="4962"/>
                    <a:pt x="21146" y="5101"/>
                  </a:cubicBezTo>
                  <a:cubicBezTo>
                    <a:pt x="21106" y="5379"/>
                    <a:pt x="20754" y="5453"/>
                    <a:pt x="20794" y="5741"/>
                  </a:cubicBezTo>
                  <a:cubicBezTo>
                    <a:pt x="20841" y="6019"/>
                    <a:pt x="21146" y="5667"/>
                    <a:pt x="21324" y="5806"/>
                  </a:cubicBezTo>
                  <a:cubicBezTo>
                    <a:pt x="21371" y="5880"/>
                    <a:pt x="21371" y="6093"/>
                    <a:pt x="21324" y="6232"/>
                  </a:cubicBezTo>
                  <a:cubicBezTo>
                    <a:pt x="21278" y="6371"/>
                    <a:pt x="21146" y="6371"/>
                    <a:pt x="21146" y="6520"/>
                  </a:cubicBezTo>
                  <a:cubicBezTo>
                    <a:pt x="21059" y="7086"/>
                    <a:pt x="20927" y="7651"/>
                    <a:pt x="20973" y="8143"/>
                  </a:cubicBezTo>
                  <a:cubicBezTo>
                    <a:pt x="21019" y="8505"/>
                    <a:pt x="21278" y="8570"/>
                    <a:pt x="21457" y="878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0" name="Shape 2461">
              <a:extLst>
                <a:ext uri="{FF2B5EF4-FFF2-40B4-BE49-F238E27FC236}">
                  <a16:creationId xmlns:a16="http://schemas.microsoft.com/office/drawing/2014/main" id="{18A2EF35-DB4D-F23D-833C-40912A91535F}"/>
                </a:ext>
              </a:extLst>
            </p:cNvPr>
            <p:cNvSpPr/>
            <p:nvPr/>
          </p:nvSpPr>
          <p:spPr>
            <a:xfrm>
              <a:off x="1655932" y="3729790"/>
              <a:ext cx="366545" cy="564561"/>
            </a:xfrm>
            <a:custGeom>
              <a:avLst/>
              <a:gdLst/>
              <a:ahLst/>
              <a:cxnLst>
                <a:cxn ang="0">
                  <a:pos x="wd2" y="hd2"/>
                </a:cxn>
                <a:cxn ang="5400000">
                  <a:pos x="wd2" y="hd2"/>
                </a:cxn>
                <a:cxn ang="10800000">
                  <a:pos x="wd2" y="hd2"/>
                </a:cxn>
                <a:cxn ang="16200000">
                  <a:pos x="wd2" y="hd2"/>
                </a:cxn>
              </a:cxnLst>
              <a:rect l="0" t="0" r="r" b="b"/>
              <a:pathLst>
                <a:path w="21497" h="21600" extrusionOk="0">
                  <a:moveTo>
                    <a:pt x="0" y="21600"/>
                  </a:moveTo>
                  <a:cubicBezTo>
                    <a:pt x="1048" y="21213"/>
                    <a:pt x="2730" y="20916"/>
                    <a:pt x="3481" y="20412"/>
                  </a:cubicBezTo>
                  <a:cubicBezTo>
                    <a:pt x="4233" y="20025"/>
                    <a:pt x="4075" y="19134"/>
                    <a:pt x="4826" y="18940"/>
                  </a:cubicBezTo>
                  <a:cubicBezTo>
                    <a:pt x="5736" y="18837"/>
                    <a:pt x="6349" y="19625"/>
                    <a:pt x="7101" y="19831"/>
                  </a:cubicBezTo>
                  <a:cubicBezTo>
                    <a:pt x="8169" y="20025"/>
                    <a:pt x="9376" y="20128"/>
                    <a:pt x="10424" y="20025"/>
                  </a:cubicBezTo>
                  <a:cubicBezTo>
                    <a:pt x="11473" y="20025"/>
                    <a:pt x="12541" y="19831"/>
                    <a:pt x="13451" y="19534"/>
                  </a:cubicBezTo>
                  <a:cubicBezTo>
                    <a:pt x="13747" y="19431"/>
                    <a:pt x="13747" y="19031"/>
                    <a:pt x="13905" y="18837"/>
                  </a:cubicBezTo>
                  <a:cubicBezTo>
                    <a:pt x="13905" y="18837"/>
                    <a:pt x="13154" y="18346"/>
                    <a:pt x="13154" y="18256"/>
                  </a:cubicBezTo>
                  <a:cubicBezTo>
                    <a:pt x="13154" y="18153"/>
                    <a:pt x="13747" y="16875"/>
                    <a:pt x="13747" y="16875"/>
                  </a:cubicBezTo>
                  <a:cubicBezTo>
                    <a:pt x="13905" y="16668"/>
                    <a:pt x="14202" y="16371"/>
                    <a:pt x="14499" y="16281"/>
                  </a:cubicBezTo>
                  <a:cubicBezTo>
                    <a:pt x="14657" y="16177"/>
                    <a:pt x="14954" y="16371"/>
                    <a:pt x="15112" y="16371"/>
                  </a:cubicBezTo>
                  <a:cubicBezTo>
                    <a:pt x="15567" y="16177"/>
                    <a:pt x="15705" y="15687"/>
                    <a:pt x="16160" y="15687"/>
                  </a:cubicBezTo>
                  <a:cubicBezTo>
                    <a:pt x="16774" y="15584"/>
                    <a:pt x="17525" y="15984"/>
                    <a:pt x="18138" y="15880"/>
                  </a:cubicBezTo>
                  <a:cubicBezTo>
                    <a:pt x="18593" y="15880"/>
                    <a:pt x="19029" y="15584"/>
                    <a:pt x="19345" y="15493"/>
                  </a:cubicBezTo>
                  <a:cubicBezTo>
                    <a:pt x="19187" y="15093"/>
                    <a:pt x="18890" y="14602"/>
                    <a:pt x="19029" y="14202"/>
                  </a:cubicBezTo>
                  <a:cubicBezTo>
                    <a:pt x="19029" y="13905"/>
                    <a:pt x="19484" y="13621"/>
                    <a:pt x="19800" y="13324"/>
                  </a:cubicBezTo>
                  <a:cubicBezTo>
                    <a:pt x="19938" y="13027"/>
                    <a:pt x="20255" y="12730"/>
                    <a:pt x="20255" y="12330"/>
                  </a:cubicBezTo>
                  <a:cubicBezTo>
                    <a:pt x="20255" y="12330"/>
                    <a:pt x="19938" y="12433"/>
                    <a:pt x="19938" y="12330"/>
                  </a:cubicBezTo>
                  <a:cubicBezTo>
                    <a:pt x="19800" y="12227"/>
                    <a:pt x="20097" y="12033"/>
                    <a:pt x="20097" y="11943"/>
                  </a:cubicBezTo>
                  <a:cubicBezTo>
                    <a:pt x="19938" y="11736"/>
                    <a:pt x="19484" y="11646"/>
                    <a:pt x="19345" y="11349"/>
                  </a:cubicBezTo>
                  <a:cubicBezTo>
                    <a:pt x="19345" y="11052"/>
                    <a:pt x="19938" y="10858"/>
                    <a:pt x="19938" y="10458"/>
                  </a:cubicBezTo>
                  <a:cubicBezTo>
                    <a:pt x="19800" y="10264"/>
                    <a:pt x="19345" y="10071"/>
                    <a:pt x="19029" y="9967"/>
                  </a:cubicBezTo>
                  <a:cubicBezTo>
                    <a:pt x="18732" y="9864"/>
                    <a:pt x="18435" y="9967"/>
                    <a:pt x="18277" y="9967"/>
                  </a:cubicBezTo>
                  <a:cubicBezTo>
                    <a:pt x="17980" y="9774"/>
                    <a:pt x="17822" y="9477"/>
                    <a:pt x="17367" y="9180"/>
                  </a:cubicBezTo>
                  <a:cubicBezTo>
                    <a:pt x="17070" y="8973"/>
                    <a:pt x="16615" y="8883"/>
                    <a:pt x="16319" y="8586"/>
                  </a:cubicBezTo>
                  <a:cubicBezTo>
                    <a:pt x="16319" y="8482"/>
                    <a:pt x="16774" y="8482"/>
                    <a:pt x="16912" y="8392"/>
                  </a:cubicBezTo>
                  <a:cubicBezTo>
                    <a:pt x="17229" y="8186"/>
                    <a:pt x="17525" y="7992"/>
                    <a:pt x="17525" y="7695"/>
                  </a:cubicBezTo>
                  <a:cubicBezTo>
                    <a:pt x="17525" y="7605"/>
                    <a:pt x="17367" y="7501"/>
                    <a:pt x="17229" y="7398"/>
                  </a:cubicBezTo>
                  <a:cubicBezTo>
                    <a:pt x="16774" y="7398"/>
                    <a:pt x="16477" y="7605"/>
                    <a:pt x="16022" y="7501"/>
                  </a:cubicBezTo>
                  <a:cubicBezTo>
                    <a:pt x="15705" y="7501"/>
                    <a:pt x="15112" y="7398"/>
                    <a:pt x="15270" y="7204"/>
                  </a:cubicBezTo>
                  <a:cubicBezTo>
                    <a:pt x="15270" y="6907"/>
                    <a:pt x="16022" y="6907"/>
                    <a:pt x="16319" y="6714"/>
                  </a:cubicBezTo>
                  <a:cubicBezTo>
                    <a:pt x="16477" y="6610"/>
                    <a:pt x="16160" y="6223"/>
                    <a:pt x="16319" y="6223"/>
                  </a:cubicBezTo>
                  <a:cubicBezTo>
                    <a:pt x="16615" y="6120"/>
                    <a:pt x="17070" y="6223"/>
                    <a:pt x="17367" y="6417"/>
                  </a:cubicBezTo>
                  <a:cubicBezTo>
                    <a:pt x="17525" y="6520"/>
                    <a:pt x="17229" y="6817"/>
                    <a:pt x="17525" y="6907"/>
                  </a:cubicBezTo>
                  <a:cubicBezTo>
                    <a:pt x="17980" y="7101"/>
                    <a:pt x="18593" y="7101"/>
                    <a:pt x="19029" y="7101"/>
                  </a:cubicBezTo>
                  <a:cubicBezTo>
                    <a:pt x="19345" y="7011"/>
                    <a:pt x="19642" y="6907"/>
                    <a:pt x="19800" y="6714"/>
                  </a:cubicBezTo>
                  <a:cubicBezTo>
                    <a:pt x="19938" y="6520"/>
                    <a:pt x="19938" y="6313"/>
                    <a:pt x="19800" y="6223"/>
                  </a:cubicBezTo>
                  <a:cubicBezTo>
                    <a:pt x="19484" y="6016"/>
                    <a:pt x="18890" y="6016"/>
                    <a:pt x="18593" y="5823"/>
                  </a:cubicBezTo>
                  <a:cubicBezTo>
                    <a:pt x="18593" y="5629"/>
                    <a:pt x="19029" y="5526"/>
                    <a:pt x="18890" y="5423"/>
                  </a:cubicBezTo>
                  <a:cubicBezTo>
                    <a:pt x="18890" y="5229"/>
                    <a:pt x="18435" y="5332"/>
                    <a:pt x="18435" y="5126"/>
                  </a:cubicBezTo>
                  <a:cubicBezTo>
                    <a:pt x="18435" y="4842"/>
                    <a:pt x="18732" y="4545"/>
                    <a:pt x="19029" y="4248"/>
                  </a:cubicBezTo>
                  <a:cubicBezTo>
                    <a:pt x="19187" y="4144"/>
                    <a:pt x="19642" y="4338"/>
                    <a:pt x="19800" y="4248"/>
                  </a:cubicBezTo>
                  <a:cubicBezTo>
                    <a:pt x="19938" y="4144"/>
                    <a:pt x="19938" y="3847"/>
                    <a:pt x="20255" y="3757"/>
                  </a:cubicBezTo>
                  <a:cubicBezTo>
                    <a:pt x="20552" y="3551"/>
                    <a:pt x="21303" y="3654"/>
                    <a:pt x="21462" y="3357"/>
                  </a:cubicBezTo>
                  <a:cubicBezTo>
                    <a:pt x="21600" y="2866"/>
                    <a:pt x="21303" y="2272"/>
                    <a:pt x="21007" y="1782"/>
                  </a:cubicBezTo>
                  <a:cubicBezTo>
                    <a:pt x="21007" y="1588"/>
                    <a:pt x="20710" y="1485"/>
                    <a:pt x="20393" y="1381"/>
                  </a:cubicBezTo>
                  <a:cubicBezTo>
                    <a:pt x="20097" y="1381"/>
                    <a:pt x="19642" y="1485"/>
                    <a:pt x="19345" y="1485"/>
                  </a:cubicBezTo>
                  <a:lnTo>
                    <a:pt x="17684" y="1291"/>
                  </a:lnTo>
                  <a:cubicBezTo>
                    <a:pt x="17525" y="1188"/>
                    <a:pt x="17070" y="400"/>
                    <a:pt x="17070" y="400"/>
                  </a:cubicBezTo>
                  <a:cubicBezTo>
                    <a:pt x="16615" y="297"/>
                    <a:pt x="16160" y="103"/>
                    <a:pt x="15864" y="0"/>
                  </a:cubicBezTo>
                  <a:cubicBezTo>
                    <a:pt x="15270" y="400"/>
                    <a:pt x="14815" y="788"/>
                    <a:pt x="14202" y="1085"/>
                  </a:cubicBezTo>
                  <a:cubicBezTo>
                    <a:pt x="13747" y="1188"/>
                    <a:pt x="13451" y="1291"/>
                    <a:pt x="12996" y="1291"/>
                  </a:cubicBezTo>
                  <a:cubicBezTo>
                    <a:pt x="12699" y="1291"/>
                    <a:pt x="11789" y="1188"/>
                    <a:pt x="11473" y="1085"/>
                  </a:cubicBezTo>
                  <a:cubicBezTo>
                    <a:pt x="11631" y="1188"/>
                    <a:pt x="11631" y="1291"/>
                    <a:pt x="11631" y="1381"/>
                  </a:cubicBezTo>
                  <a:cubicBezTo>
                    <a:pt x="11631" y="1678"/>
                    <a:pt x="12244" y="2079"/>
                    <a:pt x="12086" y="2272"/>
                  </a:cubicBezTo>
                  <a:cubicBezTo>
                    <a:pt x="11631" y="3060"/>
                    <a:pt x="11631" y="2466"/>
                    <a:pt x="12541" y="3254"/>
                  </a:cubicBezTo>
                  <a:cubicBezTo>
                    <a:pt x="13292" y="3847"/>
                    <a:pt x="13154" y="5332"/>
                    <a:pt x="12541" y="6016"/>
                  </a:cubicBezTo>
                  <a:cubicBezTo>
                    <a:pt x="11631" y="6907"/>
                    <a:pt x="10582" y="6714"/>
                    <a:pt x="9376" y="7101"/>
                  </a:cubicBezTo>
                  <a:cubicBezTo>
                    <a:pt x="8624" y="7308"/>
                    <a:pt x="8921" y="8289"/>
                    <a:pt x="8763" y="8779"/>
                  </a:cubicBezTo>
                  <a:cubicBezTo>
                    <a:pt x="8466" y="9180"/>
                    <a:pt x="6349" y="10458"/>
                    <a:pt x="6349" y="10458"/>
                  </a:cubicBezTo>
                  <a:cubicBezTo>
                    <a:pt x="6488" y="10948"/>
                    <a:pt x="6488" y="11245"/>
                    <a:pt x="6488" y="11839"/>
                  </a:cubicBezTo>
                  <a:cubicBezTo>
                    <a:pt x="6488" y="12330"/>
                    <a:pt x="5895" y="12627"/>
                    <a:pt x="5895" y="13221"/>
                  </a:cubicBezTo>
                  <a:cubicBezTo>
                    <a:pt x="5440" y="13905"/>
                    <a:pt x="4391" y="14693"/>
                    <a:pt x="3936" y="15390"/>
                  </a:cubicBezTo>
                  <a:cubicBezTo>
                    <a:pt x="3323" y="16371"/>
                    <a:pt x="2571" y="16177"/>
                    <a:pt x="1820" y="16875"/>
                  </a:cubicBezTo>
                  <a:cubicBezTo>
                    <a:pt x="1503" y="17159"/>
                    <a:pt x="1820" y="18153"/>
                    <a:pt x="1365" y="18643"/>
                  </a:cubicBezTo>
                  <a:cubicBezTo>
                    <a:pt x="297" y="19625"/>
                    <a:pt x="0" y="20619"/>
                    <a:pt x="0"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1" name="Shape 2462">
              <a:extLst>
                <a:ext uri="{FF2B5EF4-FFF2-40B4-BE49-F238E27FC236}">
                  <a16:creationId xmlns:a16="http://schemas.microsoft.com/office/drawing/2014/main" id="{A90955FD-AF8B-6EF3-6D7B-5E4E49560DF4}"/>
                </a:ext>
              </a:extLst>
            </p:cNvPr>
            <p:cNvSpPr/>
            <p:nvPr/>
          </p:nvSpPr>
          <p:spPr>
            <a:xfrm>
              <a:off x="1942819" y="3529104"/>
              <a:ext cx="177367" cy="133456"/>
            </a:xfrm>
            <a:custGeom>
              <a:avLst/>
              <a:gdLst/>
              <a:ahLst/>
              <a:cxnLst>
                <a:cxn ang="0">
                  <a:pos x="wd2" y="hd2"/>
                </a:cxn>
                <a:cxn ang="5400000">
                  <a:pos x="wd2" y="hd2"/>
                </a:cxn>
                <a:cxn ang="10800000">
                  <a:pos x="wd2" y="hd2"/>
                </a:cxn>
                <a:cxn ang="16200000">
                  <a:pos x="wd2" y="hd2"/>
                </a:cxn>
              </a:cxnLst>
              <a:rect l="0" t="0" r="r" b="b"/>
              <a:pathLst>
                <a:path w="21518" h="21600" extrusionOk="0">
                  <a:moveTo>
                    <a:pt x="1268" y="11208"/>
                  </a:moveTo>
                  <a:cubicBezTo>
                    <a:pt x="0" y="7889"/>
                    <a:pt x="0" y="7889"/>
                    <a:pt x="0" y="7889"/>
                  </a:cubicBezTo>
                  <a:cubicBezTo>
                    <a:pt x="655" y="7019"/>
                    <a:pt x="1268" y="6638"/>
                    <a:pt x="1882" y="6203"/>
                  </a:cubicBezTo>
                  <a:cubicBezTo>
                    <a:pt x="2823" y="4951"/>
                    <a:pt x="3150" y="3700"/>
                    <a:pt x="4091" y="2884"/>
                  </a:cubicBezTo>
                  <a:cubicBezTo>
                    <a:pt x="5318" y="2448"/>
                    <a:pt x="6586" y="3319"/>
                    <a:pt x="7855" y="2884"/>
                  </a:cubicBezTo>
                  <a:cubicBezTo>
                    <a:pt x="9082" y="2448"/>
                    <a:pt x="10023" y="816"/>
                    <a:pt x="11250" y="0"/>
                  </a:cubicBezTo>
                  <a:cubicBezTo>
                    <a:pt x="11250" y="1251"/>
                    <a:pt x="10964" y="2884"/>
                    <a:pt x="11577" y="4135"/>
                  </a:cubicBezTo>
                  <a:cubicBezTo>
                    <a:pt x="11905" y="4570"/>
                    <a:pt x="12845" y="4570"/>
                    <a:pt x="13459" y="4135"/>
                  </a:cubicBezTo>
                  <a:cubicBezTo>
                    <a:pt x="14073" y="3700"/>
                    <a:pt x="14073" y="2068"/>
                    <a:pt x="15014" y="1632"/>
                  </a:cubicBezTo>
                  <a:cubicBezTo>
                    <a:pt x="15627" y="1251"/>
                    <a:pt x="16895" y="816"/>
                    <a:pt x="17509" y="1632"/>
                  </a:cubicBezTo>
                  <a:cubicBezTo>
                    <a:pt x="18450" y="2068"/>
                    <a:pt x="17836" y="4135"/>
                    <a:pt x="18164" y="4951"/>
                  </a:cubicBezTo>
                  <a:cubicBezTo>
                    <a:pt x="18450" y="5386"/>
                    <a:pt x="19105" y="5386"/>
                    <a:pt x="19391" y="5386"/>
                  </a:cubicBezTo>
                  <a:cubicBezTo>
                    <a:pt x="19391" y="6203"/>
                    <a:pt x="19391" y="7019"/>
                    <a:pt x="18777" y="7454"/>
                  </a:cubicBezTo>
                  <a:cubicBezTo>
                    <a:pt x="18450" y="7889"/>
                    <a:pt x="17223" y="7019"/>
                    <a:pt x="17223" y="7889"/>
                  </a:cubicBezTo>
                  <a:cubicBezTo>
                    <a:pt x="17223" y="9141"/>
                    <a:pt x="18164" y="10392"/>
                    <a:pt x="18777" y="11643"/>
                  </a:cubicBezTo>
                  <a:cubicBezTo>
                    <a:pt x="19391" y="12459"/>
                    <a:pt x="20659" y="12840"/>
                    <a:pt x="21273" y="14092"/>
                  </a:cubicBezTo>
                  <a:cubicBezTo>
                    <a:pt x="21600" y="15343"/>
                    <a:pt x="21600" y="17030"/>
                    <a:pt x="21273" y="18281"/>
                  </a:cubicBezTo>
                  <a:cubicBezTo>
                    <a:pt x="20945" y="19532"/>
                    <a:pt x="20005" y="20349"/>
                    <a:pt x="19391" y="21600"/>
                  </a:cubicBezTo>
                  <a:cubicBezTo>
                    <a:pt x="18777" y="21165"/>
                    <a:pt x="18164" y="20729"/>
                    <a:pt x="17836" y="20349"/>
                  </a:cubicBezTo>
                  <a:cubicBezTo>
                    <a:pt x="16568" y="20349"/>
                    <a:pt x="15341" y="20349"/>
                    <a:pt x="14073" y="19913"/>
                  </a:cubicBezTo>
                  <a:cubicBezTo>
                    <a:pt x="13786" y="19532"/>
                    <a:pt x="14073" y="18662"/>
                    <a:pt x="13786" y="18281"/>
                  </a:cubicBezTo>
                  <a:cubicBezTo>
                    <a:pt x="12845" y="17030"/>
                    <a:pt x="11905" y="15778"/>
                    <a:pt x="10636" y="14962"/>
                  </a:cubicBezTo>
                  <a:cubicBezTo>
                    <a:pt x="10350" y="14527"/>
                    <a:pt x="10023" y="15778"/>
                    <a:pt x="9695" y="15778"/>
                  </a:cubicBezTo>
                  <a:cubicBezTo>
                    <a:pt x="8755" y="14962"/>
                    <a:pt x="8755" y="13711"/>
                    <a:pt x="7855" y="13276"/>
                  </a:cubicBezTo>
                  <a:cubicBezTo>
                    <a:pt x="7200" y="12840"/>
                    <a:pt x="5973" y="13711"/>
                    <a:pt x="5318" y="12840"/>
                  </a:cubicBezTo>
                  <a:cubicBezTo>
                    <a:pt x="5032" y="12459"/>
                    <a:pt x="6259" y="11208"/>
                    <a:pt x="5973" y="10773"/>
                  </a:cubicBezTo>
                  <a:cubicBezTo>
                    <a:pt x="5318" y="9521"/>
                    <a:pt x="4377" y="8270"/>
                    <a:pt x="3477" y="8270"/>
                  </a:cubicBezTo>
                  <a:cubicBezTo>
                    <a:pt x="2209" y="8270"/>
                    <a:pt x="1882" y="9957"/>
                    <a:pt x="1268" y="11208"/>
                  </a:cubicBezTo>
                  <a:cubicBezTo>
                    <a:pt x="0" y="7889"/>
                    <a:pt x="0" y="7889"/>
                    <a:pt x="0" y="7889"/>
                  </a:cubicBezTo>
                  <a:lnTo>
                    <a:pt x="1268" y="11208"/>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2" name="Shape 2463">
              <a:extLst>
                <a:ext uri="{FF2B5EF4-FFF2-40B4-BE49-F238E27FC236}">
                  <a16:creationId xmlns:a16="http://schemas.microsoft.com/office/drawing/2014/main" id="{F5E1951F-D530-AE76-32C8-8CCA3C4584C3}"/>
                </a:ext>
              </a:extLst>
            </p:cNvPr>
            <p:cNvSpPr/>
            <p:nvPr/>
          </p:nvSpPr>
          <p:spPr>
            <a:xfrm>
              <a:off x="1901628" y="3581134"/>
              <a:ext cx="350044" cy="580011"/>
            </a:xfrm>
            <a:custGeom>
              <a:avLst/>
              <a:gdLst/>
              <a:ahLst/>
              <a:cxnLst>
                <a:cxn ang="0">
                  <a:pos x="wd2" y="hd2"/>
                </a:cxn>
                <a:cxn ang="5400000">
                  <a:pos x="wd2" y="hd2"/>
                </a:cxn>
                <a:cxn ang="10800000">
                  <a:pos x="wd2" y="hd2"/>
                </a:cxn>
                <a:cxn ang="16200000">
                  <a:pos x="wd2" y="hd2"/>
                </a:cxn>
              </a:cxnLst>
              <a:rect l="0" t="0" r="r" b="b"/>
              <a:pathLst>
                <a:path w="21483" h="21511" extrusionOk="0">
                  <a:moveTo>
                    <a:pt x="12335" y="3064"/>
                  </a:moveTo>
                  <a:cubicBezTo>
                    <a:pt x="12025" y="2964"/>
                    <a:pt x="11716" y="2864"/>
                    <a:pt x="11550" y="2777"/>
                  </a:cubicBezTo>
                  <a:cubicBezTo>
                    <a:pt x="10910" y="2777"/>
                    <a:pt x="10291" y="2777"/>
                    <a:pt x="9650" y="2677"/>
                  </a:cubicBezTo>
                  <a:cubicBezTo>
                    <a:pt x="9506" y="2589"/>
                    <a:pt x="9650" y="2389"/>
                    <a:pt x="9506" y="2301"/>
                  </a:cubicBezTo>
                  <a:cubicBezTo>
                    <a:pt x="9031" y="2014"/>
                    <a:pt x="8556" y="1726"/>
                    <a:pt x="7916" y="1538"/>
                  </a:cubicBezTo>
                  <a:cubicBezTo>
                    <a:pt x="7771" y="1438"/>
                    <a:pt x="7606" y="1726"/>
                    <a:pt x="7441" y="1726"/>
                  </a:cubicBezTo>
                  <a:cubicBezTo>
                    <a:pt x="6966" y="1538"/>
                    <a:pt x="6966" y="1251"/>
                    <a:pt x="6512" y="1151"/>
                  </a:cubicBezTo>
                  <a:cubicBezTo>
                    <a:pt x="6181" y="1051"/>
                    <a:pt x="5562" y="1251"/>
                    <a:pt x="5231" y="1051"/>
                  </a:cubicBezTo>
                  <a:cubicBezTo>
                    <a:pt x="5087" y="963"/>
                    <a:pt x="5706" y="675"/>
                    <a:pt x="5562" y="575"/>
                  </a:cubicBezTo>
                  <a:cubicBezTo>
                    <a:pt x="5231" y="288"/>
                    <a:pt x="4756" y="0"/>
                    <a:pt x="4302" y="0"/>
                  </a:cubicBezTo>
                  <a:cubicBezTo>
                    <a:pt x="3662" y="0"/>
                    <a:pt x="3497" y="388"/>
                    <a:pt x="3187" y="675"/>
                  </a:cubicBezTo>
                  <a:cubicBezTo>
                    <a:pt x="2877" y="863"/>
                    <a:pt x="2547" y="1051"/>
                    <a:pt x="2237" y="1338"/>
                  </a:cubicBezTo>
                  <a:cubicBezTo>
                    <a:pt x="1762" y="1726"/>
                    <a:pt x="1452" y="2301"/>
                    <a:pt x="977" y="2677"/>
                  </a:cubicBezTo>
                  <a:cubicBezTo>
                    <a:pt x="668" y="2864"/>
                    <a:pt x="193" y="2964"/>
                    <a:pt x="28" y="3152"/>
                  </a:cubicBezTo>
                  <a:cubicBezTo>
                    <a:pt x="-117" y="3252"/>
                    <a:pt x="358" y="3352"/>
                    <a:pt x="503" y="3540"/>
                  </a:cubicBezTo>
                  <a:cubicBezTo>
                    <a:pt x="668" y="3640"/>
                    <a:pt x="977" y="4015"/>
                    <a:pt x="1287" y="4015"/>
                  </a:cubicBezTo>
                  <a:cubicBezTo>
                    <a:pt x="1927" y="4015"/>
                    <a:pt x="2237" y="3439"/>
                    <a:pt x="2712" y="3352"/>
                  </a:cubicBezTo>
                  <a:cubicBezTo>
                    <a:pt x="3022" y="3252"/>
                    <a:pt x="3187" y="3439"/>
                    <a:pt x="3352" y="3540"/>
                  </a:cubicBezTo>
                  <a:cubicBezTo>
                    <a:pt x="3662" y="3540"/>
                    <a:pt x="3972" y="3352"/>
                    <a:pt x="4302" y="3439"/>
                  </a:cubicBezTo>
                  <a:cubicBezTo>
                    <a:pt x="4447" y="3439"/>
                    <a:pt x="4447" y="3640"/>
                    <a:pt x="4302" y="3727"/>
                  </a:cubicBezTo>
                  <a:cubicBezTo>
                    <a:pt x="3827" y="3927"/>
                    <a:pt x="3022" y="3827"/>
                    <a:pt x="2547" y="4015"/>
                  </a:cubicBezTo>
                  <a:cubicBezTo>
                    <a:pt x="2237" y="4202"/>
                    <a:pt x="2402" y="4490"/>
                    <a:pt x="2093" y="4690"/>
                  </a:cubicBezTo>
                  <a:cubicBezTo>
                    <a:pt x="2093" y="4778"/>
                    <a:pt x="1762" y="4878"/>
                    <a:pt x="1618" y="4978"/>
                  </a:cubicBezTo>
                  <a:cubicBezTo>
                    <a:pt x="1452" y="5541"/>
                    <a:pt x="1452" y="5541"/>
                    <a:pt x="1452" y="5541"/>
                  </a:cubicBezTo>
                  <a:cubicBezTo>
                    <a:pt x="1762" y="5641"/>
                    <a:pt x="2237" y="5828"/>
                    <a:pt x="2712" y="5928"/>
                  </a:cubicBezTo>
                  <a:cubicBezTo>
                    <a:pt x="2712" y="5928"/>
                    <a:pt x="3187" y="6691"/>
                    <a:pt x="3352" y="6791"/>
                  </a:cubicBezTo>
                  <a:lnTo>
                    <a:pt x="5087" y="6979"/>
                  </a:lnTo>
                  <a:cubicBezTo>
                    <a:pt x="5397" y="6979"/>
                    <a:pt x="5872" y="6879"/>
                    <a:pt x="6181" y="6879"/>
                  </a:cubicBezTo>
                  <a:cubicBezTo>
                    <a:pt x="6512" y="6979"/>
                    <a:pt x="6821" y="7079"/>
                    <a:pt x="6821" y="7267"/>
                  </a:cubicBezTo>
                  <a:cubicBezTo>
                    <a:pt x="7131" y="7742"/>
                    <a:pt x="7441" y="8317"/>
                    <a:pt x="7296" y="8793"/>
                  </a:cubicBezTo>
                  <a:cubicBezTo>
                    <a:pt x="7131" y="9080"/>
                    <a:pt x="6346" y="8980"/>
                    <a:pt x="6037" y="9180"/>
                  </a:cubicBezTo>
                  <a:cubicBezTo>
                    <a:pt x="5706" y="9268"/>
                    <a:pt x="5706" y="9556"/>
                    <a:pt x="5562" y="9656"/>
                  </a:cubicBezTo>
                  <a:cubicBezTo>
                    <a:pt x="5397" y="9743"/>
                    <a:pt x="4922" y="9556"/>
                    <a:pt x="4756" y="9656"/>
                  </a:cubicBezTo>
                  <a:cubicBezTo>
                    <a:pt x="4447" y="9943"/>
                    <a:pt x="4137" y="10231"/>
                    <a:pt x="4137" y="10506"/>
                  </a:cubicBezTo>
                  <a:cubicBezTo>
                    <a:pt x="4137" y="10706"/>
                    <a:pt x="4612" y="10606"/>
                    <a:pt x="4612" y="10794"/>
                  </a:cubicBezTo>
                  <a:cubicBezTo>
                    <a:pt x="4756" y="10894"/>
                    <a:pt x="4302" y="10994"/>
                    <a:pt x="4302" y="11181"/>
                  </a:cubicBezTo>
                  <a:cubicBezTo>
                    <a:pt x="4612" y="11369"/>
                    <a:pt x="5231" y="11369"/>
                    <a:pt x="5562" y="11569"/>
                  </a:cubicBezTo>
                  <a:cubicBezTo>
                    <a:pt x="5706" y="11657"/>
                    <a:pt x="5706" y="11857"/>
                    <a:pt x="5562" y="12044"/>
                  </a:cubicBezTo>
                  <a:cubicBezTo>
                    <a:pt x="5397" y="12232"/>
                    <a:pt x="5087" y="12332"/>
                    <a:pt x="4756" y="12420"/>
                  </a:cubicBezTo>
                  <a:cubicBezTo>
                    <a:pt x="4302" y="12420"/>
                    <a:pt x="3662" y="12420"/>
                    <a:pt x="3187" y="12232"/>
                  </a:cubicBezTo>
                  <a:cubicBezTo>
                    <a:pt x="2877" y="12145"/>
                    <a:pt x="3187" y="11857"/>
                    <a:pt x="3022" y="11757"/>
                  </a:cubicBezTo>
                  <a:cubicBezTo>
                    <a:pt x="2712" y="11569"/>
                    <a:pt x="2237" y="11469"/>
                    <a:pt x="1927" y="11569"/>
                  </a:cubicBezTo>
                  <a:cubicBezTo>
                    <a:pt x="1762" y="11569"/>
                    <a:pt x="2093" y="11944"/>
                    <a:pt x="1927" y="12044"/>
                  </a:cubicBezTo>
                  <a:cubicBezTo>
                    <a:pt x="1618" y="12232"/>
                    <a:pt x="833" y="12232"/>
                    <a:pt x="833" y="12520"/>
                  </a:cubicBezTo>
                  <a:cubicBezTo>
                    <a:pt x="668" y="12707"/>
                    <a:pt x="1287" y="12807"/>
                    <a:pt x="1618" y="12807"/>
                  </a:cubicBezTo>
                  <a:cubicBezTo>
                    <a:pt x="2093" y="12907"/>
                    <a:pt x="2402" y="12707"/>
                    <a:pt x="2877" y="12707"/>
                  </a:cubicBezTo>
                  <a:cubicBezTo>
                    <a:pt x="3022" y="12807"/>
                    <a:pt x="3187" y="12907"/>
                    <a:pt x="3187" y="12995"/>
                  </a:cubicBezTo>
                  <a:cubicBezTo>
                    <a:pt x="3187" y="13283"/>
                    <a:pt x="2877" y="13470"/>
                    <a:pt x="2547" y="13670"/>
                  </a:cubicBezTo>
                  <a:cubicBezTo>
                    <a:pt x="2402" y="13758"/>
                    <a:pt x="1927" y="13758"/>
                    <a:pt x="1927" y="13858"/>
                  </a:cubicBezTo>
                  <a:cubicBezTo>
                    <a:pt x="2237" y="14146"/>
                    <a:pt x="2712" y="14233"/>
                    <a:pt x="3022" y="14433"/>
                  </a:cubicBezTo>
                  <a:cubicBezTo>
                    <a:pt x="3497" y="14721"/>
                    <a:pt x="3662" y="15009"/>
                    <a:pt x="3972" y="15196"/>
                  </a:cubicBezTo>
                  <a:cubicBezTo>
                    <a:pt x="4137" y="15196"/>
                    <a:pt x="4447" y="15096"/>
                    <a:pt x="4756" y="15196"/>
                  </a:cubicBezTo>
                  <a:cubicBezTo>
                    <a:pt x="5087" y="15296"/>
                    <a:pt x="5562" y="15484"/>
                    <a:pt x="5706" y="15672"/>
                  </a:cubicBezTo>
                  <a:cubicBezTo>
                    <a:pt x="5706" y="16059"/>
                    <a:pt x="5087" y="16247"/>
                    <a:pt x="5087" y="16535"/>
                  </a:cubicBezTo>
                  <a:cubicBezTo>
                    <a:pt x="5231" y="16822"/>
                    <a:pt x="5706" y="16910"/>
                    <a:pt x="5872" y="17110"/>
                  </a:cubicBezTo>
                  <a:cubicBezTo>
                    <a:pt x="5872" y="17197"/>
                    <a:pt x="5562" y="17385"/>
                    <a:pt x="5706" y="17485"/>
                  </a:cubicBezTo>
                  <a:cubicBezTo>
                    <a:pt x="5706" y="17585"/>
                    <a:pt x="6037" y="17485"/>
                    <a:pt x="6037" y="17485"/>
                  </a:cubicBezTo>
                  <a:cubicBezTo>
                    <a:pt x="6037" y="17873"/>
                    <a:pt x="5706" y="18161"/>
                    <a:pt x="5562" y="18448"/>
                  </a:cubicBezTo>
                  <a:cubicBezTo>
                    <a:pt x="5231" y="18736"/>
                    <a:pt x="4756" y="19011"/>
                    <a:pt x="4756" y="19299"/>
                  </a:cubicBezTo>
                  <a:cubicBezTo>
                    <a:pt x="4612" y="19686"/>
                    <a:pt x="4922" y="20162"/>
                    <a:pt x="5087" y="20549"/>
                  </a:cubicBezTo>
                  <a:cubicBezTo>
                    <a:pt x="5231" y="20825"/>
                    <a:pt x="5087" y="21500"/>
                    <a:pt x="5706" y="21500"/>
                  </a:cubicBezTo>
                  <a:cubicBezTo>
                    <a:pt x="6181" y="21600"/>
                    <a:pt x="6346" y="21025"/>
                    <a:pt x="6512" y="20637"/>
                  </a:cubicBezTo>
                  <a:cubicBezTo>
                    <a:pt x="6821" y="20262"/>
                    <a:pt x="6656" y="19774"/>
                    <a:pt x="6966" y="19399"/>
                  </a:cubicBezTo>
                  <a:cubicBezTo>
                    <a:pt x="7131" y="19211"/>
                    <a:pt x="7606" y="19399"/>
                    <a:pt x="7771" y="19299"/>
                  </a:cubicBezTo>
                  <a:cubicBezTo>
                    <a:pt x="8081" y="18736"/>
                    <a:pt x="8081" y="18060"/>
                    <a:pt x="8391" y="17485"/>
                  </a:cubicBezTo>
                  <a:cubicBezTo>
                    <a:pt x="8866" y="16822"/>
                    <a:pt x="9341" y="16247"/>
                    <a:pt x="10125" y="15859"/>
                  </a:cubicBezTo>
                  <a:cubicBezTo>
                    <a:pt x="10435" y="15672"/>
                    <a:pt x="10910" y="15859"/>
                    <a:pt x="11385" y="15859"/>
                  </a:cubicBezTo>
                  <a:cubicBezTo>
                    <a:pt x="11716" y="15772"/>
                    <a:pt x="11860" y="15484"/>
                    <a:pt x="12190" y="15484"/>
                  </a:cubicBezTo>
                  <a:cubicBezTo>
                    <a:pt x="12335" y="15384"/>
                    <a:pt x="12645" y="15384"/>
                    <a:pt x="12975" y="15484"/>
                  </a:cubicBezTo>
                  <a:cubicBezTo>
                    <a:pt x="13904" y="15772"/>
                    <a:pt x="14379" y="16435"/>
                    <a:pt x="15494" y="16622"/>
                  </a:cubicBezTo>
                  <a:cubicBezTo>
                    <a:pt x="15804" y="16722"/>
                    <a:pt x="15969" y="16347"/>
                    <a:pt x="16114" y="16147"/>
                  </a:cubicBezTo>
                  <a:cubicBezTo>
                    <a:pt x="16114" y="16147"/>
                    <a:pt x="16114" y="15584"/>
                    <a:pt x="16114" y="15484"/>
                  </a:cubicBezTo>
                  <a:cubicBezTo>
                    <a:pt x="16114" y="15296"/>
                    <a:pt x="17229" y="14433"/>
                    <a:pt x="17229" y="14433"/>
                  </a:cubicBezTo>
                  <a:cubicBezTo>
                    <a:pt x="17064" y="14146"/>
                    <a:pt x="16589" y="13946"/>
                    <a:pt x="16589" y="13670"/>
                  </a:cubicBezTo>
                  <a:cubicBezTo>
                    <a:pt x="16589" y="13183"/>
                    <a:pt x="16589" y="12620"/>
                    <a:pt x="17064" y="12332"/>
                  </a:cubicBezTo>
                  <a:cubicBezTo>
                    <a:pt x="17704" y="11857"/>
                    <a:pt x="18964" y="11944"/>
                    <a:pt x="19748" y="11569"/>
                  </a:cubicBezTo>
                  <a:cubicBezTo>
                    <a:pt x="20058" y="11469"/>
                    <a:pt x="19439" y="11181"/>
                    <a:pt x="19583" y="11081"/>
                  </a:cubicBezTo>
                  <a:cubicBezTo>
                    <a:pt x="19748" y="10794"/>
                    <a:pt x="20223" y="10606"/>
                    <a:pt x="20533" y="10419"/>
                  </a:cubicBezTo>
                  <a:cubicBezTo>
                    <a:pt x="19439" y="9656"/>
                    <a:pt x="19439" y="9656"/>
                    <a:pt x="19439" y="9656"/>
                  </a:cubicBezTo>
                  <a:cubicBezTo>
                    <a:pt x="19583" y="9368"/>
                    <a:pt x="19748" y="8980"/>
                    <a:pt x="20058" y="8693"/>
                  </a:cubicBezTo>
                  <a:cubicBezTo>
                    <a:pt x="20389" y="8417"/>
                    <a:pt x="21008" y="8317"/>
                    <a:pt x="21318" y="8030"/>
                  </a:cubicBezTo>
                  <a:cubicBezTo>
                    <a:pt x="21483" y="7842"/>
                    <a:pt x="21483" y="7554"/>
                    <a:pt x="21483" y="7354"/>
                  </a:cubicBezTo>
                  <a:cubicBezTo>
                    <a:pt x="21483" y="7354"/>
                    <a:pt x="19914" y="6979"/>
                    <a:pt x="19914" y="6879"/>
                  </a:cubicBezTo>
                  <a:lnTo>
                    <a:pt x="19583" y="6504"/>
                  </a:lnTo>
                  <a:cubicBezTo>
                    <a:pt x="19439" y="6404"/>
                    <a:pt x="19273" y="6116"/>
                    <a:pt x="18964" y="6116"/>
                  </a:cubicBezTo>
                  <a:cubicBezTo>
                    <a:pt x="18324" y="6216"/>
                    <a:pt x="17869" y="6691"/>
                    <a:pt x="17064" y="6791"/>
                  </a:cubicBezTo>
                  <a:cubicBezTo>
                    <a:pt x="16589" y="6879"/>
                    <a:pt x="15969" y="6691"/>
                    <a:pt x="15329" y="6691"/>
                  </a:cubicBezTo>
                  <a:cubicBezTo>
                    <a:pt x="14854" y="6791"/>
                    <a:pt x="14379" y="6879"/>
                    <a:pt x="13904" y="6979"/>
                  </a:cubicBezTo>
                  <a:cubicBezTo>
                    <a:pt x="13595" y="7079"/>
                    <a:pt x="13450" y="7354"/>
                    <a:pt x="12975" y="7354"/>
                  </a:cubicBezTo>
                  <a:cubicBezTo>
                    <a:pt x="12810" y="7354"/>
                    <a:pt x="12500" y="7167"/>
                    <a:pt x="12645" y="6979"/>
                  </a:cubicBezTo>
                  <a:cubicBezTo>
                    <a:pt x="12810" y="6591"/>
                    <a:pt x="13285" y="6304"/>
                    <a:pt x="13595" y="6028"/>
                  </a:cubicBezTo>
                  <a:cubicBezTo>
                    <a:pt x="13904" y="5828"/>
                    <a:pt x="14379" y="5828"/>
                    <a:pt x="14379" y="5541"/>
                  </a:cubicBezTo>
                  <a:cubicBezTo>
                    <a:pt x="14379" y="5353"/>
                    <a:pt x="13904" y="5353"/>
                    <a:pt x="13760" y="5165"/>
                  </a:cubicBezTo>
                  <a:cubicBezTo>
                    <a:pt x="13450" y="4778"/>
                    <a:pt x="13285" y="4302"/>
                    <a:pt x="12975" y="3827"/>
                  </a:cubicBezTo>
                  <a:cubicBezTo>
                    <a:pt x="12810" y="3540"/>
                    <a:pt x="12500" y="3252"/>
                    <a:pt x="12335" y="306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3" name="Shape 2464">
              <a:extLst>
                <a:ext uri="{FF2B5EF4-FFF2-40B4-BE49-F238E27FC236}">
                  <a16:creationId xmlns:a16="http://schemas.microsoft.com/office/drawing/2014/main" id="{C965A92C-824B-AB19-CA25-62726E41C80D}"/>
                </a:ext>
              </a:extLst>
            </p:cNvPr>
            <p:cNvSpPr/>
            <p:nvPr/>
          </p:nvSpPr>
          <p:spPr>
            <a:xfrm>
              <a:off x="2085522" y="3511940"/>
              <a:ext cx="460471" cy="514154"/>
            </a:xfrm>
            <a:custGeom>
              <a:avLst/>
              <a:gdLst/>
              <a:ahLst/>
              <a:cxnLst>
                <a:cxn ang="0">
                  <a:pos x="wd2" y="hd2"/>
                </a:cxn>
                <a:cxn ang="5400000">
                  <a:pos x="wd2" y="hd2"/>
                </a:cxn>
                <a:cxn ang="10800000">
                  <a:pos x="wd2" y="hd2"/>
                </a:cxn>
                <a:cxn ang="16200000">
                  <a:pos x="wd2" y="hd2"/>
                </a:cxn>
              </a:cxnLst>
              <a:rect l="0" t="0" r="r" b="b"/>
              <a:pathLst>
                <a:path w="21600" h="21543" extrusionOk="0">
                  <a:moveTo>
                    <a:pt x="6273" y="13797"/>
                  </a:moveTo>
                  <a:cubicBezTo>
                    <a:pt x="6384" y="13472"/>
                    <a:pt x="6510" y="13034"/>
                    <a:pt x="6747" y="12709"/>
                  </a:cubicBezTo>
                  <a:cubicBezTo>
                    <a:pt x="7000" y="12398"/>
                    <a:pt x="7474" y="12285"/>
                    <a:pt x="7711" y="11959"/>
                  </a:cubicBezTo>
                  <a:cubicBezTo>
                    <a:pt x="7837" y="11747"/>
                    <a:pt x="7837" y="11422"/>
                    <a:pt x="7837" y="11196"/>
                  </a:cubicBezTo>
                  <a:cubicBezTo>
                    <a:pt x="7837" y="11196"/>
                    <a:pt x="6636" y="10772"/>
                    <a:pt x="6636" y="10659"/>
                  </a:cubicBezTo>
                  <a:lnTo>
                    <a:pt x="6384" y="10235"/>
                  </a:lnTo>
                  <a:cubicBezTo>
                    <a:pt x="6273" y="10122"/>
                    <a:pt x="6147" y="9797"/>
                    <a:pt x="5910" y="9797"/>
                  </a:cubicBezTo>
                  <a:cubicBezTo>
                    <a:pt x="5420" y="9910"/>
                    <a:pt x="5072" y="10447"/>
                    <a:pt x="4456" y="10560"/>
                  </a:cubicBezTo>
                  <a:cubicBezTo>
                    <a:pt x="4092" y="10659"/>
                    <a:pt x="3618" y="10447"/>
                    <a:pt x="3129" y="10447"/>
                  </a:cubicBezTo>
                  <a:cubicBezTo>
                    <a:pt x="2765" y="10560"/>
                    <a:pt x="2402" y="10659"/>
                    <a:pt x="2038" y="10772"/>
                  </a:cubicBezTo>
                  <a:cubicBezTo>
                    <a:pt x="1801" y="10885"/>
                    <a:pt x="1691" y="11196"/>
                    <a:pt x="1327" y="11196"/>
                  </a:cubicBezTo>
                  <a:cubicBezTo>
                    <a:pt x="1201" y="11196"/>
                    <a:pt x="964" y="10984"/>
                    <a:pt x="1074" y="10772"/>
                  </a:cubicBezTo>
                  <a:cubicBezTo>
                    <a:pt x="1201" y="10334"/>
                    <a:pt x="1564" y="10009"/>
                    <a:pt x="1801" y="9698"/>
                  </a:cubicBezTo>
                  <a:cubicBezTo>
                    <a:pt x="2038" y="9471"/>
                    <a:pt x="2402" y="9471"/>
                    <a:pt x="2402" y="9146"/>
                  </a:cubicBezTo>
                  <a:cubicBezTo>
                    <a:pt x="2402" y="8934"/>
                    <a:pt x="2038" y="8934"/>
                    <a:pt x="1928" y="8722"/>
                  </a:cubicBezTo>
                  <a:cubicBezTo>
                    <a:pt x="1691" y="8284"/>
                    <a:pt x="1564" y="7747"/>
                    <a:pt x="1327" y="7210"/>
                  </a:cubicBezTo>
                  <a:cubicBezTo>
                    <a:pt x="1201" y="6885"/>
                    <a:pt x="964" y="6559"/>
                    <a:pt x="837" y="6347"/>
                  </a:cubicBezTo>
                  <a:cubicBezTo>
                    <a:pt x="1074" y="6022"/>
                    <a:pt x="1438" y="5810"/>
                    <a:pt x="1564" y="5485"/>
                  </a:cubicBezTo>
                  <a:cubicBezTo>
                    <a:pt x="1691" y="5160"/>
                    <a:pt x="1691" y="4722"/>
                    <a:pt x="1564" y="4397"/>
                  </a:cubicBezTo>
                  <a:cubicBezTo>
                    <a:pt x="1327" y="4071"/>
                    <a:pt x="837" y="3973"/>
                    <a:pt x="600" y="3760"/>
                  </a:cubicBezTo>
                  <a:cubicBezTo>
                    <a:pt x="363" y="3435"/>
                    <a:pt x="0" y="3110"/>
                    <a:pt x="0" y="2785"/>
                  </a:cubicBezTo>
                  <a:cubicBezTo>
                    <a:pt x="0" y="2559"/>
                    <a:pt x="474" y="2785"/>
                    <a:pt x="600" y="2672"/>
                  </a:cubicBezTo>
                  <a:cubicBezTo>
                    <a:pt x="837" y="2559"/>
                    <a:pt x="837" y="2347"/>
                    <a:pt x="837" y="2135"/>
                  </a:cubicBezTo>
                  <a:cubicBezTo>
                    <a:pt x="1201" y="2022"/>
                    <a:pt x="1691" y="1923"/>
                    <a:pt x="1801" y="1598"/>
                  </a:cubicBezTo>
                  <a:cubicBezTo>
                    <a:pt x="1928" y="1273"/>
                    <a:pt x="1327" y="1060"/>
                    <a:pt x="1201" y="735"/>
                  </a:cubicBezTo>
                  <a:cubicBezTo>
                    <a:pt x="1074" y="509"/>
                    <a:pt x="1201" y="184"/>
                    <a:pt x="1327" y="85"/>
                  </a:cubicBezTo>
                  <a:cubicBezTo>
                    <a:pt x="1691" y="-28"/>
                    <a:pt x="2038" y="-28"/>
                    <a:pt x="2291" y="85"/>
                  </a:cubicBezTo>
                  <a:cubicBezTo>
                    <a:pt x="2528" y="184"/>
                    <a:pt x="2528" y="622"/>
                    <a:pt x="2765" y="622"/>
                  </a:cubicBezTo>
                  <a:cubicBezTo>
                    <a:pt x="3129" y="834"/>
                    <a:pt x="3492" y="834"/>
                    <a:pt x="3855" y="735"/>
                  </a:cubicBezTo>
                  <a:cubicBezTo>
                    <a:pt x="3982" y="622"/>
                    <a:pt x="4092" y="410"/>
                    <a:pt x="4219" y="297"/>
                  </a:cubicBezTo>
                  <a:cubicBezTo>
                    <a:pt x="4219" y="184"/>
                    <a:pt x="4219" y="184"/>
                    <a:pt x="4219" y="184"/>
                  </a:cubicBezTo>
                  <a:cubicBezTo>
                    <a:pt x="4819" y="622"/>
                    <a:pt x="5420" y="834"/>
                    <a:pt x="5910" y="1273"/>
                  </a:cubicBezTo>
                  <a:cubicBezTo>
                    <a:pt x="6036" y="1371"/>
                    <a:pt x="5673" y="1598"/>
                    <a:pt x="5783" y="1697"/>
                  </a:cubicBezTo>
                  <a:cubicBezTo>
                    <a:pt x="6636" y="2460"/>
                    <a:pt x="7600" y="2884"/>
                    <a:pt x="8438" y="3647"/>
                  </a:cubicBezTo>
                  <a:cubicBezTo>
                    <a:pt x="8691" y="3760"/>
                    <a:pt x="8691" y="4298"/>
                    <a:pt x="9054" y="4298"/>
                  </a:cubicBezTo>
                  <a:cubicBezTo>
                    <a:pt x="9402" y="4185"/>
                    <a:pt x="9291" y="3534"/>
                    <a:pt x="9528" y="3435"/>
                  </a:cubicBezTo>
                  <a:cubicBezTo>
                    <a:pt x="10018" y="3110"/>
                    <a:pt x="10492" y="3209"/>
                    <a:pt x="10982" y="3110"/>
                  </a:cubicBezTo>
                  <a:cubicBezTo>
                    <a:pt x="11693" y="2884"/>
                    <a:pt x="12420" y="2672"/>
                    <a:pt x="13146" y="2460"/>
                  </a:cubicBezTo>
                  <a:cubicBezTo>
                    <a:pt x="13383" y="2347"/>
                    <a:pt x="13636" y="2460"/>
                    <a:pt x="13747" y="2347"/>
                  </a:cubicBezTo>
                  <a:cubicBezTo>
                    <a:pt x="14110" y="2234"/>
                    <a:pt x="14363" y="1923"/>
                    <a:pt x="14727" y="1810"/>
                  </a:cubicBezTo>
                  <a:cubicBezTo>
                    <a:pt x="15438" y="1598"/>
                    <a:pt x="16164" y="1371"/>
                    <a:pt x="16891" y="1371"/>
                  </a:cubicBezTo>
                  <a:cubicBezTo>
                    <a:pt x="17255" y="1485"/>
                    <a:pt x="17492" y="1923"/>
                    <a:pt x="17855" y="2022"/>
                  </a:cubicBezTo>
                  <a:cubicBezTo>
                    <a:pt x="18456" y="2347"/>
                    <a:pt x="19182" y="2559"/>
                    <a:pt x="19783" y="2785"/>
                  </a:cubicBezTo>
                  <a:cubicBezTo>
                    <a:pt x="20036" y="3110"/>
                    <a:pt x="20273" y="3435"/>
                    <a:pt x="20383" y="3760"/>
                  </a:cubicBezTo>
                  <a:cubicBezTo>
                    <a:pt x="20636" y="4185"/>
                    <a:pt x="20636" y="4623"/>
                    <a:pt x="21000" y="4948"/>
                  </a:cubicBezTo>
                  <a:cubicBezTo>
                    <a:pt x="21110" y="5047"/>
                    <a:pt x="21474" y="4835"/>
                    <a:pt x="21600" y="5047"/>
                  </a:cubicBezTo>
                  <a:cubicBezTo>
                    <a:pt x="21600" y="5259"/>
                    <a:pt x="21474" y="5485"/>
                    <a:pt x="21237" y="5697"/>
                  </a:cubicBezTo>
                  <a:cubicBezTo>
                    <a:pt x="20747" y="6234"/>
                    <a:pt x="20036" y="6559"/>
                    <a:pt x="19672" y="7097"/>
                  </a:cubicBezTo>
                  <a:cubicBezTo>
                    <a:pt x="19309" y="7634"/>
                    <a:pt x="19783" y="8284"/>
                    <a:pt x="19419" y="8722"/>
                  </a:cubicBezTo>
                  <a:cubicBezTo>
                    <a:pt x="19309" y="9047"/>
                    <a:pt x="18456" y="8609"/>
                    <a:pt x="18456" y="8934"/>
                  </a:cubicBezTo>
                  <a:cubicBezTo>
                    <a:pt x="18345" y="9585"/>
                    <a:pt x="19072" y="10235"/>
                    <a:pt x="19182" y="10885"/>
                  </a:cubicBezTo>
                  <a:cubicBezTo>
                    <a:pt x="19182" y="11097"/>
                    <a:pt x="18945" y="11196"/>
                    <a:pt x="18945" y="11422"/>
                  </a:cubicBezTo>
                  <a:cubicBezTo>
                    <a:pt x="18945" y="11846"/>
                    <a:pt x="19309" y="12285"/>
                    <a:pt x="19419" y="12709"/>
                  </a:cubicBezTo>
                  <a:cubicBezTo>
                    <a:pt x="19419" y="12822"/>
                    <a:pt x="19182" y="12822"/>
                    <a:pt x="19072" y="12935"/>
                  </a:cubicBezTo>
                  <a:cubicBezTo>
                    <a:pt x="18708" y="13797"/>
                    <a:pt x="18092" y="14659"/>
                    <a:pt x="17982" y="15635"/>
                  </a:cubicBezTo>
                  <a:cubicBezTo>
                    <a:pt x="17982" y="16172"/>
                    <a:pt x="18582" y="16384"/>
                    <a:pt x="18819" y="16822"/>
                  </a:cubicBezTo>
                  <a:cubicBezTo>
                    <a:pt x="18582" y="17034"/>
                    <a:pt x="18219" y="17147"/>
                    <a:pt x="17855" y="17359"/>
                  </a:cubicBezTo>
                  <a:cubicBezTo>
                    <a:pt x="17618" y="17473"/>
                    <a:pt x="17255" y="17473"/>
                    <a:pt x="17128" y="17685"/>
                  </a:cubicBezTo>
                  <a:cubicBezTo>
                    <a:pt x="16891" y="18010"/>
                    <a:pt x="17128" y="18434"/>
                    <a:pt x="17128" y="18872"/>
                  </a:cubicBezTo>
                  <a:cubicBezTo>
                    <a:pt x="17128" y="19296"/>
                    <a:pt x="17365" y="19847"/>
                    <a:pt x="17128" y="20173"/>
                  </a:cubicBezTo>
                  <a:cubicBezTo>
                    <a:pt x="17018" y="20385"/>
                    <a:pt x="16528" y="20059"/>
                    <a:pt x="16401" y="20173"/>
                  </a:cubicBezTo>
                  <a:cubicBezTo>
                    <a:pt x="16038" y="20498"/>
                    <a:pt x="16164" y="21035"/>
                    <a:pt x="15927" y="21459"/>
                  </a:cubicBezTo>
                  <a:cubicBezTo>
                    <a:pt x="15801" y="21572"/>
                    <a:pt x="15438" y="21572"/>
                    <a:pt x="15327" y="21459"/>
                  </a:cubicBezTo>
                  <a:cubicBezTo>
                    <a:pt x="14964" y="21360"/>
                    <a:pt x="14727" y="21035"/>
                    <a:pt x="14474" y="20809"/>
                  </a:cubicBezTo>
                  <a:cubicBezTo>
                    <a:pt x="14363" y="20710"/>
                    <a:pt x="14000" y="20498"/>
                    <a:pt x="14000" y="20271"/>
                  </a:cubicBezTo>
                  <a:cubicBezTo>
                    <a:pt x="13873" y="20059"/>
                    <a:pt x="14000" y="19621"/>
                    <a:pt x="13873" y="19409"/>
                  </a:cubicBezTo>
                  <a:cubicBezTo>
                    <a:pt x="13747" y="19084"/>
                    <a:pt x="13383" y="18872"/>
                    <a:pt x="13146" y="18547"/>
                  </a:cubicBezTo>
                  <a:cubicBezTo>
                    <a:pt x="12909" y="18222"/>
                    <a:pt x="12672" y="17784"/>
                    <a:pt x="12420" y="17359"/>
                  </a:cubicBezTo>
                  <a:cubicBezTo>
                    <a:pt x="12309" y="17147"/>
                    <a:pt x="12183" y="16822"/>
                    <a:pt x="11946" y="16610"/>
                  </a:cubicBezTo>
                  <a:cubicBezTo>
                    <a:pt x="11693" y="16285"/>
                    <a:pt x="11456" y="15847"/>
                    <a:pt x="11092" y="15522"/>
                  </a:cubicBezTo>
                  <a:cubicBezTo>
                    <a:pt x="10618" y="15197"/>
                    <a:pt x="10128" y="14985"/>
                    <a:pt x="9528" y="14985"/>
                  </a:cubicBezTo>
                  <a:cubicBezTo>
                    <a:pt x="8928" y="14871"/>
                    <a:pt x="8327" y="15084"/>
                    <a:pt x="7711" y="14985"/>
                  </a:cubicBezTo>
                  <a:cubicBezTo>
                    <a:pt x="7474" y="14985"/>
                    <a:pt x="7347" y="14758"/>
                    <a:pt x="7110" y="14659"/>
                  </a:cubicBezTo>
                  <a:cubicBezTo>
                    <a:pt x="6273" y="13797"/>
                    <a:pt x="6273" y="13797"/>
                    <a:pt x="6273" y="1379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4" name="Shape 2465">
              <a:extLst>
                <a:ext uri="{FF2B5EF4-FFF2-40B4-BE49-F238E27FC236}">
                  <a16:creationId xmlns:a16="http://schemas.microsoft.com/office/drawing/2014/main" id="{E66194DD-36DA-3472-02E5-16B1A2F44EC8}"/>
                </a:ext>
              </a:extLst>
            </p:cNvPr>
            <p:cNvSpPr/>
            <p:nvPr/>
          </p:nvSpPr>
          <p:spPr>
            <a:xfrm>
              <a:off x="2520001" y="3364094"/>
              <a:ext cx="190992" cy="170618"/>
            </a:xfrm>
            <a:custGeom>
              <a:avLst/>
              <a:gdLst/>
              <a:ahLst/>
              <a:cxnLst>
                <a:cxn ang="0">
                  <a:pos x="wd2" y="hd2"/>
                </a:cxn>
                <a:cxn ang="5400000">
                  <a:pos x="wd2" y="hd2"/>
                </a:cxn>
                <a:cxn ang="10800000">
                  <a:pos x="wd2" y="hd2"/>
                </a:cxn>
                <a:cxn ang="16200000">
                  <a:pos x="wd2" y="hd2"/>
                </a:cxn>
              </a:cxnLst>
              <a:rect l="0" t="0" r="r" b="b"/>
              <a:pathLst>
                <a:path w="21386" h="21600" extrusionOk="0">
                  <a:moveTo>
                    <a:pt x="1221" y="986"/>
                  </a:moveTo>
                  <a:cubicBezTo>
                    <a:pt x="655" y="1929"/>
                    <a:pt x="352" y="2614"/>
                    <a:pt x="50" y="3900"/>
                  </a:cubicBezTo>
                  <a:cubicBezTo>
                    <a:pt x="50" y="4243"/>
                    <a:pt x="655" y="4886"/>
                    <a:pt x="655" y="5229"/>
                  </a:cubicBezTo>
                  <a:cubicBezTo>
                    <a:pt x="655" y="5871"/>
                    <a:pt x="-214" y="6214"/>
                    <a:pt x="50" y="6557"/>
                  </a:cubicBezTo>
                  <a:cubicBezTo>
                    <a:pt x="50" y="7200"/>
                    <a:pt x="1221" y="7200"/>
                    <a:pt x="1221" y="7843"/>
                  </a:cubicBezTo>
                  <a:cubicBezTo>
                    <a:pt x="1221" y="9171"/>
                    <a:pt x="50" y="10457"/>
                    <a:pt x="655" y="11443"/>
                  </a:cubicBezTo>
                  <a:cubicBezTo>
                    <a:pt x="919" y="12086"/>
                    <a:pt x="2656" y="11100"/>
                    <a:pt x="3222" y="12086"/>
                  </a:cubicBezTo>
                  <a:cubicBezTo>
                    <a:pt x="3524" y="13071"/>
                    <a:pt x="2656" y="14700"/>
                    <a:pt x="2354" y="16029"/>
                  </a:cubicBezTo>
                  <a:cubicBezTo>
                    <a:pt x="2089" y="17014"/>
                    <a:pt x="1787" y="17657"/>
                    <a:pt x="1787" y="18643"/>
                  </a:cubicBezTo>
                  <a:cubicBezTo>
                    <a:pt x="2089" y="19629"/>
                    <a:pt x="2656" y="20614"/>
                    <a:pt x="3222" y="21600"/>
                  </a:cubicBezTo>
                  <a:cubicBezTo>
                    <a:pt x="4695" y="21257"/>
                    <a:pt x="4695" y="21257"/>
                    <a:pt x="4695" y="21257"/>
                  </a:cubicBezTo>
                  <a:cubicBezTo>
                    <a:pt x="6130" y="19286"/>
                    <a:pt x="7565" y="17657"/>
                    <a:pt x="9000" y="16029"/>
                  </a:cubicBezTo>
                  <a:cubicBezTo>
                    <a:pt x="9302" y="15686"/>
                    <a:pt x="9604" y="15386"/>
                    <a:pt x="10171" y="15043"/>
                  </a:cubicBezTo>
                  <a:cubicBezTo>
                    <a:pt x="10435" y="15043"/>
                    <a:pt x="11039" y="15386"/>
                    <a:pt x="11606" y="15043"/>
                  </a:cubicBezTo>
                  <a:cubicBezTo>
                    <a:pt x="12172" y="15043"/>
                    <a:pt x="12701" y="14700"/>
                    <a:pt x="13305" y="14057"/>
                  </a:cubicBezTo>
                  <a:cubicBezTo>
                    <a:pt x="13569" y="14057"/>
                    <a:pt x="13569" y="13414"/>
                    <a:pt x="13871" y="13414"/>
                  </a:cubicBezTo>
                  <a:cubicBezTo>
                    <a:pt x="15608" y="12771"/>
                    <a:pt x="17610" y="13414"/>
                    <a:pt x="19083" y="12771"/>
                  </a:cubicBezTo>
                  <a:cubicBezTo>
                    <a:pt x="19649" y="12086"/>
                    <a:pt x="18780" y="10800"/>
                    <a:pt x="19083" y="10157"/>
                  </a:cubicBezTo>
                  <a:cubicBezTo>
                    <a:pt x="19649" y="9171"/>
                    <a:pt x="20517" y="9171"/>
                    <a:pt x="21084" y="8486"/>
                  </a:cubicBezTo>
                  <a:cubicBezTo>
                    <a:pt x="21386" y="6857"/>
                    <a:pt x="21386" y="6857"/>
                    <a:pt x="21386" y="6857"/>
                  </a:cubicBezTo>
                  <a:cubicBezTo>
                    <a:pt x="18780" y="6214"/>
                    <a:pt x="16175" y="3900"/>
                    <a:pt x="14740" y="1929"/>
                  </a:cubicBezTo>
                  <a:cubicBezTo>
                    <a:pt x="14173" y="1286"/>
                    <a:pt x="8736" y="2914"/>
                    <a:pt x="6696" y="2271"/>
                  </a:cubicBezTo>
                  <a:cubicBezTo>
                    <a:pt x="5828" y="1929"/>
                    <a:pt x="4091" y="0"/>
                    <a:pt x="3827" y="0"/>
                  </a:cubicBezTo>
                  <a:cubicBezTo>
                    <a:pt x="2958" y="643"/>
                    <a:pt x="2089" y="643"/>
                    <a:pt x="1221" y="9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445" name="Shape 2466">
              <a:extLst>
                <a:ext uri="{FF2B5EF4-FFF2-40B4-BE49-F238E27FC236}">
                  <a16:creationId xmlns:a16="http://schemas.microsoft.com/office/drawing/2014/main" id="{59E07DA0-F212-D925-A36E-D328ECC53D8A}"/>
                </a:ext>
              </a:extLst>
            </p:cNvPr>
            <p:cNvSpPr/>
            <p:nvPr/>
          </p:nvSpPr>
          <p:spPr>
            <a:xfrm>
              <a:off x="2469033" y="3420584"/>
              <a:ext cx="784521" cy="759301"/>
            </a:xfrm>
            <a:custGeom>
              <a:avLst/>
              <a:gdLst/>
              <a:ahLst/>
              <a:cxnLst>
                <a:cxn ang="0">
                  <a:pos x="wd2" y="hd2"/>
                </a:cxn>
                <a:cxn ang="5400000">
                  <a:pos x="wd2" y="hd2"/>
                </a:cxn>
                <a:cxn ang="10800000">
                  <a:pos x="wd2" y="hd2"/>
                </a:cxn>
                <a:cxn ang="16200000">
                  <a:pos x="wd2" y="hd2"/>
                </a:cxn>
              </a:cxnLst>
              <a:rect l="0" t="0" r="r" b="b"/>
              <a:pathLst>
                <a:path w="21600" h="21600" extrusionOk="0">
                  <a:moveTo>
                    <a:pt x="2552" y="3145"/>
                  </a:moveTo>
                  <a:cubicBezTo>
                    <a:pt x="2190" y="3221"/>
                    <a:pt x="2190" y="3221"/>
                    <a:pt x="2190" y="3221"/>
                  </a:cubicBezTo>
                  <a:cubicBezTo>
                    <a:pt x="1976" y="3298"/>
                    <a:pt x="1772" y="3365"/>
                    <a:pt x="1624" y="3509"/>
                  </a:cubicBezTo>
                  <a:cubicBezTo>
                    <a:pt x="1485" y="3662"/>
                    <a:pt x="1624" y="3883"/>
                    <a:pt x="1485" y="4027"/>
                  </a:cubicBezTo>
                  <a:cubicBezTo>
                    <a:pt x="1410" y="4170"/>
                    <a:pt x="1206" y="4314"/>
                    <a:pt x="1058" y="4468"/>
                  </a:cubicBezTo>
                  <a:cubicBezTo>
                    <a:pt x="1206" y="4688"/>
                    <a:pt x="1345" y="4909"/>
                    <a:pt x="1410" y="5129"/>
                  </a:cubicBezTo>
                  <a:cubicBezTo>
                    <a:pt x="1559" y="5417"/>
                    <a:pt x="1559" y="5714"/>
                    <a:pt x="1772" y="5934"/>
                  </a:cubicBezTo>
                  <a:cubicBezTo>
                    <a:pt x="1837" y="6002"/>
                    <a:pt x="2051" y="5858"/>
                    <a:pt x="2125" y="6002"/>
                  </a:cubicBezTo>
                  <a:cubicBezTo>
                    <a:pt x="2125" y="6145"/>
                    <a:pt x="2051" y="6299"/>
                    <a:pt x="1911" y="6443"/>
                  </a:cubicBezTo>
                  <a:cubicBezTo>
                    <a:pt x="1624" y="6807"/>
                    <a:pt x="1206" y="7027"/>
                    <a:pt x="993" y="7392"/>
                  </a:cubicBezTo>
                  <a:cubicBezTo>
                    <a:pt x="779" y="7756"/>
                    <a:pt x="1058" y="8197"/>
                    <a:pt x="844" y="8494"/>
                  </a:cubicBezTo>
                  <a:cubicBezTo>
                    <a:pt x="779" y="8715"/>
                    <a:pt x="278" y="8418"/>
                    <a:pt x="278" y="8638"/>
                  </a:cubicBezTo>
                  <a:cubicBezTo>
                    <a:pt x="213" y="9079"/>
                    <a:pt x="640" y="9520"/>
                    <a:pt x="705" y="9961"/>
                  </a:cubicBezTo>
                  <a:cubicBezTo>
                    <a:pt x="705" y="10105"/>
                    <a:pt x="566" y="10172"/>
                    <a:pt x="566" y="10325"/>
                  </a:cubicBezTo>
                  <a:cubicBezTo>
                    <a:pt x="566" y="10613"/>
                    <a:pt x="779" y="10910"/>
                    <a:pt x="844" y="11198"/>
                  </a:cubicBezTo>
                  <a:cubicBezTo>
                    <a:pt x="844" y="11275"/>
                    <a:pt x="705" y="11275"/>
                    <a:pt x="640" y="11351"/>
                  </a:cubicBezTo>
                  <a:cubicBezTo>
                    <a:pt x="427" y="11936"/>
                    <a:pt x="65" y="12521"/>
                    <a:pt x="0" y="13182"/>
                  </a:cubicBezTo>
                  <a:cubicBezTo>
                    <a:pt x="0" y="13547"/>
                    <a:pt x="353" y="13691"/>
                    <a:pt x="492" y="13988"/>
                  </a:cubicBezTo>
                  <a:cubicBezTo>
                    <a:pt x="640" y="14055"/>
                    <a:pt x="705" y="14132"/>
                    <a:pt x="844" y="14132"/>
                  </a:cubicBezTo>
                  <a:cubicBezTo>
                    <a:pt x="1058" y="14132"/>
                    <a:pt x="1345" y="14055"/>
                    <a:pt x="1624" y="13988"/>
                  </a:cubicBezTo>
                  <a:cubicBezTo>
                    <a:pt x="2051" y="13911"/>
                    <a:pt x="2552" y="13988"/>
                    <a:pt x="2904" y="13767"/>
                  </a:cubicBezTo>
                  <a:cubicBezTo>
                    <a:pt x="3118" y="13623"/>
                    <a:pt x="2978" y="13250"/>
                    <a:pt x="3192" y="13106"/>
                  </a:cubicBezTo>
                  <a:cubicBezTo>
                    <a:pt x="3257" y="13029"/>
                    <a:pt x="3396" y="13250"/>
                    <a:pt x="3544" y="13250"/>
                  </a:cubicBezTo>
                  <a:cubicBezTo>
                    <a:pt x="3823" y="13403"/>
                    <a:pt x="4175" y="13250"/>
                    <a:pt x="4389" y="13470"/>
                  </a:cubicBezTo>
                  <a:cubicBezTo>
                    <a:pt x="4463" y="13691"/>
                    <a:pt x="4110" y="13767"/>
                    <a:pt x="3962" y="13911"/>
                  </a:cubicBezTo>
                  <a:cubicBezTo>
                    <a:pt x="3758" y="14055"/>
                    <a:pt x="3609" y="14208"/>
                    <a:pt x="3470" y="14429"/>
                  </a:cubicBezTo>
                  <a:cubicBezTo>
                    <a:pt x="3396" y="14640"/>
                    <a:pt x="3331" y="14937"/>
                    <a:pt x="3331" y="15157"/>
                  </a:cubicBezTo>
                  <a:cubicBezTo>
                    <a:pt x="3331" y="15378"/>
                    <a:pt x="3257" y="15666"/>
                    <a:pt x="3396" y="15819"/>
                  </a:cubicBezTo>
                  <a:cubicBezTo>
                    <a:pt x="3609" y="15886"/>
                    <a:pt x="3758" y="15598"/>
                    <a:pt x="3962" y="15445"/>
                  </a:cubicBezTo>
                  <a:cubicBezTo>
                    <a:pt x="4110" y="15301"/>
                    <a:pt x="4249" y="15014"/>
                    <a:pt x="4519" y="14937"/>
                  </a:cubicBezTo>
                  <a:cubicBezTo>
                    <a:pt x="4667" y="14860"/>
                    <a:pt x="4806" y="15014"/>
                    <a:pt x="4945" y="15157"/>
                  </a:cubicBezTo>
                  <a:cubicBezTo>
                    <a:pt x="5094" y="15225"/>
                    <a:pt x="5094" y="15598"/>
                    <a:pt x="5307" y="15598"/>
                  </a:cubicBezTo>
                  <a:cubicBezTo>
                    <a:pt x="5586" y="15666"/>
                    <a:pt x="5938" y="15301"/>
                    <a:pt x="6300" y="15378"/>
                  </a:cubicBezTo>
                  <a:cubicBezTo>
                    <a:pt x="6439" y="15445"/>
                    <a:pt x="6365" y="15666"/>
                    <a:pt x="6365" y="15819"/>
                  </a:cubicBezTo>
                  <a:cubicBezTo>
                    <a:pt x="6504" y="16039"/>
                    <a:pt x="6578" y="16183"/>
                    <a:pt x="6653" y="16404"/>
                  </a:cubicBezTo>
                  <a:cubicBezTo>
                    <a:pt x="6792" y="16624"/>
                    <a:pt x="7005" y="16768"/>
                    <a:pt x="7144" y="16989"/>
                  </a:cubicBezTo>
                  <a:cubicBezTo>
                    <a:pt x="7219" y="17132"/>
                    <a:pt x="7070" y="17430"/>
                    <a:pt x="7219" y="17573"/>
                  </a:cubicBezTo>
                  <a:cubicBezTo>
                    <a:pt x="7284" y="17650"/>
                    <a:pt x="7432" y="17573"/>
                    <a:pt x="7571" y="17573"/>
                  </a:cubicBezTo>
                  <a:cubicBezTo>
                    <a:pt x="7645" y="17573"/>
                    <a:pt x="7710" y="17717"/>
                    <a:pt x="7785" y="17650"/>
                  </a:cubicBezTo>
                  <a:cubicBezTo>
                    <a:pt x="8063" y="17573"/>
                    <a:pt x="8211" y="17276"/>
                    <a:pt x="8490" y="17209"/>
                  </a:cubicBezTo>
                  <a:cubicBezTo>
                    <a:pt x="8638" y="17209"/>
                    <a:pt x="8777" y="17353"/>
                    <a:pt x="8916" y="17430"/>
                  </a:cubicBezTo>
                  <a:cubicBezTo>
                    <a:pt x="9130" y="17430"/>
                    <a:pt x="9269" y="17209"/>
                    <a:pt x="9418" y="17276"/>
                  </a:cubicBezTo>
                  <a:cubicBezTo>
                    <a:pt x="9557" y="17353"/>
                    <a:pt x="9696" y="17650"/>
                    <a:pt x="9622" y="17794"/>
                  </a:cubicBezTo>
                  <a:cubicBezTo>
                    <a:pt x="9557" y="18081"/>
                    <a:pt x="8991" y="18158"/>
                    <a:pt x="9056" y="18455"/>
                  </a:cubicBezTo>
                  <a:cubicBezTo>
                    <a:pt x="9130" y="18743"/>
                    <a:pt x="9622" y="18379"/>
                    <a:pt x="9909" y="18523"/>
                  </a:cubicBezTo>
                  <a:cubicBezTo>
                    <a:pt x="9984" y="18599"/>
                    <a:pt x="9984" y="18820"/>
                    <a:pt x="9909" y="18964"/>
                  </a:cubicBezTo>
                  <a:cubicBezTo>
                    <a:pt x="9835" y="19107"/>
                    <a:pt x="9622" y="19107"/>
                    <a:pt x="9622" y="19261"/>
                  </a:cubicBezTo>
                  <a:cubicBezTo>
                    <a:pt x="9482" y="19846"/>
                    <a:pt x="9269" y="20430"/>
                    <a:pt x="9343" y="20938"/>
                  </a:cubicBezTo>
                  <a:cubicBezTo>
                    <a:pt x="9418" y="21312"/>
                    <a:pt x="9835" y="21379"/>
                    <a:pt x="10123" y="21600"/>
                  </a:cubicBezTo>
                  <a:cubicBezTo>
                    <a:pt x="10123" y="21456"/>
                    <a:pt x="10475" y="21456"/>
                    <a:pt x="10614" y="21379"/>
                  </a:cubicBezTo>
                  <a:cubicBezTo>
                    <a:pt x="10976" y="21312"/>
                    <a:pt x="11255" y="21015"/>
                    <a:pt x="11468" y="20795"/>
                  </a:cubicBezTo>
                  <a:cubicBezTo>
                    <a:pt x="11607" y="20651"/>
                    <a:pt x="11821" y="20574"/>
                    <a:pt x="11895" y="20497"/>
                  </a:cubicBezTo>
                  <a:cubicBezTo>
                    <a:pt x="11969" y="20430"/>
                    <a:pt x="11969" y="20354"/>
                    <a:pt x="11969" y="20354"/>
                  </a:cubicBezTo>
                  <a:cubicBezTo>
                    <a:pt x="12034" y="20133"/>
                    <a:pt x="12322" y="19328"/>
                    <a:pt x="12535" y="19328"/>
                  </a:cubicBezTo>
                  <a:cubicBezTo>
                    <a:pt x="12674" y="19261"/>
                    <a:pt x="12953" y="19261"/>
                    <a:pt x="12953" y="19040"/>
                  </a:cubicBezTo>
                  <a:cubicBezTo>
                    <a:pt x="12953" y="18820"/>
                    <a:pt x="13101" y="18676"/>
                    <a:pt x="13101" y="18523"/>
                  </a:cubicBezTo>
                  <a:cubicBezTo>
                    <a:pt x="12600" y="18379"/>
                    <a:pt x="13166" y="17861"/>
                    <a:pt x="13240" y="17650"/>
                  </a:cubicBezTo>
                  <a:cubicBezTo>
                    <a:pt x="13593" y="17353"/>
                    <a:pt x="13806" y="17209"/>
                    <a:pt x="14094" y="16845"/>
                  </a:cubicBezTo>
                  <a:cubicBezTo>
                    <a:pt x="14372" y="16480"/>
                    <a:pt x="15087" y="15742"/>
                    <a:pt x="15504" y="15598"/>
                  </a:cubicBezTo>
                  <a:cubicBezTo>
                    <a:pt x="15792" y="15522"/>
                    <a:pt x="16079" y="15445"/>
                    <a:pt x="16293" y="15598"/>
                  </a:cubicBezTo>
                  <a:cubicBezTo>
                    <a:pt x="16358" y="15666"/>
                    <a:pt x="16497" y="15886"/>
                    <a:pt x="16571" y="15819"/>
                  </a:cubicBezTo>
                  <a:cubicBezTo>
                    <a:pt x="16645" y="15819"/>
                    <a:pt x="16859" y="15666"/>
                    <a:pt x="16924" y="15598"/>
                  </a:cubicBezTo>
                  <a:cubicBezTo>
                    <a:pt x="17425" y="15445"/>
                    <a:pt x="17137" y="14352"/>
                    <a:pt x="17351" y="14352"/>
                  </a:cubicBezTo>
                  <a:cubicBezTo>
                    <a:pt x="17777" y="14132"/>
                    <a:pt x="17777" y="14132"/>
                    <a:pt x="17777" y="14132"/>
                  </a:cubicBezTo>
                  <a:cubicBezTo>
                    <a:pt x="18056" y="13988"/>
                    <a:pt x="18269" y="13623"/>
                    <a:pt x="18631" y="13691"/>
                  </a:cubicBezTo>
                  <a:cubicBezTo>
                    <a:pt x="18835" y="13767"/>
                    <a:pt x="19197" y="13403"/>
                    <a:pt x="19336" y="13250"/>
                  </a:cubicBezTo>
                  <a:cubicBezTo>
                    <a:pt x="19410" y="13182"/>
                    <a:pt x="19763" y="12741"/>
                    <a:pt x="19763" y="12588"/>
                  </a:cubicBezTo>
                  <a:cubicBezTo>
                    <a:pt x="19689" y="12588"/>
                    <a:pt x="19689" y="12588"/>
                    <a:pt x="19624" y="12588"/>
                  </a:cubicBezTo>
                  <a:cubicBezTo>
                    <a:pt x="19624" y="12521"/>
                    <a:pt x="19123" y="12157"/>
                    <a:pt x="19048" y="12080"/>
                  </a:cubicBezTo>
                  <a:cubicBezTo>
                    <a:pt x="18835" y="11639"/>
                    <a:pt x="18984" y="11351"/>
                    <a:pt x="18835" y="10910"/>
                  </a:cubicBezTo>
                  <a:cubicBezTo>
                    <a:pt x="18835" y="10690"/>
                    <a:pt x="18770" y="10393"/>
                    <a:pt x="18631" y="10249"/>
                  </a:cubicBezTo>
                  <a:cubicBezTo>
                    <a:pt x="18557" y="10172"/>
                    <a:pt x="18269" y="9961"/>
                    <a:pt x="18204" y="9808"/>
                  </a:cubicBezTo>
                  <a:cubicBezTo>
                    <a:pt x="18204" y="9808"/>
                    <a:pt x="18130" y="9741"/>
                    <a:pt x="18056" y="9741"/>
                  </a:cubicBezTo>
                  <a:lnTo>
                    <a:pt x="17991" y="9741"/>
                  </a:lnTo>
                  <a:cubicBezTo>
                    <a:pt x="17991" y="9664"/>
                    <a:pt x="18056" y="9156"/>
                    <a:pt x="17916" y="9079"/>
                  </a:cubicBezTo>
                  <a:cubicBezTo>
                    <a:pt x="17842" y="8935"/>
                    <a:pt x="17638" y="8859"/>
                    <a:pt x="17638" y="8715"/>
                  </a:cubicBezTo>
                  <a:cubicBezTo>
                    <a:pt x="17564" y="8638"/>
                    <a:pt x="17490" y="8571"/>
                    <a:pt x="17490" y="8571"/>
                  </a:cubicBezTo>
                  <a:cubicBezTo>
                    <a:pt x="17425" y="8494"/>
                    <a:pt x="17276" y="8053"/>
                    <a:pt x="17276" y="7977"/>
                  </a:cubicBezTo>
                  <a:cubicBezTo>
                    <a:pt x="17351" y="7977"/>
                    <a:pt x="17351" y="7977"/>
                    <a:pt x="17351" y="7977"/>
                  </a:cubicBezTo>
                  <a:cubicBezTo>
                    <a:pt x="17703" y="7977"/>
                    <a:pt x="18130" y="8053"/>
                    <a:pt x="18482" y="8053"/>
                  </a:cubicBezTo>
                  <a:cubicBezTo>
                    <a:pt x="18696" y="7756"/>
                    <a:pt x="18835" y="7248"/>
                    <a:pt x="19123" y="6884"/>
                  </a:cubicBezTo>
                  <a:cubicBezTo>
                    <a:pt x="19262" y="6730"/>
                    <a:pt x="19475" y="6663"/>
                    <a:pt x="19624" y="6519"/>
                  </a:cubicBezTo>
                  <a:cubicBezTo>
                    <a:pt x="19763" y="6222"/>
                    <a:pt x="19763" y="6222"/>
                    <a:pt x="19763" y="5934"/>
                  </a:cubicBezTo>
                  <a:lnTo>
                    <a:pt x="19763" y="5858"/>
                  </a:lnTo>
                  <a:cubicBezTo>
                    <a:pt x="19828" y="5858"/>
                    <a:pt x="19902" y="5781"/>
                    <a:pt x="19902" y="5781"/>
                  </a:cubicBezTo>
                  <a:cubicBezTo>
                    <a:pt x="19976" y="5714"/>
                    <a:pt x="20115" y="5493"/>
                    <a:pt x="20115" y="5417"/>
                  </a:cubicBezTo>
                  <a:cubicBezTo>
                    <a:pt x="20756" y="5417"/>
                    <a:pt x="20394" y="4909"/>
                    <a:pt x="20821" y="4832"/>
                  </a:cubicBezTo>
                  <a:cubicBezTo>
                    <a:pt x="20895" y="4688"/>
                    <a:pt x="20895" y="4391"/>
                    <a:pt x="20969" y="4314"/>
                  </a:cubicBezTo>
                  <a:cubicBezTo>
                    <a:pt x="20969" y="4247"/>
                    <a:pt x="20969" y="4170"/>
                    <a:pt x="20969" y="4094"/>
                  </a:cubicBezTo>
                  <a:lnTo>
                    <a:pt x="21034" y="4027"/>
                  </a:lnTo>
                  <a:cubicBezTo>
                    <a:pt x="21108" y="3950"/>
                    <a:pt x="21173" y="3883"/>
                    <a:pt x="21247" y="3883"/>
                  </a:cubicBezTo>
                  <a:cubicBezTo>
                    <a:pt x="21247" y="3806"/>
                    <a:pt x="21322" y="3806"/>
                    <a:pt x="21322" y="3806"/>
                  </a:cubicBezTo>
                  <a:cubicBezTo>
                    <a:pt x="21387" y="3806"/>
                    <a:pt x="21461" y="3729"/>
                    <a:pt x="21461" y="3729"/>
                  </a:cubicBezTo>
                  <a:cubicBezTo>
                    <a:pt x="21600" y="3586"/>
                    <a:pt x="21600" y="3586"/>
                    <a:pt x="21600" y="3586"/>
                  </a:cubicBezTo>
                  <a:cubicBezTo>
                    <a:pt x="21387" y="3221"/>
                    <a:pt x="21173" y="2857"/>
                    <a:pt x="21108" y="2560"/>
                  </a:cubicBezTo>
                  <a:cubicBezTo>
                    <a:pt x="21108" y="1611"/>
                    <a:pt x="20329" y="1754"/>
                    <a:pt x="20115" y="949"/>
                  </a:cubicBezTo>
                  <a:cubicBezTo>
                    <a:pt x="20041" y="729"/>
                    <a:pt x="18631" y="364"/>
                    <a:pt x="18418" y="441"/>
                  </a:cubicBezTo>
                  <a:cubicBezTo>
                    <a:pt x="17777" y="585"/>
                    <a:pt x="17137" y="441"/>
                    <a:pt x="16710" y="0"/>
                  </a:cubicBezTo>
                  <a:cubicBezTo>
                    <a:pt x="16358" y="441"/>
                    <a:pt x="16293" y="585"/>
                    <a:pt x="15931" y="949"/>
                  </a:cubicBezTo>
                  <a:cubicBezTo>
                    <a:pt x="15718" y="1093"/>
                    <a:pt x="15578" y="1390"/>
                    <a:pt x="15365" y="1313"/>
                  </a:cubicBezTo>
                  <a:cubicBezTo>
                    <a:pt x="15152" y="1246"/>
                    <a:pt x="15152" y="872"/>
                    <a:pt x="14938" y="729"/>
                  </a:cubicBezTo>
                  <a:cubicBezTo>
                    <a:pt x="14725" y="662"/>
                    <a:pt x="14521" y="585"/>
                    <a:pt x="14307" y="662"/>
                  </a:cubicBezTo>
                  <a:cubicBezTo>
                    <a:pt x="14159" y="662"/>
                    <a:pt x="14307" y="872"/>
                    <a:pt x="14233" y="949"/>
                  </a:cubicBezTo>
                  <a:cubicBezTo>
                    <a:pt x="14159" y="1093"/>
                    <a:pt x="13806" y="1093"/>
                    <a:pt x="13880" y="1246"/>
                  </a:cubicBezTo>
                  <a:cubicBezTo>
                    <a:pt x="13880" y="1534"/>
                    <a:pt x="14307" y="1611"/>
                    <a:pt x="14446" y="1831"/>
                  </a:cubicBezTo>
                  <a:cubicBezTo>
                    <a:pt x="14521" y="2052"/>
                    <a:pt x="14521" y="2416"/>
                    <a:pt x="14372" y="2560"/>
                  </a:cubicBezTo>
                  <a:cubicBezTo>
                    <a:pt x="14233" y="2704"/>
                    <a:pt x="14020" y="2339"/>
                    <a:pt x="13880" y="2416"/>
                  </a:cubicBezTo>
                  <a:cubicBezTo>
                    <a:pt x="13741" y="2493"/>
                    <a:pt x="13880" y="2857"/>
                    <a:pt x="13741" y="2924"/>
                  </a:cubicBezTo>
                  <a:cubicBezTo>
                    <a:pt x="13528" y="3001"/>
                    <a:pt x="13240" y="2857"/>
                    <a:pt x="13027" y="2780"/>
                  </a:cubicBezTo>
                  <a:cubicBezTo>
                    <a:pt x="12888" y="2780"/>
                    <a:pt x="12888" y="2636"/>
                    <a:pt x="12813" y="2560"/>
                  </a:cubicBezTo>
                  <a:cubicBezTo>
                    <a:pt x="12739" y="2560"/>
                    <a:pt x="12600" y="2493"/>
                    <a:pt x="12535" y="2493"/>
                  </a:cubicBezTo>
                  <a:cubicBezTo>
                    <a:pt x="12173" y="2560"/>
                    <a:pt x="11821" y="2857"/>
                    <a:pt x="11468" y="2857"/>
                  </a:cubicBezTo>
                  <a:cubicBezTo>
                    <a:pt x="11329" y="2857"/>
                    <a:pt x="11190" y="2560"/>
                    <a:pt x="10976" y="2560"/>
                  </a:cubicBezTo>
                  <a:cubicBezTo>
                    <a:pt x="10763" y="2560"/>
                    <a:pt x="10549" y="2704"/>
                    <a:pt x="10336" y="2857"/>
                  </a:cubicBezTo>
                  <a:cubicBezTo>
                    <a:pt x="10197" y="2924"/>
                    <a:pt x="10262" y="3221"/>
                    <a:pt x="10123" y="3221"/>
                  </a:cubicBezTo>
                  <a:cubicBezTo>
                    <a:pt x="9984" y="3298"/>
                    <a:pt x="9909" y="3077"/>
                    <a:pt x="9835" y="3001"/>
                  </a:cubicBezTo>
                  <a:cubicBezTo>
                    <a:pt x="9696" y="3145"/>
                    <a:pt x="9622" y="3365"/>
                    <a:pt x="9418" y="3509"/>
                  </a:cubicBezTo>
                  <a:cubicBezTo>
                    <a:pt x="9204" y="3662"/>
                    <a:pt x="8991" y="3883"/>
                    <a:pt x="8703" y="3806"/>
                  </a:cubicBezTo>
                  <a:cubicBezTo>
                    <a:pt x="8564" y="3806"/>
                    <a:pt x="8777" y="3145"/>
                    <a:pt x="8564" y="3221"/>
                  </a:cubicBezTo>
                  <a:cubicBezTo>
                    <a:pt x="7785" y="3662"/>
                    <a:pt x="7070" y="4314"/>
                    <a:pt x="6504" y="5052"/>
                  </a:cubicBezTo>
                  <a:cubicBezTo>
                    <a:pt x="6365" y="5196"/>
                    <a:pt x="6653" y="5561"/>
                    <a:pt x="6578" y="5714"/>
                  </a:cubicBezTo>
                  <a:cubicBezTo>
                    <a:pt x="6439" y="5934"/>
                    <a:pt x="6152" y="6002"/>
                    <a:pt x="5938" y="6002"/>
                  </a:cubicBezTo>
                  <a:cubicBezTo>
                    <a:pt x="5799" y="5934"/>
                    <a:pt x="5660" y="5714"/>
                    <a:pt x="5660" y="5561"/>
                  </a:cubicBezTo>
                  <a:cubicBezTo>
                    <a:pt x="5660" y="5417"/>
                    <a:pt x="5799" y="5340"/>
                    <a:pt x="5799" y="5196"/>
                  </a:cubicBezTo>
                  <a:cubicBezTo>
                    <a:pt x="5725" y="5052"/>
                    <a:pt x="5521" y="5052"/>
                    <a:pt x="5521" y="4909"/>
                  </a:cubicBezTo>
                  <a:cubicBezTo>
                    <a:pt x="5446" y="4832"/>
                    <a:pt x="5586" y="4688"/>
                    <a:pt x="5521" y="4611"/>
                  </a:cubicBezTo>
                  <a:cubicBezTo>
                    <a:pt x="5446" y="4314"/>
                    <a:pt x="5446" y="3729"/>
                    <a:pt x="5159" y="3662"/>
                  </a:cubicBezTo>
                  <a:cubicBezTo>
                    <a:pt x="4667" y="3586"/>
                    <a:pt x="4389" y="4314"/>
                    <a:pt x="3897" y="4314"/>
                  </a:cubicBezTo>
                  <a:cubicBezTo>
                    <a:pt x="3758" y="4391"/>
                    <a:pt x="3758" y="3950"/>
                    <a:pt x="3609" y="3883"/>
                  </a:cubicBezTo>
                  <a:cubicBezTo>
                    <a:pt x="3470" y="3729"/>
                    <a:pt x="3192" y="3883"/>
                    <a:pt x="3043" y="3806"/>
                  </a:cubicBezTo>
                  <a:cubicBezTo>
                    <a:pt x="2830" y="3662"/>
                    <a:pt x="2691" y="3365"/>
                    <a:pt x="2552" y="314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2" name="Shape 2467">
              <a:extLst>
                <a:ext uri="{FF2B5EF4-FFF2-40B4-BE49-F238E27FC236}">
                  <a16:creationId xmlns:a16="http://schemas.microsoft.com/office/drawing/2014/main" id="{D44B9D71-252C-A96F-B6EB-697A2ACF94A6}"/>
                </a:ext>
              </a:extLst>
            </p:cNvPr>
            <p:cNvSpPr/>
            <p:nvPr/>
          </p:nvSpPr>
          <p:spPr>
            <a:xfrm>
              <a:off x="2561193" y="3430990"/>
              <a:ext cx="264257" cy="200353"/>
            </a:xfrm>
            <a:custGeom>
              <a:avLst/>
              <a:gdLst/>
              <a:ahLst/>
              <a:cxnLst>
                <a:cxn ang="0">
                  <a:pos x="wd2" y="hd2"/>
                </a:cxn>
                <a:cxn ang="5400000">
                  <a:pos x="wd2" y="hd2"/>
                </a:cxn>
                <a:cxn ang="10800000">
                  <a:pos x="wd2" y="hd2"/>
                </a:cxn>
                <a:cxn ang="16200000">
                  <a:pos x="wd2" y="hd2"/>
                </a:cxn>
              </a:cxnLst>
              <a:rect l="0" t="0" r="r" b="b"/>
              <a:pathLst>
                <a:path w="21600" h="21600" extrusionOk="0">
                  <a:moveTo>
                    <a:pt x="21600" y="10256"/>
                  </a:moveTo>
                  <a:cubicBezTo>
                    <a:pt x="21187" y="10800"/>
                    <a:pt x="20967" y="11634"/>
                    <a:pt x="20362" y="12177"/>
                  </a:cubicBezTo>
                  <a:cubicBezTo>
                    <a:pt x="19729" y="12757"/>
                    <a:pt x="19096" y="13591"/>
                    <a:pt x="18243" y="13301"/>
                  </a:cubicBezTo>
                  <a:cubicBezTo>
                    <a:pt x="17830" y="13301"/>
                    <a:pt x="18463" y="10800"/>
                    <a:pt x="17830" y="11090"/>
                  </a:cubicBezTo>
                  <a:cubicBezTo>
                    <a:pt x="15519" y="12757"/>
                    <a:pt x="13400" y="15221"/>
                    <a:pt x="11722" y="18012"/>
                  </a:cubicBezTo>
                  <a:cubicBezTo>
                    <a:pt x="11309" y="18556"/>
                    <a:pt x="12162" y="19933"/>
                    <a:pt x="11942" y="20513"/>
                  </a:cubicBezTo>
                  <a:cubicBezTo>
                    <a:pt x="11529" y="21346"/>
                    <a:pt x="10676" y="21600"/>
                    <a:pt x="10043" y="21600"/>
                  </a:cubicBezTo>
                  <a:cubicBezTo>
                    <a:pt x="9631" y="21346"/>
                    <a:pt x="9218" y="20513"/>
                    <a:pt x="9218" y="19933"/>
                  </a:cubicBezTo>
                  <a:cubicBezTo>
                    <a:pt x="9218" y="19389"/>
                    <a:pt x="9631" y="19099"/>
                    <a:pt x="9631" y="18556"/>
                  </a:cubicBezTo>
                  <a:cubicBezTo>
                    <a:pt x="9410" y="18012"/>
                    <a:pt x="8805" y="18012"/>
                    <a:pt x="8805" y="17468"/>
                  </a:cubicBezTo>
                  <a:cubicBezTo>
                    <a:pt x="8585" y="17179"/>
                    <a:pt x="8998" y="16635"/>
                    <a:pt x="8805" y="16345"/>
                  </a:cubicBezTo>
                  <a:cubicBezTo>
                    <a:pt x="8585" y="15221"/>
                    <a:pt x="8585" y="13011"/>
                    <a:pt x="7732" y="12757"/>
                  </a:cubicBezTo>
                  <a:cubicBezTo>
                    <a:pt x="6274" y="12467"/>
                    <a:pt x="5448" y="15221"/>
                    <a:pt x="3990" y="15221"/>
                  </a:cubicBezTo>
                  <a:cubicBezTo>
                    <a:pt x="3577" y="15511"/>
                    <a:pt x="3577" y="13844"/>
                    <a:pt x="3137" y="13591"/>
                  </a:cubicBezTo>
                  <a:cubicBezTo>
                    <a:pt x="2724" y="13011"/>
                    <a:pt x="1899" y="13591"/>
                    <a:pt x="1458" y="13301"/>
                  </a:cubicBezTo>
                  <a:cubicBezTo>
                    <a:pt x="825" y="12757"/>
                    <a:pt x="413" y="11634"/>
                    <a:pt x="0" y="10800"/>
                  </a:cubicBezTo>
                  <a:cubicBezTo>
                    <a:pt x="1046" y="9133"/>
                    <a:pt x="2091" y="7756"/>
                    <a:pt x="3137" y="6379"/>
                  </a:cubicBezTo>
                  <a:cubicBezTo>
                    <a:pt x="3357" y="6089"/>
                    <a:pt x="3577" y="5835"/>
                    <a:pt x="3990" y="5545"/>
                  </a:cubicBezTo>
                  <a:cubicBezTo>
                    <a:pt x="4182" y="5545"/>
                    <a:pt x="4623" y="5835"/>
                    <a:pt x="5035" y="5545"/>
                  </a:cubicBezTo>
                  <a:cubicBezTo>
                    <a:pt x="5448" y="5545"/>
                    <a:pt x="5833" y="5255"/>
                    <a:pt x="6274" y="4711"/>
                  </a:cubicBezTo>
                  <a:cubicBezTo>
                    <a:pt x="6466" y="4711"/>
                    <a:pt x="6466" y="4168"/>
                    <a:pt x="6686" y="4168"/>
                  </a:cubicBezTo>
                  <a:cubicBezTo>
                    <a:pt x="7952" y="3624"/>
                    <a:pt x="9410" y="4168"/>
                    <a:pt x="10484" y="3624"/>
                  </a:cubicBezTo>
                  <a:cubicBezTo>
                    <a:pt x="10896" y="3044"/>
                    <a:pt x="10263" y="1957"/>
                    <a:pt x="10484" y="1413"/>
                  </a:cubicBezTo>
                  <a:cubicBezTo>
                    <a:pt x="10896" y="580"/>
                    <a:pt x="11529" y="580"/>
                    <a:pt x="11942" y="0"/>
                  </a:cubicBezTo>
                  <a:cubicBezTo>
                    <a:pt x="12988" y="1123"/>
                    <a:pt x="13841" y="2501"/>
                    <a:pt x="15106" y="3044"/>
                  </a:cubicBezTo>
                  <a:cubicBezTo>
                    <a:pt x="15299" y="3334"/>
                    <a:pt x="15106" y="2211"/>
                    <a:pt x="15299" y="1957"/>
                  </a:cubicBezTo>
                  <a:cubicBezTo>
                    <a:pt x="15739" y="1667"/>
                    <a:pt x="16344" y="1123"/>
                    <a:pt x="16565" y="1667"/>
                  </a:cubicBezTo>
                  <a:cubicBezTo>
                    <a:pt x="17418" y="2501"/>
                    <a:pt x="17418" y="4168"/>
                    <a:pt x="18050" y="5545"/>
                  </a:cubicBezTo>
                  <a:cubicBezTo>
                    <a:pt x="18243" y="5835"/>
                    <a:pt x="18683" y="6089"/>
                    <a:pt x="19096" y="6379"/>
                  </a:cubicBezTo>
                  <a:cubicBezTo>
                    <a:pt x="19729" y="6922"/>
                    <a:pt x="20362" y="7502"/>
                    <a:pt x="20967" y="8046"/>
                  </a:cubicBezTo>
                  <a:cubicBezTo>
                    <a:pt x="21407" y="8589"/>
                    <a:pt x="21407" y="9423"/>
                    <a:pt x="21600" y="1025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3" name="Shape 2468">
              <a:extLst>
                <a:ext uri="{FF2B5EF4-FFF2-40B4-BE49-F238E27FC236}">
                  <a16:creationId xmlns:a16="http://schemas.microsoft.com/office/drawing/2014/main" id="{6221A280-AB04-4022-3F0C-B1EBD445CE0F}"/>
                </a:ext>
              </a:extLst>
            </p:cNvPr>
            <p:cNvSpPr/>
            <p:nvPr/>
          </p:nvSpPr>
          <p:spPr>
            <a:xfrm>
              <a:off x="2708354" y="3307145"/>
              <a:ext cx="368309" cy="226924"/>
            </a:xfrm>
            <a:custGeom>
              <a:avLst/>
              <a:gdLst/>
              <a:ahLst/>
              <a:cxnLst>
                <a:cxn ang="0">
                  <a:pos x="wd2" y="hd2"/>
                </a:cxn>
                <a:cxn ang="5400000">
                  <a:pos x="wd2" y="hd2"/>
                </a:cxn>
                <a:cxn ang="10800000">
                  <a:pos x="wd2" y="hd2"/>
                </a:cxn>
                <a:cxn ang="16200000">
                  <a:pos x="wd2" y="hd2"/>
                </a:cxn>
              </a:cxnLst>
              <a:rect l="0" t="0" r="r" b="b"/>
              <a:pathLst>
                <a:path w="21600" h="21167" extrusionOk="0">
                  <a:moveTo>
                    <a:pt x="158" y="10315"/>
                  </a:moveTo>
                  <a:cubicBezTo>
                    <a:pt x="0" y="11508"/>
                    <a:pt x="0" y="11508"/>
                    <a:pt x="0" y="11508"/>
                  </a:cubicBezTo>
                  <a:cubicBezTo>
                    <a:pt x="752" y="12481"/>
                    <a:pt x="1365" y="13674"/>
                    <a:pt x="2275" y="14145"/>
                  </a:cubicBezTo>
                  <a:cubicBezTo>
                    <a:pt x="2413" y="14396"/>
                    <a:pt x="2275" y="13423"/>
                    <a:pt x="2413" y="13203"/>
                  </a:cubicBezTo>
                  <a:cubicBezTo>
                    <a:pt x="2730" y="12952"/>
                    <a:pt x="3165" y="12481"/>
                    <a:pt x="3323" y="12952"/>
                  </a:cubicBezTo>
                  <a:cubicBezTo>
                    <a:pt x="3936" y="13674"/>
                    <a:pt x="3936" y="15118"/>
                    <a:pt x="4391" y="16311"/>
                  </a:cubicBezTo>
                  <a:cubicBezTo>
                    <a:pt x="4530" y="16563"/>
                    <a:pt x="4846" y="16782"/>
                    <a:pt x="5143" y="17033"/>
                  </a:cubicBezTo>
                  <a:cubicBezTo>
                    <a:pt x="5598" y="17504"/>
                    <a:pt x="6053" y="18007"/>
                    <a:pt x="6488" y="18478"/>
                  </a:cubicBezTo>
                  <a:cubicBezTo>
                    <a:pt x="6804" y="18949"/>
                    <a:pt x="6804" y="19671"/>
                    <a:pt x="6943" y="20393"/>
                  </a:cubicBezTo>
                  <a:cubicBezTo>
                    <a:pt x="7101" y="20644"/>
                    <a:pt x="7259" y="21366"/>
                    <a:pt x="7556" y="21115"/>
                  </a:cubicBezTo>
                  <a:cubicBezTo>
                    <a:pt x="7853" y="21115"/>
                    <a:pt x="7714" y="20142"/>
                    <a:pt x="8011" y="19922"/>
                  </a:cubicBezTo>
                  <a:cubicBezTo>
                    <a:pt x="8466" y="19419"/>
                    <a:pt x="8921" y="18949"/>
                    <a:pt x="9376" y="18949"/>
                  </a:cubicBezTo>
                  <a:cubicBezTo>
                    <a:pt x="9831" y="18949"/>
                    <a:pt x="10127" y="19922"/>
                    <a:pt x="10424" y="19922"/>
                  </a:cubicBezTo>
                  <a:cubicBezTo>
                    <a:pt x="11176" y="19922"/>
                    <a:pt x="11927" y="18949"/>
                    <a:pt x="12699" y="18729"/>
                  </a:cubicBezTo>
                  <a:cubicBezTo>
                    <a:pt x="12837" y="18729"/>
                    <a:pt x="13134" y="18949"/>
                    <a:pt x="13292" y="18949"/>
                  </a:cubicBezTo>
                  <a:cubicBezTo>
                    <a:pt x="13451" y="19200"/>
                    <a:pt x="13451" y="19671"/>
                    <a:pt x="13747" y="19671"/>
                  </a:cubicBezTo>
                  <a:cubicBezTo>
                    <a:pt x="14202" y="19922"/>
                    <a:pt x="14815" y="20393"/>
                    <a:pt x="15270" y="20142"/>
                  </a:cubicBezTo>
                  <a:cubicBezTo>
                    <a:pt x="15567" y="19922"/>
                    <a:pt x="15270" y="18729"/>
                    <a:pt x="15567" y="18478"/>
                  </a:cubicBezTo>
                  <a:cubicBezTo>
                    <a:pt x="15864" y="18226"/>
                    <a:pt x="16319" y="19419"/>
                    <a:pt x="16615" y="18949"/>
                  </a:cubicBezTo>
                  <a:cubicBezTo>
                    <a:pt x="16932" y="18478"/>
                    <a:pt x="16932" y="17285"/>
                    <a:pt x="16774" y="16563"/>
                  </a:cubicBezTo>
                  <a:cubicBezTo>
                    <a:pt x="16477" y="15840"/>
                    <a:pt x="15567" y="15589"/>
                    <a:pt x="15567" y="14647"/>
                  </a:cubicBezTo>
                  <a:cubicBezTo>
                    <a:pt x="15409" y="14145"/>
                    <a:pt x="16160" y="14145"/>
                    <a:pt x="16319" y="13674"/>
                  </a:cubicBezTo>
                  <a:cubicBezTo>
                    <a:pt x="16477" y="13423"/>
                    <a:pt x="16160" y="12732"/>
                    <a:pt x="16477" y="12732"/>
                  </a:cubicBezTo>
                  <a:cubicBezTo>
                    <a:pt x="16932" y="12481"/>
                    <a:pt x="17367" y="12732"/>
                    <a:pt x="17822" y="12952"/>
                  </a:cubicBezTo>
                  <a:cubicBezTo>
                    <a:pt x="18277" y="13423"/>
                    <a:pt x="18277" y="14647"/>
                    <a:pt x="18732" y="14867"/>
                  </a:cubicBezTo>
                  <a:cubicBezTo>
                    <a:pt x="19187" y="15118"/>
                    <a:pt x="19484" y="14145"/>
                    <a:pt x="19938" y="13674"/>
                  </a:cubicBezTo>
                  <a:cubicBezTo>
                    <a:pt x="20710" y="12481"/>
                    <a:pt x="20848" y="12010"/>
                    <a:pt x="21600" y="10566"/>
                  </a:cubicBezTo>
                  <a:cubicBezTo>
                    <a:pt x="21462" y="10315"/>
                    <a:pt x="21303" y="10095"/>
                    <a:pt x="21145" y="9844"/>
                  </a:cubicBezTo>
                  <a:cubicBezTo>
                    <a:pt x="19800" y="7207"/>
                    <a:pt x="18890" y="7207"/>
                    <a:pt x="17070" y="6233"/>
                  </a:cubicBezTo>
                  <a:cubicBezTo>
                    <a:pt x="14499" y="4789"/>
                    <a:pt x="14815" y="488"/>
                    <a:pt x="12541" y="237"/>
                  </a:cubicBezTo>
                  <a:cubicBezTo>
                    <a:pt x="8604" y="17"/>
                    <a:pt x="8604" y="17"/>
                    <a:pt x="8604" y="17"/>
                  </a:cubicBezTo>
                  <a:cubicBezTo>
                    <a:pt x="6804" y="-234"/>
                    <a:pt x="7259" y="2403"/>
                    <a:pt x="5895" y="3376"/>
                  </a:cubicBezTo>
                  <a:cubicBezTo>
                    <a:pt x="4391" y="5040"/>
                    <a:pt x="6349" y="7426"/>
                    <a:pt x="3481" y="7678"/>
                  </a:cubicBezTo>
                  <a:cubicBezTo>
                    <a:pt x="3165" y="7678"/>
                    <a:pt x="2413" y="9373"/>
                    <a:pt x="1958" y="9593"/>
                  </a:cubicBezTo>
                  <a:cubicBezTo>
                    <a:pt x="1365" y="10315"/>
                    <a:pt x="752" y="10566"/>
                    <a:pt x="158" y="1031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4" name="Shape 2469">
              <a:extLst>
                <a:ext uri="{FF2B5EF4-FFF2-40B4-BE49-F238E27FC236}">
                  <a16:creationId xmlns:a16="http://schemas.microsoft.com/office/drawing/2014/main" id="{14BF064D-53BD-B1E6-BA47-7CFF21BE306D}"/>
                </a:ext>
              </a:extLst>
            </p:cNvPr>
            <p:cNvSpPr/>
            <p:nvPr/>
          </p:nvSpPr>
          <p:spPr>
            <a:xfrm>
              <a:off x="2221040" y="3274900"/>
              <a:ext cx="264007" cy="188457"/>
            </a:xfrm>
            <a:custGeom>
              <a:avLst/>
              <a:gdLst/>
              <a:ahLst/>
              <a:cxnLst>
                <a:cxn ang="0">
                  <a:pos x="wd2" y="hd2"/>
                </a:cxn>
                <a:cxn ang="5400000">
                  <a:pos x="wd2" y="hd2"/>
                </a:cxn>
                <a:cxn ang="10800000">
                  <a:pos x="wd2" y="hd2"/>
                </a:cxn>
                <a:cxn ang="16200000">
                  <a:pos x="wd2" y="hd2"/>
                </a:cxn>
              </a:cxnLst>
              <a:rect l="0" t="0" r="r" b="b"/>
              <a:pathLst>
                <a:path w="21459" h="21600" extrusionOk="0">
                  <a:moveTo>
                    <a:pt x="10124" y="2981"/>
                  </a:moveTo>
                  <a:cubicBezTo>
                    <a:pt x="7187" y="0"/>
                    <a:pt x="7187" y="0"/>
                    <a:pt x="7187" y="0"/>
                  </a:cubicBezTo>
                  <a:cubicBezTo>
                    <a:pt x="6775" y="890"/>
                    <a:pt x="6144" y="1781"/>
                    <a:pt x="6144" y="2981"/>
                  </a:cubicBezTo>
                  <a:cubicBezTo>
                    <a:pt x="6364" y="3871"/>
                    <a:pt x="7187" y="4142"/>
                    <a:pt x="7187" y="4761"/>
                  </a:cubicBezTo>
                  <a:cubicBezTo>
                    <a:pt x="7407" y="5032"/>
                    <a:pt x="7187" y="5652"/>
                    <a:pt x="6775" y="5652"/>
                  </a:cubicBezTo>
                  <a:cubicBezTo>
                    <a:pt x="6144" y="6232"/>
                    <a:pt x="5293" y="6232"/>
                    <a:pt x="4689" y="6232"/>
                  </a:cubicBezTo>
                  <a:cubicBezTo>
                    <a:pt x="3427" y="6232"/>
                    <a:pt x="2164" y="5652"/>
                    <a:pt x="1122" y="5923"/>
                  </a:cubicBezTo>
                  <a:cubicBezTo>
                    <a:pt x="682" y="5923"/>
                    <a:pt x="490" y="6813"/>
                    <a:pt x="271" y="7394"/>
                  </a:cubicBezTo>
                  <a:cubicBezTo>
                    <a:pt x="271" y="8284"/>
                    <a:pt x="-141" y="8903"/>
                    <a:pt x="51" y="9484"/>
                  </a:cubicBezTo>
                  <a:cubicBezTo>
                    <a:pt x="271" y="10065"/>
                    <a:pt x="902" y="9484"/>
                    <a:pt x="1314" y="10065"/>
                  </a:cubicBezTo>
                  <a:cubicBezTo>
                    <a:pt x="1725" y="10065"/>
                    <a:pt x="1945" y="10645"/>
                    <a:pt x="1945" y="10955"/>
                  </a:cubicBezTo>
                  <a:cubicBezTo>
                    <a:pt x="1945" y="11535"/>
                    <a:pt x="1533" y="12116"/>
                    <a:pt x="1725" y="12116"/>
                  </a:cubicBezTo>
                  <a:cubicBezTo>
                    <a:pt x="2164" y="12735"/>
                    <a:pt x="2796" y="11845"/>
                    <a:pt x="3207" y="12426"/>
                  </a:cubicBezTo>
                  <a:cubicBezTo>
                    <a:pt x="3619" y="12735"/>
                    <a:pt x="3207" y="14206"/>
                    <a:pt x="3839" y="14516"/>
                  </a:cubicBezTo>
                  <a:cubicBezTo>
                    <a:pt x="4689" y="15097"/>
                    <a:pt x="6364" y="13626"/>
                    <a:pt x="6995" y="14787"/>
                  </a:cubicBezTo>
                  <a:cubicBezTo>
                    <a:pt x="7407" y="15677"/>
                    <a:pt x="4882" y="15987"/>
                    <a:pt x="5101" y="17187"/>
                  </a:cubicBezTo>
                  <a:cubicBezTo>
                    <a:pt x="5101" y="18658"/>
                    <a:pt x="6556" y="18929"/>
                    <a:pt x="7187" y="20129"/>
                  </a:cubicBezTo>
                  <a:cubicBezTo>
                    <a:pt x="7599" y="20400"/>
                    <a:pt x="7599" y="21019"/>
                    <a:pt x="7818" y="21290"/>
                  </a:cubicBezTo>
                  <a:cubicBezTo>
                    <a:pt x="8038" y="21600"/>
                    <a:pt x="8230" y="21600"/>
                    <a:pt x="8450" y="21600"/>
                  </a:cubicBezTo>
                  <a:cubicBezTo>
                    <a:pt x="9273" y="21290"/>
                    <a:pt x="10343" y="21600"/>
                    <a:pt x="10975" y="21019"/>
                  </a:cubicBezTo>
                  <a:cubicBezTo>
                    <a:pt x="11606" y="20129"/>
                    <a:pt x="11606" y="18658"/>
                    <a:pt x="12210" y="18039"/>
                  </a:cubicBezTo>
                  <a:cubicBezTo>
                    <a:pt x="13061" y="17187"/>
                    <a:pt x="14103" y="17187"/>
                    <a:pt x="14954" y="16568"/>
                  </a:cubicBezTo>
                  <a:cubicBezTo>
                    <a:pt x="15146" y="16568"/>
                    <a:pt x="14954" y="15987"/>
                    <a:pt x="14954" y="15677"/>
                  </a:cubicBezTo>
                  <a:cubicBezTo>
                    <a:pt x="15146" y="15097"/>
                    <a:pt x="15586" y="14516"/>
                    <a:pt x="15778" y="14206"/>
                  </a:cubicBezTo>
                  <a:cubicBezTo>
                    <a:pt x="16629" y="13006"/>
                    <a:pt x="17040" y="11535"/>
                    <a:pt x="18083" y="11265"/>
                  </a:cubicBezTo>
                  <a:cubicBezTo>
                    <a:pt x="18934" y="10955"/>
                    <a:pt x="19757" y="12735"/>
                    <a:pt x="20608" y="12426"/>
                  </a:cubicBezTo>
                  <a:cubicBezTo>
                    <a:pt x="21459" y="12116"/>
                    <a:pt x="21239" y="11265"/>
                    <a:pt x="21459" y="10374"/>
                  </a:cubicBezTo>
                  <a:cubicBezTo>
                    <a:pt x="20196" y="9755"/>
                    <a:pt x="18714" y="9174"/>
                    <a:pt x="17040" y="8903"/>
                  </a:cubicBezTo>
                  <a:cubicBezTo>
                    <a:pt x="14735" y="8594"/>
                    <a:pt x="13472" y="6542"/>
                    <a:pt x="11386" y="5923"/>
                  </a:cubicBezTo>
                  <a:cubicBezTo>
                    <a:pt x="10124" y="2981"/>
                    <a:pt x="10124" y="2981"/>
                    <a:pt x="10124" y="298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5" name="Shape 2470">
              <a:extLst>
                <a:ext uri="{FF2B5EF4-FFF2-40B4-BE49-F238E27FC236}">
                  <a16:creationId xmlns:a16="http://schemas.microsoft.com/office/drawing/2014/main" id="{B7DFCF02-4641-051C-4419-C9EAD9CB5FF8}"/>
                </a:ext>
              </a:extLst>
            </p:cNvPr>
            <p:cNvSpPr/>
            <p:nvPr/>
          </p:nvSpPr>
          <p:spPr>
            <a:xfrm>
              <a:off x="2324845" y="3364094"/>
              <a:ext cx="224952" cy="213730"/>
            </a:xfrm>
            <a:custGeom>
              <a:avLst/>
              <a:gdLst/>
              <a:ahLst/>
              <a:cxnLst>
                <a:cxn ang="0">
                  <a:pos x="wd2" y="hd2"/>
                </a:cxn>
                <a:cxn ang="5400000">
                  <a:pos x="wd2" y="hd2"/>
                </a:cxn>
                <a:cxn ang="10800000">
                  <a:pos x="wd2" y="hd2"/>
                </a:cxn>
                <a:cxn ang="16200000">
                  <a:pos x="wd2" y="hd2"/>
                </a:cxn>
              </a:cxnLst>
              <a:rect l="0" t="0" r="r" b="b"/>
              <a:pathLst>
                <a:path w="21396" h="21600" extrusionOk="0">
                  <a:moveTo>
                    <a:pt x="19639" y="784"/>
                  </a:moveTo>
                  <a:cubicBezTo>
                    <a:pt x="18161" y="784"/>
                    <a:pt x="16682" y="511"/>
                    <a:pt x="15236" y="0"/>
                  </a:cubicBezTo>
                  <a:cubicBezTo>
                    <a:pt x="14979" y="784"/>
                    <a:pt x="15236" y="1533"/>
                    <a:pt x="14239" y="1806"/>
                  </a:cubicBezTo>
                  <a:cubicBezTo>
                    <a:pt x="13243" y="2078"/>
                    <a:pt x="12279" y="511"/>
                    <a:pt x="11282" y="784"/>
                  </a:cubicBezTo>
                  <a:cubicBezTo>
                    <a:pt x="10061" y="1022"/>
                    <a:pt x="9579" y="2317"/>
                    <a:pt x="8582" y="3373"/>
                  </a:cubicBezTo>
                  <a:cubicBezTo>
                    <a:pt x="8357" y="3645"/>
                    <a:pt x="7843" y="4156"/>
                    <a:pt x="7618" y="4668"/>
                  </a:cubicBezTo>
                  <a:cubicBezTo>
                    <a:pt x="7618" y="4940"/>
                    <a:pt x="7843" y="5451"/>
                    <a:pt x="7618" y="5451"/>
                  </a:cubicBezTo>
                  <a:cubicBezTo>
                    <a:pt x="6621" y="5996"/>
                    <a:pt x="5400" y="5996"/>
                    <a:pt x="4404" y="6746"/>
                  </a:cubicBezTo>
                  <a:cubicBezTo>
                    <a:pt x="3696" y="7291"/>
                    <a:pt x="3696" y="8585"/>
                    <a:pt x="2957" y="9369"/>
                  </a:cubicBezTo>
                  <a:cubicBezTo>
                    <a:pt x="2218" y="9880"/>
                    <a:pt x="964" y="9608"/>
                    <a:pt x="0" y="9880"/>
                  </a:cubicBezTo>
                  <a:cubicBezTo>
                    <a:pt x="482" y="10664"/>
                    <a:pt x="739" y="11958"/>
                    <a:pt x="1479" y="11958"/>
                  </a:cubicBezTo>
                  <a:cubicBezTo>
                    <a:pt x="2700" y="12231"/>
                    <a:pt x="3921" y="10902"/>
                    <a:pt x="5143" y="10664"/>
                  </a:cubicBezTo>
                  <a:cubicBezTo>
                    <a:pt x="5400" y="10664"/>
                    <a:pt x="5657" y="11447"/>
                    <a:pt x="5400" y="11686"/>
                  </a:cubicBezTo>
                  <a:cubicBezTo>
                    <a:pt x="4918" y="12231"/>
                    <a:pt x="3696" y="12469"/>
                    <a:pt x="3439" y="13253"/>
                  </a:cubicBezTo>
                  <a:cubicBezTo>
                    <a:pt x="3182" y="14037"/>
                    <a:pt x="3921" y="15093"/>
                    <a:pt x="4179" y="16115"/>
                  </a:cubicBezTo>
                  <a:cubicBezTo>
                    <a:pt x="4404" y="16660"/>
                    <a:pt x="5143" y="16660"/>
                    <a:pt x="5400" y="17444"/>
                  </a:cubicBezTo>
                  <a:cubicBezTo>
                    <a:pt x="5400" y="17682"/>
                    <a:pt x="4661" y="17955"/>
                    <a:pt x="4404" y="18466"/>
                  </a:cubicBezTo>
                  <a:cubicBezTo>
                    <a:pt x="4179" y="19249"/>
                    <a:pt x="4179" y="20033"/>
                    <a:pt x="3921" y="20816"/>
                  </a:cubicBezTo>
                  <a:cubicBezTo>
                    <a:pt x="4404" y="20544"/>
                    <a:pt x="4918" y="20816"/>
                    <a:pt x="5143" y="20544"/>
                  </a:cubicBezTo>
                  <a:cubicBezTo>
                    <a:pt x="5882" y="20271"/>
                    <a:pt x="6396" y="19522"/>
                    <a:pt x="7136" y="19249"/>
                  </a:cubicBezTo>
                  <a:cubicBezTo>
                    <a:pt x="8582" y="18738"/>
                    <a:pt x="10061" y="18193"/>
                    <a:pt x="11539" y="18193"/>
                  </a:cubicBezTo>
                  <a:cubicBezTo>
                    <a:pt x="12279" y="18466"/>
                    <a:pt x="12761" y="19522"/>
                    <a:pt x="13500" y="19760"/>
                  </a:cubicBezTo>
                  <a:cubicBezTo>
                    <a:pt x="14721" y="20544"/>
                    <a:pt x="16200" y="21055"/>
                    <a:pt x="17421" y="21600"/>
                  </a:cubicBezTo>
                  <a:cubicBezTo>
                    <a:pt x="17936" y="21055"/>
                    <a:pt x="18643" y="20544"/>
                    <a:pt x="18900" y="20033"/>
                  </a:cubicBezTo>
                  <a:cubicBezTo>
                    <a:pt x="19382" y="19522"/>
                    <a:pt x="18900" y="18738"/>
                    <a:pt x="19382" y="18193"/>
                  </a:cubicBezTo>
                  <a:cubicBezTo>
                    <a:pt x="19896" y="17682"/>
                    <a:pt x="20604" y="17444"/>
                    <a:pt x="21343" y="17171"/>
                  </a:cubicBezTo>
                  <a:cubicBezTo>
                    <a:pt x="20861" y="16387"/>
                    <a:pt x="20379" y="15604"/>
                    <a:pt x="20121" y="14820"/>
                  </a:cubicBezTo>
                  <a:cubicBezTo>
                    <a:pt x="20121" y="14037"/>
                    <a:pt x="20379" y="13526"/>
                    <a:pt x="20604" y="12742"/>
                  </a:cubicBezTo>
                  <a:cubicBezTo>
                    <a:pt x="20861" y="11686"/>
                    <a:pt x="21600" y="10391"/>
                    <a:pt x="21343" y="9608"/>
                  </a:cubicBezTo>
                  <a:cubicBezTo>
                    <a:pt x="20861" y="8824"/>
                    <a:pt x="19382" y="9608"/>
                    <a:pt x="19157" y="9097"/>
                  </a:cubicBezTo>
                  <a:cubicBezTo>
                    <a:pt x="18643" y="8313"/>
                    <a:pt x="19639" y="7291"/>
                    <a:pt x="19639" y="6235"/>
                  </a:cubicBezTo>
                  <a:cubicBezTo>
                    <a:pt x="19639" y="5724"/>
                    <a:pt x="18643" y="5724"/>
                    <a:pt x="18643" y="5213"/>
                  </a:cubicBezTo>
                  <a:cubicBezTo>
                    <a:pt x="18418" y="4940"/>
                    <a:pt x="19157" y="4668"/>
                    <a:pt x="19157" y="4156"/>
                  </a:cubicBezTo>
                  <a:cubicBezTo>
                    <a:pt x="19157" y="3884"/>
                    <a:pt x="18643" y="3373"/>
                    <a:pt x="18643" y="3100"/>
                  </a:cubicBezTo>
                  <a:cubicBezTo>
                    <a:pt x="18900" y="2078"/>
                    <a:pt x="19157" y="1533"/>
                    <a:pt x="19639" y="78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6" name="Shape 2471">
              <a:extLst>
                <a:ext uri="{FF2B5EF4-FFF2-40B4-BE49-F238E27FC236}">
                  <a16:creationId xmlns:a16="http://schemas.microsoft.com/office/drawing/2014/main" id="{9CD6AD3B-E464-7064-5E98-439ACC496D5E}"/>
                </a:ext>
              </a:extLst>
            </p:cNvPr>
            <p:cNvSpPr/>
            <p:nvPr/>
          </p:nvSpPr>
          <p:spPr>
            <a:xfrm>
              <a:off x="2121197" y="3338823"/>
              <a:ext cx="261190" cy="276165"/>
            </a:xfrm>
            <a:custGeom>
              <a:avLst/>
              <a:gdLst/>
              <a:ahLst/>
              <a:cxnLst>
                <a:cxn ang="0">
                  <a:pos x="wd2" y="hd2"/>
                </a:cxn>
                <a:cxn ang="5400000">
                  <a:pos x="wd2" y="hd2"/>
                </a:cxn>
                <a:cxn ang="10800000">
                  <a:pos x="wd2" y="hd2"/>
                </a:cxn>
                <a:cxn ang="16200000">
                  <a:pos x="wd2" y="hd2"/>
                </a:cxn>
              </a:cxnLst>
              <a:rect l="0" t="0" r="r" b="b"/>
              <a:pathLst>
                <a:path w="21470" h="21600" extrusionOk="0">
                  <a:moveTo>
                    <a:pt x="8457" y="0"/>
                  </a:moveTo>
                  <a:cubicBezTo>
                    <a:pt x="8457" y="607"/>
                    <a:pt x="8041" y="1030"/>
                    <a:pt x="8235" y="1426"/>
                  </a:cubicBezTo>
                  <a:cubicBezTo>
                    <a:pt x="8457" y="1822"/>
                    <a:pt x="9095" y="1426"/>
                    <a:pt x="9511" y="1822"/>
                  </a:cubicBezTo>
                  <a:cubicBezTo>
                    <a:pt x="9927" y="1822"/>
                    <a:pt x="10148" y="2218"/>
                    <a:pt x="10148" y="2429"/>
                  </a:cubicBezTo>
                  <a:cubicBezTo>
                    <a:pt x="10148" y="2825"/>
                    <a:pt x="9732" y="3222"/>
                    <a:pt x="9927" y="3222"/>
                  </a:cubicBezTo>
                  <a:cubicBezTo>
                    <a:pt x="10370" y="3644"/>
                    <a:pt x="11008" y="3037"/>
                    <a:pt x="11424" y="3433"/>
                  </a:cubicBezTo>
                  <a:cubicBezTo>
                    <a:pt x="11840" y="3644"/>
                    <a:pt x="11424" y="4647"/>
                    <a:pt x="12062" y="4859"/>
                  </a:cubicBezTo>
                  <a:cubicBezTo>
                    <a:pt x="12921" y="5255"/>
                    <a:pt x="14613" y="4251"/>
                    <a:pt x="15250" y="5044"/>
                  </a:cubicBezTo>
                  <a:cubicBezTo>
                    <a:pt x="15666" y="5651"/>
                    <a:pt x="13115" y="5862"/>
                    <a:pt x="13337" y="6681"/>
                  </a:cubicBezTo>
                  <a:cubicBezTo>
                    <a:pt x="13337" y="7684"/>
                    <a:pt x="14807" y="7869"/>
                    <a:pt x="15444" y="8688"/>
                  </a:cubicBezTo>
                  <a:cubicBezTo>
                    <a:pt x="15860" y="8872"/>
                    <a:pt x="15860" y="9295"/>
                    <a:pt x="16082" y="9480"/>
                  </a:cubicBezTo>
                  <a:cubicBezTo>
                    <a:pt x="16304" y="9691"/>
                    <a:pt x="16498" y="9691"/>
                    <a:pt x="16720" y="9691"/>
                  </a:cubicBezTo>
                  <a:cubicBezTo>
                    <a:pt x="17136" y="10298"/>
                    <a:pt x="17358" y="11302"/>
                    <a:pt x="17995" y="11302"/>
                  </a:cubicBezTo>
                  <a:cubicBezTo>
                    <a:pt x="19049" y="11513"/>
                    <a:pt x="20103" y="10483"/>
                    <a:pt x="21156" y="10298"/>
                  </a:cubicBezTo>
                  <a:cubicBezTo>
                    <a:pt x="21378" y="10298"/>
                    <a:pt x="21600" y="10906"/>
                    <a:pt x="21378" y="11090"/>
                  </a:cubicBezTo>
                  <a:cubicBezTo>
                    <a:pt x="20962" y="11513"/>
                    <a:pt x="19909" y="11698"/>
                    <a:pt x="19687" y="12305"/>
                  </a:cubicBezTo>
                  <a:cubicBezTo>
                    <a:pt x="19465" y="12912"/>
                    <a:pt x="20103" y="13731"/>
                    <a:pt x="20325" y="14523"/>
                  </a:cubicBezTo>
                  <a:cubicBezTo>
                    <a:pt x="20519" y="14946"/>
                    <a:pt x="21156" y="14946"/>
                    <a:pt x="21378" y="15553"/>
                  </a:cubicBezTo>
                  <a:cubicBezTo>
                    <a:pt x="21378" y="15738"/>
                    <a:pt x="20740" y="15949"/>
                    <a:pt x="20519" y="16345"/>
                  </a:cubicBezTo>
                  <a:cubicBezTo>
                    <a:pt x="20325" y="16953"/>
                    <a:pt x="20325" y="17560"/>
                    <a:pt x="20103" y="18167"/>
                  </a:cubicBezTo>
                  <a:cubicBezTo>
                    <a:pt x="18827" y="18563"/>
                    <a:pt x="17552" y="18959"/>
                    <a:pt x="16304" y="19382"/>
                  </a:cubicBezTo>
                  <a:cubicBezTo>
                    <a:pt x="15444" y="19567"/>
                    <a:pt x="14613" y="19382"/>
                    <a:pt x="13753" y="19989"/>
                  </a:cubicBezTo>
                  <a:cubicBezTo>
                    <a:pt x="13337" y="20174"/>
                    <a:pt x="13531" y="21389"/>
                    <a:pt x="12921" y="21600"/>
                  </a:cubicBezTo>
                  <a:cubicBezTo>
                    <a:pt x="12283" y="21600"/>
                    <a:pt x="12283" y="20597"/>
                    <a:pt x="11840" y="20385"/>
                  </a:cubicBezTo>
                  <a:cubicBezTo>
                    <a:pt x="10370" y="18959"/>
                    <a:pt x="8679" y="18167"/>
                    <a:pt x="7182" y="16741"/>
                  </a:cubicBezTo>
                  <a:cubicBezTo>
                    <a:pt x="6987" y="16556"/>
                    <a:pt x="7625" y="16134"/>
                    <a:pt x="7403" y="15949"/>
                  </a:cubicBezTo>
                  <a:cubicBezTo>
                    <a:pt x="6544" y="15131"/>
                    <a:pt x="5490" y="14734"/>
                    <a:pt x="4436" y="13916"/>
                  </a:cubicBezTo>
                  <a:cubicBezTo>
                    <a:pt x="2523" y="12516"/>
                    <a:pt x="2523" y="12516"/>
                    <a:pt x="2523" y="12516"/>
                  </a:cubicBezTo>
                  <a:cubicBezTo>
                    <a:pt x="1885" y="11302"/>
                    <a:pt x="1885" y="11302"/>
                    <a:pt x="1885" y="11302"/>
                  </a:cubicBezTo>
                  <a:cubicBezTo>
                    <a:pt x="0" y="10906"/>
                    <a:pt x="0" y="10906"/>
                    <a:pt x="0" y="10906"/>
                  </a:cubicBezTo>
                  <a:cubicBezTo>
                    <a:pt x="0" y="9480"/>
                    <a:pt x="0" y="9480"/>
                    <a:pt x="0" y="9480"/>
                  </a:cubicBezTo>
                  <a:cubicBezTo>
                    <a:pt x="610" y="9480"/>
                    <a:pt x="1248" y="9295"/>
                    <a:pt x="1691" y="9295"/>
                  </a:cubicBezTo>
                  <a:cubicBezTo>
                    <a:pt x="1470" y="8872"/>
                    <a:pt x="610" y="8291"/>
                    <a:pt x="1054" y="8291"/>
                  </a:cubicBezTo>
                  <a:cubicBezTo>
                    <a:pt x="2107" y="7869"/>
                    <a:pt x="3161" y="8688"/>
                    <a:pt x="4021" y="8476"/>
                  </a:cubicBezTo>
                  <a:cubicBezTo>
                    <a:pt x="4436" y="8476"/>
                    <a:pt x="4215" y="7869"/>
                    <a:pt x="4436" y="7684"/>
                  </a:cubicBezTo>
                  <a:cubicBezTo>
                    <a:pt x="5074" y="7473"/>
                    <a:pt x="6128" y="7869"/>
                    <a:pt x="6766" y="7262"/>
                  </a:cubicBezTo>
                  <a:cubicBezTo>
                    <a:pt x="7182" y="7077"/>
                    <a:pt x="6350" y="6469"/>
                    <a:pt x="6350" y="5862"/>
                  </a:cubicBezTo>
                  <a:cubicBezTo>
                    <a:pt x="6544" y="5651"/>
                    <a:pt x="6987" y="5466"/>
                    <a:pt x="7182" y="5255"/>
                  </a:cubicBezTo>
                  <a:cubicBezTo>
                    <a:pt x="7182" y="4859"/>
                    <a:pt x="7182" y="4251"/>
                    <a:pt x="6987" y="4436"/>
                  </a:cubicBezTo>
                  <a:cubicBezTo>
                    <a:pt x="5934" y="4436"/>
                    <a:pt x="5074" y="5466"/>
                    <a:pt x="4021" y="5651"/>
                  </a:cubicBezTo>
                  <a:cubicBezTo>
                    <a:pt x="3799" y="5651"/>
                    <a:pt x="4436" y="5044"/>
                    <a:pt x="4436" y="4647"/>
                  </a:cubicBezTo>
                  <a:cubicBezTo>
                    <a:pt x="4436" y="4251"/>
                    <a:pt x="4436" y="3829"/>
                    <a:pt x="4215" y="3644"/>
                  </a:cubicBezTo>
                  <a:cubicBezTo>
                    <a:pt x="4021" y="3037"/>
                    <a:pt x="3383" y="2825"/>
                    <a:pt x="3161" y="2218"/>
                  </a:cubicBezTo>
                  <a:cubicBezTo>
                    <a:pt x="2939" y="2033"/>
                    <a:pt x="2939" y="1822"/>
                    <a:pt x="2939" y="1426"/>
                  </a:cubicBezTo>
                  <a:cubicBezTo>
                    <a:pt x="3577" y="1215"/>
                    <a:pt x="4215" y="1215"/>
                    <a:pt x="4852" y="819"/>
                  </a:cubicBezTo>
                  <a:cubicBezTo>
                    <a:pt x="5074" y="819"/>
                    <a:pt x="5074" y="211"/>
                    <a:pt x="5296" y="211"/>
                  </a:cubicBezTo>
                  <a:cubicBezTo>
                    <a:pt x="6350" y="0"/>
                    <a:pt x="7403" y="211"/>
                    <a:pt x="845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7" name="Shape 2472">
              <a:extLst>
                <a:ext uri="{FF2B5EF4-FFF2-40B4-BE49-F238E27FC236}">
                  <a16:creationId xmlns:a16="http://schemas.microsoft.com/office/drawing/2014/main" id="{514DA13B-4336-7075-446E-4B10DA43938B}"/>
                </a:ext>
              </a:extLst>
            </p:cNvPr>
            <p:cNvSpPr/>
            <p:nvPr/>
          </p:nvSpPr>
          <p:spPr>
            <a:xfrm>
              <a:off x="1896740" y="3289766"/>
              <a:ext cx="140880" cy="178051"/>
            </a:xfrm>
            <a:custGeom>
              <a:avLst/>
              <a:gdLst/>
              <a:ahLst/>
              <a:cxnLst>
                <a:cxn ang="0">
                  <a:pos x="wd2" y="hd2"/>
                </a:cxn>
                <a:cxn ang="5400000">
                  <a:pos x="wd2" y="hd2"/>
                </a:cxn>
                <a:cxn ang="10800000">
                  <a:pos x="wd2" y="hd2"/>
                </a:cxn>
                <a:cxn ang="16200000">
                  <a:pos x="wd2" y="hd2"/>
                </a:cxn>
              </a:cxnLst>
              <a:rect l="0" t="0" r="r" b="b"/>
              <a:pathLst>
                <a:path w="21600" h="21600" extrusionOk="0">
                  <a:moveTo>
                    <a:pt x="4320" y="0"/>
                  </a:moveTo>
                  <a:cubicBezTo>
                    <a:pt x="5503" y="328"/>
                    <a:pt x="6686" y="615"/>
                    <a:pt x="8229" y="943"/>
                  </a:cubicBezTo>
                  <a:cubicBezTo>
                    <a:pt x="8640" y="943"/>
                    <a:pt x="9411" y="615"/>
                    <a:pt x="9823" y="943"/>
                  </a:cubicBezTo>
                  <a:cubicBezTo>
                    <a:pt x="10594" y="943"/>
                    <a:pt x="10594" y="1557"/>
                    <a:pt x="11417" y="1885"/>
                  </a:cubicBezTo>
                  <a:cubicBezTo>
                    <a:pt x="12189" y="2213"/>
                    <a:pt x="13731" y="1557"/>
                    <a:pt x="14143" y="2500"/>
                  </a:cubicBezTo>
                  <a:cubicBezTo>
                    <a:pt x="14554" y="2828"/>
                    <a:pt x="12549" y="2828"/>
                    <a:pt x="12189" y="3443"/>
                  </a:cubicBezTo>
                  <a:cubicBezTo>
                    <a:pt x="12189" y="5328"/>
                    <a:pt x="12960" y="6886"/>
                    <a:pt x="13731" y="8443"/>
                  </a:cubicBezTo>
                  <a:cubicBezTo>
                    <a:pt x="14143" y="8771"/>
                    <a:pt x="14914" y="8156"/>
                    <a:pt x="15326" y="8443"/>
                  </a:cubicBezTo>
                  <a:cubicBezTo>
                    <a:pt x="16509" y="9386"/>
                    <a:pt x="16509" y="10657"/>
                    <a:pt x="17691" y="11599"/>
                  </a:cubicBezTo>
                  <a:cubicBezTo>
                    <a:pt x="18051" y="11886"/>
                    <a:pt x="18874" y="11886"/>
                    <a:pt x="19234" y="12214"/>
                  </a:cubicBezTo>
                  <a:cubicBezTo>
                    <a:pt x="20829" y="14714"/>
                    <a:pt x="20829" y="14714"/>
                    <a:pt x="20829" y="14714"/>
                  </a:cubicBezTo>
                  <a:cubicBezTo>
                    <a:pt x="21189" y="17870"/>
                    <a:pt x="21189" y="17870"/>
                    <a:pt x="21189" y="17870"/>
                  </a:cubicBezTo>
                  <a:cubicBezTo>
                    <a:pt x="21189" y="18813"/>
                    <a:pt x="21600" y="19428"/>
                    <a:pt x="21600" y="20370"/>
                  </a:cubicBezTo>
                  <a:cubicBezTo>
                    <a:pt x="21600" y="20657"/>
                    <a:pt x="20829" y="20985"/>
                    <a:pt x="20417" y="21600"/>
                  </a:cubicBezTo>
                  <a:cubicBezTo>
                    <a:pt x="19234" y="20985"/>
                    <a:pt x="18051" y="20370"/>
                    <a:pt x="16920" y="19715"/>
                  </a:cubicBezTo>
                  <a:cubicBezTo>
                    <a:pt x="15326" y="18813"/>
                    <a:pt x="14554" y="17542"/>
                    <a:pt x="12960" y="16928"/>
                  </a:cubicBezTo>
                  <a:cubicBezTo>
                    <a:pt x="9051" y="15985"/>
                    <a:pt x="5091" y="16313"/>
                    <a:pt x="1183" y="15985"/>
                  </a:cubicBezTo>
                  <a:cubicBezTo>
                    <a:pt x="1954" y="15042"/>
                    <a:pt x="3137" y="14099"/>
                    <a:pt x="3137" y="13157"/>
                  </a:cubicBezTo>
                  <a:cubicBezTo>
                    <a:pt x="3549" y="12542"/>
                    <a:pt x="3137" y="11599"/>
                    <a:pt x="2777" y="10943"/>
                  </a:cubicBezTo>
                  <a:cubicBezTo>
                    <a:pt x="1954" y="10042"/>
                    <a:pt x="0" y="9386"/>
                    <a:pt x="0" y="8443"/>
                  </a:cubicBezTo>
                  <a:cubicBezTo>
                    <a:pt x="0" y="7828"/>
                    <a:pt x="1954" y="8443"/>
                    <a:pt x="2777" y="8156"/>
                  </a:cubicBezTo>
                  <a:cubicBezTo>
                    <a:pt x="3549" y="7828"/>
                    <a:pt x="4320" y="7214"/>
                    <a:pt x="4320" y="6599"/>
                  </a:cubicBezTo>
                  <a:cubicBezTo>
                    <a:pt x="4731" y="5656"/>
                    <a:pt x="3549" y="4713"/>
                    <a:pt x="3137" y="3771"/>
                  </a:cubicBezTo>
                  <a:cubicBezTo>
                    <a:pt x="3137" y="2500"/>
                    <a:pt x="3909" y="1271"/>
                    <a:pt x="4320"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8" name="Shape 2473">
              <a:extLst>
                <a:ext uri="{FF2B5EF4-FFF2-40B4-BE49-F238E27FC236}">
                  <a16:creationId xmlns:a16="http://schemas.microsoft.com/office/drawing/2014/main" id="{0C839A4B-EE3B-E15F-9BFF-86A96372C6BA}"/>
                </a:ext>
              </a:extLst>
            </p:cNvPr>
            <p:cNvSpPr/>
            <p:nvPr/>
          </p:nvSpPr>
          <p:spPr>
            <a:xfrm>
              <a:off x="2030524" y="3430092"/>
              <a:ext cx="143852" cy="132868"/>
            </a:xfrm>
            <a:custGeom>
              <a:avLst/>
              <a:gdLst/>
              <a:ahLst/>
              <a:cxnLst>
                <a:cxn ang="0">
                  <a:pos x="wd2" y="hd2"/>
                </a:cxn>
                <a:cxn ang="5400000">
                  <a:pos x="wd2" y="hd2"/>
                </a:cxn>
                <a:cxn ang="10800000">
                  <a:pos x="wd2" y="hd2"/>
                </a:cxn>
                <a:cxn ang="16200000">
                  <a:pos x="wd2" y="hd2"/>
                </a:cxn>
              </a:cxnLst>
              <a:rect l="0" t="0" r="r" b="b"/>
              <a:pathLst>
                <a:path w="21600" h="21505" extrusionOk="0">
                  <a:moveTo>
                    <a:pt x="757" y="1156"/>
                  </a:moveTo>
                  <a:cubicBezTo>
                    <a:pt x="1564" y="1537"/>
                    <a:pt x="2725" y="1156"/>
                    <a:pt x="3482" y="1973"/>
                  </a:cubicBezTo>
                  <a:cubicBezTo>
                    <a:pt x="3886" y="1973"/>
                    <a:pt x="3079" y="2789"/>
                    <a:pt x="3482" y="3605"/>
                  </a:cubicBezTo>
                  <a:cubicBezTo>
                    <a:pt x="3482" y="4040"/>
                    <a:pt x="4239" y="4040"/>
                    <a:pt x="4643" y="4040"/>
                  </a:cubicBezTo>
                  <a:cubicBezTo>
                    <a:pt x="5804" y="4040"/>
                    <a:pt x="6964" y="3605"/>
                    <a:pt x="7318" y="2789"/>
                  </a:cubicBezTo>
                  <a:cubicBezTo>
                    <a:pt x="7721" y="2408"/>
                    <a:pt x="6964" y="1156"/>
                    <a:pt x="7721" y="286"/>
                  </a:cubicBezTo>
                  <a:cubicBezTo>
                    <a:pt x="7721" y="-95"/>
                    <a:pt x="8479" y="-95"/>
                    <a:pt x="8882" y="286"/>
                  </a:cubicBezTo>
                  <a:cubicBezTo>
                    <a:pt x="10043" y="1156"/>
                    <a:pt x="10447" y="2408"/>
                    <a:pt x="11204" y="3605"/>
                  </a:cubicBezTo>
                  <a:cubicBezTo>
                    <a:pt x="11557" y="4040"/>
                    <a:pt x="11557" y="4856"/>
                    <a:pt x="11961" y="4856"/>
                  </a:cubicBezTo>
                  <a:cubicBezTo>
                    <a:pt x="12364" y="4856"/>
                    <a:pt x="13121" y="4856"/>
                    <a:pt x="13525" y="4856"/>
                  </a:cubicBezTo>
                  <a:cubicBezTo>
                    <a:pt x="13525" y="7794"/>
                    <a:pt x="13525" y="7794"/>
                    <a:pt x="13525" y="7794"/>
                  </a:cubicBezTo>
                  <a:cubicBezTo>
                    <a:pt x="16957" y="8610"/>
                    <a:pt x="16957" y="8610"/>
                    <a:pt x="16957" y="8610"/>
                  </a:cubicBezTo>
                  <a:cubicBezTo>
                    <a:pt x="18118" y="11113"/>
                    <a:pt x="18118" y="11113"/>
                    <a:pt x="18118" y="11113"/>
                  </a:cubicBezTo>
                  <a:cubicBezTo>
                    <a:pt x="21600" y="13997"/>
                    <a:pt x="21600" y="13997"/>
                    <a:pt x="21600" y="13997"/>
                  </a:cubicBezTo>
                  <a:cubicBezTo>
                    <a:pt x="21600" y="14432"/>
                    <a:pt x="21600" y="14432"/>
                    <a:pt x="21600" y="14432"/>
                  </a:cubicBezTo>
                  <a:cubicBezTo>
                    <a:pt x="21196" y="14867"/>
                    <a:pt x="20843" y="15683"/>
                    <a:pt x="20439" y="16119"/>
                  </a:cubicBezTo>
                  <a:cubicBezTo>
                    <a:pt x="19279" y="16499"/>
                    <a:pt x="18118" y="16499"/>
                    <a:pt x="16957" y="15683"/>
                  </a:cubicBezTo>
                  <a:cubicBezTo>
                    <a:pt x="16200" y="15683"/>
                    <a:pt x="16200" y="13997"/>
                    <a:pt x="15443" y="13616"/>
                  </a:cubicBezTo>
                  <a:cubicBezTo>
                    <a:pt x="14636" y="13181"/>
                    <a:pt x="13525" y="13181"/>
                    <a:pt x="12364" y="13616"/>
                  </a:cubicBezTo>
                  <a:cubicBezTo>
                    <a:pt x="11961" y="13997"/>
                    <a:pt x="11557" y="15248"/>
                    <a:pt x="11961" y="16119"/>
                  </a:cubicBezTo>
                  <a:cubicBezTo>
                    <a:pt x="12364" y="17370"/>
                    <a:pt x="14282" y="18186"/>
                    <a:pt x="13879" y="19437"/>
                  </a:cubicBezTo>
                  <a:cubicBezTo>
                    <a:pt x="13525" y="20689"/>
                    <a:pt x="11961" y="21070"/>
                    <a:pt x="10800" y="21505"/>
                  </a:cubicBezTo>
                  <a:cubicBezTo>
                    <a:pt x="10447" y="21505"/>
                    <a:pt x="9639" y="21505"/>
                    <a:pt x="9286" y="21070"/>
                  </a:cubicBezTo>
                  <a:cubicBezTo>
                    <a:pt x="8882" y="20254"/>
                    <a:pt x="9639" y="18186"/>
                    <a:pt x="8479" y="17751"/>
                  </a:cubicBezTo>
                  <a:cubicBezTo>
                    <a:pt x="7721" y="16935"/>
                    <a:pt x="6157" y="17370"/>
                    <a:pt x="5400" y="17751"/>
                  </a:cubicBezTo>
                  <a:cubicBezTo>
                    <a:pt x="4239" y="18186"/>
                    <a:pt x="4239" y="19818"/>
                    <a:pt x="3482" y="20254"/>
                  </a:cubicBezTo>
                  <a:cubicBezTo>
                    <a:pt x="2725" y="20689"/>
                    <a:pt x="1564" y="20689"/>
                    <a:pt x="1161" y="20254"/>
                  </a:cubicBezTo>
                  <a:cubicBezTo>
                    <a:pt x="404" y="19002"/>
                    <a:pt x="757" y="17370"/>
                    <a:pt x="757" y="16119"/>
                  </a:cubicBezTo>
                  <a:cubicBezTo>
                    <a:pt x="757" y="14867"/>
                    <a:pt x="1161" y="13616"/>
                    <a:pt x="1161" y="12364"/>
                  </a:cubicBezTo>
                  <a:cubicBezTo>
                    <a:pt x="1161" y="11929"/>
                    <a:pt x="757" y="11548"/>
                    <a:pt x="757" y="11113"/>
                  </a:cubicBezTo>
                  <a:cubicBezTo>
                    <a:pt x="757" y="10678"/>
                    <a:pt x="1564" y="10678"/>
                    <a:pt x="1918" y="10297"/>
                  </a:cubicBezTo>
                  <a:cubicBezTo>
                    <a:pt x="1918" y="9426"/>
                    <a:pt x="1918" y="8610"/>
                    <a:pt x="1564" y="7794"/>
                  </a:cubicBezTo>
                  <a:cubicBezTo>
                    <a:pt x="1161" y="6924"/>
                    <a:pt x="404" y="6543"/>
                    <a:pt x="0" y="6108"/>
                  </a:cubicBezTo>
                  <a:cubicBezTo>
                    <a:pt x="404" y="5291"/>
                    <a:pt x="1161" y="4856"/>
                    <a:pt x="1161" y="4475"/>
                  </a:cubicBezTo>
                  <a:cubicBezTo>
                    <a:pt x="1161" y="3224"/>
                    <a:pt x="757" y="2408"/>
                    <a:pt x="757" y="115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19" name="Shape 2474">
              <a:extLst>
                <a:ext uri="{FF2B5EF4-FFF2-40B4-BE49-F238E27FC236}">
                  <a16:creationId xmlns:a16="http://schemas.microsoft.com/office/drawing/2014/main" id="{91926AC3-4ABF-D884-C2AC-290BC40C398C}"/>
                </a:ext>
              </a:extLst>
            </p:cNvPr>
            <p:cNvSpPr/>
            <p:nvPr/>
          </p:nvSpPr>
          <p:spPr>
            <a:xfrm>
              <a:off x="2023090" y="3338823"/>
              <a:ext cx="185474" cy="121157"/>
            </a:xfrm>
            <a:custGeom>
              <a:avLst/>
              <a:gdLst/>
              <a:ahLst/>
              <a:cxnLst>
                <a:cxn ang="0">
                  <a:pos x="wd2" y="hd2"/>
                </a:cxn>
                <a:cxn ang="5400000">
                  <a:pos x="wd2" y="hd2"/>
                </a:cxn>
                <a:cxn ang="10800000">
                  <a:pos x="wd2" y="hd2"/>
                </a:cxn>
                <a:cxn ang="16200000">
                  <a:pos x="wd2" y="hd2"/>
                </a:cxn>
              </a:cxnLst>
              <a:rect l="0" t="0" r="r" b="b"/>
              <a:pathLst>
                <a:path w="21600" h="21267" extrusionOk="0">
                  <a:moveTo>
                    <a:pt x="13824" y="20717"/>
                  </a:moveTo>
                  <a:cubicBezTo>
                    <a:pt x="13510" y="19775"/>
                    <a:pt x="12292" y="18481"/>
                    <a:pt x="12921" y="18481"/>
                  </a:cubicBezTo>
                  <a:cubicBezTo>
                    <a:pt x="14413" y="17539"/>
                    <a:pt x="15905" y="19363"/>
                    <a:pt x="17123" y="18893"/>
                  </a:cubicBezTo>
                  <a:cubicBezTo>
                    <a:pt x="17712" y="18893"/>
                    <a:pt x="17398" y="17539"/>
                    <a:pt x="17712" y="17127"/>
                  </a:cubicBezTo>
                  <a:cubicBezTo>
                    <a:pt x="18615" y="16656"/>
                    <a:pt x="20108" y="17539"/>
                    <a:pt x="21011" y="16185"/>
                  </a:cubicBezTo>
                  <a:cubicBezTo>
                    <a:pt x="21600" y="15773"/>
                    <a:pt x="20422" y="14420"/>
                    <a:pt x="20422" y="13066"/>
                  </a:cubicBezTo>
                  <a:cubicBezTo>
                    <a:pt x="20697" y="12595"/>
                    <a:pt x="21325" y="12183"/>
                    <a:pt x="21600" y="11712"/>
                  </a:cubicBezTo>
                  <a:cubicBezTo>
                    <a:pt x="21600" y="10829"/>
                    <a:pt x="21600" y="9476"/>
                    <a:pt x="21325" y="9888"/>
                  </a:cubicBezTo>
                  <a:cubicBezTo>
                    <a:pt x="19833" y="9888"/>
                    <a:pt x="18615" y="12183"/>
                    <a:pt x="17123" y="12595"/>
                  </a:cubicBezTo>
                  <a:cubicBezTo>
                    <a:pt x="16809" y="12595"/>
                    <a:pt x="17712" y="11241"/>
                    <a:pt x="17712" y="10359"/>
                  </a:cubicBezTo>
                  <a:cubicBezTo>
                    <a:pt x="17712" y="9476"/>
                    <a:pt x="17712" y="8534"/>
                    <a:pt x="17398" y="8122"/>
                  </a:cubicBezTo>
                  <a:cubicBezTo>
                    <a:pt x="17123" y="6768"/>
                    <a:pt x="16220" y="6298"/>
                    <a:pt x="15905" y="4944"/>
                  </a:cubicBezTo>
                  <a:cubicBezTo>
                    <a:pt x="15591" y="4532"/>
                    <a:pt x="15591" y="4061"/>
                    <a:pt x="15591" y="3178"/>
                  </a:cubicBezTo>
                  <a:cubicBezTo>
                    <a:pt x="15316" y="2295"/>
                    <a:pt x="15591" y="0"/>
                    <a:pt x="15002" y="0"/>
                  </a:cubicBezTo>
                  <a:cubicBezTo>
                    <a:pt x="14099" y="0"/>
                    <a:pt x="13824" y="2295"/>
                    <a:pt x="12921" y="2707"/>
                  </a:cubicBezTo>
                  <a:cubicBezTo>
                    <a:pt x="12292" y="3178"/>
                    <a:pt x="11703" y="1825"/>
                    <a:pt x="11428" y="1354"/>
                  </a:cubicBezTo>
                  <a:cubicBezTo>
                    <a:pt x="10800" y="1354"/>
                    <a:pt x="9897" y="1825"/>
                    <a:pt x="9622" y="1354"/>
                  </a:cubicBezTo>
                  <a:cubicBezTo>
                    <a:pt x="8719" y="1354"/>
                    <a:pt x="8129" y="471"/>
                    <a:pt x="7501" y="0"/>
                  </a:cubicBezTo>
                  <a:cubicBezTo>
                    <a:pt x="7226" y="0"/>
                    <a:pt x="6912" y="471"/>
                    <a:pt x="6912" y="942"/>
                  </a:cubicBezTo>
                  <a:cubicBezTo>
                    <a:pt x="6912" y="2295"/>
                    <a:pt x="7815" y="4061"/>
                    <a:pt x="7815" y="5415"/>
                  </a:cubicBezTo>
                  <a:cubicBezTo>
                    <a:pt x="8129" y="6298"/>
                    <a:pt x="8129" y="7651"/>
                    <a:pt x="8129" y="8122"/>
                  </a:cubicBezTo>
                  <a:cubicBezTo>
                    <a:pt x="7501" y="9476"/>
                    <a:pt x="7226" y="10829"/>
                    <a:pt x="6323" y="11241"/>
                  </a:cubicBezTo>
                  <a:cubicBezTo>
                    <a:pt x="5695" y="11712"/>
                    <a:pt x="4791" y="11712"/>
                    <a:pt x="4516" y="10829"/>
                  </a:cubicBezTo>
                  <a:cubicBezTo>
                    <a:pt x="3613" y="10359"/>
                    <a:pt x="3299" y="8122"/>
                    <a:pt x="2396" y="7651"/>
                  </a:cubicBezTo>
                  <a:cubicBezTo>
                    <a:pt x="1492" y="7180"/>
                    <a:pt x="903" y="8534"/>
                    <a:pt x="0" y="9005"/>
                  </a:cubicBezTo>
                  <a:cubicBezTo>
                    <a:pt x="1217" y="12595"/>
                    <a:pt x="1217" y="12595"/>
                    <a:pt x="1217" y="12595"/>
                  </a:cubicBezTo>
                  <a:cubicBezTo>
                    <a:pt x="1492" y="17127"/>
                    <a:pt x="1492" y="17127"/>
                    <a:pt x="1492" y="17127"/>
                  </a:cubicBezTo>
                  <a:cubicBezTo>
                    <a:pt x="2121" y="17539"/>
                    <a:pt x="3024" y="17127"/>
                    <a:pt x="3613" y="18010"/>
                  </a:cubicBezTo>
                  <a:cubicBezTo>
                    <a:pt x="3927" y="18010"/>
                    <a:pt x="3299" y="18893"/>
                    <a:pt x="3613" y="19775"/>
                  </a:cubicBezTo>
                  <a:cubicBezTo>
                    <a:pt x="3613" y="20246"/>
                    <a:pt x="4202" y="20246"/>
                    <a:pt x="4516" y="20246"/>
                  </a:cubicBezTo>
                  <a:cubicBezTo>
                    <a:pt x="5420" y="20246"/>
                    <a:pt x="6323" y="19775"/>
                    <a:pt x="6598" y="18893"/>
                  </a:cubicBezTo>
                  <a:cubicBezTo>
                    <a:pt x="6912" y="18481"/>
                    <a:pt x="6323" y="17127"/>
                    <a:pt x="6912" y="16185"/>
                  </a:cubicBezTo>
                  <a:cubicBezTo>
                    <a:pt x="6912" y="15773"/>
                    <a:pt x="7501" y="15773"/>
                    <a:pt x="7815" y="16185"/>
                  </a:cubicBezTo>
                  <a:cubicBezTo>
                    <a:pt x="8719" y="17127"/>
                    <a:pt x="9033" y="18481"/>
                    <a:pt x="9622" y="19775"/>
                  </a:cubicBezTo>
                  <a:cubicBezTo>
                    <a:pt x="9897" y="20246"/>
                    <a:pt x="9897" y="21129"/>
                    <a:pt x="10211" y="21129"/>
                  </a:cubicBezTo>
                  <a:cubicBezTo>
                    <a:pt x="11428" y="21600"/>
                    <a:pt x="12607" y="20717"/>
                    <a:pt x="13824" y="2071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0" name="Shape 2475">
              <a:extLst>
                <a:ext uri="{FF2B5EF4-FFF2-40B4-BE49-F238E27FC236}">
                  <a16:creationId xmlns:a16="http://schemas.microsoft.com/office/drawing/2014/main" id="{BA9E58C1-0CAD-CFFA-06A6-FDEA88E5BE81}"/>
                </a:ext>
              </a:extLst>
            </p:cNvPr>
            <p:cNvSpPr/>
            <p:nvPr/>
          </p:nvSpPr>
          <p:spPr>
            <a:xfrm>
              <a:off x="1745119" y="3406885"/>
              <a:ext cx="176141" cy="105380"/>
            </a:xfrm>
            <a:custGeom>
              <a:avLst/>
              <a:gdLst/>
              <a:ahLst/>
              <a:cxnLst>
                <a:cxn ang="0">
                  <a:pos x="wd2" y="hd2"/>
                </a:cxn>
                <a:cxn ang="5400000">
                  <a:pos x="wd2" y="hd2"/>
                </a:cxn>
                <a:cxn ang="10800000">
                  <a:pos x="wd2" y="hd2"/>
                </a:cxn>
                <a:cxn ang="16200000">
                  <a:pos x="wd2" y="hd2"/>
                </a:cxn>
              </a:cxnLst>
              <a:rect l="0" t="0" r="r" b="b"/>
              <a:pathLst>
                <a:path w="21369" h="20478" extrusionOk="0">
                  <a:moveTo>
                    <a:pt x="19428" y="5761"/>
                  </a:moveTo>
                  <a:cubicBezTo>
                    <a:pt x="19428" y="6221"/>
                    <a:pt x="19428" y="6221"/>
                    <a:pt x="19756" y="6746"/>
                  </a:cubicBezTo>
                  <a:cubicBezTo>
                    <a:pt x="19756" y="7731"/>
                    <a:pt x="20698" y="7271"/>
                    <a:pt x="20698" y="8256"/>
                  </a:cubicBezTo>
                  <a:cubicBezTo>
                    <a:pt x="20985" y="9241"/>
                    <a:pt x="20698" y="10751"/>
                    <a:pt x="20698" y="12261"/>
                  </a:cubicBezTo>
                  <a:cubicBezTo>
                    <a:pt x="20698" y="13246"/>
                    <a:pt x="21600" y="14231"/>
                    <a:pt x="21313" y="15281"/>
                  </a:cubicBezTo>
                  <a:cubicBezTo>
                    <a:pt x="20985" y="16266"/>
                    <a:pt x="20043" y="16266"/>
                    <a:pt x="19756" y="17251"/>
                  </a:cubicBezTo>
                  <a:cubicBezTo>
                    <a:pt x="19100" y="17776"/>
                    <a:pt x="19756" y="19811"/>
                    <a:pt x="18813" y="20271"/>
                  </a:cubicBezTo>
                  <a:cubicBezTo>
                    <a:pt x="17870" y="20796"/>
                    <a:pt x="16600" y="20271"/>
                    <a:pt x="15370" y="19286"/>
                  </a:cubicBezTo>
                  <a:cubicBezTo>
                    <a:pt x="14714" y="19286"/>
                    <a:pt x="14427" y="17776"/>
                    <a:pt x="13772" y="17776"/>
                  </a:cubicBezTo>
                  <a:cubicBezTo>
                    <a:pt x="13157" y="17251"/>
                    <a:pt x="12214" y="17776"/>
                    <a:pt x="11599" y="17776"/>
                  </a:cubicBezTo>
                  <a:cubicBezTo>
                    <a:pt x="11271" y="16791"/>
                    <a:pt x="10984" y="15741"/>
                    <a:pt x="10657" y="15281"/>
                  </a:cubicBezTo>
                  <a:cubicBezTo>
                    <a:pt x="10329" y="14756"/>
                    <a:pt x="9714" y="14756"/>
                    <a:pt x="9099" y="13771"/>
                  </a:cubicBezTo>
                  <a:cubicBezTo>
                    <a:pt x="8771" y="12721"/>
                    <a:pt x="9099" y="10751"/>
                    <a:pt x="8484" y="10226"/>
                  </a:cubicBezTo>
                  <a:cubicBezTo>
                    <a:pt x="7542" y="10226"/>
                    <a:pt x="7542" y="12261"/>
                    <a:pt x="6599" y="12721"/>
                  </a:cubicBezTo>
                  <a:cubicBezTo>
                    <a:pt x="5984" y="13246"/>
                    <a:pt x="5041" y="13771"/>
                    <a:pt x="4386" y="13771"/>
                  </a:cubicBezTo>
                  <a:cubicBezTo>
                    <a:pt x="2828" y="13771"/>
                    <a:pt x="1557" y="12721"/>
                    <a:pt x="0" y="12721"/>
                  </a:cubicBezTo>
                  <a:cubicBezTo>
                    <a:pt x="0" y="10751"/>
                    <a:pt x="0" y="9241"/>
                    <a:pt x="328" y="7271"/>
                  </a:cubicBezTo>
                  <a:cubicBezTo>
                    <a:pt x="943" y="5761"/>
                    <a:pt x="328" y="3267"/>
                    <a:pt x="1557" y="1756"/>
                  </a:cubicBezTo>
                  <a:cubicBezTo>
                    <a:pt x="2213" y="706"/>
                    <a:pt x="3156" y="706"/>
                    <a:pt x="4099" y="246"/>
                  </a:cubicBezTo>
                  <a:cubicBezTo>
                    <a:pt x="5984" y="-804"/>
                    <a:pt x="8484" y="1756"/>
                    <a:pt x="10329" y="3267"/>
                  </a:cubicBezTo>
                  <a:cubicBezTo>
                    <a:pt x="12829" y="4711"/>
                    <a:pt x="16313" y="5236"/>
                    <a:pt x="19428" y="57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1" name="Shape 2476">
              <a:extLst>
                <a:ext uri="{FF2B5EF4-FFF2-40B4-BE49-F238E27FC236}">
                  <a16:creationId xmlns:a16="http://schemas.microsoft.com/office/drawing/2014/main" id="{E00872A5-5AF2-83EE-5C67-84598C331C4A}"/>
                </a:ext>
              </a:extLst>
            </p:cNvPr>
            <p:cNvSpPr/>
            <p:nvPr/>
          </p:nvSpPr>
          <p:spPr>
            <a:xfrm>
              <a:off x="1824489" y="3420585"/>
              <a:ext cx="219075" cy="161700"/>
            </a:xfrm>
            <a:custGeom>
              <a:avLst/>
              <a:gdLst/>
              <a:ahLst/>
              <a:cxnLst>
                <a:cxn ang="0">
                  <a:pos x="wd2" y="hd2"/>
                </a:cxn>
                <a:cxn ang="5400000">
                  <a:pos x="wd2" y="hd2"/>
                </a:cxn>
                <a:cxn ang="10800000">
                  <a:pos x="wd2" y="hd2"/>
                </a:cxn>
                <a:cxn ang="16200000">
                  <a:pos x="wd2" y="hd2"/>
                </a:cxn>
              </a:cxnLst>
              <a:rect l="0" t="0" r="r" b="b"/>
              <a:pathLst>
                <a:path w="21398" h="21600" extrusionOk="0">
                  <a:moveTo>
                    <a:pt x="7832" y="359"/>
                  </a:moveTo>
                  <a:cubicBezTo>
                    <a:pt x="9577" y="674"/>
                    <a:pt x="11355" y="1347"/>
                    <a:pt x="12113" y="2066"/>
                  </a:cubicBezTo>
                  <a:cubicBezTo>
                    <a:pt x="10861" y="2066"/>
                    <a:pt x="9347" y="2066"/>
                    <a:pt x="7832" y="2066"/>
                  </a:cubicBezTo>
                  <a:cubicBezTo>
                    <a:pt x="7832" y="2380"/>
                    <a:pt x="7832" y="2380"/>
                    <a:pt x="8096" y="2739"/>
                  </a:cubicBezTo>
                  <a:cubicBezTo>
                    <a:pt x="8096" y="3413"/>
                    <a:pt x="8853" y="3099"/>
                    <a:pt x="8853" y="3772"/>
                  </a:cubicBezTo>
                  <a:cubicBezTo>
                    <a:pt x="9083" y="4446"/>
                    <a:pt x="8853" y="5479"/>
                    <a:pt x="8853" y="6511"/>
                  </a:cubicBezTo>
                  <a:cubicBezTo>
                    <a:pt x="8853" y="7185"/>
                    <a:pt x="9577" y="7859"/>
                    <a:pt x="9347" y="8577"/>
                  </a:cubicBezTo>
                  <a:cubicBezTo>
                    <a:pt x="9083" y="9251"/>
                    <a:pt x="8326" y="9251"/>
                    <a:pt x="8096" y="9924"/>
                  </a:cubicBezTo>
                  <a:cubicBezTo>
                    <a:pt x="7569" y="10284"/>
                    <a:pt x="8096" y="11676"/>
                    <a:pt x="7338" y="11990"/>
                  </a:cubicBezTo>
                  <a:cubicBezTo>
                    <a:pt x="6581" y="12349"/>
                    <a:pt x="5560" y="11990"/>
                    <a:pt x="4572" y="11316"/>
                  </a:cubicBezTo>
                  <a:cubicBezTo>
                    <a:pt x="4046" y="11316"/>
                    <a:pt x="3815" y="10284"/>
                    <a:pt x="3288" y="10284"/>
                  </a:cubicBezTo>
                  <a:cubicBezTo>
                    <a:pt x="2794" y="9924"/>
                    <a:pt x="2037" y="10284"/>
                    <a:pt x="1543" y="10284"/>
                  </a:cubicBezTo>
                  <a:cubicBezTo>
                    <a:pt x="1049" y="10643"/>
                    <a:pt x="-202" y="10957"/>
                    <a:pt x="28" y="11676"/>
                  </a:cubicBezTo>
                  <a:cubicBezTo>
                    <a:pt x="522" y="13023"/>
                    <a:pt x="2037" y="13382"/>
                    <a:pt x="2794" y="14415"/>
                  </a:cubicBezTo>
                  <a:cubicBezTo>
                    <a:pt x="3288" y="14729"/>
                    <a:pt x="2794" y="15448"/>
                    <a:pt x="3058" y="15762"/>
                  </a:cubicBezTo>
                  <a:cubicBezTo>
                    <a:pt x="3552" y="16436"/>
                    <a:pt x="4046" y="16121"/>
                    <a:pt x="4572" y="16436"/>
                  </a:cubicBezTo>
                  <a:cubicBezTo>
                    <a:pt x="5066" y="16795"/>
                    <a:pt x="5330" y="17469"/>
                    <a:pt x="5560" y="18187"/>
                  </a:cubicBezTo>
                  <a:cubicBezTo>
                    <a:pt x="6087" y="19175"/>
                    <a:pt x="5560" y="20567"/>
                    <a:pt x="6087" y="20926"/>
                  </a:cubicBezTo>
                  <a:cubicBezTo>
                    <a:pt x="6581" y="21241"/>
                    <a:pt x="6581" y="19894"/>
                    <a:pt x="7075" y="19894"/>
                  </a:cubicBezTo>
                  <a:cubicBezTo>
                    <a:pt x="7569" y="19894"/>
                    <a:pt x="7832" y="21600"/>
                    <a:pt x="8589" y="21600"/>
                  </a:cubicBezTo>
                  <a:cubicBezTo>
                    <a:pt x="9347" y="21241"/>
                    <a:pt x="9841" y="19534"/>
                    <a:pt x="10861" y="19534"/>
                  </a:cubicBezTo>
                  <a:cubicBezTo>
                    <a:pt x="11092" y="19534"/>
                    <a:pt x="11355" y="20208"/>
                    <a:pt x="11586" y="20926"/>
                  </a:cubicBezTo>
                  <a:cubicBezTo>
                    <a:pt x="12113" y="20208"/>
                    <a:pt x="12607" y="19894"/>
                    <a:pt x="13100" y="19534"/>
                  </a:cubicBezTo>
                  <a:cubicBezTo>
                    <a:pt x="13858" y="18501"/>
                    <a:pt x="14121" y="17469"/>
                    <a:pt x="14878" y="16795"/>
                  </a:cubicBezTo>
                  <a:cubicBezTo>
                    <a:pt x="15866" y="16436"/>
                    <a:pt x="16887" y="17154"/>
                    <a:pt x="17908" y="16795"/>
                  </a:cubicBezTo>
                  <a:cubicBezTo>
                    <a:pt x="18896" y="16436"/>
                    <a:pt x="19653" y="15089"/>
                    <a:pt x="20641" y="14415"/>
                  </a:cubicBezTo>
                  <a:cubicBezTo>
                    <a:pt x="20641" y="13382"/>
                    <a:pt x="20904" y="12349"/>
                    <a:pt x="20904" y="11316"/>
                  </a:cubicBezTo>
                  <a:cubicBezTo>
                    <a:pt x="20904" y="10957"/>
                    <a:pt x="20641" y="10643"/>
                    <a:pt x="20641" y="10284"/>
                  </a:cubicBezTo>
                  <a:cubicBezTo>
                    <a:pt x="20641" y="9924"/>
                    <a:pt x="21168" y="9924"/>
                    <a:pt x="21398" y="9610"/>
                  </a:cubicBezTo>
                  <a:cubicBezTo>
                    <a:pt x="21398" y="8891"/>
                    <a:pt x="21398" y="8218"/>
                    <a:pt x="21168" y="7544"/>
                  </a:cubicBezTo>
                  <a:cubicBezTo>
                    <a:pt x="20904" y="6826"/>
                    <a:pt x="20410" y="6511"/>
                    <a:pt x="20147" y="6152"/>
                  </a:cubicBezTo>
                  <a:cubicBezTo>
                    <a:pt x="19389" y="5479"/>
                    <a:pt x="18632" y="4805"/>
                    <a:pt x="17908" y="4086"/>
                  </a:cubicBezTo>
                  <a:cubicBezTo>
                    <a:pt x="16887" y="3099"/>
                    <a:pt x="16393" y="1706"/>
                    <a:pt x="15372" y="1033"/>
                  </a:cubicBezTo>
                  <a:cubicBezTo>
                    <a:pt x="12870" y="0"/>
                    <a:pt x="10335" y="359"/>
                    <a:pt x="7832" y="0"/>
                  </a:cubicBezTo>
                  <a:cubicBezTo>
                    <a:pt x="7832" y="0"/>
                    <a:pt x="7832" y="0"/>
                    <a:pt x="7832" y="35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2" name="Shape 2477">
              <a:extLst>
                <a:ext uri="{FF2B5EF4-FFF2-40B4-BE49-F238E27FC236}">
                  <a16:creationId xmlns:a16="http://schemas.microsoft.com/office/drawing/2014/main" id="{4E94AA9E-4741-86B9-25FB-212543A1F98D}"/>
                </a:ext>
              </a:extLst>
            </p:cNvPr>
            <p:cNvSpPr/>
            <p:nvPr/>
          </p:nvSpPr>
          <p:spPr>
            <a:xfrm>
              <a:off x="1825112" y="2478098"/>
              <a:ext cx="876961" cy="769708"/>
            </a:xfrm>
            <a:custGeom>
              <a:avLst/>
              <a:gdLst/>
              <a:ahLst/>
              <a:cxnLst>
                <a:cxn ang="0">
                  <a:pos x="wd2" y="hd2"/>
                </a:cxn>
                <a:cxn ang="5400000">
                  <a:pos x="wd2" y="hd2"/>
                </a:cxn>
                <a:cxn ang="10800000">
                  <a:pos x="wd2" y="hd2"/>
                </a:cxn>
                <a:cxn ang="16200000">
                  <a:pos x="wd2" y="hd2"/>
                </a:cxn>
              </a:cxnLst>
              <a:rect l="0" t="0" r="r" b="b"/>
              <a:pathLst>
                <a:path w="21534" h="21600" extrusionOk="0">
                  <a:moveTo>
                    <a:pt x="1382" y="8672"/>
                  </a:moveTo>
                  <a:cubicBezTo>
                    <a:pt x="1382" y="8379"/>
                    <a:pt x="1572" y="7944"/>
                    <a:pt x="1382" y="7660"/>
                  </a:cubicBezTo>
                  <a:cubicBezTo>
                    <a:pt x="1258" y="7518"/>
                    <a:pt x="1001" y="7944"/>
                    <a:pt x="811" y="8020"/>
                  </a:cubicBezTo>
                  <a:cubicBezTo>
                    <a:pt x="621" y="8020"/>
                    <a:pt x="306" y="8095"/>
                    <a:pt x="116" y="7878"/>
                  </a:cubicBezTo>
                  <a:cubicBezTo>
                    <a:pt x="-8" y="7660"/>
                    <a:pt x="-66" y="7225"/>
                    <a:pt x="116" y="7083"/>
                  </a:cubicBezTo>
                  <a:cubicBezTo>
                    <a:pt x="372" y="6866"/>
                    <a:pt x="753" y="7083"/>
                    <a:pt x="1067" y="7008"/>
                  </a:cubicBezTo>
                  <a:cubicBezTo>
                    <a:pt x="1382" y="6932"/>
                    <a:pt x="1638" y="6866"/>
                    <a:pt x="1886" y="6715"/>
                  </a:cubicBezTo>
                  <a:cubicBezTo>
                    <a:pt x="1953" y="6648"/>
                    <a:pt x="1886" y="6506"/>
                    <a:pt x="1886" y="6355"/>
                  </a:cubicBezTo>
                  <a:cubicBezTo>
                    <a:pt x="1828" y="6289"/>
                    <a:pt x="1638" y="6289"/>
                    <a:pt x="1696" y="6213"/>
                  </a:cubicBezTo>
                  <a:cubicBezTo>
                    <a:pt x="1696" y="5920"/>
                    <a:pt x="1886" y="5778"/>
                    <a:pt x="1953" y="5495"/>
                  </a:cubicBezTo>
                  <a:cubicBezTo>
                    <a:pt x="2019" y="5277"/>
                    <a:pt x="1886" y="5060"/>
                    <a:pt x="1953" y="4842"/>
                  </a:cubicBezTo>
                  <a:cubicBezTo>
                    <a:pt x="2077" y="4625"/>
                    <a:pt x="2333" y="4700"/>
                    <a:pt x="2457" y="4549"/>
                  </a:cubicBezTo>
                  <a:cubicBezTo>
                    <a:pt x="2647" y="4331"/>
                    <a:pt x="2581" y="3830"/>
                    <a:pt x="2838" y="3688"/>
                  </a:cubicBezTo>
                  <a:cubicBezTo>
                    <a:pt x="3028" y="3613"/>
                    <a:pt x="3152" y="3972"/>
                    <a:pt x="3276" y="4123"/>
                  </a:cubicBezTo>
                  <a:cubicBezTo>
                    <a:pt x="3466" y="4265"/>
                    <a:pt x="3599" y="4700"/>
                    <a:pt x="3781" y="4549"/>
                  </a:cubicBezTo>
                  <a:cubicBezTo>
                    <a:pt x="4294" y="4189"/>
                    <a:pt x="4352" y="3395"/>
                    <a:pt x="4798" y="3036"/>
                  </a:cubicBezTo>
                  <a:cubicBezTo>
                    <a:pt x="4922" y="2894"/>
                    <a:pt x="5113" y="3319"/>
                    <a:pt x="5237" y="3253"/>
                  </a:cubicBezTo>
                  <a:cubicBezTo>
                    <a:pt x="5427" y="3111"/>
                    <a:pt x="5427" y="2743"/>
                    <a:pt x="5617" y="2535"/>
                  </a:cubicBezTo>
                  <a:cubicBezTo>
                    <a:pt x="5741" y="2383"/>
                    <a:pt x="5998" y="2383"/>
                    <a:pt x="6122" y="2383"/>
                  </a:cubicBezTo>
                  <a:cubicBezTo>
                    <a:pt x="6312" y="2383"/>
                    <a:pt x="6436" y="2459"/>
                    <a:pt x="6569" y="2383"/>
                  </a:cubicBezTo>
                  <a:cubicBezTo>
                    <a:pt x="6693" y="2317"/>
                    <a:pt x="6759" y="2166"/>
                    <a:pt x="6883" y="2024"/>
                  </a:cubicBezTo>
                  <a:cubicBezTo>
                    <a:pt x="6941" y="1948"/>
                    <a:pt x="7073" y="1948"/>
                    <a:pt x="7131" y="1806"/>
                  </a:cubicBezTo>
                  <a:cubicBezTo>
                    <a:pt x="7131" y="1664"/>
                    <a:pt x="6941" y="1589"/>
                    <a:pt x="6941" y="1447"/>
                  </a:cubicBezTo>
                  <a:cubicBezTo>
                    <a:pt x="7007" y="1305"/>
                    <a:pt x="7073" y="1088"/>
                    <a:pt x="7197" y="1088"/>
                  </a:cubicBezTo>
                  <a:cubicBezTo>
                    <a:pt x="7636" y="1088"/>
                    <a:pt x="7950" y="1447"/>
                    <a:pt x="8331" y="1447"/>
                  </a:cubicBezTo>
                  <a:cubicBezTo>
                    <a:pt x="8587" y="1523"/>
                    <a:pt x="8844" y="1305"/>
                    <a:pt x="9092" y="1305"/>
                  </a:cubicBezTo>
                  <a:cubicBezTo>
                    <a:pt x="9216" y="1305"/>
                    <a:pt x="9216" y="1589"/>
                    <a:pt x="9282" y="1589"/>
                  </a:cubicBezTo>
                  <a:cubicBezTo>
                    <a:pt x="9406" y="1589"/>
                    <a:pt x="9472" y="1371"/>
                    <a:pt x="9597" y="1305"/>
                  </a:cubicBezTo>
                  <a:cubicBezTo>
                    <a:pt x="9663" y="1305"/>
                    <a:pt x="9721" y="1523"/>
                    <a:pt x="9853" y="1447"/>
                  </a:cubicBezTo>
                  <a:cubicBezTo>
                    <a:pt x="9977" y="1371"/>
                    <a:pt x="9977" y="1154"/>
                    <a:pt x="10043" y="936"/>
                  </a:cubicBezTo>
                  <a:cubicBezTo>
                    <a:pt x="10043" y="719"/>
                    <a:pt x="9911" y="511"/>
                    <a:pt x="9977" y="293"/>
                  </a:cubicBezTo>
                  <a:cubicBezTo>
                    <a:pt x="10043" y="142"/>
                    <a:pt x="10167" y="0"/>
                    <a:pt x="10291" y="0"/>
                  </a:cubicBezTo>
                  <a:cubicBezTo>
                    <a:pt x="10482" y="76"/>
                    <a:pt x="10606" y="293"/>
                    <a:pt x="10738" y="435"/>
                  </a:cubicBezTo>
                  <a:cubicBezTo>
                    <a:pt x="10862" y="511"/>
                    <a:pt x="10928" y="653"/>
                    <a:pt x="11052" y="719"/>
                  </a:cubicBezTo>
                  <a:cubicBezTo>
                    <a:pt x="11177" y="719"/>
                    <a:pt x="11301" y="719"/>
                    <a:pt x="11433" y="653"/>
                  </a:cubicBezTo>
                  <a:cubicBezTo>
                    <a:pt x="11557" y="577"/>
                    <a:pt x="11557" y="293"/>
                    <a:pt x="11681" y="293"/>
                  </a:cubicBezTo>
                  <a:cubicBezTo>
                    <a:pt x="11814" y="218"/>
                    <a:pt x="11938" y="359"/>
                    <a:pt x="12062" y="435"/>
                  </a:cubicBezTo>
                  <a:cubicBezTo>
                    <a:pt x="12186" y="511"/>
                    <a:pt x="12252" y="719"/>
                    <a:pt x="12376" y="719"/>
                  </a:cubicBezTo>
                  <a:cubicBezTo>
                    <a:pt x="12566" y="719"/>
                    <a:pt x="12690" y="359"/>
                    <a:pt x="12947" y="359"/>
                  </a:cubicBezTo>
                  <a:cubicBezTo>
                    <a:pt x="13071" y="435"/>
                    <a:pt x="13071" y="719"/>
                    <a:pt x="13203" y="870"/>
                  </a:cubicBezTo>
                  <a:cubicBezTo>
                    <a:pt x="13327" y="936"/>
                    <a:pt x="13518" y="936"/>
                    <a:pt x="13642" y="870"/>
                  </a:cubicBezTo>
                  <a:cubicBezTo>
                    <a:pt x="13766" y="794"/>
                    <a:pt x="13708" y="511"/>
                    <a:pt x="13832" y="435"/>
                  </a:cubicBezTo>
                  <a:cubicBezTo>
                    <a:pt x="13956" y="359"/>
                    <a:pt x="14089" y="577"/>
                    <a:pt x="14213" y="577"/>
                  </a:cubicBezTo>
                  <a:cubicBezTo>
                    <a:pt x="14461" y="577"/>
                    <a:pt x="14717" y="359"/>
                    <a:pt x="14908" y="511"/>
                  </a:cubicBezTo>
                  <a:cubicBezTo>
                    <a:pt x="15156" y="653"/>
                    <a:pt x="15156" y="1012"/>
                    <a:pt x="15156" y="1305"/>
                  </a:cubicBezTo>
                  <a:cubicBezTo>
                    <a:pt x="15222" y="1371"/>
                    <a:pt x="15156" y="1447"/>
                    <a:pt x="15156" y="1523"/>
                  </a:cubicBezTo>
                  <a:cubicBezTo>
                    <a:pt x="15156" y="1589"/>
                    <a:pt x="15098" y="1664"/>
                    <a:pt x="15156" y="1664"/>
                  </a:cubicBezTo>
                  <a:cubicBezTo>
                    <a:pt x="15288" y="1664"/>
                    <a:pt x="15412" y="1523"/>
                    <a:pt x="15536" y="1589"/>
                  </a:cubicBezTo>
                  <a:cubicBezTo>
                    <a:pt x="15793" y="1589"/>
                    <a:pt x="16041" y="1948"/>
                    <a:pt x="16364" y="1948"/>
                  </a:cubicBezTo>
                  <a:cubicBezTo>
                    <a:pt x="16488" y="1948"/>
                    <a:pt x="16546" y="1664"/>
                    <a:pt x="16736" y="1664"/>
                  </a:cubicBezTo>
                  <a:cubicBezTo>
                    <a:pt x="16992" y="1664"/>
                    <a:pt x="17240" y="1882"/>
                    <a:pt x="17497" y="2024"/>
                  </a:cubicBezTo>
                  <a:cubicBezTo>
                    <a:pt x="17497" y="2317"/>
                    <a:pt x="17373" y="2601"/>
                    <a:pt x="17431" y="2894"/>
                  </a:cubicBezTo>
                  <a:cubicBezTo>
                    <a:pt x="17431" y="3111"/>
                    <a:pt x="17687" y="3111"/>
                    <a:pt x="17745" y="3253"/>
                  </a:cubicBezTo>
                  <a:cubicBezTo>
                    <a:pt x="17877" y="3395"/>
                    <a:pt x="17877" y="3613"/>
                    <a:pt x="17877" y="3830"/>
                  </a:cubicBezTo>
                  <a:cubicBezTo>
                    <a:pt x="17745" y="4189"/>
                    <a:pt x="17497" y="4483"/>
                    <a:pt x="17431" y="4842"/>
                  </a:cubicBezTo>
                  <a:cubicBezTo>
                    <a:pt x="17431" y="5060"/>
                    <a:pt x="17687" y="5135"/>
                    <a:pt x="17745" y="5277"/>
                  </a:cubicBezTo>
                  <a:cubicBezTo>
                    <a:pt x="17877" y="5561"/>
                    <a:pt x="17877" y="5920"/>
                    <a:pt x="18068" y="6138"/>
                  </a:cubicBezTo>
                  <a:cubicBezTo>
                    <a:pt x="18126" y="6289"/>
                    <a:pt x="18258" y="6355"/>
                    <a:pt x="18382" y="6431"/>
                  </a:cubicBezTo>
                  <a:cubicBezTo>
                    <a:pt x="18382" y="6431"/>
                    <a:pt x="18316" y="7150"/>
                    <a:pt x="18821" y="7367"/>
                  </a:cubicBezTo>
                  <a:cubicBezTo>
                    <a:pt x="19391" y="7585"/>
                    <a:pt x="20012" y="7585"/>
                    <a:pt x="20459" y="7944"/>
                  </a:cubicBezTo>
                  <a:cubicBezTo>
                    <a:pt x="20583" y="8020"/>
                    <a:pt x="20334" y="8237"/>
                    <a:pt x="20334" y="8455"/>
                  </a:cubicBezTo>
                  <a:cubicBezTo>
                    <a:pt x="20268" y="8521"/>
                    <a:pt x="20268" y="8672"/>
                    <a:pt x="20268" y="8814"/>
                  </a:cubicBezTo>
                  <a:cubicBezTo>
                    <a:pt x="20268" y="8956"/>
                    <a:pt x="20202" y="9249"/>
                    <a:pt x="20334" y="9249"/>
                  </a:cubicBezTo>
                  <a:cubicBezTo>
                    <a:pt x="20583" y="9315"/>
                    <a:pt x="20897" y="8956"/>
                    <a:pt x="21153" y="8956"/>
                  </a:cubicBezTo>
                  <a:cubicBezTo>
                    <a:pt x="21278" y="9032"/>
                    <a:pt x="21153" y="9249"/>
                    <a:pt x="21087" y="9315"/>
                  </a:cubicBezTo>
                  <a:cubicBezTo>
                    <a:pt x="20773" y="9608"/>
                    <a:pt x="20268" y="9684"/>
                    <a:pt x="20078" y="10119"/>
                  </a:cubicBezTo>
                  <a:cubicBezTo>
                    <a:pt x="19954" y="10337"/>
                    <a:pt x="20202" y="10620"/>
                    <a:pt x="20268" y="10838"/>
                  </a:cubicBezTo>
                  <a:cubicBezTo>
                    <a:pt x="20268" y="10980"/>
                    <a:pt x="20268" y="11122"/>
                    <a:pt x="20202" y="11122"/>
                  </a:cubicBezTo>
                  <a:cubicBezTo>
                    <a:pt x="20078" y="11273"/>
                    <a:pt x="19822" y="11122"/>
                    <a:pt x="19822" y="11273"/>
                  </a:cubicBezTo>
                  <a:cubicBezTo>
                    <a:pt x="19706" y="11490"/>
                    <a:pt x="19772" y="11774"/>
                    <a:pt x="19954" y="11850"/>
                  </a:cubicBezTo>
                  <a:cubicBezTo>
                    <a:pt x="20268" y="12133"/>
                    <a:pt x="20715" y="12067"/>
                    <a:pt x="21087" y="12209"/>
                  </a:cubicBezTo>
                  <a:cubicBezTo>
                    <a:pt x="21534" y="13004"/>
                    <a:pt x="21534" y="13004"/>
                    <a:pt x="21534" y="13004"/>
                  </a:cubicBezTo>
                  <a:cubicBezTo>
                    <a:pt x="21220" y="13079"/>
                    <a:pt x="20963" y="13363"/>
                    <a:pt x="20583" y="13940"/>
                  </a:cubicBezTo>
                  <a:cubicBezTo>
                    <a:pt x="20459" y="14233"/>
                    <a:pt x="19458" y="15169"/>
                    <a:pt x="19391" y="15320"/>
                  </a:cubicBezTo>
                  <a:cubicBezTo>
                    <a:pt x="19011" y="15529"/>
                    <a:pt x="19143" y="15897"/>
                    <a:pt x="19077" y="16115"/>
                  </a:cubicBezTo>
                  <a:cubicBezTo>
                    <a:pt x="19011" y="16257"/>
                    <a:pt x="18821" y="16323"/>
                    <a:pt x="18763" y="16540"/>
                  </a:cubicBezTo>
                  <a:cubicBezTo>
                    <a:pt x="18639" y="16834"/>
                    <a:pt x="18696" y="17193"/>
                    <a:pt x="18572" y="17411"/>
                  </a:cubicBezTo>
                  <a:cubicBezTo>
                    <a:pt x="18506" y="17552"/>
                    <a:pt x="18382" y="17552"/>
                    <a:pt x="18258" y="17628"/>
                  </a:cubicBezTo>
                  <a:cubicBezTo>
                    <a:pt x="18126" y="17628"/>
                    <a:pt x="17935" y="17411"/>
                    <a:pt x="17811" y="17486"/>
                  </a:cubicBezTo>
                  <a:cubicBezTo>
                    <a:pt x="17687" y="17628"/>
                    <a:pt x="17497" y="17846"/>
                    <a:pt x="17497" y="18063"/>
                  </a:cubicBezTo>
                  <a:cubicBezTo>
                    <a:pt x="17497" y="18205"/>
                    <a:pt x="17745" y="18205"/>
                    <a:pt x="17811" y="18347"/>
                  </a:cubicBezTo>
                  <a:cubicBezTo>
                    <a:pt x="17811" y="18498"/>
                    <a:pt x="17687" y="18716"/>
                    <a:pt x="17811" y="18782"/>
                  </a:cubicBezTo>
                  <a:cubicBezTo>
                    <a:pt x="18068" y="18924"/>
                    <a:pt x="18382" y="18716"/>
                    <a:pt x="18639" y="18857"/>
                  </a:cubicBezTo>
                  <a:cubicBezTo>
                    <a:pt x="18763" y="18924"/>
                    <a:pt x="18887" y="19075"/>
                    <a:pt x="18953" y="19217"/>
                  </a:cubicBezTo>
                  <a:cubicBezTo>
                    <a:pt x="19011" y="19434"/>
                    <a:pt x="19143" y="19718"/>
                    <a:pt x="19011" y="19936"/>
                  </a:cubicBezTo>
                  <a:cubicBezTo>
                    <a:pt x="18953" y="20153"/>
                    <a:pt x="18572" y="20011"/>
                    <a:pt x="18506" y="20229"/>
                  </a:cubicBezTo>
                  <a:cubicBezTo>
                    <a:pt x="18448" y="20304"/>
                    <a:pt x="18639" y="20446"/>
                    <a:pt x="18639" y="20588"/>
                  </a:cubicBezTo>
                  <a:cubicBezTo>
                    <a:pt x="18639" y="20664"/>
                    <a:pt x="18506" y="20664"/>
                    <a:pt x="18448" y="20664"/>
                  </a:cubicBezTo>
                  <a:cubicBezTo>
                    <a:pt x="18316" y="20664"/>
                    <a:pt x="18126" y="20512"/>
                    <a:pt x="18002" y="20512"/>
                  </a:cubicBezTo>
                  <a:cubicBezTo>
                    <a:pt x="17877" y="20588"/>
                    <a:pt x="17687" y="20664"/>
                    <a:pt x="17621" y="20806"/>
                  </a:cubicBezTo>
                  <a:cubicBezTo>
                    <a:pt x="17555" y="20881"/>
                    <a:pt x="17687" y="21165"/>
                    <a:pt x="17555" y="21241"/>
                  </a:cubicBezTo>
                  <a:cubicBezTo>
                    <a:pt x="17431" y="21382"/>
                    <a:pt x="17183" y="21458"/>
                    <a:pt x="16992" y="21458"/>
                  </a:cubicBezTo>
                  <a:cubicBezTo>
                    <a:pt x="16868" y="21458"/>
                    <a:pt x="16736" y="21241"/>
                    <a:pt x="16546" y="21241"/>
                  </a:cubicBezTo>
                  <a:cubicBezTo>
                    <a:pt x="16173" y="21165"/>
                    <a:pt x="15793" y="21316"/>
                    <a:pt x="15412" y="21241"/>
                  </a:cubicBezTo>
                  <a:cubicBezTo>
                    <a:pt x="15346" y="21165"/>
                    <a:pt x="15346" y="20947"/>
                    <a:pt x="15288" y="20881"/>
                  </a:cubicBezTo>
                  <a:cubicBezTo>
                    <a:pt x="15156" y="20881"/>
                    <a:pt x="15032" y="20881"/>
                    <a:pt x="14965" y="20947"/>
                  </a:cubicBezTo>
                  <a:cubicBezTo>
                    <a:pt x="14841" y="21099"/>
                    <a:pt x="14965" y="21316"/>
                    <a:pt x="14841" y="21458"/>
                  </a:cubicBezTo>
                  <a:cubicBezTo>
                    <a:pt x="14651" y="21600"/>
                    <a:pt x="14403" y="21524"/>
                    <a:pt x="14146" y="21600"/>
                  </a:cubicBezTo>
                  <a:cubicBezTo>
                    <a:pt x="14146" y="21382"/>
                    <a:pt x="13956" y="21099"/>
                    <a:pt x="14089" y="20881"/>
                  </a:cubicBezTo>
                  <a:cubicBezTo>
                    <a:pt x="14146" y="20664"/>
                    <a:pt x="14527" y="20730"/>
                    <a:pt x="14651" y="20512"/>
                  </a:cubicBezTo>
                  <a:cubicBezTo>
                    <a:pt x="14775" y="20371"/>
                    <a:pt x="14965" y="20153"/>
                    <a:pt x="14908" y="19936"/>
                  </a:cubicBezTo>
                  <a:cubicBezTo>
                    <a:pt x="14908" y="19718"/>
                    <a:pt x="14651" y="19718"/>
                    <a:pt x="14461" y="19718"/>
                  </a:cubicBezTo>
                  <a:cubicBezTo>
                    <a:pt x="14337" y="19718"/>
                    <a:pt x="14337" y="19936"/>
                    <a:pt x="14213" y="19936"/>
                  </a:cubicBezTo>
                  <a:cubicBezTo>
                    <a:pt x="14089" y="19936"/>
                    <a:pt x="13956" y="19869"/>
                    <a:pt x="13898" y="19869"/>
                  </a:cubicBezTo>
                  <a:cubicBezTo>
                    <a:pt x="13766" y="19936"/>
                    <a:pt x="13766" y="20153"/>
                    <a:pt x="13642" y="20153"/>
                  </a:cubicBezTo>
                  <a:cubicBezTo>
                    <a:pt x="13385" y="20153"/>
                    <a:pt x="13137" y="20153"/>
                    <a:pt x="12881" y="20011"/>
                  </a:cubicBezTo>
                  <a:cubicBezTo>
                    <a:pt x="12757" y="19936"/>
                    <a:pt x="12757" y="19718"/>
                    <a:pt x="12633" y="19576"/>
                  </a:cubicBezTo>
                  <a:cubicBezTo>
                    <a:pt x="12566" y="19501"/>
                    <a:pt x="12500" y="19434"/>
                    <a:pt x="12442" y="19501"/>
                  </a:cubicBezTo>
                  <a:cubicBezTo>
                    <a:pt x="12128" y="19576"/>
                    <a:pt x="11871" y="19794"/>
                    <a:pt x="11557" y="19936"/>
                  </a:cubicBezTo>
                  <a:cubicBezTo>
                    <a:pt x="11491" y="19718"/>
                    <a:pt x="11557" y="19359"/>
                    <a:pt x="11367" y="19141"/>
                  </a:cubicBezTo>
                  <a:cubicBezTo>
                    <a:pt x="11301" y="19075"/>
                    <a:pt x="11177" y="19434"/>
                    <a:pt x="11052" y="19359"/>
                  </a:cubicBezTo>
                  <a:cubicBezTo>
                    <a:pt x="10928" y="19359"/>
                    <a:pt x="10928" y="19075"/>
                    <a:pt x="10796" y="18999"/>
                  </a:cubicBezTo>
                  <a:cubicBezTo>
                    <a:pt x="10606" y="18924"/>
                    <a:pt x="10416" y="19141"/>
                    <a:pt x="10225" y="18999"/>
                  </a:cubicBezTo>
                  <a:cubicBezTo>
                    <a:pt x="9911" y="18716"/>
                    <a:pt x="9787" y="18129"/>
                    <a:pt x="9406" y="17770"/>
                  </a:cubicBezTo>
                  <a:cubicBezTo>
                    <a:pt x="9282" y="17704"/>
                    <a:pt x="9034" y="17846"/>
                    <a:pt x="8844" y="17846"/>
                  </a:cubicBezTo>
                  <a:cubicBezTo>
                    <a:pt x="8653" y="17770"/>
                    <a:pt x="8587" y="17486"/>
                    <a:pt x="8463" y="17486"/>
                  </a:cubicBezTo>
                  <a:cubicBezTo>
                    <a:pt x="8273" y="17486"/>
                    <a:pt x="8207" y="17770"/>
                    <a:pt x="8083" y="17704"/>
                  </a:cubicBezTo>
                  <a:cubicBezTo>
                    <a:pt x="7636" y="17552"/>
                    <a:pt x="7264" y="17269"/>
                    <a:pt x="6883" y="16900"/>
                  </a:cubicBezTo>
                  <a:cubicBezTo>
                    <a:pt x="6693" y="16758"/>
                    <a:pt x="6503" y="16616"/>
                    <a:pt x="6378" y="16399"/>
                  </a:cubicBezTo>
                  <a:cubicBezTo>
                    <a:pt x="6312" y="16257"/>
                    <a:pt x="6569" y="16181"/>
                    <a:pt x="6569" y="16039"/>
                  </a:cubicBezTo>
                  <a:cubicBezTo>
                    <a:pt x="6569" y="15897"/>
                    <a:pt x="6312" y="15822"/>
                    <a:pt x="6312" y="15680"/>
                  </a:cubicBezTo>
                  <a:cubicBezTo>
                    <a:pt x="6246" y="15462"/>
                    <a:pt x="6188" y="15169"/>
                    <a:pt x="6312" y="14952"/>
                  </a:cubicBezTo>
                  <a:cubicBezTo>
                    <a:pt x="6436" y="14810"/>
                    <a:pt x="6817" y="15103"/>
                    <a:pt x="6883" y="14885"/>
                  </a:cubicBezTo>
                  <a:cubicBezTo>
                    <a:pt x="7073" y="14233"/>
                    <a:pt x="6693" y="13580"/>
                    <a:pt x="6883" y="12937"/>
                  </a:cubicBezTo>
                  <a:cubicBezTo>
                    <a:pt x="6941" y="12720"/>
                    <a:pt x="7197" y="13297"/>
                    <a:pt x="7388" y="13297"/>
                  </a:cubicBezTo>
                  <a:cubicBezTo>
                    <a:pt x="7512" y="13297"/>
                    <a:pt x="7512" y="13004"/>
                    <a:pt x="7702" y="12937"/>
                  </a:cubicBezTo>
                  <a:cubicBezTo>
                    <a:pt x="7768" y="12862"/>
                    <a:pt x="8016" y="12937"/>
                    <a:pt x="8083" y="12786"/>
                  </a:cubicBezTo>
                  <a:cubicBezTo>
                    <a:pt x="8141" y="12568"/>
                    <a:pt x="8083" y="12209"/>
                    <a:pt x="8016" y="11992"/>
                  </a:cubicBezTo>
                  <a:cubicBezTo>
                    <a:pt x="7892" y="11774"/>
                    <a:pt x="7702" y="11557"/>
                    <a:pt x="7512" y="11557"/>
                  </a:cubicBezTo>
                  <a:cubicBezTo>
                    <a:pt x="6817" y="11698"/>
                    <a:pt x="6246" y="12568"/>
                    <a:pt x="5551" y="12502"/>
                  </a:cubicBezTo>
                  <a:cubicBezTo>
                    <a:pt x="5237" y="12427"/>
                    <a:pt x="5617" y="11698"/>
                    <a:pt x="5493" y="11339"/>
                  </a:cubicBezTo>
                  <a:cubicBezTo>
                    <a:pt x="5427" y="11122"/>
                    <a:pt x="5237" y="10980"/>
                    <a:pt x="5113" y="10838"/>
                  </a:cubicBezTo>
                  <a:cubicBezTo>
                    <a:pt x="4989" y="10696"/>
                    <a:pt x="4856" y="10545"/>
                    <a:pt x="4732" y="10620"/>
                  </a:cubicBezTo>
                  <a:cubicBezTo>
                    <a:pt x="4608" y="10620"/>
                    <a:pt x="4608" y="10838"/>
                    <a:pt x="4484" y="10913"/>
                  </a:cubicBezTo>
                  <a:cubicBezTo>
                    <a:pt x="4037" y="11122"/>
                    <a:pt x="3657" y="11273"/>
                    <a:pt x="3152" y="11415"/>
                  </a:cubicBezTo>
                  <a:cubicBezTo>
                    <a:pt x="3086" y="11415"/>
                    <a:pt x="3028" y="11197"/>
                    <a:pt x="2962" y="11122"/>
                  </a:cubicBezTo>
                  <a:cubicBezTo>
                    <a:pt x="2772" y="11122"/>
                    <a:pt x="2581" y="11122"/>
                    <a:pt x="2523" y="11273"/>
                  </a:cubicBezTo>
                  <a:cubicBezTo>
                    <a:pt x="2457" y="11415"/>
                    <a:pt x="2772" y="11632"/>
                    <a:pt x="2647" y="11698"/>
                  </a:cubicBezTo>
                  <a:cubicBezTo>
                    <a:pt x="2391" y="11850"/>
                    <a:pt x="2077" y="11632"/>
                    <a:pt x="1828" y="11698"/>
                  </a:cubicBezTo>
                  <a:cubicBezTo>
                    <a:pt x="1696" y="11774"/>
                    <a:pt x="1572" y="11850"/>
                    <a:pt x="1448" y="11992"/>
                  </a:cubicBezTo>
                  <a:cubicBezTo>
                    <a:pt x="1382" y="12067"/>
                    <a:pt x="1448" y="12209"/>
                    <a:pt x="1382" y="12351"/>
                  </a:cubicBezTo>
                  <a:cubicBezTo>
                    <a:pt x="1324" y="12427"/>
                    <a:pt x="1191" y="12351"/>
                    <a:pt x="1067" y="12351"/>
                  </a:cubicBezTo>
                  <a:cubicBezTo>
                    <a:pt x="877" y="12285"/>
                    <a:pt x="563" y="12285"/>
                    <a:pt x="563" y="11992"/>
                  </a:cubicBezTo>
                  <a:cubicBezTo>
                    <a:pt x="497" y="11632"/>
                    <a:pt x="1001" y="11339"/>
                    <a:pt x="943" y="10913"/>
                  </a:cubicBezTo>
                  <a:cubicBezTo>
                    <a:pt x="943" y="10696"/>
                    <a:pt x="563" y="10762"/>
                    <a:pt x="439" y="10545"/>
                  </a:cubicBezTo>
                  <a:cubicBezTo>
                    <a:pt x="372" y="10478"/>
                    <a:pt x="372" y="10337"/>
                    <a:pt x="497" y="10261"/>
                  </a:cubicBezTo>
                  <a:cubicBezTo>
                    <a:pt x="877" y="10119"/>
                    <a:pt x="1258" y="9968"/>
                    <a:pt x="1696" y="9826"/>
                  </a:cubicBezTo>
                  <a:cubicBezTo>
                    <a:pt x="1886" y="9826"/>
                    <a:pt x="2267" y="10119"/>
                    <a:pt x="2267" y="9826"/>
                  </a:cubicBezTo>
                  <a:cubicBezTo>
                    <a:pt x="2333" y="9533"/>
                    <a:pt x="2019" y="9249"/>
                    <a:pt x="1828" y="9032"/>
                  </a:cubicBezTo>
                  <a:cubicBezTo>
                    <a:pt x="1696" y="8890"/>
                    <a:pt x="1514" y="8814"/>
                    <a:pt x="1382" y="867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3" name="Shape 2478">
              <a:extLst>
                <a:ext uri="{FF2B5EF4-FFF2-40B4-BE49-F238E27FC236}">
                  <a16:creationId xmlns:a16="http://schemas.microsoft.com/office/drawing/2014/main" id="{D5E8F6B2-95E3-FBF3-95DA-39C359D1AB47}"/>
                </a:ext>
              </a:extLst>
            </p:cNvPr>
            <p:cNvSpPr/>
            <p:nvPr/>
          </p:nvSpPr>
          <p:spPr>
            <a:xfrm>
              <a:off x="2345656" y="2941775"/>
              <a:ext cx="612213" cy="414564"/>
            </a:xfrm>
            <a:custGeom>
              <a:avLst/>
              <a:gdLst/>
              <a:ahLst/>
              <a:cxnLst>
                <a:cxn ang="0">
                  <a:pos x="wd2" y="hd2"/>
                </a:cxn>
                <a:cxn ang="5400000">
                  <a:pos x="wd2" y="hd2"/>
                </a:cxn>
                <a:cxn ang="10800000">
                  <a:pos x="wd2" y="hd2"/>
                </a:cxn>
                <a:cxn ang="16200000">
                  <a:pos x="wd2" y="hd2"/>
                </a:cxn>
              </a:cxnLst>
              <a:rect l="0" t="0" r="r" b="b"/>
              <a:pathLst>
                <a:path w="20699" h="20716" extrusionOk="0">
                  <a:moveTo>
                    <a:pt x="0" y="17902"/>
                  </a:moveTo>
                  <a:cubicBezTo>
                    <a:pt x="171" y="17514"/>
                    <a:pt x="171" y="16875"/>
                    <a:pt x="434" y="16740"/>
                  </a:cubicBezTo>
                  <a:cubicBezTo>
                    <a:pt x="867" y="16353"/>
                    <a:pt x="1483" y="16875"/>
                    <a:pt x="1837" y="16605"/>
                  </a:cubicBezTo>
                  <a:cubicBezTo>
                    <a:pt x="2008" y="16487"/>
                    <a:pt x="1392" y="16353"/>
                    <a:pt x="1392" y="15965"/>
                  </a:cubicBezTo>
                  <a:cubicBezTo>
                    <a:pt x="1392" y="15713"/>
                    <a:pt x="1746" y="15578"/>
                    <a:pt x="1917" y="15326"/>
                  </a:cubicBezTo>
                  <a:cubicBezTo>
                    <a:pt x="2271" y="15191"/>
                    <a:pt x="2613" y="15326"/>
                    <a:pt x="2875" y="15073"/>
                  </a:cubicBezTo>
                  <a:cubicBezTo>
                    <a:pt x="3047" y="14821"/>
                    <a:pt x="2875" y="14433"/>
                    <a:pt x="3047" y="14164"/>
                  </a:cubicBezTo>
                  <a:cubicBezTo>
                    <a:pt x="3138" y="14046"/>
                    <a:pt x="3309" y="14046"/>
                    <a:pt x="3492" y="14046"/>
                  </a:cubicBezTo>
                  <a:cubicBezTo>
                    <a:pt x="3571" y="14164"/>
                    <a:pt x="3571" y="14551"/>
                    <a:pt x="3663" y="14686"/>
                  </a:cubicBezTo>
                  <a:cubicBezTo>
                    <a:pt x="4188" y="14821"/>
                    <a:pt x="4713" y="14551"/>
                    <a:pt x="5226" y="14686"/>
                  </a:cubicBezTo>
                  <a:cubicBezTo>
                    <a:pt x="5488" y="14686"/>
                    <a:pt x="5671" y="15073"/>
                    <a:pt x="5842" y="15073"/>
                  </a:cubicBezTo>
                  <a:cubicBezTo>
                    <a:pt x="6105" y="15073"/>
                    <a:pt x="6447" y="14939"/>
                    <a:pt x="6618" y="14686"/>
                  </a:cubicBezTo>
                  <a:cubicBezTo>
                    <a:pt x="6801" y="14551"/>
                    <a:pt x="6618" y="14046"/>
                    <a:pt x="6709" y="13912"/>
                  </a:cubicBezTo>
                  <a:cubicBezTo>
                    <a:pt x="6801" y="13659"/>
                    <a:pt x="7063" y="13524"/>
                    <a:pt x="7234" y="13390"/>
                  </a:cubicBezTo>
                  <a:cubicBezTo>
                    <a:pt x="7405" y="13390"/>
                    <a:pt x="7668" y="13659"/>
                    <a:pt x="7850" y="13659"/>
                  </a:cubicBezTo>
                  <a:cubicBezTo>
                    <a:pt x="7930" y="13659"/>
                    <a:pt x="8113" y="13659"/>
                    <a:pt x="8113" y="13524"/>
                  </a:cubicBezTo>
                  <a:cubicBezTo>
                    <a:pt x="8113" y="13272"/>
                    <a:pt x="7850" y="13019"/>
                    <a:pt x="7930" y="12885"/>
                  </a:cubicBezTo>
                  <a:cubicBezTo>
                    <a:pt x="8022" y="12497"/>
                    <a:pt x="8546" y="12750"/>
                    <a:pt x="8626" y="12363"/>
                  </a:cubicBezTo>
                  <a:cubicBezTo>
                    <a:pt x="8809" y="11975"/>
                    <a:pt x="8626" y="11470"/>
                    <a:pt x="8546" y="11083"/>
                  </a:cubicBezTo>
                  <a:cubicBezTo>
                    <a:pt x="8455" y="10831"/>
                    <a:pt x="8284" y="10561"/>
                    <a:pt x="8113" y="10443"/>
                  </a:cubicBezTo>
                  <a:cubicBezTo>
                    <a:pt x="7759" y="10191"/>
                    <a:pt x="7326" y="10561"/>
                    <a:pt x="6972" y="10309"/>
                  </a:cubicBezTo>
                  <a:cubicBezTo>
                    <a:pt x="6801" y="10191"/>
                    <a:pt x="6972" y="9804"/>
                    <a:pt x="6972" y="9534"/>
                  </a:cubicBezTo>
                  <a:cubicBezTo>
                    <a:pt x="6881" y="9282"/>
                    <a:pt x="6538" y="9282"/>
                    <a:pt x="6538" y="9029"/>
                  </a:cubicBezTo>
                  <a:cubicBezTo>
                    <a:pt x="6538" y="8642"/>
                    <a:pt x="6801" y="8255"/>
                    <a:pt x="6972" y="8002"/>
                  </a:cubicBezTo>
                  <a:cubicBezTo>
                    <a:pt x="7143" y="7868"/>
                    <a:pt x="7405" y="8255"/>
                    <a:pt x="7588" y="8255"/>
                  </a:cubicBezTo>
                  <a:cubicBezTo>
                    <a:pt x="7759" y="8120"/>
                    <a:pt x="7930" y="8120"/>
                    <a:pt x="8022" y="7868"/>
                  </a:cubicBezTo>
                  <a:cubicBezTo>
                    <a:pt x="8193" y="7480"/>
                    <a:pt x="8113" y="6841"/>
                    <a:pt x="8284" y="6319"/>
                  </a:cubicBezTo>
                  <a:cubicBezTo>
                    <a:pt x="8364" y="5931"/>
                    <a:pt x="8626" y="5814"/>
                    <a:pt x="8718" y="5561"/>
                  </a:cubicBezTo>
                  <a:cubicBezTo>
                    <a:pt x="8809" y="5174"/>
                    <a:pt x="8626" y="4517"/>
                    <a:pt x="9151" y="4147"/>
                  </a:cubicBezTo>
                  <a:cubicBezTo>
                    <a:pt x="11319" y="4147"/>
                    <a:pt x="13407" y="22"/>
                    <a:pt x="15507" y="22"/>
                  </a:cubicBezTo>
                  <a:cubicBezTo>
                    <a:pt x="16899" y="22"/>
                    <a:pt x="16979" y="-365"/>
                    <a:pt x="16808" y="2076"/>
                  </a:cubicBezTo>
                  <a:cubicBezTo>
                    <a:pt x="16728" y="3878"/>
                    <a:pt x="16899" y="5426"/>
                    <a:pt x="18291" y="5561"/>
                  </a:cubicBezTo>
                  <a:cubicBezTo>
                    <a:pt x="18987" y="5814"/>
                    <a:pt x="21600" y="8002"/>
                    <a:pt x="20379" y="8895"/>
                  </a:cubicBezTo>
                  <a:cubicBezTo>
                    <a:pt x="19945" y="9147"/>
                    <a:pt x="19512" y="10191"/>
                    <a:pt x="19078" y="10561"/>
                  </a:cubicBezTo>
                  <a:cubicBezTo>
                    <a:pt x="18645" y="11218"/>
                    <a:pt x="17161" y="12363"/>
                    <a:pt x="16636" y="12497"/>
                  </a:cubicBezTo>
                  <a:cubicBezTo>
                    <a:pt x="15507" y="12632"/>
                    <a:pt x="15678" y="11975"/>
                    <a:pt x="14891" y="11470"/>
                  </a:cubicBezTo>
                  <a:cubicBezTo>
                    <a:pt x="14286" y="11083"/>
                    <a:pt x="12449" y="13777"/>
                    <a:pt x="11935" y="14299"/>
                  </a:cubicBezTo>
                  <a:cubicBezTo>
                    <a:pt x="11582" y="14686"/>
                    <a:pt x="10977" y="15326"/>
                    <a:pt x="10794" y="15848"/>
                  </a:cubicBezTo>
                  <a:cubicBezTo>
                    <a:pt x="10532" y="16740"/>
                    <a:pt x="10886" y="17514"/>
                    <a:pt x="10269" y="18289"/>
                  </a:cubicBezTo>
                  <a:cubicBezTo>
                    <a:pt x="10007" y="18794"/>
                    <a:pt x="9414" y="19063"/>
                    <a:pt x="8980" y="18794"/>
                  </a:cubicBezTo>
                  <a:cubicBezTo>
                    <a:pt x="8455" y="18541"/>
                    <a:pt x="7326" y="19450"/>
                    <a:pt x="6881" y="19821"/>
                  </a:cubicBezTo>
                  <a:cubicBezTo>
                    <a:pt x="6447" y="19955"/>
                    <a:pt x="6709" y="21235"/>
                    <a:pt x="5922" y="20477"/>
                  </a:cubicBezTo>
                  <a:cubicBezTo>
                    <a:pt x="5580" y="20090"/>
                    <a:pt x="4884" y="19821"/>
                    <a:pt x="4450" y="19821"/>
                  </a:cubicBezTo>
                  <a:cubicBezTo>
                    <a:pt x="3663" y="19703"/>
                    <a:pt x="3309" y="18929"/>
                    <a:pt x="2442" y="18929"/>
                  </a:cubicBezTo>
                  <a:cubicBezTo>
                    <a:pt x="1837" y="18929"/>
                    <a:pt x="1130" y="19181"/>
                    <a:pt x="525" y="19181"/>
                  </a:cubicBezTo>
                  <a:cubicBezTo>
                    <a:pt x="0" y="17902"/>
                    <a:pt x="0" y="17902"/>
                    <a:pt x="0" y="1790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4" name="Shape 2479">
              <a:extLst>
                <a:ext uri="{FF2B5EF4-FFF2-40B4-BE49-F238E27FC236}">
                  <a16:creationId xmlns:a16="http://schemas.microsoft.com/office/drawing/2014/main" id="{000AA472-7199-1886-CF89-484A43291CA5}"/>
                </a:ext>
              </a:extLst>
            </p:cNvPr>
            <p:cNvSpPr/>
            <p:nvPr/>
          </p:nvSpPr>
          <p:spPr>
            <a:xfrm>
              <a:off x="2272817" y="3172233"/>
              <a:ext cx="159773" cy="127601"/>
            </a:xfrm>
            <a:custGeom>
              <a:avLst/>
              <a:gdLst/>
              <a:ahLst/>
              <a:cxnLst>
                <a:cxn ang="0">
                  <a:pos x="wd2" y="hd2"/>
                </a:cxn>
                <a:cxn ang="5400000">
                  <a:pos x="wd2" y="hd2"/>
                </a:cxn>
                <a:cxn ang="10800000">
                  <a:pos x="wd2" y="hd2"/>
                </a:cxn>
                <a:cxn ang="16200000">
                  <a:pos x="wd2" y="hd2"/>
                </a:cxn>
              </a:cxnLst>
              <a:rect l="0" t="0" r="r" b="b"/>
              <a:pathLst>
                <a:path w="21344" h="21367" extrusionOk="0">
                  <a:moveTo>
                    <a:pt x="9610" y="21367"/>
                  </a:moveTo>
                  <a:cubicBezTo>
                    <a:pt x="10284" y="20066"/>
                    <a:pt x="10284" y="17918"/>
                    <a:pt x="11316" y="17465"/>
                  </a:cubicBezTo>
                  <a:cubicBezTo>
                    <a:pt x="13023" y="16165"/>
                    <a:pt x="15448" y="17918"/>
                    <a:pt x="16840" y="17013"/>
                  </a:cubicBezTo>
                  <a:cubicBezTo>
                    <a:pt x="17514" y="16617"/>
                    <a:pt x="15089" y="16165"/>
                    <a:pt x="15089" y="14864"/>
                  </a:cubicBezTo>
                  <a:cubicBezTo>
                    <a:pt x="15089" y="14016"/>
                    <a:pt x="16481" y="13564"/>
                    <a:pt x="17154" y="12716"/>
                  </a:cubicBezTo>
                  <a:cubicBezTo>
                    <a:pt x="17154" y="11415"/>
                    <a:pt x="16121" y="9719"/>
                    <a:pt x="16840" y="8418"/>
                  </a:cubicBezTo>
                  <a:cubicBezTo>
                    <a:pt x="17154" y="7118"/>
                    <a:pt x="19220" y="7514"/>
                    <a:pt x="19894" y="6213"/>
                  </a:cubicBezTo>
                  <a:cubicBezTo>
                    <a:pt x="20567" y="5365"/>
                    <a:pt x="21600" y="4064"/>
                    <a:pt x="21286" y="2764"/>
                  </a:cubicBezTo>
                  <a:cubicBezTo>
                    <a:pt x="21286" y="1463"/>
                    <a:pt x="19894" y="1463"/>
                    <a:pt x="18861" y="1463"/>
                  </a:cubicBezTo>
                  <a:cubicBezTo>
                    <a:pt x="18187" y="1463"/>
                    <a:pt x="18187" y="2764"/>
                    <a:pt x="17514" y="2764"/>
                  </a:cubicBezTo>
                  <a:cubicBezTo>
                    <a:pt x="16840" y="2764"/>
                    <a:pt x="16121" y="2368"/>
                    <a:pt x="15807" y="2368"/>
                  </a:cubicBezTo>
                  <a:cubicBezTo>
                    <a:pt x="15089" y="2764"/>
                    <a:pt x="15089" y="4064"/>
                    <a:pt x="14415" y="4064"/>
                  </a:cubicBezTo>
                  <a:cubicBezTo>
                    <a:pt x="13023" y="4064"/>
                    <a:pt x="11676" y="4064"/>
                    <a:pt x="10284" y="3216"/>
                  </a:cubicBezTo>
                  <a:cubicBezTo>
                    <a:pt x="9610" y="2764"/>
                    <a:pt x="9610" y="1463"/>
                    <a:pt x="8936" y="615"/>
                  </a:cubicBezTo>
                  <a:cubicBezTo>
                    <a:pt x="8577" y="163"/>
                    <a:pt x="8218" y="-233"/>
                    <a:pt x="7904" y="163"/>
                  </a:cubicBezTo>
                  <a:cubicBezTo>
                    <a:pt x="6197" y="615"/>
                    <a:pt x="4805" y="1916"/>
                    <a:pt x="3099" y="2764"/>
                  </a:cubicBezTo>
                  <a:cubicBezTo>
                    <a:pt x="2739" y="3669"/>
                    <a:pt x="1706" y="4064"/>
                    <a:pt x="1392" y="4969"/>
                  </a:cubicBezTo>
                  <a:cubicBezTo>
                    <a:pt x="1033" y="6665"/>
                    <a:pt x="1392" y="7966"/>
                    <a:pt x="1392" y="9719"/>
                  </a:cubicBezTo>
                  <a:cubicBezTo>
                    <a:pt x="1392" y="10567"/>
                    <a:pt x="1392" y="11415"/>
                    <a:pt x="1392" y="11868"/>
                  </a:cubicBezTo>
                  <a:cubicBezTo>
                    <a:pt x="1033" y="12716"/>
                    <a:pt x="359" y="12263"/>
                    <a:pt x="0" y="12716"/>
                  </a:cubicBezTo>
                  <a:cubicBezTo>
                    <a:pt x="0" y="13564"/>
                    <a:pt x="359" y="14469"/>
                    <a:pt x="719" y="14864"/>
                  </a:cubicBezTo>
                  <a:cubicBezTo>
                    <a:pt x="1706" y="15713"/>
                    <a:pt x="3458" y="16165"/>
                    <a:pt x="4805" y="17013"/>
                  </a:cubicBezTo>
                  <a:cubicBezTo>
                    <a:pt x="9610" y="21367"/>
                    <a:pt x="9610" y="21367"/>
                    <a:pt x="9610" y="2136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5" name="Shape 2480">
              <a:extLst>
                <a:ext uri="{FF2B5EF4-FFF2-40B4-BE49-F238E27FC236}">
                  <a16:creationId xmlns:a16="http://schemas.microsoft.com/office/drawing/2014/main" id="{45E9DE7F-E337-61EC-D3E5-F599B03417D3}"/>
                </a:ext>
              </a:extLst>
            </p:cNvPr>
            <p:cNvSpPr/>
            <p:nvPr/>
          </p:nvSpPr>
          <p:spPr>
            <a:xfrm>
              <a:off x="1763725" y="2856178"/>
              <a:ext cx="547259" cy="548304"/>
            </a:xfrm>
            <a:custGeom>
              <a:avLst/>
              <a:gdLst/>
              <a:ahLst/>
              <a:cxnLst>
                <a:cxn ang="0">
                  <a:pos x="wd2" y="hd2"/>
                </a:cxn>
                <a:cxn ang="5400000">
                  <a:pos x="wd2" y="hd2"/>
                </a:cxn>
                <a:cxn ang="10800000">
                  <a:pos x="wd2" y="hd2"/>
                </a:cxn>
                <a:cxn ang="16200000">
                  <a:pos x="wd2" y="hd2"/>
                </a:cxn>
              </a:cxnLst>
              <a:rect l="0" t="0" r="r" b="b"/>
              <a:pathLst>
                <a:path w="21448" h="21487" extrusionOk="0">
                  <a:moveTo>
                    <a:pt x="6372" y="16978"/>
                  </a:moveTo>
                  <a:cubicBezTo>
                    <a:pt x="6676" y="17084"/>
                    <a:pt x="6980" y="17177"/>
                    <a:pt x="7376" y="17282"/>
                  </a:cubicBezTo>
                  <a:cubicBezTo>
                    <a:pt x="7482" y="17282"/>
                    <a:pt x="7680" y="17177"/>
                    <a:pt x="7786" y="17282"/>
                  </a:cubicBezTo>
                  <a:cubicBezTo>
                    <a:pt x="7984" y="17282"/>
                    <a:pt x="7984" y="17480"/>
                    <a:pt x="8195" y="17586"/>
                  </a:cubicBezTo>
                  <a:cubicBezTo>
                    <a:pt x="8393" y="17692"/>
                    <a:pt x="8790" y="17480"/>
                    <a:pt x="8895" y="17784"/>
                  </a:cubicBezTo>
                  <a:cubicBezTo>
                    <a:pt x="9001" y="17890"/>
                    <a:pt x="8486" y="17890"/>
                    <a:pt x="8393" y="18088"/>
                  </a:cubicBezTo>
                  <a:cubicBezTo>
                    <a:pt x="8393" y="18696"/>
                    <a:pt x="8592" y="19198"/>
                    <a:pt x="8790" y="19700"/>
                  </a:cubicBezTo>
                  <a:cubicBezTo>
                    <a:pt x="8895" y="19806"/>
                    <a:pt x="9094" y="19607"/>
                    <a:pt x="9199" y="19700"/>
                  </a:cubicBezTo>
                  <a:cubicBezTo>
                    <a:pt x="9503" y="20004"/>
                    <a:pt x="9503" y="20413"/>
                    <a:pt x="9807" y="20717"/>
                  </a:cubicBezTo>
                  <a:cubicBezTo>
                    <a:pt x="9900" y="20810"/>
                    <a:pt x="10111" y="20810"/>
                    <a:pt x="10203" y="20915"/>
                  </a:cubicBezTo>
                  <a:cubicBezTo>
                    <a:pt x="10507" y="20810"/>
                    <a:pt x="10705" y="20506"/>
                    <a:pt x="11009" y="20611"/>
                  </a:cubicBezTo>
                  <a:cubicBezTo>
                    <a:pt x="11313" y="20717"/>
                    <a:pt x="11419" y="21219"/>
                    <a:pt x="11723" y="21325"/>
                  </a:cubicBezTo>
                  <a:cubicBezTo>
                    <a:pt x="11815" y="21523"/>
                    <a:pt x="12119" y="21523"/>
                    <a:pt x="12330" y="21417"/>
                  </a:cubicBezTo>
                  <a:cubicBezTo>
                    <a:pt x="12634" y="21325"/>
                    <a:pt x="12727" y="21021"/>
                    <a:pt x="12938" y="20717"/>
                  </a:cubicBezTo>
                  <a:cubicBezTo>
                    <a:pt x="12938" y="20611"/>
                    <a:pt x="12938" y="20308"/>
                    <a:pt x="12832" y="20109"/>
                  </a:cubicBezTo>
                  <a:cubicBezTo>
                    <a:pt x="12832" y="19806"/>
                    <a:pt x="12529" y="19409"/>
                    <a:pt x="12529" y="19105"/>
                  </a:cubicBezTo>
                  <a:cubicBezTo>
                    <a:pt x="12529" y="19000"/>
                    <a:pt x="12634" y="18894"/>
                    <a:pt x="12727" y="18894"/>
                  </a:cubicBezTo>
                  <a:cubicBezTo>
                    <a:pt x="12938" y="19000"/>
                    <a:pt x="13136" y="19198"/>
                    <a:pt x="13440" y="19198"/>
                  </a:cubicBezTo>
                  <a:cubicBezTo>
                    <a:pt x="13533" y="19304"/>
                    <a:pt x="13836" y="19198"/>
                    <a:pt x="14048" y="19198"/>
                  </a:cubicBezTo>
                  <a:cubicBezTo>
                    <a:pt x="14140" y="19304"/>
                    <a:pt x="14338" y="19607"/>
                    <a:pt x="14550" y="19502"/>
                  </a:cubicBezTo>
                  <a:cubicBezTo>
                    <a:pt x="14854" y="19409"/>
                    <a:pt x="14946" y="18894"/>
                    <a:pt x="15250" y="18894"/>
                  </a:cubicBezTo>
                  <a:cubicBezTo>
                    <a:pt x="15448" y="18894"/>
                    <a:pt x="15356" y="19409"/>
                    <a:pt x="15448" y="19607"/>
                  </a:cubicBezTo>
                  <a:cubicBezTo>
                    <a:pt x="15752" y="19502"/>
                    <a:pt x="16056" y="19502"/>
                    <a:pt x="16360" y="19304"/>
                  </a:cubicBezTo>
                  <a:cubicBezTo>
                    <a:pt x="16465" y="19304"/>
                    <a:pt x="16465" y="19000"/>
                    <a:pt x="16571" y="19000"/>
                  </a:cubicBezTo>
                  <a:cubicBezTo>
                    <a:pt x="17073" y="18894"/>
                    <a:pt x="17575" y="19000"/>
                    <a:pt x="18077" y="18894"/>
                  </a:cubicBezTo>
                  <a:cubicBezTo>
                    <a:pt x="18183" y="18696"/>
                    <a:pt x="18275" y="18392"/>
                    <a:pt x="18487" y="18392"/>
                  </a:cubicBezTo>
                  <a:cubicBezTo>
                    <a:pt x="18989" y="18300"/>
                    <a:pt x="19596" y="18498"/>
                    <a:pt x="20204" y="18498"/>
                  </a:cubicBezTo>
                  <a:cubicBezTo>
                    <a:pt x="20495" y="18498"/>
                    <a:pt x="20904" y="18498"/>
                    <a:pt x="21208" y="18300"/>
                  </a:cubicBezTo>
                  <a:cubicBezTo>
                    <a:pt x="21406" y="18300"/>
                    <a:pt x="21512" y="18088"/>
                    <a:pt x="21406" y="17996"/>
                  </a:cubicBezTo>
                  <a:cubicBezTo>
                    <a:pt x="21406" y="17784"/>
                    <a:pt x="21010" y="17692"/>
                    <a:pt x="20904" y="17388"/>
                  </a:cubicBezTo>
                  <a:cubicBezTo>
                    <a:pt x="20904" y="16978"/>
                    <a:pt x="21208" y="16675"/>
                    <a:pt x="21406" y="16371"/>
                  </a:cubicBezTo>
                  <a:cubicBezTo>
                    <a:pt x="21010" y="16173"/>
                    <a:pt x="20495" y="16067"/>
                    <a:pt x="20204" y="15869"/>
                  </a:cubicBezTo>
                  <a:cubicBezTo>
                    <a:pt x="20098" y="15776"/>
                    <a:pt x="19993" y="15565"/>
                    <a:pt x="19993" y="15367"/>
                  </a:cubicBezTo>
                  <a:cubicBezTo>
                    <a:pt x="20098" y="15261"/>
                    <a:pt x="20297" y="15367"/>
                    <a:pt x="20402" y="15169"/>
                  </a:cubicBezTo>
                  <a:cubicBezTo>
                    <a:pt x="20402" y="15063"/>
                    <a:pt x="20402" y="14865"/>
                    <a:pt x="20402" y="14666"/>
                  </a:cubicBezTo>
                  <a:cubicBezTo>
                    <a:pt x="20402" y="14257"/>
                    <a:pt x="20297" y="13953"/>
                    <a:pt x="20402" y="13557"/>
                  </a:cubicBezTo>
                  <a:cubicBezTo>
                    <a:pt x="20495" y="13345"/>
                    <a:pt x="20799" y="13253"/>
                    <a:pt x="20904" y="13042"/>
                  </a:cubicBezTo>
                  <a:cubicBezTo>
                    <a:pt x="20799" y="12738"/>
                    <a:pt x="20904" y="12236"/>
                    <a:pt x="20600" y="11932"/>
                  </a:cubicBezTo>
                  <a:cubicBezTo>
                    <a:pt x="20495" y="11839"/>
                    <a:pt x="20297" y="12341"/>
                    <a:pt x="20098" y="12236"/>
                  </a:cubicBezTo>
                  <a:cubicBezTo>
                    <a:pt x="19900" y="12236"/>
                    <a:pt x="19900" y="11839"/>
                    <a:pt x="19689" y="11734"/>
                  </a:cubicBezTo>
                  <a:cubicBezTo>
                    <a:pt x="19385" y="11628"/>
                    <a:pt x="19081" y="11932"/>
                    <a:pt x="18777" y="11734"/>
                  </a:cubicBezTo>
                  <a:cubicBezTo>
                    <a:pt x="18275" y="11337"/>
                    <a:pt x="18077" y="10518"/>
                    <a:pt x="17469" y="10016"/>
                  </a:cubicBezTo>
                  <a:cubicBezTo>
                    <a:pt x="17271" y="9924"/>
                    <a:pt x="16875" y="10122"/>
                    <a:pt x="16571" y="10122"/>
                  </a:cubicBezTo>
                  <a:cubicBezTo>
                    <a:pt x="16267" y="10016"/>
                    <a:pt x="16162" y="9620"/>
                    <a:pt x="15963" y="9620"/>
                  </a:cubicBezTo>
                  <a:cubicBezTo>
                    <a:pt x="15660" y="9620"/>
                    <a:pt x="15554" y="10016"/>
                    <a:pt x="15356" y="9924"/>
                  </a:cubicBezTo>
                  <a:cubicBezTo>
                    <a:pt x="14642" y="9712"/>
                    <a:pt x="14048" y="9316"/>
                    <a:pt x="13440" y="8801"/>
                  </a:cubicBezTo>
                  <a:cubicBezTo>
                    <a:pt x="13136" y="8603"/>
                    <a:pt x="12832" y="8404"/>
                    <a:pt x="12634" y="8101"/>
                  </a:cubicBezTo>
                  <a:cubicBezTo>
                    <a:pt x="12529" y="7902"/>
                    <a:pt x="12938" y="7797"/>
                    <a:pt x="12938" y="7599"/>
                  </a:cubicBezTo>
                  <a:cubicBezTo>
                    <a:pt x="12938" y="7400"/>
                    <a:pt x="12529" y="7295"/>
                    <a:pt x="12529" y="7097"/>
                  </a:cubicBezTo>
                  <a:cubicBezTo>
                    <a:pt x="12423" y="6793"/>
                    <a:pt x="12330" y="6383"/>
                    <a:pt x="12529" y="6079"/>
                  </a:cubicBezTo>
                  <a:cubicBezTo>
                    <a:pt x="12727" y="5881"/>
                    <a:pt x="13334" y="6291"/>
                    <a:pt x="13440" y="5987"/>
                  </a:cubicBezTo>
                  <a:cubicBezTo>
                    <a:pt x="13744" y="5075"/>
                    <a:pt x="13136" y="4164"/>
                    <a:pt x="13440" y="3265"/>
                  </a:cubicBezTo>
                  <a:cubicBezTo>
                    <a:pt x="13533" y="2962"/>
                    <a:pt x="13942" y="3767"/>
                    <a:pt x="14246" y="3767"/>
                  </a:cubicBezTo>
                  <a:cubicBezTo>
                    <a:pt x="14444" y="3767"/>
                    <a:pt x="14444" y="3358"/>
                    <a:pt x="14748" y="3265"/>
                  </a:cubicBezTo>
                  <a:cubicBezTo>
                    <a:pt x="14854" y="3160"/>
                    <a:pt x="15250" y="3265"/>
                    <a:pt x="15356" y="3054"/>
                  </a:cubicBezTo>
                  <a:cubicBezTo>
                    <a:pt x="15448" y="2750"/>
                    <a:pt x="15356" y="2248"/>
                    <a:pt x="15250" y="1944"/>
                  </a:cubicBezTo>
                  <a:cubicBezTo>
                    <a:pt x="15052" y="1640"/>
                    <a:pt x="14748" y="1337"/>
                    <a:pt x="14444" y="1337"/>
                  </a:cubicBezTo>
                  <a:cubicBezTo>
                    <a:pt x="13334" y="1535"/>
                    <a:pt x="12423" y="2750"/>
                    <a:pt x="11313" y="2658"/>
                  </a:cubicBezTo>
                  <a:cubicBezTo>
                    <a:pt x="10811" y="2552"/>
                    <a:pt x="11419" y="1535"/>
                    <a:pt x="11221" y="1033"/>
                  </a:cubicBezTo>
                  <a:cubicBezTo>
                    <a:pt x="11115" y="729"/>
                    <a:pt x="10811" y="531"/>
                    <a:pt x="10613" y="333"/>
                  </a:cubicBezTo>
                  <a:cubicBezTo>
                    <a:pt x="10415" y="134"/>
                    <a:pt x="10203" y="-77"/>
                    <a:pt x="10005" y="29"/>
                  </a:cubicBezTo>
                  <a:cubicBezTo>
                    <a:pt x="9807" y="29"/>
                    <a:pt x="9807" y="333"/>
                    <a:pt x="9609" y="438"/>
                  </a:cubicBezTo>
                  <a:cubicBezTo>
                    <a:pt x="8895" y="729"/>
                    <a:pt x="8288" y="940"/>
                    <a:pt x="7482" y="1138"/>
                  </a:cubicBezTo>
                  <a:cubicBezTo>
                    <a:pt x="7376" y="1138"/>
                    <a:pt x="7284" y="835"/>
                    <a:pt x="7178" y="729"/>
                  </a:cubicBezTo>
                  <a:cubicBezTo>
                    <a:pt x="6874" y="729"/>
                    <a:pt x="6570" y="729"/>
                    <a:pt x="6478" y="940"/>
                  </a:cubicBezTo>
                  <a:cubicBezTo>
                    <a:pt x="6372" y="1138"/>
                    <a:pt x="6874" y="1442"/>
                    <a:pt x="6676" y="1535"/>
                  </a:cubicBezTo>
                  <a:cubicBezTo>
                    <a:pt x="6266" y="1746"/>
                    <a:pt x="5764" y="1442"/>
                    <a:pt x="5368" y="1535"/>
                  </a:cubicBezTo>
                  <a:cubicBezTo>
                    <a:pt x="5157" y="1640"/>
                    <a:pt x="4959" y="1746"/>
                    <a:pt x="4760" y="1944"/>
                  </a:cubicBezTo>
                  <a:cubicBezTo>
                    <a:pt x="4655" y="2050"/>
                    <a:pt x="4760" y="2248"/>
                    <a:pt x="4655" y="2446"/>
                  </a:cubicBezTo>
                  <a:cubicBezTo>
                    <a:pt x="4562" y="2552"/>
                    <a:pt x="4351" y="2446"/>
                    <a:pt x="4153" y="2446"/>
                  </a:cubicBezTo>
                  <a:cubicBezTo>
                    <a:pt x="3955" y="2658"/>
                    <a:pt x="3849" y="3054"/>
                    <a:pt x="3545" y="3054"/>
                  </a:cubicBezTo>
                  <a:cubicBezTo>
                    <a:pt x="3347" y="3160"/>
                    <a:pt x="3149" y="2856"/>
                    <a:pt x="2845" y="2856"/>
                  </a:cubicBezTo>
                  <a:cubicBezTo>
                    <a:pt x="2633" y="2856"/>
                    <a:pt x="2541" y="2962"/>
                    <a:pt x="2435" y="3054"/>
                  </a:cubicBezTo>
                  <a:cubicBezTo>
                    <a:pt x="2237" y="3265"/>
                    <a:pt x="2435" y="3662"/>
                    <a:pt x="2237" y="3860"/>
                  </a:cubicBezTo>
                  <a:cubicBezTo>
                    <a:pt x="2131" y="4071"/>
                    <a:pt x="1828" y="3767"/>
                    <a:pt x="1735" y="3860"/>
                  </a:cubicBezTo>
                  <a:cubicBezTo>
                    <a:pt x="1233" y="4269"/>
                    <a:pt x="824" y="4877"/>
                    <a:pt x="414" y="5379"/>
                  </a:cubicBezTo>
                  <a:cubicBezTo>
                    <a:pt x="322" y="5577"/>
                    <a:pt x="-88" y="5881"/>
                    <a:pt x="18" y="6185"/>
                  </a:cubicBezTo>
                  <a:cubicBezTo>
                    <a:pt x="216" y="6687"/>
                    <a:pt x="929" y="6885"/>
                    <a:pt x="1233" y="7400"/>
                  </a:cubicBezTo>
                  <a:cubicBezTo>
                    <a:pt x="1326" y="7493"/>
                    <a:pt x="1022" y="7797"/>
                    <a:pt x="1233" y="7902"/>
                  </a:cubicBezTo>
                  <a:cubicBezTo>
                    <a:pt x="1537" y="7995"/>
                    <a:pt x="1933" y="7704"/>
                    <a:pt x="2343" y="7797"/>
                  </a:cubicBezTo>
                  <a:cubicBezTo>
                    <a:pt x="2739" y="7797"/>
                    <a:pt x="3347" y="7704"/>
                    <a:pt x="3743" y="7995"/>
                  </a:cubicBezTo>
                  <a:cubicBezTo>
                    <a:pt x="3955" y="8206"/>
                    <a:pt x="3439" y="8510"/>
                    <a:pt x="3439" y="8801"/>
                  </a:cubicBezTo>
                  <a:cubicBezTo>
                    <a:pt x="3439" y="9105"/>
                    <a:pt x="3849" y="9409"/>
                    <a:pt x="3651" y="9712"/>
                  </a:cubicBezTo>
                  <a:cubicBezTo>
                    <a:pt x="3651" y="9924"/>
                    <a:pt x="3043" y="9514"/>
                    <a:pt x="3043" y="9712"/>
                  </a:cubicBezTo>
                  <a:cubicBezTo>
                    <a:pt x="2845" y="10320"/>
                    <a:pt x="3241" y="10928"/>
                    <a:pt x="3241" y="11535"/>
                  </a:cubicBezTo>
                  <a:cubicBezTo>
                    <a:pt x="3241" y="11932"/>
                    <a:pt x="3043" y="12341"/>
                    <a:pt x="3149" y="12645"/>
                  </a:cubicBezTo>
                  <a:cubicBezTo>
                    <a:pt x="3149" y="13147"/>
                    <a:pt x="3439" y="13557"/>
                    <a:pt x="3651" y="13953"/>
                  </a:cubicBezTo>
                  <a:cubicBezTo>
                    <a:pt x="3849" y="14455"/>
                    <a:pt x="3849" y="15169"/>
                    <a:pt x="4258" y="15565"/>
                  </a:cubicBezTo>
                  <a:cubicBezTo>
                    <a:pt x="4655" y="15974"/>
                    <a:pt x="5368" y="15565"/>
                    <a:pt x="5764" y="15869"/>
                  </a:cubicBezTo>
                  <a:cubicBezTo>
                    <a:pt x="6068" y="16067"/>
                    <a:pt x="6174" y="16582"/>
                    <a:pt x="6372" y="1697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6" name="Shape 2481">
              <a:extLst>
                <a:ext uri="{FF2B5EF4-FFF2-40B4-BE49-F238E27FC236}">
                  <a16:creationId xmlns:a16="http://schemas.microsoft.com/office/drawing/2014/main" id="{801A28E0-0590-BD14-E49A-BB23871B2599}"/>
                </a:ext>
              </a:extLst>
            </p:cNvPr>
            <p:cNvSpPr/>
            <p:nvPr/>
          </p:nvSpPr>
          <p:spPr>
            <a:xfrm>
              <a:off x="4213727" y="7917894"/>
              <a:ext cx="119008" cy="85450"/>
            </a:xfrm>
            <a:custGeom>
              <a:avLst/>
              <a:gdLst/>
              <a:ahLst/>
              <a:cxnLst>
                <a:cxn ang="0">
                  <a:pos x="wd2" y="hd2"/>
                </a:cxn>
                <a:cxn ang="5400000">
                  <a:pos x="wd2" y="hd2"/>
                </a:cxn>
                <a:cxn ang="10800000">
                  <a:pos x="wd2" y="hd2"/>
                </a:cxn>
                <a:cxn ang="16200000">
                  <a:pos x="wd2" y="hd2"/>
                </a:cxn>
              </a:cxnLst>
              <a:rect l="0" t="0" r="r" b="b"/>
              <a:pathLst>
                <a:path w="20892" h="21125" extrusionOk="0">
                  <a:moveTo>
                    <a:pt x="18185" y="21125"/>
                  </a:moveTo>
                  <a:cubicBezTo>
                    <a:pt x="19067" y="19214"/>
                    <a:pt x="20892" y="16057"/>
                    <a:pt x="20892" y="14147"/>
                  </a:cubicBezTo>
                  <a:cubicBezTo>
                    <a:pt x="20892" y="12236"/>
                    <a:pt x="20421" y="10325"/>
                    <a:pt x="19067" y="9743"/>
                  </a:cubicBezTo>
                  <a:cubicBezTo>
                    <a:pt x="18185" y="9079"/>
                    <a:pt x="16360" y="10990"/>
                    <a:pt x="15477" y="9743"/>
                  </a:cubicBezTo>
                  <a:cubicBezTo>
                    <a:pt x="14594" y="8414"/>
                    <a:pt x="15477" y="5257"/>
                    <a:pt x="14594" y="4011"/>
                  </a:cubicBezTo>
                  <a:cubicBezTo>
                    <a:pt x="13653" y="2100"/>
                    <a:pt x="11416" y="2100"/>
                    <a:pt x="10063" y="1436"/>
                  </a:cubicBezTo>
                  <a:cubicBezTo>
                    <a:pt x="8768" y="771"/>
                    <a:pt x="7414" y="-475"/>
                    <a:pt x="6060" y="190"/>
                  </a:cubicBezTo>
                  <a:cubicBezTo>
                    <a:pt x="5119" y="190"/>
                    <a:pt x="5590" y="3347"/>
                    <a:pt x="4707" y="4011"/>
                  </a:cubicBezTo>
                  <a:cubicBezTo>
                    <a:pt x="3353" y="5257"/>
                    <a:pt x="646" y="2100"/>
                    <a:pt x="175" y="4011"/>
                  </a:cubicBezTo>
                  <a:cubicBezTo>
                    <a:pt x="-708" y="7168"/>
                    <a:pt x="1999" y="12900"/>
                    <a:pt x="2882" y="16057"/>
                  </a:cubicBezTo>
                  <a:cubicBezTo>
                    <a:pt x="8297" y="16722"/>
                    <a:pt x="13241" y="18550"/>
                    <a:pt x="18185" y="2112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7" name="Shape 2482">
              <a:extLst>
                <a:ext uri="{FF2B5EF4-FFF2-40B4-BE49-F238E27FC236}">
                  <a16:creationId xmlns:a16="http://schemas.microsoft.com/office/drawing/2014/main" id="{F97D7665-7C4F-B4EF-053C-99EE85E0C5DB}"/>
                </a:ext>
              </a:extLst>
            </p:cNvPr>
            <p:cNvSpPr/>
            <p:nvPr/>
          </p:nvSpPr>
          <p:spPr>
            <a:xfrm>
              <a:off x="4270637" y="7697954"/>
              <a:ext cx="528085" cy="354120"/>
            </a:xfrm>
            <a:custGeom>
              <a:avLst/>
              <a:gdLst/>
              <a:ahLst/>
              <a:cxnLst>
                <a:cxn ang="0">
                  <a:pos x="wd2" y="hd2"/>
                </a:cxn>
                <a:cxn ang="5400000">
                  <a:pos x="wd2" y="hd2"/>
                </a:cxn>
                <a:cxn ang="10800000">
                  <a:pos x="wd2" y="hd2"/>
                </a:cxn>
                <a:cxn ang="16200000">
                  <a:pos x="wd2" y="hd2"/>
                </a:cxn>
              </a:cxnLst>
              <a:rect l="0" t="0" r="r" b="b"/>
              <a:pathLst>
                <a:path w="21508" h="20356" extrusionOk="0">
                  <a:moveTo>
                    <a:pt x="3362" y="555"/>
                  </a:moveTo>
                  <a:cubicBezTo>
                    <a:pt x="3993" y="245"/>
                    <a:pt x="3993" y="245"/>
                    <a:pt x="3993" y="245"/>
                  </a:cubicBezTo>
                  <a:cubicBezTo>
                    <a:pt x="4721" y="245"/>
                    <a:pt x="5558" y="-200"/>
                    <a:pt x="6189" y="110"/>
                  </a:cubicBezTo>
                  <a:cubicBezTo>
                    <a:pt x="6505" y="400"/>
                    <a:pt x="6079" y="1426"/>
                    <a:pt x="6395" y="1581"/>
                  </a:cubicBezTo>
                  <a:cubicBezTo>
                    <a:pt x="7026" y="1871"/>
                    <a:pt x="7767" y="1581"/>
                    <a:pt x="8385" y="1426"/>
                  </a:cubicBezTo>
                  <a:cubicBezTo>
                    <a:pt x="8920" y="1426"/>
                    <a:pt x="9441" y="1135"/>
                    <a:pt x="9963" y="1426"/>
                  </a:cubicBezTo>
                  <a:cubicBezTo>
                    <a:pt x="10388" y="1735"/>
                    <a:pt x="10594" y="2471"/>
                    <a:pt x="10910" y="2916"/>
                  </a:cubicBezTo>
                  <a:cubicBezTo>
                    <a:pt x="11431" y="3497"/>
                    <a:pt x="11953" y="3806"/>
                    <a:pt x="12474" y="4252"/>
                  </a:cubicBezTo>
                  <a:cubicBezTo>
                    <a:pt x="12790" y="4697"/>
                    <a:pt x="12900" y="5277"/>
                    <a:pt x="13215" y="5568"/>
                  </a:cubicBezTo>
                  <a:cubicBezTo>
                    <a:pt x="13737" y="6168"/>
                    <a:pt x="14368" y="6748"/>
                    <a:pt x="15095" y="7058"/>
                  </a:cubicBezTo>
                  <a:cubicBezTo>
                    <a:pt x="15630" y="7058"/>
                    <a:pt x="16042" y="6303"/>
                    <a:pt x="16564" y="6303"/>
                  </a:cubicBezTo>
                  <a:cubicBezTo>
                    <a:pt x="16989" y="6303"/>
                    <a:pt x="17305" y="6903"/>
                    <a:pt x="17716" y="7058"/>
                  </a:cubicBezTo>
                  <a:cubicBezTo>
                    <a:pt x="18142" y="7058"/>
                    <a:pt x="18663" y="6458"/>
                    <a:pt x="19089" y="6748"/>
                  </a:cubicBezTo>
                  <a:cubicBezTo>
                    <a:pt x="19706" y="7348"/>
                    <a:pt x="19926" y="8819"/>
                    <a:pt x="20543" y="9574"/>
                  </a:cubicBezTo>
                  <a:cubicBezTo>
                    <a:pt x="20763" y="9865"/>
                    <a:pt x="21284" y="9129"/>
                    <a:pt x="21490" y="9574"/>
                  </a:cubicBezTo>
                  <a:cubicBezTo>
                    <a:pt x="21600" y="10019"/>
                    <a:pt x="21175" y="11200"/>
                    <a:pt x="21175" y="11626"/>
                  </a:cubicBezTo>
                  <a:cubicBezTo>
                    <a:pt x="20447" y="11490"/>
                    <a:pt x="19610" y="11200"/>
                    <a:pt x="19089" y="11490"/>
                  </a:cubicBezTo>
                  <a:cubicBezTo>
                    <a:pt x="17922" y="12071"/>
                    <a:pt x="17401" y="14006"/>
                    <a:pt x="16358" y="14897"/>
                  </a:cubicBezTo>
                  <a:cubicBezTo>
                    <a:pt x="15932" y="15187"/>
                    <a:pt x="15932" y="15187"/>
                    <a:pt x="15932" y="15187"/>
                  </a:cubicBezTo>
                  <a:cubicBezTo>
                    <a:pt x="12790" y="15923"/>
                    <a:pt x="11431" y="15768"/>
                    <a:pt x="9016" y="19174"/>
                  </a:cubicBezTo>
                  <a:cubicBezTo>
                    <a:pt x="7452" y="21400"/>
                    <a:pt x="6079" y="20065"/>
                    <a:pt x="4405" y="18574"/>
                  </a:cubicBezTo>
                  <a:cubicBezTo>
                    <a:pt x="3993" y="18129"/>
                    <a:pt x="3252" y="18439"/>
                    <a:pt x="2731" y="18129"/>
                  </a:cubicBezTo>
                  <a:cubicBezTo>
                    <a:pt x="2415" y="17839"/>
                    <a:pt x="2209" y="17703"/>
                    <a:pt x="1894" y="17548"/>
                  </a:cubicBezTo>
                  <a:cubicBezTo>
                    <a:pt x="2100" y="17103"/>
                    <a:pt x="2525" y="16368"/>
                    <a:pt x="2525" y="15923"/>
                  </a:cubicBezTo>
                  <a:cubicBezTo>
                    <a:pt x="2525" y="15477"/>
                    <a:pt x="2415" y="15032"/>
                    <a:pt x="2100" y="14897"/>
                  </a:cubicBezTo>
                  <a:cubicBezTo>
                    <a:pt x="1894" y="14742"/>
                    <a:pt x="1468" y="15187"/>
                    <a:pt x="1263" y="14897"/>
                  </a:cubicBezTo>
                  <a:cubicBezTo>
                    <a:pt x="1057" y="14587"/>
                    <a:pt x="1263" y="13852"/>
                    <a:pt x="1057" y="13561"/>
                  </a:cubicBezTo>
                  <a:cubicBezTo>
                    <a:pt x="837" y="13116"/>
                    <a:pt x="316" y="13116"/>
                    <a:pt x="0" y="12961"/>
                  </a:cubicBezTo>
                  <a:cubicBezTo>
                    <a:pt x="110" y="11935"/>
                    <a:pt x="425" y="10890"/>
                    <a:pt x="535" y="9865"/>
                  </a:cubicBezTo>
                  <a:cubicBezTo>
                    <a:pt x="631" y="9419"/>
                    <a:pt x="316" y="8819"/>
                    <a:pt x="425" y="8374"/>
                  </a:cubicBezTo>
                  <a:cubicBezTo>
                    <a:pt x="535" y="8084"/>
                    <a:pt x="741" y="7639"/>
                    <a:pt x="1057" y="7639"/>
                  </a:cubicBezTo>
                  <a:cubicBezTo>
                    <a:pt x="1578" y="7503"/>
                    <a:pt x="2209" y="8684"/>
                    <a:pt x="2621" y="8239"/>
                  </a:cubicBezTo>
                  <a:cubicBezTo>
                    <a:pt x="3156" y="7503"/>
                    <a:pt x="3047" y="6013"/>
                    <a:pt x="3047" y="4987"/>
                  </a:cubicBezTo>
                  <a:cubicBezTo>
                    <a:pt x="2937" y="4252"/>
                    <a:pt x="2100" y="3652"/>
                    <a:pt x="2209" y="2916"/>
                  </a:cubicBezTo>
                  <a:cubicBezTo>
                    <a:pt x="2415" y="2181"/>
                    <a:pt x="3472" y="2626"/>
                    <a:pt x="3774" y="2026"/>
                  </a:cubicBezTo>
                  <a:cubicBezTo>
                    <a:pt x="3993" y="1581"/>
                    <a:pt x="3568" y="981"/>
                    <a:pt x="3362" y="5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8" name="Shape 2483">
              <a:extLst>
                <a:ext uri="{FF2B5EF4-FFF2-40B4-BE49-F238E27FC236}">
                  <a16:creationId xmlns:a16="http://schemas.microsoft.com/office/drawing/2014/main" id="{B37CDEB3-BE67-0845-EA42-151205F0F00D}"/>
                </a:ext>
              </a:extLst>
            </p:cNvPr>
            <p:cNvSpPr/>
            <p:nvPr/>
          </p:nvSpPr>
          <p:spPr>
            <a:xfrm>
              <a:off x="3836588" y="7685554"/>
              <a:ext cx="529417" cy="392117"/>
            </a:xfrm>
            <a:custGeom>
              <a:avLst/>
              <a:gdLst/>
              <a:ahLst/>
              <a:cxnLst>
                <a:cxn ang="0">
                  <a:pos x="wd2" y="hd2"/>
                </a:cxn>
                <a:cxn ang="5400000">
                  <a:pos x="wd2" y="hd2"/>
                </a:cxn>
                <a:cxn ang="10800000">
                  <a:pos x="wd2" y="hd2"/>
                </a:cxn>
                <a:cxn ang="16200000">
                  <a:pos x="wd2" y="hd2"/>
                </a:cxn>
              </a:cxnLst>
              <a:rect l="0" t="0" r="r" b="b"/>
              <a:pathLst>
                <a:path w="21442" h="21600" extrusionOk="0">
                  <a:moveTo>
                    <a:pt x="17624" y="13209"/>
                  </a:moveTo>
                  <a:cubicBezTo>
                    <a:pt x="17734" y="12223"/>
                    <a:pt x="18048" y="11219"/>
                    <a:pt x="18157" y="10233"/>
                  </a:cubicBezTo>
                  <a:cubicBezTo>
                    <a:pt x="18253" y="9805"/>
                    <a:pt x="17939" y="9228"/>
                    <a:pt x="18048" y="8800"/>
                  </a:cubicBezTo>
                  <a:cubicBezTo>
                    <a:pt x="18157" y="8521"/>
                    <a:pt x="18362" y="8093"/>
                    <a:pt x="18676" y="8093"/>
                  </a:cubicBezTo>
                  <a:cubicBezTo>
                    <a:pt x="19195" y="7963"/>
                    <a:pt x="19824" y="9098"/>
                    <a:pt x="20234" y="8670"/>
                  </a:cubicBezTo>
                  <a:cubicBezTo>
                    <a:pt x="20767" y="7963"/>
                    <a:pt x="20657" y="6530"/>
                    <a:pt x="20657" y="5544"/>
                  </a:cubicBezTo>
                  <a:cubicBezTo>
                    <a:pt x="20548" y="4837"/>
                    <a:pt x="19715" y="4260"/>
                    <a:pt x="19824" y="3553"/>
                  </a:cubicBezTo>
                  <a:cubicBezTo>
                    <a:pt x="20029" y="2847"/>
                    <a:pt x="21081" y="3274"/>
                    <a:pt x="21381" y="2698"/>
                  </a:cubicBezTo>
                  <a:cubicBezTo>
                    <a:pt x="21600" y="2270"/>
                    <a:pt x="21176" y="1693"/>
                    <a:pt x="20972" y="1284"/>
                  </a:cubicBezTo>
                  <a:cubicBezTo>
                    <a:pt x="20343" y="1284"/>
                    <a:pt x="19715" y="1135"/>
                    <a:pt x="18991" y="1135"/>
                  </a:cubicBezTo>
                  <a:cubicBezTo>
                    <a:pt x="18567" y="1284"/>
                    <a:pt x="18157" y="1563"/>
                    <a:pt x="17734" y="1284"/>
                  </a:cubicBezTo>
                  <a:cubicBezTo>
                    <a:pt x="17419" y="1135"/>
                    <a:pt x="17419" y="558"/>
                    <a:pt x="17214" y="149"/>
                  </a:cubicBezTo>
                  <a:cubicBezTo>
                    <a:pt x="17214" y="149"/>
                    <a:pt x="16477" y="0"/>
                    <a:pt x="16381" y="0"/>
                  </a:cubicBezTo>
                  <a:cubicBezTo>
                    <a:pt x="16272" y="0"/>
                    <a:pt x="15015" y="1284"/>
                    <a:pt x="15015" y="1284"/>
                  </a:cubicBezTo>
                  <a:cubicBezTo>
                    <a:pt x="13772" y="1842"/>
                    <a:pt x="12624" y="2419"/>
                    <a:pt x="11367" y="2977"/>
                  </a:cubicBezTo>
                  <a:cubicBezTo>
                    <a:pt x="10424" y="3274"/>
                    <a:pt x="9495" y="3684"/>
                    <a:pt x="8553" y="3833"/>
                  </a:cubicBezTo>
                  <a:cubicBezTo>
                    <a:pt x="8129" y="3833"/>
                    <a:pt x="7610" y="3553"/>
                    <a:pt x="7186" y="3684"/>
                  </a:cubicBezTo>
                  <a:cubicBezTo>
                    <a:pt x="6667" y="3684"/>
                    <a:pt x="6257" y="4112"/>
                    <a:pt x="5738" y="4112"/>
                  </a:cubicBezTo>
                  <a:cubicBezTo>
                    <a:pt x="5219" y="4112"/>
                    <a:pt x="4795" y="3833"/>
                    <a:pt x="4372" y="3684"/>
                  </a:cubicBezTo>
                  <a:cubicBezTo>
                    <a:pt x="3962" y="3981"/>
                    <a:pt x="3539" y="4540"/>
                    <a:pt x="3129" y="4837"/>
                  </a:cubicBezTo>
                  <a:cubicBezTo>
                    <a:pt x="2910" y="4967"/>
                    <a:pt x="2596" y="4540"/>
                    <a:pt x="2391" y="4688"/>
                  </a:cubicBezTo>
                  <a:cubicBezTo>
                    <a:pt x="1981" y="5116"/>
                    <a:pt x="1667" y="5823"/>
                    <a:pt x="1462" y="6400"/>
                  </a:cubicBezTo>
                  <a:cubicBezTo>
                    <a:pt x="1148" y="7386"/>
                    <a:pt x="929" y="8372"/>
                    <a:pt x="615" y="9377"/>
                  </a:cubicBezTo>
                  <a:cubicBezTo>
                    <a:pt x="410" y="10381"/>
                    <a:pt x="96" y="11367"/>
                    <a:pt x="0" y="12502"/>
                  </a:cubicBezTo>
                  <a:cubicBezTo>
                    <a:pt x="0" y="12930"/>
                    <a:pt x="519" y="13209"/>
                    <a:pt x="519" y="13786"/>
                  </a:cubicBezTo>
                  <a:cubicBezTo>
                    <a:pt x="519" y="14344"/>
                    <a:pt x="0" y="14772"/>
                    <a:pt x="0" y="15349"/>
                  </a:cubicBezTo>
                  <a:cubicBezTo>
                    <a:pt x="0" y="16205"/>
                    <a:pt x="410" y="18326"/>
                    <a:pt x="519" y="19033"/>
                  </a:cubicBezTo>
                  <a:cubicBezTo>
                    <a:pt x="724" y="19033"/>
                    <a:pt x="833" y="19181"/>
                    <a:pt x="1038" y="19181"/>
                  </a:cubicBezTo>
                  <a:cubicBezTo>
                    <a:pt x="1762" y="19460"/>
                    <a:pt x="2705" y="21600"/>
                    <a:pt x="3224" y="21600"/>
                  </a:cubicBezTo>
                  <a:cubicBezTo>
                    <a:pt x="3224" y="18605"/>
                    <a:pt x="6572" y="18047"/>
                    <a:pt x="8129" y="17619"/>
                  </a:cubicBezTo>
                  <a:cubicBezTo>
                    <a:pt x="10424" y="16912"/>
                    <a:pt x="12310" y="17898"/>
                    <a:pt x="14605" y="16335"/>
                  </a:cubicBezTo>
                  <a:cubicBezTo>
                    <a:pt x="15015" y="16335"/>
                    <a:pt x="15548" y="16335"/>
                    <a:pt x="15957" y="16484"/>
                  </a:cubicBezTo>
                  <a:cubicBezTo>
                    <a:pt x="15753" y="15777"/>
                    <a:pt x="15124" y="14493"/>
                    <a:pt x="15329" y="13786"/>
                  </a:cubicBezTo>
                  <a:cubicBezTo>
                    <a:pt x="15438" y="13358"/>
                    <a:pt x="16067" y="14065"/>
                    <a:pt x="16381" y="13786"/>
                  </a:cubicBezTo>
                  <a:cubicBezTo>
                    <a:pt x="16586" y="13637"/>
                    <a:pt x="16477" y="12930"/>
                    <a:pt x="16695" y="12930"/>
                  </a:cubicBezTo>
                  <a:cubicBezTo>
                    <a:pt x="17009" y="12781"/>
                    <a:pt x="17324" y="13060"/>
                    <a:pt x="17624" y="1320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29" name="Shape 2484">
              <a:extLst>
                <a:ext uri="{FF2B5EF4-FFF2-40B4-BE49-F238E27FC236}">
                  <a16:creationId xmlns:a16="http://schemas.microsoft.com/office/drawing/2014/main" id="{7E821C4A-BD70-FEF7-30BF-E9D4F60855CA}"/>
                </a:ext>
              </a:extLst>
            </p:cNvPr>
            <p:cNvSpPr/>
            <p:nvPr/>
          </p:nvSpPr>
          <p:spPr>
            <a:xfrm>
              <a:off x="2309392" y="7545818"/>
              <a:ext cx="830751" cy="432257"/>
            </a:xfrm>
            <a:custGeom>
              <a:avLst/>
              <a:gdLst/>
              <a:ahLst/>
              <a:cxnLst>
                <a:cxn ang="0">
                  <a:pos x="wd2" y="hd2"/>
                </a:cxn>
                <a:cxn ang="5400000">
                  <a:pos x="wd2" y="hd2"/>
                </a:cxn>
                <a:cxn ang="10800000">
                  <a:pos x="wd2" y="hd2"/>
                </a:cxn>
                <a:cxn ang="16200000">
                  <a:pos x="wd2" y="hd2"/>
                </a:cxn>
              </a:cxnLst>
              <a:rect l="0" t="0" r="r" b="b"/>
              <a:pathLst>
                <a:path w="21450" h="21600" extrusionOk="0">
                  <a:moveTo>
                    <a:pt x="20807" y="387"/>
                  </a:moveTo>
                  <a:cubicBezTo>
                    <a:pt x="20937" y="774"/>
                    <a:pt x="21138" y="1161"/>
                    <a:pt x="21207" y="1682"/>
                  </a:cubicBezTo>
                  <a:cubicBezTo>
                    <a:pt x="21338" y="2321"/>
                    <a:pt x="21538" y="3213"/>
                    <a:pt x="21407" y="3852"/>
                  </a:cubicBezTo>
                  <a:cubicBezTo>
                    <a:pt x="21138" y="5400"/>
                    <a:pt x="20606" y="6695"/>
                    <a:pt x="20206" y="8108"/>
                  </a:cubicBezTo>
                  <a:cubicBezTo>
                    <a:pt x="20075" y="8479"/>
                    <a:pt x="19805" y="8748"/>
                    <a:pt x="19805" y="9252"/>
                  </a:cubicBezTo>
                  <a:cubicBezTo>
                    <a:pt x="19805" y="9774"/>
                    <a:pt x="20145" y="10161"/>
                    <a:pt x="20276" y="10548"/>
                  </a:cubicBezTo>
                  <a:cubicBezTo>
                    <a:pt x="20206" y="10665"/>
                    <a:pt x="20075" y="10800"/>
                    <a:pt x="20006" y="10935"/>
                  </a:cubicBezTo>
                  <a:cubicBezTo>
                    <a:pt x="20006" y="11439"/>
                    <a:pt x="20276" y="11826"/>
                    <a:pt x="20206" y="12213"/>
                  </a:cubicBezTo>
                  <a:cubicBezTo>
                    <a:pt x="20075" y="12987"/>
                    <a:pt x="19544" y="13374"/>
                    <a:pt x="19544" y="14013"/>
                  </a:cubicBezTo>
                  <a:cubicBezTo>
                    <a:pt x="19544" y="14518"/>
                    <a:pt x="20337" y="14652"/>
                    <a:pt x="20206" y="14905"/>
                  </a:cubicBezTo>
                  <a:cubicBezTo>
                    <a:pt x="19875" y="15561"/>
                    <a:pt x="19274" y="15039"/>
                    <a:pt x="18874" y="15292"/>
                  </a:cubicBezTo>
                  <a:cubicBezTo>
                    <a:pt x="18743" y="15426"/>
                    <a:pt x="18674" y="16335"/>
                    <a:pt x="18543" y="16200"/>
                  </a:cubicBezTo>
                  <a:cubicBezTo>
                    <a:pt x="18143" y="15813"/>
                    <a:pt x="18212" y="14518"/>
                    <a:pt x="17812" y="14265"/>
                  </a:cubicBezTo>
                  <a:cubicBezTo>
                    <a:pt x="17411" y="14013"/>
                    <a:pt x="16950" y="14400"/>
                    <a:pt x="16619" y="14905"/>
                  </a:cubicBezTo>
                  <a:cubicBezTo>
                    <a:pt x="16480" y="15174"/>
                    <a:pt x="16549" y="15813"/>
                    <a:pt x="16549" y="16335"/>
                  </a:cubicBezTo>
                  <a:cubicBezTo>
                    <a:pt x="16480" y="17092"/>
                    <a:pt x="16680" y="18000"/>
                    <a:pt x="16480" y="18757"/>
                  </a:cubicBezTo>
                  <a:cubicBezTo>
                    <a:pt x="16419" y="19144"/>
                    <a:pt x="16079" y="18892"/>
                    <a:pt x="15949" y="18892"/>
                  </a:cubicBezTo>
                  <a:cubicBezTo>
                    <a:pt x="15217" y="19279"/>
                    <a:pt x="14425" y="19531"/>
                    <a:pt x="13694" y="19918"/>
                  </a:cubicBezTo>
                  <a:cubicBezTo>
                    <a:pt x="13494" y="20052"/>
                    <a:pt x="13354" y="20187"/>
                    <a:pt x="13154" y="20305"/>
                  </a:cubicBezTo>
                  <a:cubicBezTo>
                    <a:pt x="12893" y="20439"/>
                    <a:pt x="12562" y="20439"/>
                    <a:pt x="12362" y="20692"/>
                  </a:cubicBezTo>
                  <a:cubicBezTo>
                    <a:pt x="12161" y="20826"/>
                    <a:pt x="12092" y="21331"/>
                    <a:pt x="11892" y="21600"/>
                  </a:cubicBezTo>
                  <a:cubicBezTo>
                    <a:pt x="11761" y="21079"/>
                    <a:pt x="11761" y="20439"/>
                    <a:pt x="11500" y="20052"/>
                  </a:cubicBezTo>
                  <a:cubicBezTo>
                    <a:pt x="11300" y="19800"/>
                    <a:pt x="10960" y="20305"/>
                    <a:pt x="10760" y="20187"/>
                  </a:cubicBezTo>
                  <a:cubicBezTo>
                    <a:pt x="10568" y="19918"/>
                    <a:pt x="10499" y="19413"/>
                    <a:pt x="10499" y="19026"/>
                  </a:cubicBezTo>
                  <a:cubicBezTo>
                    <a:pt x="10429" y="18639"/>
                    <a:pt x="10699" y="18252"/>
                    <a:pt x="10629" y="18000"/>
                  </a:cubicBezTo>
                  <a:cubicBezTo>
                    <a:pt x="10568" y="17731"/>
                    <a:pt x="10368" y="17865"/>
                    <a:pt x="10229" y="17865"/>
                  </a:cubicBezTo>
                  <a:cubicBezTo>
                    <a:pt x="9898" y="18000"/>
                    <a:pt x="9567" y="18387"/>
                    <a:pt x="9236" y="18387"/>
                  </a:cubicBezTo>
                  <a:cubicBezTo>
                    <a:pt x="9036" y="18252"/>
                    <a:pt x="8836" y="18000"/>
                    <a:pt x="8836" y="17613"/>
                  </a:cubicBezTo>
                  <a:cubicBezTo>
                    <a:pt x="8766" y="17092"/>
                    <a:pt x="9167" y="16452"/>
                    <a:pt x="8966" y="16065"/>
                  </a:cubicBezTo>
                  <a:cubicBezTo>
                    <a:pt x="8635" y="15679"/>
                    <a:pt x="8183" y="16452"/>
                    <a:pt x="7843" y="16200"/>
                  </a:cubicBezTo>
                  <a:cubicBezTo>
                    <a:pt x="7451" y="15948"/>
                    <a:pt x="7251" y="15039"/>
                    <a:pt x="6851" y="14652"/>
                  </a:cubicBezTo>
                  <a:cubicBezTo>
                    <a:pt x="6650" y="14400"/>
                    <a:pt x="6320" y="15039"/>
                    <a:pt x="6180" y="14652"/>
                  </a:cubicBezTo>
                  <a:cubicBezTo>
                    <a:pt x="5980" y="14265"/>
                    <a:pt x="6250" y="13492"/>
                    <a:pt x="6119" y="12987"/>
                  </a:cubicBezTo>
                  <a:cubicBezTo>
                    <a:pt x="6050" y="12735"/>
                    <a:pt x="5849" y="12600"/>
                    <a:pt x="5649" y="12600"/>
                  </a:cubicBezTo>
                  <a:cubicBezTo>
                    <a:pt x="5519" y="12600"/>
                    <a:pt x="5318" y="12852"/>
                    <a:pt x="5118" y="12852"/>
                  </a:cubicBezTo>
                  <a:cubicBezTo>
                    <a:pt x="5057" y="12852"/>
                    <a:pt x="4988" y="12465"/>
                    <a:pt x="4918" y="12465"/>
                  </a:cubicBezTo>
                  <a:cubicBezTo>
                    <a:pt x="4726" y="12348"/>
                    <a:pt x="4526" y="12213"/>
                    <a:pt x="4387" y="12465"/>
                  </a:cubicBezTo>
                  <a:cubicBezTo>
                    <a:pt x="4256" y="12735"/>
                    <a:pt x="4256" y="13492"/>
                    <a:pt x="4056" y="13626"/>
                  </a:cubicBezTo>
                  <a:cubicBezTo>
                    <a:pt x="3725" y="13879"/>
                    <a:pt x="3255" y="13761"/>
                    <a:pt x="2994" y="13374"/>
                  </a:cubicBezTo>
                  <a:cubicBezTo>
                    <a:pt x="2863" y="13105"/>
                    <a:pt x="3124" y="12735"/>
                    <a:pt x="3124" y="12348"/>
                  </a:cubicBezTo>
                  <a:cubicBezTo>
                    <a:pt x="3194" y="12079"/>
                    <a:pt x="3255" y="11708"/>
                    <a:pt x="3124" y="11439"/>
                  </a:cubicBezTo>
                  <a:cubicBezTo>
                    <a:pt x="3055" y="11187"/>
                    <a:pt x="2863" y="11439"/>
                    <a:pt x="2724" y="11439"/>
                  </a:cubicBezTo>
                  <a:cubicBezTo>
                    <a:pt x="2332" y="11187"/>
                    <a:pt x="1993" y="10800"/>
                    <a:pt x="1662" y="10413"/>
                  </a:cubicBezTo>
                  <a:cubicBezTo>
                    <a:pt x="1131" y="9639"/>
                    <a:pt x="530" y="9000"/>
                    <a:pt x="199" y="8108"/>
                  </a:cubicBezTo>
                  <a:cubicBezTo>
                    <a:pt x="-1" y="7587"/>
                    <a:pt x="-62" y="6813"/>
                    <a:pt x="69" y="6308"/>
                  </a:cubicBezTo>
                  <a:cubicBezTo>
                    <a:pt x="130" y="6039"/>
                    <a:pt x="399" y="6174"/>
                    <a:pt x="530" y="6174"/>
                  </a:cubicBezTo>
                  <a:cubicBezTo>
                    <a:pt x="861" y="6039"/>
                    <a:pt x="1261" y="6308"/>
                    <a:pt x="1531" y="6039"/>
                  </a:cubicBezTo>
                  <a:cubicBezTo>
                    <a:pt x="1662" y="5787"/>
                    <a:pt x="1531" y="5787"/>
                    <a:pt x="1531" y="5400"/>
                  </a:cubicBezTo>
                  <a:cubicBezTo>
                    <a:pt x="2663" y="5535"/>
                    <a:pt x="4126" y="4508"/>
                    <a:pt x="4918" y="5148"/>
                  </a:cubicBezTo>
                  <a:cubicBezTo>
                    <a:pt x="5188" y="5535"/>
                    <a:pt x="5649" y="6426"/>
                    <a:pt x="6050" y="6308"/>
                  </a:cubicBezTo>
                  <a:cubicBezTo>
                    <a:pt x="6981" y="6695"/>
                    <a:pt x="7312" y="6426"/>
                    <a:pt x="8113" y="6039"/>
                  </a:cubicBezTo>
                  <a:cubicBezTo>
                    <a:pt x="8766" y="5669"/>
                    <a:pt x="8966" y="4626"/>
                    <a:pt x="9637" y="5282"/>
                  </a:cubicBezTo>
                  <a:cubicBezTo>
                    <a:pt x="9968" y="5535"/>
                    <a:pt x="10229" y="5787"/>
                    <a:pt x="10568" y="5148"/>
                  </a:cubicBezTo>
                  <a:cubicBezTo>
                    <a:pt x="10960" y="4508"/>
                    <a:pt x="10899" y="3735"/>
                    <a:pt x="10899" y="2826"/>
                  </a:cubicBezTo>
                  <a:cubicBezTo>
                    <a:pt x="10899" y="1800"/>
                    <a:pt x="10960" y="908"/>
                    <a:pt x="11099" y="0"/>
                  </a:cubicBezTo>
                  <a:cubicBezTo>
                    <a:pt x="11160" y="135"/>
                    <a:pt x="11360" y="521"/>
                    <a:pt x="11500" y="656"/>
                  </a:cubicBezTo>
                  <a:cubicBezTo>
                    <a:pt x="11561" y="908"/>
                    <a:pt x="11630" y="1161"/>
                    <a:pt x="11761" y="1295"/>
                  </a:cubicBezTo>
                  <a:cubicBezTo>
                    <a:pt x="12031" y="1548"/>
                    <a:pt x="12292" y="1548"/>
                    <a:pt x="12562" y="1548"/>
                  </a:cubicBezTo>
                  <a:cubicBezTo>
                    <a:pt x="12623" y="1548"/>
                    <a:pt x="12623" y="1295"/>
                    <a:pt x="12762" y="1295"/>
                  </a:cubicBezTo>
                  <a:cubicBezTo>
                    <a:pt x="13093" y="1161"/>
                    <a:pt x="13554" y="1548"/>
                    <a:pt x="13885" y="1161"/>
                  </a:cubicBezTo>
                  <a:cubicBezTo>
                    <a:pt x="14025" y="1043"/>
                    <a:pt x="13624" y="387"/>
                    <a:pt x="13755" y="269"/>
                  </a:cubicBezTo>
                  <a:cubicBezTo>
                    <a:pt x="14355" y="135"/>
                    <a:pt x="14886" y="521"/>
                    <a:pt x="15487" y="656"/>
                  </a:cubicBezTo>
                  <a:cubicBezTo>
                    <a:pt x="15748" y="1043"/>
                    <a:pt x="16079" y="1548"/>
                    <a:pt x="16349" y="1935"/>
                  </a:cubicBezTo>
                  <a:cubicBezTo>
                    <a:pt x="16349" y="1935"/>
                    <a:pt x="17281" y="1430"/>
                    <a:pt x="17350" y="1430"/>
                  </a:cubicBezTo>
                  <a:cubicBezTo>
                    <a:pt x="17411" y="1430"/>
                    <a:pt x="18012" y="1800"/>
                    <a:pt x="18012" y="1800"/>
                  </a:cubicBezTo>
                  <a:cubicBezTo>
                    <a:pt x="18212" y="2069"/>
                    <a:pt x="18343" y="2574"/>
                    <a:pt x="18473" y="2456"/>
                  </a:cubicBezTo>
                  <a:cubicBezTo>
                    <a:pt x="18813" y="2321"/>
                    <a:pt x="18944" y="1548"/>
                    <a:pt x="19274" y="1295"/>
                  </a:cubicBezTo>
                  <a:cubicBezTo>
                    <a:pt x="19745" y="774"/>
                    <a:pt x="20276" y="656"/>
                    <a:pt x="20807" y="38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0" name="Shape 2485">
              <a:extLst>
                <a:ext uri="{FF2B5EF4-FFF2-40B4-BE49-F238E27FC236}">
                  <a16:creationId xmlns:a16="http://schemas.microsoft.com/office/drawing/2014/main" id="{50D7A161-CA29-095D-5F99-2065EECAC66D}"/>
                </a:ext>
              </a:extLst>
            </p:cNvPr>
            <p:cNvSpPr/>
            <p:nvPr/>
          </p:nvSpPr>
          <p:spPr>
            <a:xfrm>
              <a:off x="3075514" y="7229178"/>
              <a:ext cx="481355" cy="640923"/>
            </a:xfrm>
            <a:custGeom>
              <a:avLst/>
              <a:gdLst/>
              <a:ahLst/>
              <a:cxnLst>
                <a:cxn ang="0">
                  <a:pos x="wd2" y="hd2"/>
                </a:cxn>
                <a:cxn ang="5400000">
                  <a:pos x="wd2" y="hd2"/>
                </a:cxn>
                <a:cxn ang="10800000">
                  <a:pos x="wd2" y="hd2"/>
                </a:cxn>
                <a:cxn ang="16200000">
                  <a:pos x="wd2" y="hd2"/>
                </a:cxn>
              </a:cxnLst>
              <a:rect l="0" t="0" r="r" b="b"/>
              <a:pathLst>
                <a:path w="21471" h="21519" extrusionOk="0">
                  <a:moveTo>
                    <a:pt x="1730" y="10879"/>
                  </a:moveTo>
                  <a:cubicBezTo>
                    <a:pt x="1955" y="11139"/>
                    <a:pt x="2301" y="11399"/>
                    <a:pt x="2422" y="11750"/>
                  </a:cubicBezTo>
                  <a:cubicBezTo>
                    <a:pt x="2647" y="12180"/>
                    <a:pt x="2993" y="12779"/>
                    <a:pt x="2768" y="13209"/>
                  </a:cubicBezTo>
                  <a:cubicBezTo>
                    <a:pt x="2301" y="14249"/>
                    <a:pt x="1384" y="15120"/>
                    <a:pt x="692" y="16070"/>
                  </a:cubicBezTo>
                  <a:cubicBezTo>
                    <a:pt x="466" y="16319"/>
                    <a:pt x="0" y="16500"/>
                    <a:pt x="0" y="16839"/>
                  </a:cubicBezTo>
                  <a:cubicBezTo>
                    <a:pt x="0" y="17190"/>
                    <a:pt x="587" y="17450"/>
                    <a:pt x="812" y="17710"/>
                  </a:cubicBezTo>
                  <a:cubicBezTo>
                    <a:pt x="1609" y="17879"/>
                    <a:pt x="2422" y="17789"/>
                    <a:pt x="2993" y="18049"/>
                  </a:cubicBezTo>
                  <a:cubicBezTo>
                    <a:pt x="3565" y="18230"/>
                    <a:pt x="3791" y="18739"/>
                    <a:pt x="4136" y="19089"/>
                  </a:cubicBezTo>
                  <a:cubicBezTo>
                    <a:pt x="4482" y="19519"/>
                    <a:pt x="4723" y="19949"/>
                    <a:pt x="5054" y="20379"/>
                  </a:cubicBezTo>
                  <a:cubicBezTo>
                    <a:pt x="5174" y="20560"/>
                    <a:pt x="5520" y="20560"/>
                    <a:pt x="5746" y="20639"/>
                  </a:cubicBezTo>
                  <a:cubicBezTo>
                    <a:pt x="5972" y="20899"/>
                    <a:pt x="5972" y="21510"/>
                    <a:pt x="6438" y="21510"/>
                  </a:cubicBezTo>
                  <a:cubicBezTo>
                    <a:pt x="7009" y="21510"/>
                    <a:pt x="7476" y="20989"/>
                    <a:pt x="8047" y="20820"/>
                  </a:cubicBezTo>
                  <a:cubicBezTo>
                    <a:pt x="8514" y="20639"/>
                    <a:pt x="9085" y="20560"/>
                    <a:pt x="9536" y="20379"/>
                  </a:cubicBezTo>
                  <a:cubicBezTo>
                    <a:pt x="10228" y="20209"/>
                    <a:pt x="10695" y="20039"/>
                    <a:pt x="11372" y="19949"/>
                  </a:cubicBezTo>
                  <a:cubicBezTo>
                    <a:pt x="11612" y="19870"/>
                    <a:pt x="11958" y="19779"/>
                    <a:pt x="12304" y="19870"/>
                  </a:cubicBezTo>
                  <a:cubicBezTo>
                    <a:pt x="13673" y="20379"/>
                    <a:pt x="14831" y="21249"/>
                    <a:pt x="16320" y="21510"/>
                  </a:cubicBezTo>
                  <a:cubicBezTo>
                    <a:pt x="16787" y="21600"/>
                    <a:pt x="17012" y="20989"/>
                    <a:pt x="17238" y="20639"/>
                  </a:cubicBezTo>
                  <a:cubicBezTo>
                    <a:pt x="17464" y="20209"/>
                    <a:pt x="17930" y="19689"/>
                    <a:pt x="17809" y="19259"/>
                  </a:cubicBezTo>
                  <a:cubicBezTo>
                    <a:pt x="17704" y="18829"/>
                    <a:pt x="16787" y="18829"/>
                    <a:pt x="16787" y="18490"/>
                  </a:cubicBezTo>
                  <a:cubicBezTo>
                    <a:pt x="16546" y="17879"/>
                    <a:pt x="17118" y="17190"/>
                    <a:pt x="17118" y="16579"/>
                  </a:cubicBezTo>
                  <a:cubicBezTo>
                    <a:pt x="17118" y="16319"/>
                    <a:pt x="16666" y="16149"/>
                    <a:pt x="16546" y="15889"/>
                  </a:cubicBezTo>
                  <a:cubicBezTo>
                    <a:pt x="16200" y="15120"/>
                    <a:pt x="15282" y="14249"/>
                    <a:pt x="15749" y="13559"/>
                  </a:cubicBezTo>
                  <a:cubicBezTo>
                    <a:pt x="16095" y="12960"/>
                    <a:pt x="17464" y="13209"/>
                    <a:pt x="18276" y="13039"/>
                  </a:cubicBezTo>
                  <a:cubicBezTo>
                    <a:pt x="18727" y="12870"/>
                    <a:pt x="19299" y="12960"/>
                    <a:pt x="19539" y="12609"/>
                  </a:cubicBezTo>
                  <a:cubicBezTo>
                    <a:pt x="19765" y="12270"/>
                    <a:pt x="19419" y="11829"/>
                    <a:pt x="19419" y="11490"/>
                  </a:cubicBezTo>
                  <a:cubicBezTo>
                    <a:pt x="19299" y="11230"/>
                    <a:pt x="19193" y="10970"/>
                    <a:pt x="19299" y="10800"/>
                  </a:cubicBezTo>
                  <a:cubicBezTo>
                    <a:pt x="19419" y="10619"/>
                    <a:pt x="21028" y="10449"/>
                    <a:pt x="21254" y="10359"/>
                  </a:cubicBezTo>
                  <a:cubicBezTo>
                    <a:pt x="21374" y="10020"/>
                    <a:pt x="21600" y="9669"/>
                    <a:pt x="21374" y="9330"/>
                  </a:cubicBezTo>
                  <a:cubicBezTo>
                    <a:pt x="21254" y="9070"/>
                    <a:pt x="20682" y="8979"/>
                    <a:pt x="20457" y="8719"/>
                  </a:cubicBezTo>
                  <a:cubicBezTo>
                    <a:pt x="20231" y="8470"/>
                    <a:pt x="19765" y="8210"/>
                    <a:pt x="19765" y="7950"/>
                  </a:cubicBezTo>
                  <a:cubicBezTo>
                    <a:pt x="19885" y="7690"/>
                    <a:pt x="20577" y="7860"/>
                    <a:pt x="20682" y="7690"/>
                  </a:cubicBezTo>
                  <a:cubicBezTo>
                    <a:pt x="20908" y="7509"/>
                    <a:pt x="20908" y="7249"/>
                    <a:pt x="20803" y="6989"/>
                  </a:cubicBezTo>
                  <a:cubicBezTo>
                    <a:pt x="20577" y="6740"/>
                    <a:pt x="20111" y="6559"/>
                    <a:pt x="19991" y="6299"/>
                  </a:cubicBezTo>
                  <a:cubicBezTo>
                    <a:pt x="19765" y="5869"/>
                    <a:pt x="19645" y="5360"/>
                    <a:pt x="19539" y="4919"/>
                  </a:cubicBezTo>
                  <a:cubicBezTo>
                    <a:pt x="18968" y="5100"/>
                    <a:pt x="18968" y="5100"/>
                    <a:pt x="18968" y="5100"/>
                  </a:cubicBezTo>
                  <a:cubicBezTo>
                    <a:pt x="17930" y="5360"/>
                    <a:pt x="17012" y="5790"/>
                    <a:pt x="15854" y="5960"/>
                  </a:cubicBezTo>
                  <a:cubicBezTo>
                    <a:pt x="15403" y="6050"/>
                    <a:pt x="14711" y="6050"/>
                    <a:pt x="14245" y="5790"/>
                  </a:cubicBezTo>
                  <a:cubicBezTo>
                    <a:pt x="13914" y="5530"/>
                    <a:pt x="13793" y="5100"/>
                    <a:pt x="13673" y="4750"/>
                  </a:cubicBezTo>
                  <a:cubicBezTo>
                    <a:pt x="13447" y="4399"/>
                    <a:pt x="13327" y="3969"/>
                    <a:pt x="13447" y="3630"/>
                  </a:cubicBezTo>
                  <a:cubicBezTo>
                    <a:pt x="13447" y="3449"/>
                    <a:pt x="13793" y="3370"/>
                    <a:pt x="13793" y="3189"/>
                  </a:cubicBezTo>
                  <a:cubicBezTo>
                    <a:pt x="13914" y="2759"/>
                    <a:pt x="13447" y="2420"/>
                    <a:pt x="13673" y="2070"/>
                  </a:cubicBezTo>
                  <a:cubicBezTo>
                    <a:pt x="13914" y="1809"/>
                    <a:pt x="14591" y="1990"/>
                    <a:pt x="14831" y="1809"/>
                  </a:cubicBezTo>
                  <a:cubicBezTo>
                    <a:pt x="15057" y="1640"/>
                    <a:pt x="14591" y="1470"/>
                    <a:pt x="14591" y="1289"/>
                  </a:cubicBezTo>
                  <a:cubicBezTo>
                    <a:pt x="14711" y="1120"/>
                    <a:pt x="14831" y="950"/>
                    <a:pt x="14936" y="780"/>
                  </a:cubicBezTo>
                  <a:cubicBezTo>
                    <a:pt x="14711" y="520"/>
                    <a:pt x="14591" y="0"/>
                    <a:pt x="14139" y="0"/>
                  </a:cubicBezTo>
                  <a:cubicBezTo>
                    <a:pt x="13568" y="0"/>
                    <a:pt x="13327" y="690"/>
                    <a:pt x="12650" y="780"/>
                  </a:cubicBezTo>
                  <a:cubicBezTo>
                    <a:pt x="12304" y="859"/>
                    <a:pt x="11958" y="260"/>
                    <a:pt x="11492" y="430"/>
                  </a:cubicBezTo>
                  <a:cubicBezTo>
                    <a:pt x="11266" y="520"/>
                    <a:pt x="11718" y="1120"/>
                    <a:pt x="11372" y="1120"/>
                  </a:cubicBezTo>
                  <a:cubicBezTo>
                    <a:pt x="10920" y="1210"/>
                    <a:pt x="10454" y="599"/>
                    <a:pt x="10003" y="690"/>
                  </a:cubicBezTo>
                  <a:cubicBezTo>
                    <a:pt x="9657" y="780"/>
                    <a:pt x="10003" y="1470"/>
                    <a:pt x="9657" y="1470"/>
                  </a:cubicBezTo>
                  <a:cubicBezTo>
                    <a:pt x="8860" y="1380"/>
                    <a:pt x="8168" y="260"/>
                    <a:pt x="7355" y="520"/>
                  </a:cubicBezTo>
                  <a:cubicBezTo>
                    <a:pt x="6212" y="859"/>
                    <a:pt x="6092" y="2250"/>
                    <a:pt x="5054" y="2850"/>
                  </a:cubicBezTo>
                  <a:cubicBezTo>
                    <a:pt x="4828" y="3019"/>
                    <a:pt x="4377" y="2590"/>
                    <a:pt x="4031" y="2680"/>
                  </a:cubicBezTo>
                  <a:cubicBezTo>
                    <a:pt x="3339" y="2850"/>
                    <a:pt x="2768" y="3280"/>
                    <a:pt x="2181" y="3630"/>
                  </a:cubicBezTo>
                  <a:cubicBezTo>
                    <a:pt x="2301" y="4139"/>
                    <a:pt x="2768" y="4580"/>
                    <a:pt x="2422" y="5100"/>
                  </a:cubicBezTo>
                  <a:cubicBezTo>
                    <a:pt x="2181" y="5530"/>
                    <a:pt x="1158" y="5440"/>
                    <a:pt x="918" y="5869"/>
                  </a:cubicBezTo>
                  <a:cubicBezTo>
                    <a:pt x="812" y="6129"/>
                    <a:pt x="1609" y="6220"/>
                    <a:pt x="1730" y="6559"/>
                  </a:cubicBezTo>
                  <a:cubicBezTo>
                    <a:pt x="1835" y="6989"/>
                    <a:pt x="1609" y="7509"/>
                    <a:pt x="1609" y="7950"/>
                  </a:cubicBezTo>
                  <a:cubicBezTo>
                    <a:pt x="1730" y="8120"/>
                    <a:pt x="1835" y="8210"/>
                    <a:pt x="1835" y="8380"/>
                  </a:cubicBezTo>
                  <a:cubicBezTo>
                    <a:pt x="1835" y="8810"/>
                    <a:pt x="1955" y="9239"/>
                    <a:pt x="1730" y="9590"/>
                  </a:cubicBezTo>
                  <a:cubicBezTo>
                    <a:pt x="1504" y="9850"/>
                    <a:pt x="587" y="9760"/>
                    <a:pt x="587" y="10099"/>
                  </a:cubicBezTo>
                  <a:cubicBezTo>
                    <a:pt x="587" y="10449"/>
                    <a:pt x="1384" y="10619"/>
                    <a:pt x="1730" y="1087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1" name="Shape 2486">
              <a:extLst>
                <a:ext uri="{FF2B5EF4-FFF2-40B4-BE49-F238E27FC236}">
                  <a16:creationId xmlns:a16="http://schemas.microsoft.com/office/drawing/2014/main" id="{506C5A2E-F50E-B5F9-7D6F-1A64EFD2B914}"/>
                </a:ext>
              </a:extLst>
            </p:cNvPr>
            <p:cNvSpPr/>
            <p:nvPr/>
          </p:nvSpPr>
          <p:spPr>
            <a:xfrm>
              <a:off x="2903082" y="7458110"/>
              <a:ext cx="214704" cy="137384"/>
            </a:xfrm>
            <a:custGeom>
              <a:avLst/>
              <a:gdLst/>
              <a:ahLst/>
              <a:cxnLst>
                <a:cxn ang="0">
                  <a:pos x="wd2" y="hd2"/>
                </a:cxn>
                <a:cxn ang="5400000">
                  <a:pos x="wd2" y="hd2"/>
                </a:cxn>
                <a:cxn ang="10800000">
                  <a:pos x="wd2" y="hd2"/>
                </a:cxn>
                <a:cxn ang="16200000">
                  <a:pos x="wd2" y="hd2"/>
                </a:cxn>
              </a:cxnLst>
              <a:rect l="0" t="0" r="r" b="b"/>
              <a:pathLst>
                <a:path w="21402" h="21288" extrusionOk="0">
                  <a:moveTo>
                    <a:pt x="505" y="15623"/>
                  </a:moveTo>
                  <a:cubicBezTo>
                    <a:pt x="1516" y="16829"/>
                    <a:pt x="2797" y="18402"/>
                    <a:pt x="3841" y="19608"/>
                  </a:cubicBezTo>
                  <a:cubicBezTo>
                    <a:pt x="3841" y="19608"/>
                    <a:pt x="7447" y="18035"/>
                    <a:pt x="7717" y="18035"/>
                  </a:cubicBezTo>
                  <a:cubicBezTo>
                    <a:pt x="7953" y="18035"/>
                    <a:pt x="10278" y="19188"/>
                    <a:pt x="10278" y="19188"/>
                  </a:cubicBezTo>
                  <a:cubicBezTo>
                    <a:pt x="11053" y="20027"/>
                    <a:pt x="11558" y="21600"/>
                    <a:pt x="12064" y="21233"/>
                  </a:cubicBezTo>
                  <a:cubicBezTo>
                    <a:pt x="13378" y="20814"/>
                    <a:pt x="13883" y="18402"/>
                    <a:pt x="15164" y="17616"/>
                  </a:cubicBezTo>
                  <a:cubicBezTo>
                    <a:pt x="16983" y="15990"/>
                    <a:pt x="19039" y="15623"/>
                    <a:pt x="21095" y="14784"/>
                  </a:cubicBezTo>
                  <a:cubicBezTo>
                    <a:pt x="20320" y="13579"/>
                    <a:pt x="18534" y="12792"/>
                    <a:pt x="18534" y="11167"/>
                  </a:cubicBezTo>
                  <a:cubicBezTo>
                    <a:pt x="18534" y="9594"/>
                    <a:pt x="20589" y="10014"/>
                    <a:pt x="21095" y="8808"/>
                  </a:cubicBezTo>
                  <a:cubicBezTo>
                    <a:pt x="21600" y="7183"/>
                    <a:pt x="21330" y="5190"/>
                    <a:pt x="21330" y="3198"/>
                  </a:cubicBezTo>
                  <a:cubicBezTo>
                    <a:pt x="21330" y="2412"/>
                    <a:pt x="21095" y="1992"/>
                    <a:pt x="20825" y="1206"/>
                  </a:cubicBezTo>
                  <a:cubicBezTo>
                    <a:pt x="19814" y="786"/>
                    <a:pt x="18769" y="0"/>
                    <a:pt x="17759" y="0"/>
                  </a:cubicBezTo>
                  <a:cubicBezTo>
                    <a:pt x="15939" y="0"/>
                    <a:pt x="14389" y="1992"/>
                    <a:pt x="12839" y="1992"/>
                  </a:cubicBezTo>
                  <a:cubicBezTo>
                    <a:pt x="11322" y="1992"/>
                    <a:pt x="10278" y="1206"/>
                    <a:pt x="8997" y="786"/>
                  </a:cubicBezTo>
                  <a:cubicBezTo>
                    <a:pt x="8728" y="1573"/>
                    <a:pt x="8728" y="2779"/>
                    <a:pt x="8222" y="3198"/>
                  </a:cubicBezTo>
                  <a:cubicBezTo>
                    <a:pt x="7953" y="3617"/>
                    <a:pt x="7447" y="2779"/>
                    <a:pt x="6942" y="3198"/>
                  </a:cubicBezTo>
                  <a:cubicBezTo>
                    <a:pt x="6436" y="3198"/>
                    <a:pt x="6167" y="3984"/>
                    <a:pt x="5897" y="4771"/>
                  </a:cubicBezTo>
                  <a:cubicBezTo>
                    <a:pt x="4886" y="5610"/>
                    <a:pt x="3572" y="6396"/>
                    <a:pt x="2797" y="7602"/>
                  </a:cubicBezTo>
                  <a:cubicBezTo>
                    <a:pt x="2291" y="9175"/>
                    <a:pt x="3336" y="12006"/>
                    <a:pt x="2291" y="12792"/>
                  </a:cubicBezTo>
                  <a:cubicBezTo>
                    <a:pt x="1516" y="13212"/>
                    <a:pt x="1280" y="10014"/>
                    <a:pt x="505" y="9175"/>
                  </a:cubicBezTo>
                  <a:cubicBezTo>
                    <a:pt x="236" y="8808"/>
                    <a:pt x="0" y="10014"/>
                    <a:pt x="0" y="10381"/>
                  </a:cubicBezTo>
                  <a:cubicBezTo>
                    <a:pt x="0" y="12006"/>
                    <a:pt x="236" y="13998"/>
                    <a:pt x="505" y="1562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2" name="Shape 2487">
              <a:extLst>
                <a:ext uri="{FF2B5EF4-FFF2-40B4-BE49-F238E27FC236}">
                  <a16:creationId xmlns:a16="http://schemas.microsoft.com/office/drawing/2014/main" id="{87C3835B-877E-4251-4D65-DDC3F29E46FA}"/>
                </a:ext>
              </a:extLst>
            </p:cNvPr>
            <p:cNvSpPr/>
            <p:nvPr/>
          </p:nvSpPr>
          <p:spPr>
            <a:xfrm>
              <a:off x="2739571" y="7404593"/>
              <a:ext cx="224121" cy="172107"/>
            </a:xfrm>
            <a:custGeom>
              <a:avLst/>
              <a:gdLst/>
              <a:ahLst/>
              <a:cxnLst>
                <a:cxn ang="0">
                  <a:pos x="wd2" y="hd2"/>
                </a:cxn>
                <a:cxn ang="5400000">
                  <a:pos x="wd2" y="hd2"/>
                </a:cxn>
                <a:cxn ang="10800000">
                  <a:pos x="wd2" y="hd2"/>
                </a:cxn>
                <a:cxn ang="16200000">
                  <a:pos x="wd2" y="hd2"/>
                </a:cxn>
              </a:cxnLst>
              <a:rect l="0" t="0" r="r" b="b"/>
              <a:pathLst>
                <a:path w="21600" h="21600" extrusionOk="0">
                  <a:moveTo>
                    <a:pt x="15647" y="0"/>
                  </a:moveTo>
                  <a:cubicBezTo>
                    <a:pt x="16395" y="1308"/>
                    <a:pt x="16135" y="970"/>
                    <a:pt x="17143" y="1941"/>
                  </a:cubicBezTo>
                  <a:cubicBezTo>
                    <a:pt x="17631" y="2573"/>
                    <a:pt x="18607" y="2573"/>
                    <a:pt x="18867" y="3248"/>
                  </a:cubicBezTo>
                  <a:cubicBezTo>
                    <a:pt x="19355" y="4177"/>
                    <a:pt x="19128" y="5484"/>
                    <a:pt x="19128" y="6455"/>
                  </a:cubicBezTo>
                  <a:cubicBezTo>
                    <a:pt x="19128" y="7425"/>
                    <a:pt x="18380" y="8395"/>
                    <a:pt x="18867" y="9028"/>
                  </a:cubicBezTo>
                  <a:cubicBezTo>
                    <a:pt x="19355" y="10336"/>
                    <a:pt x="20624" y="9998"/>
                    <a:pt x="21600" y="10631"/>
                  </a:cubicBezTo>
                  <a:cubicBezTo>
                    <a:pt x="20624" y="11306"/>
                    <a:pt x="19355" y="11939"/>
                    <a:pt x="18607" y="12909"/>
                  </a:cubicBezTo>
                  <a:cubicBezTo>
                    <a:pt x="18119" y="14175"/>
                    <a:pt x="19128" y="16453"/>
                    <a:pt x="18119" y="17086"/>
                  </a:cubicBezTo>
                  <a:cubicBezTo>
                    <a:pt x="17371" y="17423"/>
                    <a:pt x="17143" y="14850"/>
                    <a:pt x="16395" y="14175"/>
                  </a:cubicBezTo>
                  <a:cubicBezTo>
                    <a:pt x="16135" y="13880"/>
                    <a:pt x="15907" y="14850"/>
                    <a:pt x="15907" y="15145"/>
                  </a:cubicBezTo>
                  <a:cubicBezTo>
                    <a:pt x="15907" y="16453"/>
                    <a:pt x="16135" y="18056"/>
                    <a:pt x="16395" y="19364"/>
                  </a:cubicBezTo>
                  <a:cubicBezTo>
                    <a:pt x="14151" y="19027"/>
                    <a:pt x="12166" y="18056"/>
                    <a:pt x="9922" y="18394"/>
                  </a:cubicBezTo>
                  <a:cubicBezTo>
                    <a:pt x="9434" y="18689"/>
                    <a:pt x="10930" y="20334"/>
                    <a:pt x="10410" y="20630"/>
                  </a:cubicBezTo>
                  <a:cubicBezTo>
                    <a:pt x="9173" y="21600"/>
                    <a:pt x="7449" y="20630"/>
                    <a:pt x="6213" y="20967"/>
                  </a:cubicBezTo>
                  <a:cubicBezTo>
                    <a:pt x="5693" y="20967"/>
                    <a:pt x="5693" y="21600"/>
                    <a:pt x="5465" y="21600"/>
                  </a:cubicBezTo>
                  <a:cubicBezTo>
                    <a:pt x="4457" y="21600"/>
                    <a:pt x="3481" y="21600"/>
                    <a:pt x="2472" y="20967"/>
                  </a:cubicBezTo>
                  <a:cubicBezTo>
                    <a:pt x="1984" y="20630"/>
                    <a:pt x="1724" y="19997"/>
                    <a:pt x="1496" y="19364"/>
                  </a:cubicBezTo>
                  <a:cubicBezTo>
                    <a:pt x="976" y="19027"/>
                    <a:pt x="228" y="18056"/>
                    <a:pt x="0" y="17719"/>
                  </a:cubicBezTo>
                  <a:cubicBezTo>
                    <a:pt x="228" y="16748"/>
                    <a:pt x="488" y="15778"/>
                    <a:pt x="748" y="14850"/>
                  </a:cubicBezTo>
                  <a:cubicBezTo>
                    <a:pt x="1724" y="11939"/>
                    <a:pt x="5953" y="11602"/>
                    <a:pt x="7189" y="7763"/>
                  </a:cubicBezTo>
                  <a:cubicBezTo>
                    <a:pt x="9434" y="3544"/>
                    <a:pt x="11678" y="2573"/>
                    <a:pt x="14899" y="675"/>
                  </a:cubicBezTo>
                  <a:cubicBezTo>
                    <a:pt x="15159" y="338"/>
                    <a:pt x="15387" y="338"/>
                    <a:pt x="15647"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3" name="Shape 2488">
              <a:extLst>
                <a:ext uri="{FF2B5EF4-FFF2-40B4-BE49-F238E27FC236}">
                  <a16:creationId xmlns:a16="http://schemas.microsoft.com/office/drawing/2014/main" id="{0A027A4B-405B-CF49-74BD-D99AED258835}"/>
                </a:ext>
              </a:extLst>
            </p:cNvPr>
            <p:cNvSpPr/>
            <p:nvPr/>
          </p:nvSpPr>
          <p:spPr>
            <a:xfrm>
              <a:off x="3289565" y="7498392"/>
              <a:ext cx="667092" cy="580767"/>
            </a:xfrm>
            <a:custGeom>
              <a:avLst/>
              <a:gdLst/>
              <a:ahLst/>
              <a:cxnLst>
                <a:cxn ang="0">
                  <a:pos x="wd2" y="hd2"/>
                </a:cxn>
                <a:cxn ang="5400000">
                  <a:pos x="wd2" y="hd2"/>
                </a:cxn>
                <a:cxn ang="10800000">
                  <a:pos x="wd2" y="hd2"/>
                </a:cxn>
                <a:cxn ang="16200000">
                  <a:pos x="wd2" y="hd2"/>
                </a:cxn>
              </a:cxnLst>
              <a:rect l="0" t="0" r="r" b="b"/>
              <a:pathLst>
                <a:path w="21600" h="21539" extrusionOk="0">
                  <a:moveTo>
                    <a:pt x="16514" y="19525"/>
                  </a:moveTo>
                  <a:cubicBezTo>
                    <a:pt x="17092" y="19525"/>
                    <a:pt x="17594" y="19525"/>
                    <a:pt x="18096" y="19713"/>
                  </a:cubicBezTo>
                  <a:cubicBezTo>
                    <a:pt x="18009" y="19238"/>
                    <a:pt x="17682" y="17812"/>
                    <a:pt x="17682" y="17237"/>
                  </a:cubicBezTo>
                  <a:cubicBezTo>
                    <a:pt x="17682" y="16849"/>
                    <a:pt x="18096" y="16561"/>
                    <a:pt x="18096" y="16186"/>
                  </a:cubicBezTo>
                  <a:cubicBezTo>
                    <a:pt x="18096" y="15798"/>
                    <a:pt x="17682" y="15611"/>
                    <a:pt x="17682" y="15323"/>
                  </a:cubicBezTo>
                  <a:cubicBezTo>
                    <a:pt x="17758" y="14560"/>
                    <a:pt x="18009" y="13897"/>
                    <a:pt x="18173" y="13222"/>
                  </a:cubicBezTo>
                  <a:cubicBezTo>
                    <a:pt x="18424" y="12546"/>
                    <a:pt x="18598" y="11883"/>
                    <a:pt x="18850" y="11221"/>
                  </a:cubicBezTo>
                  <a:cubicBezTo>
                    <a:pt x="19013" y="10833"/>
                    <a:pt x="19264" y="10358"/>
                    <a:pt x="19592" y="10070"/>
                  </a:cubicBezTo>
                  <a:cubicBezTo>
                    <a:pt x="19755" y="9970"/>
                    <a:pt x="20006" y="10257"/>
                    <a:pt x="20181" y="10170"/>
                  </a:cubicBezTo>
                  <a:cubicBezTo>
                    <a:pt x="20509" y="9970"/>
                    <a:pt x="20847" y="9595"/>
                    <a:pt x="21174" y="9394"/>
                  </a:cubicBezTo>
                  <a:cubicBezTo>
                    <a:pt x="21174" y="9119"/>
                    <a:pt x="21425" y="8832"/>
                    <a:pt x="21349" y="8544"/>
                  </a:cubicBezTo>
                  <a:cubicBezTo>
                    <a:pt x="21098" y="8056"/>
                    <a:pt x="20760" y="7581"/>
                    <a:pt x="20345" y="7293"/>
                  </a:cubicBezTo>
                  <a:cubicBezTo>
                    <a:pt x="20181" y="7206"/>
                    <a:pt x="19930" y="7681"/>
                    <a:pt x="19843" y="7493"/>
                  </a:cubicBezTo>
                  <a:cubicBezTo>
                    <a:pt x="19679" y="7106"/>
                    <a:pt x="19930" y="6630"/>
                    <a:pt x="19930" y="6243"/>
                  </a:cubicBezTo>
                  <a:cubicBezTo>
                    <a:pt x="19930" y="5967"/>
                    <a:pt x="19679" y="5767"/>
                    <a:pt x="19679" y="5480"/>
                  </a:cubicBezTo>
                  <a:cubicBezTo>
                    <a:pt x="19679" y="5192"/>
                    <a:pt x="19755" y="4904"/>
                    <a:pt x="19930" y="4617"/>
                  </a:cubicBezTo>
                  <a:cubicBezTo>
                    <a:pt x="20094" y="4429"/>
                    <a:pt x="20345" y="4241"/>
                    <a:pt x="20596" y="4342"/>
                  </a:cubicBezTo>
                  <a:cubicBezTo>
                    <a:pt x="20847" y="4342"/>
                    <a:pt x="21098" y="4717"/>
                    <a:pt x="21425" y="4717"/>
                  </a:cubicBezTo>
                  <a:cubicBezTo>
                    <a:pt x="21600" y="4717"/>
                    <a:pt x="21513" y="4429"/>
                    <a:pt x="21600" y="4241"/>
                  </a:cubicBezTo>
                  <a:cubicBezTo>
                    <a:pt x="21600" y="3854"/>
                    <a:pt x="21600" y="3378"/>
                    <a:pt x="21513" y="3003"/>
                  </a:cubicBezTo>
                  <a:cubicBezTo>
                    <a:pt x="21349" y="2528"/>
                    <a:pt x="21098" y="2040"/>
                    <a:pt x="20847" y="1665"/>
                  </a:cubicBezTo>
                  <a:cubicBezTo>
                    <a:pt x="19930" y="990"/>
                    <a:pt x="19930" y="990"/>
                    <a:pt x="19930" y="990"/>
                  </a:cubicBezTo>
                  <a:cubicBezTo>
                    <a:pt x="19264" y="802"/>
                    <a:pt x="18675" y="614"/>
                    <a:pt x="18096" y="514"/>
                  </a:cubicBezTo>
                  <a:cubicBezTo>
                    <a:pt x="17933" y="514"/>
                    <a:pt x="17845" y="702"/>
                    <a:pt x="17758" y="702"/>
                  </a:cubicBezTo>
                  <a:cubicBezTo>
                    <a:pt x="17507" y="702"/>
                    <a:pt x="17343" y="702"/>
                    <a:pt x="17092" y="702"/>
                  </a:cubicBezTo>
                  <a:cubicBezTo>
                    <a:pt x="16841" y="702"/>
                    <a:pt x="16590" y="902"/>
                    <a:pt x="16339" y="802"/>
                  </a:cubicBezTo>
                  <a:cubicBezTo>
                    <a:pt x="16012" y="702"/>
                    <a:pt x="15848" y="139"/>
                    <a:pt x="15510" y="39"/>
                  </a:cubicBezTo>
                  <a:cubicBezTo>
                    <a:pt x="15422" y="-61"/>
                    <a:pt x="15259" y="39"/>
                    <a:pt x="15095" y="227"/>
                  </a:cubicBezTo>
                  <a:cubicBezTo>
                    <a:pt x="15008" y="327"/>
                    <a:pt x="15095" y="702"/>
                    <a:pt x="15008" y="702"/>
                  </a:cubicBezTo>
                  <a:cubicBezTo>
                    <a:pt x="14680" y="802"/>
                    <a:pt x="14429" y="614"/>
                    <a:pt x="14091" y="514"/>
                  </a:cubicBezTo>
                  <a:cubicBezTo>
                    <a:pt x="12759" y="414"/>
                    <a:pt x="11504" y="139"/>
                    <a:pt x="10172" y="227"/>
                  </a:cubicBezTo>
                  <a:cubicBezTo>
                    <a:pt x="9921" y="227"/>
                    <a:pt x="9670" y="614"/>
                    <a:pt x="9594" y="902"/>
                  </a:cubicBezTo>
                  <a:cubicBezTo>
                    <a:pt x="9594" y="1090"/>
                    <a:pt x="9921" y="1377"/>
                    <a:pt x="9758" y="1465"/>
                  </a:cubicBezTo>
                  <a:cubicBezTo>
                    <a:pt x="9419" y="1665"/>
                    <a:pt x="8928" y="1465"/>
                    <a:pt x="8502" y="1465"/>
                  </a:cubicBezTo>
                  <a:cubicBezTo>
                    <a:pt x="8339" y="1565"/>
                    <a:pt x="7171" y="1753"/>
                    <a:pt x="7084" y="1953"/>
                  </a:cubicBezTo>
                  <a:cubicBezTo>
                    <a:pt x="7007" y="2140"/>
                    <a:pt x="7084" y="2428"/>
                    <a:pt x="7171" y="2716"/>
                  </a:cubicBezTo>
                  <a:cubicBezTo>
                    <a:pt x="7171" y="3091"/>
                    <a:pt x="7422" y="3579"/>
                    <a:pt x="7258" y="3954"/>
                  </a:cubicBezTo>
                  <a:cubicBezTo>
                    <a:pt x="7084" y="4342"/>
                    <a:pt x="6669" y="4241"/>
                    <a:pt x="6341" y="4429"/>
                  </a:cubicBezTo>
                  <a:cubicBezTo>
                    <a:pt x="5752" y="4617"/>
                    <a:pt x="4759" y="4342"/>
                    <a:pt x="4508" y="5004"/>
                  </a:cubicBezTo>
                  <a:cubicBezTo>
                    <a:pt x="4169" y="5767"/>
                    <a:pt x="4835" y="6730"/>
                    <a:pt x="5086" y="7581"/>
                  </a:cubicBezTo>
                  <a:cubicBezTo>
                    <a:pt x="5174" y="7869"/>
                    <a:pt x="5501" y="8056"/>
                    <a:pt x="5501" y="8344"/>
                  </a:cubicBezTo>
                  <a:cubicBezTo>
                    <a:pt x="5501" y="9019"/>
                    <a:pt x="5086" y="9782"/>
                    <a:pt x="5261" y="10458"/>
                  </a:cubicBezTo>
                  <a:cubicBezTo>
                    <a:pt x="5261" y="10833"/>
                    <a:pt x="5927" y="10833"/>
                    <a:pt x="6003" y="11308"/>
                  </a:cubicBezTo>
                  <a:cubicBezTo>
                    <a:pt x="6090" y="11783"/>
                    <a:pt x="5752" y="12359"/>
                    <a:pt x="5588" y="12834"/>
                  </a:cubicBezTo>
                  <a:cubicBezTo>
                    <a:pt x="5425" y="13222"/>
                    <a:pt x="5261" y="13897"/>
                    <a:pt x="4922" y="13797"/>
                  </a:cubicBezTo>
                  <a:cubicBezTo>
                    <a:pt x="3842" y="13509"/>
                    <a:pt x="3002" y="12546"/>
                    <a:pt x="2008" y="11983"/>
                  </a:cubicBezTo>
                  <a:cubicBezTo>
                    <a:pt x="1757" y="11883"/>
                    <a:pt x="1506" y="11983"/>
                    <a:pt x="1332" y="12071"/>
                  </a:cubicBezTo>
                  <a:cubicBezTo>
                    <a:pt x="840" y="12171"/>
                    <a:pt x="502" y="12359"/>
                    <a:pt x="0" y="12546"/>
                  </a:cubicBezTo>
                  <a:cubicBezTo>
                    <a:pt x="415" y="13322"/>
                    <a:pt x="589" y="14172"/>
                    <a:pt x="1168" y="14660"/>
                  </a:cubicBezTo>
                  <a:cubicBezTo>
                    <a:pt x="1506" y="14935"/>
                    <a:pt x="1757" y="14272"/>
                    <a:pt x="2085" y="14172"/>
                  </a:cubicBezTo>
                  <a:cubicBezTo>
                    <a:pt x="2172" y="14172"/>
                    <a:pt x="2510" y="14172"/>
                    <a:pt x="2510" y="14372"/>
                  </a:cubicBezTo>
                  <a:cubicBezTo>
                    <a:pt x="2587" y="14660"/>
                    <a:pt x="2336" y="14935"/>
                    <a:pt x="2172" y="15223"/>
                  </a:cubicBezTo>
                  <a:cubicBezTo>
                    <a:pt x="2085" y="15323"/>
                    <a:pt x="2008" y="15423"/>
                    <a:pt x="1921" y="15511"/>
                  </a:cubicBezTo>
                  <a:cubicBezTo>
                    <a:pt x="1834" y="15898"/>
                    <a:pt x="1757" y="16273"/>
                    <a:pt x="1921" y="16474"/>
                  </a:cubicBezTo>
                  <a:cubicBezTo>
                    <a:pt x="2085" y="16761"/>
                    <a:pt x="2510" y="16273"/>
                    <a:pt x="2674" y="16474"/>
                  </a:cubicBezTo>
                  <a:cubicBezTo>
                    <a:pt x="2838" y="16661"/>
                    <a:pt x="2674" y="17136"/>
                    <a:pt x="2674" y="17424"/>
                  </a:cubicBezTo>
                  <a:cubicBezTo>
                    <a:pt x="2750" y="17999"/>
                    <a:pt x="2587" y="18662"/>
                    <a:pt x="2838" y="19138"/>
                  </a:cubicBezTo>
                  <a:cubicBezTo>
                    <a:pt x="3002" y="19338"/>
                    <a:pt x="3340" y="18762"/>
                    <a:pt x="3591" y="18950"/>
                  </a:cubicBezTo>
                  <a:cubicBezTo>
                    <a:pt x="3755" y="19050"/>
                    <a:pt x="3504" y="19713"/>
                    <a:pt x="3755" y="19813"/>
                  </a:cubicBezTo>
                  <a:cubicBezTo>
                    <a:pt x="4082" y="20001"/>
                    <a:pt x="4508" y="19338"/>
                    <a:pt x="4759" y="19625"/>
                  </a:cubicBezTo>
                  <a:cubicBezTo>
                    <a:pt x="5010" y="19813"/>
                    <a:pt x="4671" y="20576"/>
                    <a:pt x="4584" y="20864"/>
                  </a:cubicBezTo>
                  <a:cubicBezTo>
                    <a:pt x="4835" y="20864"/>
                    <a:pt x="5174" y="20864"/>
                    <a:pt x="5425" y="20964"/>
                  </a:cubicBezTo>
                  <a:cubicBezTo>
                    <a:pt x="6178" y="20776"/>
                    <a:pt x="6418" y="21339"/>
                    <a:pt x="6843" y="21539"/>
                  </a:cubicBezTo>
                  <a:cubicBezTo>
                    <a:pt x="6843" y="20964"/>
                    <a:pt x="8928" y="19813"/>
                    <a:pt x="9419" y="19713"/>
                  </a:cubicBezTo>
                  <a:cubicBezTo>
                    <a:pt x="10085" y="19525"/>
                    <a:pt x="10423" y="19338"/>
                    <a:pt x="11002" y="18762"/>
                  </a:cubicBezTo>
                  <a:cubicBezTo>
                    <a:pt x="11930" y="17812"/>
                    <a:pt x="9507" y="16474"/>
                    <a:pt x="9092" y="15611"/>
                  </a:cubicBezTo>
                  <a:cubicBezTo>
                    <a:pt x="9005" y="15611"/>
                    <a:pt x="8928" y="15511"/>
                    <a:pt x="8928" y="15511"/>
                  </a:cubicBezTo>
                  <a:cubicBezTo>
                    <a:pt x="8502" y="15223"/>
                    <a:pt x="8088" y="15035"/>
                    <a:pt x="8251" y="14560"/>
                  </a:cubicBezTo>
                  <a:cubicBezTo>
                    <a:pt x="8502" y="13322"/>
                    <a:pt x="9670" y="13322"/>
                    <a:pt x="10260" y="13409"/>
                  </a:cubicBezTo>
                  <a:cubicBezTo>
                    <a:pt x="10423" y="13509"/>
                    <a:pt x="10511" y="13697"/>
                    <a:pt x="10511" y="13897"/>
                  </a:cubicBezTo>
                  <a:cubicBezTo>
                    <a:pt x="10762" y="14272"/>
                    <a:pt x="11177" y="14748"/>
                    <a:pt x="10926" y="15135"/>
                  </a:cubicBezTo>
                  <a:cubicBezTo>
                    <a:pt x="10674" y="15611"/>
                    <a:pt x="10009" y="15698"/>
                    <a:pt x="9507" y="15798"/>
                  </a:cubicBezTo>
                  <a:cubicBezTo>
                    <a:pt x="10009" y="16086"/>
                    <a:pt x="10587" y="16661"/>
                    <a:pt x="10762" y="16849"/>
                  </a:cubicBezTo>
                  <a:cubicBezTo>
                    <a:pt x="11253" y="17237"/>
                    <a:pt x="11679" y="17712"/>
                    <a:pt x="12093" y="18100"/>
                  </a:cubicBezTo>
                  <a:cubicBezTo>
                    <a:pt x="12421" y="18375"/>
                    <a:pt x="12923" y="18475"/>
                    <a:pt x="13174" y="18762"/>
                  </a:cubicBezTo>
                  <a:cubicBezTo>
                    <a:pt x="13425" y="19138"/>
                    <a:pt x="13927" y="20001"/>
                    <a:pt x="14342" y="19425"/>
                  </a:cubicBezTo>
                  <a:cubicBezTo>
                    <a:pt x="14680" y="19050"/>
                    <a:pt x="14757" y="19238"/>
                    <a:pt x="14931" y="19338"/>
                  </a:cubicBezTo>
                  <a:cubicBezTo>
                    <a:pt x="14757" y="18862"/>
                    <a:pt x="14429" y="17812"/>
                    <a:pt x="14254" y="17424"/>
                  </a:cubicBezTo>
                  <a:cubicBezTo>
                    <a:pt x="14254" y="17237"/>
                    <a:pt x="14003" y="17049"/>
                    <a:pt x="14178" y="16949"/>
                  </a:cubicBezTo>
                  <a:cubicBezTo>
                    <a:pt x="14342" y="16761"/>
                    <a:pt x="14680" y="17049"/>
                    <a:pt x="14844" y="16849"/>
                  </a:cubicBezTo>
                  <a:cubicBezTo>
                    <a:pt x="15008" y="16761"/>
                    <a:pt x="14931" y="16273"/>
                    <a:pt x="15095" y="16273"/>
                  </a:cubicBezTo>
                  <a:cubicBezTo>
                    <a:pt x="15597" y="16186"/>
                    <a:pt x="16263" y="16186"/>
                    <a:pt x="16590" y="16661"/>
                  </a:cubicBezTo>
                  <a:cubicBezTo>
                    <a:pt x="16841" y="16949"/>
                    <a:pt x="16426" y="17524"/>
                    <a:pt x="16426" y="17899"/>
                  </a:cubicBezTo>
                  <a:cubicBezTo>
                    <a:pt x="16426" y="18187"/>
                    <a:pt x="16514" y="19238"/>
                    <a:pt x="16514" y="19525"/>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4" name="Shape 2489">
              <a:extLst>
                <a:ext uri="{FF2B5EF4-FFF2-40B4-BE49-F238E27FC236}">
                  <a16:creationId xmlns:a16="http://schemas.microsoft.com/office/drawing/2014/main" id="{AFF93F61-441B-A716-8FF7-09BC23590505}"/>
                </a:ext>
              </a:extLst>
            </p:cNvPr>
            <p:cNvSpPr/>
            <p:nvPr/>
          </p:nvSpPr>
          <p:spPr>
            <a:xfrm>
              <a:off x="3725604" y="7936457"/>
              <a:ext cx="78649" cy="89184"/>
            </a:xfrm>
            <a:custGeom>
              <a:avLst/>
              <a:gdLst/>
              <a:ahLst/>
              <a:cxnLst>
                <a:cxn ang="0">
                  <a:pos x="wd2" y="hd2"/>
                </a:cxn>
                <a:cxn ang="5400000">
                  <a:pos x="wd2" y="hd2"/>
                </a:cxn>
                <a:cxn ang="10800000">
                  <a:pos x="wd2" y="hd2"/>
                </a:cxn>
                <a:cxn ang="16200000">
                  <a:pos x="wd2" y="hd2"/>
                </a:cxn>
              </a:cxnLst>
              <a:rect l="0" t="0" r="r" b="b"/>
              <a:pathLst>
                <a:path w="19445" h="21323" extrusionOk="0">
                  <a:moveTo>
                    <a:pt x="6203" y="20110"/>
                  </a:moveTo>
                  <a:cubicBezTo>
                    <a:pt x="6784" y="20676"/>
                    <a:pt x="8113" y="20676"/>
                    <a:pt x="10606" y="20110"/>
                  </a:cubicBezTo>
                  <a:cubicBezTo>
                    <a:pt x="13181" y="20676"/>
                    <a:pt x="15673" y="21323"/>
                    <a:pt x="18249" y="21323"/>
                  </a:cubicBezTo>
                  <a:cubicBezTo>
                    <a:pt x="18249" y="19462"/>
                    <a:pt x="17584" y="12667"/>
                    <a:pt x="17584" y="10806"/>
                  </a:cubicBezTo>
                  <a:cubicBezTo>
                    <a:pt x="17584" y="8379"/>
                    <a:pt x="20741" y="4658"/>
                    <a:pt x="18830" y="2797"/>
                  </a:cubicBezTo>
                  <a:cubicBezTo>
                    <a:pt x="16338" y="-277"/>
                    <a:pt x="11270" y="-277"/>
                    <a:pt x="7449" y="289"/>
                  </a:cubicBezTo>
                  <a:cubicBezTo>
                    <a:pt x="6203" y="289"/>
                    <a:pt x="6784" y="3444"/>
                    <a:pt x="5538" y="4011"/>
                  </a:cubicBezTo>
                  <a:cubicBezTo>
                    <a:pt x="4292" y="5305"/>
                    <a:pt x="1716" y="3444"/>
                    <a:pt x="470" y="4658"/>
                  </a:cubicBezTo>
                  <a:cubicBezTo>
                    <a:pt x="-859" y="5305"/>
                    <a:pt x="1052" y="6519"/>
                    <a:pt x="1052" y="7732"/>
                  </a:cubicBezTo>
                  <a:cubicBezTo>
                    <a:pt x="2381" y="10240"/>
                    <a:pt x="4873" y="17035"/>
                    <a:pt x="6203" y="2011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5" name="Shape 2490">
              <a:extLst>
                <a:ext uri="{FF2B5EF4-FFF2-40B4-BE49-F238E27FC236}">
                  <a16:creationId xmlns:a16="http://schemas.microsoft.com/office/drawing/2014/main" id="{043BCC56-91DB-BB9A-C8D4-039E4EFEA724}"/>
                </a:ext>
              </a:extLst>
            </p:cNvPr>
            <p:cNvSpPr/>
            <p:nvPr/>
          </p:nvSpPr>
          <p:spPr>
            <a:xfrm>
              <a:off x="3543196" y="7859464"/>
              <a:ext cx="85582" cy="65093"/>
            </a:xfrm>
            <a:custGeom>
              <a:avLst/>
              <a:gdLst/>
              <a:ahLst/>
              <a:cxnLst>
                <a:cxn ang="0">
                  <a:pos x="wd2" y="hd2"/>
                </a:cxn>
                <a:cxn ang="5400000">
                  <a:pos x="wd2" y="hd2"/>
                </a:cxn>
                <a:cxn ang="10800000">
                  <a:pos x="wd2" y="hd2"/>
                </a:cxn>
                <a:cxn ang="16200000">
                  <a:pos x="wd2" y="hd2"/>
                </a:cxn>
              </a:cxnLst>
              <a:rect l="0" t="0" r="r" b="b"/>
              <a:pathLst>
                <a:path w="19500" h="21123" extrusionOk="0">
                  <a:moveTo>
                    <a:pt x="6133" y="19487"/>
                  </a:moveTo>
                  <a:cubicBezTo>
                    <a:pt x="5522" y="19487"/>
                    <a:pt x="5522" y="18614"/>
                    <a:pt x="5522" y="18614"/>
                  </a:cubicBezTo>
                  <a:cubicBezTo>
                    <a:pt x="6133" y="18614"/>
                    <a:pt x="7888" y="19487"/>
                    <a:pt x="9033" y="21123"/>
                  </a:cubicBezTo>
                  <a:cubicBezTo>
                    <a:pt x="12544" y="20250"/>
                    <a:pt x="17200" y="19487"/>
                    <a:pt x="18956" y="15341"/>
                  </a:cubicBezTo>
                  <a:cubicBezTo>
                    <a:pt x="20711" y="11959"/>
                    <a:pt x="17811" y="7814"/>
                    <a:pt x="16055" y="4541"/>
                  </a:cubicBezTo>
                  <a:cubicBezTo>
                    <a:pt x="16055" y="2796"/>
                    <a:pt x="15445" y="1159"/>
                    <a:pt x="14300" y="287"/>
                  </a:cubicBezTo>
                  <a:cubicBezTo>
                    <a:pt x="10178" y="-477"/>
                    <a:pt x="2011" y="-477"/>
                    <a:pt x="256" y="10323"/>
                  </a:cubicBezTo>
                  <a:cubicBezTo>
                    <a:pt x="-889" y="14468"/>
                    <a:pt x="2011" y="16105"/>
                    <a:pt x="4988" y="18614"/>
                  </a:cubicBezTo>
                  <a:cubicBezTo>
                    <a:pt x="4988" y="18614"/>
                    <a:pt x="5522" y="19487"/>
                    <a:pt x="6133" y="19487"/>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6" name="Shape 2491">
              <a:extLst>
                <a:ext uri="{FF2B5EF4-FFF2-40B4-BE49-F238E27FC236}">
                  <a16:creationId xmlns:a16="http://schemas.microsoft.com/office/drawing/2014/main" id="{62013B54-CDEE-2A80-EC0C-C2B9D45FC509}"/>
                </a:ext>
              </a:extLst>
            </p:cNvPr>
            <p:cNvSpPr/>
            <p:nvPr/>
          </p:nvSpPr>
          <p:spPr>
            <a:xfrm>
              <a:off x="2769820" y="7756911"/>
              <a:ext cx="670546" cy="478339"/>
            </a:xfrm>
            <a:custGeom>
              <a:avLst/>
              <a:gdLst/>
              <a:ahLst/>
              <a:cxnLst>
                <a:cxn ang="0">
                  <a:pos x="wd2" y="hd2"/>
                </a:cxn>
                <a:cxn ang="5400000">
                  <a:pos x="wd2" y="hd2"/>
                </a:cxn>
                <a:cxn ang="10800000">
                  <a:pos x="wd2" y="hd2"/>
                </a:cxn>
                <a:cxn ang="16200000">
                  <a:pos x="wd2" y="hd2"/>
                </a:cxn>
              </a:cxnLst>
              <a:rect l="0" t="0" r="r" b="b"/>
              <a:pathLst>
                <a:path w="21378" h="21600" extrusionOk="0">
                  <a:moveTo>
                    <a:pt x="11" y="9994"/>
                  </a:moveTo>
                  <a:cubicBezTo>
                    <a:pt x="259" y="9750"/>
                    <a:pt x="345" y="9294"/>
                    <a:pt x="592" y="9172"/>
                  </a:cubicBezTo>
                  <a:cubicBezTo>
                    <a:pt x="839" y="8944"/>
                    <a:pt x="1248" y="8944"/>
                    <a:pt x="1570" y="8823"/>
                  </a:cubicBezTo>
                  <a:cubicBezTo>
                    <a:pt x="1818" y="8716"/>
                    <a:pt x="1990" y="8594"/>
                    <a:pt x="2237" y="8473"/>
                  </a:cubicBezTo>
                  <a:cubicBezTo>
                    <a:pt x="3140" y="8123"/>
                    <a:pt x="4118" y="7895"/>
                    <a:pt x="5022" y="7545"/>
                  </a:cubicBezTo>
                  <a:cubicBezTo>
                    <a:pt x="5183" y="7545"/>
                    <a:pt x="5602" y="7773"/>
                    <a:pt x="5677" y="7423"/>
                  </a:cubicBezTo>
                  <a:cubicBezTo>
                    <a:pt x="5925" y="6739"/>
                    <a:pt x="5677" y="5917"/>
                    <a:pt x="5763" y="5233"/>
                  </a:cubicBezTo>
                  <a:cubicBezTo>
                    <a:pt x="5763" y="4761"/>
                    <a:pt x="5677" y="4183"/>
                    <a:pt x="5849" y="3940"/>
                  </a:cubicBezTo>
                  <a:cubicBezTo>
                    <a:pt x="6258" y="3483"/>
                    <a:pt x="6828" y="3134"/>
                    <a:pt x="7322" y="3362"/>
                  </a:cubicBezTo>
                  <a:cubicBezTo>
                    <a:pt x="7817" y="3590"/>
                    <a:pt x="7731" y="4761"/>
                    <a:pt x="8225" y="5111"/>
                  </a:cubicBezTo>
                  <a:cubicBezTo>
                    <a:pt x="8387" y="5233"/>
                    <a:pt x="8473" y="4411"/>
                    <a:pt x="8634" y="4290"/>
                  </a:cubicBezTo>
                  <a:cubicBezTo>
                    <a:pt x="9129" y="4061"/>
                    <a:pt x="9870" y="4533"/>
                    <a:pt x="10279" y="3940"/>
                  </a:cubicBezTo>
                  <a:cubicBezTo>
                    <a:pt x="10440" y="3712"/>
                    <a:pt x="9462" y="3590"/>
                    <a:pt x="9462" y="3134"/>
                  </a:cubicBezTo>
                  <a:cubicBezTo>
                    <a:pt x="9462" y="2555"/>
                    <a:pt x="10118" y="2206"/>
                    <a:pt x="10279" y="1506"/>
                  </a:cubicBezTo>
                  <a:cubicBezTo>
                    <a:pt x="10365" y="1156"/>
                    <a:pt x="10032" y="806"/>
                    <a:pt x="10032" y="350"/>
                  </a:cubicBezTo>
                  <a:cubicBezTo>
                    <a:pt x="10118" y="228"/>
                    <a:pt x="10279" y="106"/>
                    <a:pt x="10365" y="0"/>
                  </a:cubicBezTo>
                  <a:cubicBezTo>
                    <a:pt x="10935" y="228"/>
                    <a:pt x="11515" y="106"/>
                    <a:pt x="11924" y="456"/>
                  </a:cubicBezTo>
                  <a:cubicBezTo>
                    <a:pt x="12333" y="700"/>
                    <a:pt x="12494" y="1384"/>
                    <a:pt x="12741" y="1856"/>
                  </a:cubicBezTo>
                  <a:cubicBezTo>
                    <a:pt x="12988" y="2434"/>
                    <a:pt x="13160" y="3012"/>
                    <a:pt x="13397" y="3590"/>
                  </a:cubicBezTo>
                  <a:cubicBezTo>
                    <a:pt x="13483" y="3833"/>
                    <a:pt x="13730" y="3833"/>
                    <a:pt x="13892" y="3940"/>
                  </a:cubicBezTo>
                  <a:cubicBezTo>
                    <a:pt x="14053" y="4290"/>
                    <a:pt x="14053" y="5111"/>
                    <a:pt x="14386" y="5111"/>
                  </a:cubicBezTo>
                  <a:cubicBezTo>
                    <a:pt x="14795" y="5111"/>
                    <a:pt x="15128" y="4411"/>
                    <a:pt x="15537" y="4183"/>
                  </a:cubicBezTo>
                  <a:cubicBezTo>
                    <a:pt x="15870" y="3940"/>
                    <a:pt x="16278" y="3833"/>
                    <a:pt x="16601" y="3590"/>
                  </a:cubicBezTo>
                  <a:cubicBezTo>
                    <a:pt x="17010" y="4533"/>
                    <a:pt x="17182" y="5567"/>
                    <a:pt x="17751" y="6161"/>
                  </a:cubicBezTo>
                  <a:cubicBezTo>
                    <a:pt x="18085" y="6495"/>
                    <a:pt x="18332" y="5689"/>
                    <a:pt x="18655" y="5567"/>
                  </a:cubicBezTo>
                  <a:cubicBezTo>
                    <a:pt x="18741" y="5567"/>
                    <a:pt x="19074" y="5567"/>
                    <a:pt x="19074" y="5811"/>
                  </a:cubicBezTo>
                  <a:cubicBezTo>
                    <a:pt x="19149" y="6161"/>
                    <a:pt x="18902" y="6495"/>
                    <a:pt x="18741" y="6845"/>
                  </a:cubicBezTo>
                  <a:cubicBezTo>
                    <a:pt x="18655" y="6967"/>
                    <a:pt x="18579" y="7088"/>
                    <a:pt x="18493" y="7195"/>
                  </a:cubicBezTo>
                  <a:cubicBezTo>
                    <a:pt x="18407" y="7666"/>
                    <a:pt x="18332" y="8123"/>
                    <a:pt x="18493" y="8366"/>
                  </a:cubicBezTo>
                  <a:cubicBezTo>
                    <a:pt x="18655" y="8716"/>
                    <a:pt x="19074" y="8123"/>
                    <a:pt x="19235" y="8366"/>
                  </a:cubicBezTo>
                  <a:cubicBezTo>
                    <a:pt x="19396" y="8594"/>
                    <a:pt x="19235" y="9172"/>
                    <a:pt x="19235" y="9522"/>
                  </a:cubicBezTo>
                  <a:cubicBezTo>
                    <a:pt x="19310" y="10222"/>
                    <a:pt x="19149" y="11028"/>
                    <a:pt x="19396" y="11606"/>
                  </a:cubicBezTo>
                  <a:cubicBezTo>
                    <a:pt x="19558" y="11850"/>
                    <a:pt x="19891" y="11150"/>
                    <a:pt x="20138" y="11378"/>
                  </a:cubicBezTo>
                  <a:cubicBezTo>
                    <a:pt x="20300" y="11500"/>
                    <a:pt x="20052" y="12306"/>
                    <a:pt x="20300" y="12428"/>
                  </a:cubicBezTo>
                  <a:cubicBezTo>
                    <a:pt x="20622" y="12656"/>
                    <a:pt x="21041" y="11850"/>
                    <a:pt x="21289" y="12199"/>
                  </a:cubicBezTo>
                  <a:cubicBezTo>
                    <a:pt x="21536" y="12428"/>
                    <a:pt x="21203" y="13355"/>
                    <a:pt x="21117" y="13705"/>
                  </a:cubicBezTo>
                  <a:cubicBezTo>
                    <a:pt x="20869" y="13827"/>
                    <a:pt x="20547" y="13934"/>
                    <a:pt x="20300" y="14405"/>
                  </a:cubicBezTo>
                  <a:cubicBezTo>
                    <a:pt x="20214" y="14527"/>
                    <a:pt x="20052" y="14527"/>
                    <a:pt x="19805" y="14527"/>
                  </a:cubicBezTo>
                  <a:cubicBezTo>
                    <a:pt x="19558" y="14055"/>
                    <a:pt x="19149" y="13006"/>
                    <a:pt x="18902" y="12549"/>
                  </a:cubicBezTo>
                  <a:cubicBezTo>
                    <a:pt x="18741" y="12428"/>
                    <a:pt x="18741" y="12078"/>
                    <a:pt x="18579" y="11956"/>
                  </a:cubicBezTo>
                  <a:cubicBezTo>
                    <a:pt x="18493" y="11850"/>
                    <a:pt x="18246" y="11956"/>
                    <a:pt x="18160" y="11956"/>
                  </a:cubicBezTo>
                  <a:cubicBezTo>
                    <a:pt x="17837" y="11850"/>
                    <a:pt x="17590" y="11728"/>
                    <a:pt x="17343" y="11606"/>
                  </a:cubicBezTo>
                  <a:cubicBezTo>
                    <a:pt x="17096" y="11378"/>
                    <a:pt x="16934" y="10800"/>
                    <a:pt x="16601" y="10800"/>
                  </a:cubicBezTo>
                  <a:cubicBezTo>
                    <a:pt x="16354" y="10678"/>
                    <a:pt x="16031" y="10922"/>
                    <a:pt x="15870" y="11272"/>
                  </a:cubicBezTo>
                  <a:cubicBezTo>
                    <a:pt x="15698" y="11606"/>
                    <a:pt x="15784" y="12199"/>
                    <a:pt x="15698" y="12656"/>
                  </a:cubicBezTo>
                  <a:cubicBezTo>
                    <a:pt x="15623" y="13006"/>
                    <a:pt x="15128" y="14527"/>
                    <a:pt x="15042" y="14861"/>
                  </a:cubicBezTo>
                  <a:cubicBezTo>
                    <a:pt x="15042" y="15333"/>
                    <a:pt x="16601" y="16383"/>
                    <a:pt x="16934" y="16261"/>
                  </a:cubicBezTo>
                  <a:cubicBezTo>
                    <a:pt x="17182" y="16139"/>
                    <a:pt x="17010" y="16611"/>
                    <a:pt x="17010" y="16839"/>
                  </a:cubicBezTo>
                  <a:cubicBezTo>
                    <a:pt x="17096" y="17539"/>
                    <a:pt x="17590" y="17432"/>
                    <a:pt x="16773" y="17888"/>
                  </a:cubicBezTo>
                  <a:cubicBezTo>
                    <a:pt x="16440" y="18010"/>
                    <a:pt x="16934" y="19166"/>
                    <a:pt x="16687" y="19166"/>
                  </a:cubicBezTo>
                  <a:cubicBezTo>
                    <a:pt x="16278" y="19166"/>
                    <a:pt x="15375" y="18938"/>
                    <a:pt x="15289" y="19638"/>
                  </a:cubicBezTo>
                  <a:cubicBezTo>
                    <a:pt x="15042" y="19744"/>
                    <a:pt x="14956" y="19394"/>
                    <a:pt x="14881" y="19045"/>
                  </a:cubicBezTo>
                  <a:cubicBezTo>
                    <a:pt x="14386" y="19045"/>
                    <a:pt x="14139" y="18588"/>
                    <a:pt x="13644" y="18360"/>
                  </a:cubicBezTo>
                  <a:cubicBezTo>
                    <a:pt x="13160" y="18117"/>
                    <a:pt x="12580" y="18360"/>
                    <a:pt x="12085" y="18117"/>
                  </a:cubicBezTo>
                  <a:cubicBezTo>
                    <a:pt x="10935" y="17888"/>
                    <a:pt x="9957" y="17432"/>
                    <a:pt x="8806" y="17432"/>
                  </a:cubicBezTo>
                  <a:cubicBezTo>
                    <a:pt x="8806" y="17767"/>
                    <a:pt x="8473" y="18360"/>
                    <a:pt x="8312" y="18695"/>
                  </a:cubicBezTo>
                  <a:cubicBezTo>
                    <a:pt x="8312" y="18938"/>
                    <a:pt x="8312" y="18938"/>
                    <a:pt x="8312" y="18938"/>
                  </a:cubicBezTo>
                  <a:cubicBezTo>
                    <a:pt x="8312" y="19288"/>
                    <a:pt x="8473" y="19516"/>
                    <a:pt x="8634" y="19744"/>
                  </a:cubicBezTo>
                  <a:cubicBezTo>
                    <a:pt x="8720" y="19972"/>
                    <a:pt x="8967" y="20322"/>
                    <a:pt x="8967" y="20566"/>
                  </a:cubicBezTo>
                  <a:cubicBezTo>
                    <a:pt x="8967" y="20794"/>
                    <a:pt x="8806" y="21022"/>
                    <a:pt x="8720" y="21265"/>
                  </a:cubicBezTo>
                  <a:cubicBezTo>
                    <a:pt x="8634" y="21372"/>
                    <a:pt x="8634" y="21600"/>
                    <a:pt x="8634" y="21600"/>
                  </a:cubicBezTo>
                  <a:cubicBezTo>
                    <a:pt x="8559" y="21265"/>
                    <a:pt x="8473" y="21144"/>
                    <a:pt x="8473" y="20794"/>
                  </a:cubicBezTo>
                  <a:cubicBezTo>
                    <a:pt x="8473" y="20566"/>
                    <a:pt x="8559" y="20216"/>
                    <a:pt x="8473" y="19972"/>
                  </a:cubicBezTo>
                  <a:cubicBezTo>
                    <a:pt x="8387" y="19866"/>
                    <a:pt x="8312" y="19744"/>
                    <a:pt x="8225" y="19516"/>
                  </a:cubicBezTo>
                  <a:cubicBezTo>
                    <a:pt x="8139" y="19394"/>
                    <a:pt x="8139" y="19166"/>
                    <a:pt x="8064" y="18938"/>
                  </a:cubicBezTo>
                  <a:cubicBezTo>
                    <a:pt x="7075" y="17310"/>
                    <a:pt x="3710" y="15683"/>
                    <a:pt x="2968" y="14755"/>
                  </a:cubicBezTo>
                  <a:cubicBezTo>
                    <a:pt x="2473" y="14527"/>
                    <a:pt x="1334" y="13705"/>
                    <a:pt x="839" y="13827"/>
                  </a:cubicBezTo>
                  <a:cubicBezTo>
                    <a:pt x="592" y="13934"/>
                    <a:pt x="345" y="14055"/>
                    <a:pt x="97" y="14283"/>
                  </a:cubicBezTo>
                  <a:cubicBezTo>
                    <a:pt x="97" y="13934"/>
                    <a:pt x="97" y="13127"/>
                    <a:pt x="183" y="12777"/>
                  </a:cubicBezTo>
                  <a:cubicBezTo>
                    <a:pt x="183" y="12549"/>
                    <a:pt x="345" y="12428"/>
                    <a:pt x="345" y="12306"/>
                  </a:cubicBezTo>
                  <a:cubicBezTo>
                    <a:pt x="259" y="12078"/>
                    <a:pt x="-64" y="12078"/>
                    <a:pt x="11" y="11956"/>
                  </a:cubicBezTo>
                  <a:cubicBezTo>
                    <a:pt x="259" y="11378"/>
                    <a:pt x="1086" y="11500"/>
                    <a:pt x="1086" y="10922"/>
                  </a:cubicBezTo>
                  <a:cubicBezTo>
                    <a:pt x="1086" y="10344"/>
                    <a:pt x="431" y="10344"/>
                    <a:pt x="11" y="999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7" name="Shape 2492">
              <a:extLst>
                <a:ext uri="{FF2B5EF4-FFF2-40B4-BE49-F238E27FC236}">
                  <a16:creationId xmlns:a16="http://schemas.microsoft.com/office/drawing/2014/main" id="{BCE27B79-E012-C932-4BAD-4553E8C63E0D}"/>
                </a:ext>
              </a:extLst>
            </p:cNvPr>
            <p:cNvSpPr/>
            <p:nvPr/>
          </p:nvSpPr>
          <p:spPr>
            <a:xfrm>
              <a:off x="3301985" y="8014086"/>
              <a:ext cx="88324" cy="69533"/>
            </a:xfrm>
            <a:custGeom>
              <a:avLst/>
              <a:gdLst/>
              <a:ahLst/>
              <a:cxnLst>
                <a:cxn ang="0">
                  <a:pos x="wd2" y="hd2"/>
                </a:cxn>
                <a:cxn ang="5400000">
                  <a:pos x="wd2" y="hd2"/>
                </a:cxn>
                <a:cxn ang="10800000">
                  <a:pos x="wd2" y="hd2"/>
                </a:cxn>
                <a:cxn ang="16200000">
                  <a:pos x="wd2" y="hd2"/>
                </a:cxn>
              </a:cxnLst>
              <a:rect l="0" t="0" r="r" b="b"/>
              <a:pathLst>
                <a:path w="21119" h="21600" extrusionOk="0">
                  <a:moveTo>
                    <a:pt x="21119" y="20035"/>
                  </a:moveTo>
                  <a:cubicBezTo>
                    <a:pt x="19258" y="16800"/>
                    <a:pt x="16184" y="9600"/>
                    <a:pt x="14323" y="6470"/>
                  </a:cubicBezTo>
                  <a:cubicBezTo>
                    <a:pt x="13110" y="5635"/>
                    <a:pt x="13110" y="3235"/>
                    <a:pt x="11897" y="2400"/>
                  </a:cubicBezTo>
                  <a:cubicBezTo>
                    <a:pt x="11249" y="1670"/>
                    <a:pt x="9389" y="2400"/>
                    <a:pt x="8741" y="2400"/>
                  </a:cubicBezTo>
                  <a:cubicBezTo>
                    <a:pt x="6315" y="1670"/>
                    <a:pt x="4454" y="835"/>
                    <a:pt x="2593" y="0"/>
                  </a:cubicBezTo>
                  <a:cubicBezTo>
                    <a:pt x="1946" y="1670"/>
                    <a:pt x="-481" y="3235"/>
                    <a:pt x="85" y="5635"/>
                  </a:cubicBezTo>
                  <a:cubicBezTo>
                    <a:pt x="732" y="7200"/>
                    <a:pt x="4454" y="6470"/>
                    <a:pt x="5020" y="8870"/>
                  </a:cubicBezTo>
                  <a:cubicBezTo>
                    <a:pt x="6315" y="12000"/>
                    <a:pt x="5020" y="18365"/>
                    <a:pt x="4454" y="21600"/>
                  </a:cubicBezTo>
                  <a:cubicBezTo>
                    <a:pt x="7528" y="18365"/>
                    <a:pt x="11897" y="16800"/>
                    <a:pt x="16831" y="18365"/>
                  </a:cubicBezTo>
                  <a:cubicBezTo>
                    <a:pt x="18045" y="18365"/>
                    <a:pt x="19906" y="19200"/>
                    <a:pt x="21119" y="2003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8" name="Shape 2493">
              <a:extLst>
                <a:ext uri="{FF2B5EF4-FFF2-40B4-BE49-F238E27FC236}">
                  <a16:creationId xmlns:a16="http://schemas.microsoft.com/office/drawing/2014/main" id="{50C7E928-0668-1926-0DF3-20980D8E16D1}"/>
                </a:ext>
              </a:extLst>
            </p:cNvPr>
            <p:cNvSpPr/>
            <p:nvPr/>
          </p:nvSpPr>
          <p:spPr>
            <a:xfrm>
              <a:off x="3501093" y="8028816"/>
              <a:ext cx="263830" cy="165998"/>
            </a:xfrm>
            <a:custGeom>
              <a:avLst/>
              <a:gdLst/>
              <a:ahLst/>
              <a:cxnLst>
                <a:cxn ang="0">
                  <a:pos x="wd2" y="hd2"/>
                </a:cxn>
                <a:cxn ang="5400000">
                  <a:pos x="wd2" y="hd2"/>
                </a:cxn>
                <a:cxn ang="10800000">
                  <a:pos x="wd2" y="hd2"/>
                </a:cxn>
                <a:cxn ang="16200000">
                  <a:pos x="wd2" y="hd2"/>
                </a:cxn>
              </a:cxnLst>
              <a:rect l="0" t="0" r="r" b="b"/>
              <a:pathLst>
                <a:path w="18906" h="18586" extrusionOk="0">
                  <a:moveTo>
                    <a:pt x="6831" y="14253"/>
                  </a:moveTo>
                  <a:cubicBezTo>
                    <a:pt x="6106" y="13649"/>
                    <a:pt x="5550" y="13386"/>
                    <a:pt x="4801" y="12519"/>
                  </a:cubicBezTo>
                  <a:cubicBezTo>
                    <a:pt x="4246" y="11953"/>
                    <a:pt x="3690" y="9616"/>
                    <a:pt x="2965" y="9918"/>
                  </a:cubicBezTo>
                  <a:cubicBezTo>
                    <a:pt x="-1843" y="11953"/>
                    <a:pt x="549" y="10219"/>
                    <a:pt x="936" y="7618"/>
                  </a:cubicBezTo>
                  <a:cubicBezTo>
                    <a:pt x="1298" y="5017"/>
                    <a:pt x="4801" y="5884"/>
                    <a:pt x="6106" y="4753"/>
                  </a:cubicBezTo>
                  <a:cubicBezTo>
                    <a:pt x="7580" y="3585"/>
                    <a:pt x="8691" y="3019"/>
                    <a:pt x="9778" y="983"/>
                  </a:cubicBezTo>
                  <a:cubicBezTo>
                    <a:pt x="11083" y="-1316"/>
                    <a:pt x="11276" y="983"/>
                    <a:pt x="12750" y="2152"/>
                  </a:cubicBezTo>
                  <a:cubicBezTo>
                    <a:pt x="13838" y="3019"/>
                    <a:pt x="14587" y="3019"/>
                    <a:pt x="15867" y="3019"/>
                  </a:cubicBezTo>
                  <a:cubicBezTo>
                    <a:pt x="16616" y="3019"/>
                    <a:pt x="18090" y="7053"/>
                    <a:pt x="18646" y="8183"/>
                  </a:cubicBezTo>
                  <a:cubicBezTo>
                    <a:pt x="19757" y="9918"/>
                    <a:pt x="16978" y="10483"/>
                    <a:pt x="16616" y="10785"/>
                  </a:cubicBezTo>
                  <a:cubicBezTo>
                    <a:pt x="15142" y="11350"/>
                    <a:pt x="15698" y="12217"/>
                    <a:pt x="15311" y="13649"/>
                  </a:cubicBezTo>
                  <a:cubicBezTo>
                    <a:pt x="14780" y="16552"/>
                    <a:pt x="13475" y="15383"/>
                    <a:pt x="12195" y="17419"/>
                  </a:cubicBezTo>
                  <a:cubicBezTo>
                    <a:pt x="10165" y="20284"/>
                    <a:pt x="9972" y="17118"/>
                    <a:pt x="8136" y="15949"/>
                  </a:cubicBezTo>
                  <a:lnTo>
                    <a:pt x="6831" y="14253"/>
                  </a:ln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39" name="Shape 2494">
              <a:extLst>
                <a:ext uri="{FF2B5EF4-FFF2-40B4-BE49-F238E27FC236}">
                  <a16:creationId xmlns:a16="http://schemas.microsoft.com/office/drawing/2014/main" id="{C13E516A-15D5-00BA-8F9B-A969A8A91307}"/>
                </a:ext>
              </a:extLst>
            </p:cNvPr>
            <p:cNvSpPr/>
            <p:nvPr/>
          </p:nvSpPr>
          <p:spPr>
            <a:xfrm>
              <a:off x="3240512" y="7995266"/>
              <a:ext cx="84301" cy="116597"/>
            </a:xfrm>
            <a:custGeom>
              <a:avLst/>
              <a:gdLst/>
              <a:ahLst/>
              <a:cxnLst>
                <a:cxn ang="0">
                  <a:pos x="wd2" y="hd2"/>
                </a:cxn>
                <a:cxn ang="5400000">
                  <a:pos x="wd2" y="hd2"/>
                </a:cxn>
                <a:cxn ang="10800000">
                  <a:pos x="wd2" y="hd2"/>
                </a:cxn>
                <a:cxn ang="16200000">
                  <a:pos x="wd2" y="hd2"/>
                </a:cxn>
              </a:cxnLst>
              <a:rect l="0" t="0" r="r" b="b"/>
              <a:pathLst>
                <a:path w="20842" h="21237" extrusionOk="0">
                  <a:moveTo>
                    <a:pt x="0" y="16512"/>
                  </a:moveTo>
                  <a:cubicBezTo>
                    <a:pt x="2575" y="16512"/>
                    <a:pt x="4486" y="17003"/>
                    <a:pt x="6978" y="17003"/>
                  </a:cubicBezTo>
                  <a:cubicBezTo>
                    <a:pt x="9554" y="16512"/>
                    <a:pt x="11465" y="16082"/>
                    <a:pt x="13375" y="16512"/>
                  </a:cubicBezTo>
                  <a:cubicBezTo>
                    <a:pt x="13957" y="17923"/>
                    <a:pt x="12711" y="18414"/>
                    <a:pt x="12711" y="19826"/>
                  </a:cubicBezTo>
                  <a:cubicBezTo>
                    <a:pt x="12711" y="20255"/>
                    <a:pt x="15203" y="21237"/>
                    <a:pt x="15203" y="21237"/>
                  </a:cubicBezTo>
                  <a:cubicBezTo>
                    <a:pt x="15868" y="19335"/>
                    <a:pt x="17778" y="17494"/>
                    <a:pt x="19689" y="16082"/>
                  </a:cubicBezTo>
                  <a:cubicBezTo>
                    <a:pt x="20271" y="14180"/>
                    <a:pt x="21600" y="10437"/>
                    <a:pt x="20271" y="8596"/>
                  </a:cubicBezTo>
                  <a:cubicBezTo>
                    <a:pt x="19689" y="7185"/>
                    <a:pt x="15868" y="7614"/>
                    <a:pt x="15203" y="6694"/>
                  </a:cubicBezTo>
                  <a:cubicBezTo>
                    <a:pt x="14622" y="5282"/>
                    <a:pt x="17114" y="4362"/>
                    <a:pt x="17778" y="3380"/>
                  </a:cubicBezTo>
                  <a:cubicBezTo>
                    <a:pt x="15868" y="2460"/>
                    <a:pt x="14622" y="128"/>
                    <a:pt x="12046" y="128"/>
                  </a:cubicBezTo>
                  <a:cubicBezTo>
                    <a:pt x="10135" y="-363"/>
                    <a:pt x="7643" y="619"/>
                    <a:pt x="6397" y="2030"/>
                  </a:cubicBezTo>
                  <a:cubicBezTo>
                    <a:pt x="5068" y="3380"/>
                    <a:pt x="5732" y="5773"/>
                    <a:pt x="5068" y="7614"/>
                  </a:cubicBezTo>
                  <a:cubicBezTo>
                    <a:pt x="4486" y="9026"/>
                    <a:pt x="665" y="15162"/>
                    <a:pt x="0" y="1651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0" name="Shape 2495">
              <a:extLst>
                <a:ext uri="{FF2B5EF4-FFF2-40B4-BE49-F238E27FC236}">
                  <a16:creationId xmlns:a16="http://schemas.microsoft.com/office/drawing/2014/main" id="{407E5F49-E63C-5A30-CE28-7C73407730E3}"/>
                </a:ext>
              </a:extLst>
            </p:cNvPr>
            <p:cNvSpPr/>
            <p:nvPr/>
          </p:nvSpPr>
          <p:spPr>
            <a:xfrm>
              <a:off x="2414708" y="8234098"/>
              <a:ext cx="74199" cy="115685"/>
            </a:xfrm>
            <a:custGeom>
              <a:avLst/>
              <a:gdLst/>
              <a:ahLst/>
              <a:cxnLst>
                <a:cxn ang="0">
                  <a:pos x="wd2" y="hd2"/>
                </a:cxn>
                <a:cxn ang="5400000">
                  <a:pos x="wd2" y="hd2"/>
                </a:cxn>
                <a:cxn ang="10800000">
                  <a:pos x="wd2" y="hd2"/>
                </a:cxn>
                <a:cxn ang="16200000">
                  <a:pos x="wd2" y="hd2"/>
                </a:cxn>
              </a:cxnLst>
              <a:rect l="0" t="0" r="r" b="b"/>
              <a:pathLst>
                <a:path w="20051" h="21071" extrusionOk="0">
                  <a:moveTo>
                    <a:pt x="16588" y="0"/>
                  </a:moveTo>
                  <a:cubicBezTo>
                    <a:pt x="13762" y="1415"/>
                    <a:pt x="8932" y="2338"/>
                    <a:pt x="6836" y="3754"/>
                  </a:cubicBezTo>
                  <a:cubicBezTo>
                    <a:pt x="5377" y="4677"/>
                    <a:pt x="6107" y="6585"/>
                    <a:pt x="5377" y="7508"/>
                  </a:cubicBezTo>
                  <a:cubicBezTo>
                    <a:pt x="4010" y="8923"/>
                    <a:pt x="1276" y="9415"/>
                    <a:pt x="547" y="10338"/>
                  </a:cubicBezTo>
                  <a:cubicBezTo>
                    <a:pt x="-182" y="11262"/>
                    <a:pt x="-182" y="12677"/>
                    <a:pt x="547" y="13600"/>
                  </a:cubicBezTo>
                  <a:cubicBezTo>
                    <a:pt x="1914" y="15015"/>
                    <a:pt x="5377" y="15938"/>
                    <a:pt x="6836" y="17354"/>
                  </a:cubicBezTo>
                  <a:cubicBezTo>
                    <a:pt x="8203" y="18338"/>
                    <a:pt x="6836" y="20185"/>
                    <a:pt x="8203" y="20677"/>
                  </a:cubicBezTo>
                  <a:cubicBezTo>
                    <a:pt x="11666" y="21600"/>
                    <a:pt x="15129" y="20677"/>
                    <a:pt x="19322" y="20185"/>
                  </a:cubicBezTo>
                  <a:cubicBezTo>
                    <a:pt x="19322" y="19754"/>
                    <a:pt x="19322" y="19262"/>
                    <a:pt x="20051" y="18769"/>
                  </a:cubicBezTo>
                  <a:cubicBezTo>
                    <a:pt x="9570" y="18769"/>
                    <a:pt x="2643" y="11754"/>
                    <a:pt x="14491" y="11754"/>
                  </a:cubicBezTo>
                  <a:cubicBezTo>
                    <a:pt x="18684" y="11754"/>
                    <a:pt x="21418" y="11262"/>
                    <a:pt x="17955" y="8431"/>
                  </a:cubicBezTo>
                  <a:cubicBezTo>
                    <a:pt x="14491" y="6585"/>
                    <a:pt x="15129" y="2831"/>
                    <a:pt x="16588"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1" name="Shape 2496">
              <a:extLst>
                <a:ext uri="{FF2B5EF4-FFF2-40B4-BE49-F238E27FC236}">
                  <a16:creationId xmlns:a16="http://schemas.microsoft.com/office/drawing/2014/main" id="{D2D9CF5B-0F44-06FE-1F00-1316178E2D64}"/>
                </a:ext>
              </a:extLst>
            </p:cNvPr>
            <p:cNvSpPr/>
            <p:nvPr/>
          </p:nvSpPr>
          <p:spPr>
            <a:xfrm>
              <a:off x="1849496" y="7630552"/>
              <a:ext cx="953657" cy="875254"/>
            </a:xfrm>
            <a:custGeom>
              <a:avLst/>
              <a:gdLst/>
              <a:ahLst/>
              <a:cxnLst>
                <a:cxn ang="0">
                  <a:pos x="wd2" y="hd2"/>
                </a:cxn>
                <a:cxn ang="5400000">
                  <a:pos x="wd2" y="hd2"/>
                </a:cxn>
                <a:cxn ang="10800000">
                  <a:pos x="wd2" y="hd2"/>
                </a:cxn>
                <a:cxn ang="16200000">
                  <a:pos x="wd2" y="hd2"/>
                </a:cxn>
              </a:cxnLst>
              <a:rect l="0" t="0" r="r" b="b"/>
              <a:pathLst>
                <a:path w="21559" h="21600" extrusionOk="0">
                  <a:moveTo>
                    <a:pt x="73" y="1589"/>
                  </a:moveTo>
                  <a:cubicBezTo>
                    <a:pt x="73" y="1530"/>
                    <a:pt x="12" y="1464"/>
                    <a:pt x="12" y="1406"/>
                  </a:cubicBezTo>
                  <a:cubicBezTo>
                    <a:pt x="12" y="1339"/>
                    <a:pt x="12" y="1273"/>
                    <a:pt x="12" y="1214"/>
                  </a:cubicBezTo>
                  <a:cubicBezTo>
                    <a:pt x="12" y="1148"/>
                    <a:pt x="-41" y="956"/>
                    <a:pt x="73" y="890"/>
                  </a:cubicBezTo>
                  <a:cubicBezTo>
                    <a:pt x="134" y="890"/>
                    <a:pt x="134" y="1023"/>
                    <a:pt x="134" y="1081"/>
                  </a:cubicBezTo>
                  <a:cubicBezTo>
                    <a:pt x="134" y="1148"/>
                    <a:pt x="188" y="1339"/>
                    <a:pt x="249" y="1406"/>
                  </a:cubicBezTo>
                  <a:cubicBezTo>
                    <a:pt x="249" y="1464"/>
                    <a:pt x="249" y="1530"/>
                    <a:pt x="249" y="1530"/>
                  </a:cubicBezTo>
                  <a:cubicBezTo>
                    <a:pt x="249" y="1589"/>
                    <a:pt x="188" y="1655"/>
                    <a:pt x="73" y="1722"/>
                  </a:cubicBezTo>
                  <a:cubicBezTo>
                    <a:pt x="73" y="1589"/>
                    <a:pt x="73" y="1589"/>
                    <a:pt x="73" y="1589"/>
                  </a:cubicBezTo>
                  <a:close/>
                  <a:moveTo>
                    <a:pt x="6714" y="18365"/>
                  </a:moveTo>
                  <a:cubicBezTo>
                    <a:pt x="6714" y="19887"/>
                    <a:pt x="7820" y="19571"/>
                    <a:pt x="8864" y="19571"/>
                  </a:cubicBezTo>
                  <a:cubicBezTo>
                    <a:pt x="9215" y="19762"/>
                    <a:pt x="9688" y="19953"/>
                    <a:pt x="9741" y="20394"/>
                  </a:cubicBezTo>
                  <a:cubicBezTo>
                    <a:pt x="9741" y="20901"/>
                    <a:pt x="10092" y="21226"/>
                    <a:pt x="10496" y="21475"/>
                  </a:cubicBezTo>
                  <a:cubicBezTo>
                    <a:pt x="10671" y="21542"/>
                    <a:pt x="11373" y="20901"/>
                    <a:pt x="11609" y="21600"/>
                  </a:cubicBezTo>
                  <a:cubicBezTo>
                    <a:pt x="11723" y="21600"/>
                    <a:pt x="11777" y="21350"/>
                    <a:pt x="11952" y="21284"/>
                  </a:cubicBezTo>
                  <a:cubicBezTo>
                    <a:pt x="12074" y="21284"/>
                    <a:pt x="12250" y="21226"/>
                    <a:pt x="12425" y="21226"/>
                  </a:cubicBezTo>
                  <a:cubicBezTo>
                    <a:pt x="12425" y="20585"/>
                    <a:pt x="12303" y="20211"/>
                    <a:pt x="12715" y="19571"/>
                  </a:cubicBezTo>
                  <a:cubicBezTo>
                    <a:pt x="13058" y="18938"/>
                    <a:pt x="13233" y="18747"/>
                    <a:pt x="13935" y="18747"/>
                  </a:cubicBezTo>
                  <a:cubicBezTo>
                    <a:pt x="13935" y="18240"/>
                    <a:pt x="14224" y="17982"/>
                    <a:pt x="14400" y="17599"/>
                  </a:cubicBezTo>
                  <a:cubicBezTo>
                    <a:pt x="14049" y="17666"/>
                    <a:pt x="13759" y="17791"/>
                    <a:pt x="13469" y="17666"/>
                  </a:cubicBezTo>
                  <a:cubicBezTo>
                    <a:pt x="13355" y="17599"/>
                    <a:pt x="13469" y="17350"/>
                    <a:pt x="13355" y="17217"/>
                  </a:cubicBezTo>
                  <a:cubicBezTo>
                    <a:pt x="13233" y="17025"/>
                    <a:pt x="12943" y="16901"/>
                    <a:pt x="12829" y="16709"/>
                  </a:cubicBezTo>
                  <a:cubicBezTo>
                    <a:pt x="12768" y="16585"/>
                    <a:pt x="12768" y="16393"/>
                    <a:pt x="12829" y="16269"/>
                  </a:cubicBezTo>
                  <a:cubicBezTo>
                    <a:pt x="12890" y="16144"/>
                    <a:pt x="13119" y="16077"/>
                    <a:pt x="13233" y="15886"/>
                  </a:cubicBezTo>
                  <a:cubicBezTo>
                    <a:pt x="13294" y="15761"/>
                    <a:pt x="13233" y="15503"/>
                    <a:pt x="13355" y="15379"/>
                  </a:cubicBezTo>
                  <a:cubicBezTo>
                    <a:pt x="13530" y="15187"/>
                    <a:pt x="13935" y="15063"/>
                    <a:pt x="14171" y="14871"/>
                  </a:cubicBezTo>
                  <a:cubicBezTo>
                    <a:pt x="14171" y="14680"/>
                    <a:pt x="14750" y="13665"/>
                    <a:pt x="14865" y="13407"/>
                  </a:cubicBezTo>
                  <a:cubicBezTo>
                    <a:pt x="15101" y="13091"/>
                    <a:pt x="16031" y="13283"/>
                    <a:pt x="16496" y="12834"/>
                  </a:cubicBezTo>
                  <a:cubicBezTo>
                    <a:pt x="16961" y="12326"/>
                    <a:pt x="17198" y="11885"/>
                    <a:pt x="17884" y="11752"/>
                  </a:cubicBezTo>
                  <a:cubicBezTo>
                    <a:pt x="18235" y="11694"/>
                    <a:pt x="18822" y="11819"/>
                    <a:pt x="18997" y="11569"/>
                  </a:cubicBezTo>
                  <a:cubicBezTo>
                    <a:pt x="19226" y="11312"/>
                    <a:pt x="19516" y="11312"/>
                    <a:pt x="19805" y="11378"/>
                  </a:cubicBezTo>
                  <a:cubicBezTo>
                    <a:pt x="20217" y="11436"/>
                    <a:pt x="20507" y="11187"/>
                    <a:pt x="20858" y="10929"/>
                  </a:cubicBezTo>
                  <a:cubicBezTo>
                    <a:pt x="20858" y="10738"/>
                    <a:pt x="20858" y="10297"/>
                    <a:pt x="20919" y="10106"/>
                  </a:cubicBezTo>
                  <a:cubicBezTo>
                    <a:pt x="20919" y="9981"/>
                    <a:pt x="21033" y="9914"/>
                    <a:pt x="21033" y="9848"/>
                  </a:cubicBezTo>
                  <a:cubicBezTo>
                    <a:pt x="20972" y="9723"/>
                    <a:pt x="20743" y="9723"/>
                    <a:pt x="20797" y="9656"/>
                  </a:cubicBezTo>
                  <a:cubicBezTo>
                    <a:pt x="20972" y="9340"/>
                    <a:pt x="21559" y="9407"/>
                    <a:pt x="21559" y="9091"/>
                  </a:cubicBezTo>
                  <a:cubicBezTo>
                    <a:pt x="21559" y="8775"/>
                    <a:pt x="21094" y="8775"/>
                    <a:pt x="20797" y="8583"/>
                  </a:cubicBezTo>
                  <a:cubicBezTo>
                    <a:pt x="20682" y="8326"/>
                    <a:pt x="20682" y="8010"/>
                    <a:pt x="20453" y="7818"/>
                  </a:cubicBezTo>
                  <a:cubicBezTo>
                    <a:pt x="20278" y="7693"/>
                    <a:pt x="19981" y="7943"/>
                    <a:pt x="19805" y="7885"/>
                  </a:cubicBezTo>
                  <a:cubicBezTo>
                    <a:pt x="19638" y="7752"/>
                    <a:pt x="19577" y="7502"/>
                    <a:pt x="19577" y="7311"/>
                  </a:cubicBezTo>
                  <a:cubicBezTo>
                    <a:pt x="19516" y="7120"/>
                    <a:pt x="19752" y="6928"/>
                    <a:pt x="19691" y="6804"/>
                  </a:cubicBezTo>
                  <a:cubicBezTo>
                    <a:pt x="19638" y="6670"/>
                    <a:pt x="19462" y="6737"/>
                    <a:pt x="19340" y="6737"/>
                  </a:cubicBezTo>
                  <a:cubicBezTo>
                    <a:pt x="19051" y="6804"/>
                    <a:pt x="18761" y="6995"/>
                    <a:pt x="18471" y="6995"/>
                  </a:cubicBezTo>
                  <a:cubicBezTo>
                    <a:pt x="18296" y="6928"/>
                    <a:pt x="18120" y="6804"/>
                    <a:pt x="18120" y="6612"/>
                  </a:cubicBezTo>
                  <a:cubicBezTo>
                    <a:pt x="18059" y="6354"/>
                    <a:pt x="18410" y="6038"/>
                    <a:pt x="18235" y="5847"/>
                  </a:cubicBezTo>
                  <a:cubicBezTo>
                    <a:pt x="17945" y="5656"/>
                    <a:pt x="17549" y="6038"/>
                    <a:pt x="17251" y="5914"/>
                  </a:cubicBezTo>
                  <a:cubicBezTo>
                    <a:pt x="16908" y="5789"/>
                    <a:pt x="16733" y="5340"/>
                    <a:pt x="16382" y="5148"/>
                  </a:cubicBezTo>
                  <a:cubicBezTo>
                    <a:pt x="16207" y="5024"/>
                    <a:pt x="15917" y="5340"/>
                    <a:pt x="15795" y="5148"/>
                  </a:cubicBezTo>
                  <a:cubicBezTo>
                    <a:pt x="15620" y="4957"/>
                    <a:pt x="15856" y="4575"/>
                    <a:pt x="15742" y="4325"/>
                  </a:cubicBezTo>
                  <a:cubicBezTo>
                    <a:pt x="15681" y="4200"/>
                    <a:pt x="15505" y="4134"/>
                    <a:pt x="15330" y="4134"/>
                  </a:cubicBezTo>
                  <a:cubicBezTo>
                    <a:pt x="15215" y="4134"/>
                    <a:pt x="15040" y="4258"/>
                    <a:pt x="14865" y="4258"/>
                  </a:cubicBezTo>
                  <a:cubicBezTo>
                    <a:pt x="14811" y="4258"/>
                    <a:pt x="14750" y="4067"/>
                    <a:pt x="14689" y="4067"/>
                  </a:cubicBezTo>
                  <a:cubicBezTo>
                    <a:pt x="14522" y="4009"/>
                    <a:pt x="14346" y="3942"/>
                    <a:pt x="14224" y="4067"/>
                  </a:cubicBezTo>
                  <a:cubicBezTo>
                    <a:pt x="14110" y="4200"/>
                    <a:pt x="14110" y="4575"/>
                    <a:pt x="13935" y="4641"/>
                  </a:cubicBezTo>
                  <a:cubicBezTo>
                    <a:pt x="13645" y="4766"/>
                    <a:pt x="13233" y="4708"/>
                    <a:pt x="13004" y="4516"/>
                  </a:cubicBezTo>
                  <a:cubicBezTo>
                    <a:pt x="12890" y="4383"/>
                    <a:pt x="13119" y="4200"/>
                    <a:pt x="13119" y="4009"/>
                  </a:cubicBezTo>
                  <a:cubicBezTo>
                    <a:pt x="13180" y="3876"/>
                    <a:pt x="13233" y="3693"/>
                    <a:pt x="13119" y="3560"/>
                  </a:cubicBezTo>
                  <a:cubicBezTo>
                    <a:pt x="13058" y="3435"/>
                    <a:pt x="12890" y="3560"/>
                    <a:pt x="12768" y="3560"/>
                  </a:cubicBezTo>
                  <a:cubicBezTo>
                    <a:pt x="12425" y="3435"/>
                    <a:pt x="12128" y="3244"/>
                    <a:pt x="11838" y="3052"/>
                  </a:cubicBezTo>
                  <a:cubicBezTo>
                    <a:pt x="11373" y="2670"/>
                    <a:pt x="10847" y="2354"/>
                    <a:pt x="10557" y="1913"/>
                  </a:cubicBezTo>
                  <a:cubicBezTo>
                    <a:pt x="10382" y="1655"/>
                    <a:pt x="10328" y="1273"/>
                    <a:pt x="10443" y="1023"/>
                  </a:cubicBezTo>
                  <a:cubicBezTo>
                    <a:pt x="10496" y="890"/>
                    <a:pt x="10732" y="956"/>
                    <a:pt x="10847" y="956"/>
                  </a:cubicBezTo>
                  <a:cubicBezTo>
                    <a:pt x="11136" y="890"/>
                    <a:pt x="11487" y="1023"/>
                    <a:pt x="11723" y="890"/>
                  </a:cubicBezTo>
                  <a:cubicBezTo>
                    <a:pt x="11838" y="765"/>
                    <a:pt x="11723" y="765"/>
                    <a:pt x="11723" y="574"/>
                  </a:cubicBezTo>
                  <a:cubicBezTo>
                    <a:pt x="11312" y="516"/>
                    <a:pt x="10908" y="383"/>
                    <a:pt x="10671" y="0"/>
                  </a:cubicBezTo>
                  <a:cubicBezTo>
                    <a:pt x="10618" y="67"/>
                    <a:pt x="10618" y="67"/>
                    <a:pt x="10618" y="67"/>
                  </a:cubicBezTo>
                  <a:cubicBezTo>
                    <a:pt x="10092" y="449"/>
                    <a:pt x="9040" y="383"/>
                    <a:pt x="8399" y="640"/>
                  </a:cubicBezTo>
                  <a:cubicBezTo>
                    <a:pt x="7820" y="832"/>
                    <a:pt x="7004" y="832"/>
                    <a:pt x="6425" y="890"/>
                  </a:cubicBezTo>
                  <a:cubicBezTo>
                    <a:pt x="6135" y="956"/>
                    <a:pt x="5609" y="956"/>
                    <a:pt x="5670" y="1273"/>
                  </a:cubicBezTo>
                  <a:cubicBezTo>
                    <a:pt x="5784" y="1589"/>
                    <a:pt x="5548" y="1780"/>
                    <a:pt x="5372" y="1971"/>
                  </a:cubicBezTo>
                  <a:cubicBezTo>
                    <a:pt x="5197" y="2229"/>
                    <a:pt x="5372" y="3052"/>
                    <a:pt x="5319" y="3435"/>
                  </a:cubicBezTo>
                  <a:cubicBezTo>
                    <a:pt x="5197" y="4067"/>
                    <a:pt x="4907" y="4516"/>
                    <a:pt x="4618" y="5024"/>
                  </a:cubicBezTo>
                  <a:cubicBezTo>
                    <a:pt x="4091" y="5340"/>
                    <a:pt x="3573" y="5598"/>
                    <a:pt x="3161" y="4899"/>
                  </a:cubicBezTo>
                  <a:cubicBezTo>
                    <a:pt x="3047" y="4641"/>
                    <a:pt x="2170" y="4641"/>
                    <a:pt x="1880" y="4641"/>
                  </a:cubicBezTo>
                  <a:cubicBezTo>
                    <a:pt x="1880" y="5215"/>
                    <a:pt x="1705" y="5722"/>
                    <a:pt x="1530" y="6230"/>
                  </a:cubicBezTo>
                  <a:cubicBezTo>
                    <a:pt x="1766" y="6230"/>
                    <a:pt x="1880" y="6230"/>
                    <a:pt x="2109" y="6230"/>
                  </a:cubicBezTo>
                  <a:cubicBezTo>
                    <a:pt x="2345" y="6230"/>
                    <a:pt x="2635" y="6105"/>
                    <a:pt x="2872" y="6230"/>
                  </a:cubicBezTo>
                  <a:cubicBezTo>
                    <a:pt x="2986" y="6296"/>
                    <a:pt x="2925" y="6487"/>
                    <a:pt x="2986" y="6612"/>
                  </a:cubicBezTo>
                  <a:cubicBezTo>
                    <a:pt x="3100" y="6928"/>
                    <a:pt x="3276" y="7178"/>
                    <a:pt x="3337" y="7436"/>
                  </a:cubicBezTo>
                  <a:cubicBezTo>
                    <a:pt x="3398" y="7502"/>
                    <a:pt x="3276" y="7560"/>
                    <a:pt x="3222" y="7627"/>
                  </a:cubicBezTo>
                  <a:cubicBezTo>
                    <a:pt x="3161" y="7943"/>
                    <a:pt x="3222" y="8392"/>
                    <a:pt x="3100" y="8708"/>
                  </a:cubicBezTo>
                  <a:cubicBezTo>
                    <a:pt x="2986" y="8899"/>
                    <a:pt x="2757" y="8833"/>
                    <a:pt x="2582" y="8958"/>
                  </a:cubicBezTo>
                  <a:cubicBezTo>
                    <a:pt x="2521" y="8958"/>
                    <a:pt x="2460" y="9024"/>
                    <a:pt x="2460" y="9091"/>
                  </a:cubicBezTo>
                  <a:cubicBezTo>
                    <a:pt x="2521" y="9216"/>
                    <a:pt x="2635" y="9149"/>
                    <a:pt x="2696" y="9216"/>
                  </a:cubicBezTo>
                  <a:cubicBezTo>
                    <a:pt x="2986" y="9340"/>
                    <a:pt x="3161" y="9598"/>
                    <a:pt x="3451" y="9656"/>
                  </a:cubicBezTo>
                  <a:cubicBezTo>
                    <a:pt x="3573" y="9723"/>
                    <a:pt x="3687" y="9282"/>
                    <a:pt x="3741" y="9407"/>
                  </a:cubicBezTo>
                  <a:cubicBezTo>
                    <a:pt x="3977" y="9789"/>
                    <a:pt x="3916" y="10297"/>
                    <a:pt x="3977" y="10738"/>
                  </a:cubicBezTo>
                  <a:cubicBezTo>
                    <a:pt x="4038" y="10804"/>
                    <a:pt x="3977" y="10929"/>
                    <a:pt x="4038" y="10995"/>
                  </a:cubicBezTo>
                  <a:cubicBezTo>
                    <a:pt x="4091" y="11120"/>
                    <a:pt x="4206" y="11245"/>
                    <a:pt x="4267" y="11378"/>
                  </a:cubicBezTo>
                  <a:cubicBezTo>
                    <a:pt x="4381" y="11628"/>
                    <a:pt x="4328" y="11944"/>
                    <a:pt x="4442" y="12201"/>
                  </a:cubicBezTo>
                  <a:cubicBezTo>
                    <a:pt x="4503" y="12326"/>
                    <a:pt x="4679" y="12201"/>
                    <a:pt x="4679" y="12326"/>
                  </a:cubicBezTo>
                  <a:cubicBezTo>
                    <a:pt x="4732" y="12651"/>
                    <a:pt x="4557" y="13025"/>
                    <a:pt x="4679" y="13341"/>
                  </a:cubicBezTo>
                  <a:cubicBezTo>
                    <a:pt x="4679" y="13532"/>
                    <a:pt x="4968" y="13341"/>
                    <a:pt x="5022" y="13407"/>
                  </a:cubicBezTo>
                  <a:cubicBezTo>
                    <a:pt x="5144" y="13532"/>
                    <a:pt x="5144" y="13665"/>
                    <a:pt x="5144" y="13790"/>
                  </a:cubicBezTo>
                  <a:cubicBezTo>
                    <a:pt x="5144" y="13981"/>
                    <a:pt x="5022" y="14173"/>
                    <a:pt x="5083" y="14231"/>
                  </a:cubicBezTo>
                  <a:cubicBezTo>
                    <a:pt x="5258" y="14422"/>
                    <a:pt x="5548" y="14297"/>
                    <a:pt x="5723" y="14422"/>
                  </a:cubicBezTo>
                  <a:cubicBezTo>
                    <a:pt x="5898" y="14555"/>
                    <a:pt x="6188" y="14805"/>
                    <a:pt x="6188" y="15063"/>
                  </a:cubicBezTo>
                  <a:cubicBezTo>
                    <a:pt x="6135" y="15312"/>
                    <a:pt x="5784" y="15254"/>
                    <a:pt x="5670" y="15445"/>
                  </a:cubicBezTo>
                  <a:cubicBezTo>
                    <a:pt x="5548" y="15570"/>
                    <a:pt x="5433" y="15761"/>
                    <a:pt x="5494" y="15953"/>
                  </a:cubicBezTo>
                  <a:cubicBezTo>
                    <a:pt x="5548" y="16077"/>
                    <a:pt x="5784" y="15953"/>
                    <a:pt x="5837" y="16077"/>
                  </a:cubicBezTo>
                  <a:cubicBezTo>
                    <a:pt x="5959" y="16202"/>
                    <a:pt x="5898" y="16460"/>
                    <a:pt x="5959" y="16585"/>
                  </a:cubicBezTo>
                  <a:cubicBezTo>
                    <a:pt x="6135" y="16585"/>
                    <a:pt x="6249" y="16518"/>
                    <a:pt x="6425" y="16460"/>
                  </a:cubicBezTo>
                  <a:cubicBezTo>
                    <a:pt x="6600" y="16393"/>
                    <a:pt x="6829" y="16269"/>
                    <a:pt x="7004" y="16327"/>
                  </a:cubicBezTo>
                  <a:cubicBezTo>
                    <a:pt x="7179" y="16460"/>
                    <a:pt x="7240" y="16776"/>
                    <a:pt x="7416" y="16967"/>
                  </a:cubicBezTo>
                  <a:cubicBezTo>
                    <a:pt x="7591" y="17092"/>
                    <a:pt x="7995" y="17025"/>
                    <a:pt x="8056" y="17283"/>
                  </a:cubicBezTo>
                  <a:cubicBezTo>
                    <a:pt x="8110" y="17475"/>
                    <a:pt x="7766" y="17541"/>
                    <a:pt x="7644" y="17732"/>
                  </a:cubicBezTo>
                  <a:cubicBezTo>
                    <a:pt x="7591" y="17791"/>
                    <a:pt x="7705" y="17924"/>
                    <a:pt x="7644" y="18049"/>
                  </a:cubicBezTo>
                  <a:cubicBezTo>
                    <a:pt x="7530" y="18173"/>
                    <a:pt x="7355" y="18240"/>
                    <a:pt x="7179" y="18298"/>
                  </a:cubicBezTo>
                  <a:cubicBezTo>
                    <a:pt x="7065" y="18365"/>
                    <a:pt x="6890" y="18365"/>
                    <a:pt x="6714" y="18365"/>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2" name="Shape 2497">
              <a:extLst>
                <a:ext uri="{FF2B5EF4-FFF2-40B4-BE49-F238E27FC236}">
                  <a16:creationId xmlns:a16="http://schemas.microsoft.com/office/drawing/2014/main" id="{601DB3CB-E1EB-4F71-2E9F-F1E7B8135826}"/>
                </a:ext>
              </a:extLst>
            </p:cNvPr>
            <p:cNvSpPr/>
            <p:nvPr/>
          </p:nvSpPr>
          <p:spPr>
            <a:xfrm>
              <a:off x="2105490" y="8292327"/>
              <a:ext cx="100970" cy="82663"/>
            </a:xfrm>
            <a:custGeom>
              <a:avLst/>
              <a:gdLst/>
              <a:ahLst/>
              <a:cxnLst>
                <a:cxn ang="0">
                  <a:pos x="wd2" y="hd2"/>
                </a:cxn>
                <a:cxn ang="5400000">
                  <a:pos x="wd2" y="hd2"/>
                </a:cxn>
                <a:cxn ang="10800000">
                  <a:pos x="wd2" y="hd2"/>
                </a:cxn>
                <a:cxn ang="16200000">
                  <a:pos x="wd2" y="hd2"/>
                </a:cxn>
              </a:cxnLst>
              <a:rect l="0" t="0" r="r" b="b"/>
              <a:pathLst>
                <a:path w="20730" h="21155" extrusionOk="0">
                  <a:moveTo>
                    <a:pt x="8534" y="21155"/>
                  </a:moveTo>
                  <a:cubicBezTo>
                    <a:pt x="10121" y="21155"/>
                    <a:pt x="11709" y="21155"/>
                    <a:pt x="12744" y="20469"/>
                  </a:cubicBezTo>
                  <a:cubicBezTo>
                    <a:pt x="14331" y="19869"/>
                    <a:pt x="15918" y="19184"/>
                    <a:pt x="16953" y="17898"/>
                  </a:cubicBezTo>
                  <a:cubicBezTo>
                    <a:pt x="17505" y="16612"/>
                    <a:pt x="16470" y="15241"/>
                    <a:pt x="16953" y="14641"/>
                  </a:cubicBezTo>
                  <a:cubicBezTo>
                    <a:pt x="18058" y="12669"/>
                    <a:pt x="21163" y="11984"/>
                    <a:pt x="20680" y="10012"/>
                  </a:cubicBezTo>
                  <a:cubicBezTo>
                    <a:pt x="20128" y="7355"/>
                    <a:pt x="16470" y="8041"/>
                    <a:pt x="14883" y="6755"/>
                  </a:cubicBezTo>
                  <a:cubicBezTo>
                    <a:pt x="13296" y="4784"/>
                    <a:pt x="12744" y="1526"/>
                    <a:pt x="11157" y="155"/>
                  </a:cubicBezTo>
                  <a:cubicBezTo>
                    <a:pt x="9569" y="-445"/>
                    <a:pt x="7499" y="841"/>
                    <a:pt x="5912" y="1526"/>
                  </a:cubicBezTo>
                  <a:cubicBezTo>
                    <a:pt x="4325" y="2126"/>
                    <a:pt x="3290" y="2812"/>
                    <a:pt x="1702" y="2812"/>
                  </a:cubicBezTo>
                  <a:cubicBezTo>
                    <a:pt x="1150" y="5469"/>
                    <a:pt x="-437" y="8041"/>
                    <a:pt x="115" y="10012"/>
                  </a:cubicBezTo>
                  <a:cubicBezTo>
                    <a:pt x="598" y="12669"/>
                    <a:pt x="2737" y="19184"/>
                    <a:pt x="3773" y="21155"/>
                  </a:cubicBezTo>
                  <a:cubicBezTo>
                    <a:pt x="5360" y="20469"/>
                    <a:pt x="6395" y="19869"/>
                    <a:pt x="8534" y="20469"/>
                  </a:cubicBezTo>
                  <a:cubicBezTo>
                    <a:pt x="8534" y="21155"/>
                    <a:pt x="8534" y="21155"/>
                    <a:pt x="8534" y="2115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3" name="Shape 2498">
              <a:extLst>
                <a:ext uri="{FF2B5EF4-FFF2-40B4-BE49-F238E27FC236}">
                  <a16:creationId xmlns:a16="http://schemas.microsoft.com/office/drawing/2014/main" id="{C2C399DE-137F-E457-0101-7F237B92C4A3}"/>
                </a:ext>
              </a:extLst>
            </p:cNvPr>
            <p:cNvSpPr/>
            <p:nvPr/>
          </p:nvSpPr>
          <p:spPr>
            <a:xfrm>
              <a:off x="982557" y="7881618"/>
              <a:ext cx="1141276" cy="863513"/>
            </a:xfrm>
            <a:custGeom>
              <a:avLst/>
              <a:gdLst/>
              <a:ahLst/>
              <a:cxnLst>
                <a:cxn ang="0">
                  <a:pos x="wd2" y="hd2"/>
                </a:cxn>
                <a:cxn ang="5400000">
                  <a:pos x="wd2" y="hd2"/>
                </a:cxn>
                <a:cxn ang="10800000">
                  <a:pos x="wd2" y="hd2"/>
                </a:cxn>
                <a:cxn ang="16200000">
                  <a:pos x="wd2" y="hd2"/>
                </a:cxn>
              </a:cxnLst>
              <a:rect l="0" t="0" r="r" b="b"/>
              <a:pathLst>
                <a:path w="21600" h="21493" extrusionOk="0">
                  <a:moveTo>
                    <a:pt x="51" y="21337"/>
                  </a:moveTo>
                  <a:cubicBezTo>
                    <a:pt x="147" y="21337"/>
                    <a:pt x="147" y="21018"/>
                    <a:pt x="147" y="20951"/>
                  </a:cubicBezTo>
                  <a:cubicBezTo>
                    <a:pt x="198" y="20884"/>
                    <a:pt x="587" y="21018"/>
                    <a:pt x="440" y="21211"/>
                  </a:cubicBezTo>
                  <a:cubicBezTo>
                    <a:pt x="396" y="21270"/>
                    <a:pt x="345" y="21337"/>
                    <a:pt x="294" y="21463"/>
                  </a:cubicBezTo>
                  <a:cubicBezTo>
                    <a:pt x="249" y="21530"/>
                    <a:pt x="51" y="21463"/>
                    <a:pt x="0" y="21463"/>
                  </a:cubicBezTo>
                  <a:cubicBezTo>
                    <a:pt x="51" y="21337"/>
                    <a:pt x="51" y="21337"/>
                    <a:pt x="51" y="21337"/>
                  </a:cubicBezTo>
                  <a:close/>
                  <a:moveTo>
                    <a:pt x="21600" y="12299"/>
                  </a:moveTo>
                  <a:cubicBezTo>
                    <a:pt x="21504" y="12106"/>
                    <a:pt x="21306" y="11468"/>
                    <a:pt x="21262" y="11208"/>
                  </a:cubicBezTo>
                  <a:cubicBezTo>
                    <a:pt x="21211" y="11015"/>
                    <a:pt x="21357" y="10764"/>
                    <a:pt x="21409" y="10503"/>
                  </a:cubicBezTo>
                  <a:cubicBezTo>
                    <a:pt x="21357" y="10378"/>
                    <a:pt x="21409" y="10117"/>
                    <a:pt x="21306" y="9992"/>
                  </a:cubicBezTo>
                  <a:cubicBezTo>
                    <a:pt x="21262" y="9866"/>
                    <a:pt x="21064" y="9992"/>
                    <a:pt x="21019" y="9866"/>
                  </a:cubicBezTo>
                  <a:cubicBezTo>
                    <a:pt x="20968" y="9673"/>
                    <a:pt x="21064" y="9480"/>
                    <a:pt x="21166" y="9354"/>
                  </a:cubicBezTo>
                  <a:cubicBezTo>
                    <a:pt x="21262" y="9161"/>
                    <a:pt x="21555" y="9220"/>
                    <a:pt x="21600" y="8968"/>
                  </a:cubicBezTo>
                  <a:cubicBezTo>
                    <a:pt x="21600" y="8708"/>
                    <a:pt x="21357" y="8456"/>
                    <a:pt x="21211" y="8322"/>
                  </a:cubicBezTo>
                  <a:cubicBezTo>
                    <a:pt x="21064" y="8196"/>
                    <a:pt x="20821" y="8322"/>
                    <a:pt x="20674" y="8129"/>
                  </a:cubicBezTo>
                  <a:cubicBezTo>
                    <a:pt x="20623" y="8070"/>
                    <a:pt x="20726" y="7877"/>
                    <a:pt x="20726" y="7684"/>
                  </a:cubicBezTo>
                  <a:cubicBezTo>
                    <a:pt x="20726" y="7558"/>
                    <a:pt x="20726" y="7424"/>
                    <a:pt x="20623" y="7298"/>
                  </a:cubicBezTo>
                  <a:cubicBezTo>
                    <a:pt x="20579" y="7231"/>
                    <a:pt x="20336" y="7424"/>
                    <a:pt x="20336" y="7231"/>
                  </a:cubicBezTo>
                  <a:cubicBezTo>
                    <a:pt x="20234" y="6912"/>
                    <a:pt x="20381" y="6534"/>
                    <a:pt x="20336" y="6207"/>
                  </a:cubicBezTo>
                  <a:cubicBezTo>
                    <a:pt x="20336" y="6081"/>
                    <a:pt x="20189" y="6207"/>
                    <a:pt x="20138" y="6081"/>
                  </a:cubicBezTo>
                  <a:cubicBezTo>
                    <a:pt x="20043" y="5821"/>
                    <a:pt x="20087" y="5502"/>
                    <a:pt x="19991" y="5250"/>
                  </a:cubicBezTo>
                  <a:cubicBezTo>
                    <a:pt x="19940" y="5116"/>
                    <a:pt x="19845" y="4990"/>
                    <a:pt x="19800" y="4864"/>
                  </a:cubicBezTo>
                  <a:cubicBezTo>
                    <a:pt x="19749" y="4797"/>
                    <a:pt x="19800" y="4671"/>
                    <a:pt x="19749" y="4604"/>
                  </a:cubicBezTo>
                  <a:cubicBezTo>
                    <a:pt x="19698" y="4159"/>
                    <a:pt x="19749" y="3647"/>
                    <a:pt x="19551" y="3261"/>
                  </a:cubicBezTo>
                  <a:cubicBezTo>
                    <a:pt x="19506" y="3136"/>
                    <a:pt x="19411" y="3580"/>
                    <a:pt x="19309" y="3513"/>
                  </a:cubicBezTo>
                  <a:cubicBezTo>
                    <a:pt x="19066" y="3454"/>
                    <a:pt x="18919" y="3194"/>
                    <a:pt x="18677" y="3068"/>
                  </a:cubicBezTo>
                  <a:cubicBezTo>
                    <a:pt x="18626" y="3001"/>
                    <a:pt x="18530" y="3068"/>
                    <a:pt x="18479" y="2943"/>
                  </a:cubicBezTo>
                  <a:cubicBezTo>
                    <a:pt x="18479" y="2875"/>
                    <a:pt x="18530" y="2808"/>
                    <a:pt x="18581" y="2808"/>
                  </a:cubicBezTo>
                  <a:cubicBezTo>
                    <a:pt x="18728" y="2682"/>
                    <a:pt x="18919" y="2750"/>
                    <a:pt x="19015" y="2557"/>
                  </a:cubicBezTo>
                  <a:cubicBezTo>
                    <a:pt x="19117" y="2238"/>
                    <a:pt x="19066" y="1785"/>
                    <a:pt x="19117" y="1466"/>
                  </a:cubicBezTo>
                  <a:cubicBezTo>
                    <a:pt x="19162" y="1399"/>
                    <a:pt x="19264" y="1340"/>
                    <a:pt x="19213" y="1273"/>
                  </a:cubicBezTo>
                  <a:cubicBezTo>
                    <a:pt x="19162" y="1013"/>
                    <a:pt x="19015" y="761"/>
                    <a:pt x="18919" y="442"/>
                  </a:cubicBezTo>
                  <a:cubicBezTo>
                    <a:pt x="18868" y="316"/>
                    <a:pt x="18919" y="123"/>
                    <a:pt x="18823" y="56"/>
                  </a:cubicBezTo>
                  <a:cubicBezTo>
                    <a:pt x="18626" y="-70"/>
                    <a:pt x="18383" y="56"/>
                    <a:pt x="18185" y="56"/>
                  </a:cubicBezTo>
                  <a:cubicBezTo>
                    <a:pt x="17994" y="56"/>
                    <a:pt x="17898" y="56"/>
                    <a:pt x="17700" y="56"/>
                  </a:cubicBezTo>
                  <a:cubicBezTo>
                    <a:pt x="17655" y="316"/>
                    <a:pt x="17553" y="568"/>
                    <a:pt x="17553" y="887"/>
                  </a:cubicBezTo>
                  <a:cubicBezTo>
                    <a:pt x="17509" y="1592"/>
                    <a:pt x="17751" y="2296"/>
                    <a:pt x="17700" y="3068"/>
                  </a:cubicBezTo>
                  <a:cubicBezTo>
                    <a:pt x="17655" y="3773"/>
                    <a:pt x="17362" y="3580"/>
                    <a:pt x="17068" y="3899"/>
                  </a:cubicBezTo>
                  <a:cubicBezTo>
                    <a:pt x="16628" y="4420"/>
                    <a:pt x="16774" y="5057"/>
                    <a:pt x="16143" y="5502"/>
                  </a:cubicBezTo>
                  <a:cubicBezTo>
                    <a:pt x="15945" y="5628"/>
                    <a:pt x="15460" y="5569"/>
                    <a:pt x="15555" y="5888"/>
                  </a:cubicBezTo>
                  <a:cubicBezTo>
                    <a:pt x="15651" y="6207"/>
                    <a:pt x="15555" y="6719"/>
                    <a:pt x="15364" y="6979"/>
                  </a:cubicBezTo>
                  <a:cubicBezTo>
                    <a:pt x="14968" y="7558"/>
                    <a:pt x="14483" y="7491"/>
                    <a:pt x="13947" y="7491"/>
                  </a:cubicBezTo>
                  <a:cubicBezTo>
                    <a:pt x="13947" y="7936"/>
                    <a:pt x="13998" y="8003"/>
                    <a:pt x="13653" y="8003"/>
                  </a:cubicBezTo>
                  <a:cubicBezTo>
                    <a:pt x="13557" y="8456"/>
                    <a:pt x="13168" y="8322"/>
                    <a:pt x="12874" y="8322"/>
                  </a:cubicBezTo>
                  <a:cubicBezTo>
                    <a:pt x="12779" y="9027"/>
                    <a:pt x="12970" y="11141"/>
                    <a:pt x="12140" y="11082"/>
                  </a:cubicBezTo>
                  <a:cubicBezTo>
                    <a:pt x="11509" y="11015"/>
                    <a:pt x="11706" y="12173"/>
                    <a:pt x="11457" y="12685"/>
                  </a:cubicBezTo>
                  <a:cubicBezTo>
                    <a:pt x="11215" y="13256"/>
                    <a:pt x="10972" y="12878"/>
                    <a:pt x="10774" y="13516"/>
                  </a:cubicBezTo>
                  <a:cubicBezTo>
                    <a:pt x="10634" y="13902"/>
                    <a:pt x="10289" y="14162"/>
                    <a:pt x="10098" y="14414"/>
                  </a:cubicBezTo>
                  <a:cubicBezTo>
                    <a:pt x="9657" y="14993"/>
                    <a:pt x="9606" y="14540"/>
                    <a:pt x="9166" y="14993"/>
                  </a:cubicBezTo>
                  <a:cubicBezTo>
                    <a:pt x="8879" y="15371"/>
                    <a:pt x="8681" y="16017"/>
                    <a:pt x="8438" y="15119"/>
                  </a:cubicBezTo>
                  <a:cubicBezTo>
                    <a:pt x="8291" y="15119"/>
                    <a:pt x="8196" y="15052"/>
                    <a:pt x="7998" y="15186"/>
                  </a:cubicBezTo>
                  <a:cubicBezTo>
                    <a:pt x="7513" y="15438"/>
                    <a:pt x="7168" y="16084"/>
                    <a:pt x="6683" y="16210"/>
                  </a:cubicBezTo>
                  <a:cubicBezTo>
                    <a:pt x="6440" y="16277"/>
                    <a:pt x="6000" y="16722"/>
                    <a:pt x="6147" y="17166"/>
                  </a:cubicBezTo>
                  <a:cubicBezTo>
                    <a:pt x="6243" y="17552"/>
                    <a:pt x="5949" y="18199"/>
                    <a:pt x="6000" y="18257"/>
                  </a:cubicBezTo>
                  <a:cubicBezTo>
                    <a:pt x="6294" y="18517"/>
                    <a:pt x="6294" y="18962"/>
                    <a:pt x="6683" y="18710"/>
                  </a:cubicBezTo>
                  <a:cubicBezTo>
                    <a:pt x="6977" y="18517"/>
                    <a:pt x="7366" y="18324"/>
                    <a:pt x="7704" y="18257"/>
                  </a:cubicBezTo>
                  <a:cubicBezTo>
                    <a:pt x="7902" y="18199"/>
                    <a:pt x="7704" y="17813"/>
                    <a:pt x="7851" y="17552"/>
                  </a:cubicBezTo>
                  <a:cubicBezTo>
                    <a:pt x="8049" y="17108"/>
                    <a:pt x="8534" y="16982"/>
                    <a:pt x="8777" y="17359"/>
                  </a:cubicBezTo>
                  <a:cubicBezTo>
                    <a:pt x="9217" y="18064"/>
                    <a:pt x="10098" y="17813"/>
                    <a:pt x="10436" y="18769"/>
                  </a:cubicBezTo>
                  <a:cubicBezTo>
                    <a:pt x="10679" y="19348"/>
                    <a:pt x="10532" y="20313"/>
                    <a:pt x="11215" y="20506"/>
                  </a:cubicBezTo>
                  <a:cubicBezTo>
                    <a:pt x="11266" y="20053"/>
                    <a:pt x="11457" y="19986"/>
                    <a:pt x="11706" y="19734"/>
                  </a:cubicBezTo>
                  <a:cubicBezTo>
                    <a:pt x="11898" y="19541"/>
                    <a:pt x="12287" y="19608"/>
                    <a:pt x="12287" y="19541"/>
                  </a:cubicBezTo>
                  <a:cubicBezTo>
                    <a:pt x="12389" y="19222"/>
                    <a:pt x="12632" y="18836"/>
                    <a:pt x="12632" y="18517"/>
                  </a:cubicBezTo>
                  <a:cubicBezTo>
                    <a:pt x="12632" y="18257"/>
                    <a:pt x="12338" y="17938"/>
                    <a:pt x="12243" y="17745"/>
                  </a:cubicBezTo>
                  <a:cubicBezTo>
                    <a:pt x="12140" y="17552"/>
                    <a:pt x="12434" y="17494"/>
                    <a:pt x="12434" y="17233"/>
                  </a:cubicBezTo>
                  <a:cubicBezTo>
                    <a:pt x="12485" y="16847"/>
                    <a:pt x="12632" y="16654"/>
                    <a:pt x="12677" y="16403"/>
                  </a:cubicBezTo>
                  <a:cubicBezTo>
                    <a:pt x="12728" y="16084"/>
                    <a:pt x="12728" y="15757"/>
                    <a:pt x="12779" y="15438"/>
                  </a:cubicBezTo>
                  <a:cubicBezTo>
                    <a:pt x="13066" y="15505"/>
                    <a:pt x="12926" y="16654"/>
                    <a:pt x="13066" y="16847"/>
                  </a:cubicBezTo>
                  <a:cubicBezTo>
                    <a:pt x="13168" y="16654"/>
                    <a:pt x="13264" y="16654"/>
                    <a:pt x="13360" y="16596"/>
                  </a:cubicBezTo>
                  <a:cubicBezTo>
                    <a:pt x="13557" y="16336"/>
                    <a:pt x="13411" y="15698"/>
                    <a:pt x="13653" y="15505"/>
                  </a:cubicBezTo>
                  <a:cubicBezTo>
                    <a:pt x="13851" y="15312"/>
                    <a:pt x="13896" y="15631"/>
                    <a:pt x="14043" y="15631"/>
                  </a:cubicBezTo>
                  <a:cubicBezTo>
                    <a:pt x="14094" y="15631"/>
                    <a:pt x="14483" y="14993"/>
                    <a:pt x="14630" y="14926"/>
                  </a:cubicBezTo>
                  <a:cubicBezTo>
                    <a:pt x="15019" y="14733"/>
                    <a:pt x="15070" y="15119"/>
                    <a:pt x="15262" y="15186"/>
                  </a:cubicBezTo>
                  <a:cubicBezTo>
                    <a:pt x="15262" y="14993"/>
                    <a:pt x="15460" y="14800"/>
                    <a:pt x="15460" y="14540"/>
                  </a:cubicBezTo>
                  <a:cubicBezTo>
                    <a:pt x="15460" y="14221"/>
                    <a:pt x="15460" y="13969"/>
                    <a:pt x="15460" y="13642"/>
                  </a:cubicBezTo>
                  <a:cubicBezTo>
                    <a:pt x="15555" y="13583"/>
                    <a:pt x="15606" y="13516"/>
                    <a:pt x="15651" y="13516"/>
                  </a:cubicBezTo>
                  <a:cubicBezTo>
                    <a:pt x="15702" y="13449"/>
                    <a:pt x="15702" y="13323"/>
                    <a:pt x="15651" y="13256"/>
                  </a:cubicBezTo>
                  <a:cubicBezTo>
                    <a:pt x="15555" y="12685"/>
                    <a:pt x="16385" y="12232"/>
                    <a:pt x="16385" y="13130"/>
                  </a:cubicBezTo>
                  <a:cubicBezTo>
                    <a:pt x="16577" y="13256"/>
                    <a:pt x="17215" y="12744"/>
                    <a:pt x="17604" y="12878"/>
                  </a:cubicBezTo>
                  <a:cubicBezTo>
                    <a:pt x="18287" y="13063"/>
                    <a:pt x="18772" y="12492"/>
                    <a:pt x="19411" y="12299"/>
                  </a:cubicBezTo>
                  <a:cubicBezTo>
                    <a:pt x="19698" y="12232"/>
                    <a:pt x="20043" y="12299"/>
                    <a:pt x="20336" y="12366"/>
                  </a:cubicBezTo>
                  <a:cubicBezTo>
                    <a:pt x="20528" y="12425"/>
                    <a:pt x="20821" y="12878"/>
                    <a:pt x="20917" y="12878"/>
                  </a:cubicBezTo>
                  <a:cubicBezTo>
                    <a:pt x="20917" y="12937"/>
                    <a:pt x="21019" y="13004"/>
                    <a:pt x="21019" y="13063"/>
                  </a:cubicBezTo>
                  <a:cubicBezTo>
                    <a:pt x="21019" y="13063"/>
                    <a:pt x="21019" y="13063"/>
                    <a:pt x="21064" y="13063"/>
                  </a:cubicBezTo>
                  <a:cubicBezTo>
                    <a:pt x="21064" y="13130"/>
                    <a:pt x="21211" y="13130"/>
                    <a:pt x="21262" y="13130"/>
                  </a:cubicBezTo>
                  <a:cubicBezTo>
                    <a:pt x="21306" y="12811"/>
                    <a:pt x="21409" y="12425"/>
                    <a:pt x="21600" y="12299"/>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4" name="Shape 2499">
              <a:extLst>
                <a:ext uri="{FF2B5EF4-FFF2-40B4-BE49-F238E27FC236}">
                  <a16:creationId xmlns:a16="http://schemas.microsoft.com/office/drawing/2014/main" id="{6621CCE8-F7E9-74CE-834B-D5455F052B9E}"/>
                </a:ext>
              </a:extLst>
            </p:cNvPr>
            <p:cNvSpPr/>
            <p:nvPr/>
          </p:nvSpPr>
          <p:spPr>
            <a:xfrm>
              <a:off x="799722" y="4975538"/>
              <a:ext cx="415385" cy="219091"/>
            </a:xfrm>
            <a:custGeom>
              <a:avLst/>
              <a:gdLst/>
              <a:ahLst/>
              <a:cxnLst>
                <a:cxn ang="0">
                  <a:pos x="wd2" y="hd2"/>
                </a:cxn>
                <a:cxn ang="5400000">
                  <a:pos x="wd2" y="hd2"/>
                </a:cxn>
                <a:cxn ang="10800000">
                  <a:pos x="wd2" y="hd2"/>
                </a:cxn>
                <a:cxn ang="16200000">
                  <a:pos x="wd2" y="hd2"/>
                </a:cxn>
              </a:cxnLst>
              <a:rect l="0" t="0" r="r" b="b"/>
              <a:pathLst>
                <a:path w="21498" h="21398" extrusionOk="0">
                  <a:moveTo>
                    <a:pt x="541" y="8548"/>
                  </a:moveTo>
                  <a:cubicBezTo>
                    <a:pt x="942" y="7792"/>
                    <a:pt x="1605" y="6049"/>
                    <a:pt x="2006" y="5523"/>
                  </a:cubicBezTo>
                  <a:cubicBezTo>
                    <a:pt x="2268" y="5293"/>
                    <a:pt x="2530" y="5523"/>
                    <a:pt x="2669" y="5293"/>
                  </a:cubicBezTo>
                  <a:cubicBezTo>
                    <a:pt x="3193" y="5030"/>
                    <a:pt x="3594" y="4274"/>
                    <a:pt x="4135" y="3518"/>
                  </a:cubicBezTo>
                  <a:lnTo>
                    <a:pt x="4658" y="4011"/>
                  </a:lnTo>
                  <a:cubicBezTo>
                    <a:pt x="4798" y="4011"/>
                    <a:pt x="5740" y="2268"/>
                    <a:pt x="5740" y="2268"/>
                  </a:cubicBezTo>
                  <a:cubicBezTo>
                    <a:pt x="5862" y="2005"/>
                    <a:pt x="6002" y="2268"/>
                    <a:pt x="6142" y="2005"/>
                  </a:cubicBezTo>
                  <a:cubicBezTo>
                    <a:pt x="6264" y="1775"/>
                    <a:pt x="6264" y="1019"/>
                    <a:pt x="6543" y="756"/>
                  </a:cubicBezTo>
                  <a:cubicBezTo>
                    <a:pt x="6927" y="263"/>
                    <a:pt x="7328" y="0"/>
                    <a:pt x="7729" y="0"/>
                  </a:cubicBezTo>
                  <a:cubicBezTo>
                    <a:pt x="7991" y="263"/>
                    <a:pt x="7991" y="1019"/>
                    <a:pt x="8270" y="1019"/>
                  </a:cubicBezTo>
                  <a:cubicBezTo>
                    <a:pt x="8532" y="1019"/>
                    <a:pt x="8671" y="263"/>
                    <a:pt x="8794" y="0"/>
                  </a:cubicBezTo>
                  <a:cubicBezTo>
                    <a:pt x="9457" y="526"/>
                    <a:pt x="10137" y="1019"/>
                    <a:pt x="10660" y="1019"/>
                  </a:cubicBezTo>
                  <a:cubicBezTo>
                    <a:pt x="10800" y="1019"/>
                    <a:pt x="10800" y="263"/>
                    <a:pt x="10940" y="526"/>
                  </a:cubicBezTo>
                  <a:cubicBezTo>
                    <a:pt x="11463" y="526"/>
                    <a:pt x="11864" y="1282"/>
                    <a:pt x="12266" y="1512"/>
                  </a:cubicBezTo>
                  <a:cubicBezTo>
                    <a:pt x="12405" y="1512"/>
                    <a:pt x="12667" y="1512"/>
                    <a:pt x="12789" y="1512"/>
                  </a:cubicBezTo>
                  <a:cubicBezTo>
                    <a:pt x="13190" y="1775"/>
                    <a:pt x="13469" y="2005"/>
                    <a:pt x="13592" y="2532"/>
                  </a:cubicBezTo>
                  <a:cubicBezTo>
                    <a:pt x="13993" y="3025"/>
                    <a:pt x="13853" y="4537"/>
                    <a:pt x="14255" y="4537"/>
                  </a:cubicBezTo>
                  <a:cubicBezTo>
                    <a:pt x="14656" y="4767"/>
                    <a:pt x="14795" y="3288"/>
                    <a:pt x="15197" y="2762"/>
                  </a:cubicBezTo>
                  <a:cubicBezTo>
                    <a:pt x="15598" y="2268"/>
                    <a:pt x="16121" y="2005"/>
                    <a:pt x="16523" y="1775"/>
                  </a:cubicBezTo>
                  <a:cubicBezTo>
                    <a:pt x="16924" y="1775"/>
                    <a:pt x="17064" y="2268"/>
                    <a:pt x="17325" y="2532"/>
                  </a:cubicBezTo>
                  <a:cubicBezTo>
                    <a:pt x="17203" y="2762"/>
                    <a:pt x="16924" y="3025"/>
                    <a:pt x="16802" y="3518"/>
                  </a:cubicBezTo>
                  <a:cubicBezTo>
                    <a:pt x="16662" y="3781"/>
                    <a:pt x="16924" y="3781"/>
                    <a:pt x="16924" y="4011"/>
                  </a:cubicBezTo>
                  <a:cubicBezTo>
                    <a:pt x="17325" y="5786"/>
                    <a:pt x="17325" y="8055"/>
                    <a:pt x="17988" y="9304"/>
                  </a:cubicBezTo>
                  <a:cubicBezTo>
                    <a:pt x="18268" y="9797"/>
                    <a:pt x="18390" y="8055"/>
                    <a:pt x="18651" y="7792"/>
                  </a:cubicBezTo>
                  <a:cubicBezTo>
                    <a:pt x="18791" y="7562"/>
                    <a:pt x="19053" y="8055"/>
                    <a:pt x="19192" y="7792"/>
                  </a:cubicBezTo>
                  <a:cubicBezTo>
                    <a:pt x="19332" y="7792"/>
                    <a:pt x="19454" y="7299"/>
                    <a:pt x="19733" y="7299"/>
                  </a:cubicBezTo>
                  <a:cubicBezTo>
                    <a:pt x="20134" y="7562"/>
                    <a:pt x="21059" y="8285"/>
                    <a:pt x="21460" y="8285"/>
                  </a:cubicBezTo>
                  <a:cubicBezTo>
                    <a:pt x="21600" y="10323"/>
                    <a:pt x="21321" y="14071"/>
                    <a:pt x="21059" y="14564"/>
                  </a:cubicBezTo>
                  <a:cubicBezTo>
                    <a:pt x="20134" y="16077"/>
                    <a:pt x="19053" y="18608"/>
                    <a:pt x="17866" y="19595"/>
                  </a:cubicBezTo>
                  <a:cubicBezTo>
                    <a:pt x="17465" y="20351"/>
                    <a:pt x="16802" y="21600"/>
                    <a:pt x="16261" y="21370"/>
                  </a:cubicBezTo>
                  <a:cubicBezTo>
                    <a:pt x="14394" y="20088"/>
                    <a:pt x="17064" y="19364"/>
                    <a:pt x="14935" y="18608"/>
                  </a:cubicBezTo>
                  <a:cubicBezTo>
                    <a:pt x="14255" y="18608"/>
                    <a:pt x="14132" y="18608"/>
                    <a:pt x="13592" y="18082"/>
                  </a:cubicBezTo>
                  <a:cubicBezTo>
                    <a:pt x="12929" y="17096"/>
                    <a:pt x="13853" y="16077"/>
                    <a:pt x="12789" y="15584"/>
                  </a:cubicBezTo>
                  <a:cubicBezTo>
                    <a:pt x="12405" y="15584"/>
                    <a:pt x="11062" y="14564"/>
                    <a:pt x="10940" y="14827"/>
                  </a:cubicBezTo>
                  <a:cubicBezTo>
                    <a:pt x="10137" y="14827"/>
                    <a:pt x="9596" y="16077"/>
                    <a:pt x="9195" y="14827"/>
                  </a:cubicBezTo>
                  <a:cubicBezTo>
                    <a:pt x="8532" y="12822"/>
                    <a:pt x="8270" y="15090"/>
                    <a:pt x="8131" y="16340"/>
                  </a:cubicBezTo>
                  <a:cubicBezTo>
                    <a:pt x="7729" y="21107"/>
                    <a:pt x="6264" y="16570"/>
                    <a:pt x="5060" y="17852"/>
                  </a:cubicBezTo>
                  <a:cubicBezTo>
                    <a:pt x="3734" y="19101"/>
                    <a:pt x="3995" y="19364"/>
                    <a:pt x="2408" y="19364"/>
                  </a:cubicBezTo>
                  <a:cubicBezTo>
                    <a:pt x="1867" y="19364"/>
                    <a:pt x="1343" y="20351"/>
                    <a:pt x="1064" y="20088"/>
                  </a:cubicBezTo>
                  <a:cubicBezTo>
                    <a:pt x="942" y="19858"/>
                    <a:pt x="140" y="17589"/>
                    <a:pt x="0" y="17326"/>
                  </a:cubicBezTo>
                  <a:cubicBezTo>
                    <a:pt x="0" y="16340"/>
                    <a:pt x="541" y="16077"/>
                    <a:pt x="401" y="14564"/>
                  </a:cubicBezTo>
                  <a:cubicBezTo>
                    <a:pt x="262" y="13315"/>
                    <a:pt x="401" y="12822"/>
                    <a:pt x="541" y="11310"/>
                  </a:cubicBezTo>
                  <a:cubicBezTo>
                    <a:pt x="663" y="10060"/>
                    <a:pt x="663" y="9041"/>
                    <a:pt x="541" y="854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5" name="Shape 2500">
              <a:extLst>
                <a:ext uri="{FF2B5EF4-FFF2-40B4-BE49-F238E27FC236}">
                  <a16:creationId xmlns:a16="http://schemas.microsoft.com/office/drawing/2014/main" id="{D4EC5233-87EE-EA12-4289-68B4A995F474}"/>
                </a:ext>
              </a:extLst>
            </p:cNvPr>
            <p:cNvSpPr/>
            <p:nvPr/>
          </p:nvSpPr>
          <p:spPr>
            <a:xfrm>
              <a:off x="946882" y="4819446"/>
              <a:ext cx="244932" cy="204182"/>
            </a:xfrm>
            <a:custGeom>
              <a:avLst/>
              <a:gdLst/>
              <a:ahLst/>
              <a:cxnLst>
                <a:cxn ang="0">
                  <a:pos x="wd2" y="hd2"/>
                </a:cxn>
                <a:cxn ang="5400000">
                  <a:pos x="wd2" y="hd2"/>
                </a:cxn>
                <a:cxn ang="10800000">
                  <a:pos x="wd2" y="hd2"/>
                </a:cxn>
                <a:cxn ang="16200000">
                  <a:pos x="wd2" y="hd2"/>
                </a:cxn>
              </a:cxnLst>
              <a:rect l="0" t="0" r="r" b="b"/>
              <a:pathLst>
                <a:path w="21600" h="21378" extrusionOk="0">
                  <a:moveTo>
                    <a:pt x="2026" y="16474"/>
                  </a:moveTo>
                  <a:cubicBezTo>
                    <a:pt x="3158" y="17040"/>
                    <a:pt x="4320" y="17570"/>
                    <a:pt x="5214" y="17570"/>
                  </a:cubicBezTo>
                  <a:cubicBezTo>
                    <a:pt x="5452" y="17570"/>
                    <a:pt x="5452" y="16757"/>
                    <a:pt x="5690" y="17040"/>
                  </a:cubicBezTo>
                  <a:cubicBezTo>
                    <a:pt x="6584" y="17040"/>
                    <a:pt x="7270" y="17853"/>
                    <a:pt x="7955" y="18100"/>
                  </a:cubicBezTo>
                  <a:cubicBezTo>
                    <a:pt x="8193" y="18100"/>
                    <a:pt x="8640" y="18100"/>
                    <a:pt x="8849" y="18100"/>
                  </a:cubicBezTo>
                  <a:cubicBezTo>
                    <a:pt x="9534" y="18383"/>
                    <a:pt x="10010" y="18630"/>
                    <a:pt x="10219" y="19196"/>
                  </a:cubicBezTo>
                  <a:cubicBezTo>
                    <a:pt x="10904" y="19726"/>
                    <a:pt x="10666" y="21353"/>
                    <a:pt x="11351" y="21353"/>
                  </a:cubicBezTo>
                  <a:cubicBezTo>
                    <a:pt x="12036" y="21600"/>
                    <a:pt x="12275" y="20009"/>
                    <a:pt x="12960" y="19444"/>
                  </a:cubicBezTo>
                  <a:cubicBezTo>
                    <a:pt x="13645" y="18913"/>
                    <a:pt x="14539" y="18630"/>
                    <a:pt x="15224" y="18383"/>
                  </a:cubicBezTo>
                  <a:cubicBezTo>
                    <a:pt x="15910" y="18383"/>
                    <a:pt x="16148" y="18913"/>
                    <a:pt x="16595" y="19196"/>
                  </a:cubicBezTo>
                  <a:cubicBezTo>
                    <a:pt x="16595" y="19196"/>
                    <a:pt x="17042" y="17570"/>
                    <a:pt x="17042" y="17287"/>
                  </a:cubicBezTo>
                  <a:lnTo>
                    <a:pt x="19097" y="19444"/>
                  </a:lnTo>
                  <a:cubicBezTo>
                    <a:pt x="19783" y="19196"/>
                    <a:pt x="20468" y="19196"/>
                    <a:pt x="20706" y="18383"/>
                  </a:cubicBezTo>
                  <a:cubicBezTo>
                    <a:pt x="20915" y="18100"/>
                    <a:pt x="20021" y="17853"/>
                    <a:pt x="20021" y="17570"/>
                  </a:cubicBezTo>
                  <a:cubicBezTo>
                    <a:pt x="20021" y="17040"/>
                    <a:pt x="20468" y="17040"/>
                    <a:pt x="20706" y="16474"/>
                  </a:cubicBezTo>
                  <a:cubicBezTo>
                    <a:pt x="20706" y="16227"/>
                    <a:pt x="20230" y="15696"/>
                    <a:pt x="20468" y="15413"/>
                  </a:cubicBezTo>
                  <a:cubicBezTo>
                    <a:pt x="20706" y="15131"/>
                    <a:pt x="21153" y="15131"/>
                    <a:pt x="21391" y="14883"/>
                  </a:cubicBezTo>
                  <a:cubicBezTo>
                    <a:pt x="21391" y="14883"/>
                    <a:pt x="20230" y="11878"/>
                    <a:pt x="20230" y="11631"/>
                  </a:cubicBezTo>
                  <a:cubicBezTo>
                    <a:pt x="20230" y="11348"/>
                    <a:pt x="20230" y="9722"/>
                    <a:pt x="20230" y="9722"/>
                  </a:cubicBezTo>
                  <a:cubicBezTo>
                    <a:pt x="20706" y="9191"/>
                    <a:pt x="21391" y="8661"/>
                    <a:pt x="21600" y="7848"/>
                  </a:cubicBezTo>
                  <a:cubicBezTo>
                    <a:pt x="21600" y="7318"/>
                    <a:pt x="21391" y="6752"/>
                    <a:pt x="21153" y="6222"/>
                  </a:cubicBezTo>
                  <a:cubicBezTo>
                    <a:pt x="20706" y="5974"/>
                    <a:pt x="20468" y="5692"/>
                    <a:pt x="20021" y="5692"/>
                  </a:cubicBezTo>
                  <a:cubicBezTo>
                    <a:pt x="19336" y="5692"/>
                    <a:pt x="18650" y="6505"/>
                    <a:pt x="17965" y="6505"/>
                  </a:cubicBezTo>
                  <a:cubicBezTo>
                    <a:pt x="17518" y="6222"/>
                    <a:pt x="17280" y="5692"/>
                    <a:pt x="16833" y="5409"/>
                  </a:cubicBezTo>
                  <a:cubicBezTo>
                    <a:pt x="16595" y="5409"/>
                    <a:pt x="16148" y="5692"/>
                    <a:pt x="15910" y="5409"/>
                  </a:cubicBezTo>
                  <a:cubicBezTo>
                    <a:pt x="15701" y="5161"/>
                    <a:pt x="15701" y="4596"/>
                    <a:pt x="15910" y="4348"/>
                  </a:cubicBezTo>
                  <a:cubicBezTo>
                    <a:pt x="15910" y="4065"/>
                    <a:pt x="16595" y="3783"/>
                    <a:pt x="16386" y="3535"/>
                  </a:cubicBezTo>
                  <a:cubicBezTo>
                    <a:pt x="15910" y="2970"/>
                    <a:pt x="15224" y="3252"/>
                    <a:pt x="14777" y="2970"/>
                  </a:cubicBezTo>
                  <a:cubicBezTo>
                    <a:pt x="13884" y="2156"/>
                    <a:pt x="13407" y="1096"/>
                    <a:pt x="12513" y="566"/>
                  </a:cubicBezTo>
                  <a:cubicBezTo>
                    <a:pt x="12275" y="283"/>
                    <a:pt x="11828" y="813"/>
                    <a:pt x="11590" y="566"/>
                  </a:cubicBezTo>
                  <a:cubicBezTo>
                    <a:pt x="11351" y="566"/>
                    <a:pt x="11590" y="0"/>
                    <a:pt x="11351" y="0"/>
                  </a:cubicBezTo>
                  <a:cubicBezTo>
                    <a:pt x="10457" y="0"/>
                    <a:pt x="9772" y="566"/>
                    <a:pt x="8849" y="813"/>
                  </a:cubicBezTo>
                  <a:cubicBezTo>
                    <a:pt x="8402" y="1626"/>
                    <a:pt x="7955" y="2439"/>
                    <a:pt x="7716" y="3535"/>
                  </a:cubicBezTo>
                  <a:cubicBezTo>
                    <a:pt x="7716" y="3783"/>
                    <a:pt x="8193" y="4348"/>
                    <a:pt x="7955" y="4596"/>
                  </a:cubicBezTo>
                  <a:cubicBezTo>
                    <a:pt x="7031" y="5161"/>
                    <a:pt x="5899" y="5161"/>
                    <a:pt x="5005" y="4879"/>
                  </a:cubicBezTo>
                  <a:cubicBezTo>
                    <a:pt x="4529" y="4879"/>
                    <a:pt x="4529" y="4065"/>
                    <a:pt x="4320" y="4348"/>
                  </a:cubicBezTo>
                  <a:cubicBezTo>
                    <a:pt x="3843" y="4348"/>
                    <a:pt x="3843" y="4879"/>
                    <a:pt x="3635" y="5161"/>
                  </a:cubicBezTo>
                  <a:cubicBezTo>
                    <a:pt x="2950" y="5161"/>
                    <a:pt x="2264" y="5161"/>
                    <a:pt x="1817" y="4879"/>
                  </a:cubicBezTo>
                  <a:cubicBezTo>
                    <a:pt x="1341" y="4596"/>
                    <a:pt x="1132" y="4348"/>
                    <a:pt x="655" y="4348"/>
                  </a:cubicBezTo>
                  <a:cubicBezTo>
                    <a:pt x="447" y="4065"/>
                    <a:pt x="209" y="4348"/>
                    <a:pt x="0" y="4596"/>
                  </a:cubicBezTo>
                  <a:cubicBezTo>
                    <a:pt x="447" y="6222"/>
                    <a:pt x="1132" y="8131"/>
                    <a:pt x="1579" y="9722"/>
                  </a:cubicBezTo>
                  <a:cubicBezTo>
                    <a:pt x="1817" y="10818"/>
                    <a:pt x="1817" y="11878"/>
                    <a:pt x="1817" y="12691"/>
                  </a:cubicBezTo>
                  <a:cubicBezTo>
                    <a:pt x="1817" y="13504"/>
                    <a:pt x="1341" y="14070"/>
                    <a:pt x="1341" y="14600"/>
                  </a:cubicBezTo>
                  <a:cubicBezTo>
                    <a:pt x="1579" y="15413"/>
                    <a:pt x="1817" y="15944"/>
                    <a:pt x="2026" y="16474"/>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6" name="Shape 2501">
              <a:extLst>
                <a:ext uri="{FF2B5EF4-FFF2-40B4-BE49-F238E27FC236}">
                  <a16:creationId xmlns:a16="http://schemas.microsoft.com/office/drawing/2014/main" id="{101CF9FB-BB94-019F-DD30-191F558F75E3}"/>
                </a:ext>
              </a:extLst>
            </p:cNvPr>
            <p:cNvSpPr/>
            <p:nvPr/>
          </p:nvSpPr>
          <p:spPr>
            <a:xfrm>
              <a:off x="692397" y="4798635"/>
              <a:ext cx="277933" cy="265760"/>
            </a:xfrm>
            <a:custGeom>
              <a:avLst/>
              <a:gdLst/>
              <a:ahLst/>
              <a:cxnLst>
                <a:cxn ang="0">
                  <a:pos x="wd2" y="hd2"/>
                </a:cxn>
                <a:cxn ang="5400000">
                  <a:pos x="wd2" y="hd2"/>
                </a:cxn>
                <a:cxn ang="10800000">
                  <a:pos x="wd2" y="hd2"/>
                </a:cxn>
                <a:cxn ang="16200000">
                  <a:pos x="wd2" y="hd2"/>
                </a:cxn>
              </a:cxnLst>
              <a:rect l="0" t="0" r="r" b="b"/>
              <a:pathLst>
                <a:path w="20842" h="21600" extrusionOk="0">
                  <a:moveTo>
                    <a:pt x="19124" y="5242"/>
                  </a:moveTo>
                  <a:cubicBezTo>
                    <a:pt x="19503" y="6505"/>
                    <a:pt x="20084" y="7987"/>
                    <a:pt x="20463" y="9222"/>
                  </a:cubicBezTo>
                  <a:cubicBezTo>
                    <a:pt x="20665" y="10073"/>
                    <a:pt x="20665" y="10896"/>
                    <a:pt x="20665" y="11527"/>
                  </a:cubicBezTo>
                  <a:cubicBezTo>
                    <a:pt x="20665" y="12159"/>
                    <a:pt x="20261" y="12598"/>
                    <a:pt x="20261" y="13009"/>
                  </a:cubicBezTo>
                  <a:cubicBezTo>
                    <a:pt x="20463" y="13641"/>
                    <a:pt x="20665" y="14052"/>
                    <a:pt x="20842" y="14464"/>
                  </a:cubicBezTo>
                  <a:cubicBezTo>
                    <a:pt x="20665" y="14684"/>
                    <a:pt x="20463" y="15315"/>
                    <a:pt x="20084" y="15315"/>
                  </a:cubicBezTo>
                  <a:cubicBezTo>
                    <a:pt x="19680" y="15315"/>
                    <a:pt x="19680" y="14684"/>
                    <a:pt x="19301" y="14464"/>
                  </a:cubicBezTo>
                  <a:cubicBezTo>
                    <a:pt x="18720" y="14464"/>
                    <a:pt x="18139" y="14684"/>
                    <a:pt x="17583" y="15095"/>
                  </a:cubicBezTo>
                  <a:cubicBezTo>
                    <a:pt x="17179" y="15315"/>
                    <a:pt x="17179" y="15946"/>
                    <a:pt x="17002" y="16138"/>
                  </a:cubicBezTo>
                  <a:cubicBezTo>
                    <a:pt x="16800" y="16358"/>
                    <a:pt x="16598" y="16138"/>
                    <a:pt x="16421" y="16358"/>
                  </a:cubicBezTo>
                  <a:cubicBezTo>
                    <a:pt x="16421" y="16358"/>
                    <a:pt x="15057" y="17812"/>
                    <a:pt x="14855" y="17812"/>
                  </a:cubicBezTo>
                  <a:lnTo>
                    <a:pt x="14097" y="17401"/>
                  </a:lnTo>
                  <a:cubicBezTo>
                    <a:pt x="13314" y="18032"/>
                    <a:pt x="12733" y="18663"/>
                    <a:pt x="11975" y="18883"/>
                  </a:cubicBezTo>
                  <a:cubicBezTo>
                    <a:pt x="11773" y="19075"/>
                    <a:pt x="11394" y="18883"/>
                    <a:pt x="11015" y="19075"/>
                  </a:cubicBezTo>
                  <a:cubicBezTo>
                    <a:pt x="10434" y="19514"/>
                    <a:pt x="9474" y="20969"/>
                    <a:pt x="8893" y="21600"/>
                  </a:cubicBezTo>
                  <a:cubicBezTo>
                    <a:pt x="8690" y="20557"/>
                    <a:pt x="7730" y="20557"/>
                    <a:pt x="6366" y="19295"/>
                  </a:cubicBezTo>
                  <a:cubicBezTo>
                    <a:pt x="5608" y="19926"/>
                    <a:pt x="5987" y="21380"/>
                    <a:pt x="4446" y="20145"/>
                  </a:cubicBezTo>
                  <a:cubicBezTo>
                    <a:pt x="3688" y="19514"/>
                    <a:pt x="2905" y="18444"/>
                    <a:pt x="2324" y="17812"/>
                  </a:cubicBezTo>
                  <a:cubicBezTo>
                    <a:pt x="1743" y="16358"/>
                    <a:pt x="2147" y="15315"/>
                    <a:pt x="985" y="14464"/>
                  </a:cubicBezTo>
                  <a:cubicBezTo>
                    <a:pt x="-758" y="13229"/>
                    <a:pt x="581" y="13009"/>
                    <a:pt x="202" y="11527"/>
                  </a:cubicBezTo>
                  <a:cubicBezTo>
                    <a:pt x="0" y="10704"/>
                    <a:pt x="0" y="10704"/>
                    <a:pt x="0" y="10704"/>
                  </a:cubicBezTo>
                  <a:cubicBezTo>
                    <a:pt x="404" y="10073"/>
                    <a:pt x="1743" y="9441"/>
                    <a:pt x="2147" y="8810"/>
                  </a:cubicBezTo>
                  <a:cubicBezTo>
                    <a:pt x="2526" y="8179"/>
                    <a:pt x="2703" y="7356"/>
                    <a:pt x="2905" y="6724"/>
                  </a:cubicBezTo>
                  <a:cubicBezTo>
                    <a:pt x="3107" y="5681"/>
                    <a:pt x="2703" y="4419"/>
                    <a:pt x="3284" y="3980"/>
                  </a:cubicBezTo>
                  <a:cubicBezTo>
                    <a:pt x="3865" y="3348"/>
                    <a:pt x="4825" y="3980"/>
                    <a:pt x="5608" y="4199"/>
                  </a:cubicBezTo>
                  <a:cubicBezTo>
                    <a:pt x="5987" y="4419"/>
                    <a:pt x="5987" y="4830"/>
                    <a:pt x="6366" y="4830"/>
                  </a:cubicBezTo>
                  <a:cubicBezTo>
                    <a:pt x="6568" y="4830"/>
                    <a:pt x="7149" y="4830"/>
                    <a:pt x="7149" y="4419"/>
                  </a:cubicBezTo>
                  <a:cubicBezTo>
                    <a:pt x="7351" y="3980"/>
                    <a:pt x="6947" y="3348"/>
                    <a:pt x="6947" y="2717"/>
                  </a:cubicBezTo>
                  <a:cubicBezTo>
                    <a:pt x="6947" y="2525"/>
                    <a:pt x="6947" y="2113"/>
                    <a:pt x="7149" y="1894"/>
                  </a:cubicBezTo>
                  <a:cubicBezTo>
                    <a:pt x="7528" y="1482"/>
                    <a:pt x="7933" y="1674"/>
                    <a:pt x="8311" y="1263"/>
                  </a:cubicBezTo>
                  <a:cubicBezTo>
                    <a:pt x="8488" y="1043"/>
                    <a:pt x="8311" y="220"/>
                    <a:pt x="8690" y="0"/>
                  </a:cubicBezTo>
                  <a:cubicBezTo>
                    <a:pt x="9271" y="0"/>
                    <a:pt x="9650" y="851"/>
                    <a:pt x="10231" y="851"/>
                  </a:cubicBezTo>
                  <a:cubicBezTo>
                    <a:pt x="10636" y="851"/>
                    <a:pt x="11015" y="631"/>
                    <a:pt x="11394" y="439"/>
                  </a:cubicBezTo>
                  <a:cubicBezTo>
                    <a:pt x="11773" y="439"/>
                    <a:pt x="11975" y="220"/>
                    <a:pt x="12354" y="220"/>
                  </a:cubicBezTo>
                  <a:cubicBezTo>
                    <a:pt x="12935" y="851"/>
                    <a:pt x="13314" y="1674"/>
                    <a:pt x="13895" y="2305"/>
                  </a:cubicBezTo>
                  <a:cubicBezTo>
                    <a:pt x="14097" y="2717"/>
                    <a:pt x="14476" y="3156"/>
                    <a:pt x="14855" y="3568"/>
                  </a:cubicBezTo>
                  <a:cubicBezTo>
                    <a:pt x="15057" y="3568"/>
                    <a:pt x="15436" y="3156"/>
                    <a:pt x="15638" y="3348"/>
                  </a:cubicBezTo>
                  <a:cubicBezTo>
                    <a:pt x="15840" y="3568"/>
                    <a:pt x="15638" y="4199"/>
                    <a:pt x="15638" y="4419"/>
                  </a:cubicBezTo>
                  <a:cubicBezTo>
                    <a:pt x="15840" y="5050"/>
                    <a:pt x="15638" y="5462"/>
                    <a:pt x="16017" y="5873"/>
                  </a:cubicBezTo>
                  <a:cubicBezTo>
                    <a:pt x="16219" y="6313"/>
                    <a:pt x="16800" y="6505"/>
                    <a:pt x="17179" y="6505"/>
                  </a:cubicBezTo>
                  <a:cubicBezTo>
                    <a:pt x="17583" y="6724"/>
                    <a:pt x="17962" y="6505"/>
                    <a:pt x="18139" y="6313"/>
                  </a:cubicBezTo>
                  <a:cubicBezTo>
                    <a:pt x="18543" y="6093"/>
                    <a:pt x="18720" y="5681"/>
                    <a:pt x="19124" y="524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7" name="Shape 2502">
              <a:extLst>
                <a:ext uri="{FF2B5EF4-FFF2-40B4-BE49-F238E27FC236}">
                  <a16:creationId xmlns:a16="http://schemas.microsoft.com/office/drawing/2014/main" id="{2B82713E-FE27-99B0-F5AB-BC7B6FF911F7}"/>
                </a:ext>
              </a:extLst>
            </p:cNvPr>
            <p:cNvSpPr/>
            <p:nvPr/>
          </p:nvSpPr>
          <p:spPr>
            <a:xfrm>
              <a:off x="849204" y="4682031"/>
              <a:ext cx="198422" cy="196464"/>
            </a:xfrm>
            <a:custGeom>
              <a:avLst/>
              <a:gdLst/>
              <a:ahLst/>
              <a:cxnLst>
                <a:cxn ang="0">
                  <a:pos x="wd2" y="hd2"/>
                </a:cxn>
                <a:cxn ang="5400000">
                  <a:pos x="wd2" y="hd2"/>
                </a:cxn>
                <a:cxn ang="10800000">
                  <a:pos x="wd2" y="hd2"/>
                </a:cxn>
                <a:cxn ang="16200000">
                  <a:pos x="wd2" y="hd2"/>
                </a:cxn>
              </a:cxnLst>
              <a:rect l="0" t="0" r="r" b="b"/>
              <a:pathLst>
                <a:path w="21393" h="21181" extrusionOk="0">
                  <a:moveTo>
                    <a:pt x="882" y="12761"/>
                  </a:moveTo>
                  <a:cubicBezTo>
                    <a:pt x="1717" y="13594"/>
                    <a:pt x="2262" y="14682"/>
                    <a:pt x="3097" y="15515"/>
                  </a:cubicBezTo>
                  <a:cubicBezTo>
                    <a:pt x="3387" y="16059"/>
                    <a:pt x="3931" y="16639"/>
                    <a:pt x="4476" y="17182"/>
                  </a:cubicBezTo>
                  <a:cubicBezTo>
                    <a:pt x="4766" y="17182"/>
                    <a:pt x="5311" y="16639"/>
                    <a:pt x="5601" y="16892"/>
                  </a:cubicBezTo>
                  <a:cubicBezTo>
                    <a:pt x="5892" y="17182"/>
                    <a:pt x="5601" y="18016"/>
                    <a:pt x="5601" y="18306"/>
                  </a:cubicBezTo>
                  <a:cubicBezTo>
                    <a:pt x="5892" y="19139"/>
                    <a:pt x="5601" y="19683"/>
                    <a:pt x="6146" y="20227"/>
                  </a:cubicBezTo>
                  <a:cubicBezTo>
                    <a:pt x="6436" y="20806"/>
                    <a:pt x="7271" y="21060"/>
                    <a:pt x="7816" y="21060"/>
                  </a:cubicBezTo>
                  <a:cubicBezTo>
                    <a:pt x="8397" y="21350"/>
                    <a:pt x="8941" y="21060"/>
                    <a:pt x="9195" y="20806"/>
                  </a:cubicBezTo>
                  <a:cubicBezTo>
                    <a:pt x="9776" y="20516"/>
                    <a:pt x="10030" y="19973"/>
                    <a:pt x="10611" y="19393"/>
                  </a:cubicBezTo>
                  <a:cubicBezTo>
                    <a:pt x="10865" y="19139"/>
                    <a:pt x="11156" y="18849"/>
                    <a:pt x="11410" y="19139"/>
                  </a:cubicBezTo>
                  <a:cubicBezTo>
                    <a:pt x="11991" y="19139"/>
                    <a:pt x="12245" y="19393"/>
                    <a:pt x="12826" y="19683"/>
                  </a:cubicBezTo>
                  <a:cubicBezTo>
                    <a:pt x="13370" y="19973"/>
                    <a:pt x="14205" y="19973"/>
                    <a:pt x="15040" y="19973"/>
                  </a:cubicBezTo>
                  <a:cubicBezTo>
                    <a:pt x="15294" y="19683"/>
                    <a:pt x="15294" y="19139"/>
                    <a:pt x="15875" y="19139"/>
                  </a:cubicBezTo>
                  <a:cubicBezTo>
                    <a:pt x="16129" y="18849"/>
                    <a:pt x="16129" y="19683"/>
                    <a:pt x="16710" y="19683"/>
                  </a:cubicBezTo>
                  <a:cubicBezTo>
                    <a:pt x="17799" y="19973"/>
                    <a:pt x="19179" y="19973"/>
                    <a:pt x="20304" y="19393"/>
                  </a:cubicBezTo>
                  <a:cubicBezTo>
                    <a:pt x="20594" y="19139"/>
                    <a:pt x="20014" y="18559"/>
                    <a:pt x="20014" y="18306"/>
                  </a:cubicBezTo>
                  <a:cubicBezTo>
                    <a:pt x="20304" y="17182"/>
                    <a:pt x="20848" y="16349"/>
                    <a:pt x="21393" y="15515"/>
                  </a:cubicBezTo>
                  <a:cubicBezTo>
                    <a:pt x="20848" y="14682"/>
                    <a:pt x="20304" y="13848"/>
                    <a:pt x="19759" y="13051"/>
                  </a:cubicBezTo>
                  <a:cubicBezTo>
                    <a:pt x="19469" y="12471"/>
                    <a:pt x="18924" y="11637"/>
                    <a:pt x="18924" y="10840"/>
                  </a:cubicBezTo>
                  <a:cubicBezTo>
                    <a:pt x="18924" y="10260"/>
                    <a:pt x="20014" y="10006"/>
                    <a:pt x="19759" y="9427"/>
                  </a:cubicBezTo>
                  <a:cubicBezTo>
                    <a:pt x="19469" y="8339"/>
                    <a:pt x="18089" y="8049"/>
                    <a:pt x="17799" y="7216"/>
                  </a:cubicBezTo>
                  <a:cubicBezTo>
                    <a:pt x="17545" y="6129"/>
                    <a:pt x="18089" y="4715"/>
                    <a:pt x="17545" y="3628"/>
                  </a:cubicBezTo>
                  <a:cubicBezTo>
                    <a:pt x="17255" y="2794"/>
                    <a:pt x="16420" y="2251"/>
                    <a:pt x="15875" y="1671"/>
                  </a:cubicBezTo>
                  <a:cubicBezTo>
                    <a:pt x="15294" y="1127"/>
                    <a:pt x="15294" y="-250"/>
                    <a:pt x="14750" y="40"/>
                  </a:cubicBezTo>
                  <a:cubicBezTo>
                    <a:pt x="12826" y="40"/>
                    <a:pt x="10865" y="1417"/>
                    <a:pt x="8941" y="2251"/>
                  </a:cubicBezTo>
                  <a:cubicBezTo>
                    <a:pt x="2262" y="5005"/>
                    <a:pt x="2262" y="5005"/>
                    <a:pt x="2262" y="5005"/>
                  </a:cubicBezTo>
                  <a:cubicBezTo>
                    <a:pt x="1427" y="6129"/>
                    <a:pt x="338" y="6926"/>
                    <a:pt x="47" y="8049"/>
                  </a:cubicBezTo>
                  <a:cubicBezTo>
                    <a:pt x="-207" y="9716"/>
                    <a:pt x="628" y="11094"/>
                    <a:pt x="882" y="127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8" name="Shape 2503">
              <a:extLst>
                <a:ext uri="{FF2B5EF4-FFF2-40B4-BE49-F238E27FC236}">
                  <a16:creationId xmlns:a16="http://schemas.microsoft.com/office/drawing/2014/main" id="{9EE67931-5F8E-4F7E-667E-5C8884B49A4A}"/>
                </a:ext>
              </a:extLst>
            </p:cNvPr>
            <p:cNvSpPr/>
            <p:nvPr/>
          </p:nvSpPr>
          <p:spPr>
            <a:xfrm>
              <a:off x="1124186" y="4770391"/>
              <a:ext cx="272763" cy="301745"/>
            </a:xfrm>
            <a:custGeom>
              <a:avLst/>
              <a:gdLst/>
              <a:ahLst/>
              <a:cxnLst>
                <a:cxn ang="0">
                  <a:pos x="wd2" y="hd2"/>
                </a:cxn>
                <a:cxn ang="5400000">
                  <a:pos x="wd2" y="hd2"/>
                </a:cxn>
                <a:cxn ang="10800000">
                  <a:pos x="wd2" y="hd2"/>
                </a:cxn>
                <a:cxn ang="16200000">
                  <a:pos x="wd2" y="hd2"/>
                </a:cxn>
              </a:cxnLst>
              <a:rect l="0" t="0" r="r" b="b"/>
              <a:pathLst>
                <a:path w="21451" h="21307" extrusionOk="0">
                  <a:moveTo>
                    <a:pt x="4901" y="7628"/>
                  </a:moveTo>
                  <a:cubicBezTo>
                    <a:pt x="5112" y="7984"/>
                    <a:pt x="5297" y="8364"/>
                    <a:pt x="5297" y="8721"/>
                  </a:cubicBezTo>
                  <a:cubicBezTo>
                    <a:pt x="5112" y="9267"/>
                    <a:pt x="4504" y="9624"/>
                    <a:pt x="4081" y="9980"/>
                  </a:cubicBezTo>
                  <a:cubicBezTo>
                    <a:pt x="4081" y="9980"/>
                    <a:pt x="4081" y="11073"/>
                    <a:pt x="4081" y="11263"/>
                  </a:cubicBezTo>
                  <a:cubicBezTo>
                    <a:pt x="4081" y="11430"/>
                    <a:pt x="5112" y="13450"/>
                    <a:pt x="5112" y="13450"/>
                  </a:cubicBezTo>
                  <a:cubicBezTo>
                    <a:pt x="4901" y="13616"/>
                    <a:pt x="4504" y="13616"/>
                    <a:pt x="4293" y="13806"/>
                  </a:cubicBezTo>
                  <a:cubicBezTo>
                    <a:pt x="4081" y="13996"/>
                    <a:pt x="4504" y="14352"/>
                    <a:pt x="4504" y="14519"/>
                  </a:cubicBezTo>
                  <a:cubicBezTo>
                    <a:pt x="4293" y="14899"/>
                    <a:pt x="3896" y="14899"/>
                    <a:pt x="3896" y="15255"/>
                  </a:cubicBezTo>
                  <a:cubicBezTo>
                    <a:pt x="3896" y="15446"/>
                    <a:pt x="4689" y="15612"/>
                    <a:pt x="4504" y="15802"/>
                  </a:cubicBezTo>
                  <a:cubicBezTo>
                    <a:pt x="4293" y="16349"/>
                    <a:pt x="3685" y="16349"/>
                    <a:pt x="3076" y="16515"/>
                  </a:cubicBezTo>
                  <a:lnTo>
                    <a:pt x="1252" y="15065"/>
                  </a:lnTo>
                  <a:cubicBezTo>
                    <a:pt x="1252" y="15255"/>
                    <a:pt x="856" y="16349"/>
                    <a:pt x="856" y="16349"/>
                  </a:cubicBezTo>
                  <a:cubicBezTo>
                    <a:pt x="671" y="16515"/>
                    <a:pt x="248" y="16705"/>
                    <a:pt x="63" y="17061"/>
                  </a:cubicBezTo>
                  <a:cubicBezTo>
                    <a:pt x="-149" y="17251"/>
                    <a:pt x="248" y="17251"/>
                    <a:pt x="248" y="17418"/>
                  </a:cubicBezTo>
                  <a:cubicBezTo>
                    <a:pt x="856" y="18701"/>
                    <a:pt x="856" y="20341"/>
                    <a:pt x="1860" y="21244"/>
                  </a:cubicBezTo>
                  <a:cubicBezTo>
                    <a:pt x="2283" y="21600"/>
                    <a:pt x="2468" y="20341"/>
                    <a:pt x="2865" y="20150"/>
                  </a:cubicBezTo>
                  <a:cubicBezTo>
                    <a:pt x="3076" y="19984"/>
                    <a:pt x="3473" y="20341"/>
                    <a:pt x="3685" y="20150"/>
                  </a:cubicBezTo>
                  <a:cubicBezTo>
                    <a:pt x="3896" y="20150"/>
                    <a:pt x="4081" y="19794"/>
                    <a:pt x="4504" y="19794"/>
                  </a:cubicBezTo>
                  <a:cubicBezTo>
                    <a:pt x="5112" y="19984"/>
                    <a:pt x="6513" y="20507"/>
                    <a:pt x="7122" y="20507"/>
                  </a:cubicBezTo>
                  <a:cubicBezTo>
                    <a:pt x="7122" y="19984"/>
                    <a:pt x="7122" y="19604"/>
                    <a:pt x="6910" y="19438"/>
                  </a:cubicBezTo>
                  <a:cubicBezTo>
                    <a:pt x="5694" y="18154"/>
                    <a:pt x="7730" y="17061"/>
                    <a:pt x="9131" y="16705"/>
                  </a:cubicBezTo>
                  <a:cubicBezTo>
                    <a:pt x="10347" y="16515"/>
                    <a:pt x="15212" y="14899"/>
                    <a:pt x="15793" y="16705"/>
                  </a:cubicBezTo>
                  <a:cubicBezTo>
                    <a:pt x="16216" y="18345"/>
                    <a:pt x="16824" y="17251"/>
                    <a:pt x="17221" y="16515"/>
                  </a:cubicBezTo>
                  <a:cubicBezTo>
                    <a:pt x="17406" y="16349"/>
                    <a:pt x="17406" y="15446"/>
                    <a:pt x="17406" y="15446"/>
                  </a:cubicBezTo>
                  <a:cubicBezTo>
                    <a:pt x="18014" y="17251"/>
                    <a:pt x="21266" y="12166"/>
                    <a:pt x="21451" y="11073"/>
                  </a:cubicBezTo>
                  <a:cubicBezTo>
                    <a:pt x="21451" y="9814"/>
                    <a:pt x="21451" y="8721"/>
                    <a:pt x="20446" y="7818"/>
                  </a:cubicBezTo>
                  <a:cubicBezTo>
                    <a:pt x="19230" y="6535"/>
                    <a:pt x="17617" y="8174"/>
                    <a:pt x="16401" y="8364"/>
                  </a:cubicBezTo>
                  <a:cubicBezTo>
                    <a:pt x="15000" y="8721"/>
                    <a:pt x="16005" y="7271"/>
                    <a:pt x="16613" y="6915"/>
                  </a:cubicBezTo>
                  <a:cubicBezTo>
                    <a:pt x="17221" y="6368"/>
                    <a:pt x="17221" y="4349"/>
                    <a:pt x="17221" y="3446"/>
                  </a:cubicBezTo>
                  <a:cubicBezTo>
                    <a:pt x="17221" y="3279"/>
                    <a:pt x="17009" y="2733"/>
                    <a:pt x="17009" y="2186"/>
                  </a:cubicBezTo>
                  <a:cubicBezTo>
                    <a:pt x="16613" y="2376"/>
                    <a:pt x="14789" y="3089"/>
                    <a:pt x="14392" y="2899"/>
                  </a:cubicBezTo>
                  <a:cubicBezTo>
                    <a:pt x="13995" y="2733"/>
                    <a:pt x="14392" y="1996"/>
                    <a:pt x="13995" y="1830"/>
                  </a:cubicBezTo>
                  <a:cubicBezTo>
                    <a:pt x="13176" y="1640"/>
                    <a:pt x="12356" y="2186"/>
                    <a:pt x="11563" y="1830"/>
                  </a:cubicBezTo>
                  <a:cubicBezTo>
                    <a:pt x="11167" y="1640"/>
                    <a:pt x="10955" y="1283"/>
                    <a:pt x="10744" y="927"/>
                  </a:cubicBezTo>
                  <a:cubicBezTo>
                    <a:pt x="10558" y="547"/>
                    <a:pt x="10347" y="190"/>
                    <a:pt x="10135" y="0"/>
                  </a:cubicBezTo>
                  <a:cubicBezTo>
                    <a:pt x="8126" y="927"/>
                    <a:pt x="8126" y="927"/>
                    <a:pt x="8126" y="927"/>
                  </a:cubicBezTo>
                  <a:cubicBezTo>
                    <a:pt x="7730" y="1283"/>
                    <a:pt x="7122" y="1640"/>
                    <a:pt x="6725" y="2186"/>
                  </a:cubicBezTo>
                  <a:cubicBezTo>
                    <a:pt x="6513" y="2376"/>
                    <a:pt x="6513" y="2733"/>
                    <a:pt x="6302" y="3089"/>
                  </a:cubicBezTo>
                  <a:cubicBezTo>
                    <a:pt x="6302" y="3279"/>
                    <a:pt x="6302" y="3636"/>
                    <a:pt x="6117" y="3826"/>
                  </a:cubicBezTo>
                  <a:cubicBezTo>
                    <a:pt x="6117" y="3992"/>
                    <a:pt x="5905" y="3992"/>
                    <a:pt x="5694" y="4182"/>
                  </a:cubicBezTo>
                  <a:cubicBezTo>
                    <a:pt x="5509" y="4539"/>
                    <a:pt x="5297" y="4895"/>
                    <a:pt x="5297" y="5275"/>
                  </a:cubicBezTo>
                  <a:cubicBezTo>
                    <a:pt x="5112" y="5442"/>
                    <a:pt x="5112" y="5822"/>
                    <a:pt x="5297" y="5988"/>
                  </a:cubicBezTo>
                  <a:cubicBezTo>
                    <a:pt x="5297" y="6178"/>
                    <a:pt x="5509" y="6368"/>
                    <a:pt x="5509" y="6535"/>
                  </a:cubicBezTo>
                  <a:cubicBezTo>
                    <a:pt x="5297" y="6915"/>
                    <a:pt x="5112" y="7271"/>
                    <a:pt x="4901" y="762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49" name="Shape 2504">
              <a:extLst>
                <a:ext uri="{FF2B5EF4-FFF2-40B4-BE49-F238E27FC236}">
                  <a16:creationId xmlns:a16="http://schemas.microsoft.com/office/drawing/2014/main" id="{6659493D-4A3E-4961-1F2D-C404A096E294}"/>
                </a:ext>
              </a:extLst>
            </p:cNvPr>
            <p:cNvSpPr/>
            <p:nvPr/>
          </p:nvSpPr>
          <p:spPr>
            <a:xfrm>
              <a:off x="995936" y="4648491"/>
              <a:ext cx="231554" cy="231570"/>
            </a:xfrm>
            <a:custGeom>
              <a:avLst/>
              <a:gdLst/>
              <a:ahLst/>
              <a:cxnLst>
                <a:cxn ang="0">
                  <a:pos x="wd2" y="hd2"/>
                </a:cxn>
                <a:cxn ang="5400000">
                  <a:pos x="wd2" y="hd2"/>
                </a:cxn>
                <a:cxn ang="10800000">
                  <a:pos x="wd2" y="hd2"/>
                </a:cxn>
                <a:cxn ang="16200000">
                  <a:pos x="wd2" y="hd2"/>
                </a:cxn>
              </a:cxnLst>
              <a:rect l="0" t="0" r="r" b="b"/>
              <a:pathLst>
                <a:path w="21600" h="21600" extrusionOk="0">
                  <a:moveTo>
                    <a:pt x="0" y="4552"/>
                  </a:moveTo>
                  <a:cubicBezTo>
                    <a:pt x="472" y="5055"/>
                    <a:pt x="1195" y="5526"/>
                    <a:pt x="1446" y="6248"/>
                  </a:cubicBezTo>
                  <a:cubicBezTo>
                    <a:pt x="1918" y="7190"/>
                    <a:pt x="1446" y="8414"/>
                    <a:pt x="1666" y="9356"/>
                  </a:cubicBezTo>
                  <a:cubicBezTo>
                    <a:pt x="1918" y="10078"/>
                    <a:pt x="3113" y="10329"/>
                    <a:pt x="3364" y="11271"/>
                  </a:cubicBezTo>
                  <a:cubicBezTo>
                    <a:pt x="3584" y="11773"/>
                    <a:pt x="2641" y="11993"/>
                    <a:pt x="2641" y="12495"/>
                  </a:cubicBezTo>
                  <a:cubicBezTo>
                    <a:pt x="2641" y="13186"/>
                    <a:pt x="3113" y="13908"/>
                    <a:pt x="3364" y="14410"/>
                  </a:cubicBezTo>
                  <a:cubicBezTo>
                    <a:pt x="3836" y="15101"/>
                    <a:pt x="4307" y="15823"/>
                    <a:pt x="4779" y="16545"/>
                  </a:cubicBezTo>
                  <a:cubicBezTo>
                    <a:pt x="5754" y="16326"/>
                    <a:pt x="6477" y="15823"/>
                    <a:pt x="7420" y="15823"/>
                  </a:cubicBezTo>
                  <a:cubicBezTo>
                    <a:pt x="7672" y="15823"/>
                    <a:pt x="7420" y="16326"/>
                    <a:pt x="7672" y="16326"/>
                  </a:cubicBezTo>
                  <a:cubicBezTo>
                    <a:pt x="7923" y="16545"/>
                    <a:pt x="8395" y="16074"/>
                    <a:pt x="8646" y="16326"/>
                  </a:cubicBezTo>
                  <a:cubicBezTo>
                    <a:pt x="9590" y="16797"/>
                    <a:pt x="10093" y="17738"/>
                    <a:pt x="11036" y="18460"/>
                  </a:cubicBezTo>
                  <a:cubicBezTo>
                    <a:pt x="11507" y="18712"/>
                    <a:pt x="12231" y="18460"/>
                    <a:pt x="12734" y="18963"/>
                  </a:cubicBezTo>
                  <a:cubicBezTo>
                    <a:pt x="12954" y="19183"/>
                    <a:pt x="12231" y="19434"/>
                    <a:pt x="12231" y="19685"/>
                  </a:cubicBezTo>
                  <a:cubicBezTo>
                    <a:pt x="12010" y="19905"/>
                    <a:pt x="12010" y="20407"/>
                    <a:pt x="12231" y="20627"/>
                  </a:cubicBezTo>
                  <a:cubicBezTo>
                    <a:pt x="12482" y="20878"/>
                    <a:pt x="12954" y="20627"/>
                    <a:pt x="13205" y="20627"/>
                  </a:cubicBezTo>
                  <a:cubicBezTo>
                    <a:pt x="13677" y="20878"/>
                    <a:pt x="13928" y="21349"/>
                    <a:pt x="14400" y="21600"/>
                  </a:cubicBezTo>
                  <a:cubicBezTo>
                    <a:pt x="15123" y="21600"/>
                    <a:pt x="15846" y="20878"/>
                    <a:pt x="16569" y="20878"/>
                  </a:cubicBezTo>
                  <a:cubicBezTo>
                    <a:pt x="17041" y="20878"/>
                    <a:pt x="17293" y="21129"/>
                    <a:pt x="17764" y="21349"/>
                  </a:cubicBezTo>
                  <a:cubicBezTo>
                    <a:pt x="18016" y="20878"/>
                    <a:pt x="18236" y="20407"/>
                    <a:pt x="18487" y="19905"/>
                  </a:cubicBezTo>
                  <a:cubicBezTo>
                    <a:pt x="18487" y="19685"/>
                    <a:pt x="18236" y="19434"/>
                    <a:pt x="18236" y="19183"/>
                  </a:cubicBezTo>
                  <a:cubicBezTo>
                    <a:pt x="18016" y="18963"/>
                    <a:pt x="18016" y="18460"/>
                    <a:pt x="18236" y="18241"/>
                  </a:cubicBezTo>
                  <a:cubicBezTo>
                    <a:pt x="18236" y="17738"/>
                    <a:pt x="18487" y="17267"/>
                    <a:pt x="18707" y="16797"/>
                  </a:cubicBezTo>
                  <a:cubicBezTo>
                    <a:pt x="18959" y="16545"/>
                    <a:pt x="19210" y="16545"/>
                    <a:pt x="19210" y="16326"/>
                  </a:cubicBezTo>
                  <a:cubicBezTo>
                    <a:pt x="19431" y="16074"/>
                    <a:pt x="19431" y="15603"/>
                    <a:pt x="19431" y="15352"/>
                  </a:cubicBezTo>
                  <a:cubicBezTo>
                    <a:pt x="19682" y="14881"/>
                    <a:pt x="19682" y="14410"/>
                    <a:pt x="19934" y="14159"/>
                  </a:cubicBezTo>
                  <a:cubicBezTo>
                    <a:pt x="20405" y="13437"/>
                    <a:pt x="21128" y="12966"/>
                    <a:pt x="21600" y="12495"/>
                  </a:cubicBezTo>
                  <a:cubicBezTo>
                    <a:pt x="21380" y="12495"/>
                    <a:pt x="21128" y="12495"/>
                    <a:pt x="20877" y="12244"/>
                  </a:cubicBezTo>
                  <a:cubicBezTo>
                    <a:pt x="20877" y="11773"/>
                    <a:pt x="20877" y="11271"/>
                    <a:pt x="20657" y="11051"/>
                  </a:cubicBezTo>
                  <a:cubicBezTo>
                    <a:pt x="20657" y="10800"/>
                    <a:pt x="20154" y="11051"/>
                    <a:pt x="20154" y="10800"/>
                  </a:cubicBezTo>
                  <a:cubicBezTo>
                    <a:pt x="20154" y="10549"/>
                    <a:pt x="20405" y="10329"/>
                    <a:pt x="20405" y="10078"/>
                  </a:cubicBezTo>
                  <a:cubicBezTo>
                    <a:pt x="20154" y="9827"/>
                    <a:pt x="19431" y="9607"/>
                    <a:pt x="19431" y="9356"/>
                  </a:cubicBezTo>
                  <a:cubicBezTo>
                    <a:pt x="19210" y="8885"/>
                    <a:pt x="19431" y="8163"/>
                    <a:pt x="19210" y="7692"/>
                  </a:cubicBezTo>
                  <a:cubicBezTo>
                    <a:pt x="18707" y="6970"/>
                    <a:pt x="18016" y="6970"/>
                    <a:pt x="17513" y="6467"/>
                  </a:cubicBezTo>
                  <a:cubicBezTo>
                    <a:pt x="17293" y="6970"/>
                    <a:pt x="17293" y="7692"/>
                    <a:pt x="16569" y="7912"/>
                  </a:cubicBezTo>
                  <a:cubicBezTo>
                    <a:pt x="16318" y="8163"/>
                    <a:pt x="15846" y="7441"/>
                    <a:pt x="15595" y="7190"/>
                  </a:cubicBezTo>
                  <a:cubicBezTo>
                    <a:pt x="15343" y="6467"/>
                    <a:pt x="15343" y="5777"/>
                    <a:pt x="15123" y="5274"/>
                  </a:cubicBezTo>
                  <a:cubicBezTo>
                    <a:pt x="14652" y="4552"/>
                    <a:pt x="13677" y="4552"/>
                    <a:pt x="13425" y="4081"/>
                  </a:cubicBezTo>
                  <a:cubicBezTo>
                    <a:pt x="12954" y="3359"/>
                    <a:pt x="12954" y="2417"/>
                    <a:pt x="12954" y="1444"/>
                  </a:cubicBezTo>
                  <a:cubicBezTo>
                    <a:pt x="12010" y="973"/>
                    <a:pt x="11507" y="251"/>
                    <a:pt x="10564" y="0"/>
                  </a:cubicBezTo>
                  <a:cubicBezTo>
                    <a:pt x="9590" y="0"/>
                    <a:pt x="8866" y="251"/>
                    <a:pt x="7923" y="722"/>
                  </a:cubicBezTo>
                  <a:cubicBezTo>
                    <a:pt x="7672" y="722"/>
                    <a:pt x="8395" y="1193"/>
                    <a:pt x="8143" y="1193"/>
                  </a:cubicBezTo>
                  <a:cubicBezTo>
                    <a:pt x="6948" y="1915"/>
                    <a:pt x="5502" y="1695"/>
                    <a:pt x="4307" y="2166"/>
                  </a:cubicBezTo>
                  <a:cubicBezTo>
                    <a:pt x="3836" y="2417"/>
                    <a:pt x="3836" y="3140"/>
                    <a:pt x="3364" y="3359"/>
                  </a:cubicBezTo>
                  <a:cubicBezTo>
                    <a:pt x="2861" y="3359"/>
                    <a:pt x="2390" y="2637"/>
                    <a:pt x="1918" y="2637"/>
                  </a:cubicBezTo>
                  <a:cubicBezTo>
                    <a:pt x="1666" y="2637"/>
                    <a:pt x="943" y="2637"/>
                    <a:pt x="943" y="2888"/>
                  </a:cubicBezTo>
                  <a:cubicBezTo>
                    <a:pt x="723" y="3140"/>
                    <a:pt x="1446" y="3610"/>
                    <a:pt x="1195" y="4081"/>
                  </a:cubicBezTo>
                  <a:cubicBezTo>
                    <a:pt x="943" y="4333"/>
                    <a:pt x="472" y="4333"/>
                    <a:pt x="0" y="4552"/>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0" name="Shape 2505">
              <a:extLst>
                <a:ext uri="{FF2B5EF4-FFF2-40B4-BE49-F238E27FC236}">
                  <a16:creationId xmlns:a16="http://schemas.microsoft.com/office/drawing/2014/main" id="{CCFBE111-043A-F87E-609F-DF06AF1F836E}"/>
                </a:ext>
              </a:extLst>
            </p:cNvPr>
            <p:cNvSpPr/>
            <p:nvPr/>
          </p:nvSpPr>
          <p:spPr>
            <a:xfrm>
              <a:off x="1248637" y="4605380"/>
              <a:ext cx="201277" cy="315373"/>
            </a:xfrm>
            <a:custGeom>
              <a:avLst/>
              <a:gdLst/>
              <a:ahLst/>
              <a:cxnLst>
                <a:cxn ang="0">
                  <a:pos x="wd2" y="hd2"/>
                </a:cxn>
                <a:cxn ang="5400000">
                  <a:pos x="wd2" y="hd2"/>
                </a:cxn>
                <a:cxn ang="10800000">
                  <a:pos x="wd2" y="hd2"/>
                </a:cxn>
                <a:cxn ang="16200000">
                  <a:pos x="wd2" y="hd2"/>
                </a:cxn>
              </a:cxnLst>
              <a:rect l="0" t="0" r="r" b="b"/>
              <a:pathLst>
                <a:path w="20064" h="20387" extrusionOk="0">
                  <a:moveTo>
                    <a:pt x="9252" y="12638"/>
                  </a:moveTo>
                  <a:cubicBezTo>
                    <a:pt x="8748" y="12812"/>
                    <a:pt x="6426" y="13465"/>
                    <a:pt x="5921" y="13291"/>
                  </a:cubicBezTo>
                  <a:cubicBezTo>
                    <a:pt x="5417" y="13138"/>
                    <a:pt x="5921" y="12464"/>
                    <a:pt x="5417" y="12312"/>
                  </a:cubicBezTo>
                  <a:cubicBezTo>
                    <a:pt x="4374" y="12138"/>
                    <a:pt x="3331" y="12638"/>
                    <a:pt x="2321" y="12312"/>
                  </a:cubicBezTo>
                  <a:cubicBezTo>
                    <a:pt x="1817" y="12138"/>
                    <a:pt x="1548" y="11811"/>
                    <a:pt x="1279" y="11485"/>
                  </a:cubicBezTo>
                  <a:cubicBezTo>
                    <a:pt x="1043" y="11137"/>
                    <a:pt x="774" y="10811"/>
                    <a:pt x="505" y="10637"/>
                  </a:cubicBezTo>
                  <a:cubicBezTo>
                    <a:pt x="505" y="10311"/>
                    <a:pt x="269" y="10137"/>
                    <a:pt x="0" y="9984"/>
                  </a:cubicBezTo>
                  <a:cubicBezTo>
                    <a:pt x="0" y="9636"/>
                    <a:pt x="0" y="9136"/>
                    <a:pt x="269" y="8984"/>
                  </a:cubicBezTo>
                  <a:cubicBezTo>
                    <a:pt x="774" y="8309"/>
                    <a:pt x="1548" y="7809"/>
                    <a:pt x="2052" y="7156"/>
                  </a:cubicBezTo>
                  <a:cubicBezTo>
                    <a:pt x="2321" y="6982"/>
                    <a:pt x="1817" y="6656"/>
                    <a:pt x="2052" y="6330"/>
                  </a:cubicBezTo>
                  <a:cubicBezTo>
                    <a:pt x="2321" y="5830"/>
                    <a:pt x="3331" y="5656"/>
                    <a:pt x="3869" y="5155"/>
                  </a:cubicBezTo>
                  <a:cubicBezTo>
                    <a:pt x="3869" y="5003"/>
                    <a:pt x="3331" y="4829"/>
                    <a:pt x="3331" y="4655"/>
                  </a:cubicBezTo>
                  <a:cubicBezTo>
                    <a:pt x="3095" y="4155"/>
                    <a:pt x="3095" y="3828"/>
                    <a:pt x="3095" y="3328"/>
                  </a:cubicBezTo>
                  <a:cubicBezTo>
                    <a:pt x="3600" y="3176"/>
                    <a:pt x="3869" y="3002"/>
                    <a:pt x="4374" y="2828"/>
                  </a:cubicBezTo>
                  <a:cubicBezTo>
                    <a:pt x="4643" y="2676"/>
                    <a:pt x="4879" y="2327"/>
                    <a:pt x="5417" y="2327"/>
                  </a:cubicBezTo>
                  <a:cubicBezTo>
                    <a:pt x="6191" y="2502"/>
                    <a:pt x="6695" y="2828"/>
                    <a:pt x="7469" y="3002"/>
                  </a:cubicBezTo>
                  <a:cubicBezTo>
                    <a:pt x="7705" y="3002"/>
                    <a:pt x="7974" y="2676"/>
                    <a:pt x="8243" y="2676"/>
                  </a:cubicBezTo>
                  <a:cubicBezTo>
                    <a:pt x="8479" y="2676"/>
                    <a:pt x="8748" y="3176"/>
                    <a:pt x="9017" y="3002"/>
                  </a:cubicBezTo>
                  <a:cubicBezTo>
                    <a:pt x="9757" y="3002"/>
                    <a:pt x="10531" y="2676"/>
                    <a:pt x="11069" y="2327"/>
                  </a:cubicBezTo>
                  <a:cubicBezTo>
                    <a:pt x="11305" y="2001"/>
                    <a:pt x="11069" y="1501"/>
                    <a:pt x="11305" y="1175"/>
                  </a:cubicBezTo>
                  <a:cubicBezTo>
                    <a:pt x="11574" y="1001"/>
                    <a:pt x="12079" y="1175"/>
                    <a:pt x="12348" y="1001"/>
                  </a:cubicBezTo>
                  <a:cubicBezTo>
                    <a:pt x="12852" y="674"/>
                    <a:pt x="12852" y="500"/>
                    <a:pt x="13121" y="0"/>
                  </a:cubicBezTo>
                  <a:cubicBezTo>
                    <a:pt x="15174" y="674"/>
                    <a:pt x="14400" y="2001"/>
                    <a:pt x="15174" y="3328"/>
                  </a:cubicBezTo>
                  <a:cubicBezTo>
                    <a:pt x="15948" y="4655"/>
                    <a:pt x="17731" y="5503"/>
                    <a:pt x="18269" y="6982"/>
                  </a:cubicBezTo>
                  <a:cubicBezTo>
                    <a:pt x="19009" y="9484"/>
                    <a:pt x="21600" y="11637"/>
                    <a:pt x="18774" y="13791"/>
                  </a:cubicBezTo>
                  <a:cubicBezTo>
                    <a:pt x="17731" y="14465"/>
                    <a:pt x="19279" y="15118"/>
                    <a:pt x="19279" y="15966"/>
                  </a:cubicBezTo>
                  <a:cubicBezTo>
                    <a:pt x="19279" y="16619"/>
                    <a:pt x="17731" y="19120"/>
                    <a:pt x="17495" y="19947"/>
                  </a:cubicBezTo>
                  <a:cubicBezTo>
                    <a:pt x="16721" y="21600"/>
                    <a:pt x="15443" y="18120"/>
                    <a:pt x="14400" y="17293"/>
                  </a:cubicBezTo>
                  <a:cubicBezTo>
                    <a:pt x="13121" y="16292"/>
                    <a:pt x="15443" y="14792"/>
                    <a:pt x="15443" y="13465"/>
                  </a:cubicBezTo>
                  <a:cubicBezTo>
                    <a:pt x="15443" y="9810"/>
                    <a:pt x="13626" y="8157"/>
                    <a:pt x="9252" y="6482"/>
                  </a:cubicBezTo>
                  <a:cubicBezTo>
                    <a:pt x="7200" y="5656"/>
                    <a:pt x="7974" y="6330"/>
                    <a:pt x="6426" y="7309"/>
                  </a:cubicBezTo>
                  <a:cubicBezTo>
                    <a:pt x="4879" y="8483"/>
                    <a:pt x="5921" y="8157"/>
                    <a:pt x="7705" y="8984"/>
                  </a:cubicBezTo>
                  <a:cubicBezTo>
                    <a:pt x="8479" y="9484"/>
                    <a:pt x="9017" y="11311"/>
                    <a:pt x="9252" y="12638"/>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1" name="Shape 2506">
              <a:extLst>
                <a:ext uri="{FF2B5EF4-FFF2-40B4-BE49-F238E27FC236}">
                  <a16:creationId xmlns:a16="http://schemas.microsoft.com/office/drawing/2014/main" id="{9E11BC0B-3F66-8156-3574-1FF30E7F2067}"/>
                </a:ext>
              </a:extLst>
            </p:cNvPr>
            <p:cNvSpPr/>
            <p:nvPr/>
          </p:nvSpPr>
          <p:spPr>
            <a:xfrm>
              <a:off x="1181746" y="4657411"/>
              <a:ext cx="105205" cy="126023"/>
            </a:xfrm>
            <a:custGeom>
              <a:avLst/>
              <a:gdLst/>
              <a:ahLst/>
              <a:cxnLst>
                <a:cxn ang="0">
                  <a:pos x="wd2" y="hd2"/>
                </a:cxn>
                <a:cxn ang="5400000">
                  <a:pos x="wd2" y="hd2"/>
                </a:cxn>
                <a:cxn ang="10800000">
                  <a:pos x="wd2" y="hd2"/>
                </a:cxn>
                <a:cxn ang="16200000">
                  <a:pos x="wd2" y="hd2"/>
                </a:cxn>
              </a:cxnLst>
              <a:rect l="0" t="0" r="r" b="b"/>
              <a:pathLst>
                <a:path w="21600" h="21600" extrusionOk="0">
                  <a:moveTo>
                    <a:pt x="16286" y="0"/>
                  </a:moveTo>
                  <a:cubicBezTo>
                    <a:pt x="20013" y="0"/>
                    <a:pt x="20013" y="0"/>
                    <a:pt x="20013" y="0"/>
                  </a:cubicBezTo>
                  <a:cubicBezTo>
                    <a:pt x="20013" y="1325"/>
                    <a:pt x="20013" y="2189"/>
                    <a:pt x="20496" y="3514"/>
                  </a:cubicBezTo>
                  <a:cubicBezTo>
                    <a:pt x="20496" y="3974"/>
                    <a:pt x="21600" y="4435"/>
                    <a:pt x="21600" y="4838"/>
                  </a:cubicBezTo>
                  <a:cubicBezTo>
                    <a:pt x="20496" y="6163"/>
                    <a:pt x="18426" y="6624"/>
                    <a:pt x="17873" y="7949"/>
                  </a:cubicBezTo>
                  <a:cubicBezTo>
                    <a:pt x="17390" y="8813"/>
                    <a:pt x="18426" y="9677"/>
                    <a:pt x="17873" y="10138"/>
                  </a:cubicBezTo>
                  <a:cubicBezTo>
                    <a:pt x="16838" y="11866"/>
                    <a:pt x="15251" y="13190"/>
                    <a:pt x="14216" y="14976"/>
                  </a:cubicBezTo>
                  <a:cubicBezTo>
                    <a:pt x="13664" y="15379"/>
                    <a:pt x="13664" y="16704"/>
                    <a:pt x="13664" y="17626"/>
                  </a:cubicBezTo>
                  <a:cubicBezTo>
                    <a:pt x="14216" y="18029"/>
                    <a:pt x="14699" y="18490"/>
                    <a:pt x="14699" y="19354"/>
                  </a:cubicBezTo>
                  <a:cubicBezTo>
                    <a:pt x="9454" y="21600"/>
                    <a:pt x="9454" y="21600"/>
                    <a:pt x="9454" y="21600"/>
                  </a:cubicBezTo>
                  <a:cubicBezTo>
                    <a:pt x="8971" y="21600"/>
                    <a:pt x="8419" y="21600"/>
                    <a:pt x="7867" y="21139"/>
                  </a:cubicBezTo>
                  <a:cubicBezTo>
                    <a:pt x="7867" y="20275"/>
                    <a:pt x="7867" y="19354"/>
                    <a:pt x="7384" y="18950"/>
                  </a:cubicBezTo>
                  <a:cubicBezTo>
                    <a:pt x="7384" y="18490"/>
                    <a:pt x="6280" y="18950"/>
                    <a:pt x="6280" y="18490"/>
                  </a:cubicBezTo>
                  <a:cubicBezTo>
                    <a:pt x="6280" y="18029"/>
                    <a:pt x="6832" y="17626"/>
                    <a:pt x="6832" y="17165"/>
                  </a:cubicBezTo>
                  <a:cubicBezTo>
                    <a:pt x="6280" y="16704"/>
                    <a:pt x="4693" y="16301"/>
                    <a:pt x="4693" y="15840"/>
                  </a:cubicBezTo>
                  <a:cubicBezTo>
                    <a:pt x="4210" y="14976"/>
                    <a:pt x="4693" y="13651"/>
                    <a:pt x="4210" y="12787"/>
                  </a:cubicBezTo>
                  <a:cubicBezTo>
                    <a:pt x="3105" y="11462"/>
                    <a:pt x="1587" y="11462"/>
                    <a:pt x="483" y="10541"/>
                  </a:cubicBezTo>
                  <a:cubicBezTo>
                    <a:pt x="483" y="10138"/>
                    <a:pt x="0" y="9677"/>
                    <a:pt x="0" y="9274"/>
                  </a:cubicBezTo>
                  <a:cubicBezTo>
                    <a:pt x="1587" y="8352"/>
                    <a:pt x="3658" y="8352"/>
                    <a:pt x="4693" y="7488"/>
                  </a:cubicBezTo>
                  <a:cubicBezTo>
                    <a:pt x="5797" y="7027"/>
                    <a:pt x="5245" y="5760"/>
                    <a:pt x="6280" y="5760"/>
                  </a:cubicBezTo>
                  <a:cubicBezTo>
                    <a:pt x="7867" y="4838"/>
                    <a:pt x="9454" y="5760"/>
                    <a:pt x="10489" y="5299"/>
                  </a:cubicBezTo>
                  <a:cubicBezTo>
                    <a:pt x="11594" y="5299"/>
                    <a:pt x="11594" y="3974"/>
                    <a:pt x="12629" y="3514"/>
                  </a:cubicBezTo>
                  <a:cubicBezTo>
                    <a:pt x="13181" y="3514"/>
                    <a:pt x="14216" y="3974"/>
                    <a:pt x="14699" y="3514"/>
                  </a:cubicBezTo>
                  <a:cubicBezTo>
                    <a:pt x="15803" y="2650"/>
                    <a:pt x="15803" y="1325"/>
                    <a:pt x="16286"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2" name="Shape 2507">
              <a:extLst>
                <a:ext uri="{FF2B5EF4-FFF2-40B4-BE49-F238E27FC236}">
                  <a16:creationId xmlns:a16="http://schemas.microsoft.com/office/drawing/2014/main" id="{B3DFA439-F521-652A-462D-24F15A3A4D9A}"/>
                </a:ext>
              </a:extLst>
            </p:cNvPr>
            <p:cNvSpPr/>
            <p:nvPr/>
          </p:nvSpPr>
          <p:spPr>
            <a:xfrm>
              <a:off x="1235259" y="4600450"/>
              <a:ext cx="143853" cy="56624"/>
            </a:xfrm>
            <a:custGeom>
              <a:avLst/>
              <a:gdLst/>
              <a:ahLst/>
              <a:cxnLst>
                <a:cxn ang="0">
                  <a:pos x="wd2" y="hd2"/>
                </a:cxn>
                <a:cxn ang="5400000">
                  <a:pos x="wd2" y="hd2"/>
                </a:cxn>
                <a:cxn ang="10800000">
                  <a:pos x="wd2" y="hd2"/>
                </a:cxn>
                <a:cxn ang="16200000">
                  <a:pos x="wd2" y="hd2"/>
                </a:cxn>
              </a:cxnLst>
              <a:rect l="0" t="0" r="r" b="b"/>
              <a:pathLst>
                <a:path w="21600" h="20686" extrusionOk="0">
                  <a:moveTo>
                    <a:pt x="3836" y="20686"/>
                  </a:moveTo>
                  <a:cubicBezTo>
                    <a:pt x="6561" y="20686"/>
                    <a:pt x="6561" y="20686"/>
                    <a:pt x="6561" y="20686"/>
                  </a:cubicBezTo>
                  <a:cubicBezTo>
                    <a:pt x="7318" y="19822"/>
                    <a:pt x="7721" y="18835"/>
                    <a:pt x="8479" y="17847"/>
                  </a:cubicBezTo>
                  <a:cubicBezTo>
                    <a:pt x="8882" y="16983"/>
                    <a:pt x="9236" y="15008"/>
                    <a:pt x="10043" y="15008"/>
                  </a:cubicBezTo>
                  <a:cubicBezTo>
                    <a:pt x="11204" y="15996"/>
                    <a:pt x="11961" y="17847"/>
                    <a:pt x="13121" y="18835"/>
                  </a:cubicBezTo>
                  <a:cubicBezTo>
                    <a:pt x="13475" y="18835"/>
                    <a:pt x="13879" y="16983"/>
                    <a:pt x="14282" y="16983"/>
                  </a:cubicBezTo>
                  <a:cubicBezTo>
                    <a:pt x="14636" y="16983"/>
                    <a:pt x="15039" y="19822"/>
                    <a:pt x="15443" y="18835"/>
                  </a:cubicBezTo>
                  <a:cubicBezTo>
                    <a:pt x="16553" y="18835"/>
                    <a:pt x="17714" y="16983"/>
                    <a:pt x="18521" y="15008"/>
                  </a:cubicBezTo>
                  <a:cubicBezTo>
                    <a:pt x="18875" y="13157"/>
                    <a:pt x="18521" y="10318"/>
                    <a:pt x="18875" y="8467"/>
                  </a:cubicBezTo>
                  <a:cubicBezTo>
                    <a:pt x="19279" y="7479"/>
                    <a:pt x="20036" y="8467"/>
                    <a:pt x="20439" y="7479"/>
                  </a:cubicBezTo>
                  <a:cubicBezTo>
                    <a:pt x="21196" y="5628"/>
                    <a:pt x="21196" y="4640"/>
                    <a:pt x="21600" y="1801"/>
                  </a:cubicBezTo>
                  <a:cubicBezTo>
                    <a:pt x="21196" y="1801"/>
                    <a:pt x="20439" y="937"/>
                    <a:pt x="19632" y="937"/>
                  </a:cubicBezTo>
                  <a:cubicBezTo>
                    <a:pt x="15796" y="-914"/>
                    <a:pt x="9639" y="-50"/>
                    <a:pt x="6157" y="3776"/>
                  </a:cubicBezTo>
                  <a:cubicBezTo>
                    <a:pt x="4996" y="5628"/>
                    <a:pt x="2321" y="10318"/>
                    <a:pt x="0" y="14144"/>
                  </a:cubicBezTo>
                  <a:cubicBezTo>
                    <a:pt x="0" y="15996"/>
                    <a:pt x="0" y="16983"/>
                    <a:pt x="0" y="17847"/>
                  </a:cubicBezTo>
                  <a:cubicBezTo>
                    <a:pt x="404" y="19822"/>
                    <a:pt x="757" y="20686"/>
                    <a:pt x="1564" y="20686"/>
                  </a:cubicBezTo>
                  <a:cubicBezTo>
                    <a:pt x="1918" y="20686"/>
                    <a:pt x="2675" y="19822"/>
                    <a:pt x="3079" y="19822"/>
                  </a:cubicBezTo>
                  <a:cubicBezTo>
                    <a:pt x="3482" y="19822"/>
                    <a:pt x="3482" y="20686"/>
                    <a:pt x="3836" y="206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3" name="Shape 2508">
              <a:extLst>
                <a:ext uri="{FF2B5EF4-FFF2-40B4-BE49-F238E27FC236}">
                  <a16:creationId xmlns:a16="http://schemas.microsoft.com/office/drawing/2014/main" id="{88C08CBF-82C2-D409-1804-A9EE780639E3}"/>
                </a:ext>
              </a:extLst>
            </p:cNvPr>
            <p:cNvSpPr/>
            <p:nvPr/>
          </p:nvSpPr>
          <p:spPr>
            <a:xfrm>
              <a:off x="1135666" y="4610617"/>
              <a:ext cx="126013" cy="124593"/>
            </a:xfrm>
            <a:custGeom>
              <a:avLst/>
              <a:gdLst/>
              <a:ahLst/>
              <a:cxnLst>
                <a:cxn ang="0">
                  <a:pos x="wd2" y="hd2"/>
                </a:cxn>
                <a:cxn ang="5400000">
                  <a:pos x="wd2" y="hd2"/>
                </a:cxn>
                <a:cxn ang="10800000">
                  <a:pos x="wd2" y="hd2"/>
                </a:cxn>
                <a:cxn ang="16200000">
                  <a:pos x="wd2" y="hd2"/>
                </a:cxn>
              </a:cxnLst>
              <a:rect l="0" t="0" r="r" b="b"/>
              <a:pathLst>
                <a:path w="21600" h="20863" extrusionOk="0">
                  <a:moveTo>
                    <a:pt x="17211" y="4823"/>
                  </a:moveTo>
                  <a:cubicBezTo>
                    <a:pt x="17211" y="5671"/>
                    <a:pt x="17211" y="6124"/>
                    <a:pt x="17211" y="6519"/>
                  </a:cubicBezTo>
                  <a:cubicBezTo>
                    <a:pt x="17673" y="7424"/>
                    <a:pt x="18077" y="7820"/>
                    <a:pt x="19001" y="7820"/>
                  </a:cubicBezTo>
                  <a:cubicBezTo>
                    <a:pt x="19405" y="7820"/>
                    <a:pt x="20272" y="7424"/>
                    <a:pt x="20734" y="7424"/>
                  </a:cubicBezTo>
                  <a:cubicBezTo>
                    <a:pt x="21196" y="7424"/>
                    <a:pt x="21196" y="7820"/>
                    <a:pt x="21600" y="7820"/>
                  </a:cubicBezTo>
                  <a:cubicBezTo>
                    <a:pt x="21196" y="9120"/>
                    <a:pt x="21196" y="10421"/>
                    <a:pt x="20272" y="11269"/>
                  </a:cubicBezTo>
                  <a:cubicBezTo>
                    <a:pt x="19867" y="11722"/>
                    <a:pt x="19001" y="11269"/>
                    <a:pt x="18539" y="11269"/>
                  </a:cubicBezTo>
                  <a:cubicBezTo>
                    <a:pt x="17673" y="11722"/>
                    <a:pt x="17673" y="13022"/>
                    <a:pt x="16749" y="13022"/>
                  </a:cubicBezTo>
                  <a:cubicBezTo>
                    <a:pt x="15882" y="13474"/>
                    <a:pt x="14554" y="12570"/>
                    <a:pt x="13226" y="13474"/>
                  </a:cubicBezTo>
                  <a:cubicBezTo>
                    <a:pt x="12359" y="13474"/>
                    <a:pt x="12821" y="14718"/>
                    <a:pt x="11897" y="15171"/>
                  </a:cubicBezTo>
                  <a:cubicBezTo>
                    <a:pt x="11031" y="16019"/>
                    <a:pt x="9298" y="16019"/>
                    <a:pt x="7970" y="16924"/>
                  </a:cubicBezTo>
                  <a:cubicBezTo>
                    <a:pt x="7970" y="17319"/>
                    <a:pt x="8374" y="17772"/>
                    <a:pt x="8374" y="18168"/>
                  </a:cubicBezTo>
                  <a:cubicBezTo>
                    <a:pt x="7970" y="19072"/>
                    <a:pt x="7970" y="20373"/>
                    <a:pt x="6642" y="20769"/>
                  </a:cubicBezTo>
                  <a:cubicBezTo>
                    <a:pt x="6180" y="21221"/>
                    <a:pt x="5313" y="19920"/>
                    <a:pt x="4851" y="19468"/>
                  </a:cubicBezTo>
                  <a:cubicBezTo>
                    <a:pt x="4389" y="18168"/>
                    <a:pt x="4389" y="16924"/>
                    <a:pt x="3985" y="16019"/>
                  </a:cubicBezTo>
                  <a:cubicBezTo>
                    <a:pt x="3119" y="14718"/>
                    <a:pt x="1328" y="14718"/>
                    <a:pt x="866" y="13870"/>
                  </a:cubicBezTo>
                  <a:cubicBezTo>
                    <a:pt x="0" y="12570"/>
                    <a:pt x="0" y="10873"/>
                    <a:pt x="0" y="9120"/>
                  </a:cubicBezTo>
                  <a:cubicBezTo>
                    <a:pt x="866" y="9120"/>
                    <a:pt x="2195" y="9120"/>
                    <a:pt x="3119" y="8272"/>
                  </a:cubicBezTo>
                  <a:cubicBezTo>
                    <a:pt x="3523" y="7424"/>
                    <a:pt x="2195" y="6519"/>
                    <a:pt x="2195" y="5671"/>
                  </a:cubicBezTo>
                  <a:cubicBezTo>
                    <a:pt x="2657" y="3918"/>
                    <a:pt x="3985" y="2618"/>
                    <a:pt x="4851" y="1374"/>
                  </a:cubicBezTo>
                  <a:cubicBezTo>
                    <a:pt x="5718" y="1770"/>
                    <a:pt x="6180" y="2618"/>
                    <a:pt x="7046" y="3070"/>
                  </a:cubicBezTo>
                  <a:cubicBezTo>
                    <a:pt x="7508" y="3070"/>
                    <a:pt x="7970" y="2618"/>
                    <a:pt x="8374" y="2222"/>
                  </a:cubicBezTo>
                  <a:cubicBezTo>
                    <a:pt x="8836" y="1374"/>
                    <a:pt x="7970" y="-379"/>
                    <a:pt x="8374" y="73"/>
                  </a:cubicBezTo>
                  <a:cubicBezTo>
                    <a:pt x="10165" y="469"/>
                    <a:pt x="10569" y="1770"/>
                    <a:pt x="11897" y="3070"/>
                  </a:cubicBezTo>
                  <a:cubicBezTo>
                    <a:pt x="11493" y="4371"/>
                    <a:pt x="11031" y="6519"/>
                    <a:pt x="11031" y="8668"/>
                  </a:cubicBezTo>
                  <a:cubicBezTo>
                    <a:pt x="11897" y="8668"/>
                    <a:pt x="14554" y="6972"/>
                    <a:pt x="17211" y="482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4" name="Shape 2509">
              <a:extLst>
                <a:ext uri="{FF2B5EF4-FFF2-40B4-BE49-F238E27FC236}">
                  <a16:creationId xmlns:a16="http://schemas.microsoft.com/office/drawing/2014/main" id="{71328FC2-DC23-A65C-2C9E-7F0D1D9D7F05}"/>
                </a:ext>
              </a:extLst>
            </p:cNvPr>
            <p:cNvSpPr/>
            <p:nvPr/>
          </p:nvSpPr>
          <p:spPr>
            <a:xfrm>
              <a:off x="893370" y="4473608"/>
              <a:ext cx="270202" cy="229550"/>
            </a:xfrm>
            <a:custGeom>
              <a:avLst/>
              <a:gdLst/>
              <a:ahLst/>
              <a:cxnLst>
                <a:cxn ang="0">
                  <a:pos x="wd2" y="hd2"/>
                </a:cxn>
                <a:cxn ang="5400000">
                  <a:pos x="wd2" y="hd2"/>
                </a:cxn>
                <a:cxn ang="10800000">
                  <a:pos x="wd2" y="hd2"/>
                </a:cxn>
                <a:cxn ang="16200000">
                  <a:pos x="wd2" y="hd2"/>
                </a:cxn>
              </a:cxnLst>
              <a:rect l="0" t="0" r="r" b="b"/>
              <a:pathLst>
                <a:path w="21600" h="21412" extrusionOk="0">
                  <a:moveTo>
                    <a:pt x="8241" y="20910"/>
                  </a:moveTo>
                  <a:cubicBezTo>
                    <a:pt x="8645" y="20690"/>
                    <a:pt x="9049" y="20690"/>
                    <a:pt x="9265" y="20439"/>
                  </a:cubicBezTo>
                  <a:cubicBezTo>
                    <a:pt x="9480" y="19968"/>
                    <a:pt x="8861" y="19497"/>
                    <a:pt x="9049" y="19246"/>
                  </a:cubicBezTo>
                  <a:cubicBezTo>
                    <a:pt x="9049" y="18995"/>
                    <a:pt x="9669" y="18995"/>
                    <a:pt x="9884" y="18995"/>
                  </a:cubicBezTo>
                  <a:cubicBezTo>
                    <a:pt x="10288" y="18995"/>
                    <a:pt x="10692" y="19717"/>
                    <a:pt x="11123" y="19717"/>
                  </a:cubicBezTo>
                  <a:cubicBezTo>
                    <a:pt x="11527" y="19497"/>
                    <a:pt x="11527" y="18775"/>
                    <a:pt x="11931" y="18524"/>
                  </a:cubicBezTo>
                  <a:cubicBezTo>
                    <a:pt x="12955" y="18053"/>
                    <a:pt x="14194" y="18272"/>
                    <a:pt x="15217" y="17550"/>
                  </a:cubicBezTo>
                  <a:cubicBezTo>
                    <a:pt x="15432" y="17550"/>
                    <a:pt x="14813" y="17079"/>
                    <a:pt x="15028" y="17079"/>
                  </a:cubicBezTo>
                  <a:cubicBezTo>
                    <a:pt x="15836" y="16609"/>
                    <a:pt x="16456" y="16357"/>
                    <a:pt x="17291" y="16357"/>
                  </a:cubicBezTo>
                  <a:cubicBezTo>
                    <a:pt x="18099" y="16609"/>
                    <a:pt x="18530" y="17331"/>
                    <a:pt x="19338" y="17802"/>
                  </a:cubicBezTo>
                  <a:cubicBezTo>
                    <a:pt x="19742" y="17802"/>
                    <a:pt x="20361" y="17802"/>
                    <a:pt x="20792" y="17331"/>
                  </a:cubicBezTo>
                  <a:cubicBezTo>
                    <a:pt x="20981" y="16860"/>
                    <a:pt x="20361" y="16357"/>
                    <a:pt x="20361" y="15886"/>
                  </a:cubicBezTo>
                  <a:cubicBezTo>
                    <a:pt x="20577" y="14913"/>
                    <a:pt x="21196" y="14191"/>
                    <a:pt x="21600" y="13500"/>
                  </a:cubicBezTo>
                  <a:cubicBezTo>
                    <a:pt x="21385" y="13249"/>
                    <a:pt x="21385" y="12998"/>
                    <a:pt x="21196" y="12778"/>
                  </a:cubicBezTo>
                  <a:cubicBezTo>
                    <a:pt x="20361" y="12527"/>
                    <a:pt x="19338" y="13249"/>
                    <a:pt x="18718" y="12527"/>
                  </a:cubicBezTo>
                  <a:cubicBezTo>
                    <a:pt x="18099" y="12276"/>
                    <a:pt x="18099" y="11334"/>
                    <a:pt x="18099" y="10863"/>
                  </a:cubicBezTo>
                  <a:cubicBezTo>
                    <a:pt x="18314" y="9890"/>
                    <a:pt x="19553" y="9168"/>
                    <a:pt x="19338" y="7975"/>
                  </a:cubicBezTo>
                  <a:cubicBezTo>
                    <a:pt x="19338" y="6782"/>
                    <a:pt x="18314" y="5809"/>
                    <a:pt x="17910" y="4615"/>
                  </a:cubicBezTo>
                  <a:cubicBezTo>
                    <a:pt x="17695" y="4145"/>
                    <a:pt x="17695" y="3422"/>
                    <a:pt x="17479" y="2920"/>
                  </a:cubicBezTo>
                  <a:cubicBezTo>
                    <a:pt x="17291" y="2449"/>
                    <a:pt x="17075" y="2229"/>
                    <a:pt x="16887" y="1727"/>
                  </a:cubicBezTo>
                  <a:cubicBezTo>
                    <a:pt x="16671" y="1256"/>
                    <a:pt x="16671" y="534"/>
                    <a:pt x="16267" y="314"/>
                  </a:cubicBezTo>
                  <a:cubicBezTo>
                    <a:pt x="15836" y="-188"/>
                    <a:pt x="15432" y="63"/>
                    <a:pt x="15028" y="63"/>
                  </a:cubicBezTo>
                  <a:cubicBezTo>
                    <a:pt x="14409" y="314"/>
                    <a:pt x="13790" y="314"/>
                    <a:pt x="13170" y="534"/>
                  </a:cubicBezTo>
                  <a:lnTo>
                    <a:pt x="11527" y="1978"/>
                  </a:lnTo>
                  <a:cubicBezTo>
                    <a:pt x="11312" y="1978"/>
                    <a:pt x="9884" y="1507"/>
                    <a:pt x="9884" y="1507"/>
                  </a:cubicBezTo>
                  <a:cubicBezTo>
                    <a:pt x="9884" y="1727"/>
                    <a:pt x="10288" y="1978"/>
                    <a:pt x="10100" y="1978"/>
                  </a:cubicBezTo>
                  <a:cubicBezTo>
                    <a:pt x="9480" y="2229"/>
                    <a:pt x="8861" y="1978"/>
                    <a:pt x="8026" y="1978"/>
                  </a:cubicBezTo>
                  <a:cubicBezTo>
                    <a:pt x="7622" y="1727"/>
                    <a:pt x="7002" y="1036"/>
                    <a:pt x="6383" y="1256"/>
                  </a:cubicBezTo>
                  <a:cubicBezTo>
                    <a:pt x="5764" y="1507"/>
                    <a:pt x="5764" y="2700"/>
                    <a:pt x="5144" y="2920"/>
                  </a:cubicBezTo>
                  <a:cubicBezTo>
                    <a:pt x="4525" y="3171"/>
                    <a:pt x="4121" y="2700"/>
                    <a:pt x="3501" y="2700"/>
                  </a:cubicBezTo>
                  <a:cubicBezTo>
                    <a:pt x="2693" y="2449"/>
                    <a:pt x="1643" y="2700"/>
                    <a:pt x="835" y="2700"/>
                  </a:cubicBezTo>
                  <a:cubicBezTo>
                    <a:pt x="1023" y="3422"/>
                    <a:pt x="1239" y="4145"/>
                    <a:pt x="1239" y="4615"/>
                  </a:cubicBezTo>
                  <a:cubicBezTo>
                    <a:pt x="1239" y="5086"/>
                    <a:pt x="1023" y="5809"/>
                    <a:pt x="1023" y="6279"/>
                  </a:cubicBezTo>
                  <a:cubicBezTo>
                    <a:pt x="619" y="7002"/>
                    <a:pt x="404" y="7975"/>
                    <a:pt x="0" y="8697"/>
                  </a:cubicBezTo>
                  <a:cubicBezTo>
                    <a:pt x="404" y="9419"/>
                    <a:pt x="619" y="10361"/>
                    <a:pt x="1023" y="11083"/>
                  </a:cubicBezTo>
                  <a:cubicBezTo>
                    <a:pt x="1858" y="12276"/>
                    <a:pt x="3501" y="12778"/>
                    <a:pt x="3905" y="14191"/>
                  </a:cubicBezTo>
                  <a:cubicBezTo>
                    <a:pt x="4336" y="16609"/>
                    <a:pt x="3286" y="18995"/>
                    <a:pt x="3097" y="21412"/>
                  </a:cubicBezTo>
                  <a:cubicBezTo>
                    <a:pt x="4525" y="20690"/>
                    <a:pt x="5979" y="19497"/>
                    <a:pt x="7406" y="19497"/>
                  </a:cubicBezTo>
                  <a:cubicBezTo>
                    <a:pt x="7810" y="19246"/>
                    <a:pt x="7810" y="20439"/>
                    <a:pt x="8241" y="2091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5" name="Shape 2510">
              <a:extLst>
                <a:ext uri="{FF2B5EF4-FFF2-40B4-BE49-F238E27FC236}">
                  <a16:creationId xmlns:a16="http://schemas.microsoft.com/office/drawing/2014/main" id="{05F81C43-611D-140D-9ADE-F4516B7DE490}"/>
                </a:ext>
              </a:extLst>
            </p:cNvPr>
            <p:cNvSpPr/>
            <p:nvPr/>
          </p:nvSpPr>
          <p:spPr>
            <a:xfrm>
              <a:off x="1104448" y="4484969"/>
              <a:ext cx="121554" cy="143861"/>
            </a:xfrm>
            <a:custGeom>
              <a:avLst/>
              <a:gdLst/>
              <a:ahLst/>
              <a:cxnLst>
                <a:cxn ang="0">
                  <a:pos x="wd2" y="hd2"/>
                </a:cxn>
                <a:cxn ang="5400000">
                  <a:pos x="wd2" y="hd2"/>
                </a:cxn>
                <a:cxn ang="10800000">
                  <a:pos x="wd2" y="hd2"/>
                </a:cxn>
                <a:cxn ang="16200000">
                  <a:pos x="wd2" y="hd2"/>
                </a:cxn>
              </a:cxnLst>
              <a:rect l="0" t="0" r="r" b="b"/>
              <a:pathLst>
                <a:path w="21600" h="21600" extrusionOk="0">
                  <a:moveTo>
                    <a:pt x="17870" y="21600"/>
                  </a:moveTo>
                  <a:cubicBezTo>
                    <a:pt x="16486" y="20437"/>
                    <a:pt x="16065" y="19273"/>
                    <a:pt x="14199" y="18919"/>
                  </a:cubicBezTo>
                  <a:cubicBezTo>
                    <a:pt x="13778" y="18514"/>
                    <a:pt x="14681" y="20082"/>
                    <a:pt x="14199" y="20841"/>
                  </a:cubicBezTo>
                  <a:cubicBezTo>
                    <a:pt x="13778" y="21195"/>
                    <a:pt x="13297" y="21600"/>
                    <a:pt x="12816" y="21600"/>
                  </a:cubicBezTo>
                  <a:cubicBezTo>
                    <a:pt x="11913" y="21195"/>
                    <a:pt x="11432" y="20437"/>
                    <a:pt x="10529" y="20082"/>
                  </a:cubicBezTo>
                  <a:cubicBezTo>
                    <a:pt x="10048" y="19678"/>
                    <a:pt x="10048" y="19273"/>
                    <a:pt x="9627" y="18919"/>
                  </a:cubicBezTo>
                  <a:cubicBezTo>
                    <a:pt x="7762" y="18514"/>
                    <a:pt x="5475" y="19678"/>
                    <a:pt x="4091" y="18514"/>
                  </a:cubicBezTo>
                  <a:cubicBezTo>
                    <a:pt x="2708" y="18110"/>
                    <a:pt x="2708" y="16592"/>
                    <a:pt x="2708" y="15833"/>
                  </a:cubicBezTo>
                  <a:cubicBezTo>
                    <a:pt x="3189" y="14265"/>
                    <a:pt x="5957" y="13102"/>
                    <a:pt x="5475" y="11179"/>
                  </a:cubicBezTo>
                  <a:cubicBezTo>
                    <a:pt x="5475" y="9257"/>
                    <a:pt x="3189" y="7689"/>
                    <a:pt x="2286" y="5767"/>
                  </a:cubicBezTo>
                  <a:cubicBezTo>
                    <a:pt x="1805" y="5008"/>
                    <a:pt x="1805" y="3844"/>
                    <a:pt x="1324" y="3035"/>
                  </a:cubicBezTo>
                  <a:cubicBezTo>
                    <a:pt x="903" y="2276"/>
                    <a:pt x="421" y="1922"/>
                    <a:pt x="0" y="1113"/>
                  </a:cubicBezTo>
                  <a:cubicBezTo>
                    <a:pt x="1324" y="759"/>
                    <a:pt x="2286" y="354"/>
                    <a:pt x="3670" y="759"/>
                  </a:cubicBezTo>
                  <a:cubicBezTo>
                    <a:pt x="4091" y="759"/>
                    <a:pt x="4091" y="1518"/>
                    <a:pt x="4573" y="1113"/>
                  </a:cubicBezTo>
                  <a:cubicBezTo>
                    <a:pt x="5054" y="1113"/>
                    <a:pt x="5054" y="354"/>
                    <a:pt x="5475" y="354"/>
                  </a:cubicBezTo>
                  <a:cubicBezTo>
                    <a:pt x="6378" y="0"/>
                    <a:pt x="7340" y="0"/>
                    <a:pt x="8243" y="0"/>
                  </a:cubicBezTo>
                  <a:cubicBezTo>
                    <a:pt x="8243" y="354"/>
                    <a:pt x="8243" y="1113"/>
                    <a:pt x="8724" y="1922"/>
                  </a:cubicBezTo>
                  <a:cubicBezTo>
                    <a:pt x="9145" y="2681"/>
                    <a:pt x="9627" y="3440"/>
                    <a:pt x="10529" y="3440"/>
                  </a:cubicBezTo>
                  <a:cubicBezTo>
                    <a:pt x="11011" y="3440"/>
                    <a:pt x="11432" y="2681"/>
                    <a:pt x="11913" y="2276"/>
                  </a:cubicBezTo>
                  <a:cubicBezTo>
                    <a:pt x="11913" y="2276"/>
                    <a:pt x="11913" y="3844"/>
                    <a:pt x="12394" y="3844"/>
                  </a:cubicBezTo>
                  <a:cubicBezTo>
                    <a:pt x="12394" y="3440"/>
                    <a:pt x="14199" y="2681"/>
                    <a:pt x="14199" y="2681"/>
                  </a:cubicBezTo>
                  <a:cubicBezTo>
                    <a:pt x="14681" y="3035"/>
                    <a:pt x="15162" y="3440"/>
                    <a:pt x="15583" y="3440"/>
                  </a:cubicBezTo>
                  <a:cubicBezTo>
                    <a:pt x="16486" y="3440"/>
                    <a:pt x="17448" y="2276"/>
                    <a:pt x="17870" y="2681"/>
                  </a:cubicBezTo>
                  <a:cubicBezTo>
                    <a:pt x="18832" y="2681"/>
                    <a:pt x="19253" y="3440"/>
                    <a:pt x="20216" y="3844"/>
                  </a:cubicBezTo>
                  <a:cubicBezTo>
                    <a:pt x="19253" y="4199"/>
                    <a:pt x="18832" y="4603"/>
                    <a:pt x="18351" y="5008"/>
                  </a:cubicBezTo>
                  <a:cubicBezTo>
                    <a:pt x="17870" y="5362"/>
                    <a:pt x="18351" y="5767"/>
                    <a:pt x="18351" y="6171"/>
                  </a:cubicBezTo>
                  <a:cubicBezTo>
                    <a:pt x="18351" y="6526"/>
                    <a:pt x="19253" y="6930"/>
                    <a:pt x="19253" y="7284"/>
                  </a:cubicBezTo>
                  <a:cubicBezTo>
                    <a:pt x="18832" y="8852"/>
                    <a:pt x="17870" y="10016"/>
                    <a:pt x="17870" y="11584"/>
                  </a:cubicBezTo>
                  <a:cubicBezTo>
                    <a:pt x="17870" y="11938"/>
                    <a:pt x="19253" y="11938"/>
                    <a:pt x="19253" y="12343"/>
                  </a:cubicBezTo>
                  <a:cubicBezTo>
                    <a:pt x="20216" y="13506"/>
                    <a:pt x="20637" y="15024"/>
                    <a:pt x="21600" y="16187"/>
                  </a:cubicBezTo>
                  <a:cubicBezTo>
                    <a:pt x="19735" y="17756"/>
                    <a:pt x="18351" y="19273"/>
                    <a:pt x="17870"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6" name="Shape 2511">
              <a:extLst>
                <a:ext uri="{FF2B5EF4-FFF2-40B4-BE49-F238E27FC236}">
                  <a16:creationId xmlns:a16="http://schemas.microsoft.com/office/drawing/2014/main" id="{548C6A90-64E3-23C4-530F-C4CF4D2DA01C}"/>
                </a:ext>
              </a:extLst>
            </p:cNvPr>
            <p:cNvSpPr/>
            <p:nvPr/>
          </p:nvSpPr>
          <p:spPr>
            <a:xfrm>
              <a:off x="621754" y="4536186"/>
              <a:ext cx="322173" cy="192245"/>
            </a:xfrm>
            <a:custGeom>
              <a:avLst/>
              <a:gdLst/>
              <a:ahLst/>
              <a:cxnLst>
                <a:cxn ang="0">
                  <a:pos x="wd2" y="hd2"/>
                </a:cxn>
                <a:cxn ang="5400000">
                  <a:pos x="wd2" y="hd2"/>
                </a:cxn>
                <a:cxn ang="10800000">
                  <a:pos x="wd2" y="hd2"/>
                </a:cxn>
                <a:cxn ang="16200000">
                  <a:pos x="wd2" y="hd2"/>
                </a:cxn>
              </a:cxnLst>
              <a:rect l="0" t="0" r="r" b="b"/>
              <a:pathLst>
                <a:path w="21109" h="21525" extrusionOk="0">
                  <a:moveTo>
                    <a:pt x="17822" y="3393"/>
                  </a:moveTo>
                  <a:cubicBezTo>
                    <a:pt x="18153" y="4260"/>
                    <a:pt x="18330" y="5391"/>
                    <a:pt x="18661" y="6258"/>
                  </a:cubicBezTo>
                  <a:cubicBezTo>
                    <a:pt x="19346" y="7690"/>
                    <a:pt x="20693" y="8294"/>
                    <a:pt x="21025" y="9990"/>
                  </a:cubicBezTo>
                  <a:cubicBezTo>
                    <a:pt x="21378" y="12893"/>
                    <a:pt x="20517" y="15757"/>
                    <a:pt x="20362" y="18660"/>
                  </a:cubicBezTo>
                  <a:cubicBezTo>
                    <a:pt x="16298" y="21525"/>
                    <a:pt x="16298" y="21525"/>
                    <a:pt x="16298" y="21525"/>
                  </a:cubicBezTo>
                  <a:cubicBezTo>
                    <a:pt x="15636" y="20658"/>
                    <a:pt x="14796" y="19527"/>
                    <a:pt x="13957" y="18924"/>
                  </a:cubicBezTo>
                  <a:cubicBezTo>
                    <a:pt x="13604" y="18660"/>
                    <a:pt x="13272" y="18359"/>
                    <a:pt x="13096" y="18359"/>
                  </a:cubicBezTo>
                  <a:cubicBezTo>
                    <a:pt x="12941" y="18660"/>
                    <a:pt x="13096" y="18924"/>
                    <a:pt x="12941" y="19226"/>
                  </a:cubicBezTo>
                  <a:cubicBezTo>
                    <a:pt x="12588" y="19226"/>
                    <a:pt x="12257" y="19226"/>
                    <a:pt x="11925" y="19226"/>
                  </a:cubicBezTo>
                  <a:cubicBezTo>
                    <a:pt x="11594" y="19226"/>
                    <a:pt x="11417" y="18359"/>
                    <a:pt x="11086" y="18660"/>
                  </a:cubicBezTo>
                  <a:cubicBezTo>
                    <a:pt x="10733" y="18924"/>
                    <a:pt x="10909" y="20356"/>
                    <a:pt x="10401" y="20356"/>
                  </a:cubicBezTo>
                  <a:cubicBezTo>
                    <a:pt x="9893" y="20093"/>
                    <a:pt x="10070" y="18359"/>
                    <a:pt x="9562" y="18057"/>
                  </a:cubicBezTo>
                  <a:cubicBezTo>
                    <a:pt x="9054" y="17793"/>
                    <a:pt x="8546" y="18660"/>
                    <a:pt x="8038" y="18660"/>
                  </a:cubicBezTo>
                  <a:cubicBezTo>
                    <a:pt x="7884" y="18660"/>
                    <a:pt x="7530" y="18660"/>
                    <a:pt x="7376" y="18359"/>
                  </a:cubicBezTo>
                  <a:cubicBezTo>
                    <a:pt x="7022" y="18057"/>
                    <a:pt x="7022" y="17491"/>
                    <a:pt x="6691" y="17491"/>
                  </a:cubicBezTo>
                  <a:cubicBezTo>
                    <a:pt x="6183" y="17491"/>
                    <a:pt x="5520" y="18057"/>
                    <a:pt x="5012" y="18359"/>
                  </a:cubicBezTo>
                  <a:cubicBezTo>
                    <a:pt x="4504" y="18660"/>
                    <a:pt x="4151" y="18924"/>
                    <a:pt x="3643" y="18660"/>
                  </a:cubicBezTo>
                  <a:cubicBezTo>
                    <a:pt x="3157" y="18660"/>
                    <a:pt x="2649" y="18359"/>
                    <a:pt x="2141" y="18057"/>
                  </a:cubicBezTo>
                  <a:cubicBezTo>
                    <a:pt x="1965" y="18057"/>
                    <a:pt x="1810" y="17793"/>
                    <a:pt x="1457" y="17491"/>
                  </a:cubicBezTo>
                  <a:cubicBezTo>
                    <a:pt x="1633" y="16624"/>
                    <a:pt x="2141" y="15757"/>
                    <a:pt x="1965" y="14627"/>
                  </a:cubicBezTo>
                  <a:cubicBezTo>
                    <a:pt x="1810" y="13194"/>
                    <a:pt x="949" y="11724"/>
                    <a:pt x="617" y="10291"/>
                  </a:cubicBezTo>
                  <a:cubicBezTo>
                    <a:pt x="617" y="9726"/>
                    <a:pt x="1302" y="9424"/>
                    <a:pt x="1302" y="8859"/>
                  </a:cubicBezTo>
                  <a:cubicBezTo>
                    <a:pt x="1125" y="8294"/>
                    <a:pt x="463" y="7992"/>
                    <a:pt x="286" y="7125"/>
                  </a:cubicBezTo>
                  <a:cubicBezTo>
                    <a:pt x="109" y="6258"/>
                    <a:pt x="463" y="5391"/>
                    <a:pt x="463" y="4524"/>
                  </a:cubicBezTo>
                  <a:cubicBezTo>
                    <a:pt x="286" y="3695"/>
                    <a:pt x="-222" y="2526"/>
                    <a:pt x="109" y="1659"/>
                  </a:cubicBezTo>
                  <a:cubicBezTo>
                    <a:pt x="286" y="1094"/>
                    <a:pt x="794" y="792"/>
                    <a:pt x="1302" y="490"/>
                  </a:cubicBezTo>
                  <a:cubicBezTo>
                    <a:pt x="1810" y="1094"/>
                    <a:pt x="2472" y="1659"/>
                    <a:pt x="2980" y="1961"/>
                  </a:cubicBezTo>
                  <a:cubicBezTo>
                    <a:pt x="3488" y="2224"/>
                    <a:pt x="3996" y="2526"/>
                    <a:pt x="4504" y="2224"/>
                  </a:cubicBezTo>
                  <a:cubicBezTo>
                    <a:pt x="5167" y="1961"/>
                    <a:pt x="5675" y="227"/>
                    <a:pt x="6536" y="227"/>
                  </a:cubicBezTo>
                  <a:cubicBezTo>
                    <a:pt x="7022" y="-75"/>
                    <a:pt x="7376" y="1659"/>
                    <a:pt x="8038" y="1659"/>
                  </a:cubicBezTo>
                  <a:cubicBezTo>
                    <a:pt x="8215" y="1659"/>
                    <a:pt x="8038" y="490"/>
                    <a:pt x="8215" y="227"/>
                  </a:cubicBezTo>
                  <a:cubicBezTo>
                    <a:pt x="8215" y="-75"/>
                    <a:pt x="8546" y="-75"/>
                    <a:pt x="8723" y="227"/>
                  </a:cubicBezTo>
                  <a:cubicBezTo>
                    <a:pt x="9231" y="1357"/>
                    <a:pt x="9562" y="2828"/>
                    <a:pt x="10070" y="3959"/>
                  </a:cubicBezTo>
                  <a:cubicBezTo>
                    <a:pt x="10401" y="4524"/>
                    <a:pt x="10909" y="5391"/>
                    <a:pt x="11417" y="5391"/>
                  </a:cubicBezTo>
                  <a:cubicBezTo>
                    <a:pt x="11925" y="5391"/>
                    <a:pt x="12433" y="4826"/>
                    <a:pt x="12765" y="4260"/>
                  </a:cubicBezTo>
                  <a:cubicBezTo>
                    <a:pt x="13449" y="3959"/>
                    <a:pt x="13957" y="3091"/>
                    <a:pt x="14443" y="2828"/>
                  </a:cubicBezTo>
                  <a:cubicBezTo>
                    <a:pt x="14796" y="2828"/>
                    <a:pt x="15128" y="3393"/>
                    <a:pt x="15459" y="3393"/>
                  </a:cubicBezTo>
                  <a:cubicBezTo>
                    <a:pt x="15636" y="3393"/>
                    <a:pt x="15790" y="2828"/>
                    <a:pt x="15967" y="2828"/>
                  </a:cubicBezTo>
                  <a:cubicBezTo>
                    <a:pt x="16652" y="2828"/>
                    <a:pt x="17314" y="3091"/>
                    <a:pt x="17822" y="339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7" name="Shape 2512">
              <a:extLst>
                <a:ext uri="{FF2B5EF4-FFF2-40B4-BE49-F238E27FC236}">
                  <a16:creationId xmlns:a16="http://schemas.microsoft.com/office/drawing/2014/main" id="{6F2D5248-78EA-74E5-7B71-4A67A4E635F9}"/>
                </a:ext>
              </a:extLst>
            </p:cNvPr>
            <p:cNvSpPr/>
            <p:nvPr/>
          </p:nvSpPr>
          <p:spPr>
            <a:xfrm>
              <a:off x="640668" y="4348204"/>
              <a:ext cx="273175" cy="236029"/>
            </a:xfrm>
            <a:custGeom>
              <a:avLst/>
              <a:gdLst/>
              <a:ahLst/>
              <a:cxnLst>
                <a:cxn ang="0">
                  <a:pos x="wd2" y="hd2"/>
                </a:cxn>
                <a:cxn ang="5400000">
                  <a:pos x="wd2" y="hd2"/>
                </a:cxn>
                <a:cxn ang="10800000">
                  <a:pos x="wd2" y="hd2"/>
                </a:cxn>
                <a:cxn ang="16200000">
                  <a:pos x="wd2" y="hd2"/>
                </a:cxn>
              </a:cxnLst>
              <a:rect l="0" t="0" r="r" b="b"/>
              <a:pathLst>
                <a:path w="21600" h="21600" extrusionOk="0">
                  <a:moveTo>
                    <a:pt x="0" y="17600"/>
                  </a:moveTo>
                  <a:cubicBezTo>
                    <a:pt x="614" y="18092"/>
                    <a:pt x="1415" y="18554"/>
                    <a:pt x="2029" y="18800"/>
                  </a:cubicBezTo>
                  <a:cubicBezTo>
                    <a:pt x="2643" y="19015"/>
                    <a:pt x="3257" y="19262"/>
                    <a:pt x="3871" y="19015"/>
                  </a:cubicBezTo>
                  <a:cubicBezTo>
                    <a:pt x="4672" y="18800"/>
                    <a:pt x="5287" y="17385"/>
                    <a:pt x="6328" y="17385"/>
                  </a:cubicBezTo>
                  <a:cubicBezTo>
                    <a:pt x="6915" y="17138"/>
                    <a:pt x="7342" y="18554"/>
                    <a:pt x="8143" y="18554"/>
                  </a:cubicBezTo>
                  <a:cubicBezTo>
                    <a:pt x="8357" y="18554"/>
                    <a:pt x="8143" y="17600"/>
                    <a:pt x="8357" y="17385"/>
                  </a:cubicBezTo>
                  <a:cubicBezTo>
                    <a:pt x="8357" y="17138"/>
                    <a:pt x="8757" y="17138"/>
                    <a:pt x="8971" y="17385"/>
                  </a:cubicBezTo>
                  <a:cubicBezTo>
                    <a:pt x="9585" y="18308"/>
                    <a:pt x="9986" y="19508"/>
                    <a:pt x="10600" y="20431"/>
                  </a:cubicBezTo>
                  <a:cubicBezTo>
                    <a:pt x="11000" y="20892"/>
                    <a:pt x="11614" y="21600"/>
                    <a:pt x="12228" y="21600"/>
                  </a:cubicBezTo>
                  <a:cubicBezTo>
                    <a:pt x="12843" y="21600"/>
                    <a:pt x="13457" y="21138"/>
                    <a:pt x="13857" y="20677"/>
                  </a:cubicBezTo>
                  <a:cubicBezTo>
                    <a:pt x="14685" y="20431"/>
                    <a:pt x="15299" y="19723"/>
                    <a:pt x="15886" y="19508"/>
                  </a:cubicBezTo>
                  <a:cubicBezTo>
                    <a:pt x="16313" y="19508"/>
                    <a:pt x="16714" y="19969"/>
                    <a:pt x="17114" y="19969"/>
                  </a:cubicBezTo>
                  <a:cubicBezTo>
                    <a:pt x="17328" y="19969"/>
                    <a:pt x="17515" y="19508"/>
                    <a:pt x="17729" y="19508"/>
                  </a:cubicBezTo>
                  <a:cubicBezTo>
                    <a:pt x="18556" y="19508"/>
                    <a:pt x="19357" y="19723"/>
                    <a:pt x="19971" y="19969"/>
                  </a:cubicBezTo>
                  <a:cubicBezTo>
                    <a:pt x="20372" y="19262"/>
                    <a:pt x="20585" y="18308"/>
                    <a:pt x="20986" y="17600"/>
                  </a:cubicBezTo>
                  <a:cubicBezTo>
                    <a:pt x="20986" y="17138"/>
                    <a:pt x="21200" y="16431"/>
                    <a:pt x="21200" y="15969"/>
                  </a:cubicBezTo>
                  <a:cubicBezTo>
                    <a:pt x="21200" y="15508"/>
                    <a:pt x="20986" y="14800"/>
                    <a:pt x="20799" y="14092"/>
                  </a:cubicBezTo>
                  <a:cubicBezTo>
                    <a:pt x="20986" y="13385"/>
                    <a:pt x="20986" y="12462"/>
                    <a:pt x="21200" y="11508"/>
                  </a:cubicBezTo>
                  <a:cubicBezTo>
                    <a:pt x="21200" y="11262"/>
                    <a:pt x="21600" y="11046"/>
                    <a:pt x="21600" y="10554"/>
                  </a:cubicBezTo>
                  <a:cubicBezTo>
                    <a:pt x="21413" y="9385"/>
                    <a:pt x="20986" y="8215"/>
                    <a:pt x="20799" y="7262"/>
                  </a:cubicBezTo>
                  <a:cubicBezTo>
                    <a:pt x="20372" y="6338"/>
                    <a:pt x="19971" y="5877"/>
                    <a:pt x="19758" y="5169"/>
                  </a:cubicBezTo>
                  <a:cubicBezTo>
                    <a:pt x="19571" y="4215"/>
                    <a:pt x="19758" y="3508"/>
                    <a:pt x="19758" y="2585"/>
                  </a:cubicBezTo>
                  <a:cubicBezTo>
                    <a:pt x="18343" y="0"/>
                    <a:pt x="18343" y="0"/>
                    <a:pt x="18343" y="0"/>
                  </a:cubicBezTo>
                  <a:cubicBezTo>
                    <a:pt x="18129" y="492"/>
                    <a:pt x="17942" y="954"/>
                    <a:pt x="17515" y="1200"/>
                  </a:cubicBezTo>
                  <a:cubicBezTo>
                    <a:pt x="17114" y="1415"/>
                    <a:pt x="16500" y="1415"/>
                    <a:pt x="15886" y="1415"/>
                  </a:cubicBezTo>
                  <a:cubicBezTo>
                    <a:pt x="15486" y="1415"/>
                    <a:pt x="15299" y="1200"/>
                    <a:pt x="14872" y="954"/>
                  </a:cubicBezTo>
                  <a:cubicBezTo>
                    <a:pt x="14471" y="954"/>
                    <a:pt x="14258" y="954"/>
                    <a:pt x="14071" y="1200"/>
                  </a:cubicBezTo>
                  <a:cubicBezTo>
                    <a:pt x="13644" y="1415"/>
                    <a:pt x="13644" y="2123"/>
                    <a:pt x="13457" y="2369"/>
                  </a:cubicBezTo>
                  <a:cubicBezTo>
                    <a:pt x="13029" y="2585"/>
                    <a:pt x="12629" y="2800"/>
                    <a:pt x="12228" y="2800"/>
                  </a:cubicBezTo>
                  <a:cubicBezTo>
                    <a:pt x="11828" y="2585"/>
                    <a:pt x="11614" y="1662"/>
                    <a:pt x="11214" y="1662"/>
                  </a:cubicBezTo>
                  <a:cubicBezTo>
                    <a:pt x="10173" y="1662"/>
                    <a:pt x="9158" y="2369"/>
                    <a:pt x="8357" y="2800"/>
                  </a:cubicBezTo>
                  <a:cubicBezTo>
                    <a:pt x="8544" y="3292"/>
                    <a:pt x="8757" y="3754"/>
                    <a:pt x="8971" y="4215"/>
                  </a:cubicBezTo>
                  <a:cubicBezTo>
                    <a:pt x="9158" y="4923"/>
                    <a:pt x="9158" y="5631"/>
                    <a:pt x="8971" y="6338"/>
                  </a:cubicBezTo>
                  <a:cubicBezTo>
                    <a:pt x="8757" y="6800"/>
                    <a:pt x="8143" y="6338"/>
                    <a:pt x="8143" y="6554"/>
                  </a:cubicBezTo>
                  <a:cubicBezTo>
                    <a:pt x="7529" y="7262"/>
                    <a:pt x="7956" y="8677"/>
                    <a:pt x="7342" y="8923"/>
                  </a:cubicBezTo>
                  <a:cubicBezTo>
                    <a:pt x="6328" y="9138"/>
                    <a:pt x="5500" y="7969"/>
                    <a:pt x="4672" y="7754"/>
                  </a:cubicBezTo>
                  <a:cubicBezTo>
                    <a:pt x="4272" y="7754"/>
                    <a:pt x="4058" y="7754"/>
                    <a:pt x="3871" y="7969"/>
                  </a:cubicBezTo>
                  <a:cubicBezTo>
                    <a:pt x="3658" y="8431"/>
                    <a:pt x="4058" y="9138"/>
                    <a:pt x="3871" y="9631"/>
                  </a:cubicBezTo>
                  <a:cubicBezTo>
                    <a:pt x="3658" y="10338"/>
                    <a:pt x="3257" y="10554"/>
                    <a:pt x="2830" y="11046"/>
                  </a:cubicBezTo>
                  <a:cubicBezTo>
                    <a:pt x="2643" y="11508"/>
                    <a:pt x="2243" y="11969"/>
                    <a:pt x="2243" y="12677"/>
                  </a:cubicBezTo>
                  <a:cubicBezTo>
                    <a:pt x="2243" y="13138"/>
                    <a:pt x="3044" y="13385"/>
                    <a:pt x="3257" y="14092"/>
                  </a:cubicBezTo>
                  <a:cubicBezTo>
                    <a:pt x="3257" y="14308"/>
                    <a:pt x="3044" y="14800"/>
                    <a:pt x="2643" y="15015"/>
                  </a:cubicBezTo>
                  <a:cubicBezTo>
                    <a:pt x="2430" y="15015"/>
                    <a:pt x="2029" y="15015"/>
                    <a:pt x="1629" y="15015"/>
                  </a:cubicBezTo>
                  <a:cubicBezTo>
                    <a:pt x="1415" y="15723"/>
                    <a:pt x="1629" y="16431"/>
                    <a:pt x="1415" y="16892"/>
                  </a:cubicBezTo>
                  <a:cubicBezTo>
                    <a:pt x="1015" y="17385"/>
                    <a:pt x="400" y="17385"/>
                    <a:pt x="0" y="17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8" name="Shape 2513">
              <a:extLst>
                <a:ext uri="{FF2B5EF4-FFF2-40B4-BE49-F238E27FC236}">
                  <a16:creationId xmlns:a16="http://schemas.microsoft.com/office/drawing/2014/main" id="{59BB8D6F-3C8E-41DC-E826-78AA649624FB}"/>
                </a:ext>
              </a:extLst>
            </p:cNvPr>
            <p:cNvSpPr/>
            <p:nvPr/>
          </p:nvSpPr>
          <p:spPr>
            <a:xfrm>
              <a:off x="888732" y="4267942"/>
              <a:ext cx="294164" cy="238568"/>
            </a:xfrm>
            <a:custGeom>
              <a:avLst/>
              <a:gdLst/>
              <a:ahLst/>
              <a:cxnLst>
                <a:cxn ang="0">
                  <a:pos x="wd2" y="hd2"/>
                </a:cxn>
                <a:cxn ang="5400000">
                  <a:pos x="wd2" y="hd2"/>
                </a:cxn>
                <a:cxn ang="10800000">
                  <a:pos x="wd2" y="hd2"/>
                </a:cxn>
                <a:cxn ang="16200000">
                  <a:pos x="wd2" y="hd2"/>
                </a:cxn>
              </a:cxnLst>
              <a:rect l="0" t="0" r="r" b="b"/>
              <a:pathLst>
                <a:path w="21504" h="21296" extrusionOk="0">
                  <a:moveTo>
                    <a:pt x="15698" y="20080"/>
                  </a:moveTo>
                  <a:cubicBezTo>
                    <a:pt x="16239" y="19869"/>
                    <a:pt x="16633" y="19628"/>
                    <a:pt x="17199" y="19869"/>
                  </a:cubicBezTo>
                  <a:cubicBezTo>
                    <a:pt x="17371" y="19869"/>
                    <a:pt x="17371" y="20321"/>
                    <a:pt x="17568" y="20080"/>
                  </a:cubicBezTo>
                  <a:cubicBezTo>
                    <a:pt x="17765" y="20080"/>
                    <a:pt x="17765" y="19628"/>
                    <a:pt x="17937" y="19628"/>
                  </a:cubicBezTo>
                  <a:cubicBezTo>
                    <a:pt x="18306" y="19417"/>
                    <a:pt x="18699" y="19417"/>
                    <a:pt x="19068" y="19417"/>
                  </a:cubicBezTo>
                  <a:cubicBezTo>
                    <a:pt x="18872" y="18725"/>
                    <a:pt x="18134" y="17791"/>
                    <a:pt x="18503" y="17339"/>
                  </a:cubicBezTo>
                  <a:cubicBezTo>
                    <a:pt x="19265" y="16646"/>
                    <a:pt x="20200" y="17339"/>
                    <a:pt x="20938" y="17098"/>
                  </a:cubicBezTo>
                  <a:cubicBezTo>
                    <a:pt x="21332" y="17098"/>
                    <a:pt x="21504" y="16857"/>
                    <a:pt x="21504" y="16646"/>
                  </a:cubicBezTo>
                  <a:cubicBezTo>
                    <a:pt x="21504" y="15953"/>
                    <a:pt x="21135" y="15260"/>
                    <a:pt x="20766" y="14808"/>
                  </a:cubicBezTo>
                  <a:cubicBezTo>
                    <a:pt x="20569" y="14567"/>
                    <a:pt x="20200" y="15019"/>
                    <a:pt x="20003" y="14808"/>
                  </a:cubicBezTo>
                  <a:cubicBezTo>
                    <a:pt x="19807" y="14808"/>
                    <a:pt x="19807" y="14326"/>
                    <a:pt x="19634" y="14326"/>
                  </a:cubicBezTo>
                  <a:cubicBezTo>
                    <a:pt x="19265" y="14115"/>
                    <a:pt x="18872" y="14567"/>
                    <a:pt x="18699" y="14326"/>
                  </a:cubicBezTo>
                  <a:cubicBezTo>
                    <a:pt x="18306" y="13633"/>
                    <a:pt x="18306" y="12489"/>
                    <a:pt x="17937" y="11585"/>
                  </a:cubicBezTo>
                  <a:lnTo>
                    <a:pt x="17765" y="11344"/>
                  </a:lnTo>
                  <a:cubicBezTo>
                    <a:pt x="17765" y="10892"/>
                    <a:pt x="17937" y="10651"/>
                    <a:pt x="18134" y="10199"/>
                  </a:cubicBezTo>
                  <a:cubicBezTo>
                    <a:pt x="18306" y="9536"/>
                    <a:pt x="18503" y="8602"/>
                    <a:pt x="18503" y="7910"/>
                  </a:cubicBezTo>
                  <a:cubicBezTo>
                    <a:pt x="18503" y="7458"/>
                    <a:pt x="18134" y="7458"/>
                    <a:pt x="17937" y="7217"/>
                  </a:cubicBezTo>
                  <a:cubicBezTo>
                    <a:pt x="17199" y="6313"/>
                    <a:pt x="16436" y="5168"/>
                    <a:pt x="15698" y="4234"/>
                  </a:cubicBezTo>
                  <a:cubicBezTo>
                    <a:pt x="15132" y="4023"/>
                    <a:pt x="14566" y="4023"/>
                    <a:pt x="14173" y="3541"/>
                  </a:cubicBezTo>
                  <a:cubicBezTo>
                    <a:pt x="13607" y="2638"/>
                    <a:pt x="13804" y="1011"/>
                    <a:pt x="13238" y="107"/>
                  </a:cubicBezTo>
                  <a:cubicBezTo>
                    <a:pt x="13041" y="-134"/>
                    <a:pt x="12500" y="107"/>
                    <a:pt x="12303" y="107"/>
                  </a:cubicBezTo>
                  <a:cubicBezTo>
                    <a:pt x="11540" y="800"/>
                    <a:pt x="10802" y="1252"/>
                    <a:pt x="9868" y="1704"/>
                  </a:cubicBezTo>
                  <a:cubicBezTo>
                    <a:pt x="9499" y="2186"/>
                    <a:pt x="9105" y="2397"/>
                    <a:pt x="8539" y="2397"/>
                  </a:cubicBezTo>
                  <a:cubicBezTo>
                    <a:pt x="7973" y="2638"/>
                    <a:pt x="7407" y="1945"/>
                    <a:pt x="7038" y="2186"/>
                  </a:cubicBezTo>
                  <a:cubicBezTo>
                    <a:pt x="6669" y="2879"/>
                    <a:pt x="7235" y="3782"/>
                    <a:pt x="7038" y="4475"/>
                  </a:cubicBezTo>
                  <a:cubicBezTo>
                    <a:pt x="6842" y="4716"/>
                    <a:pt x="6276" y="4234"/>
                    <a:pt x="6104" y="4234"/>
                  </a:cubicBezTo>
                  <a:cubicBezTo>
                    <a:pt x="5735" y="4475"/>
                    <a:pt x="5735" y="4927"/>
                    <a:pt x="5538" y="4927"/>
                  </a:cubicBezTo>
                  <a:cubicBezTo>
                    <a:pt x="5169" y="4927"/>
                    <a:pt x="4775" y="4716"/>
                    <a:pt x="4406" y="4716"/>
                  </a:cubicBezTo>
                  <a:cubicBezTo>
                    <a:pt x="4037" y="4927"/>
                    <a:pt x="3840" y="5379"/>
                    <a:pt x="3471" y="5620"/>
                  </a:cubicBezTo>
                  <a:cubicBezTo>
                    <a:pt x="3102" y="5861"/>
                    <a:pt x="2167" y="5620"/>
                    <a:pt x="2167" y="6072"/>
                  </a:cubicBezTo>
                  <a:cubicBezTo>
                    <a:pt x="2340" y="7006"/>
                    <a:pt x="3471" y="7006"/>
                    <a:pt x="3668" y="7910"/>
                  </a:cubicBezTo>
                  <a:cubicBezTo>
                    <a:pt x="3840" y="8151"/>
                    <a:pt x="3274" y="8151"/>
                    <a:pt x="3102" y="8392"/>
                  </a:cubicBezTo>
                  <a:cubicBezTo>
                    <a:pt x="2905" y="8843"/>
                    <a:pt x="3471" y="9747"/>
                    <a:pt x="3102" y="9958"/>
                  </a:cubicBezTo>
                  <a:cubicBezTo>
                    <a:pt x="2536" y="10199"/>
                    <a:pt x="1774" y="9536"/>
                    <a:pt x="1208" y="9536"/>
                  </a:cubicBezTo>
                  <a:cubicBezTo>
                    <a:pt x="839" y="9536"/>
                    <a:pt x="470" y="9747"/>
                    <a:pt x="76" y="9747"/>
                  </a:cubicBezTo>
                  <a:cubicBezTo>
                    <a:pt x="76" y="10651"/>
                    <a:pt x="-96" y="11344"/>
                    <a:pt x="76" y="12278"/>
                  </a:cubicBezTo>
                  <a:cubicBezTo>
                    <a:pt x="273" y="12971"/>
                    <a:pt x="642" y="13422"/>
                    <a:pt x="1036" y="14326"/>
                  </a:cubicBezTo>
                  <a:cubicBezTo>
                    <a:pt x="1208" y="15260"/>
                    <a:pt x="1601" y="16405"/>
                    <a:pt x="1774" y="17550"/>
                  </a:cubicBezTo>
                  <a:cubicBezTo>
                    <a:pt x="1774" y="18032"/>
                    <a:pt x="1405" y="18243"/>
                    <a:pt x="1405" y="18484"/>
                  </a:cubicBezTo>
                  <a:cubicBezTo>
                    <a:pt x="1208" y="19417"/>
                    <a:pt x="1208" y="20321"/>
                    <a:pt x="1036" y="21014"/>
                  </a:cubicBezTo>
                  <a:cubicBezTo>
                    <a:pt x="1774" y="21014"/>
                    <a:pt x="2733" y="20773"/>
                    <a:pt x="3471" y="21014"/>
                  </a:cubicBezTo>
                  <a:cubicBezTo>
                    <a:pt x="4037" y="21014"/>
                    <a:pt x="4406" y="21466"/>
                    <a:pt x="4972" y="21225"/>
                  </a:cubicBezTo>
                  <a:cubicBezTo>
                    <a:pt x="5538" y="21014"/>
                    <a:pt x="5538" y="19869"/>
                    <a:pt x="6104" y="19628"/>
                  </a:cubicBezTo>
                  <a:cubicBezTo>
                    <a:pt x="6669" y="19417"/>
                    <a:pt x="7235" y="20080"/>
                    <a:pt x="7604" y="20321"/>
                  </a:cubicBezTo>
                  <a:cubicBezTo>
                    <a:pt x="8367" y="20321"/>
                    <a:pt x="8933" y="20562"/>
                    <a:pt x="9499" y="20321"/>
                  </a:cubicBezTo>
                  <a:cubicBezTo>
                    <a:pt x="9671" y="20321"/>
                    <a:pt x="9302" y="20080"/>
                    <a:pt x="9302" y="19869"/>
                  </a:cubicBezTo>
                  <a:cubicBezTo>
                    <a:pt x="9302" y="19869"/>
                    <a:pt x="10606" y="20321"/>
                    <a:pt x="10802" y="20321"/>
                  </a:cubicBezTo>
                  <a:lnTo>
                    <a:pt x="12303" y="18935"/>
                  </a:lnTo>
                  <a:cubicBezTo>
                    <a:pt x="12869" y="18725"/>
                    <a:pt x="13435" y="18725"/>
                    <a:pt x="14001" y="18484"/>
                  </a:cubicBezTo>
                  <a:cubicBezTo>
                    <a:pt x="14370" y="18484"/>
                    <a:pt x="14739" y="18243"/>
                    <a:pt x="15132" y="18725"/>
                  </a:cubicBezTo>
                  <a:cubicBezTo>
                    <a:pt x="15501" y="18935"/>
                    <a:pt x="15501" y="19628"/>
                    <a:pt x="15698" y="2008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59" name="Shape 2514">
              <a:extLst>
                <a:ext uri="{FF2B5EF4-FFF2-40B4-BE49-F238E27FC236}">
                  <a16:creationId xmlns:a16="http://schemas.microsoft.com/office/drawing/2014/main" id="{37E5D079-226C-431D-9494-B391D4B4CB95}"/>
                </a:ext>
              </a:extLst>
            </p:cNvPr>
            <p:cNvSpPr/>
            <p:nvPr/>
          </p:nvSpPr>
          <p:spPr>
            <a:xfrm>
              <a:off x="1204042" y="4502808"/>
              <a:ext cx="114121" cy="90343"/>
            </a:xfrm>
            <a:custGeom>
              <a:avLst/>
              <a:gdLst/>
              <a:ahLst/>
              <a:cxnLst>
                <a:cxn ang="0">
                  <a:pos x="wd2" y="hd2"/>
                </a:cxn>
                <a:cxn ang="5400000">
                  <a:pos x="wd2" y="hd2"/>
                </a:cxn>
                <a:cxn ang="10800000">
                  <a:pos x="wd2" y="hd2"/>
                </a:cxn>
                <a:cxn ang="16200000">
                  <a:pos x="wd2" y="hd2"/>
                </a:cxn>
              </a:cxnLst>
              <a:rect l="0" t="0" r="r" b="b"/>
              <a:pathLst>
                <a:path w="21600" h="21600" extrusionOk="0">
                  <a:moveTo>
                    <a:pt x="3974" y="21600"/>
                  </a:moveTo>
                  <a:cubicBezTo>
                    <a:pt x="2948" y="19739"/>
                    <a:pt x="2500" y="17312"/>
                    <a:pt x="1474" y="15452"/>
                  </a:cubicBezTo>
                  <a:cubicBezTo>
                    <a:pt x="1474" y="14804"/>
                    <a:pt x="0" y="14804"/>
                    <a:pt x="0" y="14238"/>
                  </a:cubicBezTo>
                  <a:cubicBezTo>
                    <a:pt x="0" y="11730"/>
                    <a:pt x="1026" y="9870"/>
                    <a:pt x="1474" y="7362"/>
                  </a:cubicBezTo>
                  <a:cubicBezTo>
                    <a:pt x="1474" y="6796"/>
                    <a:pt x="513" y="6148"/>
                    <a:pt x="513" y="5582"/>
                  </a:cubicBezTo>
                  <a:cubicBezTo>
                    <a:pt x="513" y="4935"/>
                    <a:pt x="0" y="4288"/>
                    <a:pt x="513" y="3721"/>
                  </a:cubicBezTo>
                  <a:cubicBezTo>
                    <a:pt x="1026" y="3074"/>
                    <a:pt x="1474" y="2427"/>
                    <a:pt x="2500" y="1861"/>
                  </a:cubicBezTo>
                  <a:cubicBezTo>
                    <a:pt x="3461" y="1213"/>
                    <a:pt x="4423" y="0"/>
                    <a:pt x="5384" y="0"/>
                  </a:cubicBezTo>
                  <a:cubicBezTo>
                    <a:pt x="6858" y="0"/>
                    <a:pt x="8332" y="0"/>
                    <a:pt x="9807" y="0"/>
                  </a:cubicBezTo>
                  <a:cubicBezTo>
                    <a:pt x="11281" y="566"/>
                    <a:pt x="13268" y="566"/>
                    <a:pt x="14229" y="1861"/>
                  </a:cubicBezTo>
                  <a:cubicBezTo>
                    <a:pt x="15191" y="2427"/>
                    <a:pt x="14678" y="4935"/>
                    <a:pt x="15703" y="4935"/>
                  </a:cubicBezTo>
                  <a:cubicBezTo>
                    <a:pt x="16665" y="4935"/>
                    <a:pt x="16665" y="2427"/>
                    <a:pt x="17626" y="1861"/>
                  </a:cubicBezTo>
                  <a:cubicBezTo>
                    <a:pt x="19100" y="1213"/>
                    <a:pt x="20126" y="1861"/>
                    <a:pt x="21600" y="1861"/>
                  </a:cubicBezTo>
                  <a:cubicBezTo>
                    <a:pt x="21600" y="2427"/>
                    <a:pt x="21600" y="3074"/>
                    <a:pt x="21600" y="3721"/>
                  </a:cubicBezTo>
                  <a:cubicBezTo>
                    <a:pt x="21600" y="5582"/>
                    <a:pt x="18652" y="9870"/>
                    <a:pt x="17626" y="11083"/>
                  </a:cubicBezTo>
                  <a:cubicBezTo>
                    <a:pt x="16665" y="12378"/>
                    <a:pt x="15191" y="12944"/>
                    <a:pt x="14229" y="13591"/>
                  </a:cubicBezTo>
                  <a:cubicBezTo>
                    <a:pt x="13716" y="14238"/>
                    <a:pt x="13268" y="14238"/>
                    <a:pt x="12755" y="14238"/>
                  </a:cubicBezTo>
                  <a:cubicBezTo>
                    <a:pt x="11281" y="14804"/>
                    <a:pt x="10319" y="16099"/>
                    <a:pt x="9294" y="16665"/>
                  </a:cubicBezTo>
                  <a:cubicBezTo>
                    <a:pt x="6858" y="18526"/>
                    <a:pt x="5384" y="19739"/>
                    <a:pt x="3974" y="2160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0" name="Shape 2515">
              <a:extLst>
                <a:ext uri="{FF2B5EF4-FFF2-40B4-BE49-F238E27FC236}">
                  <a16:creationId xmlns:a16="http://schemas.microsoft.com/office/drawing/2014/main" id="{63C8393F-E6FE-22CC-B93F-9DE97E3CD53D}"/>
                </a:ext>
              </a:extLst>
            </p:cNvPr>
            <p:cNvSpPr/>
            <p:nvPr/>
          </p:nvSpPr>
          <p:spPr>
            <a:xfrm>
              <a:off x="1104448" y="4256036"/>
              <a:ext cx="213716" cy="267247"/>
            </a:xfrm>
            <a:custGeom>
              <a:avLst/>
              <a:gdLst/>
              <a:ahLst/>
              <a:cxnLst>
                <a:cxn ang="0">
                  <a:pos x="wd2" y="hd2"/>
                </a:cxn>
                <a:cxn ang="5400000">
                  <a:pos x="wd2" y="hd2"/>
                </a:cxn>
                <a:cxn ang="10800000">
                  <a:pos x="wd2" y="hd2"/>
                </a:cxn>
                <a:cxn ang="16200000">
                  <a:pos x="wd2" y="hd2"/>
                </a:cxn>
              </a:cxnLst>
              <a:rect l="0" t="0" r="r" b="b"/>
              <a:pathLst>
                <a:path w="21600" h="21600" extrusionOk="0">
                  <a:moveTo>
                    <a:pt x="4668" y="18495"/>
                  </a:moveTo>
                  <a:cubicBezTo>
                    <a:pt x="4668" y="18685"/>
                    <a:pt x="4668" y="19094"/>
                    <a:pt x="4940" y="19530"/>
                  </a:cubicBezTo>
                  <a:cubicBezTo>
                    <a:pt x="5179" y="19938"/>
                    <a:pt x="5451" y="20347"/>
                    <a:pt x="5962" y="20347"/>
                  </a:cubicBezTo>
                  <a:cubicBezTo>
                    <a:pt x="6235" y="20347"/>
                    <a:pt x="6473" y="19938"/>
                    <a:pt x="6746" y="19721"/>
                  </a:cubicBezTo>
                  <a:cubicBezTo>
                    <a:pt x="6746" y="19721"/>
                    <a:pt x="6746" y="20565"/>
                    <a:pt x="7018" y="20565"/>
                  </a:cubicBezTo>
                  <a:cubicBezTo>
                    <a:pt x="7018" y="20347"/>
                    <a:pt x="8040" y="19938"/>
                    <a:pt x="8040" y="19938"/>
                  </a:cubicBezTo>
                  <a:cubicBezTo>
                    <a:pt x="8313" y="20129"/>
                    <a:pt x="8585" y="20347"/>
                    <a:pt x="8824" y="20347"/>
                  </a:cubicBezTo>
                  <a:cubicBezTo>
                    <a:pt x="9335" y="20347"/>
                    <a:pt x="9880" y="19721"/>
                    <a:pt x="10119" y="19938"/>
                  </a:cubicBezTo>
                  <a:cubicBezTo>
                    <a:pt x="10664" y="19938"/>
                    <a:pt x="10902" y="20347"/>
                    <a:pt x="11447" y="20565"/>
                  </a:cubicBezTo>
                  <a:cubicBezTo>
                    <a:pt x="11958" y="20347"/>
                    <a:pt x="12469" y="19938"/>
                    <a:pt x="12980" y="19938"/>
                  </a:cubicBezTo>
                  <a:cubicBezTo>
                    <a:pt x="13764" y="19938"/>
                    <a:pt x="14548" y="19938"/>
                    <a:pt x="15331" y="19938"/>
                  </a:cubicBezTo>
                  <a:cubicBezTo>
                    <a:pt x="16115" y="20129"/>
                    <a:pt x="17171" y="20129"/>
                    <a:pt x="17682" y="20565"/>
                  </a:cubicBezTo>
                  <a:cubicBezTo>
                    <a:pt x="18193" y="20756"/>
                    <a:pt x="17921" y="21600"/>
                    <a:pt x="18466" y="21600"/>
                  </a:cubicBezTo>
                  <a:cubicBezTo>
                    <a:pt x="18977" y="21600"/>
                    <a:pt x="18977" y="20756"/>
                    <a:pt x="19488" y="20565"/>
                  </a:cubicBezTo>
                  <a:cubicBezTo>
                    <a:pt x="20271" y="20347"/>
                    <a:pt x="20816" y="20565"/>
                    <a:pt x="21600" y="20565"/>
                  </a:cubicBezTo>
                  <a:cubicBezTo>
                    <a:pt x="21327" y="19938"/>
                    <a:pt x="21055" y="19312"/>
                    <a:pt x="21055" y="18685"/>
                  </a:cubicBezTo>
                  <a:cubicBezTo>
                    <a:pt x="21055" y="18059"/>
                    <a:pt x="20544" y="17650"/>
                    <a:pt x="20544" y="17024"/>
                  </a:cubicBezTo>
                  <a:cubicBezTo>
                    <a:pt x="20033" y="15362"/>
                    <a:pt x="18466" y="14736"/>
                    <a:pt x="16626" y="14736"/>
                  </a:cubicBezTo>
                  <a:cubicBezTo>
                    <a:pt x="16626" y="16397"/>
                    <a:pt x="18704" y="17433"/>
                    <a:pt x="18466" y="19094"/>
                  </a:cubicBezTo>
                  <a:cubicBezTo>
                    <a:pt x="17921" y="18685"/>
                    <a:pt x="17682" y="17868"/>
                    <a:pt x="17171" y="17242"/>
                  </a:cubicBezTo>
                  <a:cubicBezTo>
                    <a:pt x="16115" y="16615"/>
                    <a:pt x="15331" y="16615"/>
                    <a:pt x="14820" y="15553"/>
                  </a:cubicBezTo>
                  <a:cubicBezTo>
                    <a:pt x="14037" y="13701"/>
                    <a:pt x="15059" y="12230"/>
                    <a:pt x="12231" y="11004"/>
                  </a:cubicBezTo>
                  <a:cubicBezTo>
                    <a:pt x="10119" y="9942"/>
                    <a:pt x="10902" y="8090"/>
                    <a:pt x="9335" y="6864"/>
                  </a:cubicBezTo>
                  <a:cubicBezTo>
                    <a:pt x="7018" y="5203"/>
                    <a:pt x="4668" y="5611"/>
                    <a:pt x="6235" y="2288"/>
                  </a:cubicBezTo>
                  <a:cubicBezTo>
                    <a:pt x="7802" y="1035"/>
                    <a:pt x="6746" y="409"/>
                    <a:pt x="5690" y="0"/>
                  </a:cubicBezTo>
                  <a:cubicBezTo>
                    <a:pt x="4668" y="817"/>
                    <a:pt x="4940" y="409"/>
                    <a:pt x="3884" y="1035"/>
                  </a:cubicBezTo>
                  <a:cubicBezTo>
                    <a:pt x="3100" y="1662"/>
                    <a:pt x="2317" y="2070"/>
                    <a:pt x="1806" y="2697"/>
                  </a:cubicBezTo>
                  <a:cubicBezTo>
                    <a:pt x="1022" y="3323"/>
                    <a:pt x="511" y="4140"/>
                    <a:pt x="0" y="4767"/>
                  </a:cubicBezTo>
                  <a:cubicBezTo>
                    <a:pt x="1022" y="5611"/>
                    <a:pt x="2078" y="6646"/>
                    <a:pt x="3100" y="7463"/>
                  </a:cubicBezTo>
                  <a:cubicBezTo>
                    <a:pt x="3373" y="7681"/>
                    <a:pt x="3884" y="7681"/>
                    <a:pt x="3884" y="8090"/>
                  </a:cubicBezTo>
                  <a:cubicBezTo>
                    <a:pt x="3884" y="8716"/>
                    <a:pt x="3611" y="9561"/>
                    <a:pt x="3373" y="10160"/>
                  </a:cubicBezTo>
                  <a:cubicBezTo>
                    <a:pt x="3100" y="10568"/>
                    <a:pt x="2862" y="10786"/>
                    <a:pt x="2862" y="11195"/>
                  </a:cubicBezTo>
                  <a:lnTo>
                    <a:pt x="3100" y="11413"/>
                  </a:lnTo>
                  <a:cubicBezTo>
                    <a:pt x="3611" y="12230"/>
                    <a:pt x="3611" y="13265"/>
                    <a:pt x="4156" y="13892"/>
                  </a:cubicBezTo>
                  <a:cubicBezTo>
                    <a:pt x="4395" y="14109"/>
                    <a:pt x="4940" y="13701"/>
                    <a:pt x="5451" y="13892"/>
                  </a:cubicBezTo>
                  <a:cubicBezTo>
                    <a:pt x="5690" y="13892"/>
                    <a:pt x="5690" y="14327"/>
                    <a:pt x="5962" y="14327"/>
                  </a:cubicBezTo>
                  <a:cubicBezTo>
                    <a:pt x="6235" y="14518"/>
                    <a:pt x="6746" y="14109"/>
                    <a:pt x="7018" y="14327"/>
                  </a:cubicBezTo>
                  <a:cubicBezTo>
                    <a:pt x="7529" y="14736"/>
                    <a:pt x="8040" y="15362"/>
                    <a:pt x="8040" y="15989"/>
                  </a:cubicBezTo>
                  <a:cubicBezTo>
                    <a:pt x="8040" y="16180"/>
                    <a:pt x="7802" y="16397"/>
                    <a:pt x="7257" y="16397"/>
                  </a:cubicBezTo>
                  <a:cubicBezTo>
                    <a:pt x="6235" y="16615"/>
                    <a:pt x="4940" y="15989"/>
                    <a:pt x="3884" y="16615"/>
                  </a:cubicBezTo>
                  <a:cubicBezTo>
                    <a:pt x="3373" y="17024"/>
                    <a:pt x="4395" y="17868"/>
                    <a:pt x="4668" y="1849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1" name="Shape 2516">
              <a:extLst>
                <a:ext uri="{FF2B5EF4-FFF2-40B4-BE49-F238E27FC236}">
                  <a16:creationId xmlns:a16="http://schemas.microsoft.com/office/drawing/2014/main" id="{1F9C0D05-BB44-D391-2683-4B91E2E4B948}"/>
                </a:ext>
              </a:extLst>
            </p:cNvPr>
            <p:cNvSpPr/>
            <p:nvPr/>
          </p:nvSpPr>
          <p:spPr>
            <a:xfrm>
              <a:off x="835919" y="4151977"/>
              <a:ext cx="222113" cy="226493"/>
            </a:xfrm>
            <a:custGeom>
              <a:avLst/>
              <a:gdLst/>
              <a:ahLst/>
              <a:cxnLst>
                <a:cxn ang="0">
                  <a:pos x="wd2" y="hd2"/>
                </a:cxn>
                <a:cxn ang="5400000">
                  <a:pos x="wd2" y="hd2"/>
                </a:cxn>
                <a:cxn ang="10800000">
                  <a:pos x="wd2" y="hd2"/>
                </a:cxn>
                <a:cxn ang="16200000">
                  <a:pos x="wd2" y="hd2"/>
                </a:cxn>
              </a:cxnLst>
              <a:rect l="0" t="0" r="r" b="b"/>
              <a:pathLst>
                <a:path w="21406" h="21401" extrusionOk="0">
                  <a:moveTo>
                    <a:pt x="3514" y="18451"/>
                  </a:moveTo>
                  <a:cubicBezTo>
                    <a:pt x="3254" y="17751"/>
                    <a:pt x="3254" y="16765"/>
                    <a:pt x="2766" y="15810"/>
                  </a:cubicBezTo>
                  <a:cubicBezTo>
                    <a:pt x="2506" y="15556"/>
                    <a:pt x="2018" y="15556"/>
                    <a:pt x="1790" y="15301"/>
                  </a:cubicBezTo>
                  <a:cubicBezTo>
                    <a:pt x="1270" y="14824"/>
                    <a:pt x="1042" y="14092"/>
                    <a:pt x="1042" y="13361"/>
                  </a:cubicBezTo>
                  <a:cubicBezTo>
                    <a:pt x="782" y="11897"/>
                    <a:pt x="1270" y="10434"/>
                    <a:pt x="1042" y="8748"/>
                  </a:cubicBezTo>
                  <a:cubicBezTo>
                    <a:pt x="782" y="8016"/>
                    <a:pt x="-194" y="7539"/>
                    <a:pt x="34" y="6808"/>
                  </a:cubicBezTo>
                  <a:cubicBezTo>
                    <a:pt x="34" y="6330"/>
                    <a:pt x="1042" y="6808"/>
                    <a:pt x="1270" y="6330"/>
                  </a:cubicBezTo>
                  <a:cubicBezTo>
                    <a:pt x="1790" y="5122"/>
                    <a:pt x="1530" y="3658"/>
                    <a:pt x="2018" y="2418"/>
                  </a:cubicBezTo>
                  <a:cubicBezTo>
                    <a:pt x="2018" y="2195"/>
                    <a:pt x="2278" y="1718"/>
                    <a:pt x="2506" y="1718"/>
                  </a:cubicBezTo>
                  <a:cubicBezTo>
                    <a:pt x="3254" y="1463"/>
                    <a:pt x="3775" y="1463"/>
                    <a:pt x="4523" y="1463"/>
                  </a:cubicBezTo>
                  <a:cubicBezTo>
                    <a:pt x="5239" y="986"/>
                    <a:pt x="5987" y="0"/>
                    <a:pt x="6995" y="0"/>
                  </a:cubicBezTo>
                  <a:cubicBezTo>
                    <a:pt x="7483" y="0"/>
                    <a:pt x="7483" y="986"/>
                    <a:pt x="7743" y="1209"/>
                  </a:cubicBezTo>
                  <a:cubicBezTo>
                    <a:pt x="8004" y="1463"/>
                    <a:pt x="8492" y="986"/>
                    <a:pt x="8752" y="986"/>
                  </a:cubicBezTo>
                  <a:cubicBezTo>
                    <a:pt x="8979" y="1463"/>
                    <a:pt x="8979" y="2195"/>
                    <a:pt x="9467" y="2418"/>
                  </a:cubicBezTo>
                  <a:cubicBezTo>
                    <a:pt x="10216" y="2418"/>
                    <a:pt x="10964" y="1463"/>
                    <a:pt x="11712" y="1718"/>
                  </a:cubicBezTo>
                  <a:cubicBezTo>
                    <a:pt x="12460" y="1941"/>
                    <a:pt x="13208" y="2672"/>
                    <a:pt x="13696" y="3149"/>
                  </a:cubicBezTo>
                  <a:cubicBezTo>
                    <a:pt x="13957" y="3404"/>
                    <a:pt x="13696" y="4135"/>
                    <a:pt x="14184" y="4390"/>
                  </a:cubicBezTo>
                  <a:cubicBezTo>
                    <a:pt x="14933" y="4613"/>
                    <a:pt x="15681" y="4390"/>
                    <a:pt x="16689" y="4135"/>
                  </a:cubicBezTo>
                  <a:cubicBezTo>
                    <a:pt x="17177" y="3881"/>
                    <a:pt x="17698" y="3658"/>
                    <a:pt x="18186" y="3404"/>
                  </a:cubicBezTo>
                  <a:cubicBezTo>
                    <a:pt x="18413" y="3404"/>
                    <a:pt x="19161" y="2672"/>
                    <a:pt x="19161" y="3149"/>
                  </a:cubicBezTo>
                  <a:cubicBezTo>
                    <a:pt x="19682" y="4390"/>
                    <a:pt x="19161" y="5599"/>
                    <a:pt x="19161" y="6808"/>
                  </a:cubicBezTo>
                  <a:cubicBezTo>
                    <a:pt x="19422" y="7539"/>
                    <a:pt x="19910" y="8271"/>
                    <a:pt x="20170" y="9003"/>
                  </a:cubicBezTo>
                  <a:cubicBezTo>
                    <a:pt x="20398" y="9734"/>
                    <a:pt x="20918" y="10211"/>
                    <a:pt x="21406" y="10943"/>
                  </a:cubicBezTo>
                  <a:cubicBezTo>
                    <a:pt x="20398" y="11675"/>
                    <a:pt x="19422" y="12152"/>
                    <a:pt x="18186" y="12629"/>
                  </a:cubicBezTo>
                  <a:cubicBezTo>
                    <a:pt x="17698" y="13138"/>
                    <a:pt x="17177" y="13361"/>
                    <a:pt x="16429" y="13361"/>
                  </a:cubicBezTo>
                  <a:cubicBezTo>
                    <a:pt x="15681" y="13615"/>
                    <a:pt x="14933" y="12884"/>
                    <a:pt x="14445" y="13138"/>
                  </a:cubicBezTo>
                  <a:cubicBezTo>
                    <a:pt x="13957" y="13870"/>
                    <a:pt x="14705" y="14824"/>
                    <a:pt x="14445" y="15556"/>
                  </a:cubicBezTo>
                  <a:cubicBezTo>
                    <a:pt x="14184" y="15810"/>
                    <a:pt x="13436" y="15301"/>
                    <a:pt x="13208" y="15301"/>
                  </a:cubicBezTo>
                  <a:cubicBezTo>
                    <a:pt x="12720" y="15556"/>
                    <a:pt x="12720" y="16033"/>
                    <a:pt x="12460" y="16033"/>
                  </a:cubicBezTo>
                  <a:cubicBezTo>
                    <a:pt x="11972" y="16033"/>
                    <a:pt x="11452" y="15810"/>
                    <a:pt x="10964" y="15810"/>
                  </a:cubicBezTo>
                  <a:cubicBezTo>
                    <a:pt x="10476" y="16033"/>
                    <a:pt x="10216" y="16510"/>
                    <a:pt x="9728" y="16765"/>
                  </a:cubicBezTo>
                  <a:cubicBezTo>
                    <a:pt x="9240" y="17019"/>
                    <a:pt x="8004" y="16765"/>
                    <a:pt x="8004" y="17242"/>
                  </a:cubicBezTo>
                  <a:cubicBezTo>
                    <a:pt x="8231" y="18228"/>
                    <a:pt x="9728" y="18228"/>
                    <a:pt x="9988" y="19182"/>
                  </a:cubicBezTo>
                  <a:cubicBezTo>
                    <a:pt x="10216" y="19437"/>
                    <a:pt x="9467" y="19437"/>
                    <a:pt x="9240" y="19691"/>
                  </a:cubicBezTo>
                  <a:cubicBezTo>
                    <a:pt x="8979" y="20168"/>
                    <a:pt x="9728" y="21123"/>
                    <a:pt x="9240" y="21346"/>
                  </a:cubicBezTo>
                  <a:cubicBezTo>
                    <a:pt x="8492" y="21600"/>
                    <a:pt x="7483" y="20900"/>
                    <a:pt x="6735" y="20900"/>
                  </a:cubicBezTo>
                  <a:cubicBezTo>
                    <a:pt x="6247" y="20900"/>
                    <a:pt x="5759" y="21123"/>
                    <a:pt x="5239" y="21123"/>
                  </a:cubicBezTo>
                  <a:cubicBezTo>
                    <a:pt x="3514" y="18451"/>
                    <a:pt x="3514" y="18451"/>
                    <a:pt x="3514" y="1845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2" name="Shape 2517">
              <a:extLst>
                <a:ext uri="{FF2B5EF4-FFF2-40B4-BE49-F238E27FC236}">
                  <a16:creationId xmlns:a16="http://schemas.microsoft.com/office/drawing/2014/main" id="{9FD7C765-69CD-0B48-7FA0-FF8B6D8F1957}"/>
                </a:ext>
              </a:extLst>
            </p:cNvPr>
            <p:cNvSpPr/>
            <p:nvPr/>
          </p:nvSpPr>
          <p:spPr>
            <a:xfrm>
              <a:off x="435535" y="4693088"/>
              <a:ext cx="435201" cy="237514"/>
            </a:xfrm>
            <a:custGeom>
              <a:avLst/>
              <a:gdLst/>
              <a:ahLst/>
              <a:cxnLst>
                <a:cxn ang="0">
                  <a:pos x="wd2" y="hd2"/>
                </a:cxn>
                <a:cxn ang="5400000">
                  <a:pos x="wd2" y="hd2"/>
                </a:cxn>
                <a:cxn ang="10800000">
                  <a:pos x="wd2" y="hd2"/>
                </a:cxn>
                <a:cxn ang="16200000">
                  <a:pos x="wd2" y="hd2"/>
                </a:cxn>
              </a:cxnLst>
              <a:rect l="0" t="0" r="r" b="b"/>
              <a:pathLst>
                <a:path w="21600" h="21600" extrusionOk="0">
                  <a:moveTo>
                    <a:pt x="20964" y="9863"/>
                  </a:moveTo>
                  <a:cubicBezTo>
                    <a:pt x="20847" y="8450"/>
                    <a:pt x="20461" y="7282"/>
                    <a:pt x="20579" y="5869"/>
                  </a:cubicBezTo>
                  <a:cubicBezTo>
                    <a:pt x="20713" y="4916"/>
                    <a:pt x="21215" y="4240"/>
                    <a:pt x="21600" y="3288"/>
                  </a:cubicBezTo>
                  <a:cubicBezTo>
                    <a:pt x="21098" y="2581"/>
                    <a:pt x="20461" y="1659"/>
                    <a:pt x="19825" y="1168"/>
                  </a:cubicBezTo>
                  <a:cubicBezTo>
                    <a:pt x="19557" y="952"/>
                    <a:pt x="19306" y="707"/>
                    <a:pt x="19172" y="707"/>
                  </a:cubicBezTo>
                  <a:cubicBezTo>
                    <a:pt x="19055" y="952"/>
                    <a:pt x="19172" y="1168"/>
                    <a:pt x="19055" y="1413"/>
                  </a:cubicBezTo>
                  <a:cubicBezTo>
                    <a:pt x="18787" y="1413"/>
                    <a:pt x="18536" y="1413"/>
                    <a:pt x="18285" y="1413"/>
                  </a:cubicBezTo>
                  <a:cubicBezTo>
                    <a:pt x="18033" y="1413"/>
                    <a:pt x="17900" y="707"/>
                    <a:pt x="17648" y="952"/>
                  </a:cubicBezTo>
                  <a:cubicBezTo>
                    <a:pt x="17380" y="1168"/>
                    <a:pt x="17514" y="2335"/>
                    <a:pt x="17129" y="2335"/>
                  </a:cubicBezTo>
                  <a:cubicBezTo>
                    <a:pt x="16744" y="2120"/>
                    <a:pt x="16878" y="707"/>
                    <a:pt x="16493" y="461"/>
                  </a:cubicBezTo>
                  <a:cubicBezTo>
                    <a:pt x="16108" y="246"/>
                    <a:pt x="15723" y="952"/>
                    <a:pt x="15338" y="952"/>
                  </a:cubicBezTo>
                  <a:cubicBezTo>
                    <a:pt x="15220" y="952"/>
                    <a:pt x="14953" y="952"/>
                    <a:pt x="14835" y="707"/>
                  </a:cubicBezTo>
                  <a:cubicBezTo>
                    <a:pt x="14567" y="461"/>
                    <a:pt x="14567" y="0"/>
                    <a:pt x="14316" y="0"/>
                  </a:cubicBezTo>
                  <a:cubicBezTo>
                    <a:pt x="13931" y="0"/>
                    <a:pt x="13429" y="461"/>
                    <a:pt x="13044" y="707"/>
                  </a:cubicBezTo>
                  <a:cubicBezTo>
                    <a:pt x="12659" y="952"/>
                    <a:pt x="12391" y="1168"/>
                    <a:pt x="12006" y="952"/>
                  </a:cubicBezTo>
                  <a:cubicBezTo>
                    <a:pt x="11637" y="952"/>
                    <a:pt x="11252" y="707"/>
                    <a:pt x="10867" y="461"/>
                  </a:cubicBezTo>
                  <a:cubicBezTo>
                    <a:pt x="10733" y="461"/>
                    <a:pt x="10616" y="246"/>
                    <a:pt x="10348" y="0"/>
                  </a:cubicBezTo>
                  <a:cubicBezTo>
                    <a:pt x="10231" y="461"/>
                    <a:pt x="10097" y="952"/>
                    <a:pt x="10097" y="1659"/>
                  </a:cubicBezTo>
                  <a:cubicBezTo>
                    <a:pt x="9963" y="2120"/>
                    <a:pt x="10231" y="2827"/>
                    <a:pt x="10097" y="3288"/>
                  </a:cubicBezTo>
                  <a:cubicBezTo>
                    <a:pt x="9846" y="3994"/>
                    <a:pt x="9209" y="3994"/>
                    <a:pt x="8824" y="4701"/>
                  </a:cubicBezTo>
                  <a:cubicBezTo>
                    <a:pt x="8690" y="5162"/>
                    <a:pt x="8824" y="6114"/>
                    <a:pt x="8556" y="6329"/>
                  </a:cubicBezTo>
                  <a:cubicBezTo>
                    <a:pt x="8171" y="6821"/>
                    <a:pt x="7786" y="6114"/>
                    <a:pt x="7401" y="6329"/>
                  </a:cubicBezTo>
                  <a:cubicBezTo>
                    <a:pt x="6899" y="6821"/>
                    <a:pt x="6765" y="7989"/>
                    <a:pt x="6262" y="8450"/>
                  </a:cubicBezTo>
                  <a:cubicBezTo>
                    <a:pt x="5626" y="8910"/>
                    <a:pt x="4856" y="8450"/>
                    <a:pt x="4086" y="8910"/>
                  </a:cubicBezTo>
                  <a:cubicBezTo>
                    <a:pt x="3952" y="8910"/>
                    <a:pt x="3952" y="9617"/>
                    <a:pt x="3834" y="9617"/>
                  </a:cubicBezTo>
                  <a:cubicBezTo>
                    <a:pt x="3567" y="9863"/>
                    <a:pt x="3315" y="9402"/>
                    <a:pt x="3064" y="9617"/>
                  </a:cubicBezTo>
                  <a:cubicBezTo>
                    <a:pt x="2679" y="10109"/>
                    <a:pt x="2294" y="10785"/>
                    <a:pt x="1775" y="11276"/>
                  </a:cubicBezTo>
                  <a:cubicBezTo>
                    <a:pt x="1273" y="11491"/>
                    <a:pt x="636" y="11737"/>
                    <a:pt x="0" y="11983"/>
                  </a:cubicBezTo>
                  <a:cubicBezTo>
                    <a:pt x="0" y="12444"/>
                    <a:pt x="0" y="12905"/>
                    <a:pt x="0" y="13366"/>
                  </a:cubicBezTo>
                  <a:cubicBezTo>
                    <a:pt x="117" y="13857"/>
                    <a:pt x="385" y="13857"/>
                    <a:pt x="502" y="14318"/>
                  </a:cubicBezTo>
                  <a:cubicBezTo>
                    <a:pt x="636" y="14779"/>
                    <a:pt x="502" y="15271"/>
                    <a:pt x="502" y="15977"/>
                  </a:cubicBezTo>
                  <a:cubicBezTo>
                    <a:pt x="636" y="16438"/>
                    <a:pt x="502" y="17145"/>
                    <a:pt x="753" y="17606"/>
                  </a:cubicBezTo>
                  <a:cubicBezTo>
                    <a:pt x="1021" y="17851"/>
                    <a:pt x="1524" y="17145"/>
                    <a:pt x="1775" y="17606"/>
                  </a:cubicBezTo>
                  <a:cubicBezTo>
                    <a:pt x="2160" y="18067"/>
                    <a:pt x="2160" y="19019"/>
                    <a:pt x="2428" y="19726"/>
                  </a:cubicBezTo>
                  <a:cubicBezTo>
                    <a:pt x="2679" y="20187"/>
                    <a:pt x="2930" y="21108"/>
                    <a:pt x="3315" y="21354"/>
                  </a:cubicBezTo>
                  <a:cubicBezTo>
                    <a:pt x="3834" y="21354"/>
                    <a:pt x="3952" y="20187"/>
                    <a:pt x="4471" y="19726"/>
                  </a:cubicBezTo>
                  <a:cubicBezTo>
                    <a:pt x="6647" y="19726"/>
                    <a:pt x="6128" y="19019"/>
                    <a:pt x="7401" y="16192"/>
                  </a:cubicBezTo>
                  <a:cubicBezTo>
                    <a:pt x="7535" y="15731"/>
                    <a:pt x="8054" y="12659"/>
                    <a:pt x="8439" y="13150"/>
                  </a:cubicBezTo>
                  <a:cubicBezTo>
                    <a:pt x="8941" y="13611"/>
                    <a:pt x="9327" y="14072"/>
                    <a:pt x="9846" y="14564"/>
                  </a:cubicBezTo>
                  <a:cubicBezTo>
                    <a:pt x="10616" y="15025"/>
                    <a:pt x="11369" y="16684"/>
                    <a:pt x="11369" y="18067"/>
                  </a:cubicBezTo>
                  <a:cubicBezTo>
                    <a:pt x="11369" y="19019"/>
                    <a:pt x="12391" y="18558"/>
                    <a:pt x="12525" y="19941"/>
                  </a:cubicBezTo>
                  <a:cubicBezTo>
                    <a:pt x="12776" y="21600"/>
                    <a:pt x="12776" y="21600"/>
                    <a:pt x="12776" y="21600"/>
                  </a:cubicBezTo>
                  <a:cubicBezTo>
                    <a:pt x="13044" y="20893"/>
                    <a:pt x="13931" y="20187"/>
                    <a:pt x="14199" y="19480"/>
                  </a:cubicBezTo>
                  <a:cubicBezTo>
                    <a:pt x="14450" y="18773"/>
                    <a:pt x="14567" y="17851"/>
                    <a:pt x="14701" y="17145"/>
                  </a:cubicBezTo>
                  <a:cubicBezTo>
                    <a:pt x="14835" y="15977"/>
                    <a:pt x="14567" y="14564"/>
                    <a:pt x="14953" y="14072"/>
                  </a:cubicBezTo>
                  <a:cubicBezTo>
                    <a:pt x="15338" y="13366"/>
                    <a:pt x="15974" y="14072"/>
                    <a:pt x="16493" y="14318"/>
                  </a:cubicBezTo>
                  <a:cubicBezTo>
                    <a:pt x="16744" y="14564"/>
                    <a:pt x="16744" y="15025"/>
                    <a:pt x="16995" y="15025"/>
                  </a:cubicBezTo>
                  <a:cubicBezTo>
                    <a:pt x="17129" y="15025"/>
                    <a:pt x="17514" y="15025"/>
                    <a:pt x="17514" y="14564"/>
                  </a:cubicBezTo>
                  <a:cubicBezTo>
                    <a:pt x="17648" y="14072"/>
                    <a:pt x="17380" y="13366"/>
                    <a:pt x="17380" y="12659"/>
                  </a:cubicBezTo>
                  <a:cubicBezTo>
                    <a:pt x="17380" y="12444"/>
                    <a:pt x="17380" y="11983"/>
                    <a:pt x="17514" y="11737"/>
                  </a:cubicBezTo>
                  <a:cubicBezTo>
                    <a:pt x="17766" y="11276"/>
                    <a:pt x="18033" y="11491"/>
                    <a:pt x="18285" y="11030"/>
                  </a:cubicBezTo>
                  <a:cubicBezTo>
                    <a:pt x="18402" y="10785"/>
                    <a:pt x="18285" y="9863"/>
                    <a:pt x="18536" y="9617"/>
                  </a:cubicBezTo>
                  <a:cubicBezTo>
                    <a:pt x="18921" y="9617"/>
                    <a:pt x="19172" y="10570"/>
                    <a:pt x="19557" y="10570"/>
                  </a:cubicBezTo>
                  <a:cubicBezTo>
                    <a:pt x="19825" y="10570"/>
                    <a:pt x="20076" y="10324"/>
                    <a:pt x="20327" y="10109"/>
                  </a:cubicBezTo>
                  <a:cubicBezTo>
                    <a:pt x="20579" y="10109"/>
                    <a:pt x="20713" y="9863"/>
                    <a:pt x="20964" y="986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3" name="Shape 2518">
              <a:extLst>
                <a:ext uri="{FF2B5EF4-FFF2-40B4-BE49-F238E27FC236}">
                  <a16:creationId xmlns:a16="http://schemas.microsoft.com/office/drawing/2014/main" id="{73D8157E-2E86-5096-2514-B31F975A1D28}"/>
                </a:ext>
              </a:extLst>
            </p:cNvPr>
            <p:cNvSpPr/>
            <p:nvPr/>
          </p:nvSpPr>
          <p:spPr>
            <a:xfrm>
              <a:off x="249728" y="4506252"/>
              <a:ext cx="411416" cy="345564"/>
            </a:xfrm>
            <a:custGeom>
              <a:avLst/>
              <a:gdLst/>
              <a:ahLst/>
              <a:cxnLst>
                <a:cxn ang="0">
                  <a:pos x="wd2" y="hd2"/>
                </a:cxn>
                <a:cxn ang="5400000">
                  <a:pos x="wd2" y="hd2"/>
                </a:cxn>
                <a:cxn ang="10800000">
                  <a:pos x="wd2" y="hd2"/>
                </a:cxn>
                <a:cxn ang="16200000">
                  <a:pos x="wd2" y="hd2"/>
                </a:cxn>
              </a:cxnLst>
              <a:rect l="0" t="0" r="r" b="b"/>
              <a:pathLst>
                <a:path w="21600" h="21478" extrusionOk="0">
                  <a:moveTo>
                    <a:pt x="21600" y="359"/>
                  </a:moveTo>
                  <a:cubicBezTo>
                    <a:pt x="21459" y="841"/>
                    <a:pt x="21600" y="1322"/>
                    <a:pt x="21459" y="1636"/>
                  </a:cubicBezTo>
                  <a:cubicBezTo>
                    <a:pt x="21193" y="1971"/>
                    <a:pt x="20787" y="1971"/>
                    <a:pt x="20522" y="2118"/>
                  </a:cubicBezTo>
                  <a:cubicBezTo>
                    <a:pt x="20115" y="2285"/>
                    <a:pt x="19709" y="2452"/>
                    <a:pt x="19567" y="2766"/>
                  </a:cubicBezTo>
                  <a:cubicBezTo>
                    <a:pt x="19302" y="3248"/>
                    <a:pt x="19709" y="3897"/>
                    <a:pt x="19850" y="4357"/>
                  </a:cubicBezTo>
                  <a:cubicBezTo>
                    <a:pt x="19850" y="4838"/>
                    <a:pt x="19567" y="5320"/>
                    <a:pt x="19709" y="5801"/>
                  </a:cubicBezTo>
                  <a:cubicBezTo>
                    <a:pt x="19850" y="6283"/>
                    <a:pt x="20380" y="6450"/>
                    <a:pt x="20522" y="6764"/>
                  </a:cubicBezTo>
                  <a:cubicBezTo>
                    <a:pt x="20522" y="7078"/>
                    <a:pt x="19974" y="7245"/>
                    <a:pt x="19974" y="7559"/>
                  </a:cubicBezTo>
                  <a:cubicBezTo>
                    <a:pt x="20239" y="8355"/>
                    <a:pt x="20928" y="9171"/>
                    <a:pt x="21052" y="9966"/>
                  </a:cubicBezTo>
                  <a:cubicBezTo>
                    <a:pt x="21193" y="10594"/>
                    <a:pt x="20787" y="11076"/>
                    <a:pt x="20646" y="11557"/>
                  </a:cubicBezTo>
                  <a:cubicBezTo>
                    <a:pt x="20522" y="11871"/>
                    <a:pt x="20380" y="12206"/>
                    <a:pt x="20380" y="12687"/>
                  </a:cubicBezTo>
                  <a:cubicBezTo>
                    <a:pt x="20239" y="13001"/>
                    <a:pt x="20522" y="13483"/>
                    <a:pt x="20380" y="13797"/>
                  </a:cubicBezTo>
                  <a:cubicBezTo>
                    <a:pt x="20115" y="14278"/>
                    <a:pt x="19444" y="14278"/>
                    <a:pt x="19037" y="14759"/>
                  </a:cubicBezTo>
                  <a:cubicBezTo>
                    <a:pt x="18896" y="15073"/>
                    <a:pt x="19037" y="15722"/>
                    <a:pt x="18754" y="15869"/>
                  </a:cubicBezTo>
                  <a:cubicBezTo>
                    <a:pt x="18348" y="16204"/>
                    <a:pt x="17941" y="15722"/>
                    <a:pt x="17535" y="15869"/>
                  </a:cubicBezTo>
                  <a:cubicBezTo>
                    <a:pt x="17004" y="16204"/>
                    <a:pt x="16863" y="16999"/>
                    <a:pt x="16333" y="17313"/>
                  </a:cubicBezTo>
                  <a:cubicBezTo>
                    <a:pt x="15661" y="17627"/>
                    <a:pt x="14848" y="17313"/>
                    <a:pt x="14035" y="17627"/>
                  </a:cubicBezTo>
                  <a:cubicBezTo>
                    <a:pt x="13893" y="17627"/>
                    <a:pt x="13893" y="18108"/>
                    <a:pt x="13770" y="18108"/>
                  </a:cubicBezTo>
                  <a:cubicBezTo>
                    <a:pt x="13487" y="18276"/>
                    <a:pt x="13222" y="17962"/>
                    <a:pt x="12956" y="18108"/>
                  </a:cubicBezTo>
                  <a:cubicBezTo>
                    <a:pt x="12550" y="18443"/>
                    <a:pt x="12143" y="18904"/>
                    <a:pt x="11595" y="19238"/>
                  </a:cubicBezTo>
                  <a:cubicBezTo>
                    <a:pt x="11065" y="19385"/>
                    <a:pt x="10393" y="19552"/>
                    <a:pt x="9722" y="19720"/>
                  </a:cubicBezTo>
                  <a:cubicBezTo>
                    <a:pt x="9174" y="19552"/>
                    <a:pt x="8502" y="19238"/>
                    <a:pt x="7954" y="19385"/>
                  </a:cubicBezTo>
                  <a:cubicBezTo>
                    <a:pt x="7830" y="19552"/>
                    <a:pt x="7830" y="20034"/>
                    <a:pt x="7689" y="20180"/>
                  </a:cubicBezTo>
                  <a:cubicBezTo>
                    <a:pt x="7017" y="20662"/>
                    <a:pt x="6346" y="21478"/>
                    <a:pt x="5533" y="21478"/>
                  </a:cubicBezTo>
                  <a:cubicBezTo>
                    <a:pt x="4985" y="21478"/>
                    <a:pt x="4578" y="20662"/>
                    <a:pt x="4313" y="20034"/>
                  </a:cubicBezTo>
                  <a:cubicBezTo>
                    <a:pt x="4048" y="19385"/>
                    <a:pt x="3906" y="18443"/>
                    <a:pt x="3783" y="17627"/>
                  </a:cubicBezTo>
                  <a:cubicBezTo>
                    <a:pt x="3783" y="16999"/>
                    <a:pt x="3783" y="16518"/>
                    <a:pt x="3783" y="15869"/>
                  </a:cubicBezTo>
                  <a:cubicBezTo>
                    <a:pt x="3906" y="15073"/>
                    <a:pt x="4189" y="14445"/>
                    <a:pt x="4454" y="13629"/>
                  </a:cubicBezTo>
                  <a:cubicBezTo>
                    <a:pt x="4578" y="13315"/>
                    <a:pt x="4985" y="13148"/>
                    <a:pt x="5126" y="12687"/>
                  </a:cubicBezTo>
                  <a:cubicBezTo>
                    <a:pt x="5126" y="12352"/>
                    <a:pt x="4861" y="12206"/>
                    <a:pt x="4861" y="11871"/>
                  </a:cubicBezTo>
                  <a:cubicBezTo>
                    <a:pt x="4861" y="11871"/>
                    <a:pt x="3500" y="12206"/>
                    <a:pt x="3376" y="12206"/>
                  </a:cubicBezTo>
                  <a:lnTo>
                    <a:pt x="2563" y="11243"/>
                  </a:lnTo>
                  <a:cubicBezTo>
                    <a:pt x="2156" y="11243"/>
                    <a:pt x="1750" y="11411"/>
                    <a:pt x="1485" y="11243"/>
                  </a:cubicBezTo>
                  <a:cubicBezTo>
                    <a:pt x="1078" y="10929"/>
                    <a:pt x="937" y="10448"/>
                    <a:pt x="795" y="9966"/>
                  </a:cubicBezTo>
                  <a:cubicBezTo>
                    <a:pt x="672" y="9799"/>
                    <a:pt x="124" y="9631"/>
                    <a:pt x="0" y="9485"/>
                  </a:cubicBezTo>
                  <a:cubicBezTo>
                    <a:pt x="407" y="9171"/>
                    <a:pt x="1202" y="8836"/>
                    <a:pt x="1485" y="8690"/>
                  </a:cubicBezTo>
                  <a:cubicBezTo>
                    <a:pt x="2156" y="8522"/>
                    <a:pt x="2828" y="8690"/>
                    <a:pt x="3500" y="8355"/>
                  </a:cubicBezTo>
                  <a:cubicBezTo>
                    <a:pt x="3783" y="8208"/>
                    <a:pt x="4048" y="7727"/>
                    <a:pt x="4313" y="7727"/>
                  </a:cubicBezTo>
                  <a:cubicBezTo>
                    <a:pt x="4454" y="7559"/>
                    <a:pt x="4719" y="7873"/>
                    <a:pt x="4861" y="7727"/>
                  </a:cubicBezTo>
                  <a:cubicBezTo>
                    <a:pt x="5391" y="7727"/>
                    <a:pt x="5656" y="7245"/>
                    <a:pt x="6204" y="7245"/>
                  </a:cubicBezTo>
                  <a:cubicBezTo>
                    <a:pt x="6611" y="7245"/>
                    <a:pt x="7141" y="7873"/>
                    <a:pt x="7548" y="7727"/>
                  </a:cubicBezTo>
                  <a:cubicBezTo>
                    <a:pt x="7954" y="7392"/>
                    <a:pt x="8096" y="6597"/>
                    <a:pt x="8361" y="6115"/>
                  </a:cubicBezTo>
                  <a:cubicBezTo>
                    <a:pt x="8502" y="5801"/>
                    <a:pt x="8502" y="5320"/>
                    <a:pt x="8767" y="5006"/>
                  </a:cubicBezTo>
                  <a:cubicBezTo>
                    <a:pt x="9174" y="4692"/>
                    <a:pt x="9580" y="4692"/>
                    <a:pt x="9987" y="4357"/>
                  </a:cubicBezTo>
                  <a:cubicBezTo>
                    <a:pt x="10393" y="4211"/>
                    <a:pt x="10800" y="4043"/>
                    <a:pt x="10924" y="3729"/>
                  </a:cubicBezTo>
                  <a:cubicBezTo>
                    <a:pt x="11207" y="3415"/>
                    <a:pt x="10800" y="2766"/>
                    <a:pt x="11065" y="2452"/>
                  </a:cubicBezTo>
                  <a:cubicBezTo>
                    <a:pt x="11330" y="2285"/>
                    <a:pt x="11737" y="2285"/>
                    <a:pt x="12002" y="2285"/>
                  </a:cubicBezTo>
                  <a:cubicBezTo>
                    <a:pt x="12143" y="2285"/>
                    <a:pt x="12285" y="2599"/>
                    <a:pt x="12409" y="2599"/>
                  </a:cubicBezTo>
                  <a:cubicBezTo>
                    <a:pt x="12815" y="2452"/>
                    <a:pt x="13080" y="1636"/>
                    <a:pt x="13628" y="1636"/>
                  </a:cubicBezTo>
                  <a:cubicBezTo>
                    <a:pt x="14583" y="1322"/>
                    <a:pt x="15519" y="1971"/>
                    <a:pt x="16456" y="1804"/>
                  </a:cubicBezTo>
                  <a:cubicBezTo>
                    <a:pt x="16863" y="1636"/>
                    <a:pt x="17146" y="1008"/>
                    <a:pt x="17535" y="841"/>
                  </a:cubicBezTo>
                  <a:cubicBezTo>
                    <a:pt x="18348" y="359"/>
                    <a:pt x="19161" y="45"/>
                    <a:pt x="19974" y="45"/>
                  </a:cubicBezTo>
                  <a:cubicBezTo>
                    <a:pt x="20522" y="-122"/>
                    <a:pt x="21052" y="213"/>
                    <a:pt x="21600" y="35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4" name="Shape 2519">
              <a:extLst>
                <a:ext uri="{FF2B5EF4-FFF2-40B4-BE49-F238E27FC236}">
                  <a16:creationId xmlns:a16="http://schemas.microsoft.com/office/drawing/2014/main" id="{917C5B93-616E-7290-F76F-96570FB7D507}"/>
                </a:ext>
              </a:extLst>
            </p:cNvPr>
            <p:cNvSpPr/>
            <p:nvPr/>
          </p:nvSpPr>
          <p:spPr>
            <a:xfrm>
              <a:off x="0" y="4658897"/>
              <a:ext cx="547703" cy="452477"/>
            </a:xfrm>
            <a:custGeom>
              <a:avLst/>
              <a:gdLst/>
              <a:ahLst/>
              <a:cxnLst>
                <a:cxn ang="0">
                  <a:pos x="wd2" y="hd2"/>
                </a:cxn>
                <a:cxn ang="5400000">
                  <a:pos x="wd2" y="hd2"/>
                </a:cxn>
                <a:cxn ang="10800000">
                  <a:pos x="wd2" y="hd2"/>
                </a:cxn>
                <a:cxn ang="16200000">
                  <a:pos x="wd2" y="hd2"/>
                </a:cxn>
              </a:cxnLst>
              <a:rect l="0" t="0" r="r" b="b"/>
              <a:pathLst>
                <a:path w="21293" h="21362" extrusionOk="0">
                  <a:moveTo>
                    <a:pt x="9700" y="0"/>
                  </a:moveTo>
                  <a:cubicBezTo>
                    <a:pt x="9792" y="111"/>
                    <a:pt x="10198" y="238"/>
                    <a:pt x="10289" y="366"/>
                  </a:cubicBezTo>
                  <a:cubicBezTo>
                    <a:pt x="10394" y="731"/>
                    <a:pt x="10499" y="1097"/>
                    <a:pt x="10800" y="1335"/>
                  </a:cubicBezTo>
                  <a:cubicBezTo>
                    <a:pt x="10996" y="1462"/>
                    <a:pt x="11297" y="1335"/>
                    <a:pt x="11599" y="1335"/>
                  </a:cubicBezTo>
                  <a:lnTo>
                    <a:pt x="12201" y="2066"/>
                  </a:lnTo>
                  <a:cubicBezTo>
                    <a:pt x="12292" y="2066"/>
                    <a:pt x="13300" y="1812"/>
                    <a:pt x="13300" y="1812"/>
                  </a:cubicBezTo>
                  <a:cubicBezTo>
                    <a:pt x="13300" y="2066"/>
                    <a:pt x="13497" y="2177"/>
                    <a:pt x="13497" y="2432"/>
                  </a:cubicBezTo>
                  <a:cubicBezTo>
                    <a:pt x="13392" y="2781"/>
                    <a:pt x="13091" y="2909"/>
                    <a:pt x="12999" y="3147"/>
                  </a:cubicBezTo>
                  <a:cubicBezTo>
                    <a:pt x="12803" y="3767"/>
                    <a:pt x="12593" y="4244"/>
                    <a:pt x="12502" y="4848"/>
                  </a:cubicBezTo>
                  <a:cubicBezTo>
                    <a:pt x="12502" y="5340"/>
                    <a:pt x="12502" y="5706"/>
                    <a:pt x="12502" y="6183"/>
                  </a:cubicBezTo>
                  <a:cubicBezTo>
                    <a:pt x="12593" y="6803"/>
                    <a:pt x="12698" y="7518"/>
                    <a:pt x="12895" y="8011"/>
                  </a:cubicBezTo>
                  <a:cubicBezTo>
                    <a:pt x="13091" y="8487"/>
                    <a:pt x="13392" y="9107"/>
                    <a:pt x="13798" y="9107"/>
                  </a:cubicBezTo>
                  <a:cubicBezTo>
                    <a:pt x="14400" y="9107"/>
                    <a:pt x="14897" y="8487"/>
                    <a:pt x="15395" y="8122"/>
                  </a:cubicBezTo>
                  <a:cubicBezTo>
                    <a:pt x="15500" y="8011"/>
                    <a:pt x="15500" y="7645"/>
                    <a:pt x="15591" y="7518"/>
                  </a:cubicBezTo>
                  <a:cubicBezTo>
                    <a:pt x="15997" y="7407"/>
                    <a:pt x="16495" y="7645"/>
                    <a:pt x="16900" y="7772"/>
                  </a:cubicBezTo>
                  <a:cubicBezTo>
                    <a:pt x="16900" y="8011"/>
                    <a:pt x="16900" y="8249"/>
                    <a:pt x="16900" y="8487"/>
                  </a:cubicBezTo>
                  <a:cubicBezTo>
                    <a:pt x="16992" y="8742"/>
                    <a:pt x="17201" y="8742"/>
                    <a:pt x="17293" y="8980"/>
                  </a:cubicBezTo>
                  <a:cubicBezTo>
                    <a:pt x="17398" y="9219"/>
                    <a:pt x="17293" y="9473"/>
                    <a:pt x="17293" y="9838"/>
                  </a:cubicBezTo>
                  <a:cubicBezTo>
                    <a:pt x="17398" y="10077"/>
                    <a:pt x="17293" y="10442"/>
                    <a:pt x="17489" y="10681"/>
                  </a:cubicBezTo>
                  <a:cubicBezTo>
                    <a:pt x="17699" y="10808"/>
                    <a:pt x="18092" y="10442"/>
                    <a:pt x="18288" y="10681"/>
                  </a:cubicBezTo>
                  <a:cubicBezTo>
                    <a:pt x="18589" y="10919"/>
                    <a:pt x="18589" y="11412"/>
                    <a:pt x="18799" y="11777"/>
                  </a:cubicBezTo>
                  <a:cubicBezTo>
                    <a:pt x="18995" y="12016"/>
                    <a:pt x="19191" y="12493"/>
                    <a:pt x="19492" y="12620"/>
                  </a:cubicBezTo>
                  <a:cubicBezTo>
                    <a:pt x="19898" y="12620"/>
                    <a:pt x="19990" y="12016"/>
                    <a:pt x="20396" y="11777"/>
                  </a:cubicBezTo>
                  <a:cubicBezTo>
                    <a:pt x="20396" y="12016"/>
                    <a:pt x="20500" y="12381"/>
                    <a:pt x="20500" y="12747"/>
                  </a:cubicBezTo>
                  <a:cubicBezTo>
                    <a:pt x="20500" y="13224"/>
                    <a:pt x="20199" y="12985"/>
                    <a:pt x="20095" y="13224"/>
                  </a:cubicBezTo>
                  <a:cubicBezTo>
                    <a:pt x="19990" y="13478"/>
                    <a:pt x="20697" y="14448"/>
                    <a:pt x="20893" y="14686"/>
                  </a:cubicBezTo>
                  <a:cubicBezTo>
                    <a:pt x="21600" y="15783"/>
                    <a:pt x="21391" y="17118"/>
                    <a:pt x="20095" y="17118"/>
                  </a:cubicBezTo>
                  <a:cubicBezTo>
                    <a:pt x="19191" y="17229"/>
                    <a:pt x="19296" y="19184"/>
                    <a:pt x="19100" y="19915"/>
                  </a:cubicBezTo>
                  <a:cubicBezTo>
                    <a:pt x="18890" y="20392"/>
                    <a:pt x="18393" y="20885"/>
                    <a:pt x="18288" y="21362"/>
                  </a:cubicBezTo>
                  <a:cubicBezTo>
                    <a:pt x="17699" y="21362"/>
                    <a:pt x="18196" y="19788"/>
                    <a:pt x="18196" y="19550"/>
                  </a:cubicBezTo>
                  <a:cubicBezTo>
                    <a:pt x="18196" y="18819"/>
                    <a:pt x="16900" y="19423"/>
                    <a:pt x="17594" y="20630"/>
                  </a:cubicBezTo>
                  <a:cubicBezTo>
                    <a:pt x="17594" y="20758"/>
                    <a:pt x="17895" y="21123"/>
                    <a:pt x="17791" y="21123"/>
                  </a:cubicBezTo>
                  <a:cubicBezTo>
                    <a:pt x="17699" y="21123"/>
                    <a:pt x="17489" y="21362"/>
                    <a:pt x="17398" y="21362"/>
                  </a:cubicBezTo>
                  <a:cubicBezTo>
                    <a:pt x="16900" y="21362"/>
                    <a:pt x="16691" y="21123"/>
                    <a:pt x="16390" y="20758"/>
                  </a:cubicBezTo>
                  <a:cubicBezTo>
                    <a:pt x="16193" y="20519"/>
                    <a:pt x="15500" y="20392"/>
                    <a:pt x="15500" y="20154"/>
                  </a:cubicBezTo>
                  <a:cubicBezTo>
                    <a:pt x="15500" y="18930"/>
                    <a:pt x="13497" y="21600"/>
                    <a:pt x="12803" y="21123"/>
                  </a:cubicBezTo>
                  <a:cubicBezTo>
                    <a:pt x="12292" y="20758"/>
                    <a:pt x="11991" y="20154"/>
                    <a:pt x="11494" y="20026"/>
                  </a:cubicBezTo>
                  <a:cubicBezTo>
                    <a:pt x="10695" y="19788"/>
                    <a:pt x="11599" y="18691"/>
                    <a:pt x="10394" y="18691"/>
                  </a:cubicBezTo>
                  <a:cubicBezTo>
                    <a:pt x="9792" y="18691"/>
                    <a:pt x="10499" y="17849"/>
                    <a:pt x="9897" y="17722"/>
                  </a:cubicBezTo>
                  <a:cubicBezTo>
                    <a:pt x="9399" y="17722"/>
                    <a:pt x="8692" y="17483"/>
                    <a:pt x="8300" y="17483"/>
                  </a:cubicBezTo>
                  <a:cubicBezTo>
                    <a:pt x="7095" y="17483"/>
                    <a:pt x="7488" y="17849"/>
                    <a:pt x="6493" y="17118"/>
                  </a:cubicBezTo>
                  <a:cubicBezTo>
                    <a:pt x="6297" y="16991"/>
                    <a:pt x="6297" y="15179"/>
                    <a:pt x="6192" y="14813"/>
                  </a:cubicBezTo>
                  <a:cubicBezTo>
                    <a:pt x="5891" y="13113"/>
                    <a:pt x="5996" y="14082"/>
                    <a:pt x="4791" y="13351"/>
                  </a:cubicBezTo>
                  <a:cubicBezTo>
                    <a:pt x="4202" y="12985"/>
                    <a:pt x="3391" y="10808"/>
                    <a:pt x="3194" y="10808"/>
                  </a:cubicBezTo>
                  <a:cubicBezTo>
                    <a:pt x="2592" y="10681"/>
                    <a:pt x="2500" y="11046"/>
                    <a:pt x="2291" y="10077"/>
                  </a:cubicBezTo>
                  <a:cubicBezTo>
                    <a:pt x="2291" y="10077"/>
                    <a:pt x="2291" y="10077"/>
                    <a:pt x="2291" y="10204"/>
                  </a:cubicBezTo>
                  <a:cubicBezTo>
                    <a:pt x="2095" y="9346"/>
                    <a:pt x="92" y="7772"/>
                    <a:pt x="393" y="7041"/>
                  </a:cubicBezTo>
                  <a:cubicBezTo>
                    <a:pt x="602" y="6548"/>
                    <a:pt x="196" y="6803"/>
                    <a:pt x="0" y="6437"/>
                  </a:cubicBezTo>
                  <a:cubicBezTo>
                    <a:pt x="196" y="6310"/>
                    <a:pt x="903" y="6310"/>
                    <a:pt x="1296" y="6183"/>
                  </a:cubicBezTo>
                  <a:cubicBezTo>
                    <a:pt x="1597" y="5944"/>
                    <a:pt x="1793" y="5340"/>
                    <a:pt x="2199" y="5340"/>
                  </a:cubicBezTo>
                  <a:cubicBezTo>
                    <a:pt x="2893" y="5340"/>
                    <a:pt x="3194" y="3878"/>
                    <a:pt x="3391" y="3147"/>
                  </a:cubicBezTo>
                  <a:cubicBezTo>
                    <a:pt x="3692" y="2432"/>
                    <a:pt x="4490" y="3513"/>
                    <a:pt x="4896" y="3513"/>
                  </a:cubicBezTo>
                  <a:cubicBezTo>
                    <a:pt x="5302" y="3513"/>
                    <a:pt x="7095" y="3401"/>
                    <a:pt x="7200" y="3036"/>
                  </a:cubicBezTo>
                  <a:cubicBezTo>
                    <a:pt x="7292" y="2543"/>
                    <a:pt x="7396" y="1939"/>
                    <a:pt x="7697" y="1462"/>
                  </a:cubicBezTo>
                  <a:cubicBezTo>
                    <a:pt x="7999" y="1208"/>
                    <a:pt x="8692" y="842"/>
                    <a:pt x="9098" y="477"/>
                  </a:cubicBezTo>
                  <a:cubicBezTo>
                    <a:pt x="9596" y="111"/>
                    <a:pt x="9700" y="111"/>
                    <a:pt x="9700" y="0"/>
                  </a:cubicBezTo>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5" name="Shape 2520">
              <a:extLst>
                <a:ext uri="{FF2B5EF4-FFF2-40B4-BE49-F238E27FC236}">
                  <a16:creationId xmlns:a16="http://schemas.microsoft.com/office/drawing/2014/main" id="{A724AF4F-252A-0D66-B794-87D368BD1FBE}"/>
                </a:ext>
              </a:extLst>
            </p:cNvPr>
            <p:cNvSpPr/>
            <p:nvPr/>
          </p:nvSpPr>
          <p:spPr>
            <a:xfrm>
              <a:off x="135597" y="4345232"/>
              <a:ext cx="546356" cy="314479"/>
            </a:xfrm>
            <a:custGeom>
              <a:avLst/>
              <a:gdLst/>
              <a:ahLst/>
              <a:cxnLst>
                <a:cxn ang="0">
                  <a:pos x="wd2" y="hd2"/>
                </a:cxn>
                <a:cxn ang="5400000">
                  <a:pos x="wd2" y="hd2"/>
                </a:cxn>
                <a:cxn ang="10800000">
                  <a:pos x="wd2" y="hd2"/>
                </a:cxn>
                <a:cxn ang="16200000">
                  <a:pos x="wd2" y="hd2"/>
                </a:cxn>
              </a:cxnLst>
              <a:rect l="0" t="0" r="r" b="b"/>
              <a:pathLst>
                <a:path w="21297" h="21079" extrusionOk="0">
                  <a:moveTo>
                    <a:pt x="10642" y="0"/>
                  </a:moveTo>
                  <a:cubicBezTo>
                    <a:pt x="10642" y="340"/>
                    <a:pt x="10642" y="521"/>
                    <a:pt x="10247" y="679"/>
                  </a:cubicBezTo>
                  <a:cubicBezTo>
                    <a:pt x="9642" y="1042"/>
                    <a:pt x="9642" y="2581"/>
                    <a:pt x="9734" y="3600"/>
                  </a:cubicBezTo>
                  <a:cubicBezTo>
                    <a:pt x="9945" y="5683"/>
                    <a:pt x="9234" y="7585"/>
                    <a:pt x="8432" y="8966"/>
                  </a:cubicBezTo>
                  <a:cubicBezTo>
                    <a:pt x="7932" y="9826"/>
                    <a:pt x="7537" y="9826"/>
                    <a:pt x="7537" y="11208"/>
                  </a:cubicBezTo>
                  <a:cubicBezTo>
                    <a:pt x="7537" y="11570"/>
                    <a:pt x="7932" y="13472"/>
                    <a:pt x="7432" y="13472"/>
                  </a:cubicBezTo>
                  <a:lnTo>
                    <a:pt x="7129" y="13109"/>
                  </a:lnTo>
                  <a:lnTo>
                    <a:pt x="7024" y="13291"/>
                  </a:lnTo>
                  <a:cubicBezTo>
                    <a:pt x="6419" y="13630"/>
                    <a:pt x="6024" y="12951"/>
                    <a:pt x="5525" y="13109"/>
                  </a:cubicBezTo>
                  <a:cubicBezTo>
                    <a:pt x="5525" y="13472"/>
                    <a:pt x="4722" y="14151"/>
                    <a:pt x="4617" y="14151"/>
                  </a:cubicBezTo>
                  <a:cubicBezTo>
                    <a:pt x="3617" y="14672"/>
                    <a:pt x="3012" y="16415"/>
                    <a:pt x="2104" y="13992"/>
                  </a:cubicBezTo>
                  <a:cubicBezTo>
                    <a:pt x="1697" y="12951"/>
                    <a:pt x="1499" y="14151"/>
                    <a:pt x="1197" y="15034"/>
                  </a:cubicBezTo>
                  <a:cubicBezTo>
                    <a:pt x="894" y="15894"/>
                    <a:pt x="394" y="15532"/>
                    <a:pt x="0" y="15713"/>
                  </a:cubicBezTo>
                  <a:cubicBezTo>
                    <a:pt x="0" y="16053"/>
                    <a:pt x="499" y="16234"/>
                    <a:pt x="197" y="16755"/>
                  </a:cubicBezTo>
                  <a:cubicBezTo>
                    <a:pt x="-303" y="17955"/>
                    <a:pt x="394" y="18136"/>
                    <a:pt x="894" y="18475"/>
                  </a:cubicBezTo>
                  <a:cubicBezTo>
                    <a:pt x="1302" y="18996"/>
                    <a:pt x="999" y="19698"/>
                    <a:pt x="1302" y="20038"/>
                  </a:cubicBezTo>
                  <a:cubicBezTo>
                    <a:pt x="1604" y="20377"/>
                    <a:pt x="2407" y="18815"/>
                    <a:pt x="2907" y="20219"/>
                  </a:cubicBezTo>
                  <a:cubicBezTo>
                    <a:pt x="3407" y="21600"/>
                    <a:pt x="3814" y="20219"/>
                    <a:pt x="4420" y="20038"/>
                  </a:cubicBezTo>
                  <a:cubicBezTo>
                    <a:pt x="4420" y="20558"/>
                    <a:pt x="4420" y="20898"/>
                    <a:pt x="4420" y="21079"/>
                  </a:cubicBezTo>
                  <a:cubicBezTo>
                    <a:pt x="4722" y="20740"/>
                    <a:pt x="5314" y="20377"/>
                    <a:pt x="5525" y="20219"/>
                  </a:cubicBezTo>
                  <a:cubicBezTo>
                    <a:pt x="6024" y="20038"/>
                    <a:pt x="6524" y="20219"/>
                    <a:pt x="7024" y="19857"/>
                  </a:cubicBezTo>
                  <a:cubicBezTo>
                    <a:pt x="7235" y="19698"/>
                    <a:pt x="7432" y="19177"/>
                    <a:pt x="7629" y="19177"/>
                  </a:cubicBezTo>
                  <a:cubicBezTo>
                    <a:pt x="7735" y="18996"/>
                    <a:pt x="7932" y="19336"/>
                    <a:pt x="8037" y="19177"/>
                  </a:cubicBezTo>
                  <a:cubicBezTo>
                    <a:pt x="8432" y="19177"/>
                    <a:pt x="8629" y="18657"/>
                    <a:pt x="9037" y="18657"/>
                  </a:cubicBezTo>
                  <a:cubicBezTo>
                    <a:pt x="9339" y="18657"/>
                    <a:pt x="9734" y="19336"/>
                    <a:pt x="10037" y="19177"/>
                  </a:cubicBezTo>
                  <a:cubicBezTo>
                    <a:pt x="10339" y="18815"/>
                    <a:pt x="10444" y="17955"/>
                    <a:pt x="10642" y="17434"/>
                  </a:cubicBezTo>
                  <a:cubicBezTo>
                    <a:pt x="10747" y="17094"/>
                    <a:pt x="10747" y="16574"/>
                    <a:pt x="10944" y="16234"/>
                  </a:cubicBezTo>
                  <a:cubicBezTo>
                    <a:pt x="11247" y="15894"/>
                    <a:pt x="11549" y="15894"/>
                    <a:pt x="11852" y="15532"/>
                  </a:cubicBezTo>
                  <a:cubicBezTo>
                    <a:pt x="12154" y="15374"/>
                    <a:pt x="12457" y="15192"/>
                    <a:pt x="12549" y="14853"/>
                  </a:cubicBezTo>
                  <a:cubicBezTo>
                    <a:pt x="12760" y="14513"/>
                    <a:pt x="12457" y="13811"/>
                    <a:pt x="12654" y="13472"/>
                  </a:cubicBezTo>
                  <a:cubicBezTo>
                    <a:pt x="12852" y="13291"/>
                    <a:pt x="13154" y="13291"/>
                    <a:pt x="13352" y="13291"/>
                  </a:cubicBezTo>
                  <a:cubicBezTo>
                    <a:pt x="13457" y="13291"/>
                    <a:pt x="13562" y="13630"/>
                    <a:pt x="13654" y="13630"/>
                  </a:cubicBezTo>
                  <a:cubicBezTo>
                    <a:pt x="13957" y="13472"/>
                    <a:pt x="14154" y="12589"/>
                    <a:pt x="14562" y="12589"/>
                  </a:cubicBezTo>
                  <a:cubicBezTo>
                    <a:pt x="15272" y="12249"/>
                    <a:pt x="15969" y="12951"/>
                    <a:pt x="16667" y="12770"/>
                  </a:cubicBezTo>
                  <a:cubicBezTo>
                    <a:pt x="16969" y="12589"/>
                    <a:pt x="17180" y="11909"/>
                    <a:pt x="17469" y="11728"/>
                  </a:cubicBezTo>
                  <a:cubicBezTo>
                    <a:pt x="18074" y="11208"/>
                    <a:pt x="18679" y="10868"/>
                    <a:pt x="19284" y="10868"/>
                  </a:cubicBezTo>
                  <a:cubicBezTo>
                    <a:pt x="19692" y="10687"/>
                    <a:pt x="20087" y="11049"/>
                    <a:pt x="20495" y="11208"/>
                  </a:cubicBezTo>
                  <a:cubicBezTo>
                    <a:pt x="20692" y="11208"/>
                    <a:pt x="20889" y="11208"/>
                    <a:pt x="20994" y="11208"/>
                  </a:cubicBezTo>
                  <a:cubicBezTo>
                    <a:pt x="21192" y="11049"/>
                    <a:pt x="21297" y="10687"/>
                    <a:pt x="21297" y="10528"/>
                  </a:cubicBezTo>
                  <a:cubicBezTo>
                    <a:pt x="21192" y="10008"/>
                    <a:pt x="20797" y="9826"/>
                    <a:pt x="20797" y="9487"/>
                  </a:cubicBezTo>
                  <a:cubicBezTo>
                    <a:pt x="20797" y="8966"/>
                    <a:pt x="20994" y="8626"/>
                    <a:pt x="21087" y="8287"/>
                  </a:cubicBezTo>
                  <a:cubicBezTo>
                    <a:pt x="20889" y="7925"/>
                    <a:pt x="20692" y="7585"/>
                    <a:pt x="20495" y="7404"/>
                  </a:cubicBezTo>
                  <a:cubicBezTo>
                    <a:pt x="20192" y="7404"/>
                    <a:pt x="19889" y="7404"/>
                    <a:pt x="19587" y="7585"/>
                  </a:cubicBezTo>
                  <a:cubicBezTo>
                    <a:pt x="19390" y="7766"/>
                    <a:pt x="19284" y="7925"/>
                    <a:pt x="19087" y="8106"/>
                  </a:cubicBezTo>
                  <a:cubicBezTo>
                    <a:pt x="18890" y="8287"/>
                    <a:pt x="18679" y="8106"/>
                    <a:pt x="18482" y="8287"/>
                  </a:cubicBezTo>
                  <a:cubicBezTo>
                    <a:pt x="18377" y="8287"/>
                    <a:pt x="18285" y="8626"/>
                    <a:pt x="18179" y="8626"/>
                  </a:cubicBezTo>
                  <a:cubicBezTo>
                    <a:pt x="17982" y="8626"/>
                    <a:pt x="17679" y="8445"/>
                    <a:pt x="17469" y="8445"/>
                  </a:cubicBezTo>
                  <a:cubicBezTo>
                    <a:pt x="17377" y="8445"/>
                    <a:pt x="17272" y="8808"/>
                    <a:pt x="17180" y="8808"/>
                  </a:cubicBezTo>
                  <a:cubicBezTo>
                    <a:pt x="17074" y="8626"/>
                    <a:pt x="17074" y="8106"/>
                    <a:pt x="16969" y="7925"/>
                  </a:cubicBezTo>
                  <a:cubicBezTo>
                    <a:pt x="16574" y="7245"/>
                    <a:pt x="16272" y="6362"/>
                    <a:pt x="15772" y="6023"/>
                  </a:cubicBezTo>
                  <a:cubicBezTo>
                    <a:pt x="15575" y="5864"/>
                    <a:pt x="15469" y="6362"/>
                    <a:pt x="15272" y="6543"/>
                  </a:cubicBezTo>
                  <a:cubicBezTo>
                    <a:pt x="15062" y="6543"/>
                    <a:pt x="14970" y="6204"/>
                    <a:pt x="14970" y="6023"/>
                  </a:cubicBezTo>
                  <a:cubicBezTo>
                    <a:pt x="14970" y="5864"/>
                    <a:pt x="15364" y="6023"/>
                    <a:pt x="15364" y="5683"/>
                  </a:cubicBezTo>
                  <a:cubicBezTo>
                    <a:pt x="15364" y="5162"/>
                    <a:pt x="15364" y="4302"/>
                    <a:pt x="15062" y="3962"/>
                  </a:cubicBezTo>
                  <a:cubicBezTo>
                    <a:pt x="14667" y="3600"/>
                    <a:pt x="13957" y="4642"/>
                    <a:pt x="13654" y="4121"/>
                  </a:cubicBezTo>
                  <a:cubicBezTo>
                    <a:pt x="13457" y="3600"/>
                    <a:pt x="14154" y="2740"/>
                    <a:pt x="13957" y="2060"/>
                  </a:cubicBezTo>
                  <a:cubicBezTo>
                    <a:pt x="13759" y="1721"/>
                    <a:pt x="13352" y="1902"/>
                    <a:pt x="12957" y="1902"/>
                  </a:cubicBezTo>
                  <a:cubicBezTo>
                    <a:pt x="12760" y="1902"/>
                    <a:pt x="12654" y="2400"/>
                    <a:pt x="12457" y="2400"/>
                  </a:cubicBezTo>
                  <a:cubicBezTo>
                    <a:pt x="12247" y="2400"/>
                    <a:pt x="12049" y="2581"/>
                    <a:pt x="11852" y="2219"/>
                  </a:cubicBezTo>
                  <a:cubicBezTo>
                    <a:pt x="11655" y="1902"/>
                    <a:pt x="11655" y="1200"/>
                    <a:pt x="11444" y="860"/>
                  </a:cubicBezTo>
                  <a:cubicBezTo>
                    <a:pt x="11247" y="521"/>
                    <a:pt x="10852" y="340"/>
                    <a:pt x="10642" y="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6" name="Shape 2521">
              <a:extLst>
                <a:ext uri="{FF2B5EF4-FFF2-40B4-BE49-F238E27FC236}">
                  <a16:creationId xmlns:a16="http://schemas.microsoft.com/office/drawing/2014/main" id="{67D9934D-F34F-2639-691F-8F0D0F1E2C90}"/>
                </a:ext>
              </a:extLst>
            </p:cNvPr>
            <p:cNvSpPr/>
            <p:nvPr/>
          </p:nvSpPr>
          <p:spPr>
            <a:xfrm>
              <a:off x="549994" y="4131887"/>
              <a:ext cx="205692" cy="336392"/>
            </a:xfrm>
            <a:custGeom>
              <a:avLst/>
              <a:gdLst/>
              <a:ahLst/>
              <a:cxnLst>
                <a:cxn ang="0">
                  <a:pos x="wd2" y="hd2"/>
                </a:cxn>
                <a:cxn ang="5400000">
                  <a:pos x="wd2" y="hd2"/>
                </a:cxn>
                <a:cxn ang="10800000">
                  <a:pos x="wd2" y="hd2"/>
                </a:cxn>
                <a:cxn ang="16200000">
                  <a:pos x="wd2" y="hd2"/>
                </a:cxn>
              </a:cxnLst>
              <a:rect l="0" t="0" r="r" b="b"/>
              <a:pathLst>
                <a:path w="21538" h="21089" extrusionOk="0">
                  <a:moveTo>
                    <a:pt x="7848" y="20920"/>
                  </a:moveTo>
                  <a:cubicBezTo>
                    <a:pt x="8378" y="20751"/>
                    <a:pt x="8661" y="20603"/>
                    <a:pt x="9191" y="20434"/>
                  </a:cubicBezTo>
                  <a:cubicBezTo>
                    <a:pt x="10005" y="20266"/>
                    <a:pt x="10818" y="20266"/>
                    <a:pt x="11631" y="20266"/>
                  </a:cubicBezTo>
                  <a:cubicBezTo>
                    <a:pt x="12161" y="20434"/>
                    <a:pt x="12691" y="20751"/>
                    <a:pt x="13222" y="21089"/>
                  </a:cubicBezTo>
                  <a:cubicBezTo>
                    <a:pt x="13787" y="20751"/>
                    <a:pt x="14318" y="20603"/>
                    <a:pt x="14600" y="20118"/>
                  </a:cubicBezTo>
                  <a:cubicBezTo>
                    <a:pt x="14848" y="19780"/>
                    <a:pt x="14318" y="19294"/>
                    <a:pt x="14600" y="18978"/>
                  </a:cubicBezTo>
                  <a:cubicBezTo>
                    <a:pt x="14848" y="18830"/>
                    <a:pt x="15131" y="18830"/>
                    <a:pt x="15661" y="18830"/>
                  </a:cubicBezTo>
                  <a:cubicBezTo>
                    <a:pt x="16757" y="18978"/>
                    <a:pt x="17853" y="19780"/>
                    <a:pt x="19196" y="19632"/>
                  </a:cubicBezTo>
                  <a:cubicBezTo>
                    <a:pt x="20009" y="19463"/>
                    <a:pt x="19444" y="18492"/>
                    <a:pt x="20257" y="18006"/>
                  </a:cubicBezTo>
                  <a:cubicBezTo>
                    <a:pt x="20257" y="17859"/>
                    <a:pt x="21070" y="18175"/>
                    <a:pt x="21353" y="17859"/>
                  </a:cubicBezTo>
                  <a:cubicBezTo>
                    <a:pt x="21600" y="17373"/>
                    <a:pt x="21600" y="16887"/>
                    <a:pt x="21353" y="16402"/>
                  </a:cubicBezTo>
                  <a:cubicBezTo>
                    <a:pt x="21070" y="16085"/>
                    <a:pt x="20787" y="15768"/>
                    <a:pt x="20539" y="15430"/>
                  </a:cubicBezTo>
                  <a:cubicBezTo>
                    <a:pt x="20257" y="15283"/>
                    <a:pt x="20257" y="15135"/>
                    <a:pt x="20257" y="14966"/>
                  </a:cubicBezTo>
                  <a:cubicBezTo>
                    <a:pt x="20009" y="14332"/>
                    <a:pt x="20257" y="13678"/>
                    <a:pt x="20009" y="13044"/>
                  </a:cubicBezTo>
                  <a:cubicBezTo>
                    <a:pt x="19726" y="12707"/>
                    <a:pt x="18913" y="12707"/>
                    <a:pt x="18913" y="12390"/>
                  </a:cubicBezTo>
                  <a:cubicBezTo>
                    <a:pt x="18913" y="11904"/>
                    <a:pt x="19726" y="11271"/>
                    <a:pt x="19726" y="10785"/>
                  </a:cubicBezTo>
                  <a:cubicBezTo>
                    <a:pt x="19726" y="10468"/>
                    <a:pt x="18383" y="10785"/>
                    <a:pt x="18383" y="10468"/>
                  </a:cubicBezTo>
                  <a:cubicBezTo>
                    <a:pt x="18100" y="9159"/>
                    <a:pt x="18630" y="7871"/>
                    <a:pt x="18630" y="6583"/>
                  </a:cubicBezTo>
                  <a:cubicBezTo>
                    <a:pt x="18630" y="5929"/>
                    <a:pt x="18630" y="5127"/>
                    <a:pt x="18100" y="4493"/>
                  </a:cubicBezTo>
                  <a:cubicBezTo>
                    <a:pt x="17570" y="4007"/>
                    <a:pt x="15661" y="4007"/>
                    <a:pt x="15413" y="3353"/>
                  </a:cubicBezTo>
                  <a:cubicBezTo>
                    <a:pt x="15131" y="2403"/>
                    <a:pt x="16474" y="1579"/>
                    <a:pt x="16757" y="777"/>
                  </a:cubicBezTo>
                  <a:cubicBezTo>
                    <a:pt x="15131" y="777"/>
                    <a:pt x="13504" y="1094"/>
                    <a:pt x="11348" y="144"/>
                  </a:cubicBezTo>
                  <a:cubicBezTo>
                    <a:pt x="10005" y="-511"/>
                    <a:pt x="9722" y="1263"/>
                    <a:pt x="9191" y="1748"/>
                  </a:cubicBezTo>
                  <a:cubicBezTo>
                    <a:pt x="6222" y="5464"/>
                    <a:pt x="6222" y="5464"/>
                    <a:pt x="6222" y="5464"/>
                  </a:cubicBezTo>
                  <a:cubicBezTo>
                    <a:pt x="5692" y="6098"/>
                    <a:pt x="5409" y="7386"/>
                    <a:pt x="4596" y="7724"/>
                  </a:cubicBezTo>
                  <a:cubicBezTo>
                    <a:pt x="2970" y="8357"/>
                    <a:pt x="1343" y="8188"/>
                    <a:pt x="0" y="7871"/>
                  </a:cubicBezTo>
                  <a:cubicBezTo>
                    <a:pt x="283" y="8674"/>
                    <a:pt x="283" y="10616"/>
                    <a:pt x="1343" y="11271"/>
                  </a:cubicBezTo>
                  <a:cubicBezTo>
                    <a:pt x="1909" y="11588"/>
                    <a:pt x="3252" y="10933"/>
                    <a:pt x="3783" y="11419"/>
                  </a:cubicBezTo>
                  <a:cubicBezTo>
                    <a:pt x="4313" y="12390"/>
                    <a:pt x="2722" y="13678"/>
                    <a:pt x="3252" y="14649"/>
                  </a:cubicBezTo>
                  <a:cubicBezTo>
                    <a:pt x="3783" y="15283"/>
                    <a:pt x="5409" y="15135"/>
                    <a:pt x="5939" y="15599"/>
                  </a:cubicBezTo>
                  <a:cubicBezTo>
                    <a:pt x="6222" y="16085"/>
                    <a:pt x="5692" y="16571"/>
                    <a:pt x="5939" y="17056"/>
                  </a:cubicBezTo>
                  <a:cubicBezTo>
                    <a:pt x="5939" y="17056"/>
                    <a:pt x="6752" y="16887"/>
                    <a:pt x="6752" y="17056"/>
                  </a:cubicBezTo>
                  <a:cubicBezTo>
                    <a:pt x="6752" y="17859"/>
                    <a:pt x="6222" y="18492"/>
                    <a:pt x="6222" y="19146"/>
                  </a:cubicBezTo>
                  <a:cubicBezTo>
                    <a:pt x="6505" y="19632"/>
                    <a:pt x="7035" y="19949"/>
                    <a:pt x="7565" y="20266"/>
                  </a:cubicBezTo>
                  <a:cubicBezTo>
                    <a:pt x="7565" y="20434"/>
                    <a:pt x="7565" y="20751"/>
                    <a:pt x="7848" y="20920"/>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7" name="Shape 2522">
              <a:extLst>
                <a:ext uri="{FF2B5EF4-FFF2-40B4-BE49-F238E27FC236}">
                  <a16:creationId xmlns:a16="http://schemas.microsoft.com/office/drawing/2014/main" id="{3E6433EE-17FF-BE26-06F9-957D0F15CB4F}"/>
                </a:ext>
              </a:extLst>
            </p:cNvPr>
            <p:cNvSpPr/>
            <p:nvPr/>
          </p:nvSpPr>
          <p:spPr>
            <a:xfrm>
              <a:off x="406146" y="4250091"/>
              <a:ext cx="219320" cy="227108"/>
            </a:xfrm>
            <a:custGeom>
              <a:avLst/>
              <a:gdLst/>
              <a:ahLst/>
              <a:cxnLst>
                <a:cxn ang="0">
                  <a:pos x="wd2" y="hd2"/>
                </a:cxn>
                <a:cxn ang="5400000">
                  <a:pos x="wd2" y="hd2"/>
                </a:cxn>
                <a:cxn ang="10800000">
                  <a:pos x="wd2" y="hd2"/>
                </a:cxn>
                <a:cxn ang="16200000">
                  <a:pos x="wd2" y="hd2"/>
                </a:cxn>
              </a:cxnLst>
              <a:rect l="0" t="0" r="r" b="b"/>
              <a:pathLst>
                <a:path w="20861" h="21600" extrusionOk="0">
                  <a:moveTo>
                    <a:pt x="13725" y="739"/>
                  </a:moveTo>
                  <a:cubicBezTo>
                    <a:pt x="12761" y="514"/>
                    <a:pt x="11765" y="0"/>
                    <a:pt x="11025" y="0"/>
                  </a:cubicBezTo>
                  <a:cubicBezTo>
                    <a:pt x="9322" y="0"/>
                    <a:pt x="9065" y="514"/>
                    <a:pt x="7843" y="996"/>
                  </a:cubicBezTo>
                  <a:cubicBezTo>
                    <a:pt x="5400" y="514"/>
                    <a:pt x="5400" y="514"/>
                    <a:pt x="5400" y="514"/>
                  </a:cubicBezTo>
                  <a:cubicBezTo>
                    <a:pt x="4147" y="1479"/>
                    <a:pt x="3665" y="514"/>
                    <a:pt x="2186" y="1479"/>
                  </a:cubicBezTo>
                  <a:cubicBezTo>
                    <a:pt x="1961" y="1961"/>
                    <a:pt x="-739" y="4693"/>
                    <a:pt x="482" y="4918"/>
                  </a:cubicBezTo>
                  <a:cubicBezTo>
                    <a:pt x="482" y="5914"/>
                    <a:pt x="0" y="6879"/>
                    <a:pt x="0" y="8100"/>
                  </a:cubicBezTo>
                  <a:cubicBezTo>
                    <a:pt x="0" y="8614"/>
                    <a:pt x="0" y="8839"/>
                    <a:pt x="225" y="9096"/>
                  </a:cubicBezTo>
                  <a:cubicBezTo>
                    <a:pt x="740" y="9579"/>
                    <a:pt x="1704" y="9836"/>
                    <a:pt x="2186" y="10318"/>
                  </a:cubicBezTo>
                  <a:cubicBezTo>
                    <a:pt x="2700" y="10800"/>
                    <a:pt x="2700" y="11796"/>
                    <a:pt x="3182" y="12246"/>
                  </a:cubicBezTo>
                  <a:cubicBezTo>
                    <a:pt x="3665" y="12761"/>
                    <a:pt x="4147" y="12504"/>
                    <a:pt x="4661" y="12504"/>
                  </a:cubicBezTo>
                  <a:cubicBezTo>
                    <a:pt x="5143" y="12504"/>
                    <a:pt x="5400" y="11796"/>
                    <a:pt x="5882" y="11796"/>
                  </a:cubicBezTo>
                  <a:cubicBezTo>
                    <a:pt x="6847" y="11796"/>
                    <a:pt x="7843" y="11539"/>
                    <a:pt x="8325" y="12021"/>
                  </a:cubicBezTo>
                  <a:cubicBezTo>
                    <a:pt x="8807" y="12986"/>
                    <a:pt x="7104" y="14207"/>
                    <a:pt x="7586" y="14946"/>
                  </a:cubicBezTo>
                  <a:cubicBezTo>
                    <a:pt x="8325" y="15686"/>
                    <a:pt x="10061" y="14207"/>
                    <a:pt x="11025" y="14721"/>
                  </a:cubicBezTo>
                  <a:cubicBezTo>
                    <a:pt x="11765" y="15204"/>
                    <a:pt x="11765" y="16425"/>
                    <a:pt x="11765" y="17164"/>
                  </a:cubicBezTo>
                  <a:cubicBezTo>
                    <a:pt x="11765" y="17646"/>
                    <a:pt x="10800" y="17421"/>
                    <a:pt x="10800" y="17646"/>
                  </a:cubicBezTo>
                  <a:cubicBezTo>
                    <a:pt x="10800" y="17904"/>
                    <a:pt x="11025" y="18386"/>
                    <a:pt x="11540" y="18386"/>
                  </a:cubicBezTo>
                  <a:cubicBezTo>
                    <a:pt x="12022" y="18129"/>
                    <a:pt x="12279" y="17421"/>
                    <a:pt x="12761" y="17646"/>
                  </a:cubicBezTo>
                  <a:cubicBezTo>
                    <a:pt x="13982" y="18129"/>
                    <a:pt x="14722" y="19382"/>
                    <a:pt x="15686" y="20346"/>
                  </a:cubicBezTo>
                  <a:cubicBezTo>
                    <a:pt x="15943" y="20604"/>
                    <a:pt x="15943" y="21343"/>
                    <a:pt x="16200" y="21600"/>
                  </a:cubicBezTo>
                  <a:cubicBezTo>
                    <a:pt x="16425" y="21600"/>
                    <a:pt x="16682" y="21086"/>
                    <a:pt x="16907" y="21086"/>
                  </a:cubicBezTo>
                  <a:cubicBezTo>
                    <a:pt x="17422" y="21086"/>
                    <a:pt x="18161" y="21343"/>
                    <a:pt x="18643" y="21343"/>
                  </a:cubicBezTo>
                  <a:cubicBezTo>
                    <a:pt x="18900" y="21343"/>
                    <a:pt x="19125" y="20861"/>
                    <a:pt x="19382" y="20861"/>
                  </a:cubicBezTo>
                  <a:cubicBezTo>
                    <a:pt x="19865" y="20604"/>
                    <a:pt x="20379" y="20861"/>
                    <a:pt x="20861" y="20604"/>
                  </a:cubicBezTo>
                  <a:cubicBezTo>
                    <a:pt x="20604" y="20346"/>
                    <a:pt x="20604" y="19864"/>
                    <a:pt x="20604" y="19607"/>
                  </a:cubicBezTo>
                  <a:cubicBezTo>
                    <a:pt x="20122" y="19125"/>
                    <a:pt x="19640" y="18643"/>
                    <a:pt x="19382" y="17904"/>
                  </a:cubicBezTo>
                  <a:cubicBezTo>
                    <a:pt x="19382" y="16907"/>
                    <a:pt x="19865" y="15943"/>
                    <a:pt x="19865" y="14721"/>
                  </a:cubicBezTo>
                  <a:cubicBezTo>
                    <a:pt x="19865" y="14464"/>
                    <a:pt x="19125" y="14721"/>
                    <a:pt x="19125" y="14721"/>
                  </a:cubicBezTo>
                  <a:cubicBezTo>
                    <a:pt x="18900" y="13982"/>
                    <a:pt x="19382" y="13243"/>
                    <a:pt x="19125" y="12504"/>
                  </a:cubicBezTo>
                  <a:cubicBezTo>
                    <a:pt x="18643" y="11796"/>
                    <a:pt x="17165" y="12021"/>
                    <a:pt x="16682" y="11057"/>
                  </a:cubicBezTo>
                  <a:cubicBezTo>
                    <a:pt x="16200" y="9579"/>
                    <a:pt x="17647" y="7618"/>
                    <a:pt x="17165" y="6139"/>
                  </a:cubicBezTo>
                  <a:cubicBezTo>
                    <a:pt x="16682" y="5400"/>
                    <a:pt x="15461" y="6396"/>
                    <a:pt x="14947" y="5914"/>
                  </a:cubicBezTo>
                  <a:cubicBezTo>
                    <a:pt x="13982" y="4918"/>
                    <a:pt x="13982" y="1961"/>
                    <a:pt x="13725" y="73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8" name="Shape 2523">
              <a:extLst>
                <a:ext uri="{FF2B5EF4-FFF2-40B4-BE49-F238E27FC236}">
                  <a16:creationId xmlns:a16="http://schemas.microsoft.com/office/drawing/2014/main" id="{81B9E0BE-5EED-E059-DB5C-3039A77D6E7C}"/>
                </a:ext>
              </a:extLst>
            </p:cNvPr>
            <p:cNvSpPr/>
            <p:nvPr/>
          </p:nvSpPr>
          <p:spPr>
            <a:xfrm>
              <a:off x="696513" y="4098461"/>
              <a:ext cx="186116" cy="280624"/>
            </a:xfrm>
            <a:custGeom>
              <a:avLst/>
              <a:gdLst/>
              <a:ahLst/>
              <a:cxnLst>
                <a:cxn ang="0">
                  <a:pos x="wd2" y="hd2"/>
                </a:cxn>
                <a:cxn ang="5400000">
                  <a:pos x="wd2" y="hd2"/>
                </a:cxn>
                <a:cxn ang="10800000">
                  <a:pos x="wd2" y="hd2"/>
                </a:cxn>
                <a:cxn ang="16200000">
                  <a:pos x="wd2" y="hd2"/>
                </a:cxn>
              </a:cxnLst>
              <a:rect l="0" t="0" r="r" b="b"/>
              <a:pathLst>
                <a:path w="21333" h="21600" extrusionOk="0">
                  <a:moveTo>
                    <a:pt x="1514" y="3561"/>
                  </a:moveTo>
                  <a:cubicBezTo>
                    <a:pt x="1204" y="4549"/>
                    <a:pt x="-267" y="5562"/>
                    <a:pt x="43" y="6732"/>
                  </a:cubicBezTo>
                  <a:cubicBezTo>
                    <a:pt x="314" y="7538"/>
                    <a:pt x="2404" y="7538"/>
                    <a:pt x="2985" y="8136"/>
                  </a:cubicBezTo>
                  <a:cubicBezTo>
                    <a:pt x="3565" y="8916"/>
                    <a:pt x="3565" y="9903"/>
                    <a:pt x="3565" y="10709"/>
                  </a:cubicBezTo>
                  <a:cubicBezTo>
                    <a:pt x="3565" y="12295"/>
                    <a:pt x="2985" y="13880"/>
                    <a:pt x="3294" y="15492"/>
                  </a:cubicBezTo>
                  <a:cubicBezTo>
                    <a:pt x="3294" y="15882"/>
                    <a:pt x="4765" y="15492"/>
                    <a:pt x="4765" y="15882"/>
                  </a:cubicBezTo>
                  <a:cubicBezTo>
                    <a:pt x="4765" y="16479"/>
                    <a:pt x="3875" y="17259"/>
                    <a:pt x="3875" y="17857"/>
                  </a:cubicBezTo>
                  <a:cubicBezTo>
                    <a:pt x="3875" y="18247"/>
                    <a:pt x="4765" y="18247"/>
                    <a:pt x="5075" y="18663"/>
                  </a:cubicBezTo>
                  <a:cubicBezTo>
                    <a:pt x="5346" y="19443"/>
                    <a:pt x="5075" y="20248"/>
                    <a:pt x="5346" y="21028"/>
                  </a:cubicBezTo>
                  <a:cubicBezTo>
                    <a:pt x="5346" y="21236"/>
                    <a:pt x="5346" y="21418"/>
                    <a:pt x="5656" y="21600"/>
                  </a:cubicBezTo>
                  <a:cubicBezTo>
                    <a:pt x="6817" y="21236"/>
                    <a:pt x="8288" y="20638"/>
                    <a:pt x="9798" y="20638"/>
                  </a:cubicBezTo>
                  <a:cubicBezTo>
                    <a:pt x="10378" y="20638"/>
                    <a:pt x="10688" y="21418"/>
                    <a:pt x="11268" y="21600"/>
                  </a:cubicBezTo>
                  <a:cubicBezTo>
                    <a:pt x="11849" y="21600"/>
                    <a:pt x="12430" y="21418"/>
                    <a:pt x="13049" y="21236"/>
                  </a:cubicBezTo>
                  <a:cubicBezTo>
                    <a:pt x="13320" y="21028"/>
                    <a:pt x="13320" y="20430"/>
                    <a:pt x="13939" y="20248"/>
                  </a:cubicBezTo>
                  <a:cubicBezTo>
                    <a:pt x="14210" y="20040"/>
                    <a:pt x="14520" y="20040"/>
                    <a:pt x="15101" y="20040"/>
                  </a:cubicBezTo>
                  <a:cubicBezTo>
                    <a:pt x="15720" y="20248"/>
                    <a:pt x="15991" y="20430"/>
                    <a:pt x="16572" y="20430"/>
                  </a:cubicBezTo>
                  <a:cubicBezTo>
                    <a:pt x="17462" y="20430"/>
                    <a:pt x="18352" y="20430"/>
                    <a:pt x="18933" y="20248"/>
                  </a:cubicBezTo>
                  <a:cubicBezTo>
                    <a:pt x="19552" y="20040"/>
                    <a:pt x="19823" y="19651"/>
                    <a:pt x="20133" y="19235"/>
                  </a:cubicBezTo>
                  <a:cubicBezTo>
                    <a:pt x="19823" y="18663"/>
                    <a:pt x="19823" y="17857"/>
                    <a:pt x="19243" y="17077"/>
                  </a:cubicBezTo>
                  <a:cubicBezTo>
                    <a:pt x="18933" y="16869"/>
                    <a:pt x="18352" y="16869"/>
                    <a:pt x="18081" y="16661"/>
                  </a:cubicBezTo>
                  <a:cubicBezTo>
                    <a:pt x="17462" y="16271"/>
                    <a:pt x="17191" y="15674"/>
                    <a:pt x="17191" y="15076"/>
                  </a:cubicBezTo>
                  <a:cubicBezTo>
                    <a:pt x="16881" y="13880"/>
                    <a:pt x="17462" y="12684"/>
                    <a:pt x="17191" y="11307"/>
                  </a:cubicBezTo>
                  <a:cubicBezTo>
                    <a:pt x="16881" y="10709"/>
                    <a:pt x="15720" y="10319"/>
                    <a:pt x="15991" y="9721"/>
                  </a:cubicBezTo>
                  <a:cubicBezTo>
                    <a:pt x="15991" y="9331"/>
                    <a:pt x="17191" y="9721"/>
                    <a:pt x="17462" y="9331"/>
                  </a:cubicBezTo>
                  <a:cubicBezTo>
                    <a:pt x="18081" y="8344"/>
                    <a:pt x="17772" y="7148"/>
                    <a:pt x="18352" y="6134"/>
                  </a:cubicBezTo>
                  <a:cubicBezTo>
                    <a:pt x="18352" y="5952"/>
                    <a:pt x="18662" y="5562"/>
                    <a:pt x="18933" y="5562"/>
                  </a:cubicBezTo>
                  <a:cubicBezTo>
                    <a:pt x="19823" y="5355"/>
                    <a:pt x="20443" y="5355"/>
                    <a:pt x="21333" y="5355"/>
                  </a:cubicBezTo>
                  <a:cubicBezTo>
                    <a:pt x="21023" y="4367"/>
                    <a:pt x="21023" y="3561"/>
                    <a:pt x="20714" y="2573"/>
                  </a:cubicBezTo>
                  <a:cubicBezTo>
                    <a:pt x="20714" y="2183"/>
                    <a:pt x="20443" y="1586"/>
                    <a:pt x="20443" y="1170"/>
                  </a:cubicBezTo>
                  <a:cubicBezTo>
                    <a:pt x="20133" y="598"/>
                    <a:pt x="20443" y="598"/>
                    <a:pt x="20443" y="0"/>
                  </a:cubicBezTo>
                  <a:cubicBezTo>
                    <a:pt x="10959" y="1768"/>
                    <a:pt x="10959" y="1768"/>
                    <a:pt x="10959" y="1768"/>
                  </a:cubicBezTo>
                  <a:cubicBezTo>
                    <a:pt x="7707" y="2781"/>
                    <a:pt x="7436" y="4159"/>
                    <a:pt x="4456" y="3769"/>
                  </a:cubicBezTo>
                  <a:cubicBezTo>
                    <a:pt x="3294" y="3561"/>
                    <a:pt x="2404" y="3561"/>
                    <a:pt x="1514" y="3561"/>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69" name="Shape 2524">
              <a:extLst>
                <a:ext uri="{FF2B5EF4-FFF2-40B4-BE49-F238E27FC236}">
                  <a16:creationId xmlns:a16="http://schemas.microsoft.com/office/drawing/2014/main" id="{7E3F205F-FBAD-BF60-3BD3-FE637BC69B18}"/>
                </a:ext>
              </a:extLst>
            </p:cNvPr>
            <p:cNvSpPr/>
            <p:nvPr/>
          </p:nvSpPr>
          <p:spPr>
            <a:xfrm>
              <a:off x="874055" y="4015647"/>
              <a:ext cx="286543" cy="299517"/>
            </a:xfrm>
            <a:custGeom>
              <a:avLst/>
              <a:gdLst/>
              <a:ahLst/>
              <a:cxnLst>
                <a:cxn ang="0">
                  <a:pos x="wd2" y="hd2"/>
                </a:cxn>
                <a:cxn ang="5400000">
                  <a:pos x="wd2" y="hd2"/>
                </a:cxn>
                <a:cxn ang="10800000">
                  <a:pos x="wd2" y="hd2"/>
                </a:cxn>
                <a:cxn ang="16200000">
                  <a:pos x="wd2" y="hd2"/>
                </a:cxn>
              </a:cxnLst>
              <a:rect l="0" t="0" r="r" b="b"/>
              <a:pathLst>
                <a:path w="21488" h="21462" extrusionOk="0">
                  <a:moveTo>
                    <a:pt x="12621" y="1507"/>
                  </a:moveTo>
                  <a:cubicBezTo>
                    <a:pt x="11459" y="1144"/>
                    <a:pt x="10499" y="1507"/>
                    <a:pt x="9336" y="1507"/>
                  </a:cubicBezTo>
                  <a:cubicBezTo>
                    <a:pt x="9336" y="1144"/>
                    <a:pt x="9917" y="781"/>
                    <a:pt x="10120" y="588"/>
                  </a:cubicBezTo>
                  <a:cubicBezTo>
                    <a:pt x="10322" y="418"/>
                    <a:pt x="10499" y="-138"/>
                    <a:pt x="10903" y="31"/>
                  </a:cubicBezTo>
                  <a:cubicBezTo>
                    <a:pt x="11863" y="418"/>
                    <a:pt x="12823" y="781"/>
                    <a:pt x="13985" y="781"/>
                  </a:cubicBezTo>
                  <a:cubicBezTo>
                    <a:pt x="13985" y="1144"/>
                    <a:pt x="13581" y="1507"/>
                    <a:pt x="13581" y="2063"/>
                  </a:cubicBezTo>
                  <a:cubicBezTo>
                    <a:pt x="13404" y="2426"/>
                    <a:pt x="13404" y="2982"/>
                    <a:pt x="13202" y="3369"/>
                  </a:cubicBezTo>
                  <a:cubicBezTo>
                    <a:pt x="13000" y="3732"/>
                    <a:pt x="12823" y="3732"/>
                    <a:pt x="12823" y="3369"/>
                  </a:cubicBezTo>
                  <a:cubicBezTo>
                    <a:pt x="12621" y="2982"/>
                    <a:pt x="12823" y="2426"/>
                    <a:pt x="13000" y="2063"/>
                  </a:cubicBezTo>
                  <a:cubicBezTo>
                    <a:pt x="12621" y="1507"/>
                    <a:pt x="12621" y="1507"/>
                    <a:pt x="12621" y="1507"/>
                  </a:cubicBezTo>
                  <a:close/>
                  <a:moveTo>
                    <a:pt x="21488" y="17229"/>
                  </a:moveTo>
                  <a:cubicBezTo>
                    <a:pt x="20932" y="17036"/>
                    <a:pt x="20149" y="17036"/>
                    <a:pt x="19770" y="16842"/>
                  </a:cubicBezTo>
                  <a:cubicBezTo>
                    <a:pt x="17825" y="16673"/>
                    <a:pt x="18810" y="15560"/>
                    <a:pt x="19189" y="14085"/>
                  </a:cubicBezTo>
                  <a:cubicBezTo>
                    <a:pt x="20528" y="10021"/>
                    <a:pt x="19189" y="9078"/>
                    <a:pt x="15905" y="6683"/>
                  </a:cubicBezTo>
                  <a:cubicBezTo>
                    <a:pt x="13783" y="5208"/>
                    <a:pt x="12823" y="5570"/>
                    <a:pt x="10120" y="5570"/>
                  </a:cubicBezTo>
                  <a:cubicBezTo>
                    <a:pt x="9160" y="5570"/>
                    <a:pt x="7997" y="4845"/>
                    <a:pt x="7037" y="4845"/>
                  </a:cubicBezTo>
                  <a:cubicBezTo>
                    <a:pt x="5673" y="4845"/>
                    <a:pt x="4132" y="5764"/>
                    <a:pt x="2970" y="4482"/>
                  </a:cubicBezTo>
                  <a:cubicBezTo>
                    <a:pt x="2212" y="3732"/>
                    <a:pt x="90" y="4845"/>
                    <a:pt x="90" y="5957"/>
                  </a:cubicBezTo>
                  <a:cubicBezTo>
                    <a:pt x="90" y="6514"/>
                    <a:pt x="-112" y="6514"/>
                    <a:pt x="90" y="7046"/>
                  </a:cubicBezTo>
                  <a:cubicBezTo>
                    <a:pt x="90" y="7433"/>
                    <a:pt x="267" y="7989"/>
                    <a:pt x="267" y="8352"/>
                  </a:cubicBezTo>
                  <a:cubicBezTo>
                    <a:pt x="469" y="9271"/>
                    <a:pt x="469" y="10021"/>
                    <a:pt x="671" y="10940"/>
                  </a:cubicBezTo>
                  <a:cubicBezTo>
                    <a:pt x="1227" y="10577"/>
                    <a:pt x="1808" y="9828"/>
                    <a:pt x="2591" y="9828"/>
                  </a:cubicBezTo>
                  <a:cubicBezTo>
                    <a:pt x="2970" y="9828"/>
                    <a:pt x="2970" y="10577"/>
                    <a:pt x="3172" y="10747"/>
                  </a:cubicBezTo>
                  <a:cubicBezTo>
                    <a:pt x="3374" y="10940"/>
                    <a:pt x="3753" y="10577"/>
                    <a:pt x="3955" y="10577"/>
                  </a:cubicBezTo>
                  <a:cubicBezTo>
                    <a:pt x="4132" y="10940"/>
                    <a:pt x="4132" y="11496"/>
                    <a:pt x="4511" y="11666"/>
                  </a:cubicBezTo>
                  <a:cubicBezTo>
                    <a:pt x="5092" y="11666"/>
                    <a:pt x="5673" y="10940"/>
                    <a:pt x="6254" y="11134"/>
                  </a:cubicBezTo>
                  <a:cubicBezTo>
                    <a:pt x="6835" y="11303"/>
                    <a:pt x="7416" y="11859"/>
                    <a:pt x="7795" y="12222"/>
                  </a:cubicBezTo>
                  <a:cubicBezTo>
                    <a:pt x="7997" y="12416"/>
                    <a:pt x="7795" y="12972"/>
                    <a:pt x="8174" y="13165"/>
                  </a:cubicBezTo>
                  <a:cubicBezTo>
                    <a:pt x="8755" y="13335"/>
                    <a:pt x="9336" y="13165"/>
                    <a:pt x="10120" y="12972"/>
                  </a:cubicBezTo>
                  <a:cubicBezTo>
                    <a:pt x="10499" y="12778"/>
                    <a:pt x="10903" y="12609"/>
                    <a:pt x="11282" y="12416"/>
                  </a:cubicBezTo>
                  <a:cubicBezTo>
                    <a:pt x="11459" y="12416"/>
                    <a:pt x="12040" y="11859"/>
                    <a:pt x="12040" y="12222"/>
                  </a:cubicBezTo>
                  <a:cubicBezTo>
                    <a:pt x="12444" y="13165"/>
                    <a:pt x="12040" y="14085"/>
                    <a:pt x="12040" y="15004"/>
                  </a:cubicBezTo>
                  <a:cubicBezTo>
                    <a:pt x="12242" y="15560"/>
                    <a:pt x="12621" y="16116"/>
                    <a:pt x="12823" y="16673"/>
                  </a:cubicBezTo>
                  <a:cubicBezTo>
                    <a:pt x="13000" y="17229"/>
                    <a:pt x="13404" y="17592"/>
                    <a:pt x="13783" y="18148"/>
                  </a:cubicBezTo>
                  <a:cubicBezTo>
                    <a:pt x="13985" y="18148"/>
                    <a:pt x="14541" y="17955"/>
                    <a:pt x="14743" y="18148"/>
                  </a:cubicBezTo>
                  <a:cubicBezTo>
                    <a:pt x="15324" y="18874"/>
                    <a:pt x="15122" y="20180"/>
                    <a:pt x="15703" y="20906"/>
                  </a:cubicBezTo>
                  <a:cubicBezTo>
                    <a:pt x="16107" y="21293"/>
                    <a:pt x="16688" y="21293"/>
                    <a:pt x="17269" y="21462"/>
                  </a:cubicBezTo>
                  <a:cubicBezTo>
                    <a:pt x="17648" y="20906"/>
                    <a:pt x="18027" y="20180"/>
                    <a:pt x="18608" y="19624"/>
                  </a:cubicBezTo>
                  <a:cubicBezTo>
                    <a:pt x="18987" y="19067"/>
                    <a:pt x="19568" y="18705"/>
                    <a:pt x="20149" y="18148"/>
                  </a:cubicBezTo>
                  <a:cubicBezTo>
                    <a:pt x="20932" y="17592"/>
                    <a:pt x="20730" y="17955"/>
                    <a:pt x="21488" y="17229"/>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0" name="Shape 2525">
              <a:extLst>
                <a:ext uri="{FF2B5EF4-FFF2-40B4-BE49-F238E27FC236}">
                  <a16:creationId xmlns:a16="http://schemas.microsoft.com/office/drawing/2014/main" id="{C3727ACA-6E5A-CAA3-DA0F-283857ABF9F3}"/>
                </a:ext>
              </a:extLst>
            </p:cNvPr>
            <p:cNvSpPr/>
            <p:nvPr/>
          </p:nvSpPr>
          <p:spPr>
            <a:xfrm>
              <a:off x="1478171" y="3459236"/>
              <a:ext cx="496427" cy="440853"/>
            </a:xfrm>
            <a:custGeom>
              <a:avLst/>
              <a:gdLst/>
              <a:ahLst/>
              <a:cxnLst>
                <a:cxn ang="0">
                  <a:pos x="wd2" y="hd2"/>
                </a:cxn>
                <a:cxn ang="5400000">
                  <a:pos x="wd2" y="hd2"/>
                </a:cxn>
                <a:cxn ang="10800000">
                  <a:pos x="wd2" y="hd2"/>
                </a:cxn>
                <a:cxn ang="16200000">
                  <a:pos x="wd2" y="hd2"/>
                </a:cxn>
              </a:cxnLst>
              <a:rect l="0" t="0" r="r" b="b"/>
              <a:pathLst>
                <a:path w="21356" h="21512" extrusionOk="0">
                  <a:moveTo>
                    <a:pt x="2553" y="20975"/>
                  </a:moveTo>
                  <a:cubicBezTo>
                    <a:pt x="2321" y="20844"/>
                    <a:pt x="1769" y="20466"/>
                    <a:pt x="1552" y="20351"/>
                  </a:cubicBezTo>
                  <a:cubicBezTo>
                    <a:pt x="1436" y="20219"/>
                    <a:pt x="1436" y="20351"/>
                    <a:pt x="1436" y="20219"/>
                  </a:cubicBezTo>
                  <a:cubicBezTo>
                    <a:pt x="1334" y="20088"/>
                    <a:pt x="1334" y="18970"/>
                    <a:pt x="1334" y="18707"/>
                  </a:cubicBezTo>
                  <a:cubicBezTo>
                    <a:pt x="551" y="18329"/>
                    <a:pt x="884" y="17458"/>
                    <a:pt x="884" y="16833"/>
                  </a:cubicBezTo>
                  <a:cubicBezTo>
                    <a:pt x="884" y="15945"/>
                    <a:pt x="884" y="15452"/>
                    <a:pt x="551" y="14696"/>
                  </a:cubicBezTo>
                  <a:cubicBezTo>
                    <a:pt x="-218" y="13184"/>
                    <a:pt x="-218" y="12559"/>
                    <a:pt x="783" y="11063"/>
                  </a:cubicBezTo>
                  <a:cubicBezTo>
                    <a:pt x="1334" y="10044"/>
                    <a:pt x="1885" y="9551"/>
                    <a:pt x="2437" y="8663"/>
                  </a:cubicBezTo>
                  <a:cubicBezTo>
                    <a:pt x="3655" y="7036"/>
                    <a:pt x="4322" y="9666"/>
                    <a:pt x="4990" y="10800"/>
                  </a:cubicBezTo>
                  <a:cubicBezTo>
                    <a:pt x="5759" y="12066"/>
                    <a:pt x="5091" y="13447"/>
                    <a:pt x="5323" y="14696"/>
                  </a:cubicBezTo>
                  <a:cubicBezTo>
                    <a:pt x="6310" y="15074"/>
                    <a:pt x="6644" y="15699"/>
                    <a:pt x="6092" y="16701"/>
                  </a:cubicBezTo>
                  <a:cubicBezTo>
                    <a:pt x="5323" y="17967"/>
                    <a:pt x="6208" y="17326"/>
                    <a:pt x="6644" y="18082"/>
                  </a:cubicBezTo>
                  <a:cubicBezTo>
                    <a:pt x="6760" y="18214"/>
                    <a:pt x="6426" y="18970"/>
                    <a:pt x="6542" y="19348"/>
                  </a:cubicBezTo>
                  <a:cubicBezTo>
                    <a:pt x="6644" y="19595"/>
                    <a:pt x="7195" y="21222"/>
                    <a:pt x="6310" y="20975"/>
                  </a:cubicBezTo>
                  <a:cubicBezTo>
                    <a:pt x="5657" y="20844"/>
                    <a:pt x="5759" y="21107"/>
                    <a:pt x="5207" y="21353"/>
                  </a:cubicBezTo>
                  <a:cubicBezTo>
                    <a:pt x="4439" y="21600"/>
                    <a:pt x="4540" y="21485"/>
                    <a:pt x="3771" y="21485"/>
                  </a:cubicBezTo>
                  <a:cubicBezTo>
                    <a:pt x="2553" y="20975"/>
                    <a:pt x="2553" y="20975"/>
                    <a:pt x="2553" y="20975"/>
                  </a:cubicBezTo>
                  <a:close/>
                  <a:moveTo>
                    <a:pt x="10082" y="6921"/>
                  </a:moveTo>
                  <a:cubicBezTo>
                    <a:pt x="10082" y="6658"/>
                    <a:pt x="10198" y="6411"/>
                    <a:pt x="10299" y="6279"/>
                  </a:cubicBezTo>
                  <a:cubicBezTo>
                    <a:pt x="10299" y="6033"/>
                    <a:pt x="10415" y="5786"/>
                    <a:pt x="10531" y="5655"/>
                  </a:cubicBezTo>
                  <a:cubicBezTo>
                    <a:pt x="10633" y="5408"/>
                    <a:pt x="10865" y="5030"/>
                    <a:pt x="11082" y="5277"/>
                  </a:cubicBezTo>
                  <a:cubicBezTo>
                    <a:pt x="11184" y="5523"/>
                    <a:pt x="11184" y="5786"/>
                    <a:pt x="11184" y="6033"/>
                  </a:cubicBezTo>
                  <a:cubicBezTo>
                    <a:pt x="11300" y="6164"/>
                    <a:pt x="11300" y="6411"/>
                    <a:pt x="11300" y="6542"/>
                  </a:cubicBezTo>
                  <a:cubicBezTo>
                    <a:pt x="11184" y="6542"/>
                    <a:pt x="11082" y="6658"/>
                    <a:pt x="10966" y="6658"/>
                  </a:cubicBezTo>
                  <a:cubicBezTo>
                    <a:pt x="10865" y="6789"/>
                    <a:pt x="10749" y="6921"/>
                    <a:pt x="10633" y="7036"/>
                  </a:cubicBezTo>
                  <a:cubicBezTo>
                    <a:pt x="10633" y="7167"/>
                    <a:pt x="10531" y="7167"/>
                    <a:pt x="10415" y="7167"/>
                  </a:cubicBezTo>
                  <a:cubicBezTo>
                    <a:pt x="10299" y="7282"/>
                    <a:pt x="10299" y="7414"/>
                    <a:pt x="10198" y="7545"/>
                  </a:cubicBezTo>
                  <a:cubicBezTo>
                    <a:pt x="10082" y="6921"/>
                    <a:pt x="10082" y="6921"/>
                    <a:pt x="10082" y="6921"/>
                  </a:cubicBezTo>
                  <a:close/>
                  <a:moveTo>
                    <a:pt x="11518" y="625"/>
                  </a:moveTo>
                  <a:cubicBezTo>
                    <a:pt x="11416" y="1512"/>
                    <a:pt x="11416" y="2400"/>
                    <a:pt x="11518" y="3271"/>
                  </a:cubicBezTo>
                  <a:cubicBezTo>
                    <a:pt x="11967" y="6411"/>
                    <a:pt x="11967" y="6411"/>
                    <a:pt x="11967" y="6411"/>
                  </a:cubicBezTo>
                  <a:cubicBezTo>
                    <a:pt x="12069" y="7036"/>
                    <a:pt x="11518" y="7414"/>
                    <a:pt x="11184" y="7792"/>
                  </a:cubicBezTo>
                  <a:cubicBezTo>
                    <a:pt x="10865" y="8301"/>
                    <a:pt x="11082" y="9666"/>
                    <a:pt x="11518" y="9929"/>
                  </a:cubicBezTo>
                  <a:cubicBezTo>
                    <a:pt x="12301" y="10422"/>
                    <a:pt x="12852" y="11556"/>
                    <a:pt x="12968" y="12444"/>
                  </a:cubicBezTo>
                  <a:cubicBezTo>
                    <a:pt x="14071" y="12690"/>
                    <a:pt x="15507" y="13315"/>
                    <a:pt x="16058" y="14564"/>
                  </a:cubicBezTo>
                  <a:cubicBezTo>
                    <a:pt x="16290" y="14696"/>
                    <a:pt x="16958" y="14827"/>
                    <a:pt x="17175" y="14827"/>
                  </a:cubicBezTo>
                  <a:cubicBezTo>
                    <a:pt x="17509" y="14827"/>
                    <a:pt x="17726" y="14696"/>
                    <a:pt x="18060" y="14564"/>
                  </a:cubicBezTo>
                  <a:cubicBezTo>
                    <a:pt x="18510" y="14186"/>
                    <a:pt x="18843" y="13693"/>
                    <a:pt x="19279" y="13184"/>
                  </a:cubicBezTo>
                  <a:cubicBezTo>
                    <a:pt x="19395" y="12444"/>
                    <a:pt x="19395" y="12444"/>
                    <a:pt x="19395" y="12444"/>
                  </a:cubicBezTo>
                  <a:cubicBezTo>
                    <a:pt x="19496" y="12312"/>
                    <a:pt x="19728" y="12181"/>
                    <a:pt x="19728" y="12066"/>
                  </a:cubicBezTo>
                  <a:cubicBezTo>
                    <a:pt x="19946" y="11803"/>
                    <a:pt x="19830" y="11425"/>
                    <a:pt x="20047" y="11178"/>
                  </a:cubicBezTo>
                  <a:cubicBezTo>
                    <a:pt x="20381" y="10932"/>
                    <a:pt x="20947" y="11063"/>
                    <a:pt x="21280" y="10800"/>
                  </a:cubicBezTo>
                  <a:cubicBezTo>
                    <a:pt x="21382" y="10685"/>
                    <a:pt x="21382" y="10422"/>
                    <a:pt x="21280" y="10422"/>
                  </a:cubicBezTo>
                  <a:cubicBezTo>
                    <a:pt x="21048" y="10307"/>
                    <a:pt x="20831" y="10553"/>
                    <a:pt x="20613" y="10553"/>
                  </a:cubicBezTo>
                  <a:cubicBezTo>
                    <a:pt x="20497" y="10422"/>
                    <a:pt x="20381" y="10175"/>
                    <a:pt x="20163" y="10307"/>
                  </a:cubicBezTo>
                  <a:cubicBezTo>
                    <a:pt x="19830" y="10422"/>
                    <a:pt x="19612" y="11178"/>
                    <a:pt x="19163" y="11178"/>
                  </a:cubicBezTo>
                  <a:cubicBezTo>
                    <a:pt x="18945" y="11178"/>
                    <a:pt x="18727" y="10685"/>
                    <a:pt x="18611" y="10553"/>
                  </a:cubicBezTo>
                  <a:cubicBezTo>
                    <a:pt x="18510" y="10307"/>
                    <a:pt x="18176" y="10175"/>
                    <a:pt x="18278" y="10044"/>
                  </a:cubicBezTo>
                  <a:cubicBezTo>
                    <a:pt x="18394" y="9797"/>
                    <a:pt x="18727" y="9666"/>
                    <a:pt x="18945" y="9419"/>
                  </a:cubicBezTo>
                  <a:cubicBezTo>
                    <a:pt x="19279" y="8926"/>
                    <a:pt x="19496" y="8170"/>
                    <a:pt x="19830" y="7660"/>
                  </a:cubicBezTo>
                  <a:cubicBezTo>
                    <a:pt x="20047" y="7282"/>
                    <a:pt x="20280" y="7036"/>
                    <a:pt x="20497" y="6789"/>
                  </a:cubicBezTo>
                  <a:cubicBezTo>
                    <a:pt x="20047" y="5786"/>
                    <a:pt x="20047" y="5786"/>
                    <a:pt x="20047" y="5786"/>
                  </a:cubicBezTo>
                  <a:cubicBezTo>
                    <a:pt x="19946" y="5523"/>
                    <a:pt x="19830" y="5277"/>
                    <a:pt x="19728" y="5277"/>
                  </a:cubicBezTo>
                  <a:cubicBezTo>
                    <a:pt x="19279" y="5277"/>
                    <a:pt x="19061" y="5901"/>
                    <a:pt x="18727" y="6033"/>
                  </a:cubicBezTo>
                  <a:cubicBezTo>
                    <a:pt x="18394" y="6033"/>
                    <a:pt x="18278" y="5408"/>
                    <a:pt x="18060" y="5408"/>
                  </a:cubicBezTo>
                  <a:cubicBezTo>
                    <a:pt x="17842" y="5408"/>
                    <a:pt x="17842" y="5901"/>
                    <a:pt x="17625" y="5786"/>
                  </a:cubicBezTo>
                  <a:cubicBezTo>
                    <a:pt x="17393" y="5655"/>
                    <a:pt x="17625" y="5145"/>
                    <a:pt x="17393" y="4784"/>
                  </a:cubicBezTo>
                  <a:cubicBezTo>
                    <a:pt x="17291" y="4521"/>
                    <a:pt x="17175" y="4274"/>
                    <a:pt x="16958" y="4142"/>
                  </a:cubicBezTo>
                  <a:cubicBezTo>
                    <a:pt x="16725" y="4027"/>
                    <a:pt x="16508" y="4142"/>
                    <a:pt x="16290" y="3896"/>
                  </a:cubicBezTo>
                  <a:cubicBezTo>
                    <a:pt x="16174" y="3781"/>
                    <a:pt x="16392" y="3518"/>
                    <a:pt x="16174" y="3403"/>
                  </a:cubicBezTo>
                  <a:cubicBezTo>
                    <a:pt x="15841" y="3025"/>
                    <a:pt x="15173" y="2893"/>
                    <a:pt x="14956" y="2400"/>
                  </a:cubicBezTo>
                  <a:cubicBezTo>
                    <a:pt x="14854" y="2137"/>
                    <a:pt x="15405" y="2022"/>
                    <a:pt x="15623" y="1890"/>
                  </a:cubicBezTo>
                  <a:cubicBezTo>
                    <a:pt x="15507" y="1644"/>
                    <a:pt x="15405" y="1381"/>
                    <a:pt x="15289" y="1266"/>
                  </a:cubicBezTo>
                  <a:cubicBezTo>
                    <a:pt x="15173" y="1134"/>
                    <a:pt x="14956" y="1134"/>
                    <a:pt x="14738" y="888"/>
                  </a:cubicBezTo>
                  <a:cubicBezTo>
                    <a:pt x="14622" y="625"/>
                    <a:pt x="14738" y="132"/>
                    <a:pt x="14520" y="0"/>
                  </a:cubicBezTo>
                  <a:cubicBezTo>
                    <a:pt x="14187" y="0"/>
                    <a:pt x="14187" y="510"/>
                    <a:pt x="13853" y="625"/>
                  </a:cubicBezTo>
                  <a:cubicBezTo>
                    <a:pt x="13636" y="756"/>
                    <a:pt x="13302" y="888"/>
                    <a:pt x="13070" y="888"/>
                  </a:cubicBezTo>
                  <a:cubicBezTo>
                    <a:pt x="12519" y="888"/>
                    <a:pt x="12069" y="625"/>
                    <a:pt x="11518" y="625"/>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1" name="Shape 2526">
              <a:extLst>
                <a:ext uri="{FF2B5EF4-FFF2-40B4-BE49-F238E27FC236}">
                  <a16:creationId xmlns:a16="http://schemas.microsoft.com/office/drawing/2014/main" id="{2972EB43-A07E-276E-0C67-99330416F94B}"/>
                </a:ext>
              </a:extLst>
            </p:cNvPr>
            <p:cNvSpPr/>
            <p:nvPr/>
          </p:nvSpPr>
          <p:spPr>
            <a:xfrm>
              <a:off x="625948" y="2705543"/>
              <a:ext cx="1301022" cy="1331630"/>
            </a:xfrm>
            <a:custGeom>
              <a:avLst/>
              <a:gdLst/>
              <a:ahLst/>
              <a:cxnLst>
                <a:cxn ang="0">
                  <a:pos x="wd2" y="hd2"/>
                </a:cxn>
                <a:cxn ang="5400000">
                  <a:pos x="wd2" y="hd2"/>
                </a:cxn>
                <a:cxn ang="10800000">
                  <a:pos x="wd2" y="hd2"/>
                </a:cxn>
                <a:cxn ang="16200000">
                  <a:pos x="wd2" y="hd2"/>
                </a:cxn>
              </a:cxnLst>
              <a:rect l="0" t="0" r="r" b="b"/>
              <a:pathLst>
                <a:path w="21513" h="21480" extrusionOk="0">
                  <a:moveTo>
                    <a:pt x="17031" y="14579"/>
                  </a:moveTo>
                  <a:cubicBezTo>
                    <a:pt x="16902" y="14460"/>
                    <a:pt x="16858" y="14248"/>
                    <a:pt x="16735" y="14123"/>
                  </a:cubicBezTo>
                  <a:cubicBezTo>
                    <a:pt x="16646" y="13998"/>
                    <a:pt x="16306" y="13666"/>
                    <a:pt x="16350" y="13503"/>
                  </a:cubicBezTo>
                  <a:cubicBezTo>
                    <a:pt x="16395" y="13084"/>
                    <a:pt x="16267" y="13046"/>
                    <a:pt x="16010" y="12752"/>
                  </a:cubicBezTo>
                  <a:cubicBezTo>
                    <a:pt x="15921" y="12671"/>
                    <a:pt x="15753" y="12464"/>
                    <a:pt x="15709" y="12377"/>
                  </a:cubicBezTo>
                  <a:cubicBezTo>
                    <a:pt x="15709" y="12339"/>
                    <a:pt x="15882" y="12007"/>
                    <a:pt x="15921" y="12007"/>
                  </a:cubicBezTo>
                  <a:cubicBezTo>
                    <a:pt x="16010" y="12007"/>
                    <a:pt x="16646" y="12589"/>
                    <a:pt x="16735" y="12714"/>
                  </a:cubicBezTo>
                  <a:cubicBezTo>
                    <a:pt x="16819" y="12796"/>
                    <a:pt x="16858" y="12921"/>
                    <a:pt x="16902" y="13002"/>
                  </a:cubicBezTo>
                  <a:cubicBezTo>
                    <a:pt x="16947" y="13084"/>
                    <a:pt x="17075" y="13084"/>
                    <a:pt x="17159" y="13171"/>
                  </a:cubicBezTo>
                  <a:cubicBezTo>
                    <a:pt x="17287" y="13253"/>
                    <a:pt x="17454" y="14123"/>
                    <a:pt x="17371" y="14248"/>
                  </a:cubicBezTo>
                  <a:cubicBezTo>
                    <a:pt x="17203" y="14416"/>
                    <a:pt x="17326" y="14460"/>
                    <a:pt x="17454" y="14579"/>
                  </a:cubicBezTo>
                  <a:cubicBezTo>
                    <a:pt x="17627" y="14830"/>
                    <a:pt x="17243" y="14830"/>
                    <a:pt x="17075" y="14792"/>
                  </a:cubicBezTo>
                  <a:cubicBezTo>
                    <a:pt x="17031" y="14579"/>
                    <a:pt x="17031" y="14579"/>
                    <a:pt x="17031" y="14579"/>
                  </a:cubicBezTo>
                  <a:close/>
                  <a:moveTo>
                    <a:pt x="10768" y="16118"/>
                  </a:moveTo>
                  <a:cubicBezTo>
                    <a:pt x="10639" y="15950"/>
                    <a:pt x="10639" y="15662"/>
                    <a:pt x="10768" y="15493"/>
                  </a:cubicBezTo>
                  <a:cubicBezTo>
                    <a:pt x="10812" y="15411"/>
                    <a:pt x="10851" y="15286"/>
                    <a:pt x="10896" y="15205"/>
                  </a:cubicBezTo>
                  <a:cubicBezTo>
                    <a:pt x="10896" y="15161"/>
                    <a:pt x="10896" y="15123"/>
                    <a:pt x="10940" y="15080"/>
                  </a:cubicBezTo>
                  <a:cubicBezTo>
                    <a:pt x="10940" y="15036"/>
                    <a:pt x="11024" y="14955"/>
                    <a:pt x="11024" y="14917"/>
                  </a:cubicBezTo>
                  <a:cubicBezTo>
                    <a:pt x="11108" y="15123"/>
                    <a:pt x="11024" y="15368"/>
                    <a:pt x="10940" y="15580"/>
                  </a:cubicBezTo>
                  <a:cubicBezTo>
                    <a:pt x="10940" y="15662"/>
                    <a:pt x="10940" y="15705"/>
                    <a:pt x="10940" y="15787"/>
                  </a:cubicBezTo>
                  <a:cubicBezTo>
                    <a:pt x="10940" y="15912"/>
                    <a:pt x="10896" y="15993"/>
                    <a:pt x="10896" y="16075"/>
                  </a:cubicBezTo>
                  <a:cubicBezTo>
                    <a:pt x="10768" y="16118"/>
                    <a:pt x="10768" y="16118"/>
                    <a:pt x="10768" y="16118"/>
                  </a:cubicBezTo>
                  <a:close/>
                  <a:moveTo>
                    <a:pt x="4125" y="15368"/>
                  </a:moveTo>
                  <a:cubicBezTo>
                    <a:pt x="4293" y="15248"/>
                    <a:pt x="4253" y="14792"/>
                    <a:pt x="4465" y="14541"/>
                  </a:cubicBezTo>
                  <a:cubicBezTo>
                    <a:pt x="4633" y="14373"/>
                    <a:pt x="4889" y="13960"/>
                    <a:pt x="4465" y="13916"/>
                  </a:cubicBezTo>
                  <a:cubicBezTo>
                    <a:pt x="4465" y="13873"/>
                    <a:pt x="4465" y="13873"/>
                    <a:pt x="4465" y="13873"/>
                  </a:cubicBezTo>
                  <a:cubicBezTo>
                    <a:pt x="4421" y="13873"/>
                    <a:pt x="4421" y="13873"/>
                    <a:pt x="4421" y="13834"/>
                  </a:cubicBezTo>
                  <a:cubicBezTo>
                    <a:pt x="4761" y="13709"/>
                    <a:pt x="4594" y="12964"/>
                    <a:pt x="4761" y="12921"/>
                  </a:cubicBezTo>
                  <a:cubicBezTo>
                    <a:pt x="5062" y="12839"/>
                    <a:pt x="5486" y="12839"/>
                    <a:pt x="5614" y="12464"/>
                  </a:cubicBezTo>
                  <a:cubicBezTo>
                    <a:pt x="5782" y="12464"/>
                    <a:pt x="6038" y="12752"/>
                    <a:pt x="6211" y="12589"/>
                  </a:cubicBezTo>
                  <a:cubicBezTo>
                    <a:pt x="6339" y="12464"/>
                    <a:pt x="6680" y="12007"/>
                    <a:pt x="6808" y="12007"/>
                  </a:cubicBezTo>
                  <a:cubicBezTo>
                    <a:pt x="6852" y="11882"/>
                    <a:pt x="7276" y="11757"/>
                    <a:pt x="7405" y="11714"/>
                  </a:cubicBezTo>
                  <a:cubicBezTo>
                    <a:pt x="7700" y="11550"/>
                    <a:pt x="7533" y="11882"/>
                    <a:pt x="7488" y="12089"/>
                  </a:cubicBezTo>
                  <a:cubicBezTo>
                    <a:pt x="7444" y="12214"/>
                    <a:pt x="7616" y="13046"/>
                    <a:pt x="7661" y="13209"/>
                  </a:cubicBezTo>
                  <a:cubicBezTo>
                    <a:pt x="7789" y="13666"/>
                    <a:pt x="7828" y="13873"/>
                    <a:pt x="8130" y="14210"/>
                  </a:cubicBezTo>
                  <a:cubicBezTo>
                    <a:pt x="8258" y="14373"/>
                    <a:pt x="8553" y="15455"/>
                    <a:pt x="8341" y="15618"/>
                  </a:cubicBezTo>
                  <a:cubicBezTo>
                    <a:pt x="7957" y="15993"/>
                    <a:pt x="7661" y="16532"/>
                    <a:pt x="7020" y="16325"/>
                  </a:cubicBezTo>
                  <a:cubicBezTo>
                    <a:pt x="6763" y="16244"/>
                    <a:pt x="6680" y="16782"/>
                    <a:pt x="6551" y="16950"/>
                  </a:cubicBezTo>
                  <a:cubicBezTo>
                    <a:pt x="6038" y="17532"/>
                    <a:pt x="5358" y="16619"/>
                    <a:pt x="5826" y="16287"/>
                  </a:cubicBezTo>
                  <a:cubicBezTo>
                    <a:pt x="5999" y="16162"/>
                    <a:pt x="6468" y="16075"/>
                    <a:pt x="6384" y="15830"/>
                  </a:cubicBezTo>
                  <a:cubicBezTo>
                    <a:pt x="6295" y="15618"/>
                    <a:pt x="6127" y="15368"/>
                    <a:pt x="6083" y="15161"/>
                  </a:cubicBezTo>
                  <a:cubicBezTo>
                    <a:pt x="5826" y="15080"/>
                    <a:pt x="5782" y="14873"/>
                    <a:pt x="5871" y="14666"/>
                  </a:cubicBezTo>
                  <a:cubicBezTo>
                    <a:pt x="6211" y="14666"/>
                    <a:pt x="6384" y="14373"/>
                    <a:pt x="6166" y="14085"/>
                  </a:cubicBezTo>
                  <a:cubicBezTo>
                    <a:pt x="5659" y="13421"/>
                    <a:pt x="4934" y="16450"/>
                    <a:pt x="4164" y="15537"/>
                  </a:cubicBezTo>
                  <a:cubicBezTo>
                    <a:pt x="4125" y="15368"/>
                    <a:pt x="4125" y="15368"/>
                    <a:pt x="4125" y="15368"/>
                  </a:cubicBezTo>
                  <a:close/>
                  <a:moveTo>
                    <a:pt x="7957" y="13296"/>
                  </a:moveTo>
                  <a:cubicBezTo>
                    <a:pt x="8130" y="13628"/>
                    <a:pt x="8130" y="13628"/>
                    <a:pt x="8130" y="13628"/>
                  </a:cubicBezTo>
                  <a:cubicBezTo>
                    <a:pt x="8297" y="13834"/>
                    <a:pt x="8894" y="13873"/>
                    <a:pt x="9067" y="13666"/>
                  </a:cubicBezTo>
                  <a:cubicBezTo>
                    <a:pt x="9278" y="13378"/>
                    <a:pt x="9278" y="12921"/>
                    <a:pt x="9446" y="12589"/>
                  </a:cubicBezTo>
                  <a:cubicBezTo>
                    <a:pt x="9574" y="12295"/>
                    <a:pt x="9831" y="12170"/>
                    <a:pt x="9959" y="11839"/>
                  </a:cubicBezTo>
                  <a:cubicBezTo>
                    <a:pt x="10171" y="11425"/>
                    <a:pt x="10260" y="10969"/>
                    <a:pt x="10472" y="10550"/>
                  </a:cubicBezTo>
                  <a:cubicBezTo>
                    <a:pt x="10728" y="10055"/>
                    <a:pt x="11197" y="9430"/>
                    <a:pt x="11364" y="8973"/>
                  </a:cubicBezTo>
                  <a:cubicBezTo>
                    <a:pt x="11409" y="8848"/>
                    <a:pt x="11281" y="8266"/>
                    <a:pt x="11152" y="8434"/>
                  </a:cubicBezTo>
                  <a:cubicBezTo>
                    <a:pt x="10427" y="9098"/>
                    <a:pt x="10427" y="9098"/>
                    <a:pt x="10427" y="9098"/>
                  </a:cubicBezTo>
                  <a:cubicBezTo>
                    <a:pt x="10171" y="9348"/>
                    <a:pt x="8169" y="10800"/>
                    <a:pt x="8637" y="11175"/>
                  </a:cubicBezTo>
                  <a:cubicBezTo>
                    <a:pt x="8810" y="11257"/>
                    <a:pt x="8977" y="11344"/>
                    <a:pt x="9150" y="11425"/>
                  </a:cubicBezTo>
                  <a:cubicBezTo>
                    <a:pt x="8849" y="11425"/>
                    <a:pt x="8213" y="11594"/>
                    <a:pt x="8085" y="11839"/>
                  </a:cubicBezTo>
                  <a:cubicBezTo>
                    <a:pt x="7957" y="12132"/>
                    <a:pt x="7745" y="13002"/>
                    <a:pt x="7957" y="13296"/>
                  </a:cubicBezTo>
                  <a:close/>
                  <a:moveTo>
                    <a:pt x="6256" y="10343"/>
                  </a:moveTo>
                  <a:cubicBezTo>
                    <a:pt x="6166" y="10055"/>
                    <a:pt x="6468" y="9511"/>
                    <a:pt x="6635" y="9348"/>
                  </a:cubicBezTo>
                  <a:cubicBezTo>
                    <a:pt x="6808" y="9179"/>
                    <a:pt x="7193" y="8685"/>
                    <a:pt x="7405" y="8685"/>
                  </a:cubicBezTo>
                  <a:cubicBezTo>
                    <a:pt x="7533" y="9098"/>
                    <a:pt x="7064" y="9511"/>
                    <a:pt x="6936" y="9930"/>
                  </a:cubicBezTo>
                  <a:cubicBezTo>
                    <a:pt x="6891" y="10137"/>
                    <a:pt x="6551" y="10969"/>
                    <a:pt x="6256" y="10593"/>
                  </a:cubicBezTo>
                  <a:cubicBezTo>
                    <a:pt x="6256" y="10343"/>
                    <a:pt x="6256" y="10343"/>
                    <a:pt x="6256" y="10343"/>
                  </a:cubicBezTo>
                  <a:close/>
                  <a:moveTo>
                    <a:pt x="10979" y="8059"/>
                  </a:moveTo>
                  <a:cubicBezTo>
                    <a:pt x="10896" y="7934"/>
                    <a:pt x="11152" y="7853"/>
                    <a:pt x="11197" y="7771"/>
                  </a:cubicBezTo>
                  <a:cubicBezTo>
                    <a:pt x="11281" y="7602"/>
                    <a:pt x="11281" y="7439"/>
                    <a:pt x="11325" y="7271"/>
                  </a:cubicBezTo>
                  <a:cubicBezTo>
                    <a:pt x="11409" y="7396"/>
                    <a:pt x="11453" y="7521"/>
                    <a:pt x="11493" y="7646"/>
                  </a:cubicBezTo>
                  <a:cubicBezTo>
                    <a:pt x="11576" y="7809"/>
                    <a:pt x="11665" y="7934"/>
                    <a:pt x="11493" y="8059"/>
                  </a:cubicBezTo>
                  <a:cubicBezTo>
                    <a:pt x="11453" y="8059"/>
                    <a:pt x="11409" y="8141"/>
                    <a:pt x="11364" y="8141"/>
                  </a:cubicBezTo>
                  <a:cubicBezTo>
                    <a:pt x="11364" y="8184"/>
                    <a:pt x="11281" y="8184"/>
                    <a:pt x="11281" y="8184"/>
                  </a:cubicBezTo>
                  <a:cubicBezTo>
                    <a:pt x="11197" y="8184"/>
                    <a:pt x="11152" y="8228"/>
                    <a:pt x="11069" y="8228"/>
                  </a:cubicBezTo>
                  <a:cubicBezTo>
                    <a:pt x="10979" y="8059"/>
                    <a:pt x="10979" y="8059"/>
                    <a:pt x="10979" y="8059"/>
                  </a:cubicBezTo>
                  <a:close/>
                  <a:moveTo>
                    <a:pt x="121" y="3491"/>
                  </a:moveTo>
                  <a:cubicBezTo>
                    <a:pt x="-7" y="3410"/>
                    <a:pt x="-52" y="2866"/>
                    <a:pt x="76" y="2784"/>
                  </a:cubicBezTo>
                  <a:cubicBezTo>
                    <a:pt x="249" y="2621"/>
                    <a:pt x="545" y="2703"/>
                    <a:pt x="757" y="2741"/>
                  </a:cubicBezTo>
                  <a:cubicBezTo>
                    <a:pt x="1097" y="2784"/>
                    <a:pt x="1186" y="2496"/>
                    <a:pt x="1443" y="2496"/>
                  </a:cubicBezTo>
                  <a:cubicBezTo>
                    <a:pt x="1694" y="2496"/>
                    <a:pt x="1911" y="2409"/>
                    <a:pt x="1995" y="2164"/>
                  </a:cubicBezTo>
                  <a:cubicBezTo>
                    <a:pt x="2034" y="2289"/>
                    <a:pt x="2162" y="2327"/>
                    <a:pt x="2207" y="2496"/>
                  </a:cubicBezTo>
                  <a:cubicBezTo>
                    <a:pt x="2078" y="2578"/>
                    <a:pt x="1353" y="2578"/>
                    <a:pt x="1610" y="2866"/>
                  </a:cubicBezTo>
                  <a:cubicBezTo>
                    <a:pt x="1694" y="2991"/>
                    <a:pt x="1526" y="3160"/>
                    <a:pt x="1398" y="3116"/>
                  </a:cubicBezTo>
                  <a:cubicBezTo>
                    <a:pt x="1314" y="3073"/>
                    <a:pt x="885" y="3198"/>
                    <a:pt x="969" y="3323"/>
                  </a:cubicBezTo>
                  <a:cubicBezTo>
                    <a:pt x="840" y="3535"/>
                    <a:pt x="1097" y="3785"/>
                    <a:pt x="801" y="3905"/>
                  </a:cubicBezTo>
                  <a:cubicBezTo>
                    <a:pt x="673" y="3948"/>
                    <a:pt x="589" y="3866"/>
                    <a:pt x="500" y="3785"/>
                  </a:cubicBezTo>
                  <a:cubicBezTo>
                    <a:pt x="416" y="3660"/>
                    <a:pt x="377" y="3698"/>
                    <a:pt x="249" y="3698"/>
                  </a:cubicBezTo>
                  <a:cubicBezTo>
                    <a:pt x="249" y="3741"/>
                    <a:pt x="121" y="3785"/>
                    <a:pt x="76" y="3785"/>
                  </a:cubicBezTo>
                  <a:cubicBezTo>
                    <a:pt x="121" y="3491"/>
                    <a:pt x="121" y="3491"/>
                    <a:pt x="121" y="3491"/>
                  </a:cubicBezTo>
                  <a:close/>
                  <a:moveTo>
                    <a:pt x="2547" y="1746"/>
                  </a:moveTo>
                  <a:cubicBezTo>
                    <a:pt x="2720" y="1539"/>
                    <a:pt x="2971" y="1577"/>
                    <a:pt x="3099" y="1332"/>
                  </a:cubicBezTo>
                  <a:cubicBezTo>
                    <a:pt x="3188" y="1164"/>
                    <a:pt x="3227" y="1039"/>
                    <a:pt x="3400" y="914"/>
                  </a:cubicBezTo>
                  <a:cubicBezTo>
                    <a:pt x="3612" y="707"/>
                    <a:pt x="3869" y="582"/>
                    <a:pt x="4081" y="332"/>
                  </a:cubicBezTo>
                  <a:cubicBezTo>
                    <a:pt x="4253" y="207"/>
                    <a:pt x="4465" y="125"/>
                    <a:pt x="4633" y="0"/>
                  </a:cubicBezTo>
                  <a:cubicBezTo>
                    <a:pt x="4722" y="207"/>
                    <a:pt x="4633" y="914"/>
                    <a:pt x="4376" y="1001"/>
                  </a:cubicBezTo>
                  <a:cubicBezTo>
                    <a:pt x="4253" y="1082"/>
                    <a:pt x="4253" y="1001"/>
                    <a:pt x="4125" y="1126"/>
                  </a:cubicBezTo>
                  <a:cubicBezTo>
                    <a:pt x="3908" y="1370"/>
                    <a:pt x="3696" y="1914"/>
                    <a:pt x="3272" y="1789"/>
                  </a:cubicBezTo>
                  <a:cubicBezTo>
                    <a:pt x="3144" y="1746"/>
                    <a:pt x="2971" y="1621"/>
                    <a:pt x="2848" y="1789"/>
                  </a:cubicBezTo>
                  <a:cubicBezTo>
                    <a:pt x="2759" y="1914"/>
                    <a:pt x="2848" y="2121"/>
                    <a:pt x="2547" y="1914"/>
                  </a:cubicBezTo>
                  <a:cubicBezTo>
                    <a:pt x="2547" y="1746"/>
                    <a:pt x="2547" y="1746"/>
                    <a:pt x="2547" y="1746"/>
                  </a:cubicBezTo>
                  <a:close/>
                  <a:moveTo>
                    <a:pt x="8598" y="5944"/>
                  </a:moveTo>
                  <a:cubicBezTo>
                    <a:pt x="8849" y="5819"/>
                    <a:pt x="9234" y="5900"/>
                    <a:pt x="9362" y="5732"/>
                  </a:cubicBezTo>
                  <a:cubicBezTo>
                    <a:pt x="9407" y="5650"/>
                    <a:pt x="9831" y="4987"/>
                    <a:pt x="9831" y="5362"/>
                  </a:cubicBezTo>
                  <a:cubicBezTo>
                    <a:pt x="9875" y="5612"/>
                    <a:pt x="9663" y="5775"/>
                    <a:pt x="9663" y="5857"/>
                  </a:cubicBezTo>
                  <a:cubicBezTo>
                    <a:pt x="10087" y="5857"/>
                    <a:pt x="10299" y="5944"/>
                    <a:pt x="10639" y="5694"/>
                  </a:cubicBezTo>
                  <a:cubicBezTo>
                    <a:pt x="10768" y="5612"/>
                    <a:pt x="11621" y="4905"/>
                    <a:pt x="11453" y="4862"/>
                  </a:cubicBezTo>
                  <a:cubicBezTo>
                    <a:pt x="11197" y="4862"/>
                    <a:pt x="11024" y="4987"/>
                    <a:pt x="10812" y="4987"/>
                  </a:cubicBezTo>
                  <a:cubicBezTo>
                    <a:pt x="10812" y="4780"/>
                    <a:pt x="11069" y="4198"/>
                    <a:pt x="11236" y="4611"/>
                  </a:cubicBezTo>
                  <a:cubicBezTo>
                    <a:pt x="11325" y="4943"/>
                    <a:pt x="11704" y="4568"/>
                    <a:pt x="11576" y="4280"/>
                  </a:cubicBezTo>
                  <a:cubicBezTo>
                    <a:pt x="11493" y="3992"/>
                    <a:pt x="11364" y="4117"/>
                    <a:pt x="11665" y="4236"/>
                  </a:cubicBezTo>
                  <a:cubicBezTo>
                    <a:pt x="11833" y="4280"/>
                    <a:pt x="11833" y="4198"/>
                    <a:pt x="11833" y="4073"/>
                  </a:cubicBezTo>
                  <a:cubicBezTo>
                    <a:pt x="11749" y="3198"/>
                    <a:pt x="10042" y="2784"/>
                    <a:pt x="9323" y="2621"/>
                  </a:cubicBezTo>
                  <a:cubicBezTo>
                    <a:pt x="8938" y="2578"/>
                    <a:pt x="8977" y="2202"/>
                    <a:pt x="8849" y="1871"/>
                  </a:cubicBezTo>
                  <a:cubicBezTo>
                    <a:pt x="8726" y="1539"/>
                    <a:pt x="8297" y="1414"/>
                    <a:pt x="8213" y="1039"/>
                  </a:cubicBezTo>
                  <a:cubicBezTo>
                    <a:pt x="8169" y="750"/>
                    <a:pt x="7533" y="625"/>
                    <a:pt x="7276" y="832"/>
                  </a:cubicBezTo>
                  <a:cubicBezTo>
                    <a:pt x="6852" y="1164"/>
                    <a:pt x="6423" y="832"/>
                    <a:pt x="6808" y="1539"/>
                  </a:cubicBezTo>
                  <a:cubicBezTo>
                    <a:pt x="6808" y="1539"/>
                    <a:pt x="6256" y="1245"/>
                    <a:pt x="5955" y="1370"/>
                  </a:cubicBezTo>
                  <a:cubicBezTo>
                    <a:pt x="5871" y="1414"/>
                    <a:pt x="5826" y="1664"/>
                    <a:pt x="5910" y="1702"/>
                  </a:cubicBezTo>
                  <a:cubicBezTo>
                    <a:pt x="5999" y="1789"/>
                    <a:pt x="6083" y="1746"/>
                    <a:pt x="6166" y="1746"/>
                  </a:cubicBezTo>
                  <a:cubicBezTo>
                    <a:pt x="6295" y="1827"/>
                    <a:pt x="5999" y="2121"/>
                    <a:pt x="5910" y="2164"/>
                  </a:cubicBezTo>
                  <a:cubicBezTo>
                    <a:pt x="5871" y="2202"/>
                    <a:pt x="5614" y="2246"/>
                    <a:pt x="5614" y="2327"/>
                  </a:cubicBezTo>
                  <a:cubicBezTo>
                    <a:pt x="5659" y="2453"/>
                    <a:pt x="5999" y="2496"/>
                    <a:pt x="6083" y="2534"/>
                  </a:cubicBezTo>
                  <a:cubicBezTo>
                    <a:pt x="6256" y="2621"/>
                    <a:pt x="6468" y="2621"/>
                    <a:pt x="6680" y="2621"/>
                  </a:cubicBezTo>
                  <a:cubicBezTo>
                    <a:pt x="6936" y="2621"/>
                    <a:pt x="7064" y="2828"/>
                    <a:pt x="7232" y="2953"/>
                  </a:cubicBezTo>
                  <a:cubicBezTo>
                    <a:pt x="7315" y="2991"/>
                    <a:pt x="7405" y="3073"/>
                    <a:pt x="7488" y="3073"/>
                  </a:cubicBezTo>
                  <a:cubicBezTo>
                    <a:pt x="7488" y="3116"/>
                    <a:pt x="7488" y="3116"/>
                    <a:pt x="7488" y="3116"/>
                  </a:cubicBezTo>
                  <a:cubicBezTo>
                    <a:pt x="7444" y="3116"/>
                    <a:pt x="7405" y="3160"/>
                    <a:pt x="7405" y="3160"/>
                  </a:cubicBezTo>
                  <a:cubicBezTo>
                    <a:pt x="7661" y="3241"/>
                    <a:pt x="7488" y="3491"/>
                    <a:pt x="7873" y="3323"/>
                  </a:cubicBezTo>
                  <a:cubicBezTo>
                    <a:pt x="8040" y="3241"/>
                    <a:pt x="8425" y="3034"/>
                    <a:pt x="8637" y="3034"/>
                  </a:cubicBezTo>
                  <a:cubicBezTo>
                    <a:pt x="8849" y="3992"/>
                    <a:pt x="7616" y="3698"/>
                    <a:pt x="7572" y="3948"/>
                  </a:cubicBezTo>
                  <a:cubicBezTo>
                    <a:pt x="7572" y="4405"/>
                    <a:pt x="6975" y="4568"/>
                    <a:pt x="7020" y="5030"/>
                  </a:cubicBezTo>
                  <a:cubicBezTo>
                    <a:pt x="7020" y="5400"/>
                    <a:pt x="7828" y="4943"/>
                    <a:pt x="8001" y="4862"/>
                  </a:cubicBezTo>
                  <a:cubicBezTo>
                    <a:pt x="8085" y="4818"/>
                    <a:pt x="8637" y="4611"/>
                    <a:pt x="8637" y="4693"/>
                  </a:cubicBezTo>
                  <a:cubicBezTo>
                    <a:pt x="8598" y="5112"/>
                    <a:pt x="8169" y="5318"/>
                    <a:pt x="7745" y="5318"/>
                  </a:cubicBezTo>
                  <a:cubicBezTo>
                    <a:pt x="7444" y="5362"/>
                    <a:pt x="7064" y="5944"/>
                    <a:pt x="6763" y="5400"/>
                  </a:cubicBezTo>
                  <a:cubicBezTo>
                    <a:pt x="6763" y="5857"/>
                    <a:pt x="6596" y="5857"/>
                    <a:pt x="6295" y="5569"/>
                  </a:cubicBezTo>
                  <a:cubicBezTo>
                    <a:pt x="5999" y="5275"/>
                    <a:pt x="5782" y="5318"/>
                    <a:pt x="5531" y="5569"/>
                  </a:cubicBezTo>
                  <a:cubicBezTo>
                    <a:pt x="5274" y="5982"/>
                    <a:pt x="5570" y="6063"/>
                    <a:pt x="5782" y="6357"/>
                  </a:cubicBezTo>
                  <a:cubicBezTo>
                    <a:pt x="5955" y="6607"/>
                    <a:pt x="5999" y="6645"/>
                    <a:pt x="6295" y="6526"/>
                  </a:cubicBezTo>
                  <a:cubicBezTo>
                    <a:pt x="6512" y="6439"/>
                    <a:pt x="6596" y="6314"/>
                    <a:pt x="6891" y="6276"/>
                  </a:cubicBezTo>
                  <a:cubicBezTo>
                    <a:pt x="7020" y="6276"/>
                    <a:pt x="7193" y="6276"/>
                    <a:pt x="7315" y="6314"/>
                  </a:cubicBezTo>
                  <a:cubicBezTo>
                    <a:pt x="7533" y="6357"/>
                    <a:pt x="7700" y="6107"/>
                    <a:pt x="7918" y="6107"/>
                  </a:cubicBezTo>
                  <a:cubicBezTo>
                    <a:pt x="8169" y="6107"/>
                    <a:pt x="8213" y="6314"/>
                    <a:pt x="8425" y="6063"/>
                  </a:cubicBezTo>
                  <a:cubicBezTo>
                    <a:pt x="8598" y="5944"/>
                    <a:pt x="8598" y="5944"/>
                    <a:pt x="8598" y="5944"/>
                  </a:cubicBezTo>
                  <a:close/>
                  <a:moveTo>
                    <a:pt x="5229" y="5362"/>
                  </a:moveTo>
                  <a:cubicBezTo>
                    <a:pt x="5274" y="5487"/>
                    <a:pt x="5274" y="5487"/>
                    <a:pt x="5274" y="5487"/>
                  </a:cubicBezTo>
                  <a:cubicBezTo>
                    <a:pt x="5274" y="5569"/>
                    <a:pt x="5229" y="5650"/>
                    <a:pt x="5190" y="5732"/>
                  </a:cubicBezTo>
                  <a:cubicBezTo>
                    <a:pt x="5190" y="5775"/>
                    <a:pt x="5190" y="5819"/>
                    <a:pt x="5146" y="5857"/>
                  </a:cubicBezTo>
                  <a:cubicBezTo>
                    <a:pt x="5146" y="5900"/>
                    <a:pt x="5101" y="5944"/>
                    <a:pt x="5062" y="5944"/>
                  </a:cubicBezTo>
                  <a:cubicBezTo>
                    <a:pt x="4850" y="6025"/>
                    <a:pt x="4806" y="5857"/>
                    <a:pt x="4979" y="5732"/>
                  </a:cubicBezTo>
                  <a:cubicBezTo>
                    <a:pt x="5018" y="5694"/>
                    <a:pt x="5062" y="5650"/>
                    <a:pt x="5062" y="5569"/>
                  </a:cubicBezTo>
                  <a:cubicBezTo>
                    <a:pt x="5062" y="5444"/>
                    <a:pt x="5190" y="5444"/>
                    <a:pt x="5229" y="5362"/>
                  </a:cubicBezTo>
                  <a:close/>
                  <a:moveTo>
                    <a:pt x="7020" y="3116"/>
                  </a:moveTo>
                  <a:cubicBezTo>
                    <a:pt x="7103" y="3198"/>
                    <a:pt x="7103" y="3198"/>
                    <a:pt x="7103" y="3198"/>
                  </a:cubicBezTo>
                  <a:cubicBezTo>
                    <a:pt x="7193" y="3241"/>
                    <a:pt x="7405" y="3410"/>
                    <a:pt x="7360" y="3491"/>
                  </a:cubicBezTo>
                  <a:cubicBezTo>
                    <a:pt x="7315" y="3491"/>
                    <a:pt x="7276" y="3535"/>
                    <a:pt x="7193" y="3491"/>
                  </a:cubicBezTo>
                  <a:cubicBezTo>
                    <a:pt x="7103" y="3491"/>
                    <a:pt x="6975" y="3491"/>
                    <a:pt x="6891" y="3448"/>
                  </a:cubicBezTo>
                  <a:cubicBezTo>
                    <a:pt x="6680" y="3448"/>
                    <a:pt x="6512" y="3366"/>
                    <a:pt x="6295" y="3323"/>
                  </a:cubicBezTo>
                  <a:cubicBezTo>
                    <a:pt x="6211" y="3285"/>
                    <a:pt x="5955" y="3241"/>
                    <a:pt x="5955" y="3160"/>
                  </a:cubicBezTo>
                  <a:cubicBezTo>
                    <a:pt x="5999" y="2953"/>
                    <a:pt x="6339" y="3116"/>
                    <a:pt x="6423" y="3116"/>
                  </a:cubicBezTo>
                  <a:cubicBezTo>
                    <a:pt x="6551" y="3116"/>
                    <a:pt x="6635" y="3073"/>
                    <a:pt x="6724" y="3034"/>
                  </a:cubicBezTo>
                  <a:cubicBezTo>
                    <a:pt x="6852" y="2991"/>
                    <a:pt x="6891" y="3160"/>
                    <a:pt x="7020" y="3116"/>
                  </a:cubicBezTo>
                  <a:close/>
                  <a:moveTo>
                    <a:pt x="12346" y="3535"/>
                  </a:moveTo>
                  <a:cubicBezTo>
                    <a:pt x="12346" y="3410"/>
                    <a:pt x="12385" y="3198"/>
                    <a:pt x="12513" y="3116"/>
                  </a:cubicBezTo>
                  <a:cubicBezTo>
                    <a:pt x="12602" y="3034"/>
                    <a:pt x="12731" y="2953"/>
                    <a:pt x="12814" y="2866"/>
                  </a:cubicBezTo>
                  <a:cubicBezTo>
                    <a:pt x="12943" y="2741"/>
                    <a:pt x="13026" y="2534"/>
                    <a:pt x="13155" y="2453"/>
                  </a:cubicBezTo>
                  <a:cubicBezTo>
                    <a:pt x="13238" y="2371"/>
                    <a:pt x="13495" y="2164"/>
                    <a:pt x="13623" y="2121"/>
                  </a:cubicBezTo>
                  <a:cubicBezTo>
                    <a:pt x="13623" y="2289"/>
                    <a:pt x="13411" y="2409"/>
                    <a:pt x="13327" y="2534"/>
                  </a:cubicBezTo>
                  <a:cubicBezTo>
                    <a:pt x="13199" y="2703"/>
                    <a:pt x="13026" y="2909"/>
                    <a:pt x="12859" y="3073"/>
                  </a:cubicBezTo>
                  <a:cubicBezTo>
                    <a:pt x="12731" y="3198"/>
                    <a:pt x="12686" y="3323"/>
                    <a:pt x="12558" y="3410"/>
                  </a:cubicBezTo>
                  <a:cubicBezTo>
                    <a:pt x="12346" y="3535"/>
                    <a:pt x="12346" y="3535"/>
                    <a:pt x="12346" y="3535"/>
                  </a:cubicBezTo>
                  <a:close/>
                  <a:moveTo>
                    <a:pt x="14688" y="1082"/>
                  </a:moveTo>
                  <a:cubicBezTo>
                    <a:pt x="14560" y="1207"/>
                    <a:pt x="14393" y="1332"/>
                    <a:pt x="14303" y="1370"/>
                  </a:cubicBezTo>
                  <a:cubicBezTo>
                    <a:pt x="14047" y="1495"/>
                    <a:pt x="14136" y="1702"/>
                    <a:pt x="13963" y="1914"/>
                  </a:cubicBezTo>
                  <a:cubicBezTo>
                    <a:pt x="13835" y="2246"/>
                    <a:pt x="13880" y="2703"/>
                    <a:pt x="14303" y="2496"/>
                  </a:cubicBezTo>
                  <a:cubicBezTo>
                    <a:pt x="14688" y="2327"/>
                    <a:pt x="14220" y="2953"/>
                    <a:pt x="13919" y="2621"/>
                  </a:cubicBezTo>
                  <a:cubicBezTo>
                    <a:pt x="13707" y="2409"/>
                    <a:pt x="13668" y="2659"/>
                    <a:pt x="13539" y="2953"/>
                  </a:cubicBezTo>
                  <a:cubicBezTo>
                    <a:pt x="13495" y="2991"/>
                    <a:pt x="13199" y="3323"/>
                    <a:pt x="13366" y="3323"/>
                  </a:cubicBezTo>
                  <a:cubicBezTo>
                    <a:pt x="13623" y="3323"/>
                    <a:pt x="13751" y="2991"/>
                    <a:pt x="13751" y="3410"/>
                  </a:cubicBezTo>
                  <a:cubicBezTo>
                    <a:pt x="13751" y="3660"/>
                    <a:pt x="14008" y="3616"/>
                    <a:pt x="14175" y="3573"/>
                  </a:cubicBezTo>
                  <a:cubicBezTo>
                    <a:pt x="14047" y="3698"/>
                    <a:pt x="13880" y="3741"/>
                    <a:pt x="13668" y="3741"/>
                  </a:cubicBezTo>
                  <a:cubicBezTo>
                    <a:pt x="13623" y="3741"/>
                    <a:pt x="12859" y="4361"/>
                    <a:pt x="12641" y="4448"/>
                  </a:cubicBezTo>
                  <a:cubicBezTo>
                    <a:pt x="12429" y="4530"/>
                    <a:pt x="12089" y="4862"/>
                    <a:pt x="12474" y="4905"/>
                  </a:cubicBezTo>
                  <a:cubicBezTo>
                    <a:pt x="12859" y="4987"/>
                    <a:pt x="12602" y="4943"/>
                    <a:pt x="12686" y="5193"/>
                  </a:cubicBezTo>
                  <a:cubicBezTo>
                    <a:pt x="12731" y="5362"/>
                    <a:pt x="12385" y="5819"/>
                    <a:pt x="12218" y="5857"/>
                  </a:cubicBezTo>
                  <a:cubicBezTo>
                    <a:pt x="11621" y="5944"/>
                    <a:pt x="11916" y="6107"/>
                    <a:pt x="11833" y="6526"/>
                  </a:cubicBezTo>
                  <a:cubicBezTo>
                    <a:pt x="11665" y="6814"/>
                    <a:pt x="11704" y="7108"/>
                    <a:pt x="11749" y="7352"/>
                  </a:cubicBezTo>
                  <a:cubicBezTo>
                    <a:pt x="11794" y="7439"/>
                    <a:pt x="11749" y="7896"/>
                    <a:pt x="11833" y="7771"/>
                  </a:cubicBezTo>
                  <a:cubicBezTo>
                    <a:pt x="12006" y="7559"/>
                    <a:pt x="11961" y="7021"/>
                    <a:pt x="12089" y="6770"/>
                  </a:cubicBezTo>
                  <a:cubicBezTo>
                    <a:pt x="12218" y="6439"/>
                    <a:pt x="12134" y="6814"/>
                    <a:pt x="12257" y="6857"/>
                  </a:cubicBezTo>
                  <a:cubicBezTo>
                    <a:pt x="12346" y="6895"/>
                    <a:pt x="12770" y="6770"/>
                    <a:pt x="12859" y="6689"/>
                  </a:cubicBezTo>
                  <a:cubicBezTo>
                    <a:pt x="12859" y="6895"/>
                    <a:pt x="12474" y="7227"/>
                    <a:pt x="12474" y="7477"/>
                  </a:cubicBezTo>
                  <a:cubicBezTo>
                    <a:pt x="12474" y="7771"/>
                    <a:pt x="12257" y="8228"/>
                    <a:pt x="12134" y="8478"/>
                  </a:cubicBezTo>
                  <a:cubicBezTo>
                    <a:pt x="12045" y="8603"/>
                    <a:pt x="11961" y="8848"/>
                    <a:pt x="12218" y="8685"/>
                  </a:cubicBezTo>
                  <a:cubicBezTo>
                    <a:pt x="12346" y="8560"/>
                    <a:pt x="12474" y="8184"/>
                    <a:pt x="12641" y="8184"/>
                  </a:cubicBezTo>
                  <a:cubicBezTo>
                    <a:pt x="12558" y="8353"/>
                    <a:pt x="12429" y="8641"/>
                    <a:pt x="12429" y="8848"/>
                  </a:cubicBezTo>
                  <a:cubicBezTo>
                    <a:pt x="12429" y="8973"/>
                    <a:pt x="12602" y="9179"/>
                    <a:pt x="12513" y="9305"/>
                  </a:cubicBezTo>
                  <a:cubicBezTo>
                    <a:pt x="12429" y="9392"/>
                    <a:pt x="12257" y="9392"/>
                    <a:pt x="12218" y="9511"/>
                  </a:cubicBezTo>
                  <a:cubicBezTo>
                    <a:pt x="11409" y="10969"/>
                    <a:pt x="11409" y="10969"/>
                    <a:pt x="11409" y="10969"/>
                  </a:cubicBezTo>
                  <a:cubicBezTo>
                    <a:pt x="11409" y="11132"/>
                    <a:pt x="11197" y="11507"/>
                    <a:pt x="11325" y="11632"/>
                  </a:cubicBezTo>
                  <a:cubicBezTo>
                    <a:pt x="11453" y="11757"/>
                    <a:pt x="11537" y="12546"/>
                    <a:pt x="11621" y="12421"/>
                  </a:cubicBezTo>
                  <a:cubicBezTo>
                    <a:pt x="11665" y="12339"/>
                    <a:pt x="12134" y="11676"/>
                    <a:pt x="12089" y="12045"/>
                  </a:cubicBezTo>
                  <a:cubicBezTo>
                    <a:pt x="12006" y="12339"/>
                    <a:pt x="11961" y="12502"/>
                    <a:pt x="11833" y="12752"/>
                  </a:cubicBezTo>
                  <a:cubicBezTo>
                    <a:pt x="11621" y="13171"/>
                    <a:pt x="11493" y="13421"/>
                    <a:pt x="11704" y="13834"/>
                  </a:cubicBezTo>
                  <a:cubicBezTo>
                    <a:pt x="11833" y="14085"/>
                    <a:pt x="11961" y="14335"/>
                    <a:pt x="12218" y="14335"/>
                  </a:cubicBezTo>
                  <a:cubicBezTo>
                    <a:pt x="12218" y="14541"/>
                    <a:pt x="12134" y="15248"/>
                    <a:pt x="11877" y="15286"/>
                  </a:cubicBezTo>
                  <a:cubicBezTo>
                    <a:pt x="11152" y="15411"/>
                    <a:pt x="11794" y="15787"/>
                    <a:pt x="11493" y="16200"/>
                  </a:cubicBezTo>
                  <a:cubicBezTo>
                    <a:pt x="11453" y="16369"/>
                    <a:pt x="11453" y="16494"/>
                    <a:pt x="11453" y="16657"/>
                  </a:cubicBezTo>
                  <a:cubicBezTo>
                    <a:pt x="10979" y="17239"/>
                    <a:pt x="11281" y="18196"/>
                    <a:pt x="11197" y="18903"/>
                  </a:cubicBezTo>
                  <a:cubicBezTo>
                    <a:pt x="11108" y="19485"/>
                    <a:pt x="10639" y="19441"/>
                    <a:pt x="10472" y="19898"/>
                  </a:cubicBezTo>
                  <a:cubicBezTo>
                    <a:pt x="10344" y="20230"/>
                    <a:pt x="10427" y="20898"/>
                    <a:pt x="10427" y="21230"/>
                  </a:cubicBezTo>
                  <a:cubicBezTo>
                    <a:pt x="10684" y="21393"/>
                    <a:pt x="11024" y="21600"/>
                    <a:pt x="11364" y="21393"/>
                  </a:cubicBezTo>
                  <a:cubicBezTo>
                    <a:pt x="11537" y="21268"/>
                    <a:pt x="11794" y="21187"/>
                    <a:pt x="11961" y="21230"/>
                  </a:cubicBezTo>
                  <a:cubicBezTo>
                    <a:pt x="12301" y="21230"/>
                    <a:pt x="12641" y="20855"/>
                    <a:pt x="12814" y="20648"/>
                  </a:cubicBezTo>
                  <a:cubicBezTo>
                    <a:pt x="13071" y="20398"/>
                    <a:pt x="12770" y="19979"/>
                    <a:pt x="12731" y="19691"/>
                  </a:cubicBezTo>
                  <a:cubicBezTo>
                    <a:pt x="12602" y="19566"/>
                    <a:pt x="12429" y="19523"/>
                    <a:pt x="12257" y="19523"/>
                  </a:cubicBezTo>
                  <a:cubicBezTo>
                    <a:pt x="12257" y="19403"/>
                    <a:pt x="12859" y="19441"/>
                    <a:pt x="12770" y="19066"/>
                  </a:cubicBezTo>
                  <a:cubicBezTo>
                    <a:pt x="12731" y="18816"/>
                    <a:pt x="12987" y="18691"/>
                    <a:pt x="13026" y="18446"/>
                  </a:cubicBezTo>
                  <a:cubicBezTo>
                    <a:pt x="13071" y="18027"/>
                    <a:pt x="13199" y="17657"/>
                    <a:pt x="13199" y="17239"/>
                  </a:cubicBezTo>
                  <a:cubicBezTo>
                    <a:pt x="13199" y="16907"/>
                    <a:pt x="13578" y="17407"/>
                    <a:pt x="13411" y="16863"/>
                  </a:cubicBezTo>
                  <a:cubicBezTo>
                    <a:pt x="13283" y="16369"/>
                    <a:pt x="13450" y="15705"/>
                    <a:pt x="13623" y="15248"/>
                  </a:cubicBezTo>
                  <a:cubicBezTo>
                    <a:pt x="13751" y="14955"/>
                    <a:pt x="13880" y="14666"/>
                    <a:pt x="14136" y="14498"/>
                  </a:cubicBezTo>
                  <a:cubicBezTo>
                    <a:pt x="14348" y="14335"/>
                    <a:pt x="14644" y="14335"/>
                    <a:pt x="14733" y="14041"/>
                  </a:cubicBezTo>
                  <a:cubicBezTo>
                    <a:pt x="14733" y="13503"/>
                    <a:pt x="13963" y="12714"/>
                    <a:pt x="13790" y="12214"/>
                  </a:cubicBezTo>
                  <a:cubicBezTo>
                    <a:pt x="13578" y="11550"/>
                    <a:pt x="13539" y="11007"/>
                    <a:pt x="13539" y="10343"/>
                  </a:cubicBezTo>
                  <a:cubicBezTo>
                    <a:pt x="14136" y="10675"/>
                    <a:pt x="14303" y="10593"/>
                    <a:pt x="14560" y="9973"/>
                  </a:cubicBezTo>
                  <a:cubicBezTo>
                    <a:pt x="14644" y="9761"/>
                    <a:pt x="14900" y="9723"/>
                    <a:pt x="14984" y="9430"/>
                  </a:cubicBezTo>
                  <a:cubicBezTo>
                    <a:pt x="15028" y="9266"/>
                    <a:pt x="15285" y="9054"/>
                    <a:pt x="15369" y="8848"/>
                  </a:cubicBezTo>
                  <a:cubicBezTo>
                    <a:pt x="15497" y="8560"/>
                    <a:pt x="15837" y="8434"/>
                    <a:pt x="16094" y="8353"/>
                  </a:cubicBezTo>
                  <a:cubicBezTo>
                    <a:pt x="16478" y="8184"/>
                    <a:pt x="16562" y="7521"/>
                    <a:pt x="16735" y="7227"/>
                  </a:cubicBezTo>
                  <a:cubicBezTo>
                    <a:pt x="16819" y="7064"/>
                    <a:pt x="17583" y="6857"/>
                    <a:pt x="17711" y="6857"/>
                  </a:cubicBezTo>
                  <a:cubicBezTo>
                    <a:pt x="17672" y="6857"/>
                    <a:pt x="17159" y="7271"/>
                    <a:pt x="17075" y="7352"/>
                  </a:cubicBezTo>
                  <a:cubicBezTo>
                    <a:pt x="16735" y="7809"/>
                    <a:pt x="16774" y="8266"/>
                    <a:pt x="16177" y="8560"/>
                  </a:cubicBezTo>
                  <a:cubicBezTo>
                    <a:pt x="16049" y="8603"/>
                    <a:pt x="15837" y="8603"/>
                    <a:pt x="15753" y="8766"/>
                  </a:cubicBezTo>
                  <a:cubicBezTo>
                    <a:pt x="15581" y="9098"/>
                    <a:pt x="15625" y="9179"/>
                    <a:pt x="15285" y="9392"/>
                  </a:cubicBezTo>
                  <a:cubicBezTo>
                    <a:pt x="15028" y="9555"/>
                    <a:pt x="14900" y="10218"/>
                    <a:pt x="14688" y="10468"/>
                  </a:cubicBezTo>
                  <a:cubicBezTo>
                    <a:pt x="14432" y="10800"/>
                    <a:pt x="14393" y="11344"/>
                    <a:pt x="14393" y="11757"/>
                  </a:cubicBezTo>
                  <a:cubicBezTo>
                    <a:pt x="14560" y="12377"/>
                    <a:pt x="14432" y="12752"/>
                    <a:pt x="15112" y="13046"/>
                  </a:cubicBezTo>
                  <a:cubicBezTo>
                    <a:pt x="15285" y="13127"/>
                    <a:pt x="15413" y="13296"/>
                    <a:pt x="15581" y="13334"/>
                  </a:cubicBezTo>
                  <a:cubicBezTo>
                    <a:pt x="15837" y="13421"/>
                    <a:pt x="15625" y="13127"/>
                    <a:pt x="15541" y="13002"/>
                  </a:cubicBezTo>
                  <a:cubicBezTo>
                    <a:pt x="15369" y="12627"/>
                    <a:pt x="15324" y="12377"/>
                    <a:pt x="15581" y="12089"/>
                  </a:cubicBezTo>
                  <a:cubicBezTo>
                    <a:pt x="15709" y="11882"/>
                    <a:pt x="15625" y="11300"/>
                    <a:pt x="15965" y="11714"/>
                  </a:cubicBezTo>
                  <a:cubicBezTo>
                    <a:pt x="16138" y="11882"/>
                    <a:pt x="16350" y="11964"/>
                    <a:pt x="16562" y="12132"/>
                  </a:cubicBezTo>
                  <a:cubicBezTo>
                    <a:pt x="16858" y="12464"/>
                    <a:pt x="16819" y="12007"/>
                    <a:pt x="16735" y="11801"/>
                  </a:cubicBezTo>
                  <a:cubicBezTo>
                    <a:pt x="16646" y="11632"/>
                    <a:pt x="16607" y="11425"/>
                    <a:pt x="16517" y="11257"/>
                  </a:cubicBezTo>
                  <a:cubicBezTo>
                    <a:pt x="16395" y="11050"/>
                    <a:pt x="16350" y="10800"/>
                    <a:pt x="16607" y="11175"/>
                  </a:cubicBezTo>
                  <a:cubicBezTo>
                    <a:pt x="16858" y="11425"/>
                    <a:pt x="16986" y="11882"/>
                    <a:pt x="17075" y="12214"/>
                  </a:cubicBezTo>
                  <a:cubicBezTo>
                    <a:pt x="17159" y="12421"/>
                    <a:pt x="16947" y="12714"/>
                    <a:pt x="17203" y="12714"/>
                  </a:cubicBezTo>
                  <a:cubicBezTo>
                    <a:pt x="17326" y="12714"/>
                    <a:pt x="17583" y="12839"/>
                    <a:pt x="17672" y="12752"/>
                  </a:cubicBezTo>
                  <a:cubicBezTo>
                    <a:pt x="17839" y="12546"/>
                    <a:pt x="17968" y="11926"/>
                    <a:pt x="18096" y="11632"/>
                  </a:cubicBezTo>
                  <a:cubicBezTo>
                    <a:pt x="18179" y="11507"/>
                    <a:pt x="18224" y="11344"/>
                    <a:pt x="18224" y="11175"/>
                  </a:cubicBezTo>
                  <a:cubicBezTo>
                    <a:pt x="18269" y="11050"/>
                    <a:pt x="18012" y="11094"/>
                    <a:pt x="17968" y="10969"/>
                  </a:cubicBezTo>
                  <a:cubicBezTo>
                    <a:pt x="18520" y="11094"/>
                    <a:pt x="18308" y="10800"/>
                    <a:pt x="18269" y="10430"/>
                  </a:cubicBezTo>
                  <a:cubicBezTo>
                    <a:pt x="18352" y="10011"/>
                    <a:pt x="18564" y="9636"/>
                    <a:pt x="18436" y="9266"/>
                  </a:cubicBezTo>
                  <a:cubicBezTo>
                    <a:pt x="18352" y="8973"/>
                    <a:pt x="18308" y="8848"/>
                    <a:pt x="18308" y="8560"/>
                  </a:cubicBezTo>
                  <a:cubicBezTo>
                    <a:pt x="18269" y="7853"/>
                    <a:pt x="18564" y="8935"/>
                    <a:pt x="18648" y="9098"/>
                  </a:cubicBezTo>
                  <a:cubicBezTo>
                    <a:pt x="18648" y="9179"/>
                    <a:pt x="19077" y="8266"/>
                    <a:pt x="19245" y="8103"/>
                  </a:cubicBezTo>
                  <a:cubicBezTo>
                    <a:pt x="19245" y="8434"/>
                    <a:pt x="18904" y="9098"/>
                    <a:pt x="18776" y="9392"/>
                  </a:cubicBezTo>
                  <a:cubicBezTo>
                    <a:pt x="18648" y="9680"/>
                    <a:pt x="18564" y="11050"/>
                    <a:pt x="18904" y="10969"/>
                  </a:cubicBezTo>
                  <a:cubicBezTo>
                    <a:pt x="19161" y="10925"/>
                    <a:pt x="19758" y="10925"/>
                    <a:pt x="19334" y="10637"/>
                  </a:cubicBezTo>
                  <a:cubicBezTo>
                    <a:pt x="19116" y="10468"/>
                    <a:pt x="18949" y="10098"/>
                    <a:pt x="18949" y="9848"/>
                  </a:cubicBezTo>
                  <a:cubicBezTo>
                    <a:pt x="19161" y="10011"/>
                    <a:pt x="19462" y="10512"/>
                    <a:pt x="19674" y="10593"/>
                  </a:cubicBezTo>
                  <a:cubicBezTo>
                    <a:pt x="19970" y="10675"/>
                    <a:pt x="19970" y="10762"/>
                    <a:pt x="20053" y="11007"/>
                  </a:cubicBezTo>
                  <a:cubicBezTo>
                    <a:pt x="20182" y="11344"/>
                    <a:pt x="20695" y="11469"/>
                    <a:pt x="21163" y="11594"/>
                  </a:cubicBezTo>
                  <a:cubicBezTo>
                    <a:pt x="21163" y="11550"/>
                    <a:pt x="21163" y="11550"/>
                    <a:pt x="21163" y="11550"/>
                  </a:cubicBezTo>
                  <a:cubicBezTo>
                    <a:pt x="21247" y="11425"/>
                    <a:pt x="21375" y="11300"/>
                    <a:pt x="21375" y="11175"/>
                  </a:cubicBezTo>
                  <a:cubicBezTo>
                    <a:pt x="21420" y="11094"/>
                    <a:pt x="21375" y="10969"/>
                    <a:pt x="21336" y="10882"/>
                  </a:cubicBezTo>
                  <a:cubicBezTo>
                    <a:pt x="21247" y="10762"/>
                    <a:pt x="21035" y="10675"/>
                    <a:pt x="21035" y="10550"/>
                  </a:cubicBezTo>
                  <a:cubicBezTo>
                    <a:pt x="21035" y="10468"/>
                    <a:pt x="21247" y="10550"/>
                    <a:pt x="21336" y="10512"/>
                  </a:cubicBezTo>
                  <a:cubicBezTo>
                    <a:pt x="21420" y="10468"/>
                    <a:pt x="21503" y="10387"/>
                    <a:pt x="21503" y="10305"/>
                  </a:cubicBezTo>
                  <a:cubicBezTo>
                    <a:pt x="21548" y="10180"/>
                    <a:pt x="21420" y="10055"/>
                    <a:pt x="21375" y="9930"/>
                  </a:cubicBezTo>
                  <a:cubicBezTo>
                    <a:pt x="21375" y="9761"/>
                    <a:pt x="21459" y="9598"/>
                    <a:pt x="21503" y="9430"/>
                  </a:cubicBezTo>
                  <a:cubicBezTo>
                    <a:pt x="21420" y="9266"/>
                    <a:pt x="21375" y="9054"/>
                    <a:pt x="21247" y="8973"/>
                  </a:cubicBezTo>
                  <a:cubicBezTo>
                    <a:pt x="21080" y="8848"/>
                    <a:pt x="20778" y="9016"/>
                    <a:pt x="20611" y="8848"/>
                  </a:cubicBezTo>
                  <a:cubicBezTo>
                    <a:pt x="20438" y="8685"/>
                    <a:pt x="20438" y="8391"/>
                    <a:pt x="20355" y="8184"/>
                  </a:cubicBezTo>
                  <a:cubicBezTo>
                    <a:pt x="20265" y="8021"/>
                    <a:pt x="20143" y="7853"/>
                    <a:pt x="20143" y="7646"/>
                  </a:cubicBezTo>
                  <a:cubicBezTo>
                    <a:pt x="20098" y="7521"/>
                    <a:pt x="20182" y="7352"/>
                    <a:pt x="20182" y="7189"/>
                  </a:cubicBezTo>
                  <a:cubicBezTo>
                    <a:pt x="20182" y="6939"/>
                    <a:pt x="20014" y="6689"/>
                    <a:pt x="20098" y="6439"/>
                  </a:cubicBezTo>
                  <a:cubicBezTo>
                    <a:pt x="20098" y="6357"/>
                    <a:pt x="20355" y="6526"/>
                    <a:pt x="20355" y="6439"/>
                  </a:cubicBezTo>
                  <a:cubicBezTo>
                    <a:pt x="20438" y="6314"/>
                    <a:pt x="20265" y="6189"/>
                    <a:pt x="20265" y="6063"/>
                  </a:cubicBezTo>
                  <a:cubicBezTo>
                    <a:pt x="20265" y="5944"/>
                    <a:pt x="20483" y="5819"/>
                    <a:pt x="20394" y="5732"/>
                  </a:cubicBezTo>
                  <a:cubicBezTo>
                    <a:pt x="20226" y="5612"/>
                    <a:pt x="19970" y="5650"/>
                    <a:pt x="19802" y="5650"/>
                  </a:cubicBezTo>
                  <a:cubicBezTo>
                    <a:pt x="19629" y="5612"/>
                    <a:pt x="19462" y="5732"/>
                    <a:pt x="19334" y="5694"/>
                  </a:cubicBezTo>
                  <a:cubicBezTo>
                    <a:pt x="19245" y="5650"/>
                    <a:pt x="19373" y="5525"/>
                    <a:pt x="19334" y="5487"/>
                  </a:cubicBezTo>
                  <a:cubicBezTo>
                    <a:pt x="19206" y="5275"/>
                    <a:pt x="18904" y="5193"/>
                    <a:pt x="18821" y="4987"/>
                  </a:cubicBezTo>
                  <a:cubicBezTo>
                    <a:pt x="18776" y="4862"/>
                    <a:pt x="18949" y="4737"/>
                    <a:pt x="18988" y="4655"/>
                  </a:cubicBezTo>
                  <a:cubicBezTo>
                    <a:pt x="19161" y="4448"/>
                    <a:pt x="19334" y="4198"/>
                    <a:pt x="19546" y="4030"/>
                  </a:cubicBezTo>
                  <a:cubicBezTo>
                    <a:pt x="19585" y="3992"/>
                    <a:pt x="19713" y="4117"/>
                    <a:pt x="19758" y="4030"/>
                  </a:cubicBezTo>
                  <a:cubicBezTo>
                    <a:pt x="19841" y="3948"/>
                    <a:pt x="19758" y="3785"/>
                    <a:pt x="19841" y="3698"/>
                  </a:cubicBezTo>
                  <a:cubicBezTo>
                    <a:pt x="19886" y="3660"/>
                    <a:pt x="19925" y="3616"/>
                    <a:pt x="20014" y="3616"/>
                  </a:cubicBezTo>
                  <a:cubicBezTo>
                    <a:pt x="20143" y="3616"/>
                    <a:pt x="20226" y="3741"/>
                    <a:pt x="20310" y="3698"/>
                  </a:cubicBezTo>
                  <a:cubicBezTo>
                    <a:pt x="20438" y="3698"/>
                    <a:pt x="20483" y="3535"/>
                    <a:pt x="20566" y="3448"/>
                  </a:cubicBezTo>
                  <a:cubicBezTo>
                    <a:pt x="20438" y="3410"/>
                    <a:pt x="20226" y="3410"/>
                    <a:pt x="20226" y="3241"/>
                  </a:cubicBezTo>
                  <a:cubicBezTo>
                    <a:pt x="20182" y="3034"/>
                    <a:pt x="20522" y="2866"/>
                    <a:pt x="20483" y="2621"/>
                  </a:cubicBezTo>
                  <a:cubicBezTo>
                    <a:pt x="20483" y="2496"/>
                    <a:pt x="20226" y="2534"/>
                    <a:pt x="20143" y="2409"/>
                  </a:cubicBezTo>
                  <a:cubicBezTo>
                    <a:pt x="20098" y="2371"/>
                    <a:pt x="20098" y="2289"/>
                    <a:pt x="20182" y="2246"/>
                  </a:cubicBezTo>
                  <a:cubicBezTo>
                    <a:pt x="20438" y="2164"/>
                    <a:pt x="20695" y="2077"/>
                    <a:pt x="20990" y="1996"/>
                  </a:cubicBezTo>
                  <a:cubicBezTo>
                    <a:pt x="21119" y="1996"/>
                    <a:pt x="21375" y="2164"/>
                    <a:pt x="21375" y="1996"/>
                  </a:cubicBezTo>
                  <a:cubicBezTo>
                    <a:pt x="21420" y="1827"/>
                    <a:pt x="21208" y="1664"/>
                    <a:pt x="21080" y="1539"/>
                  </a:cubicBezTo>
                  <a:cubicBezTo>
                    <a:pt x="20990" y="1457"/>
                    <a:pt x="20868" y="1414"/>
                    <a:pt x="20778" y="1332"/>
                  </a:cubicBezTo>
                  <a:cubicBezTo>
                    <a:pt x="20566" y="1370"/>
                    <a:pt x="20310" y="1370"/>
                    <a:pt x="20143" y="1457"/>
                  </a:cubicBezTo>
                  <a:cubicBezTo>
                    <a:pt x="20014" y="1495"/>
                    <a:pt x="19970" y="1702"/>
                    <a:pt x="19841" y="1746"/>
                  </a:cubicBezTo>
                  <a:cubicBezTo>
                    <a:pt x="19758" y="1789"/>
                    <a:pt x="19585" y="1702"/>
                    <a:pt x="19462" y="1746"/>
                  </a:cubicBezTo>
                  <a:cubicBezTo>
                    <a:pt x="19334" y="1789"/>
                    <a:pt x="19289" y="1914"/>
                    <a:pt x="19161" y="1952"/>
                  </a:cubicBezTo>
                  <a:cubicBezTo>
                    <a:pt x="18988" y="2039"/>
                    <a:pt x="18776" y="2039"/>
                    <a:pt x="18609" y="1996"/>
                  </a:cubicBezTo>
                  <a:cubicBezTo>
                    <a:pt x="18436" y="1996"/>
                    <a:pt x="18224" y="1827"/>
                    <a:pt x="18012" y="1871"/>
                  </a:cubicBezTo>
                  <a:cubicBezTo>
                    <a:pt x="17884" y="1914"/>
                    <a:pt x="17884" y="2039"/>
                    <a:pt x="17800" y="2121"/>
                  </a:cubicBezTo>
                  <a:cubicBezTo>
                    <a:pt x="17672" y="2246"/>
                    <a:pt x="17544" y="2409"/>
                    <a:pt x="17415" y="2453"/>
                  </a:cubicBezTo>
                  <a:cubicBezTo>
                    <a:pt x="17243" y="2534"/>
                    <a:pt x="17075" y="2578"/>
                    <a:pt x="16902" y="2578"/>
                  </a:cubicBezTo>
                  <a:cubicBezTo>
                    <a:pt x="16819" y="2578"/>
                    <a:pt x="16735" y="2578"/>
                    <a:pt x="16646" y="2534"/>
                  </a:cubicBezTo>
                  <a:cubicBezTo>
                    <a:pt x="16562" y="2496"/>
                    <a:pt x="16517" y="2371"/>
                    <a:pt x="16517" y="2289"/>
                  </a:cubicBezTo>
                  <a:cubicBezTo>
                    <a:pt x="16517" y="2202"/>
                    <a:pt x="16646" y="2202"/>
                    <a:pt x="16646" y="2121"/>
                  </a:cubicBezTo>
                  <a:cubicBezTo>
                    <a:pt x="16690" y="1996"/>
                    <a:pt x="16517" y="1914"/>
                    <a:pt x="16517" y="1789"/>
                  </a:cubicBezTo>
                  <a:cubicBezTo>
                    <a:pt x="16562" y="1621"/>
                    <a:pt x="16774" y="1539"/>
                    <a:pt x="16774" y="1370"/>
                  </a:cubicBezTo>
                  <a:cubicBezTo>
                    <a:pt x="16774" y="1289"/>
                    <a:pt x="16646" y="1289"/>
                    <a:pt x="16562" y="1289"/>
                  </a:cubicBezTo>
                  <a:cubicBezTo>
                    <a:pt x="16434" y="1245"/>
                    <a:pt x="16306" y="1332"/>
                    <a:pt x="16177" y="1245"/>
                  </a:cubicBezTo>
                  <a:cubicBezTo>
                    <a:pt x="16138" y="1207"/>
                    <a:pt x="16267" y="1082"/>
                    <a:pt x="16177" y="1082"/>
                  </a:cubicBezTo>
                  <a:cubicBezTo>
                    <a:pt x="16049" y="1001"/>
                    <a:pt x="15837" y="914"/>
                    <a:pt x="15670" y="1001"/>
                  </a:cubicBezTo>
                  <a:cubicBezTo>
                    <a:pt x="15581" y="1082"/>
                    <a:pt x="15709" y="1245"/>
                    <a:pt x="15670" y="1370"/>
                  </a:cubicBezTo>
                  <a:cubicBezTo>
                    <a:pt x="15670" y="1414"/>
                    <a:pt x="15670" y="1539"/>
                    <a:pt x="15581" y="1539"/>
                  </a:cubicBezTo>
                  <a:cubicBezTo>
                    <a:pt x="15452" y="1539"/>
                    <a:pt x="15324" y="1457"/>
                    <a:pt x="15157" y="1457"/>
                  </a:cubicBezTo>
                  <a:cubicBezTo>
                    <a:pt x="15112" y="1457"/>
                    <a:pt x="15028" y="1539"/>
                    <a:pt x="14945" y="1495"/>
                  </a:cubicBezTo>
                  <a:cubicBezTo>
                    <a:pt x="14816" y="1370"/>
                    <a:pt x="14772" y="1207"/>
                    <a:pt x="14688" y="1082"/>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2" name="Shape 2527">
              <a:extLst>
                <a:ext uri="{FF2B5EF4-FFF2-40B4-BE49-F238E27FC236}">
                  <a16:creationId xmlns:a16="http://schemas.microsoft.com/office/drawing/2014/main" id="{09BD8278-DC6B-723C-9DD3-66567412FAA6}"/>
                </a:ext>
              </a:extLst>
            </p:cNvPr>
            <p:cNvSpPr/>
            <p:nvPr/>
          </p:nvSpPr>
          <p:spPr>
            <a:xfrm>
              <a:off x="2534685" y="2445395"/>
              <a:ext cx="508376" cy="488248"/>
            </a:xfrm>
            <a:custGeom>
              <a:avLst/>
              <a:gdLst/>
              <a:ahLst/>
              <a:cxnLst>
                <a:cxn ang="0">
                  <a:pos x="wd2" y="hd2"/>
                </a:cxn>
                <a:cxn ang="5400000">
                  <a:pos x="wd2" y="hd2"/>
                </a:cxn>
                <a:cxn ang="10800000">
                  <a:pos x="wd2" y="hd2"/>
                </a:cxn>
                <a:cxn ang="16200000">
                  <a:pos x="wd2" y="hd2"/>
                </a:cxn>
              </a:cxnLst>
              <a:rect l="0" t="0" r="r" b="b"/>
              <a:pathLst>
                <a:path w="21426" h="21255" extrusionOk="0">
                  <a:moveTo>
                    <a:pt x="12284" y="21043"/>
                  </a:moveTo>
                  <a:cubicBezTo>
                    <a:pt x="12071" y="20706"/>
                    <a:pt x="11744" y="19695"/>
                    <a:pt x="11317" y="19578"/>
                  </a:cubicBezTo>
                  <a:cubicBezTo>
                    <a:pt x="10450" y="19358"/>
                    <a:pt x="9469" y="19578"/>
                    <a:pt x="8487" y="19695"/>
                  </a:cubicBezTo>
                  <a:cubicBezTo>
                    <a:pt x="8047" y="19695"/>
                    <a:pt x="7734" y="19812"/>
                    <a:pt x="7407" y="19915"/>
                  </a:cubicBezTo>
                  <a:cubicBezTo>
                    <a:pt x="7080" y="20032"/>
                    <a:pt x="6753" y="20149"/>
                    <a:pt x="6312" y="20369"/>
                  </a:cubicBezTo>
                  <a:cubicBezTo>
                    <a:pt x="5672" y="20149"/>
                    <a:pt x="4904" y="20252"/>
                    <a:pt x="4364" y="19812"/>
                  </a:cubicBezTo>
                  <a:cubicBezTo>
                    <a:pt x="4051" y="19695"/>
                    <a:pt x="3937" y="19255"/>
                    <a:pt x="4136" y="18918"/>
                  </a:cubicBezTo>
                  <a:cubicBezTo>
                    <a:pt x="4136" y="18684"/>
                    <a:pt x="4577" y="18918"/>
                    <a:pt x="4790" y="18684"/>
                  </a:cubicBezTo>
                  <a:cubicBezTo>
                    <a:pt x="4904" y="18684"/>
                    <a:pt x="4904" y="18464"/>
                    <a:pt x="4904" y="18244"/>
                  </a:cubicBezTo>
                  <a:cubicBezTo>
                    <a:pt x="4790" y="17907"/>
                    <a:pt x="4364" y="17468"/>
                    <a:pt x="4577" y="17131"/>
                  </a:cubicBezTo>
                  <a:cubicBezTo>
                    <a:pt x="4904" y="16456"/>
                    <a:pt x="5771" y="16339"/>
                    <a:pt x="6312" y="15885"/>
                  </a:cubicBezTo>
                  <a:cubicBezTo>
                    <a:pt x="6425" y="15782"/>
                    <a:pt x="6639" y="15445"/>
                    <a:pt x="6425" y="15328"/>
                  </a:cubicBezTo>
                  <a:cubicBezTo>
                    <a:pt x="5985" y="15328"/>
                    <a:pt x="5444" y="15885"/>
                    <a:pt x="5018" y="15782"/>
                  </a:cubicBezTo>
                  <a:cubicBezTo>
                    <a:pt x="4790" y="15782"/>
                    <a:pt x="4904" y="15328"/>
                    <a:pt x="4904" y="15108"/>
                  </a:cubicBezTo>
                  <a:cubicBezTo>
                    <a:pt x="4904" y="14888"/>
                    <a:pt x="4904" y="14654"/>
                    <a:pt x="5018" y="14551"/>
                  </a:cubicBezTo>
                  <a:cubicBezTo>
                    <a:pt x="5018" y="14214"/>
                    <a:pt x="5444" y="13877"/>
                    <a:pt x="5231" y="13760"/>
                  </a:cubicBezTo>
                  <a:cubicBezTo>
                    <a:pt x="4463" y="13203"/>
                    <a:pt x="3397" y="13203"/>
                    <a:pt x="2415" y="12866"/>
                  </a:cubicBezTo>
                  <a:cubicBezTo>
                    <a:pt x="1548" y="12529"/>
                    <a:pt x="1662" y="11415"/>
                    <a:pt x="1662" y="11415"/>
                  </a:cubicBezTo>
                  <a:cubicBezTo>
                    <a:pt x="1449" y="11298"/>
                    <a:pt x="1221" y="11196"/>
                    <a:pt x="1121" y="10961"/>
                  </a:cubicBezTo>
                  <a:cubicBezTo>
                    <a:pt x="794" y="10624"/>
                    <a:pt x="794" y="10067"/>
                    <a:pt x="567" y="9628"/>
                  </a:cubicBezTo>
                  <a:cubicBezTo>
                    <a:pt x="467" y="9408"/>
                    <a:pt x="27" y="9291"/>
                    <a:pt x="27" y="8954"/>
                  </a:cubicBezTo>
                  <a:cubicBezTo>
                    <a:pt x="140" y="8397"/>
                    <a:pt x="567" y="7942"/>
                    <a:pt x="794" y="7386"/>
                  </a:cubicBezTo>
                  <a:cubicBezTo>
                    <a:pt x="794" y="7049"/>
                    <a:pt x="794" y="6712"/>
                    <a:pt x="567" y="6492"/>
                  </a:cubicBezTo>
                  <a:cubicBezTo>
                    <a:pt x="467" y="6272"/>
                    <a:pt x="27" y="6272"/>
                    <a:pt x="27" y="5935"/>
                  </a:cubicBezTo>
                  <a:cubicBezTo>
                    <a:pt x="-73" y="5481"/>
                    <a:pt x="140" y="5041"/>
                    <a:pt x="140" y="4587"/>
                  </a:cubicBezTo>
                  <a:cubicBezTo>
                    <a:pt x="354" y="4250"/>
                    <a:pt x="567" y="3913"/>
                    <a:pt x="794" y="3693"/>
                  </a:cubicBezTo>
                  <a:cubicBezTo>
                    <a:pt x="1221" y="3473"/>
                    <a:pt x="1875" y="3576"/>
                    <a:pt x="2202" y="3136"/>
                  </a:cubicBezTo>
                  <a:cubicBezTo>
                    <a:pt x="2316" y="2901"/>
                    <a:pt x="1875" y="2462"/>
                    <a:pt x="2103" y="2345"/>
                  </a:cubicBezTo>
                  <a:cubicBezTo>
                    <a:pt x="2202" y="2125"/>
                    <a:pt x="2529" y="2564"/>
                    <a:pt x="2743" y="2564"/>
                  </a:cubicBezTo>
                  <a:cubicBezTo>
                    <a:pt x="3283" y="2799"/>
                    <a:pt x="3724" y="3019"/>
                    <a:pt x="4250" y="3136"/>
                  </a:cubicBezTo>
                  <a:cubicBezTo>
                    <a:pt x="4463" y="3136"/>
                    <a:pt x="4790" y="3019"/>
                    <a:pt x="5117" y="3136"/>
                  </a:cubicBezTo>
                  <a:cubicBezTo>
                    <a:pt x="5345" y="3356"/>
                    <a:pt x="5345" y="3810"/>
                    <a:pt x="5672" y="3913"/>
                  </a:cubicBezTo>
                  <a:cubicBezTo>
                    <a:pt x="5771" y="4030"/>
                    <a:pt x="5985" y="3810"/>
                    <a:pt x="6098" y="3693"/>
                  </a:cubicBezTo>
                  <a:cubicBezTo>
                    <a:pt x="6312" y="3136"/>
                    <a:pt x="6212" y="2564"/>
                    <a:pt x="6312" y="2125"/>
                  </a:cubicBezTo>
                  <a:cubicBezTo>
                    <a:pt x="6425" y="1788"/>
                    <a:pt x="6539" y="1451"/>
                    <a:pt x="6753" y="1114"/>
                  </a:cubicBezTo>
                  <a:cubicBezTo>
                    <a:pt x="6966" y="894"/>
                    <a:pt x="7179" y="777"/>
                    <a:pt x="7407" y="777"/>
                  </a:cubicBezTo>
                  <a:cubicBezTo>
                    <a:pt x="8274" y="557"/>
                    <a:pt x="9255" y="454"/>
                    <a:pt x="10123" y="337"/>
                  </a:cubicBezTo>
                  <a:cubicBezTo>
                    <a:pt x="10450" y="220"/>
                    <a:pt x="10663" y="0"/>
                    <a:pt x="10990" y="0"/>
                  </a:cubicBezTo>
                  <a:cubicBezTo>
                    <a:pt x="11417" y="0"/>
                    <a:pt x="11857" y="117"/>
                    <a:pt x="12185" y="337"/>
                  </a:cubicBezTo>
                  <a:cubicBezTo>
                    <a:pt x="12512" y="454"/>
                    <a:pt x="12611" y="894"/>
                    <a:pt x="12938" y="1011"/>
                  </a:cubicBezTo>
                  <a:cubicBezTo>
                    <a:pt x="13151" y="1114"/>
                    <a:pt x="13592" y="777"/>
                    <a:pt x="13919" y="1011"/>
                  </a:cubicBezTo>
                  <a:cubicBezTo>
                    <a:pt x="14360" y="1348"/>
                    <a:pt x="14360" y="2008"/>
                    <a:pt x="14687" y="2345"/>
                  </a:cubicBezTo>
                  <a:cubicBezTo>
                    <a:pt x="14787" y="2564"/>
                    <a:pt x="15228" y="2682"/>
                    <a:pt x="15327" y="2901"/>
                  </a:cubicBezTo>
                  <a:cubicBezTo>
                    <a:pt x="15441" y="3136"/>
                    <a:pt x="15327" y="3576"/>
                    <a:pt x="15555" y="3810"/>
                  </a:cubicBezTo>
                  <a:cubicBezTo>
                    <a:pt x="15555" y="4030"/>
                    <a:pt x="15981" y="3810"/>
                    <a:pt x="15981" y="3913"/>
                  </a:cubicBezTo>
                  <a:cubicBezTo>
                    <a:pt x="15981" y="4367"/>
                    <a:pt x="15654" y="4807"/>
                    <a:pt x="15654" y="5261"/>
                  </a:cubicBezTo>
                  <a:cubicBezTo>
                    <a:pt x="15654" y="5935"/>
                    <a:pt x="15867" y="6492"/>
                    <a:pt x="16195" y="7049"/>
                  </a:cubicBezTo>
                  <a:cubicBezTo>
                    <a:pt x="16308" y="7503"/>
                    <a:pt x="16522" y="7942"/>
                    <a:pt x="16849" y="8162"/>
                  </a:cubicBezTo>
                  <a:cubicBezTo>
                    <a:pt x="17617" y="8499"/>
                    <a:pt x="18598" y="8280"/>
                    <a:pt x="19351" y="8499"/>
                  </a:cubicBezTo>
                  <a:cubicBezTo>
                    <a:pt x="20105" y="8836"/>
                    <a:pt x="20759" y="9408"/>
                    <a:pt x="21413" y="9847"/>
                  </a:cubicBezTo>
                  <a:cubicBezTo>
                    <a:pt x="21413" y="10624"/>
                    <a:pt x="21527" y="11298"/>
                    <a:pt x="21086" y="11753"/>
                  </a:cubicBezTo>
                  <a:cubicBezTo>
                    <a:pt x="20645" y="12090"/>
                    <a:pt x="19238" y="13203"/>
                    <a:pt x="20005" y="13760"/>
                  </a:cubicBezTo>
                  <a:cubicBezTo>
                    <a:pt x="21200" y="14771"/>
                    <a:pt x="17617" y="17233"/>
                    <a:pt x="16735" y="18127"/>
                  </a:cubicBezTo>
                  <a:cubicBezTo>
                    <a:pt x="14460" y="20706"/>
                    <a:pt x="14460" y="20706"/>
                    <a:pt x="14460" y="20706"/>
                  </a:cubicBezTo>
                  <a:cubicBezTo>
                    <a:pt x="13592" y="21600"/>
                    <a:pt x="13052" y="21160"/>
                    <a:pt x="12284" y="21043"/>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3" name="Shape 2528">
              <a:extLst>
                <a:ext uri="{FF2B5EF4-FFF2-40B4-BE49-F238E27FC236}">
                  <a16:creationId xmlns:a16="http://schemas.microsoft.com/office/drawing/2014/main" id="{C0AF7025-F5A0-C710-682F-DBAD3673BB63}"/>
                </a:ext>
              </a:extLst>
            </p:cNvPr>
            <p:cNvSpPr/>
            <p:nvPr/>
          </p:nvSpPr>
          <p:spPr>
            <a:xfrm>
              <a:off x="2684571" y="2894269"/>
              <a:ext cx="140880" cy="48789"/>
            </a:xfrm>
            <a:custGeom>
              <a:avLst/>
              <a:gdLst/>
              <a:ahLst/>
              <a:cxnLst>
                <a:cxn ang="0">
                  <a:pos x="wd2" y="hd2"/>
                </a:cxn>
                <a:cxn ang="5400000">
                  <a:pos x="wd2" y="hd2"/>
                </a:cxn>
                <a:cxn ang="10800000">
                  <a:pos x="wd2" y="hd2"/>
                </a:cxn>
                <a:cxn ang="16200000">
                  <a:pos x="wd2" y="hd2"/>
                </a:cxn>
              </a:cxnLst>
              <a:rect l="0" t="0" r="r" b="b"/>
              <a:pathLst>
                <a:path w="21600" h="20386" extrusionOk="0">
                  <a:moveTo>
                    <a:pt x="2777" y="20386"/>
                  </a:moveTo>
                  <a:cubicBezTo>
                    <a:pt x="3960" y="18268"/>
                    <a:pt x="5503" y="18268"/>
                    <a:pt x="7457" y="19398"/>
                  </a:cubicBezTo>
                  <a:cubicBezTo>
                    <a:pt x="10646" y="19398"/>
                    <a:pt x="12600" y="15021"/>
                    <a:pt x="15326" y="12904"/>
                  </a:cubicBezTo>
                  <a:cubicBezTo>
                    <a:pt x="16509" y="11774"/>
                    <a:pt x="18463" y="16151"/>
                    <a:pt x="19286" y="15021"/>
                  </a:cubicBezTo>
                  <a:cubicBezTo>
                    <a:pt x="20057" y="13892"/>
                    <a:pt x="20829" y="13892"/>
                    <a:pt x="21600" y="15021"/>
                  </a:cubicBezTo>
                  <a:cubicBezTo>
                    <a:pt x="20829" y="11774"/>
                    <a:pt x="19646" y="2033"/>
                    <a:pt x="18103" y="904"/>
                  </a:cubicBezTo>
                  <a:cubicBezTo>
                    <a:pt x="14966" y="-1214"/>
                    <a:pt x="11417" y="904"/>
                    <a:pt x="7869" y="2033"/>
                  </a:cubicBezTo>
                  <a:cubicBezTo>
                    <a:pt x="6274" y="2033"/>
                    <a:pt x="5143" y="3162"/>
                    <a:pt x="3960" y="4151"/>
                  </a:cubicBezTo>
                  <a:cubicBezTo>
                    <a:pt x="2777" y="5280"/>
                    <a:pt x="1594" y="6410"/>
                    <a:pt x="0" y="8527"/>
                  </a:cubicBezTo>
                  <a:cubicBezTo>
                    <a:pt x="2777" y="20386"/>
                    <a:pt x="2777" y="20386"/>
                    <a:pt x="2777" y="20386"/>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4" name="Shape 2529">
              <a:extLst>
                <a:ext uri="{FF2B5EF4-FFF2-40B4-BE49-F238E27FC236}">
                  <a16:creationId xmlns:a16="http://schemas.microsoft.com/office/drawing/2014/main" id="{08C26E21-BDA6-F7B1-8E59-AD03A5712A33}"/>
                </a:ext>
              </a:extLst>
            </p:cNvPr>
            <p:cNvSpPr/>
            <p:nvPr/>
          </p:nvSpPr>
          <p:spPr>
            <a:xfrm>
              <a:off x="2317411" y="1708055"/>
              <a:ext cx="1075553" cy="962962"/>
            </a:xfrm>
            <a:custGeom>
              <a:avLst/>
              <a:gdLst/>
              <a:ahLst/>
              <a:cxnLst>
                <a:cxn ang="0">
                  <a:pos x="wd2" y="hd2"/>
                </a:cxn>
                <a:cxn ang="5400000">
                  <a:pos x="wd2" y="hd2"/>
                </a:cxn>
                <a:cxn ang="10800000">
                  <a:pos x="wd2" y="hd2"/>
                </a:cxn>
                <a:cxn ang="16200000">
                  <a:pos x="wd2" y="hd2"/>
                </a:cxn>
              </a:cxnLst>
              <a:rect l="0" t="0" r="r" b="b"/>
              <a:pathLst>
                <a:path w="21387" h="21600" extrusionOk="0">
                  <a:moveTo>
                    <a:pt x="18476" y="10569"/>
                  </a:moveTo>
                  <a:cubicBezTo>
                    <a:pt x="18322" y="10516"/>
                    <a:pt x="18221" y="10456"/>
                    <a:pt x="18067" y="10516"/>
                  </a:cubicBezTo>
                  <a:cubicBezTo>
                    <a:pt x="17913" y="10516"/>
                    <a:pt x="17812" y="10857"/>
                    <a:pt x="17611" y="10857"/>
                  </a:cubicBezTo>
                  <a:cubicBezTo>
                    <a:pt x="17403" y="10804"/>
                    <a:pt x="17350" y="10516"/>
                    <a:pt x="17202" y="10396"/>
                  </a:cubicBezTo>
                  <a:cubicBezTo>
                    <a:pt x="16994" y="10343"/>
                    <a:pt x="16787" y="10222"/>
                    <a:pt x="16632" y="10343"/>
                  </a:cubicBezTo>
                  <a:cubicBezTo>
                    <a:pt x="16485" y="10456"/>
                    <a:pt x="16331" y="10743"/>
                    <a:pt x="16378" y="11031"/>
                  </a:cubicBezTo>
                  <a:cubicBezTo>
                    <a:pt x="16431" y="11378"/>
                    <a:pt x="16787" y="11613"/>
                    <a:pt x="16840" y="11953"/>
                  </a:cubicBezTo>
                  <a:cubicBezTo>
                    <a:pt x="16840" y="12187"/>
                    <a:pt x="16787" y="12422"/>
                    <a:pt x="16632" y="12535"/>
                  </a:cubicBezTo>
                  <a:cubicBezTo>
                    <a:pt x="16378" y="12649"/>
                    <a:pt x="16069" y="12301"/>
                    <a:pt x="15868" y="12475"/>
                  </a:cubicBezTo>
                  <a:cubicBezTo>
                    <a:pt x="15660" y="12709"/>
                    <a:pt x="15613" y="13170"/>
                    <a:pt x="15768" y="13397"/>
                  </a:cubicBezTo>
                  <a:cubicBezTo>
                    <a:pt x="15915" y="13631"/>
                    <a:pt x="16277" y="13170"/>
                    <a:pt x="16532" y="13344"/>
                  </a:cubicBezTo>
                  <a:cubicBezTo>
                    <a:pt x="16632" y="13397"/>
                    <a:pt x="16331" y="13631"/>
                    <a:pt x="16431" y="13745"/>
                  </a:cubicBezTo>
                  <a:cubicBezTo>
                    <a:pt x="16485" y="13858"/>
                    <a:pt x="16632" y="13805"/>
                    <a:pt x="16740" y="13745"/>
                  </a:cubicBezTo>
                  <a:cubicBezTo>
                    <a:pt x="16894" y="13684"/>
                    <a:pt x="16994" y="13518"/>
                    <a:pt x="17149" y="13397"/>
                  </a:cubicBezTo>
                  <a:cubicBezTo>
                    <a:pt x="17457" y="13223"/>
                    <a:pt x="17712" y="12883"/>
                    <a:pt x="18067" y="12936"/>
                  </a:cubicBezTo>
                  <a:cubicBezTo>
                    <a:pt x="18275" y="12936"/>
                    <a:pt x="18221" y="13223"/>
                    <a:pt x="18322" y="13397"/>
                  </a:cubicBezTo>
                  <a:cubicBezTo>
                    <a:pt x="18121" y="14093"/>
                    <a:pt x="17812" y="14841"/>
                    <a:pt x="17403" y="15423"/>
                  </a:cubicBezTo>
                  <a:cubicBezTo>
                    <a:pt x="17457" y="15650"/>
                    <a:pt x="17095" y="16406"/>
                    <a:pt x="16894" y="16459"/>
                  </a:cubicBezTo>
                  <a:cubicBezTo>
                    <a:pt x="16894" y="16459"/>
                    <a:pt x="16894" y="16459"/>
                    <a:pt x="16894" y="16519"/>
                  </a:cubicBezTo>
                  <a:cubicBezTo>
                    <a:pt x="17611" y="16693"/>
                    <a:pt x="16123" y="19294"/>
                    <a:pt x="15969" y="19634"/>
                  </a:cubicBezTo>
                  <a:cubicBezTo>
                    <a:pt x="15613" y="20156"/>
                    <a:pt x="15050" y="20330"/>
                    <a:pt x="14688" y="20791"/>
                  </a:cubicBezTo>
                  <a:cubicBezTo>
                    <a:pt x="14487" y="21025"/>
                    <a:pt x="14434" y="21313"/>
                    <a:pt x="14434" y="21600"/>
                  </a:cubicBezTo>
                  <a:cubicBezTo>
                    <a:pt x="14125" y="21373"/>
                    <a:pt x="13817" y="21078"/>
                    <a:pt x="13461" y="20904"/>
                  </a:cubicBezTo>
                  <a:cubicBezTo>
                    <a:pt x="13106" y="20791"/>
                    <a:pt x="12644" y="20904"/>
                    <a:pt x="12282" y="20731"/>
                  </a:cubicBezTo>
                  <a:cubicBezTo>
                    <a:pt x="12127" y="20617"/>
                    <a:pt x="12027" y="20390"/>
                    <a:pt x="11973" y="20156"/>
                  </a:cubicBezTo>
                  <a:cubicBezTo>
                    <a:pt x="11819" y="19869"/>
                    <a:pt x="11718" y="19581"/>
                    <a:pt x="11718" y="19234"/>
                  </a:cubicBezTo>
                  <a:cubicBezTo>
                    <a:pt x="11718" y="18999"/>
                    <a:pt x="11873" y="18772"/>
                    <a:pt x="11873" y="18538"/>
                  </a:cubicBezTo>
                  <a:cubicBezTo>
                    <a:pt x="11873" y="18485"/>
                    <a:pt x="11672" y="18599"/>
                    <a:pt x="11672" y="18485"/>
                  </a:cubicBezTo>
                  <a:cubicBezTo>
                    <a:pt x="11564" y="18364"/>
                    <a:pt x="11618" y="18137"/>
                    <a:pt x="11564" y="18016"/>
                  </a:cubicBezTo>
                  <a:cubicBezTo>
                    <a:pt x="11517" y="17903"/>
                    <a:pt x="11309" y="17842"/>
                    <a:pt x="11263" y="17729"/>
                  </a:cubicBezTo>
                  <a:cubicBezTo>
                    <a:pt x="11108" y="17555"/>
                    <a:pt x="11108" y="17215"/>
                    <a:pt x="10901" y="17041"/>
                  </a:cubicBezTo>
                  <a:cubicBezTo>
                    <a:pt x="10746" y="16920"/>
                    <a:pt x="10539" y="17094"/>
                    <a:pt x="10438" y="17041"/>
                  </a:cubicBezTo>
                  <a:cubicBezTo>
                    <a:pt x="10284" y="16981"/>
                    <a:pt x="10237" y="16754"/>
                    <a:pt x="10083" y="16693"/>
                  </a:cubicBezTo>
                  <a:cubicBezTo>
                    <a:pt x="9928" y="16580"/>
                    <a:pt x="9721" y="16519"/>
                    <a:pt x="9520" y="16519"/>
                  </a:cubicBezTo>
                  <a:cubicBezTo>
                    <a:pt x="9365" y="16519"/>
                    <a:pt x="9265" y="16633"/>
                    <a:pt x="9111" y="16693"/>
                  </a:cubicBezTo>
                  <a:cubicBezTo>
                    <a:pt x="8702" y="16754"/>
                    <a:pt x="8239" y="16807"/>
                    <a:pt x="7830" y="16920"/>
                  </a:cubicBezTo>
                  <a:cubicBezTo>
                    <a:pt x="7723" y="16920"/>
                    <a:pt x="7622" y="16981"/>
                    <a:pt x="7522" y="17094"/>
                  </a:cubicBezTo>
                  <a:cubicBezTo>
                    <a:pt x="7421" y="17268"/>
                    <a:pt x="7368" y="17442"/>
                    <a:pt x="7314" y="17616"/>
                  </a:cubicBezTo>
                  <a:cubicBezTo>
                    <a:pt x="7267" y="17842"/>
                    <a:pt x="7314" y="18137"/>
                    <a:pt x="7213" y="18425"/>
                  </a:cubicBezTo>
                  <a:cubicBezTo>
                    <a:pt x="7160" y="18485"/>
                    <a:pt x="7059" y="18599"/>
                    <a:pt x="7012" y="18538"/>
                  </a:cubicBezTo>
                  <a:cubicBezTo>
                    <a:pt x="6858" y="18485"/>
                    <a:pt x="6858" y="18251"/>
                    <a:pt x="6751" y="18137"/>
                  </a:cubicBezTo>
                  <a:cubicBezTo>
                    <a:pt x="6597" y="18077"/>
                    <a:pt x="6442" y="18137"/>
                    <a:pt x="6342" y="18137"/>
                  </a:cubicBezTo>
                  <a:cubicBezTo>
                    <a:pt x="6094" y="18077"/>
                    <a:pt x="5886" y="17963"/>
                    <a:pt x="5631" y="17842"/>
                  </a:cubicBezTo>
                  <a:cubicBezTo>
                    <a:pt x="5531" y="17842"/>
                    <a:pt x="5377" y="17616"/>
                    <a:pt x="5330" y="17729"/>
                  </a:cubicBezTo>
                  <a:cubicBezTo>
                    <a:pt x="5222" y="17790"/>
                    <a:pt x="5430" y="18016"/>
                    <a:pt x="5377" y="18137"/>
                  </a:cubicBezTo>
                  <a:cubicBezTo>
                    <a:pt x="5222" y="18364"/>
                    <a:pt x="4914" y="18311"/>
                    <a:pt x="4713" y="18425"/>
                  </a:cubicBezTo>
                  <a:cubicBezTo>
                    <a:pt x="4606" y="18538"/>
                    <a:pt x="4505" y="18712"/>
                    <a:pt x="4404" y="18886"/>
                  </a:cubicBezTo>
                  <a:cubicBezTo>
                    <a:pt x="4197" y="18772"/>
                    <a:pt x="3996" y="18599"/>
                    <a:pt x="3788" y="18599"/>
                  </a:cubicBezTo>
                  <a:cubicBezTo>
                    <a:pt x="3634" y="18599"/>
                    <a:pt x="3587" y="18825"/>
                    <a:pt x="3486" y="18825"/>
                  </a:cubicBezTo>
                  <a:cubicBezTo>
                    <a:pt x="3225" y="18825"/>
                    <a:pt x="3023" y="18538"/>
                    <a:pt x="2816" y="18538"/>
                  </a:cubicBezTo>
                  <a:cubicBezTo>
                    <a:pt x="2715" y="18485"/>
                    <a:pt x="2615" y="18599"/>
                    <a:pt x="2507" y="18599"/>
                  </a:cubicBezTo>
                  <a:cubicBezTo>
                    <a:pt x="2460" y="18599"/>
                    <a:pt x="2507" y="18538"/>
                    <a:pt x="2507" y="18485"/>
                  </a:cubicBezTo>
                  <a:cubicBezTo>
                    <a:pt x="2507" y="18425"/>
                    <a:pt x="2561" y="18364"/>
                    <a:pt x="2507" y="18311"/>
                  </a:cubicBezTo>
                  <a:cubicBezTo>
                    <a:pt x="2507" y="18077"/>
                    <a:pt x="2507" y="17790"/>
                    <a:pt x="2306" y="17676"/>
                  </a:cubicBezTo>
                  <a:cubicBezTo>
                    <a:pt x="2152" y="17555"/>
                    <a:pt x="1944" y="17729"/>
                    <a:pt x="1743" y="17729"/>
                  </a:cubicBezTo>
                  <a:cubicBezTo>
                    <a:pt x="1642" y="17729"/>
                    <a:pt x="1535" y="17555"/>
                    <a:pt x="1435" y="17616"/>
                  </a:cubicBezTo>
                  <a:cubicBezTo>
                    <a:pt x="1334" y="17676"/>
                    <a:pt x="1381" y="17903"/>
                    <a:pt x="1280" y="17963"/>
                  </a:cubicBezTo>
                  <a:cubicBezTo>
                    <a:pt x="1180" y="18016"/>
                    <a:pt x="1026" y="18016"/>
                    <a:pt x="925" y="17963"/>
                  </a:cubicBezTo>
                  <a:cubicBezTo>
                    <a:pt x="818" y="17842"/>
                    <a:pt x="818" y="17616"/>
                    <a:pt x="717" y="17555"/>
                  </a:cubicBezTo>
                  <a:cubicBezTo>
                    <a:pt x="509" y="17555"/>
                    <a:pt x="409" y="17842"/>
                    <a:pt x="255" y="17842"/>
                  </a:cubicBezTo>
                  <a:cubicBezTo>
                    <a:pt x="154" y="17842"/>
                    <a:pt x="101" y="17676"/>
                    <a:pt x="0" y="17616"/>
                  </a:cubicBezTo>
                  <a:cubicBezTo>
                    <a:pt x="154" y="17268"/>
                    <a:pt x="355" y="17041"/>
                    <a:pt x="463" y="16693"/>
                  </a:cubicBezTo>
                  <a:cubicBezTo>
                    <a:pt x="563" y="16406"/>
                    <a:pt x="563" y="16058"/>
                    <a:pt x="617" y="15763"/>
                  </a:cubicBezTo>
                  <a:cubicBezTo>
                    <a:pt x="617" y="15650"/>
                    <a:pt x="563" y="15537"/>
                    <a:pt x="563" y="15423"/>
                  </a:cubicBezTo>
                  <a:cubicBezTo>
                    <a:pt x="617" y="15302"/>
                    <a:pt x="717" y="15189"/>
                    <a:pt x="664" y="15136"/>
                  </a:cubicBezTo>
                  <a:cubicBezTo>
                    <a:pt x="664" y="14962"/>
                    <a:pt x="463" y="14788"/>
                    <a:pt x="563" y="14614"/>
                  </a:cubicBezTo>
                  <a:cubicBezTo>
                    <a:pt x="617" y="14440"/>
                    <a:pt x="872" y="14440"/>
                    <a:pt x="1026" y="14380"/>
                  </a:cubicBezTo>
                  <a:cubicBezTo>
                    <a:pt x="1073" y="14327"/>
                    <a:pt x="1126" y="14266"/>
                    <a:pt x="1180" y="14206"/>
                  </a:cubicBezTo>
                  <a:cubicBezTo>
                    <a:pt x="1435" y="14153"/>
                    <a:pt x="1642" y="13979"/>
                    <a:pt x="1897" y="13979"/>
                  </a:cubicBezTo>
                  <a:cubicBezTo>
                    <a:pt x="1944" y="13979"/>
                    <a:pt x="1998" y="14093"/>
                    <a:pt x="2051" y="14093"/>
                  </a:cubicBezTo>
                  <a:cubicBezTo>
                    <a:pt x="2407" y="14032"/>
                    <a:pt x="2661" y="13805"/>
                    <a:pt x="2970" y="13745"/>
                  </a:cubicBezTo>
                  <a:cubicBezTo>
                    <a:pt x="3070" y="13745"/>
                    <a:pt x="3070" y="13919"/>
                    <a:pt x="3178" y="13919"/>
                  </a:cubicBezTo>
                  <a:cubicBezTo>
                    <a:pt x="3432" y="13979"/>
                    <a:pt x="3687" y="13919"/>
                    <a:pt x="3942" y="13858"/>
                  </a:cubicBezTo>
                  <a:cubicBezTo>
                    <a:pt x="4150" y="13805"/>
                    <a:pt x="4351" y="13571"/>
                    <a:pt x="4606" y="13518"/>
                  </a:cubicBezTo>
                  <a:cubicBezTo>
                    <a:pt x="4760" y="13457"/>
                    <a:pt x="4968" y="13571"/>
                    <a:pt x="5122" y="13518"/>
                  </a:cubicBezTo>
                  <a:cubicBezTo>
                    <a:pt x="5276" y="13457"/>
                    <a:pt x="5477" y="13344"/>
                    <a:pt x="5531" y="13170"/>
                  </a:cubicBezTo>
                  <a:cubicBezTo>
                    <a:pt x="5631" y="12883"/>
                    <a:pt x="5430" y="12596"/>
                    <a:pt x="5377" y="12301"/>
                  </a:cubicBezTo>
                  <a:cubicBezTo>
                    <a:pt x="5377" y="12127"/>
                    <a:pt x="5222" y="11900"/>
                    <a:pt x="5330" y="11779"/>
                  </a:cubicBezTo>
                  <a:cubicBezTo>
                    <a:pt x="5631" y="11552"/>
                    <a:pt x="6094" y="11666"/>
                    <a:pt x="6342" y="11318"/>
                  </a:cubicBezTo>
                  <a:cubicBezTo>
                    <a:pt x="6650" y="10978"/>
                    <a:pt x="6442" y="10343"/>
                    <a:pt x="6751" y="9995"/>
                  </a:cubicBezTo>
                  <a:cubicBezTo>
                    <a:pt x="7059" y="9647"/>
                    <a:pt x="7575" y="9587"/>
                    <a:pt x="7984" y="9587"/>
                  </a:cubicBezTo>
                  <a:cubicBezTo>
                    <a:pt x="8239" y="9534"/>
                    <a:pt x="8494" y="9934"/>
                    <a:pt x="8702" y="9874"/>
                  </a:cubicBezTo>
                  <a:cubicBezTo>
                    <a:pt x="8956" y="9821"/>
                    <a:pt x="9057" y="9473"/>
                    <a:pt x="9211" y="9239"/>
                  </a:cubicBezTo>
                  <a:cubicBezTo>
                    <a:pt x="9211" y="9239"/>
                    <a:pt x="9211" y="8725"/>
                    <a:pt x="9211" y="8604"/>
                  </a:cubicBezTo>
                  <a:cubicBezTo>
                    <a:pt x="9211" y="8490"/>
                    <a:pt x="9211" y="7742"/>
                    <a:pt x="9211" y="7742"/>
                  </a:cubicBezTo>
                  <a:cubicBezTo>
                    <a:pt x="9265" y="7568"/>
                    <a:pt x="9466" y="7455"/>
                    <a:pt x="9419" y="7334"/>
                  </a:cubicBezTo>
                  <a:cubicBezTo>
                    <a:pt x="9265" y="7046"/>
                    <a:pt x="8702" y="7046"/>
                    <a:pt x="8702" y="6698"/>
                  </a:cubicBezTo>
                  <a:cubicBezTo>
                    <a:pt x="8648" y="6358"/>
                    <a:pt x="9312" y="6298"/>
                    <a:pt x="9365" y="5950"/>
                  </a:cubicBezTo>
                  <a:cubicBezTo>
                    <a:pt x="9365" y="5723"/>
                    <a:pt x="8802" y="5897"/>
                    <a:pt x="8749" y="5663"/>
                  </a:cubicBezTo>
                  <a:cubicBezTo>
                    <a:pt x="8702" y="5375"/>
                    <a:pt x="8956" y="5081"/>
                    <a:pt x="9158" y="4854"/>
                  </a:cubicBezTo>
                  <a:cubicBezTo>
                    <a:pt x="9312" y="4740"/>
                    <a:pt x="9566" y="4907"/>
                    <a:pt x="9721" y="4793"/>
                  </a:cubicBezTo>
                  <a:cubicBezTo>
                    <a:pt x="9928" y="4619"/>
                    <a:pt x="9928" y="4219"/>
                    <a:pt x="10130" y="4045"/>
                  </a:cubicBezTo>
                  <a:cubicBezTo>
                    <a:pt x="10284" y="3931"/>
                    <a:pt x="10492" y="3818"/>
                    <a:pt x="10646" y="3871"/>
                  </a:cubicBezTo>
                  <a:cubicBezTo>
                    <a:pt x="10847" y="3984"/>
                    <a:pt x="10847" y="4332"/>
                    <a:pt x="11055" y="4446"/>
                  </a:cubicBezTo>
                  <a:cubicBezTo>
                    <a:pt x="11155" y="4506"/>
                    <a:pt x="11155" y="4219"/>
                    <a:pt x="11209" y="4219"/>
                  </a:cubicBezTo>
                  <a:cubicBezTo>
                    <a:pt x="11464" y="4219"/>
                    <a:pt x="11618" y="4566"/>
                    <a:pt x="11819" y="4566"/>
                  </a:cubicBezTo>
                  <a:cubicBezTo>
                    <a:pt x="12027" y="4566"/>
                    <a:pt x="12127" y="4279"/>
                    <a:pt x="12282" y="4158"/>
                  </a:cubicBezTo>
                  <a:cubicBezTo>
                    <a:pt x="12335" y="4105"/>
                    <a:pt x="12489" y="4045"/>
                    <a:pt x="12489" y="3931"/>
                  </a:cubicBezTo>
                  <a:cubicBezTo>
                    <a:pt x="12489" y="3818"/>
                    <a:pt x="12335" y="3758"/>
                    <a:pt x="12228" y="3758"/>
                  </a:cubicBezTo>
                  <a:cubicBezTo>
                    <a:pt x="12127" y="3697"/>
                    <a:pt x="11973" y="3871"/>
                    <a:pt x="11873" y="3818"/>
                  </a:cubicBezTo>
                  <a:cubicBezTo>
                    <a:pt x="11718" y="3758"/>
                    <a:pt x="11517" y="3697"/>
                    <a:pt x="11410" y="3523"/>
                  </a:cubicBezTo>
                  <a:cubicBezTo>
                    <a:pt x="11309" y="3296"/>
                    <a:pt x="11564" y="3062"/>
                    <a:pt x="11464" y="2828"/>
                  </a:cubicBezTo>
                  <a:cubicBezTo>
                    <a:pt x="11309" y="2540"/>
                    <a:pt x="10901" y="2540"/>
                    <a:pt x="10847" y="2253"/>
                  </a:cubicBezTo>
                  <a:cubicBezTo>
                    <a:pt x="10746" y="1852"/>
                    <a:pt x="11055" y="1505"/>
                    <a:pt x="11108" y="1157"/>
                  </a:cubicBezTo>
                  <a:cubicBezTo>
                    <a:pt x="11108" y="809"/>
                    <a:pt x="11055" y="869"/>
                    <a:pt x="11001" y="522"/>
                  </a:cubicBezTo>
                  <a:cubicBezTo>
                    <a:pt x="11155" y="582"/>
                    <a:pt x="11309" y="582"/>
                    <a:pt x="11410" y="582"/>
                  </a:cubicBezTo>
                  <a:cubicBezTo>
                    <a:pt x="12181" y="408"/>
                    <a:pt x="15560" y="1618"/>
                    <a:pt x="15868" y="287"/>
                  </a:cubicBezTo>
                  <a:cubicBezTo>
                    <a:pt x="16123" y="287"/>
                    <a:pt x="16431" y="696"/>
                    <a:pt x="16740" y="696"/>
                  </a:cubicBezTo>
                  <a:cubicBezTo>
                    <a:pt x="17149" y="756"/>
                    <a:pt x="17457" y="696"/>
                    <a:pt x="17712" y="287"/>
                  </a:cubicBezTo>
                  <a:cubicBezTo>
                    <a:pt x="17913" y="0"/>
                    <a:pt x="17913" y="0"/>
                    <a:pt x="17913" y="0"/>
                  </a:cubicBezTo>
                  <a:cubicBezTo>
                    <a:pt x="18174" y="0"/>
                    <a:pt x="18476" y="461"/>
                    <a:pt x="18784" y="582"/>
                  </a:cubicBezTo>
                  <a:cubicBezTo>
                    <a:pt x="19193" y="696"/>
                    <a:pt x="19455" y="809"/>
                    <a:pt x="19911" y="809"/>
                  </a:cubicBezTo>
                  <a:cubicBezTo>
                    <a:pt x="19911" y="809"/>
                    <a:pt x="19911" y="809"/>
                    <a:pt x="19911" y="869"/>
                  </a:cubicBezTo>
                  <a:cubicBezTo>
                    <a:pt x="20065" y="1270"/>
                    <a:pt x="20065" y="1270"/>
                    <a:pt x="20065" y="1270"/>
                  </a:cubicBezTo>
                  <a:cubicBezTo>
                    <a:pt x="20165" y="1618"/>
                    <a:pt x="20581" y="2026"/>
                    <a:pt x="20889" y="2140"/>
                  </a:cubicBezTo>
                  <a:cubicBezTo>
                    <a:pt x="20889" y="2775"/>
                    <a:pt x="20936" y="2888"/>
                    <a:pt x="21091" y="3523"/>
                  </a:cubicBezTo>
                  <a:cubicBezTo>
                    <a:pt x="21245" y="4045"/>
                    <a:pt x="21191" y="4566"/>
                    <a:pt x="21298" y="5081"/>
                  </a:cubicBezTo>
                  <a:cubicBezTo>
                    <a:pt x="21600" y="5141"/>
                    <a:pt x="21037" y="6184"/>
                    <a:pt x="20990" y="6411"/>
                  </a:cubicBezTo>
                  <a:cubicBezTo>
                    <a:pt x="20889" y="6585"/>
                    <a:pt x="20682" y="6646"/>
                    <a:pt x="20527" y="6819"/>
                  </a:cubicBezTo>
                  <a:cubicBezTo>
                    <a:pt x="20373" y="7046"/>
                    <a:pt x="20527" y="7334"/>
                    <a:pt x="20165" y="7507"/>
                  </a:cubicBezTo>
                  <a:cubicBezTo>
                    <a:pt x="20118" y="7681"/>
                    <a:pt x="19709" y="8143"/>
                    <a:pt x="19602" y="8316"/>
                  </a:cubicBezTo>
                  <a:cubicBezTo>
                    <a:pt x="19193" y="8951"/>
                    <a:pt x="18784" y="9760"/>
                    <a:pt x="18476" y="10569"/>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5" name="Shape 2530">
              <a:extLst>
                <a:ext uri="{FF2B5EF4-FFF2-40B4-BE49-F238E27FC236}">
                  <a16:creationId xmlns:a16="http://schemas.microsoft.com/office/drawing/2014/main" id="{56616603-A0E2-D82D-9E84-3279B7E6D593}"/>
                </a:ext>
              </a:extLst>
            </p:cNvPr>
            <p:cNvSpPr/>
            <p:nvPr/>
          </p:nvSpPr>
          <p:spPr>
            <a:xfrm>
              <a:off x="731343" y="744792"/>
              <a:ext cx="2000458" cy="2145088"/>
            </a:xfrm>
            <a:custGeom>
              <a:avLst/>
              <a:gdLst/>
              <a:ahLst/>
              <a:cxnLst>
                <a:cxn ang="0">
                  <a:pos x="wd2" y="hd2"/>
                </a:cxn>
                <a:cxn ang="5400000">
                  <a:pos x="wd2" y="hd2"/>
                </a:cxn>
                <a:cxn ang="10800000">
                  <a:pos x="wd2" y="hd2"/>
                </a:cxn>
                <a:cxn ang="16200000">
                  <a:pos x="wd2" y="hd2"/>
                </a:cxn>
              </a:cxnLst>
              <a:rect l="0" t="0" r="r" b="b"/>
              <a:pathLst>
                <a:path w="21600" h="21528" extrusionOk="0">
                  <a:moveTo>
                    <a:pt x="3476" y="17861"/>
                  </a:moveTo>
                  <a:cubicBezTo>
                    <a:pt x="3393" y="17861"/>
                    <a:pt x="3280" y="17706"/>
                    <a:pt x="3309" y="17628"/>
                  </a:cubicBezTo>
                  <a:cubicBezTo>
                    <a:pt x="3338" y="17577"/>
                    <a:pt x="3418" y="17550"/>
                    <a:pt x="3476" y="17550"/>
                  </a:cubicBezTo>
                  <a:cubicBezTo>
                    <a:pt x="3615" y="17550"/>
                    <a:pt x="3585" y="17445"/>
                    <a:pt x="3615" y="17344"/>
                  </a:cubicBezTo>
                  <a:cubicBezTo>
                    <a:pt x="3615" y="17317"/>
                    <a:pt x="3615" y="17239"/>
                    <a:pt x="3669" y="17239"/>
                  </a:cubicBezTo>
                  <a:cubicBezTo>
                    <a:pt x="3724" y="17239"/>
                    <a:pt x="3782" y="17215"/>
                    <a:pt x="3807" y="17215"/>
                  </a:cubicBezTo>
                  <a:cubicBezTo>
                    <a:pt x="3837" y="17344"/>
                    <a:pt x="3837" y="17577"/>
                    <a:pt x="3782" y="17679"/>
                  </a:cubicBezTo>
                  <a:cubicBezTo>
                    <a:pt x="3782" y="17706"/>
                    <a:pt x="3753" y="17730"/>
                    <a:pt x="3753" y="17784"/>
                  </a:cubicBezTo>
                  <a:cubicBezTo>
                    <a:pt x="3753" y="17834"/>
                    <a:pt x="3807" y="17861"/>
                    <a:pt x="3753" y="17885"/>
                  </a:cubicBezTo>
                  <a:cubicBezTo>
                    <a:pt x="3698" y="17939"/>
                    <a:pt x="3615" y="17939"/>
                    <a:pt x="3531" y="17912"/>
                  </a:cubicBezTo>
                  <a:cubicBezTo>
                    <a:pt x="3476" y="17861"/>
                    <a:pt x="3476" y="17861"/>
                    <a:pt x="3476" y="17861"/>
                  </a:cubicBezTo>
                  <a:close/>
                  <a:moveTo>
                    <a:pt x="3225" y="18196"/>
                  </a:moveTo>
                  <a:cubicBezTo>
                    <a:pt x="3196" y="18223"/>
                    <a:pt x="3170" y="18196"/>
                    <a:pt x="3141" y="18196"/>
                  </a:cubicBezTo>
                  <a:cubicBezTo>
                    <a:pt x="3116" y="18196"/>
                    <a:pt x="3087" y="18223"/>
                    <a:pt x="3058" y="18223"/>
                  </a:cubicBezTo>
                  <a:cubicBezTo>
                    <a:pt x="3032" y="18247"/>
                    <a:pt x="3058" y="18325"/>
                    <a:pt x="3087" y="18352"/>
                  </a:cubicBezTo>
                  <a:cubicBezTo>
                    <a:pt x="3141" y="18352"/>
                    <a:pt x="3141" y="18352"/>
                    <a:pt x="3196" y="18352"/>
                  </a:cubicBezTo>
                  <a:cubicBezTo>
                    <a:pt x="3254" y="18352"/>
                    <a:pt x="3280" y="18274"/>
                    <a:pt x="3309" y="18247"/>
                  </a:cubicBezTo>
                  <a:cubicBezTo>
                    <a:pt x="3225" y="18196"/>
                    <a:pt x="3225" y="18196"/>
                    <a:pt x="3225" y="18196"/>
                  </a:cubicBezTo>
                  <a:close/>
                  <a:moveTo>
                    <a:pt x="2002" y="16542"/>
                  </a:moveTo>
                  <a:cubicBezTo>
                    <a:pt x="2195" y="16492"/>
                    <a:pt x="2446" y="16025"/>
                    <a:pt x="2668" y="16130"/>
                  </a:cubicBezTo>
                  <a:cubicBezTo>
                    <a:pt x="2781" y="16157"/>
                    <a:pt x="2919" y="16234"/>
                    <a:pt x="2974" y="16309"/>
                  </a:cubicBezTo>
                  <a:cubicBezTo>
                    <a:pt x="3170" y="16492"/>
                    <a:pt x="2974" y="16387"/>
                    <a:pt x="2974" y="16542"/>
                  </a:cubicBezTo>
                  <a:cubicBezTo>
                    <a:pt x="3225" y="16593"/>
                    <a:pt x="3196" y="16671"/>
                    <a:pt x="3141" y="16877"/>
                  </a:cubicBezTo>
                  <a:cubicBezTo>
                    <a:pt x="3087" y="17033"/>
                    <a:pt x="3003" y="17060"/>
                    <a:pt x="2919" y="17188"/>
                  </a:cubicBezTo>
                  <a:cubicBezTo>
                    <a:pt x="2836" y="17293"/>
                    <a:pt x="2836" y="17395"/>
                    <a:pt x="2639" y="17317"/>
                  </a:cubicBezTo>
                  <a:cubicBezTo>
                    <a:pt x="2475" y="17239"/>
                    <a:pt x="2446" y="16982"/>
                    <a:pt x="2308" y="16904"/>
                  </a:cubicBezTo>
                  <a:cubicBezTo>
                    <a:pt x="2224" y="16826"/>
                    <a:pt x="2031" y="16698"/>
                    <a:pt x="1947" y="16620"/>
                  </a:cubicBezTo>
                  <a:cubicBezTo>
                    <a:pt x="2002" y="16542"/>
                    <a:pt x="2002" y="16542"/>
                    <a:pt x="2002" y="16542"/>
                  </a:cubicBezTo>
                  <a:close/>
                  <a:moveTo>
                    <a:pt x="1168" y="16079"/>
                  </a:moveTo>
                  <a:cubicBezTo>
                    <a:pt x="1278" y="16079"/>
                    <a:pt x="1416" y="16001"/>
                    <a:pt x="1529" y="16001"/>
                  </a:cubicBezTo>
                  <a:cubicBezTo>
                    <a:pt x="1583" y="16001"/>
                    <a:pt x="1642" y="16001"/>
                    <a:pt x="1667" y="16001"/>
                  </a:cubicBezTo>
                  <a:cubicBezTo>
                    <a:pt x="1722" y="16025"/>
                    <a:pt x="1864" y="16103"/>
                    <a:pt x="1696" y="16103"/>
                  </a:cubicBezTo>
                  <a:cubicBezTo>
                    <a:pt x="1642" y="16103"/>
                    <a:pt x="1558" y="16103"/>
                    <a:pt x="1500" y="16103"/>
                  </a:cubicBezTo>
                  <a:cubicBezTo>
                    <a:pt x="1416" y="16130"/>
                    <a:pt x="1361" y="16207"/>
                    <a:pt x="1307" y="16234"/>
                  </a:cubicBezTo>
                  <a:cubicBezTo>
                    <a:pt x="1278" y="16234"/>
                    <a:pt x="1223" y="16258"/>
                    <a:pt x="1168" y="16258"/>
                  </a:cubicBezTo>
                  <a:cubicBezTo>
                    <a:pt x="1114" y="16258"/>
                    <a:pt x="1114" y="16180"/>
                    <a:pt x="1114" y="16130"/>
                  </a:cubicBezTo>
                  <a:cubicBezTo>
                    <a:pt x="1168" y="16079"/>
                    <a:pt x="1168" y="16079"/>
                    <a:pt x="1168" y="16079"/>
                  </a:cubicBezTo>
                  <a:close/>
                  <a:moveTo>
                    <a:pt x="4699" y="14036"/>
                  </a:moveTo>
                  <a:cubicBezTo>
                    <a:pt x="4616" y="13985"/>
                    <a:pt x="4616" y="13985"/>
                    <a:pt x="4616" y="13985"/>
                  </a:cubicBezTo>
                  <a:cubicBezTo>
                    <a:pt x="4503" y="13958"/>
                    <a:pt x="4477" y="13907"/>
                    <a:pt x="4394" y="13907"/>
                  </a:cubicBezTo>
                  <a:cubicBezTo>
                    <a:pt x="4310" y="13907"/>
                    <a:pt x="4255" y="13985"/>
                    <a:pt x="4197" y="13985"/>
                  </a:cubicBezTo>
                  <a:cubicBezTo>
                    <a:pt x="4197" y="13857"/>
                    <a:pt x="4310" y="13518"/>
                    <a:pt x="4033" y="13573"/>
                  </a:cubicBezTo>
                  <a:cubicBezTo>
                    <a:pt x="3724" y="13623"/>
                    <a:pt x="4004" y="13366"/>
                    <a:pt x="3807" y="13211"/>
                  </a:cubicBezTo>
                  <a:cubicBezTo>
                    <a:pt x="3669" y="13055"/>
                    <a:pt x="3782" y="12977"/>
                    <a:pt x="3782" y="12822"/>
                  </a:cubicBezTo>
                  <a:cubicBezTo>
                    <a:pt x="3782" y="12666"/>
                    <a:pt x="3418" y="12642"/>
                    <a:pt x="3560" y="12565"/>
                  </a:cubicBezTo>
                  <a:cubicBezTo>
                    <a:pt x="3669" y="12514"/>
                    <a:pt x="3669" y="12487"/>
                    <a:pt x="3669" y="12382"/>
                  </a:cubicBezTo>
                  <a:cubicBezTo>
                    <a:pt x="3669" y="11841"/>
                    <a:pt x="3837" y="10961"/>
                    <a:pt x="3476" y="10498"/>
                  </a:cubicBezTo>
                  <a:cubicBezTo>
                    <a:pt x="3393" y="10369"/>
                    <a:pt x="3196" y="10522"/>
                    <a:pt x="3196" y="10342"/>
                  </a:cubicBezTo>
                  <a:cubicBezTo>
                    <a:pt x="3196" y="10058"/>
                    <a:pt x="2890" y="9980"/>
                    <a:pt x="2865" y="9747"/>
                  </a:cubicBezTo>
                  <a:cubicBezTo>
                    <a:pt x="2865" y="9646"/>
                    <a:pt x="2668" y="9798"/>
                    <a:pt x="2584" y="9798"/>
                  </a:cubicBezTo>
                  <a:cubicBezTo>
                    <a:pt x="2584" y="10109"/>
                    <a:pt x="2446" y="10214"/>
                    <a:pt x="2115" y="10292"/>
                  </a:cubicBezTo>
                  <a:cubicBezTo>
                    <a:pt x="2115" y="10369"/>
                    <a:pt x="2169" y="10447"/>
                    <a:pt x="2195" y="10498"/>
                  </a:cubicBezTo>
                  <a:cubicBezTo>
                    <a:pt x="2224" y="10599"/>
                    <a:pt x="2224" y="10833"/>
                    <a:pt x="2253" y="10884"/>
                  </a:cubicBezTo>
                  <a:cubicBezTo>
                    <a:pt x="2337" y="10988"/>
                    <a:pt x="2559" y="10934"/>
                    <a:pt x="2362" y="11090"/>
                  </a:cubicBezTo>
                  <a:cubicBezTo>
                    <a:pt x="2057" y="11323"/>
                    <a:pt x="2559" y="11584"/>
                    <a:pt x="2614" y="11864"/>
                  </a:cubicBezTo>
                  <a:cubicBezTo>
                    <a:pt x="2530" y="11864"/>
                    <a:pt x="2195" y="11634"/>
                    <a:pt x="2195" y="11530"/>
                  </a:cubicBezTo>
                  <a:cubicBezTo>
                    <a:pt x="2169" y="11557"/>
                    <a:pt x="2195" y="11736"/>
                    <a:pt x="2115" y="11763"/>
                  </a:cubicBezTo>
                  <a:cubicBezTo>
                    <a:pt x="2057" y="11790"/>
                    <a:pt x="1947" y="11864"/>
                    <a:pt x="1947" y="11814"/>
                  </a:cubicBezTo>
                  <a:cubicBezTo>
                    <a:pt x="1864" y="11634"/>
                    <a:pt x="1722" y="11479"/>
                    <a:pt x="1558" y="11377"/>
                  </a:cubicBezTo>
                  <a:cubicBezTo>
                    <a:pt x="1278" y="11245"/>
                    <a:pt x="1416" y="11222"/>
                    <a:pt x="1252" y="11012"/>
                  </a:cubicBezTo>
                  <a:cubicBezTo>
                    <a:pt x="1139" y="10860"/>
                    <a:pt x="972" y="10522"/>
                    <a:pt x="888" y="10833"/>
                  </a:cubicBezTo>
                  <a:cubicBezTo>
                    <a:pt x="863" y="10988"/>
                    <a:pt x="724" y="11300"/>
                    <a:pt x="946" y="11300"/>
                  </a:cubicBezTo>
                  <a:cubicBezTo>
                    <a:pt x="1056" y="11300"/>
                    <a:pt x="1085" y="11479"/>
                    <a:pt x="1168" y="11530"/>
                  </a:cubicBezTo>
                  <a:cubicBezTo>
                    <a:pt x="1361" y="11685"/>
                    <a:pt x="1278" y="11658"/>
                    <a:pt x="1278" y="11864"/>
                  </a:cubicBezTo>
                  <a:cubicBezTo>
                    <a:pt x="1252" y="11864"/>
                    <a:pt x="1139" y="11763"/>
                    <a:pt x="1114" y="11736"/>
                  </a:cubicBezTo>
                  <a:cubicBezTo>
                    <a:pt x="1030" y="11658"/>
                    <a:pt x="1001" y="11736"/>
                    <a:pt x="888" y="11736"/>
                  </a:cubicBezTo>
                  <a:cubicBezTo>
                    <a:pt x="888" y="12020"/>
                    <a:pt x="1168" y="12098"/>
                    <a:pt x="946" y="12409"/>
                  </a:cubicBezTo>
                  <a:cubicBezTo>
                    <a:pt x="834" y="12308"/>
                    <a:pt x="251" y="11144"/>
                    <a:pt x="251" y="11919"/>
                  </a:cubicBezTo>
                  <a:cubicBezTo>
                    <a:pt x="251" y="12047"/>
                    <a:pt x="360" y="12176"/>
                    <a:pt x="389" y="12280"/>
                  </a:cubicBezTo>
                  <a:cubicBezTo>
                    <a:pt x="277" y="12280"/>
                    <a:pt x="138" y="12176"/>
                    <a:pt x="29" y="12176"/>
                  </a:cubicBezTo>
                  <a:cubicBezTo>
                    <a:pt x="0" y="12176"/>
                    <a:pt x="0" y="12460"/>
                    <a:pt x="0" y="12538"/>
                  </a:cubicBezTo>
                  <a:cubicBezTo>
                    <a:pt x="222" y="12538"/>
                    <a:pt x="360" y="12358"/>
                    <a:pt x="360" y="12744"/>
                  </a:cubicBezTo>
                  <a:cubicBezTo>
                    <a:pt x="360" y="12977"/>
                    <a:pt x="528" y="13234"/>
                    <a:pt x="834" y="13184"/>
                  </a:cubicBezTo>
                  <a:cubicBezTo>
                    <a:pt x="1085" y="13339"/>
                    <a:pt x="1336" y="13596"/>
                    <a:pt x="1361" y="13234"/>
                  </a:cubicBezTo>
                  <a:cubicBezTo>
                    <a:pt x="1361" y="13082"/>
                    <a:pt x="1278" y="12744"/>
                    <a:pt x="1445" y="12744"/>
                  </a:cubicBezTo>
                  <a:cubicBezTo>
                    <a:pt x="1558" y="12744"/>
                    <a:pt x="1500" y="13055"/>
                    <a:pt x="1642" y="12977"/>
                  </a:cubicBezTo>
                  <a:cubicBezTo>
                    <a:pt x="1751" y="12926"/>
                    <a:pt x="1780" y="12771"/>
                    <a:pt x="1805" y="13028"/>
                  </a:cubicBezTo>
                  <a:cubicBezTo>
                    <a:pt x="1835" y="13211"/>
                    <a:pt x="1889" y="13366"/>
                    <a:pt x="2031" y="13261"/>
                  </a:cubicBezTo>
                  <a:cubicBezTo>
                    <a:pt x="2140" y="13211"/>
                    <a:pt x="2836" y="13880"/>
                    <a:pt x="2392" y="13573"/>
                  </a:cubicBezTo>
                  <a:cubicBezTo>
                    <a:pt x="1973" y="13288"/>
                    <a:pt x="1613" y="13623"/>
                    <a:pt x="1947" y="14036"/>
                  </a:cubicBezTo>
                  <a:cubicBezTo>
                    <a:pt x="2337" y="14580"/>
                    <a:pt x="2337" y="14580"/>
                    <a:pt x="2337" y="14580"/>
                  </a:cubicBezTo>
                  <a:cubicBezTo>
                    <a:pt x="2584" y="14888"/>
                    <a:pt x="2919" y="14709"/>
                    <a:pt x="2890" y="14810"/>
                  </a:cubicBezTo>
                  <a:cubicBezTo>
                    <a:pt x="2890" y="14865"/>
                    <a:pt x="2668" y="15227"/>
                    <a:pt x="2806" y="15122"/>
                  </a:cubicBezTo>
                  <a:cubicBezTo>
                    <a:pt x="2919" y="15044"/>
                    <a:pt x="3087" y="15017"/>
                    <a:pt x="3196" y="14966"/>
                  </a:cubicBezTo>
                  <a:cubicBezTo>
                    <a:pt x="3393" y="14865"/>
                    <a:pt x="3502" y="14993"/>
                    <a:pt x="3669" y="14915"/>
                  </a:cubicBezTo>
                  <a:cubicBezTo>
                    <a:pt x="3724" y="14888"/>
                    <a:pt x="3782" y="14655"/>
                    <a:pt x="3891" y="14915"/>
                  </a:cubicBezTo>
                  <a:cubicBezTo>
                    <a:pt x="3920" y="15044"/>
                    <a:pt x="3866" y="15511"/>
                    <a:pt x="4059" y="15457"/>
                  </a:cubicBezTo>
                  <a:cubicBezTo>
                    <a:pt x="4142" y="15406"/>
                    <a:pt x="4419" y="14526"/>
                    <a:pt x="4419" y="14553"/>
                  </a:cubicBezTo>
                  <a:cubicBezTo>
                    <a:pt x="4532" y="14709"/>
                    <a:pt x="4503" y="15017"/>
                    <a:pt x="4699" y="15017"/>
                  </a:cubicBezTo>
                  <a:cubicBezTo>
                    <a:pt x="4921" y="15017"/>
                    <a:pt x="5198" y="14939"/>
                    <a:pt x="5395" y="14939"/>
                  </a:cubicBezTo>
                  <a:cubicBezTo>
                    <a:pt x="4808" y="15227"/>
                    <a:pt x="4808" y="15227"/>
                    <a:pt x="4808" y="15227"/>
                  </a:cubicBezTo>
                  <a:cubicBezTo>
                    <a:pt x="4448" y="15379"/>
                    <a:pt x="4641" y="15690"/>
                    <a:pt x="4477" y="15947"/>
                  </a:cubicBezTo>
                  <a:cubicBezTo>
                    <a:pt x="4088" y="16515"/>
                    <a:pt x="4641" y="16593"/>
                    <a:pt x="4976" y="16207"/>
                  </a:cubicBezTo>
                  <a:cubicBezTo>
                    <a:pt x="5089" y="16079"/>
                    <a:pt x="5365" y="15585"/>
                    <a:pt x="5478" y="15585"/>
                  </a:cubicBezTo>
                  <a:cubicBezTo>
                    <a:pt x="5587" y="15585"/>
                    <a:pt x="5810" y="15304"/>
                    <a:pt x="5755" y="15199"/>
                  </a:cubicBezTo>
                  <a:cubicBezTo>
                    <a:pt x="5562" y="14865"/>
                    <a:pt x="5755" y="15071"/>
                    <a:pt x="5977" y="14966"/>
                  </a:cubicBezTo>
                  <a:cubicBezTo>
                    <a:pt x="6061" y="14939"/>
                    <a:pt x="6174" y="14810"/>
                    <a:pt x="6257" y="14760"/>
                  </a:cubicBezTo>
                  <a:cubicBezTo>
                    <a:pt x="6505" y="14604"/>
                    <a:pt x="6450" y="14398"/>
                    <a:pt x="6450" y="14141"/>
                  </a:cubicBezTo>
                  <a:cubicBezTo>
                    <a:pt x="6479" y="14063"/>
                    <a:pt x="5893" y="13958"/>
                    <a:pt x="5755" y="14012"/>
                  </a:cubicBezTo>
                  <a:cubicBezTo>
                    <a:pt x="5256" y="14269"/>
                    <a:pt x="5172" y="14374"/>
                    <a:pt x="4699" y="14036"/>
                  </a:cubicBezTo>
                  <a:close/>
                  <a:moveTo>
                    <a:pt x="4838" y="13573"/>
                  </a:moveTo>
                  <a:cubicBezTo>
                    <a:pt x="4950" y="13674"/>
                    <a:pt x="4950" y="13674"/>
                    <a:pt x="4950" y="13674"/>
                  </a:cubicBezTo>
                  <a:cubicBezTo>
                    <a:pt x="4950" y="13752"/>
                    <a:pt x="4976" y="13857"/>
                    <a:pt x="4950" y="13934"/>
                  </a:cubicBezTo>
                  <a:cubicBezTo>
                    <a:pt x="4892" y="13985"/>
                    <a:pt x="4808" y="13958"/>
                    <a:pt x="4754" y="13958"/>
                  </a:cubicBezTo>
                  <a:cubicBezTo>
                    <a:pt x="4754" y="13907"/>
                    <a:pt x="4616" y="13830"/>
                    <a:pt x="4586" y="13803"/>
                  </a:cubicBezTo>
                  <a:cubicBezTo>
                    <a:pt x="4532" y="13752"/>
                    <a:pt x="4394" y="13674"/>
                    <a:pt x="4419" y="13623"/>
                  </a:cubicBezTo>
                  <a:cubicBezTo>
                    <a:pt x="4419" y="13573"/>
                    <a:pt x="4448" y="13545"/>
                    <a:pt x="4503" y="13518"/>
                  </a:cubicBezTo>
                  <a:cubicBezTo>
                    <a:pt x="4561" y="13518"/>
                    <a:pt x="4670" y="13495"/>
                    <a:pt x="4725" y="13518"/>
                  </a:cubicBezTo>
                  <a:cubicBezTo>
                    <a:pt x="4754" y="13518"/>
                    <a:pt x="4808" y="13573"/>
                    <a:pt x="4838" y="13573"/>
                  </a:cubicBezTo>
                  <a:close/>
                  <a:moveTo>
                    <a:pt x="4561" y="11790"/>
                  </a:moveTo>
                  <a:cubicBezTo>
                    <a:pt x="4586" y="11685"/>
                    <a:pt x="4586" y="11685"/>
                    <a:pt x="4586" y="11685"/>
                  </a:cubicBezTo>
                  <a:cubicBezTo>
                    <a:pt x="4783" y="11712"/>
                    <a:pt x="4616" y="11841"/>
                    <a:pt x="4616" y="11969"/>
                  </a:cubicBezTo>
                  <a:cubicBezTo>
                    <a:pt x="4616" y="12176"/>
                    <a:pt x="4448" y="12253"/>
                    <a:pt x="4364" y="12436"/>
                  </a:cubicBezTo>
                  <a:cubicBezTo>
                    <a:pt x="4310" y="12588"/>
                    <a:pt x="4364" y="12720"/>
                    <a:pt x="4419" y="12849"/>
                  </a:cubicBezTo>
                  <a:cubicBezTo>
                    <a:pt x="4419" y="12926"/>
                    <a:pt x="4725" y="13261"/>
                    <a:pt x="4532" y="13339"/>
                  </a:cubicBezTo>
                  <a:cubicBezTo>
                    <a:pt x="4477" y="13339"/>
                    <a:pt x="4310" y="13468"/>
                    <a:pt x="4281" y="13468"/>
                  </a:cubicBezTo>
                  <a:cubicBezTo>
                    <a:pt x="4171" y="13468"/>
                    <a:pt x="4171" y="13339"/>
                    <a:pt x="4142" y="13288"/>
                  </a:cubicBezTo>
                  <a:cubicBezTo>
                    <a:pt x="4113" y="13234"/>
                    <a:pt x="4088" y="13211"/>
                    <a:pt x="4059" y="13184"/>
                  </a:cubicBezTo>
                  <a:cubicBezTo>
                    <a:pt x="4059" y="13133"/>
                    <a:pt x="4088" y="13106"/>
                    <a:pt x="4088" y="13055"/>
                  </a:cubicBezTo>
                  <a:cubicBezTo>
                    <a:pt x="4088" y="12899"/>
                    <a:pt x="4113" y="12744"/>
                    <a:pt x="4059" y="12615"/>
                  </a:cubicBezTo>
                  <a:cubicBezTo>
                    <a:pt x="4033" y="12436"/>
                    <a:pt x="4113" y="12308"/>
                    <a:pt x="4113" y="12176"/>
                  </a:cubicBezTo>
                  <a:cubicBezTo>
                    <a:pt x="4255" y="12152"/>
                    <a:pt x="4226" y="12253"/>
                    <a:pt x="4339" y="12253"/>
                  </a:cubicBezTo>
                  <a:cubicBezTo>
                    <a:pt x="4419" y="12253"/>
                    <a:pt x="4448" y="12074"/>
                    <a:pt x="4448" y="11996"/>
                  </a:cubicBezTo>
                  <a:cubicBezTo>
                    <a:pt x="4448" y="11891"/>
                    <a:pt x="4477" y="11919"/>
                    <a:pt x="4532" y="11864"/>
                  </a:cubicBezTo>
                  <a:cubicBezTo>
                    <a:pt x="4561" y="11841"/>
                    <a:pt x="4532" y="11814"/>
                    <a:pt x="4561" y="11790"/>
                  </a:cubicBezTo>
                  <a:close/>
                  <a:moveTo>
                    <a:pt x="4561" y="11452"/>
                  </a:moveTo>
                  <a:cubicBezTo>
                    <a:pt x="4586" y="11350"/>
                    <a:pt x="4616" y="11245"/>
                    <a:pt x="4616" y="11144"/>
                  </a:cubicBezTo>
                  <a:cubicBezTo>
                    <a:pt x="4641" y="11066"/>
                    <a:pt x="4616" y="10934"/>
                    <a:pt x="4725" y="10934"/>
                  </a:cubicBezTo>
                  <a:cubicBezTo>
                    <a:pt x="4754" y="10961"/>
                    <a:pt x="4754" y="10961"/>
                    <a:pt x="4754" y="10988"/>
                  </a:cubicBezTo>
                  <a:cubicBezTo>
                    <a:pt x="4754" y="11066"/>
                    <a:pt x="4754" y="11144"/>
                    <a:pt x="4754" y="11222"/>
                  </a:cubicBezTo>
                  <a:cubicBezTo>
                    <a:pt x="4725" y="11273"/>
                    <a:pt x="4725" y="11350"/>
                    <a:pt x="4725" y="11428"/>
                  </a:cubicBezTo>
                  <a:cubicBezTo>
                    <a:pt x="4699" y="11479"/>
                    <a:pt x="4699" y="11530"/>
                    <a:pt x="4699" y="11584"/>
                  </a:cubicBezTo>
                  <a:cubicBezTo>
                    <a:pt x="4641" y="11584"/>
                    <a:pt x="4586" y="11607"/>
                    <a:pt x="4561" y="11557"/>
                  </a:cubicBezTo>
                  <a:cubicBezTo>
                    <a:pt x="4561" y="11452"/>
                    <a:pt x="4561" y="11452"/>
                    <a:pt x="4561" y="11452"/>
                  </a:cubicBezTo>
                  <a:close/>
                  <a:moveTo>
                    <a:pt x="3170" y="15355"/>
                  </a:moveTo>
                  <a:cubicBezTo>
                    <a:pt x="3141" y="15304"/>
                    <a:pt x="3116" y="15250"/>
                    <a:pt x="3141" y="15199"/>
                  </a:cubicBezTo>
                  <a:cubicBezTo>
                    <a:pt x="3141" y="15172"/>
                    <a:pt x="3170" y="15199"/>
                    <a:pt x="3196" y="15199"/>
                  </a:cubicBezTo>
                  <a:cubicBezTo>
                    <a:pt x="3254" y="15172"/>
                    <a:pt x="3254" y="15149"/>
                    <a:pt x="3280" y="15122"/>
                  </a:cubicBezTo>
                  <a:cubicBezTo>
                    <a:pt x="3338" y="15071"/>
                    <a:pt x="3418" y="15044"/>
                    <a:pt x="3476" y="15095"/>
                  </a:cubicBezTo>
                  <a:cubicBezTo>
                    <a:pt x="3531" y="15149"/>
                    <a:pt x="3502" y="15149"/>
                    <a:pt x="3447" y="15149"/>
                  </a:cubicBezTo>
                  <a:cubicBezTo>
                    <a:pt x="3338" y="15172"/>
                    <a:pt x="3393" y="15250"/>
                    <a:pt x="3393" y="15304"/>
                  </a:cubicBezTo>
                  <a:cubicBezTo>
                    <a:pt x="3393" y="15328"/>
                    <a:pt x="3363" y="15379"/>
                    <a:pt x="3338" y="15379"/>
                  </a:cubicBezTo>
                  <a:cubicBezTo>
                    <a:pt x="3309" y="15406"/>
                    <a:pt x="3254" y="15406"/>
                    <a:pt x="3196" y="15379"/>
                  </a:cubicBezTo>
                  <a:cubicBezTo>
                    <a:pt x="3170" y="15355"/>
                    <a:pt x="3170" y="15355"/>
                    <a:pt x="3170" y="15355"/>
                  </a:cubicBezTo>
                  <a:close/>
                  <a:moveTo>
                    <a:pt x="17516" y="10292"/>
                  </a:moveTo>
                  <a:cubicBezTo>
                    <a:pt x="17348" y="10420"/>
                    <a:pt x="17210" y="10599"/>
                    <a:pt x="17043" y="10704"/>
                  </a:cubicBezTo>
                  <a:cubicBezTo>
                    <a:pt x="16569" y="10961"/>
                    <a:pt x="16486" y="10833"/>
                    <a:pt x="16042" y="10755"/>
                  </a:cubicBezTo>
                  <a:cubicBezTo>
                    <a:pt x="15874" y="10728"/>
                    <a:pt x="15765" y="10884"/>
                    <a:pt x="15543" y="10884"/>
                  </a:cubicBezTo>
                  <a:cubicBezTo>
                    <a:pt x="15543" y="11012"/>
                    <a:pt x="15874" y="11039"/>
                    <a:pt x="15736" y="11195"/>
                  </a:cubicBezTo>
                  <a:cubicBezTo>
                    <a:pt x="15317" y="11584"/>
                    <a:pt x="15317" y="11584"/>
                    <a:pt x="15317" y="11584"/>
                  </a:cubicBezTo>
                  <a:cubicBezTo>
                    <a:pt x="15208" y="11685"/>
                    <a:pt x="15095" y="11530"/>
                    <a:pt x="15095" y="11736"/>
                  </a:cubicBezTo>
                  <a:cubicBezTo>
                    <a:pt x="15070" y="11996"/>
                    <a:pt x="14848" y="11814"/>
                    <a:pt x="14735" y="11814"/>
                  </a:cubicBezTo>
                  <a:cubicBezTo>
                    <a:pt x="14484" y="11814"/>
                    <a:pt x="14236" y="11919"/>
                    <a:pt x="13956" y="11919"/>
                  </a:cubicBezTo>
                  <a:cubicBezTo>
                    <a:pt x="13792" y="11919"/>
                    <a:pt x="13763" y="11763"/>
                    <a:pt x="13625" y="11736"/>
                  </a:cubicBezTo>
                  <a:cubicBezTo>
                    <a:pt x="13679" y="11530"/>
                    <a:pt x="14484" y="11841"/>
                    <a:pt x="14709" y="11685"/>
                  </a:cubicBezTo>
                  <a:cubicBezTo>
                    <a:pt x="15015" y="11428"/>
                    <a:pt x="14764" y="11012"/>
                    <a:pt x="15401" y="11012"/>
                  </a:cubicBezTo>
                  <a:cubicBezTo>
                    <a:pt x="15292" y="10704"/>
                    <a:pt x="15627" y="10447"/>
                    <a:pt x="15849" y="10187"/>
                  </a:cubicBezTo>
                  <a:cubicBezTo>
                    <a:pt x="15932" y="10160"/>
                    <a:pt x="16125" y="10031"/>
                    <a:pt x="15987" y="9980"/>
                  </a:cubicBezTo>
                  <a:cubicBezTo>
                    <a:pt x="15820" y="9930"/>
                    <a:pt x="15820" y="9903"/>
                    <a:pt x="15652" y="9980"/>
                  </a:cubicBezTo>
                  <a:cubicBezTo>
                    <a:pt x="15485" y="10082"/>
                    <a:pt x="15237" y="10265"/>
                    <a:pt x="15015" y="10082"/>
                  </a:cubicBezTo>
                  <a:cubicBezTo>
                    <a:pt x="14848" y="9903"/>
                    <a:pt x="14236" y="10447"/>
                    <a:pt x="14094" y="10576"/>
                  </a:cubicBezTo>
                  <a:cubicBezTo>
                    <a:pt x="13930" y="10728"/>
                    <a:pt x="13734" y="10860"/>
                    <a:pt x="13566" y="11012"/>
                  </a:cubicBezTo>
                  <a:cubicBezTo>
                    <a:pt x="13596" y="10884"/>
                    <a:pt x="13625" y="10755"/>
                    <a:pt x="13708" y="10650"/>
                  </a:cubicBezTo>
                  <a:cubicBezTo>
                    <a:pt x="13792" y="10549"/>
                    <a:pt x="13930" y="10498"/>
                    <a:pt x="13985" y="10369"/>
                  </a:cubicBezTo>
                  <a:cubicBezTo>
                    <a:pt x="14040" y="10265"/>
                    <a:pt x="14094" y="10265"/>
                    <a:pt x="14207" y="10187"/>
                  </a:cubicBezTo>
                  <a:cubicBezTo>
                    <a:pt x="14345" y="10109"/>
                    <a:pt x="14291" y="10007"/>
                    <a:pt x="14513" y="9953"/>
                  </a:cubicBezTo>
                  <a:cubicBezTo>
                    <a:pt x="15124" y="9852"/>
                    <a:pt x="15124" y="9852"/>
                    <a:pt x="15124" y="9852"/>
                  </a:cubicBezTo>
                  <a:cubicBezTo>
                    <a:pt x="15376" y="9825"/>
                    <a:pt x="15376" y="9619"/>
                    <a:pt x="15543" y="9517"/>
                  </a:cubicBezTo>
                  <a:cubicBezTo>
                    <a:pt x="15627" y="9463"/>
                    <a:pt x="15736" y="9490"/>
                    <a:pt x="15849" y="9490"/>
                  </a:cubicBezTo>
                  <a:cubicBezTo>
                    <a:pt x="15849" y="9463"/>
                    <a:pt x="15958" y="9385"/>
                    <a:pt x="15958" y="9412"/>
                  </a:cubicBezTo>
                  <a:cubicBezTo>
                    <a:pt x="15958" y="9541"/>
                    <a:pt x="15849" y="9669"/>
                    <a:pt x="15849" y="9774"/>
                  </a:cubicBezTo>
                  <a:cubicBezTo>
                    <a:pt x="15849" y="9825"/>
                    <a:pt x="16154" y="10031"/>
                    <a:pt x="16154" y="9903"/>
                  </a:cubicBezTo>
                  <a:cubicBezTo>
                    <a:pt x="16154" y="9825"/>
                    <a:pt x="16264" y="9723"/>
                    <a:pt x="16293" y="9646"/>
                  </a:cubicBezTo>
                  <a:cubicBezTo>
                    <a:pt x="16431" y="9361"/>
                    <a:pt x="16682" y="9050"/>
                    <a:pt x="16875" y="8793"/>
                  </a:cubicBezTo>
                  <a:cubicBezTo>
                    <a:pt x="16988" y="8638"/>
                    <a:pt x="17629" y="7937"/>
                    <a:pt x="17072" y="8198"/>
                  </a:cubicBezTo>
                  <a:cubicBezTo>
                    <a:pt x="16850" y="8276"/>
                    <a:pt x="17017" y="8509"/>
                    <a:pt x="16628" y="8509"/>
                  </a:cubicBezTo>
                  <a:cubicBezTo>
                    <a:pt x="16293" y="8509"/>
                    <a:pt x="16377" y="8198"/>
                    <a:pt x="15987" y="8455"/>
                  </a:cubicBezTo>
                  <a:cubicBezTo>
                    <a:pt x="15765" y="8611"/>
                    <a:pt x="15765" y="8509"/>
                    <a:pt x="15543" y="8431"/>
                  </a:cubicBezTo>
                  <a:cubicBezTo>
                    <a:pt x="15376" y="8377"/>
                    <a:pt x="15095" y="8431"/>
                    <a:pt x="14986" y="8303"/>
                  </a:cubicBezTo>
                  <a:cubicBezTo>
                    <a:pt x="14819" y="8171"/>
                    <a:pt x="14735" y="8198"/>
                    <a:pt x="14542" y="8171"/>
                  </a:cubicBezTo>
                  <a:cubicBezTo>
                    <a:pt x="14400" y="8147"/>
                    <a:pt x="13985" y="8015"/>
                    <a:pt x="13985" y="7860"/>
                  </a:cubicBezTo>
                  <a:cubicBezTo>
                    <a:pt x="14040" y="7992"/>
                    <a:pt x="15041" y="8147"/>
                    <a:pt x="15237" y="8171"/>
                  </a:cubicBezTo>
                  <a:cubicBezTo>
                    <a:pt x="15401" y="8225"/>
                    <a:pt x="15485" y="8147"/>
                    <a:pt x="15627" y="8093"/>
                  </a:cubicBezTo>
                  <a:cubicBezTo>
                    <a:pt x="15903" y="8015"/>
                    <a:pt x="15932" y="8276"/>
                    <a:pt x="15932" y="7860"/>
                  </a:cubicBezTo>
                  <a:cubicBezTo>
                    <a:pt x="15932" y="7474"/>
                    <a:pt x="16180" y="7603"/>
                    <a:pt x="15765" y="7373"/>
                  </a:cubicBezTo>
                  <a:cubicBezTo>
                    <a:pt x="15514" y="7217"/>
                    <a:pt x="15903" y="7318"/>
                    <a:pt x="15932" y="7346"/>
                  </a:cubicBezTo>
                  <a:cubicBezTo>
                    <a:pt x="16042" y="7447"/>
                    <a:pt x="16071" y="7190"/>
                    <a:pt x="16125" y="7085"/>
                  </a:cubicBezTo>
                  <a:cubicBezTo>
                    <a:pt x="16515" y="6855"/>
                    <a:pt x="16766" y="6957"/>
                    <a:pt x="16904" y="6493"/>
                  </a:cubicBezTo>
                  <a:cubicBezTo>
                    <a:pt x="16959" y="6311"/>
                    <a:pt x="17793" y="5769"/>
                    <a:pt x="17989" y="5692"/>
                  </a:cubicBezTo>
                  <a:cubicBezTo>
                    <a:pt x="18182" y="5590"/>
                    <a:pt x="18462" y="5201"/>
                    <a:pt x="18626" y="5174"/>
                  </a:cubicBezTo>
                  <a:cubicBezTo>
                    <a:pt x="18655" y="5123"/>
                    <a:pt x="18906" y="4995"/>
                    <a:pt x="18961" y="4866"/>
                  </a:cubicBezTo>
                  <a:cubicBezTo>
                    <a:pt x="19158" y="4504"/>
                    <a:pt x="19158" y="4504"/>
                    <a:pt x="19158" y="4504"/>
                  </a:cubicBezTo>
                  <a:cubicBezTo>
                    <a:pt x="19212" y="4372"/>
                    <a:pt x="19711" y="4010"/>
                    <a:pt x="19711" y="3987"/>
                  </a:cubicBezTo>
                  <a:cubicBezTo>
                    <a:pt x="19769" y="3987"/>
                    <a:pt x="19878" y="3936"/>
                    <a:pt x="19937" y="3909"/>
                  </a:cubicBezTo>
                  <a:cubicBezTo>
                    <a:pt x="20075" y="3882"/>
                    <a:pt x="20268" y="3703"/>
                    <a:pt x="20435" y="3676"/>
                  </a:cubicBezTo>
                  <a:cubicBezTo>
                    <a:pt x="20541" y="3676"/>
                    <a:pt x="20599" y="3496"/>
                    <a:pt x="20654" y="3419"/>
                  </a:cubicBezTo>
                  <a:cubicBezTo>
                    <a:pt x="20792" y="3314"/>
                    <a:pt x="21127" y="3080"/>
                    <a:pt x="21181" y="2928"/>
                  </a:cubicBezTo>
                  <a:cubicBezTo>
                    <a:pt x="21211" y="2773"/>
                    <a:pt x="21265" y="2590"/>
                    <a:pt x="21320" y="2438"/>
                  </a:cubicBezTo>
                  <a:cubicBezTo>
                    <a:pt x="21403" y="2204"/>
                    <a:pt x="21294" y="2177"/>
                    <a:pt x="21211" y="2022"/>
                  </a:cubicBezTo>
                  <a:cubicBezTo>
                    <a:pt x="21043" y="1792"/>
                    <a:pt x="20905" y="1687"/>
                    <a:pt x="20959" y="1352"/>
                  </a:cubicBezTo>
                  <a:cubicBezTo>
                    <a:pt x="21320" y="1169"/>
                    <a:pt x="21600" y="577"/>
                    <a:pt x="21600" y="188"/>
                  </a:cubicBezTo>
                  <a:cubicBezTo>
                    <a:pt x="21127" y="138"/>
                    <a:pt x="21127" y="138"/>
                    <a:pt x="21127" y="138"/>
                  </a:cubicBezTo>
                  <a:cubicBezTo>
                    <a:pt x="21043" y="111"/>
                    <a:pt x="20959" y="188"/>
                    <a:pt x="20905" y="344"/>
                  </a:cubicBezTo>
                  <a:cubicBezTo>
                    <a:pt x="20737" y="344"/>
                    <a:pt x="20737" y="84"/>
                    <a:pt x="20464" y="138"/>
                  </a:cubicBezTo>
                  <a:cubicBezTo>
                    <a:pt x="20242" y="161"/>
                    <a:pt x="19991" y="239"/>
                    <a:pt x="19769" y="188"/>
                  </a:cubicBezTo>
                  <a:cubicBezTo>
                    <a:pt x="19685" y="161"/>
                    <a:pt x="19518" y="-45"/>
                    <a:pt x="19489" y="9"/>
                  </a:cubicBezTo>
                  <a:cubicBezTo>
                    <a:pt x="19405" y="111"/>
                    <a:pt x="19296" y="317"/>
                    <a:pt x="19463" y="368"/>
                  </a:cubicBezTo>
                  <a:cubicBezTo>
                    <a:pt x="19711" y="473"/>
                    <a:pt x="19656" y="628"/>
                    <a:pt x="19602" y="807"/>
                  </a:cubicBezTo>
                  <a:cubicBezTo>
                    <a:pt x="19434" y="784"/>
                    <a:pt x="19183" y="473"/>
                    <a:pt x="18877" y="550"/>
                  </a:cubicBezTo>
                  <a:cubicBezTo>
                    <a:pt x="18379" y="733"/>
                    <a:pt x="18877" y="368"/>
                    <a:pt x="18379" y="473"/>
                  </a:cubicBezTo>
                  <a:cubicBezTo>
                    <a:pt x="18211" y="523"/>
                    <a:pt x="17960" y="500"/>
                    <a:pt x="17822" y="601"/>
                  </a:cubicBezTo>
                  <a:cubicBezTo>
                    <a:pt x="17629" y="784"/>
                    <a:pt x="17319" y="990"/>
                    <a:pt x="17043" y="1014"/>
                  </a:cubicBezTo>
                  <a:cubicBezTo>
                    <a:pt x="16875" y="1014"/>
                    <a:pt x="15932" y="1068"/>
                    <a:pt x="15874" y="834"/>
                  </a:cubicBezTo>
                  <a:cubicBezTo>
                    <a:pt x="15820" y="422"/>
                    <a:pt x="15627" y="1220"/>
                    <a:pt x="15401" y="1119"/>
                  </a:cubicBezTo>
                  <a:cubicBezTo>
                    <a:pt x="15153" y="990"/>
                    <a:pt x="15124" y="1247"/>
                    <a:pt x="14873" y="1247"/>
                  </a:cubicBezTo>
                  <a:cubicBezTo>
                    <a:pt x="14680" y="1247"/>
                    <a:pt x="14764" y="1325"/>
                    <a:pt x="14651" y="1430"/>
                  </a:cubicBezTo>
                  <a:cubicBezTo>
                    <a:pt x="14542" y="1508"/>
                    <a:pt x="14320" y="1352"/>
                    <a:pt x="14236" y="1325"/>
                  </a:cubicBezTo>
                  <a:cubicBezTo>
                    <a:pt x="13956" y="1169"/>
                    <a:pt x="13374" y="2022"/>
                    <a:pt x="13319" y="2228"/>
                  </a:cubicBezTo>
                  <a:cubicBezTo>
                    <a:pt x="13319" y="2150"/>
                    <a:pt x="13374" y="1714"/>
                    <a:pt x="13403" y="1663"/>
                  </a:cubicBezTo>
                  <a:cubicBezTo>
                    <a:pt x="13566" y="1480"/>
                    <a:pt x="13596" y="1430"/>
                    <a:pt x="13512" y="1196"/>
                  </a:cubicBezTo>
                  <a:cubicBezTo>
                    <a:pt x="13428" y="990"/>
                    <a:pt x="13206" y="963"/>
                    <a:pt x="12984" y="939"/>
                  </a:cubicBezTo>
                  <a:cubicBezTo>
                    <a:pt x="12150" y="807"/>
                    <a:pt x="12846" y="1403"/>
                    <a:pt x="12372" y="1558"/>
                  </a:cubicBezTo>
                  <a:cubicBezTo>
                    <a:pt x="12092" y="1636"/>
                    <a:pt x="12012" y="2099"/>
                    <a:pt x="11706" y="2204"/>
                  </a:cubicBezTo>
                  <a:cubicBezTo>
                    <a:pt x="11623" y="2228"/>
                    <a:pt x="11706" y="2049"/>
                    <a:pt x="11732" y="2022"/>
                  </a:cubicBezTo>
                  <a:cubicBezTo>
                    <a:pt x="11845" y="1869"/>
                    <a:pt x="12092" y="1585"/>
                    <a:pt x="12150" y="1403"/>
                  </a:cubicBezTo>
                  <a:cubicBezTo>
                    <a:pt x="12289" y="1068"/>
                    <a:pt x="11648" y="1014"/>
                    <a:pt x="11539" y="706"/>
                  </a:cubicBezTo>
                  <a:cubicBezTo>
                    <a:pt x="11510" y="706"/>
                    <a:pt x="11510" y="939"/>
                    <a:pt x="11484" y="990"/>
                  </a:cubicBezTo>
                  <a:cubicBezTo>
                    <a:pt x="11288" y="1480"/>
                    <a:pt x="11288" y="1480"/>
                    <a:pt x="11288" y="1480"/>
                  </a:cubicBezTo>
                  <a:cubicBezTo>
                    <a:pt x="11317" y="1376"/>
                    <a:pt x="11342" y="1247"/>
                    <a:pt x="11342" y="1146"/>
                  </a:cubicBezTo>
                  <a:cubicBezTo>
                    <a:pt x="11342" y="1091"/>
                    <a:pt x="11233" y="1014"/>
                    <a:pt x="11204" y="912"/>
                  </a:cubicBezTo>
                  <a:cubicBezTo>
                    <a:pt x="11175" y="601"/>
                    <a:pt x="10982" y="500"/>
                    <a:pt x="10647" y="500"/>
                  </a:cubicBezTo>
                  <a:cubicBezTo>
                    <a:pt x="10483" y="500"/>
                    <a:pt x="10232" y="317"/>
                    <a:pt x="10232" y="523"/>
                  </a:cubicBezTo>
                  <a:cubicBezTo>
                    <a:pt x="10232" y="733"/>
                    <a:pt x="10203" y="1041"/>
                    <a:pt x="10065" y="1196"/>
                  </a:cubicBezTo>
                  <a:cubicBezTo>
                    <a:pt x="9981" y="1325"/>
                    <a:pt x="9814" y="1274"/>
                    <a:pt x="9730" y="1376"/>
                  </a:cubicBezTo>
                  <a:cubicBezTo>
                    <a:pt x="9621" y="1508"/>
                    <a:pt x="9646" y="1663"/>
                    <a:pt x="9566" y="1815"/>
                  </a:cubicBezTo>
                  <a:cubicBezTo>
                    <a:pt x="9508" y="1893"/>
                    <a:pt x="9759" y="1998"/>
                    <a:pt x="9843" y="2049"/>
                  </a:cubicBezTo>
                  <a:cubicBezTo>
                    <a:pt x="10148" y="2204"/>
                    <a:pt x="9788" y="2228"/>
                    <a:pt x="9646" y="2333"/>
                  </a:cubicBezTo>
                  <a:cubicBezTo>
                    <a:pt x="9399" y="2617"/>
                    <a:pt x="9843" y="2644"/>
                    <a:pt x="9897" y="2773"/>
                  </a:cubicBezTo>
                  <a:cubicBezTo>
                    <a:pt x="9646" y="2773"/>
                    <a:pt x="9621" y="2617"/>
                    <a:pt x="9482" y="2617"/>
                  </a:cubicBezTo>
                  <a:cubicBezTo>
                    <a:pt x="9340" y="2590"/>
                    <a:pt x="9508" y="2901"/>
                    <a:pt x="9202" y="2874"/>
                  </a:cubicBezTo>
                  <a:cubicBezTo>
                    <a:pt x="9035" y="2874"/>
                    <a:pt x="9064" y="3006"/>
                    <a:pt x="9202" y="3006"/>
                  </a:cubicBezTo>
                  <a:cubicBezTo>
                    <a:pt x="9369" y="3006"/>
                    <a:pt x="9257" y="3107"/>
                    <a:pt x="9257" y="3212"/>
                  </a:cubicBezTo>
                  <a:cubicBezTo>
                    <a:pt x="9257" y="3419"/>
                    <a:pt x="9399" y="3469"/>
                    <a:pt x="9399" y="3652"/>
                  </a:cubicBezTo>
                  <a:cubicBezTo>
                    <a:pt x="9399" y="3987"/>
                    <a:pt x="9730" y="4010"/>
                    <a:pt x="9814" y="4193"/>
                  </a:cubicBezTo>
                  <a:cubicBezTo>
                    <a:pt x="9621" y="4193"/>
                    <a:pt x="9592" y="4038"/>
                    <a:pt x="9399" y="4115"/>
                  </a:cubicBezTo>
                  <a:cubicBezTo>
                    <a:pt x="9257" y="4193"/>
                    <a:pt x="9064" y="4244"/>
                    <a:pt x="8896" y="4166"/>
                  </a:cubicBezTo>
                  <a:cubicBezTo>
                    <a:pt x="8758" y="4115"/>
                    <a:pt x="8645" y="4038"/>
                    <a:pt x="8787" y="4220"/>
                  </a:cubicBezTo>
                  <a:cubicBezTo>
                    <a:pt x="8842" y="4295"/>
                    <a:pt x="8536" y="4399"/>
                    <a:pt x="8452" y="4372"/>
                  </a:cubicBezTo>
                  <a:cubicBezTo>
                    <a:pt x="8201" y="4271"/>
                    <a:pt x="8201" y="4038"/>
                    <a:pt x="8008" y="4271"/>
                  </a:cubicBezTo>
                  <a:cubicBezTo>
                    <a:pt x="7895" y="4427"/>
                    <a:pt x="7979" y="4372"/>
                    <a:pt x="8092" y="4450"/>
                  </a:cubicBezTo>
                  <a:cubicBezTo>
                    <a:pt x="8368" y="4582"/>
                    <a:pt x="8314" y="5150"/>
                    <a:pt x="8536" y="5252"/>
                  </a:cubicBezTo>
                  <a:cubicBezTo>
                    <a:pt x="8867" y="5380"/>
                    <a:pt x="8481" y="5279"/>
                    <a:pt x="8620" y="5536"/>
                  </a:cubicBezTo>
                  <a:cubicBezTo>
                    <a:pt x="8674" y="5614"/>
                    <a:pt x="8729" y="6026"/>
                    <a:pt x="8590" y="6077"/>
                  </a:cubicBezTo>
                  <a:cubicBezTo>
                    <a:pt x="8536" y="6104"/>
                    <a:pt x="8146" y="6026"/>
                    <a:pt x="8092" y="5976"/>
                  </a:cubicBezTo>
                  <a:cubicBezTo>
                    <a:pt x="8008" y="5925"/>
                    <a:pt x="7866" y="5719"/>
                    <a:pt x="7786" y="5692"/>
                  </a:cubicBezTo>
                  <a:cubicBezTo>
                    <a:pt x="7786" y="5820"/>
                    <a:pt x="7564" y="5976"/>
                    <a:pt x="7702" y="6053"/>
                  </a:cubicBezTo>
                  <a:cubicBezTo>
                    <a:pt x="7895" y="6182"/>
                    <a:pt x="7786" y="6233"/>
                    <a:pt x="7786" y="6388"/>
                  </a:cubicBezTo>
                  <a:cubicBezTo>
                    <a:pt x="8092" y="6388"/>
                    <a:pt x="8285" y="6544"/>
                    <a:pt x="8398" y="6777"/>
                  </a:cubicBezTo>
                  <a:cubicBezTo>
                    <a:pt x="8565" y="7139"/>
                    <a:pt x="8813" y="7007"/>
                    <a:pt x="9118" y="7190"/>
                  </a:cubicBezTo>
                  <a:cubicBezTo>
                    <a:pt x="9340" y="7295"/>
                    <a:pt x="8980" y="7525"/>
                    <a:pt x="9009" y="7552"/>
                  </a:cubicBezTo>
                  <a:cubicBezTo>
                    <a:pt x="9257" y="7731"/>
                    <a:pt x="9257" y="7731"/>
                    <a:pt x="9257" y="7731"/>
                  </a:cubicBezTo>
                  <a:cubicBezTo>
                    <a:pt x="9424" y="7887"/>
                    <a:pt x="9814" y="8326"/>
                    <a:pt x="9814" y="8560"/>
                  </a:cubicBezTo>
                  <a:cubicBezTo>
                    <a:pt x="9704" y="8560"/>
                    <a:pt x="9566" y="8069"/>
                    <a:pt x="9424" y="7992"/>
                  </a:cubicBezTo>
                  <a:cubicBezTo>
                    <a:pt x="8787" y="7630"/>
                    <a:pt x="8787" y="7630"/>
                    <a:pt x="8787" y="7630"/>
                  </a:cubicBezTo>
                  <a:cubicBezTo>
                    <a:pt x="8590" y="7525"/>
                    <a:pt x="8398" y="7707"/>
                    <a:pt x="8230" y="7501"/>
                  </a:cubicBezTo>
                  <a:cubicBezTo>
                    <a:pt x="8146" y="7396"/>
                    <a:pt x="8117" y="7447"/>
                    <a:pt x="7979" y="7447"/>
                  </a:cubicBezTo>
                  <a:cubicBezTo>
                    <a:pt x="7979" y="7707"/>
                    <a:pt x="8259" y="7680"/>
                    <a:pt x="8398" y="7860"/>
                  </a:cubicBezTo>
                  <a:cubicBezTo>
                    <a:pt x="8452" y="7937"/>
                    <a:pt x="9064" y="8353"/>
                    <a:pt x="8867" y="8303"/>
                  </a:cubicBezTo>
                  <a:cubicBezTo>
                    <a:pt x="8703" y="8276"/>
                    <a:pt x="8620" y="8147"/>
                    <a:pt x="8452" y="8147"/>
                  </a:cubicBezTo>
                  <a:cubicBezTo>
                    <a:pt x="8339" y="8120"/>
                    <a:pt x="8201" y="7887"/>
                    <a:pt x="8034" y="7809"/>
                  </a:cubicBezTo>
                  <a:cubicBezTo>
                    <a:pt x="7564" y="7630"/>
                    <a:pt x="7924" y="8042"/>
                    <a:pt x="7564" y="8198"/>
                  </a:cubicBezTo>
                  <a:cubicBezTo>
                    <a:pt x="7116" y="8249"/>
                    <a:pt x="7033" y="7937"/>
                    <a:pt x="7033" y="7603"/>
                  </a:cubicBezTo>
                  <a:cubicBezTo>
                    <a:pt x="6894" y="7579"/>
                    <a:pt x="6643" y="7423"/>
                    <a:pt x="6618" y="7630"/>
                  </a:cubicBezTo>
                  <a:cubicBezTo>
                    <a:pt x="6618" y="7758"/>
                    <a:pt x="6479" y="7965"/>
                    <a:pt x="6588" y="8069"/>
                  </a:cubicBezTo>
                  <a:cubicBezTo>
                    <a:pt x="6894" y="8303"/>
                    <a:pt x="6894" y="8455"/>
                    <a:pt x="6785" y="8766"/>
                  </a:cubicBezTo>
                  <a:cubicBezTo>
                    <a:pt x="6756" y="8844"/>
                    <a:pt x="6785" y="8945"/>
                    <a:pt x="6811" y="9000"/>
                  </a:cubicBezTo>
                  <a:cubicBezTo>
                    <a:pt x="6894" y="9179"/>
                    <a:pt x="6505" y="9050"/>
                    <a:pt x="6450" y="8844"/>
                  </a:cubicBezTo>
                  <a:cubicBezTo>
                    <a:pt x="6421" y="8688"/>
                    <a:pt x="6421" y="8611"/>
                    <a:pt x="6366" y="8482"/>
                  </a:cubicBezTo>
                  <a:cubicBezTo>
                    <a:pt x="6312" y="8353"/>
                    <a:pt x="6366" y="8042"/>
                    <a:pt x="6174" y="8093"/>
                  </a:cubicBezTo>
                  <a:cubicBezTo>
                    <a:pt x="5948" y="8147"/>
                    <a:pt x="5839" y="8198"/>
                    <a:pt x="5617" y="8198"/>
                  </a:cubicBezTo>
                  <a:cubicBezTo>
                    <a:pt x="5617" y="8326"/>
                    <a:pt x="5642" y="9230"/>
                    <a:pt x="5700" y="9257"/>
                  </a:cubicBezTo>
                  <a:cubicBezTo>
                    <a:pt x="5977" y="9490"/>
                    <a:pt x="6341" y="9385"/>
                    <a:pt x="6341" y="9798"/>
                  </a:cubicBezTo>
                  <a:cubicBezTo>
                    <a:pt x="6283" y="9798"/>
                    <a:pt x="6199" y="9696"/>
                    <a:pt x="6090" y="9696"/>
                  </a:cubicBezTo>
                  <a:cubicBezTo>
                    <a:pt x="5671" y="9696"/>
                    <a:pt x="5784" y="9930"/>
                    <a:pt x="5587" y="10187"/>
                  </a:cubicBezTo>
                  <a:cubicBezTo>
                    <a:pt x="5420" y="10471"/>
                    <a:pt x="5839" y="10342"/>
                    <a:pt x="5922" y="10576"/>
                  </a:cubicBezTo>
                  <a:cubicBezTo>
                    <a:pt x="5948" y="10650"/>
                    <a:pt x="6032" y="10860"/>
                    <a:pt x="6115" y="10911"/>
                  </a:cubicBezTo>
                  <a:cubicBezTo>
                    <a:pt x="6341" y="11090"/>
                    <a:pt x="6228" y="11245"/>
                    <a:pt x="6563" y="11245"/>
                  </a:cubicBezTo>
                  <a:cubicBezTo>
                    <a:pt x="6894" y="11245"/>
                    <a:pt x="6923" y="11222"/>
                    <a:pt x="7200" y="11350"/>
                  </a:cubicBezTo>
                  <a:cubicBezTo>
                    <a:pt x="7200" y="11401"/>
                    <a:pt x="7200" y="11401"/>
                    <a:pt x="7200" y="11401"/>
                  </a:cubicBezTo>
                  <a:cubicBezTo>
                    <a:pt x="7062" y="11428"/>
                    <a:pt x="6949" y="11377"/>
                    <a:pt x="6785" y="11401"/>
                  </a:cubicBezTo>
                  <a:cubicBezTo>
                    <a:pt x="6727" y="11401"/>
                    <a:pt x="6727" y="11479"/>
                    <a:pt x="6643" y="11428"/>
                  </a:cubicBezTo>
                  <a:cubicBezTo>
                    <a:pt x="6588" y="11377"/>
                    <a:pt x="6505" y="11377"/>
                    <a:pt x="6450" y="11401"/>
                  </a:cubicBezTo>
                  <a:cubicBezTo>
                    <a:pt x="6450" y="11479"/>
                    <a:pt x="6505" y="11506"/>
                    <a:pt x="6505" y="11584"/>
                  </a:cubicBezTo>
                  <a:cubicBezTo>
                    <a:pt x="6505" y="11712"/>
                    <a:pt x="6283" y="11479"/>
                    <a:pt x="6283" y="11452"/>
                  </a:cubicBezTo>
                  <a:cubicBezTo>
                    <a:pt x="6174" y="11377"/>
                    <a:pt x="6257" y="11323"/>
                    <a:pt x="6174" y="11245"/>
                  </a:cubicBezTo>
                  <a:cubicBezTo>
                    <a:pt x="6115" y="11479"/>
                    <a:pt x="5617" y="10961"/>
                    <a:pt x="5504" y="10934"/>
                  </a:cubicBezTo>
                  <a:lnTo>
                    <a:pt x="5449" y="10934"/>
                  </a:lnTo>
                  <a:cubicBezTo>
                    <a:pt x="5449" y="10934"/>
                    <a:pt x="5449" y="10934"/>
                    <a:pt x="5420" y="10934"/>
                  </a:cubicBezTo>
                  <a:cubicBezTo>
                    <a:pt x="5311" y="11350"/>
                    <a:pt x="5256" y="11942"/>
                    <a:pt x="5340" y="12358"/>
                  </a:cubicBezTo>
                  <a:cubicBezTo>
                    <a:pt x="5395" y="12382"/>
                    <a:pt x="5504" y="12358"/>
                    <a:pt x="5533" y="12382"/>
                  </a:cubicBezTo>
                  <a:cubicBezTo>
                    <a:pt x="5562" y="12460"/>
                    <a:pt x="5504" y="12615"/>
                    <a:pt x="5533" y="12720"/>
                  </a:cubicBezTo>
                  <a:cubicBezTo>
                    <a:pt x="5533" y="12744"/>
                    <a:pt x="5671" y="13184"/>
                    <a:pt x="5700" y="13211"/>
                  </a:cubicBezTo>
                  <a:cubicBezTo>
                    <a:pt x="5810" y="13366"/>
                    <a:pt x="6061" y="13160"/>
                    <a:pt x="6174" y="13082"/>
                  </a:cubicBezTo>
                  <a:cubicBezTo>
                    <a:pt x="6283" y="13028"/>
                    <a:pt x="6534" y="12795"/>
                    <a:pt x="6643" y="12795"/>
                  </a:cubicBezTo>
                  <a:cubicBezTo>
                    <a:pt x="6672" y="12795"/>
                    <a:pt x="6618" y="12950"/>
                    <a:pt x="6727" y="13028"/>
                  </a:cubicBezTo>
                  <a:cubicBezTo>
                    <a:pt x="7175" y="13390"/>
                    <a:pt x="7258" y="12771"/>
                    <a:pt x="7564" y="12666"/>
                  </a:cubicBezTo>
                  <a:cubicBezTo>
                    <a:pt x="7422" y="12849"/>
                    <a:pt x="7422" y="13055"/>
                    <a:pt x="7200" y="13184"/>
                  </a:cubicBezTo>
                  <a:cubicBezTo>
                    <a:pt x="7091" y="13261"/>
                    <a:pt x="6756" y="13468"/>
                    <a:pt x="6618" y="13366"/>
                  </a:cubicBezTo>
                  <a:cubicBezTo>
                    <a:pt x="6396" y="13211"/>
                    <a:pt x="6312" y="13495"/>
                    <a:pt x="6199" y="13650"/>
                  </a:cubicBezTo>
                  <a:cubicBezTo>
                    <a:pt x="5977" y="13907"/>
                    <a:pt x="6257" y="13934"/>
                    <a:pt x="6479" y="13907"/>
                  </a:cubicBezTo>
                  <a:cubicBezTo>
                    <a:pt x="6865" y="13857"/>
                    <a:pt x="7200" y="13985"/>
                    <a:pt x="7480" y="14164"/>
                  </a:cubicBezTo>
                  <a:cubicBezTo>
                    <a:pt x="7589" y="14242"/>
                    <a:pt x="7673" y="14347"/>
                    <a:pt x="7786" y="14425"/>
                  </a:cubicBezTo>
                  <a:cubicBezTo>
                    <a:pt x="7950" y="14526"/>
                    <a:pt x="7673" y="14449"/>
                    <a:pt x="7589" y="14398"/>
                  </a:cubicBezTo>
                  <a:cubicBezTo>
                    <a:pt x="7422" y="14320"/>
                    <a:pt x="7258" y="13985"/>
                    <a:pt x="7062" y="14063"/>
                  </a:cubicBezTo>
                  <a:cubicBezTo>
                    <a:pt x="6894" y="14114"/>
                    <a:pt x="6643" y="14141"/>
                    <a:pt x="6563" y="14269"/>
                  </a:cubicBezTo>
                  <a:cubicBezTo>
                    <a:pt x="6450" y="14503"/>
                    <a:pt x="6785" y="14398"/>
                    <a:pt x="6643" y="14631"/>
                  </a:cubicBezTo>
                  <a:cubicBezTo>
                    <a:pt x="6421" y="14993"/>
                    <a:pt x="6032" y="15199"/>
                    <a:pt x="6785" y="15250"/>
                  </a:cubicBezTo>
                  <a:cubicBezTo>
                    <a:pt x="7033" y="15277"/>
                    <a:pt x="6923" y="15639"/>
                    <a:pt x="7367" y="15639"/>
                  </a:cubicBezTo>
                  <a:cubicBezTo>
                    <a:pt x="7619" y="15639"/>
                    <a:pt x="7313" y="15768"/>
                    <a:pt x="7175" y="15741"/>
                  </a:cubicBezTo>
                  <a:cubicBezTo>
                    <a:pt x="6978" y="15717"/>
                    <a:pt x="6923" y="15511"/>
                    <a:pt x="6701" y="15534"/>
                  </a:cubicBezTo>
                  <a:cubicBezTo>
                    <a:pt x="6672" y="15534"/>
                    <a:pt x="6144" y="15406"/>
                    <a:pt x="6115" y="15534"/>
                  </a:cubicBezTo>
                  <a:cubicBezTo>
                    <a:pt x="6115" y="15663"/>
                    <a:pt x="5810" y="15947"/>
                    <a:pt x="5726" y="16025"/>
                  </a:cubicBezTo>
                  <a:cubicBezTo>
                    <a:pt x="5726" y="16207"/>
                    <a:pt x="5977" y="16387"/>
                    <a:pt x="6144" y="16309"/>
                  </a:cubicBezTo>
                  <a:cubicBezTo>
                    <a:pt x="6366" y="16234"/>
                    <a:pt x="6312" y="16414"/>
                    <a:pt x="6366" y="16542"/>
                  </a:cubicBezTo>
                  <a:cubicBezTo>
                    <a:pt x="6396" y="16620"/>
                    <a:pt x="6811" y="16904"/>
                    <a:pt x="6701" y="16904"/>
                  </a:cubicBezTo>
                  <a:cubicBezTo>
                    <a:pt x="6421" y="16931"/>
                    <a:pt x="6174" y="16853"/>
                    <a:pt x="6090" y="16569"/>
                  </a:cubicBezTo>
                  <a:cubicBezTo>
                    <a:pt x="5977" y="16569"/>
                    <a:pt x="5755" y="16593"/>
                    <a:pt x="5642" y="16569"/>
                  </a:cubicBezTo>
                  <a:cubicBezTo>
                    <a:pt x="5449" y="16515"/>
                    <a:pt x="5478" y="17009"/>
                    <a:pt x="5395" y="17165"/>
                  </a:cubicBezTo>
                  <a:cubicBezTo>
                    <a:pt x="5340" y="17239"/>
                    <a:pt x="5282" y="17293"/>
                    <a:pt x="5227" y="17371"/>
                  </a:cubicBezTo>
                  <a:cubicBezTo>
                    <a:pt x="5143" y="17500"/>
                    <a:pt x="5504" y="17550"/>
                    <a:pt x="5198" y="17628"/>
                  </a:cubicBezTo>
                  <a:cubicBezTo>
                    <a:pt x="5060" y="17679"/>
                    <a:pt x="4867" y="17939"/>
                    <a:pt x="5172" y="17885"/>
                  </a:cubicBezTo>
                  <a:cubicBezTo>
                    <a:pt x="5478" y="17834"/>
                    <a:pt x="5700" y="17730"/>
                    <a:pt x="6006" y="17730"/>
                  </a:cubicBezTo>
                  <a:cubicBezTo>
                    <a:pt x="6006" y="17807"/>
                    <a:pt x="5671" y="17939"/>
                    <a:pt x="5755" y="18017"/>
                  </a:cubicBezTo>
                  <a:cubicBezTo>
                    <a:pt x="5784" y="18041"/>
                    <a:pt x="6174" y="18091"/>
                    <a:pt x="6032" y="18146"/>
                  </a:cubicBezTo>
                  <a:cubicBezTo>
                    <a:pt x="5893" y="18196"/>
                    <a:pt x="5365" y="18301"/>
                    <a:pt x="5340" y="18403"/>
                  </a:cubicBezTo>
                  <a:cubicBezTo>
                    <a:pt x="5311" y="18531"/>
                    <a:pt x="5143" y="18714"/>
                    <a:pt x="5172" y="18842"/>
                  </a:cubicBezTo>
                  <a:cubicBezTo>
                    <a:pt x="5172" y="18893"/>
                    <a:pt x="5172" y="19153"/>
                    <a:pt x="5114" y="19153"/>
                  </a:cubicBezTo>
                  <a:cubicBezTo>
                    <a:pt x="4921" y="19153"/>
                    <a:pt x="4921" y="18737"/>
                    <a:pt x="4699" y="18893"/>
                  </a:cubicBezTo>
                  <a:cubicBezTo>
                    <a:pt x="4477" y="19049"/>
                    <a:pt x="4142" y="18998"/>
                    <a:pt x="3866" y="18998"/>
                  </a:cubicBezTo>
                  <a:cubicBezTo>
                    <a:pt x="3502" y="19099"/>
                    <a:pt x="3058" y="19177"/>
                    <a:pt x="3393" y="19644"/>
                  </a:cubicBezTo>
                  <a:cubicBezTo>
                    <a:pt x="3531" y="19901"/>
                    <a:pt x="4113" y="19668"/>
                    <a:pt x="4419" y="19772"/>
                  </a:cubicBezTo>
                  <a:cubicBezTo>
                    <a:pt x="4670" y="19850"/>
                    <a:pt x="4892" y="19772"/>
                    <a:pt x="5143" y="19823"/>
                  </a:cubicBezTo>
                  <a:cubicBezTo>
                    <a:pt x="5504" y="19901"/>
                    <a:pt x="5671" y="19512"/>
                    <a:pt x="6090" y="19512"/>
                  </a:cubicBezTo>
                  <a:cubicBezTo>
                    <a:pt x="6341" y="19512"/>
                    <a:pt x="6618" y="19745"/>
                    <a:pt x="6949" y="19745"/>
                  </a:cubicBezTo>
                  <a:cubicBezTo>
                    <a:pt x="6643" y="19823"/>
                    <a:pt x="6505" y="19823"/>
                    <a:pt x="6199" y="19695"/>
                  </a:cubicBezTo>
                  <a:cubicBezTo>
                    <a:pt x="5810" y="19512"/>
                    <a:pt x="5587" y="20134"/>
                    <a:pt x="5256" y="19952"/>
                  </a:cubicBezTo>
                  <a:cubicBezTo>
                    <a:pt x="5031" y="19823"/>
                    <a:pt x="4699" y="20107"/>
                    <a:pt x="4477" y="20107"/>
                  </a:cubicBezTo>
                  <a:cubicBezTo>
                    <a:pt x="4477" y="20134"/>
                    <a:pt x="4477" y="20134"/>
                    <a:pt x="4477" y="20134"/>
                  </a:cubicBezTo>
                  <a:cubicBezTo>
                    <a:pt x="4670" y="20212"/>
                    <a:pt x="4921" y="20858"/>
                    <a:pt x="5172" y="21014"/>
                  </a:cubicBezTo>
                  <a:cubicBezTo>
                    <a:pt x="5395" y="21166"/>
                    <a:pt x="5700" y="21220"/>
                    <a:pt x="5977" y="21298"/>
                  </a:cubicBezTo>
                  <a:cubicBezTo>
                    <a:pt x="6090" y="21322"/>
                    <a:pt x="6283" y="21528"/>
                    <a:pt x="6312" y="21528"/>
                  </a:cubicBezTo>
                  <a:cubicBezTo>
                    <a:pt x="6865" y="21555"/>
                    <a:pt x="7342" y="20676"/>
                    <a:pt x="7619" y="20341"/>
                  </a:cubicBezTo>
                  <a:cubicBezTo>
                    <a:pt x="7812" y="20290"/>
                    <a:pt x="8034" y="20006"/>
                    <a:pt x="8201" y="19874"/>
                  </a:cubicBezTo>
                  <a:cubicBezTo>
                    <a:pt x="8314" y="19772"/>
                    <a:pt x="8339" y="19644"/>
                    <a:pt x="8452" y="19566"/>
                  </a:cubicBezTo>
                  <a:cubicBezTo>
                    <a:pt x="8507" y="19488"/>
                    <a:pt x="8565" y="19644"/>
                    <a:pt x="8703" y="19539"/>
                  </a:cubicBezTo>
                  <a:cubicBezTo>
                    <a:pt x="8758" y="19488"/>
                    <a:pt x="8787" y="19333"/>
                    <a:pt x="8842" y="19255"/>
                  </a:cubicBezTo>
                  <a:cubicBezTo>
                    <a:pt x="8925" y="19099"/>
                    <a:pt x="9675" y="18376"/>
                    <a:pt x="9453" y="18274"/>
                  </a:cubicBezTo>
                  <a:cubicBezTo>
                    <a:pt x="9147" y="18169"/>
                    <a:pt x="8729" y="18223"/>
                    <a:pt x="8368" y="18146"/>
                  </a:cubicBezTo>
                  <a:cubicBezTo>
                    <a:pt x="8536" y="18041"/>
                    <a:pt x="9730" y="18169"/>
                    <a:pt x="9646" y="18325"/>
                  </a:cubicBezTo>
                  <a:cubicBezTo>
                    <a:pt x="9508" y="18636"/>
                    <a:pt x="9286" y="18944"/>
                    <a:pt x="9093" y="19231"/>
                  </a:cubicBezTo>
                  <a:cubicBezTo>
                    <a:pt x="8951" y="19411"/>
                    <a:pt x="8703" y="19566"/>
                    <a:pt x="9035" y="19590"/>
                  </a:cubicBezTo>
                  <a:cubicBezTo>
                    <a:pt x="9177" y="19617"/>
                    <a:pt x="8813" y="19874"/>
                    <a:pt x="8787" y="19901"/>
                  </a:cubicBezTo>
                  <a:cubicBezTo>
                    <a:pt x="8452" y="20084"/>
                    <a:pt x="8452" y="20084"/>
                    <a:pt x="8452" y="20084"/>
                  </a:cubicBezTo>
                  <a:cubicBezTo>
                    <a:pt x="8285" y="20161"/>
                    <a:pt x="8507" y="20107"/>
                    <a:pt x="8536" y="20185"/>
                  </a:cubicBezTo>
                  <a:cubicBezTo>
                    <a:pt x="8536" y="20236"/>
                    <a:pt x="8481" y="20290"/>
                    <a:pt x="8452" y="20341"/>
                  </a:cubicBezTo>
                  <a:cubicBezTo>
                    <a:pt x="8507" y="20419"/>
                    <a:pt x="8536" y="20520"/>
                    <a:pt x="8620" y="20598"/>
                  </a:cubicBezTo>
                  <a:cubicBezTo>
                    <a:pt x="8674" y="20625"/>
                    <a:pt x="8729" y="20574"/>
                    <a:pt x="8758" y="20574"/>
                  </a:cubicBezTo>
                  <a:cubicBezTo>
                    <a:pt x="8867" y="20574"/>
                    <a:pt x="8951" y="20625"/>
                    <a:pt x="9035" y="20625"/>
                  </a:cubicBezTo>
                  <a:cubicBezTo>
                    <a:pt x="9093" y="20625"/>
                    <a:pt x="9093" y="20547"/>
                    <a:pt x="9093" y="20520"/>
                  </a:cubicBezTo>
                  <a:cubicBezTo>
                    <a:pt x="9118" y="20442"/>
                    <a:pt x="9035" y="20341"/>
                    <a:pt x="9093" y="20290"/>
                  </a:cubicBezTo>
                  <a:cubicBezTo>
                    <a:pt x="9202" y="20236"/>
                    <a:pt x="9340" y="20290"/>
                    <a:pt x="9424" y="20341"/>
                  </a:cubicBezTo>
                  <a:cubicBezTo>
                    <a:pt x="9482" y="20341"/>
                    <a:pt x="9399" y="20419"/>
                    <a:pt x="9424" y="20442"/>
                  </a:cubicBezTo>
                  <a:cubicBezTo>
                    <a:pt x="9508" y="20496"/>
                    <a:pt x="9592" y="20442"/>
                    <a:pt x="9675" y="20469"/>
                  </a:cubicBezTo>
                  <a:cubicBezTo>
                    <a:pt x="9730" y="20469"/>
                    <a:pt x="9814" y="20469"/>
                    <a:pt x="9814" y="20520"/>
                  </a:cubicBezTo>
                  <a:cubicBezTo>
                    <a:pt x="9814" y="20625"/>
                    <a:pt x="9675" y="20676"/>
                    <a:pt x="9646" y="20780"/>
                  </a:cubicBezTo>
                  <a:cubicBezTo>
                    <a:pt x="9646" y="20858"/>
                    <a:pt x="9759" y="20909"/>
                    <a:pt x="9730" y="20987"/>
                  </a:cubicBezTo>
                  <a:cubicBezTo>
                    <a:pt x="9730" y="21037"/>
                    <a:pt x="9646" y="21037"/>
                    <a:pt x="9646" y="21092"/>
                  </a:cubicBezTo>
                  <a:cubicBezTo>
                    <a:pt x="9646" y="21142"/>
                    <a:pt x="9675" y="21220"/>
                    <a:pt x="9730" y="21244"/>
                  </a:cubicBezTo>
                  <a:cubicBezTo>
                    <a:pt x="9788" y="21271"/>
                    <a:pt x="9843" y="21271"/>
                    <a:pt x="9897" y="21271"/>
                  </a:cubicBezTo>
                  <a:cubicBezTo>
                    <a:pt x="10010" y="21271"/>
                    <a:pt x="10119" y="21244"/>
                    <a:pt x="10232" y="21193"/>
                  </a:cubicBezTo>
                  <a:cubicBezTo>
                    <a:pt x="10316" y="21166"/>
                    <a:pt x="10400" y="21065"/>
                    <a:pt x="10483" y="20987"/>
                  </a:cubicBezTo>
                  <a:cubicBezTo>
                    <a:pt x="10538" y="20936"/>
                    <a:pt x="10538" y="20858"/>
                    <a:pt x="10622" y="20831"/>
                  </a:cubicBezTo>
                  <a:cubicBezTo>
                    <a:pt x="10760" y="20804"/>
                    <a:pt x="10898" y="20909"/>
                    <a:pt x="11011" y="20909"/>
                  </a:cubicBezTo>
                  <a:cubicBezTo>
                    <a:pt x="11120" y="20936"/>
                    <a:pt x="11259" y="20936"/>
                    <a:pt x="11371" y="20882"/>
                  </a:cubicBezTo>
                  <a:cubicBezTo>
                    <a:pt x="11455" y="20858"/>
                    <a:pt x="11484" y="20780"/>
                    <a:pt x="11568" y="20753"/>
                  </a:cubicBezTo>
                  <a:cubicBezTo>
                    <a:pt x="11648" y="20726"/>
                    <a:pt x="11761" y="20780"/>
                    <a:pt x="11816" y="20753"/>
                  </a:cubicBezTo>
                  <a:cubicBezTo>
                    <a:pt x="11899" y="20726"/>
                    <a:pt x="11928" y="20598"/>
                    <a:pt x="12012" y="20574"/>
                  </a:cubicBezTo>
                  <a:cubicBezTo>
                    <a:pt x="12121" y="20520"/>
                    <a:pt x="12289" y="20520"/>
                    <a:pt x="12427" y="20496"/>
                  </a:cubicBezTo>
                  <a:cubicBezTo>
                    <a:pt x="12427" y="20391"/>
                    <a:pt x="12511" y="20236"/>
                    <a:pt x="12427" y="20134"/>
                  </a:cubicBezTo>
                  <a:cubicBezTo>
                    <a:pt x="12372" y="20084"/>
                    <a:pt x="12260" y="20236"/>
                    <a:pt x="12176" y="20263"/>
                  </a:cubicBezTo>
                  <a:cubicBezTo>
                    <a:pt x="12092" y="20263"/>
                    <a:pt x="11954" y="20290"/>
                    <a:pt x="11870" y="20212"/>
                  </a:cubicBezTo>
                  <a:cubicBezTo>
                    <a:pt x="11816" y="20134"/>
                    <a:pt x="11790" y="19979"/>
                    <a:pt x="11870" y="19928"/>
                  </a:cubicBezTo>
                  <a:cubicBezTo>
                    <a:pt x="11983" y="19850"/>
                    <a:pt x="12150" y="19928"/>
                    <a:pt x="12289" y="19901"/>
                  </a:cubicBezTo>
                  <a:cubicBezTo>
                    <a:pt x="12427" y="19874"/>
                    <a:pt x="12540" y="19850"/>
                    <a:pt x="12649" y="19796"/>
                  </a:cubicBezTo>
                  <a:cubicBezTo>
                    <a:pt x="12678" y="19772"/>
                    <a:pt x="12649" y="19722"/>
                    <a:pt x="12649" y="19668"/>
                  </a:cubicBezTo>
                  <a:cubicBezTo>
                    <a:pt x="12624" y="19644"/>
                    <a:pt x="12540" y="19644"/>
                    <a:pt x="12565" y="19617"/>
                  </a:cubicBezTo>
                  <a:cubicBezTo>
                    <a:pt x="12565" y="19512"/>
                    <a:pt x="12649" y="19461"/>
                    <a:pt x="12678" y="19360"/>
                  </a:cubicBezTo>
                  <a:cubicBezTo>
                    <a:pt x="12707" y="19282"/>
                    <a:pt x="12649" y="19204"/>
                    <a:pt x="12678" y="19126"/>
                  </a:cubicBezTo>
                  <a:cubicBezTo>
                    <a:pt x="12733" y="19049"/>
                    <a:pt x="12846" y="19076"/>
                    <a:pt x="12900" y="19022"/>
                  </a:cubicBezTo>
                  <a:cubicBezTo>
                    <a:pt x="12984" y="18944"/>
                    <a:pt x="12955" y="18765"/>
                    <a:pt x="13068" y="18714"/>
                  </a:cubicBezTo>
                  <a:cubicBezTo>
                    <a:pt x="13151" y="18687"/>
                    <a:pt x="13206" y="18815"/>
                    <a:pt x="13261" y="18869"/>
                  </a:cubicBezTo>
                  <a:cubicBezTo>
                    <a:pt x="13344" y="18920"/>
                    <a:pt x="13403" y="19076"/>
                    <a:pt x="13483" y="19022"/>
                  </a:cubicBezTo>
                  <a:cubicBezTo>
                    <a:pt x="13708" y="18893"/>
                    <a:pt x="13734" y="18609"/>
                    <a:pt x="13930" y="18480"/>
                  </a:cubicBezTo>
                  <a:cubicBezTo>
                    <a:pt x="13985" y="18430"/>
                    <a:pt x="14069" y="18582"/>
                    <a:pt x="14123" y="18558"/>
                  </a:cubicBezTo>
                  <a:cubicBezTo>
                    <a:pt x="14207" y="18507"/>
                    <a:pt x="14207" y="18376"/>
                    <a:pt x="14291" y="18301"/>
                  </a:cubicBezTo>
                  <a:cubicBezTo>
                    <a:pt x="14345" y="18247"/>
                    <a:pt x="14458" y="18247"/>
                    <a:pt x="14513" y="18247"/>
                  </a:cubicBezTo>
                  <a:cubicBezTo>
                    <a:pt x="14597" y="18247"/>
                    <a:pt x="14651" y="18274"/>
                    <a:pt x="14709" y="18247"/>
                  </a:cubicBezTo>
                  <a:cubicBezTo>
                    <a:pt x="14764" y="18223"/>
                    <a:pt x="14793" y="18169"/>
                    <a:pt x="14848" y="18118"/>
                  </a:cubicBezTo>
                  <a:cubicBezTo>
                    <a:pt x="14873" y="18091"/>
                    <a:pt x="14931" y="18091"/>
                    <a:pt x="14957" y="18041"/>
                  </a:cubicBezTo>
                  <a:cubicBezTo>
                    <a:pt x="14957" y="17990"/>
                    <a:pt x="14873" y="17963"/>
                    <a:pt x="14873" y="17912"/>
                  </a:cubicBezTo>
                  <a:cubicBezTo>
                    <a:pt x="14902" y="17861"/>
                    <a:pt x="14931" y="17784"/>
                    <a:pt x="14986" y="17784"/>
                  </a:cubicBezTo>
                  <a:cubicBezTo>
                    <a:pt x="15179" y="17784"/>
                    <a:pt x="15317" y="17912"/>
                    <a:pt x="15485" y="17912"/>
                  </a:cubicBezTo>
                  <a:cubicBezTo>
                    <a:pt x="15598" y="17939"/>
                    <a:pt x="15710" y="17861"/>
                    <a:pt x="15820" y="17861"/>
                  </a:cubicBezTo>
                  <a:cubicBezTo>
                    <a:pt x="15874" y="17861"/>
                    <a:pt x="15874" y="17963"/>
                    <a:pt x="15903" y="17963"/>
                  </a:cubicBezTo>
                  <a:cubicBezTo>
                    <a:pt x="15958" y="17963"/>
                    <a:pt x="15987" y="17885"/>
                    <a:pt x="16042" y="17861"/>
                  </a:cubicBezTo>
                  <a:cubicBezTo>
                    <a:pt x="16071" y="17861"/>
                    <a:pt x="16096" y="17939"/>
                    <a:pt x="16154" y="17912"/>
                  </a:cubicBezTo>
                  <a:cubicBezTo>
                    <a:pt x="16209" y="17885"/>
                    <a:pt x="16209" y="17807"/>
                    <a:pt x="16238" y="17730"/>
                  </a:cubicBezTo>
                  <a:cubicBezTo>
                    <a:pt x="16238" y="17652"/>
                    <a:pt x="16180" y="17577"/>
                    <a:pt x="16209" y="17500"/>
                  </a:cubicBezTo>
                  <a:cubicBezTo>
                    <a:pt x="16238" y="17445"/>
                    <a:pt x="16293" y="17395"/>
                    <a:pt x="16347" y="17395"/>
                  </a:cubicBezTo>
                  <a:cubicBezTo>
                    <a:pt x="16431" y="17422"/>
                    <a:pt x="16486" y="17500"/>
                    <a:pt x="16544" y="17550"/>
                  </a:cubicBezTo>
                  <a:cubicBezTo>
                    <a:pt x="16599" y="17577"/>
                    <a:pt x="16628" y="17628"/>
                    <a:pt x="16682" y="17652"/>
                  </a:cubicBezTo>
                  <a:cubicBezTo>
                    <a:pt x="16737" y="17652"/>
                    <a:pt x="16792" y="17652"/>
                    <a:pt x="16850" y="17628"/>
                  </a:cubicBezTo>
                  <a:cubicBezTo>
                    <a:pt x="16904" y="17601"/>
                    <a:pt x="16904" y="17500"/>
                    <a:pt x="16959" y="17500"/>
                  </a:cubicBezTo>
                  <a:cubicBezTo>
                    <a:pt x="17017" y="17472"/>
                    <a:pt x="17072" y="17523"/>
                    <a:pt x="17126" y="17550"/>
                  </a:cubicBezTo>
                  <a:cubicBezTo>
                    <a:pt x="17210" y="17395"/>
                    <a:pt x="17319" y="17293"/>
                    <a:pt x="17378" y="17138"/>
                  </a:cubicBezTo>
                  <a:cubicBezTo>
                    <a:pt x="17432" y="17009"/>
                    <a:pt x="17432" y="16853"/>
                    <a:pt x="17461" y="16722"/>
                  </a:cubicBezTo>
                  <a:cubicBezTo>
                    <a:pt x="17461" y="16671"/>
                    <a:pt x="17432" y="16620"/>
                    <a:pt x="17432" y="16569"/>
                  </a:cubicBezTo>
                  <a:cubicBezTo>
                    <a:pt x="17461" y="16515"/>
                    <a:pt x="17516" y="16464"/>
                    <a:pt x="17487" y="16441"/>
                  </a:cubicBezTo>
                  <a:cubicBezTo>
                    <a:pt x="17487" y="16363"/>
                    <a:pt x="17378" y="16285"/>
                    <a:pt x="17432" y="16207"/>
                  </a:cubicBezTo>
                  <a:cubicBezTo>
                    <a:pt x="17461" y="16130"/>
                    <a:pt x="17600" y="16130"/>
                    <a:pt x="17683" y="16103"/>
                  </a:cubicBezTo>
                  <a:cubicBezTo>
                    <a:pt x="17709" y="16079"/>
                    <a:pt x="17738" y="16052"/>
                    <a:pt x="17767" y="16025"/>
                  </a:cubicBezTo>
                  <a:cubicBezTo>
                    <a:pt x="17905" y="15869"/>
                    <a:pt x="18044" y="15690"/>
                    <a:pt x="18211" y="15585"/>
                  </a:cubicBezTo>
                  <a:cubicBezTo>
                    <a:pt x="18295" y="15534"/>
                    <a:pt x="18404" y="15612"/>
                    <a:pt x="18517" y="15561"/>
                  </a:cubicBezTo>
                  <a:cubicBezTo>
                    <a:pt x="18626" y="15534"/>
                    <a:pt x="18739" y="15457"/>
                    <a:pt x="18852" y="15355"/>
                  </a:cubicBezTo>
                  <a:cubicBezTo>
                    <a:pt x="18906" y="15277"/>
                    <a:pt x="18852" y="15149"/>
                    <a:pt x="18935" y="15095"/>
                  </a:cubicBezTo>
                  <a:cubicBezTo>
                    <a:pt x="19074" y="14993"/>
                    <a:pt x="19267" y="15095"/>
                    <a:pt x="19380" y="15017"/>
                  </a:cubicBezTo>
                  <a:cubicBezTo>
                    <a:pt x="19463" y="14966"/>
                    <a:pt x="19434" y="14838"/>
                    <a:pt x="19463" y="14760"/>
                  </a:cubicBezTo>
                  <a:cubicBezTo>
                    <a:pt x="19489" y="14655"/>
                    <a:pt x="19543" y="14553"/>
                    <a:pt x="19518" y="14449"/>
                  </a:cubicBezTo>
                  <a:cubicBezTo>
                    <a:pt x="19518" y="14398"/>
                    <a:pt x="19380" y="14449"/>
                    <a:pt x="19350" y="14374"/>
                  </a:cubicBezTo>
                  <a:cubicBezTo>
                    <a:pt x="19321" y="14242"/>
                    <a:pt x="19463" y="14063"/>
                    <a:pt x="19405" y="13907"/>
                  </a:cubicBezTo>
                  <a:cubicBezTo>
                    <a:pt x="19380" y="13830"/>
                    <a:pt x="19158" y="13880"/>
                    <a:pt x="19158" y="13779"/>
                  </a:cubicBezTo>
                  <a:cubicBezTo>
                    <a:pt x="19158" y="13650"/>
                    <a:pt x="19321" y="13573"/>
                    <a:pt x="19405" y="13444"/>
                  </a:cubicBezTo>
                  <a:cubicBezTo>
                    <a:pt x="19518" y="13288"/>
                    <a:pt x="19711" y="13160"/>
                    <a:pt x="19740" y="12977"/>
                  </a:cubicBezTo>
                  <a:cubicBezTo>
                    <a:pt x="19769" y="12822"/>
                    <a:pt x="19685" y="12693"/>
                    <a:pt x="19572" y="12565"/>
                  </a:cubicBezTo>
                  <a:cubicBezTo>
                    <a:pt x="19518" y="12487"/>
                    <a:pt x="19380" y="12514"/>
                    <a:pt x="19296" y="12460"/>
                  </a:cubicBezTo>
                  <a:cubicBezTo>
                    <a:pt x="19212" y="12382"/>
                    <a:pt x="19183" y="12230"/>
                    <a:pt x="19099" y="12203"/>
                  </a:cubicBezTo>
                  <a:cubicBezTo>
                    <a:pt x="19019" y="12176"/>
                    <a:pt x="18990" y="12280"/>
                    <a:pt x="18906" y="12308"/>
                  </a:cubicBezTo>
                  <a:cubicBezTo>
                    <a:pt x="18768" y="12331"/>
                    <a:pt x="18601" y="12280"/>
                    <a:pt x="18462" y="12331"/>
                  </a:cubicBezTo>
                  <a:cubicBezTo>
                    <a:pt x="18379" y="12358"/>
                    <a:pt x="18404" y="12514"/>
                    <a:pt x="18320" y="12514"/>
                  </a:cubicBezTo>
                  <a:cubicBezTo>
                    <a:pt x="18211" y="12538"/>
                    <a:pt x="18044" y="12514"/>
                    <a:pt x="17989" y="12436"/>
                  </a:cubicBezTo>
                  <a:cubicBezTo>
                    <a:pt x="17905" y="12358"/>
                    <a:pt x="17989" y="12253"/>
                    <a:pt x="17989" y="12176"/>
                  </a:cubicBezTo>
                  <a:cubicBezTo>
                    <a:pt x="17989" y="11969"/>
                    <a:pt x="17989" y="11763"/>
                    <a:pt x="17934" y="11584"/>
                  </a:cubicBezTo>
                  <a:cubicBezTo>
                    <a:pt x="17934" y="11530"/>
                    <a:pt x="17851" y="11506"/>
                    <a:pt x="17851" y="11452"/>
                  </a:cubicBezTo>
                  <a:cubicBezTo>
                    <a:pt x="17851" y="11350"/>
                    <a:pt x="17905" y="11222"/>
                    <a:pt x="17876" y="11117"/>
                  </a:cubicBezTo>
                  <a:cubicBezTo>
                    <a:pt x="17851" y="11012"/>
                    <a:pt x="17709" y="10961"/>
                    <a:pt x="17683" y="10884"/>
                  </a:cubicBezTo>
                  <a:cubicBezTo>
                    <a:pt x="17600" y="10704"/>
                    <a:pt x="17570" y="10498"/>
                    <a:pt x="17516" y="10292"/>
                  </a:cubicBezTo>
                  <a:close/>
                </a:path>
              </a:pathLst>
            </a:custGeom>
            <a:solidFill>
              <a:schemeClr val="accent1"/>
            </a:solid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FF0000"/>
                </a:solidFill>
                <a:uFill>
                  <a:solidFill>
                    <a:srgbClr val="7F7F7F"/>
                  </a:solidFill>
                </a:uFill>
                <a:latin typeface="DM Sans" pitchFamily="2" charset="77"/>
                <a:ea typeface="Lato Regular"/>
                <a:cs typeface="Lato Regular"/>
                <a:sym typeface="Lato Regular"/>
              </a:endParaRPr>
            </a:p>
          </p:txBody>
        </p:sp>
        <p:sp>
          <p:nvSpPr>
            <p:cNvPr id="576" name="Shape 2531">
              <a:extLst>
                <a:ext uri="{FF2B5EF4-FFF2-40B4-BE49-F238E27FC236}">
                  <a16:creationId xmlns:a16="http://schemas.microsoft.com/office/drawing/2014/main" id="{2E72187A-93FE-21ED-00FB-681EE411CB9C}"/>
                </a:ext>
              </a:extLst>
            </p:cNvPr>
            <p:cNvSpPr/>
            <p:nvPr/>
          </p:nvSpPr>
          <p:spPr>
            <a:xfrm>
              <a:off x="267564" y="899189"/>
              <a:ext cx="811279" cy="1707880"/>
            </a:xfrm>
            <a:custGeom>
              <a:avLst/>
              <a:gdLst/>
              <a:ahLst/>
              <a:cxnLst>
                <a:cxn ang="0">
                  <a:pos x="wd2" y="hd2"/>
                </a:cxn>
                <a:cxn ang="5400000">
                  <a:pos x="wd2" y="hd2"/>
                </a:cxn>
                <a:cxn ang="10800000">
                  <a:pos x="wd2" y="hd2"/>
                </a:cxn>
                <a:cxn ang="16200000">
                  <a:pos x="wd2" y="hd2"/>
                </a:cxn>
              </a:cxnLst>
              <a:rect l="0" t="0" r="r" b="b"/>
              <a:pathLst>
                <a:path w="21600" h="21342" extrusionOk="0">
                  <a:moveTo>
                    <a:pt x="6374" y="9951"/>
                  </a:moveTo>
                  <a:cubicBezTo>
                    <a:pt x="6446" y="9922"/>
                    <a:pt x="6724" y="9757"/>
                    <a:pt x="6859" y="9757"/>
                  </a:cubicBezTo>
                  <a:cubicBezTo>
                    <a:pt x="6994" y="9757"/>
                    <a:pt x="7272" y="9757"/>
                    <a:pt x="7272" y="9825"/>
                  </a:cubicBezTo>
                  <a:cubicBezTo>
                    <a:pt x="7272" y="9888"/>
                    <a:pt x="7335" y="9922"/>
                    <a:pt x="7200" y="9951"/>
                  </a:cubicBezTo>
                  <a:cubicBezTo>
                    <a:pt x="7137" y="9951"/>
                    <a:pt x="6994" y="9985"/>
                    <a:pt x="6931" y="10014"/>
                  </a:cubicBezTo>
                  <a:cubicBezTo>
                    <a:pt x="6859" y="10048"/>
                    <a:pt x="6859" y="10082"/>
                    <a:pt x="6724" y="10111"/>
                  </a:cubicBezTo>
                  <a:cubicBezTo>
                    <a:pt x="6581" y="10145"/>
                    <a:pt x="6374" y="10208"/>
                    <a:pt x="6239" y="10111"/>
                  </a:cubicBezTo>
                  <a:cubicBezTo>
                    <a:pt x="6374" y="9951"/>
                    <a:pt x="6374" y="9951"/>
                    <a:pt x="6374" y="9951"/>
                  </a:cubicBezTo>
                  <a:close/>
                  <a:moveTo>
                    <a:pt x="1715" y="19833"/>
                  </a:moveTo>
                  <a:cubicBezTo>
                    <a:pt x="1652" y="19672"/>
                    <a:pt x="1374" y="19449"/>
                    <a:pt x="1715" y="19352"/>
                  </a:cubicBezTo>
                  <a:cubicBezTo>
                    <a:pt x="2200" y="19188"/>
                    <a:pt x="2397" y="18834"/>
                    <a:pt x="2810" y="18640"/>
                  </a:cubicBezTo>
                  <a:cubicBezTo>
                    <a:pt x="2945" y="18577"/>
                    <a:pt x="3016" y="18417"/>
                    <a:pt x="3016" y="18290"/>
                  </a:cubicBezTo>
                  <a:cubicBezTo>
                    <a:pt x="3016" y="18160"/>
                    <a:pt x="3151" y="18160"/>
                    <a:pt x="3501" y="18126"/>
                  </a:cubicBezTo>
                  <a:cubicBezTo>
                    <a:pt x="3501" y="18320"/>
                    <a:pt x="3016" y="18514"/>
                    <a:pt x="3429" y="18674"/>
                  </a:cubicBezTo>
                  <a:cubicBezTo>
                    <a:pt x="4318" y="18994"/>
                    <a:pt x="3223" y="19091"/>
                    <a:pt x="2945" y="19382"/>
                  </a:cubicBezTo>
                  <a:cubicBezTo>
                    <a:pt x="2882" y="19512"/>
                    <a:pt x="2603" y="19479"/>
                    <a:pt x="2469" y="19575"/>
                  </a:cubicBezTo>
                  <a:cubicBezTo>
                    <a:pt x="2397" y="19672"/>
                    <a:pt x="2334" y="19769"/>
                    <a:pt x="2128" y="19866"/>
                  </a:cubicBezTo>
                  <a:cubicBezTo>
                    <a:pt x="1715" y="19833"/>
                    <a:pt x="1715" y="19833"/>
                    <a:pt x="1715" y="19833"/>
                  </a:cubicBezTo>
                  <a:close/>
                  <a:moveTo>
                    <a:pt x="548" y="21151"/>
                  </a:moveTo>
                  <a:cubicBezTo>
                    <a:pt x="619" y="21088"/>
                    <a:pt x="619" y="20991"/>
                    <a:pt x="548" y="20894"/>
                  </a:cubicBezTo>
                  <a:cubicBezTo>
                    <a:pt x="548" y="20894"/>
                    <a:pt x="476" y="20928"/>
                    <a:pt x="413" y="20928"/>
                  </a:cubicBezTo>
                  <a:cubicBezTo>
                    <a:pt x="341" y="20928"/>
                    <a:pt x="341" y="20928"/>
                    <a:pt x="278" y="20958"/>
                  </a:cubicBezTo>
                  <a:cubicBezTo>
                    <a:pt x="135" y="20958"/>
                    <a:pt x="0" y="20991"/>
                    <a:pt x="0" y="21025"/>
                  </a:cubicBezTo>
                  <a:cubicBezTo>
                    <a:pt x="0" y="21055"/>
                    <a:pt x="0" y="21088"/>
                    <a:pt x="0" y="21122"/>
                  </a:cubicBezTo>
                  <a:cubicBezTo>
                    <a:pt x="0" y="21151"/>
                    <a:pt x="0" y="21151"/>
                    <a:pt x="72" y="21185"/>
                  </a:cubicBezTo>
                  <a:cubicBezTo>
                    <a:pt x="72" y="21215"/>
                    <a:pt x="72" y="21282"/>
                    <a:pt x="72" y="21312"/>
                  </a:cubicBezTo>
                  <a:cubicBezTo>
                    <a:pt x="135" y="21379"/>
                    <a:pt x="341" y="21312"/>
                    <a:pt x="476" y="21312"/>
                  </a:cubicBezTo>
                  <a:cubicBezTo>
                    <a:pt x="548" y="21151"/>
                    <a:pt x="548" y="21151"/>
                    <a:pt x="548" y="21151"/>
                  </a:cubicBezTo>
                  <a:close/>
                  <a:moveTo>
                    <a:pt x="5485" y="17738"/>
                  </a:moveTo>
                  <a:cubicBezTo>
                    <a:pt x="5413" y="17738"/>
                    <a:pt x="5351" y="17738"/>
                    <a:pt x="5279" y="17738"/>
                  </a:cubicBezTo>
                  <a:cubicBezTo>
                    <a:pt x="5216" y="17738"/>
                    <a:pt x="5072" y="17738"/>
                    <a:pt x="5009" y="17738"/>
                  </a:cubicBezTo>
                  <a:cubicBezTo>
                    <a:pt x="5009" y="17772"/>
                    <a:pt x="5009" y="17772"/>
                    <a:pt x="5009" y="17835"/>
                  </a:cubicBezTo>
                  <a:cubicBezTo>
                    <a:pt x="5009" y="17869"/>
                    <a:pt x="4938" y="17869"/>
                    <a:pt x="5009" y="17903"/>
                  </a:cubicBezTo>
                  <a:cubicBezTo>
                    <a:pt x="5009" y="17966"/>
                    <a:pt x="5072" y="18000"/>
                    <a:pt x="5072" y="18063"/>
                  </a:cubicBezTo>
                  <a:cubicBezTo>
                    <a:pt x="5072" y="18096"/>
                    <a:pt x="5072" y="18223"/>
                    <a:pt x="5216" y="18193"/>
                  </a:cubicBezTo>
                  <a:cubicBezTo>
                    <a:pt x="5351" y="18193"/>
                    <a:pt x="5351" y="18126"/>
                    <a:pt x="5351" y="18096"/>
                  </a:cubicBezTo>
                  <a:cubicBezTo>
                    <a:pt x="5413" y="18029"/>
                    <a:pt x="5413" y="17966"/>
                    <a:pt x="5485" y="17869"/>
                  </a:cubicBezTo>
                  <a:cubicBezTo>
                    <a:pt x="5485" y="17738"/>
                    <a:pt x="5485" y="17738"/>
                    <a:pt x="5485" y="17738"/>
                  </a:cubicBezTo>
                  <a:close/>
                  <a:moveTo>
                    <a:pt x="7478" y="10465"/>
                  </a:moveTo>
                  <a:cubicBezTo>
                    <a:pt x="8295" y="10659"/>
                    <a:pt x="9049" y="10436"/>
                    <a:pt x="8502" y="10950"/>
                  </a:cubicBezTo>
                  <a:cubicBezTo>
                    <a:pt x="8026" y="11333"/>
                    <a:pt x="8295" y="11270"/>
                    <a:pt x="7406" y="11401"/>
                  </a:cubicBezTo>
                  <a:cubicBezTo>
                    <a:pt x="7478" y="11527"/>
                    <a:pt x="7882" y="11527"/>
                    <a:pt x="7819" y="11687"/>
                  </a:cubicBezTo>
                  <a:cubicBezTo>
                    <a:pt x="7748" y="11818"/>
                    <a:pt x="7685" y="11978"/>
                    <a:pt x="7478" y="12109"/>
                  </a:cubicBezTo>
                  <a:cubicBezTo>
                    <a:pt x="7272" y="12269"/>
                    <a:pt x="7137" y="12817"/>
                    <a:pt x="7065" y="13040"/>
                  </a:cubicBezTo>
                  <a:cubicBezTo>
                    <a:pt x="6931" y="13331"/>
                    <a:pt x="6374" y="13010"/>
                    <a:pt x="6518" y="13301"/>
                  </a:cubicBezTo>
                  <a:cubicBezTo>
                    <a:pt x="6581" y="13398"/>
                    <a:pt x="6311" y="13491"/>
                    <a:pt x="6374" y="13524"/>
                  </a:cubicBezTo>
                  <a:cubicBezTo>
                    <a:pt x="6581" y="13748"/>
                    <a:pt x="6994" y="14039"/>
                    <a:pt x="6374" y="14232"/>
                  </a:cubicBezTo>
                  <a:cubicBezTo>
                    <a:pt x="6239" y="14296"/>
                    <a:pt x="5557" y="14232"/>
                    <a:pt x="5692" y="14363"/>
                  </a:cubicBezTo>
                  <a:cubicBezTo>
                    <a:pt x="5898" y="14489"/>
                    <a:pt x="6311" y="14650"/>
                    <a:pt x="6374" y="14814"/>
                  </a:cubicBezTo>
                  <a:cubicBezTo>
                    <a:pt x="6168" y="15004"/>
                    <a:pt x="6724" y="15100"/>
                    <a:pt x="6652" y="15231"/>
                  </a:cubicBezTo>
                  <a:cubicBezTo>
                    <a:pt x="6652" y="15328"/>
                    <a:pt x="6105" y="15425"/>
                    <a:pt x="5970" y="15551"/>
                  </a:cubicBezTo>
                  <a:cubicBezTo>
                    <a:pt x="5826" y="15711"/>
                    <a:pt x="5764" y="15876"/>
                    <a:pt x="5557" y="16002"/>
                  </a:cubicBezTo>
                  <a:cubicBezTo>
                    <a:pt x="5279" y="16196"/>
                    <a:pt x="5216" y="16099"/>
                    <a:pt x="5557" y="16259"/>
                  </a:cubicBezTo>
                  <a:cubicBezTo>
                    <a:pt x="5898" y="16390"/>
                    <a:pt x="5970" y="16841"/>
                    <a:pt x="5764" y="17035"/>
                  </a:cubicBezTo>
                  <a:cubicBezTo>
                    <a:pt x="5620" y="17098"/>
                    <a:pt x="6239" y="17355"/>
                    <a:pt x="6311" y="17452"/>
                  </a:cubicBezTo>
                  <a:cubicBezTo>
                    <a:pt x="6518" y="17835"/>
                    <a:pt x="5764" y="17549"/>
                    <a:pt x="5485" y="17515"/>
                  </a:cubicBezTo>
                  <a:cubicBezTo>
                    <a:pt x="4938" y="17452"/>
                    <a:pt x="3977" y="17772"/>
                    <a:pt x="3771" y="17321"/>
                  </a:cubicBezTo>
                  <a:cubicBezTo>
                    <a:pt x="3636" y="17035"/>
                    <a:pt x="3636" y="16676"/>
                    <a:pt x="3429" y="16390"/>
                  </a:cubicBezTo>
                  <a:cubicBezTo>
                    <a:pt x="3358" y="16293"/>
                    <a:pt x="3295" y="16162"/>
                    <a:pt x="3151" y="16099"/>
                  </a:cubicBezTo>
                  <a:cubicBezTo>
                    <a:pt x="3088" y="16065"/>
                    <a:pt x="3771" y="15071"/>
                    <a:pt x="3842" y="14907"/>
                  </a:cubicBezTo>
                  <a:cubicBezTo>
                    <a:pt x="3842" y="14746"/>
                    <a:pt x="3708" y="14553"/>
                    <a:pt x="3501" y="14426"/>
                  </a:cubicBezTo>
                  <a:cubicBezTo>
                    <a:pt x="3016" y="14135"/>
                    <a:pt x="3636" y="14266"/>
                    <a:pt x="3842" y="13975"/>
                  </a:cubicBezTo>
                  <a:cubicBezTo>
                    <a:pt x="4049" y="13878"/>
                    <a:pt x="4112" y="13781"/>
                    <a:pt x="4049" y="13685"/>
                  </a:cubicBezTo>
                  <a:cubicBezTo>
                    <a:pt x="3771" y="13685"/>
                    <a:pt x="3501" y="13234"/>
                    <a:pt x="3708" y="13137"/>
                  </a:cubicBezTo>
                  <a:cubicBezTo>
                    <a:pt x="4525" y="12817"/>
                    <a:pt x="4049" y="12269"/>
                    <a:pt x="3223" y="12045"/>
                  </a:cubicBezTo>
                  <a:cubicBezTo>
                    <a:pt x="3016" y="11978"/>
                    <a:pt x="1849" y="11595"/>
                    <a:pt x="1921" y="11561"/>
                  </a:cubicBezTo>
                  <a:cubicBezTo>
                    <a:pt x="2262" y="11367"/>
                    <a:pt x="2334" y="10984"/>
                    <a:pt x="2675" y="10722"/>
                  </a:cubicBezTo>
                  <a:cubicBezTo>
                    <a:pt x="3088" y="10465"/>
                    <a:pt x="3223" y="10693"/>
                    <a:pt x="3708" y="10722"/>
                  </a:cubicBezTo>
                  <a:cubicBezTo>
                    <a:pt x="4049" y="10756"/>
                    <a:pt x="4255" y="10562"/>
                    <a:pt x="4462" y="10465"/>
                  </a:cubicBezTo>
                  <a:cubicBezTo>
                    <a:pt x="4866" y="10305"/>
                    <a:pt x="5072" y="10790"/>
                    <a:pt x="5485" y="10562"/>
                  </a:cubicBezTo>
                  <a:cubicBezTo>
                    <a:pt x="5764" y="10465"/>
                    <a:pt x="6518" y="10242"/>
                    <a:pt x="6931" y="10402"/>
                  </a:cubicBezTo>
                  <a:cubicBezTo>
                    <a:pt x="7478" y="10465"/>
                    <a:pt x="7478" y="10465"/>
                    <a:pt x="7478" y="10465"/>
                  </a:cubicBezTo>
                  <a:close/>
                  <a:moveTo>
                    <a:pt x="5898" y="9471"/>
                  </a:moveTo>
                  <a:cubicBezTo>
                    <a:pt x="5826" y="9471"/>
                    <a:pt x="5692" y="9374"/>
                    <a:pt x="5692" y="9340"/>
                  </a:cubicBezTo>
                  <a:cubicBezTo>
                    <a:pt x="5692" y="9243"/>
                    <a:pt x="5764" y="9243"/>
                    <a:pt x="5970" y="9210"/>
                  </a:cubicBezTo>
                  <a:cubicBezTo>
                    <a:pt x="6033" y="9180"/>
                    <a:pt x="6239" y="9146"/>
                    <a:pt x="6311" y="9146"/>
                  </a:cubicBezTo>
                  <a:cubicBezTo>
                    <a:pt x="6518" y="9180"/>
                    <a:pt x="6581" y="9306"/>
                    <a:pt x="6581" y="9374"/>
                  </a:cubicBezTo>
                  <a:cubicBezTo>
                    <a:pt x="6581" y="9437"/>
                    <a:pt x="6581" y="9437"/>
                    <a:pt x="6446" y="9471"/>
                  </a:cubicBezTo>
                  <a:cubicBezTo>
                    <a:pt x="6374" y="9471"/>
                    <a:pt x="6168" y="9471"/>
                    <a:pt x="6033" y="9471"/>
                  </a:cubicBezTo>
                  <a:cubicBezTo>
                    <a:pt x="5898" y="9471"/>
                    <a:pt x="5898" y="9471"/>
                    <a:pt x="5898" y="9471"/>
                  </a:cubicBezTo>
                  <a:close/>
                  <a:moveTo>
                    <a:pt x="9256" y="7507"/>
                  </a:moveTo>
                  <a:cubicBezTo>
                    <a:pt x="9121" y="7537"/>
                    <a:pt x="8915" y="7537"/>
                    <a:pt x="8843" y="7634"/>
                  </a:cubicBezTo>
                  <a:cubicBezTo>
                    <a:pt x="8780" y="7697"/>
                    <a:pt x="8636" y="7730"/>
                    <a:pt x="8502" y="7764"/>
                  </a:cubicBezTo>
                  <a:cubicBezTo>
                    <a:pt x="8430" y="7794"/>
                    <a:pt x="8295" y="7730"/>
                    <a:pt x="8295" y="7827"/>
                  </a:cubicBezTo>
                  <a:cubicBezTo>
                    <a:pt x="8232" y="7857"/>
                    <a:pt x="8161" y="8118"/>
                    <a:pt x="8367" y="8021"/>
                  </a:cubicBezTo>
                  <a:cubicBezTo>
                    <a:pt x="8430" y="7954"/>
                    <a:pt x="8574" y="7857"/>
                    <a:pt x="8780" y="7857"/>
                  </a:cubicBezTo>
                  <a:cubicBezTo>
                    <a:pt x="8915" y="7857"/>
                    <a:pt x="8915" y="7857"/>
                    <a:pt x="9049" y="7924"/>
                  </a:cubicBezTo>
                  <a:cubicBezTo>
                    <a:pt x="9193" y="8021"/>
                    <a:pt x="9400" y="7954"/>
                    <a:pt x="9400" y="7857"/>
                  </a:cubicBezTo>
                  <a:cubicBezTo>
                    <a:pt x="9462" y="7764"/>
                    <a:pt x="9462" y="7697"/>
                    <a:pt x="9462" y="7570"/>
                  </a:cubicBezTo>
                  <a:cubicBezTo>
                    <a:pt x="9256" y="7507"/>
                    <a:pt x="9256" y="7507"/>
                    <a:pt x="9256" y="7507"/>
                  </a:cubicBezTo>
                  <a:close/>
                  <a:moveTo>
                    <a:pt x="18377" y="6281"/>
                  </a:moveTo>
                  <a:cubicBezTo>
                    <a:pt x="18377" y="6121"/>
                    <a:pt x="18377" y="6121"/>
                    <a:pt x="18377" y="6121"/>
                  </a:cubicBezTo>
                  <a:cubicBezTo>
                    <a:pt x="18584" y="5961"/>
                    <a:pt x="18171" y="5059"/>
                    <a:pt x="17829" y="4962"/>
                  </a:cubicBezTo>
                  <a:cubicBezTo>
                    <a:pt x="17758" y="4932"/>
                    <a:pt x="18242" y="4768"/>
                    <a:pt x="18305" y="4739"/>
                  </a:cubicBezTo>
                  <a:cubicBezTo>
                    <a:pt x="18512" y="4608"/>
                    <a:pt x="18305" y="4254"/>
                    <a:pt x="18242" y="4128"/>
                  </a:cubicBezTo>
                  <a:cubicBezTo>
                    <a:pt x="18108" y="3837"/>
                    <a:pt x="19059" y="4414"/>
                    <a:pt x="19059" y="4031"/>
                  </a:cubicBezTo>
                  <a:cubicBezTo>
                    <a:pt x="19059" y="3871"/>
                    <a:pt x="19203" y="3934"/>
                    <a:pt x="19472" y="3934"/>
                  </a:cubicBezTo>
                  <a:cubicBezTo>
                    <a:pt x="19822" y="4574"/>
                    <a:pt x="21052" y="3963"/>
                    <a:pt x="21259" y="3609"/>
                  </a:cubicBezTo>
                  <a:cubicBezTo>
                    <a:pt x="21322" y="3512"/>
                    <a:pt x="21600" y="3255"/>
                    <a:pt x="21600" y="3192"/>
                  </a:cubicBezTo>
                  <a:cubicBezTo>
                    <a:pt x="21600" y="3158"/>
                    <a:pt x="21322" y="3226"/>
                    <a:pt x="21259" y="3192"/>
                  </a:cubicBezTo>
                  <a:cubicBezTo>
                    <a:pt x="21124" y="3323"/>
                    <a:pt x="20711" y="3323"/>
                    <a:pt x="20577" y="3483"/>
                  </a:cubicBezTo>
                  <a:cubicBezTo>
                    <a:pt x="20433" y="3643"/>
                    <a:pt x="20164" y="3774"/>
                    <a:pt x="19822" y="3803"/>
                  </a:cubicBezTo>
                  <a:cubicBezTo>
                    <a:pt x="18997" y="3963"/>
                    <a:pt x="18718" y="3609"/>
                    <a:pt x="18925" y="3323"/>
                  </a:cubicBezTo>
                  <a:cubicBezTo>
                    <a:pt x="18925" y="3062"/>
                    <a:pt x="19409" y="3255"/>
                    <a:pt x="19472" y="3062"/>
                  </a:cubicBezTo>
                  <a:cubicBezTo>
                    <a:pt x="19616" y="2872"/>
                    <a:pt x="19544" y="2872"/>
                    <a:pt x="20029" y="2805"/>
                  </a:cubicBezTo>
                  <a:cubicBezTo>
                    <a:pt x="20226" y="2805"/>
                    <a:pt x="20639" y="2227"/>
                    <a:pt x="21124" y="2164"/>
                  </a:cubicBezTo>
                  <a:cubicBezTo>
                    <a:pt x="21124" y="2130"/>
                    <a:pt x="21124" y="2130"/>
                    <a:pt x="21124" y="2130"/>
                  </a:cubicBezTo>
                  <a:cubicBezTo>
                    <a:pt x="19616" y="1970"/>
                    <a:pt x="21187" y="1325"/>
                    <a:pt x="20981" y="1005"/>
                  </a:cubicBezTo>
                  <a:cubicBezTo>
                    <a:pt x="20774" y="811"/>
                    <a:pt x="20981" y="841"/>
                    <a:pt x="20981" y="651"/>
                  </a:cubicBezTo>
                  <a:cubicBezTo>
                    <a:pt x="20918" y="521"/>
                    <a:pt x="20298" y="327"/>
                    <a:pt x="20164" y="167"/>
                  </a:cubicBezTo>
                  <a:cubicBezTo>
                    <a:pt x="19751" y="-221"/>
                    <a:pt x="19679" y="167"/>
                    <a:pt x="19409" y="327"/>
                  </a:cubicBezTo>
                  <a:cubicBezTo>
                    <a:pt x="18853" y="651"/>
                    <a:pt x="17758" y="778"/>
                    <a:pt x="17147" y="1068"/>
                  </a:cubicBezTo>
                  <a:cubicBezTo>
                    <a:pt x="16797" y="1229"/>
                    <a:pt x="16187" y="1713"/>
                    <a:pt x="15836" y="1810"/>
                  </a:cubicBezTo>
                  <a:cubicBezTo>
                    <a:pt x="15639" y="1936"/>
                    <a:pt x="14948" y="2194"/>
                    <a:pt x="14535" y="2164"/>
                  </a:cubicBezTo>
                  <a:cubicBezTo>
                    <a:pt x="13852" y="2164"/>
                    <a:pt x="14059" y="2194"/>
                    <a:pt x="13439" y="2354"/>
                  </a:cubicBezTo>
                  <a:cubicBezTo>
                    <a:pt x="12551" y="2581"/>
                    <a:pt x="11662" y="2644"/>
                    <a:pt x="12075" y="3226"/>
                  </a:cubicBezTo>
                  <a:cubicBezTo>
                    <a:pt x="12209" y="3352"/>
                    <a:pt x="12964" y="3803"/>
                    <a:pt x="12964" y="3837"/>
                  </a:cubicBezTo>
                  <a:cubicBezTo>
                    <a:pt x="12820" y="3837"/>
                    <a:pt x="12622" y="3837"/>
                    <a:pt x="12479" y="3837"/>
                  </a:cubicBezTo>
                  <a:cubicBezTo>
                    <a:pt x="12479" y="3837"/>
                    <a:pt x="12479" y="3837"/>
                    <a:pt x="12416" y="3837"/>
                  </a:cubicBezTo>
                  <a:cubicBezTo>
                    <a:pt x="12416" y="3740"/>
                    <a:pt x="11931" y="3512"/>
                    <a:pt x="11797" y="3449"/>
                  </a:cubicBezTo>
                  <a:cubicBezTo>
                    <a:pt x="11662" y="3386"/>
                    <a:pt x="11177" y="2998"/>
                    <a:pt x="11042" y="3062"/>
                  </a:cubicBezTo>
                  <a:cubicBezTo>
                    <a:pt x="10971" y="3095"/>
                    <a:pt x="10836" y="3289"/>
                    <a:pt x="10899" y="3352"/>
                  </a:cubicBezTo>
                  <a:cubicBezTo>
                    <a:pt x="11105" y="3483"/>
                    <a:pt x="11312" y="3677"/>
                    <a:pt x="11312" y="3837"/>
                  </a:cubicBezTo>
                  <a:cubicBezTo>
                    <a:pt x="11105" y="3837"/>
                    <a:pt x="10764" y="3934"/>
                    <a:pt x="10701" y="3934"/>
                  </a:cubicBezTo>
                  <a:cubicBezTo>
                    <a:pt x="10558" y="3740"/>
                    <a:pt x="10351" y="3580"/>
                    <a:pt x="9875" y="3609"/>
                  </a:cubicBezTo>
                  <a:cubicBezTo>
                    <a:pt x="9193" y="3677"/>
                    <a:pt x="9049" y="3289"/>
                    <a:pt x="8780" y="3609"/>
                  </a:cubicBezTo>
                  <a:cubicBezTo>
                    <a:pt x="8708" y="3706"/>
                    <a:pt x="8430" y="3871"/>
                    <a:pt x="8574" y="3997"/>
                  </a:cubicBezTo>
                  <a:cubicBezTo>
                    <a:pt x="8915" y="4288"/>
                    <a:pt x="8161" y="4094"/>
                    <a:pt x="8026" y="4191"/>
                  </a:cubicBezTo>
                  <a:cubicBezTo>
                    <a:pt x="7954" y="4288"/>
                    <a:pt x="8026" y="4482"/>
                    <a:pt x="7954" y="4574"/>
                  </a:cubicBezTo>
                  <a:cubicBezTo>
                    <a:pt x="7882" y="4671"/>
                    <a:pt x="7613" y="4802"/>
                    <a:pt x="7613" y="4899"/>
                  </a:cubicBezTo>
                  <a:cubicBezTo>
                    <a:pt x="7613" y="5029"/>
                    <a:pt x="7954" y="5122"/>
                    <a:pt x="7748" y="5286"/>
                  </a:cubicBezTo>
                  <a:cubicBezTo>
                    <a:pt x="7478" y="5573"/>
                    <a:pt x="8295" y="5670"/>
                    <a:pt x="8430" y="5801"/>
                  </a:cubicBezTo>
                  <a:cubicBezTo>
                    <a:pt x="8430" y="5801"/>
                    <a:pt x="8780" y="6154"/>
                    <a:pt x="8780" y="6251"/>
                  </a:cubicBezTo>
                  <a:cubicBezTo>
                    <a:pt x="8780" y="6378"/>
                    <a:pt x="8232" y="6218"/>
                    <a:pt x="8089" y="6218"/>
                  </a:cubicBezTo>
                  <a:cubicBezTo>
                    <a:pt x="7335" y="6058"/>
                    <a:pt x="6581" y="6218"/>
                    <a:pt x="7541" y="6412"/>
                  </a:cubicBezTo>
                  <a:cubicBezTo>
                    <a:pt x="8089" y="6508"/>
                    <a:pt x="7954" y="6475"/>
                    <a:pt x="8232" y="6702"/>
                  </a:cubicBezTo>
                  <a:cubicBezTo>
                    <a:pt x="8502" y="6989"/>
                    <a:pt x="9049" y="7086"/>
                    <a:pt x="9669" y="7153"/>
                  </a:cubicBezTo>
                  <a:cubicBezTo>
                    <a:pt x="10216" y="7183"/>
                    <a:pt x="11518" y="7216"/>
                    <a:pt x="11518" y="7570"/>
                  </a:cubicBezTo>
                  <a:cubicBezTo>
                    <a:pt x="11455" y="7857"/>
                    <a:pt x="10288" y="7313"/>
                    <a:pt x="10010" y="7988"/>
                  </a:cubicBezTo>
                  <a:cubicBezTo>
                    <a:pt x="9947" y="8148"/>
                    <a:pt x="9462" y="8312"/>
                    <a:pt x="9256" y="8438"/>
                  </a:cubicBezTo>
                  <a:cubicBezTo>
                    <a:pt x="8915" y="8666"/>
                    <a:pt x="8430" y="8826"/>
                    <a:pt x="7954" y="8599"/>
                  </a:cubicBezTo>
                  <a:cubicBezTo>
                    <a:pt x="7406" y="8341"/>
                    <a:pt x="7748" y="8759"/>
                    <a:pt x="8026" y="8923"/>
                  </a:cubicBezTo>
                  <a:cubicBezTo>
                    <a:pt x="9256" y="9597"/>
                    <a:pt x="9256" y="9597"/>
                    <a:pt x="9256" y="9597"/>
                  </a:cubicBezTo>
                  <a:cubicBezTo>
                    <a:pt x="9400" y="9660"/>
                    <a:pt x="9669" y="9791"/>
                    <a:pt x="9741" y="9854"/>
                  </a:cubicBezTo>
                  <a:cubicBezTo>
                    <a:pt x="9741" y="9854"/>
                    <a:pt x="9741" y="9888"/>
                    <a:pt x="9803" y="9888"/>
                  </a:cubicBezTo>
                  <a:cubicBezTo>
                    <a:pt x="10423" y="9888"/>
                    <a:pt x="11249" y="8986"/>
                    <a:pt x="11662" y="8826"/>
                  </a:cubicBezTo>
                  <a:cubicBezTo>
                    <a:pt x="11868" y="8759"/>
                    <a:pt x="12075" y="8923"/>
                    <a:pt x="12209" y="8889"/>
                  </a:cubicBezTo>
                  <a:cubicBezTo>
                    <a:pt x="12272" y="8826"/>
                    <a:pt x="12344" y="8759"/>
                    <a:pt x="12551" y="8695"/>
                  </a:cubicBezTo>
                  <a:cubicBezTo>
                    <a:pt x="12757" y="8632"/>
                    <a:pt x="13305" y="8729"/>
                    <a:pt x="12964" y="8535"/>
                  </a:cubicBezTo>
                  <a:cubicBezTo>
                    <a:pt x="12820" y="8472"/>
                    <a:pt x="12551" y="8215"/>
                    <a:pt x="12551" y="8118"/>
                  </a:cubicBezTo>
                  <a:cubicBezTo>
                    <a:pt x="12003" y="8084"/>
                    <a:pt x="12479" y="7891"/>
                    <a:pt x="12551" y="7794"/>
                  </a:cubicBezTo>
                  <a:cubicBezTo>
                    <a:pt x="12892" y="7794"/>
                    <a:pt x="13305" y="7954"/>
                    <a:pt x="13646" y="7954"/>
                  </a:cubicBezTo>
                  <a:cubicBezTo>
                    <a:pt x="13718" y="8084"/>
                    <a:pt x="13574" y="8215"/>
                    <a:pt x="13924" y="8278"/>
                  </a:cubicBezTo>
                  <a:cubicBezTo>
                    <a:pt x="14678" y="8438"/>
                    <a:pt x="14328" y="8021"/>
                    <a:pt x="14131" y="7794"/>
                  </a:cubicBezTo>
                  <a:cubicBezTo>
                    <a:pt x="13781" y="7343"/>
                    <a:pt x="14678" y="7730"/>
                    <a:pt x="14885" y="7410"/>
                  </a:cubicBezTo>
                  <a:cubicBezTo>
                    <a:pt x="14948" y="7440"/>
                    <a:pt x="15154" y="7507"/>
                    <a:pt x="15154" y="7570"/>
                  </a:cubicBezTo>
                  <a:cubicBezTo>
                    <a:pt x="15639" y="7570"/>
                    <a:pt x="15908" y="7764"/>
                    <a:pt x="16115" y="7410"/>
                  </a:cubicBezTo>
                  <a:cubicBezTo>
                    <a:pt x="17354" y="7313"/>
                    <a:pt x="16941" y="6926"/>
                    <a:pt x="17075" y="6572"/>
                  </a:cubicBezTo>
                  <a:cubicBezTo>
                    <a:pt x="17901" y="6475"/>
                    <a:pt x="17560" y="6765"/>
                    <a:pt x="18377" y="6281"/>
                  </a:cubicBez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7" name="Shape 2532">
              <a:extLst>
                <a:ext uri="{FF2B5EF4-FFF2-40B4-BE49-F238E27FC236}">
                  <a16:creationId xmlns:a16="http://schemas.microsoft.com/office/drawing/2014/main" id="{327D1A9B-3FB3-8959-7CEF-F6C932872FCB}"/>
                </a:ext>
              </a:extLst>
            </p:cNvPr>
            <p:cNvSpPr/>
            <p:nvPr/>
          </p:nvSpPr>
          <p:spPr>
            <a:xfrm>
              <a:off x="2515113" y="0"/>
              <a:ext cx="555605" cy="676748"/>
            </a:xfrm>
            <a:custGeom>
              <a:avLst/>
              <a:gdLst/>
              <a:ahLst/>
              <a:cxnLst>
                <a:cxn ang="0">
                  <a:pos x="wd2" y="hd2"/>
                </a:cxn>
                <a:cxn ang="5400000">
                  <a:pos x="wd2" y="hd2"/>
                </a:cxn>
                <a:cxn ang="10800000">
                  <a:pos x="wd2" y="hd2"/>
                </a:cxn>
                <a:cxn ang="16200000">
                  <a:pos x="wd2" y="hd2"/>
                </a:cxn>
              </a:cxnLst>
              <a:rect l="0" t="0" r="r" b="b"/>
              <a:pathLst>
                <a:path w="21600" h="21481" extrusionOk="0">
                  <a:moveTo>
                    <a:pt x="4689" y="17375"/>
                  </a:moveTo>
                  <a:cubicBezTo>
                    <a:pt x="4008" y="17054"/>
                    <a:pt x="4506" y="16240"/>
                    <a:pt x="3510" y="15994"/>
                  </a:cubicBezTo>
                  <a:cubicBezTo>
                    <a:pt x="3301" y="15994"/>
                    <a:pt x="2803" y="15994"/>
                    <a:pt x="2711" y="15823"/>
                  </a:cubicBezTo>
                  <a:cubicBezTo>
                    <a:pt x="2305" y="15662"/>
                    <a:pt x="2201" y="14923"/>
                    <a:pt x="1703" y="15084"/>
                  </a:cubicBezTo>
                  <a:cubicBezTo>
                    <a:pt x="1297" y="15255"/>
                    <a:pt x="603" y="15416"/>
                    <a:pt x="406" y="15662"/>
                  </a:cubicBezTo>
                  <a:cubicBezTo>
                    <a:pt x="196" y="15908"/>
                    <a:pt x="0" y="16476"/>
                    <a:pt x="0" y="16808"/>
                  </a:cubicBezTo>
                  <a:cubicBezTo>
                    <a:pt x="0" y="17054"/>
                    <a:pt x="799" y="16969"/>
                    <a:pt x="1100" y="17215"/>
                  </a:cubicBezTo>
                  <a:cubicBezTo>
                    <a:pt x="1205" y="17375"/>
                    <a:pt x="1205" y="17868"/>
                    <a:pt x="1297" y="18114"/>
                  </a:cubicBezTo>
                  <a:cubicBezTo>
                    <a:pt x="1402" y="18521"/>
                    <a:pt x="2201" y="18853"/>
                    <a:pt x="2502" y="19260"/>
                  </a:cubicBezTo>
                  <a:cubicBezTo>
                    <a:pt x="2711" y="19507"/>
                    <a:pt x="2803" y="19999"/>
                    <a:pt x="3209" y="19999"/>
                  </a:cubicBezTo>
                  <a:cubicBezTo>
                    <a:pt x="3406" y="19914"/>
                    <a:pt x="4100" y="20246"/>
                    <a:pt x="4205" y="20160"/>
                  </a:cubicBezTo>
                  <a:cubicBezTo>
                    <a:pt x="4205" y="19839"/>
                    <a:pt x="3799" y="19753"/>
                    <a:pt x="4100" y="19346"/>
                  </a:cubicBezTo>
                  <a:cubicBezTo>
                    <a:pt x="4310" y="19175"/>
                    <a:pt x="4794" y="19100"/>
                    <a:pt x="4991" y="18853"/>
                  </a:cubicBezTo>
                  <a:cubicBezTo>
                    <a:pt x="5095" y="18521"/>
                    <a:pt x="4794" y="18114"/>
                    <a:pt x="4794" y="17793"/>
                  </a:cubicBezTo>
                  <a:cubicBezTo>
                    <a:pt x="4689" y="17375"/>
                    <a:pt x="4689" y="17375"/>
                    <a:pt x="4689" y="17375"/>
                  </a:cubicBezTo>
                  <a:close/>
                  <a:moveTo>
                    <a:pt x="5999" y="19175"/>
                  </a:moveTo>
                  <a:cubicBezTo>
                    <a:pt x="6091" y="19421"/>
                    <a:pt x="6091" y="19421"/>
                    <a:pt x="6091" y="19421"/>
                  </a:cubicBezTo>
                  <a:cubicBezTo>
                    <a:pt x="6091" y="19592"/>
                    <a:pt x="5999" y="19753"/>
                    <a:pt x="5790" y="19839"/>
                  </a:cubicBezTo>
                  <a:cubicBezTo>
                    <a:pt x="5593" y="19914"/>
                    <a:pt x="5292" y="19839"/>
                    <a:pt x="5187" y="19914"/>
                  </a:cubicBezTo>
                  <a:cubicBezTo>
                    <a:pt x="4991" y="19999"/>
                    <a:pt x="4886" y="20160"/>
                    <a:pt x="4794" y="19999"/>
                  </a:cubicBezTo>
                  <a:cubicBezTo>
                    <a:pt x="4689" y="19999"/>
                    <a:pt x="4401" y="19753"/>
                    <a:pt x="4401" y="19667"/>
                  </a:cubicBezTo>
                  <a:cubicBezTo>
                    <a:pt x="4401" y="19592"/>
                    <a:pt x="4506" y="19421"/>
                    <a:pt x="4506" y="19421"/>
                  </a:cubicBezTo>
                  <a:cubicBezTo>
                    <a:pt x="4689" y="19260"/>
                    <a:pt x="4991" y="19346"/>
                    <a:pt x="5292" y="19346"/>
                  </a:cubicBezTo>
                  <a:cubicBezTo>
                    <a:pt x="5488" y="19346"/>
                    <a:pt x="5593" y="19260"/>
                    <a:pt x="5790" y="19260"/>
                  </a:cubicBezTo>
                  <a:cubicBezTo>
                    <a:pt x="5894" y="19260"/>
                    <a:pt x="5894" y="19260"/>
                    <a:pt x="5999" y="19175"/>
                  </a:cubicBezTo>
                  <a:close/>
                  <a:moveTo>
                    <a:pt x="6995" y="17793"/>
                  </a:moveTo>
                  <a:cubicBezTo>
                    <a:pt x="6798" y="17793"/>
                    <a:pt x="6694" y="17868"/>
                    <a:pt x="6589" y="17868"/>
                  </a:cubicBezTo>
                  <a:cubicBezTo>
                    <a:pt x="6287" y="17954"/>
                    <a:pt x="6091" y="18114"/>
                    <a:pt x="5999" y="18361"/>
                  </a:cubicBezTo>
                  <a:cubicBezTo>
                    <a:pt x="5894" y="18521"/>
                    <a:pt x="6091" y="18693"/>
                    <a:pt x="6196" y="18853"/>
                  </a:cubicBezTo>
                  <a:cubicBezTo>
                    <a:pt x="6287" y="18939"/>
                    <a:pt x="6589" y="18853"/>
                    <a:pt x="6694" y="18939"/>
                  </a:cubicBezTo>
                  <a:cubicBezTo>
                    <a:pt x="6798" y="18939"/>
                    <a:pt x="6995" y="18939"/>
                    <a:pt x="7100" y="18853"/>
                  </a:cubicBezTo>
                  <a:cubicBezTo>
                    <a:pt x="7191" y="18853"/>
                    <a:pt x="7191" y="18768"/>
                    <a:pt x="7191" y="18693"/>
                  </a:cubicBezTo>
                  <a:cubicBezTo>
                    <a:pt x="7296" y="18607"/>
                    <a:pt x="7100" y="18521"/>
                    <a:pt x="6995" y="18521"/>
                  </a:cubicBezTo>
                  <a:cubicBezTo>
                    <a:pt x="6890" y="18521"/>
                    <a:pt x="6798" y="18361"/>
                    <a:pt x="6694" y="18361"/>
                  </a:cubicBezTo>
                  <a:cubicBezTo>
                    <a:pt x="6694" y="18275"/>
                    <a:pt x="6589" y="18275"/>
                    <a:pt x="6694" y="18200"/>
                  </a:cubicBezTo>
                  <a:cubicBezTo>
                    <a:pt x="6798" y="18114"/>
                    <a:pt x="6890" y="18029"/>
                    <a:pt x="6995" y="17954"/>
                  </a:cubicBezTo>
                  <a:cubicBezTo>
                    <a:pt x="6995" y="17793"/>
                    <a:pt x="6995" y="17793"/>
                    <a:pt x="6995" y="17793"/>
                  </a:cubicBezTo>
                  <a:close/>
                  <a:moveTo>
                    <a:pt x="11200" y="18275"/>
                  </a:moveTo>
                  <a:cubicBezTo>
                    <a:pt x="10990" y="18361"/>
                    <a:pt x="10990" y="18200"/>
                    <a:pt x="10793" y="18200"/>
                  </a:cubicBezTo>
                  <a:cubicBezTo>
                    <a:pt x="10492" y="18275"/>
                    <a:pt x="10400" y="18607"/>
                    <a:pt x="9994" y="18607"/>
                  </a:cubicBezTo>
                  <a:cubicBezTo>
                    <a:pt x="9890" y="18607"/>
                    <a:pt x="9693" y="18446"/>
                    <a:pt x="9588" y="18361"/>
                  </a:cubicBezTo>
                  <a:cubicBezTo>
                    <a:pt x="9497" y="18361"/>
                    <a:pt x="8894" y="18446"/>
                    <a:pt x="8698" y="18446"/>
                  </a:cubicBezTo>
                  <a:cubicBezTo>
                    <a:pt x="8488" y="18446"/>
                    <a:pt x="9091" y="18853"/>
                    <a:pt x="9091" y="19014"/>
                  </a:cubicBezTo>
                  <a:cubicBezTo>
                    <a:pt x="8095" y="19260"/>
                    <a:pt x="9195" y="19592"/>
                    <a:pt x="9195" y="20160"/>
                  </a:cubicBezTo>
                  <a:cubicBezTo>
                    <a:pt x="9195" y="20320"/>
                    <a:pt x="9091" y="20406"/>
                    <a:pt x="9195" y="20652"/>
                  </a:cubicBezTo>
                  <a:cubicBezTo>
                    <a:pt x="9195" y="20813"/>
                    <a:pt x="9392" y="20899"/>
                    <a:pt x="9588" y="20974"/>
                  </a:cubicBezTo>
                  <a:cubicBezTo>
                    <a:pt x="9890" y="21220"/>
                    <a:pt x="9693" y="21552"/>
                    <a:pt x="10296" y="21466"/>
                  </a:cubicBezTo>
                  <a:cubicBezTo>
                    <a:pt x="10702" y="21466"/>
                    <a:pt x="10597" y="20899"/>
                    <a:pt x="10597" y="20738"/>
                  </a:cubicBezTo>
                  <a:cubicBezTo>
                    <a:pt x="10597" y="20406"/>
                    <a:pt x="10492" y="20320"/>
                    <a:pt x="10400" y="20085"/>
                  </a:cubicBezTo>
                  <a:cubicBezTo>
                    <a:pt x="10296" y="19839"/>
                    <a:pt x="10597" y="19592"/>
                    <a:pt x="10793" y="19346"/>
                  </a:cubicBezTo>
                  <a:cubicBezTo>
                    <a:pt x="10990" y="19175"/>
                    <a:pt x="11095" y="18939"/>
                    <a:pt x="11200" y="18607"/>
                  </a:cubicBezTo>
                  <a:cubicBezTo>
                    <a:pt x="11200" y="18275"/>
                    <a:pt x="11200" y="18275"/>
                    <a:pt x="11200" y="18275"/>
                  </a:cubicBezTo>
                  <a:close/>
                  <a:moveTo>
                    <a:pt x="11200" y="16969"/>
                  </a:moveTo>
                  <a:cubicBezTo>
                    <a:pt x="11095" y="17054"/>
                    <a:pt x="10990" y="17054"/>
                    <a:pt x="10793" y="17140"/>
                  </a:cubicBezTo>
                  <a:cubicBezTo>
                    <a:pt x="10702" y="17140"/>
                    <a:pt x="10597" y="17140"/>
                    <a:pt x="10492" y="17215"/>
                  </a:cubicBezTo>
                  <a:cubicBezTo>
                    <a:pt x="10296" y="17375"/>
                    <a:pt x="9994" y="17375"/>
                    <a:pt x="9798" y="17547"/>
                  </a:cubicBezTo>
                  <a:cubicBezTo>
                    <a:pt x="9798" y="17547"/>
                    <a:pt x="9798" y="17622"/>
                    <a:pt x="9798" y="17707"/>
                  </a:cubicBezTo>
                  <a:cubicBezTo>
                    <a:pt x="9994" y="17793"/>
                    <a:pt x="10191" y="17868"/>
                    <a:pt x="10400" y="17868"/>
                  </a:cubicBezTo>
                  <a:cubicBezTo>
                    <a:pt x="10492" y="17793"/>
                    <a:pt x="10702" y="17793"/>
                    <a:pt x="10793" y="17793"/>
                  </a:cubicBezTo>
                  <a:cubicBezTo>
                    <a:pt x="10990" y="17793"/>
                    <a:pt x="11095" y="17954"/>
                    <a:pt x="11291" y="17868"/>
                  </a:cubicBezTo>
                  <a:cubicBezTo>
                    <a:pt x="11396" y="17793"/>
                    <a:pt x="11291" y="17707"/>
                    <a:pt x="11291" y="17622"/>
                  </a:cubicBezTo>
                  <a:cubicBezTo>
                    <a:pt x="11291" y="17461"/>
                    <a:pt x="11291" y="17375"/>
                    <a:pt x="11396" y="17375"/>
                  </a:cubicBezTo>
                  <a:cubicBezTo>
                    <a:pt x="11200" y="16969"/>
                    <a:pt x="11200" y="16969"/>
                    <a:pt x="11200" y="16969"/>
                  </a:cubicBezTo>
                  <a:close/>
                  <a:moveTo>
                    <a:pt x="8095" y="9526"/>
                  </a:moveTo>
                  <a:cubicBezTo>
                    <a:pt x="8396" y="10104"/>
                    <a:pt x="8894" y="10350"/>
                    <a:pt x="8698" y="11079"/>
                  </a:cubicBezTo>
                  <a:cubicBezTo>
                    <a:pt x="8488" y="12064"/>
                    <a:pt x="7689" y="10672"/>
                    <a:pt x="7794" y="11571"/>
                  </a:cubicBezTo>
                  <a:cubicBezTo>
                    <a:pt x="7794" y="11978"/>
                    <a:pt x="7191" y="12139"/>
                    <a:pt x="6798" y="12224"/>
                  </a:cubicBezTo>
                  <a:cubicBezTo>
                    <a:pt x="6798" y="12631"/>
                    <a:pt x="8396" y="12803"/>
                    <a:pt x="8789" y="12717"/>
                  </a:cubicBezTo>
                  <a:cubicBezTo>
                    <a:pt x="9588" y="12471"/>
                    <a:pt x="10099" y="12385"/>
                    <a:pt x="10898" y="12963"/>
                  </a:cubicBezTo>
                  <a:cubicBezTo>
                    <a:pt x="11200" y="13210"/>
                    <a:pt x="10702" y="13370"/>
                    <a:pt x="10793" y="13777"/>
                  </a:cubicBezTo>
                  <a:cubicBezTo>
                    <a:pt x="10793" y="14763"/>
                    <a:pt x="12090" y="13456"/>
                    <a:pt x="12300" y="13456"/>
                  </a:cubicBezTo>
                  <a:cubicBezTo>
                    <a:pt x="12601" y="13456"/>
                    <a:pt x="13099" y="13210"/>
                    <a:pt x="12994" y="13617"/>
                  </a:cubicBezTo>
                  <a:cubicBezTo>
                    <a:pt x="12889" y="14024"/>
                    <a:pt x="12392" y="13863"/>
                    <a:pt x="12392" y="14356"/>
                  </a:cubicBezTo>
                  <a:cubicBezTo>
                    <a:pt x="12392" y="14848"/>
                    <a:pt x="12300" y="15084"/>
                    <a:pt x="12889" y="15255"/>
                  </a:cubicBezTo>
                  <a:cubicBezTo>
                    <a:pt x="13492" y="15416"/>
                    <a:pt x="12889" y="17707"/>
                    <a:pt x="11999" y="16476"/>
                  </a:cubicBezTo>
                  <a:cubicBezTo>
                    <a:pt x="11501" y="15748"/>
                    <a:pt x="10702" y="16240"/>
                    <a:pt x="10296" y="15908"/>
                  </a:cubicBezTo>
                  <a:cubicBezTo>
                    <a:pt x="9588" y="15255"/>
                    <a:pt x="9693" y="14677"/>
                    <a:pt x="9497" y="13949"/>
                  </a:cubicBezTo>
                  <a:cubicBezTo>
                    <a:pt x="9300" y="14024"/>
                    <a:pt x="8789" y="14848"/>
                    <a:pt x="8396" y="15009"/>
                  </a:cubicBezTo>
                  <a:cubicBezTo>
                    <a:pt x="7794" y="15169"/>
                    <a:pt x="7388" y="15009"/>
                    <a:pt x="6798" y="15330"/>
                  </a:cubicBezTo>
                  <a:cubicBezTo>
                    <a:pt x="6392" y="15576"/>
                    <a:pt x="5999" y="15416"/>
                    <a:pt x="5488" y="15416"/>
                  </a:cubicBezTo>
                  <a:cubicBezTo>
                    <a:pt x="4493" y="15501"/>
                    <a:pt x="4886" y="15501"/>
                    <a:pt x="4401" y="14848"/>
                  </a:cubicBezTo>
                  <a:cubicBezTo>
                    <a:pt x="4008" y="14431"/>
                    <a:pt x="3903" y="13863"/>
                    <a:pt x="4310" y="13370"/>
                  </a:cubicBezTo>
                  <a:cubicBezTo>
                    <a:pt x="4585" y="13049"/>
                    <a:pt x="4506" y="12803"/>
                    <a:pt x="4689" y="12385"/>
                  </a:cubicBezTo>
                  <a:cubicBezTo>
                    <a:pt x="4689" y="12224"/>
                    <a:pt x="4205" y="11079"/>
                    <a:pt x="3903" y="11250"/>
                  </a:cubicBezTo>
                  <a:cubicBezTo>
                    <a:pt x="3602" y="11325"/>
                    <a:pt x="4100" y="12471"/>
                    <a:pt x="4100" y="12631"/>
                  </a:cubicBezTo>
                  <a:cubicBezTo>
                    <a:pt x="3799" y="12631"/>
                    <a:pt x="3209" y="11978"/>
                    <a:pt x="3000" y="12224"/>
                  </a:cubicBezTo>
                  <a:cubicBezTo>
                    <a:pt x="2908" y="12471"/>
                    <a:pt x="3799" y="13456"/>
                    <a:pt x="3510" y="13777"/>
                  </a:cubicBezTo>
                  <a:cubicBezTo>
                    <a:pt x="3301" y="14109"/>
                    <a:pt x="2711" y="14270"/>
                    <a:pt x="2305" y="14270"/>
                  </a:cubicBezTo>
                  <a:cubicBezTo>
                    <a:pt x="1506" y="14270"/>
                    <a:pt x="1703" y="14024"/>
                    <a:pt x="1598" y="13542"/>
                  </a:cubicBezTo>
                  <a:cubicBezTo>
                    <a:pt x="1402" y="12878"/>
                    <a:pt x="1598" y="12556"/>
                    <a:pt x="1703" y="11903"/>
                  </a:cubicBezTo>
                  <a:cubicBezTo>
                    <a:pt x="1808" y="11657"/>
                    <a:pt x="1899" y="11411"/>
                    <a:pt x="1899" y="11079"/>
                  </a:cubicBezTo>
                  <a:cubicBezTo>
                    <a:pt x="2004" y="10597"/>
                    <a:pt x="1808" y="10104"/>
                    <a:pt x="1808" y="9611"/>
                  </a:cubicBezTo>
                  <a:cubicBezTo>
                    <a:pt x="2109" y="9033"/>
                    <a:pt x="1899" y="8787"/>
                    <a:pt x="2803" y="8380"/>
                  </a:cubicBezTo>
                  <a:cubicBezTo>
                    <a:pt x="3209" y="8219"/>
                    <a:pt x="3799" y="8059"/>
                    <a:pt x="4205" y="7973"/>
                  </a:cubicBezTo>
                  <a:cubicBezTo>
                    <a:pt x="5095" y="7727"/>
                    <a:pt x="5292" y="8219"/>
                    <a:pt x="5999" y="8466"/>
                  </a:cubicBezTo>
                  <a:cubicBezTo>
                    <a:pt x="6287" y="8626"/>
                    <a:pt x="6589" y="8626"/>
                    <a:pt x="6890" y="8712"/>
                  </a:cubicBezTo>
                  <a:cubicBezTo>
                    <a:pt x="7191" y="8873"/>
                    <a:pt x="7493" y="9033"/>
                    <a:pt x="7794" y="9194"/>
                  </a:cubicBezTo>
                  <a:cubicBezTo>
                    <a:pt x="8095" y="9526"/>
                    <a:pt x="8095" y="9526"/>
                    <a:pt x="8095" y="9526"/>
                  </a:cubicBezTo>
                  <a:close/>
                  <a:moveTo>
                    <a:pt x="14697" y="13863"/>
                  </a:moveTo>
                  <a:cubicBezTo>
                    <a:pt x="14500" y="14024"/>
                    <a:pt x="14199" y="14109"/>
                    <a:pt x="14003" y="14270"/>
                  </a:cubicBezTo>
                  <a:cubicBezTo>
                    <a:pt x="13793" y="14356"/>
                    <a:pt x="12889" y="14270"/>
                    <a:pt x="13099" y="14602"/>
                  </a:cubicBezTo>
                  <a:cubicBezTo>
                    <a:pt x="13400" y="14848"/>
                    <a:pt x="13492" y="15169"/>
                    <a:pt x="13597" y="15576"/>
                  </a:cubicBezTo>
                  <a:cubicBezTo>
                    <a:pt x="13701" y="15576"/>
                    <a:pt x="13793" y="15501"/>
                    <a:pt x="13898" y="15416"/>
                  </a:cubicBezTo>
                  <a:cubicBezTo>
                    <a:pt x="14199" y="15330"/>
                    <a:pt x="14592" y="15416"/>
                    <a:pt x="14893" y="15416"/>
                  </a:cubicBezTo>
                  <a:cubicBezTo>
                    <a:pt x="14893" y="15330"/>
                    <a:pt x="14893" y="15255"/>
                    <a:pt x="14893" y="15255"/>
                  </a:cubicBezTo>
                  <a:cubicBezTo>
                    <a:pt x="14998" y="15009"/>
                    <a:pt x="14802" y="14763"/>
                    <a:pt x="14802" y="14516"/>
                  </a:cubicBezTo>
                  <a:cubicBezTo>
                    <a:pt x="14802" y="14431"/>
                    <a:pt x="14893" y="14270"/>
                    <a:pt x="14893" y="14195"/>
                  </a:cubicBezTo>
                  <a:cubicBezTo>
                    <a:pt x="14998" y="14024"/>
                    <a:pt x="14893" y="14024"/>
                    <a:pt x="14893" y="13863"/>
                  </a:cubicBezTo>
                  <a:cubicBezTo>
                    <a:pt x="14697" y="13863"/>
                    <a:pt x="14697" y="13863"/>
                    <a:pt x="14697" y="13863"/>
                  </a:cubicBezTo>
                  <a:close/>
                  <a:moveTo>
                    <a:pt x="12994" y="10018"/>
                  </a:moveTo>
                  <a:cubicBezTo>
                    <a:pt x="12693" y="10018"/>
                    <a:pt x="12693" y="10265"/>
                    <a:pt x="12496" y="10425"/>
                  </a:cubicBezTo>
                  <a:cubicBezTo>
                    <a:pt x="12392" y="10672"/>
                    <a:pt x="12195" y="10918"/>
                    <a:pt x="11789" y="10918"/>
                  </a:cubicBezTo>
                  <a:cubicBezTo>
                    <a:pt x="11501" y="10918"/>
                    <a:pt x="10990" y="10672"/>
                    <a:pt x="10898" y="10425"/>
                  </a:cubicBezTo>
                  <a:cubicBezTo>
                    <a:pt x="10898" y="10672"/>
                    <a:pt x="10793" y="10757"/>
                    <a:pt x="10702" y="11004"/>
                  </a:cubicBezTo>
                  <a:cubicBezTo>
                    <a:pt x="10597" y="11079"/>
                    <a:pt x="10400" y="11325"/>
                    <a:pt x="10597" y="11486"/>
                  </a:cubicBezTo>
                  <a:cubicBezTo>
                    <a:pt x="10793" y="11571"/>
                    <a:pt x="10990" y="11571"/>
                    <a:pt x="11200" y="11657"/>
                  </a:cubicBezTo>
                  <a:cubicBezTo>
                    <a:pt x="11592" y="11732"/>
                    <a:pt x="11789" y="11818"/>
                    <a:pt x="12090" y="12064"/>
                  </a:cubicBezTo>
                  <a:cubicBezTo>
                    <a:pt x="12392" y="12224"/>
                    <a:pt x="12601" y="12139"/>
                    <a:pt x="12798" y="11903"/>
                  </a:cubicBezTo>
                  <a:cubicBezTo>
                    <a:pt x="12994" y="11657"/>
                    <a:pt x="12693" y="11325"/>
                    <a:pt x="12693" y="11079"/>
                  </a:cubicBezTo>
                  <a:cubicBezTo>
                    <a:pt x="12693" y="10918"/>
                    <a:pt x="12798" y="10832"/>
                    <a:pt x="12798" y="10757"/>
                  </a:cubicBezTo>
                  <a:cubicBezTo>
                    <a:pt x="12889" y="10672"/>
                    <a:pt x="12994" y="10511"/>
                    <a:pt x="13099" y="10350"/>
                  </a:cubicBezTo>
                  <a:cubicBezTo>
                    <a:pt x="12994" y="10018"/>
                    <a:pt x="12994" y="10018"/>
                    <a:pt x="12994" y="10018"/>
                  </a:cubicBezTo>
                  <a:close/>
                  <a:moveTo>
                    <a:pt x="18194" y="8958"/>
                  </a:moveTo>
                  <a:cubicBezTo>
                    <a:pt x="17906" y="9119"/>
                    <a:pt x="16793" y="9119"/>
                    <a:pt x="17002" y="8712"/>
                  </a:cubicBezTo>
                  <a:cubicBezTo>
                    <a:pt x="17094" y="8466"/>
                    <a:pt x="17094" y="8541"/>
                    <a:pt x="17395" y="8380"/>
                  </a:cubicBezTo>
                  <a:cubicBezTo>
                    <a:pt x="17500" y="8305"/>
                    <a:pt x="17395" y="8134"/>
                    <a:pt x="17304" y="8134"/>
                  </a:cubicBezTo>
                  <a:cubicBezTo>
                    <a:pt x="17094" y="8134"/>
                    <a:pt x="16793" y="8219"/>
                    <a:pt x="16793" y="8059"/>
                  </a:cubicBezTo>
                  <a:cubicBezTo>
                    <a:pt x="16793" y="7812"/>
                    <a:pt x="16400" y="7320"/>
                    <a:pt x="16295" y="7812"/>
                  </a:cubicBezTo>
                  <a:cubicBezTo>
                    <a:pt x="16295" y="8059"/>
                    <a:pt x="16400" y="8466"/>
                    <a:pt x="16491" y="8712"/>
                  </a:cubicBezTo>
                  <a:cubicBezTo>
                    <a:pt x="16701" y="9365"/>
                    <a:pt x="16190" y="8873"/>
                    <a:pt x="15797" y="9280"/>
                  </a:cubicBezTo>
                  <a:cubicBezTo>
                    <a:pt x="15692" y="9365"/>
                    <a:pt x="15391" y="9933"/>
                    <a:pt x="15299" y="10104"/>
                  </a:cubicBezTo>
                  <a:cubicBezTo>
                    <a:pt x="15299" y="10350"/>
                    <a:pt x="15692" y="10350"/>
                    <a:pt x="15797" y="10104"/>
                  </a:cubicBezTo>
                  <a:cubicBezTo>
                    <a:pt x="15902" y="9772"/>
                    <a:pt x="16190" y="9440"/>
                    <a:pt x="16701" y="9526"/>
                  </a:cubicBezTo>
                  <a:cubicBezTo>
                    <a:pt x="17304" y="9526"/>
                    <a:pt x="17304" y="10018"/>
                    <a:pt x="17199" y="10350"/>
                  </a:cubicBezTo>
                  <a:cubicBezTo>
                    <a:pt x="17395" y="10350"/>
                    <a:pt x="17500" y="10179"/>
                    <a:pt x="17801" y="10104"/>
                  </a:cubicBezTo>
                  <a:cubicBezTo>
                    <a:pt x="17906" y="10104"/>
                    <a:pt x="18705" y="10104"/>
                    <a:pt x="18404" y="9933"/>
                  </a:cubicBezTo>
                  <a:cubicBezTo>
                    <a:pt x="18299" y="9772"/>
                    <a:pt x="17906" y="9365"/>
                    <a:pt x="18194" y="9194"/>
                  </a:cubicBezTo>
                  <a:cubicBezTo>
                    <a:pt x="18194" y="8958"/>
                    <a:pt x="18194" y="8958"/>
                    <a:pt x="18194" y="8958"/>
                  </a:cubicBezTo>
                  <a:close/>
                  <a:moveTo>
                    <a:pt x="9300" y="6827"/>
                  </a:moveTo>
                  <a:cubicBezTo>
                    <a:pt x="8894" y="7073"/>
                    <a:pt x="8396" y="7159"/>
                    <a:pt x="7990" y="6827"/>
                  </a:cubicBezTo>
                  <a:cubicBezTo>
                    <a:pt x="7689" y="6495"/>
                    <a:pt x="8095" y="6335"/>
                    <a:pt x="7493" y="6174"/>
                  </a:cubicBezTo>
                  <a:cubicBezTo>
                    <a:pt x="6995" y="6088"/>
                    <a:pt x="7100" y="6260"/>
                    <a:pt x="6995" y="6581"/>
                  </a:cubicBezTo>
                  <a:cubicBezTo>
                    <a:pt x="6798" y="6827"/>
                    <a:pt x="6497" y="6913"/>
                    <a:pt x="6497" y="7320"/>
                  </a:cubicBezTo>
                  <a:cubicBezTo>
                    <a:pt x="6589" y="7652"/>
                    <a:pt x="7296" y="8219"/>
                    <a:pt x="7597" y="8466"/>
                  </a:cubicBezTo>
                  <a:cubicBezTo>
                    <a:pt x="7990" y="8712"/>
                    <a:pt x="8292" y="8712"/>
                    <a:pt x="8698" y="8626"/>
                  </a:cubicBezTo>
                  <a:cubicBezTo>
                    <a:pt x="8999" y="8626"/>
                    <a:pt x="9392" y="8626"/>
                    <a:pt x="9392" y="8466"/>
                  </a:cubicBezTo>
                  <a:cubicBezTo>
                    <a:pt x="9588" y="8134"/>
                    <a:pt x="9300" y="7727"/>
                    <a:pt x="9497" y="7480"/>
                  </a:cubicBezTo>
                  <a:cubicBezTo>
                    <a:pt x="9588" y="7320"/>
                    <a:pt x="9994" y="6988"/>
                    <a:pt x="9693" y="6741"/>
                  </a:cubicBezTo>
                  <a:cubicBezTo>
                    <a:pt x="9300" y="6827"/>
                    <a:pt x="9300" y="6827"/>
                    <a:pt x="9300" y="6827"/>
                  </a:cubicBezTo>
                  <a:close/>
                  <a:moveTo>
                    <a:pt x="10898" y="7887"/>
                  </a:moveTo>
                  <a:cubicBezTo>
                    <a:pt x="10898" y="7812"/>
                    <a:pt x="10793" y="7652"/>
                    <a:pt x="10793" y="7566"/>
                  </a:cubicBezTo>
                  <a:cubicBezTo>
                    <a:pt x="10702" y="7480"/>
                    <a:pt x="10793" y="7405"/>
                    <a:pt x="10702" y="7320"/>
                  </a:cubicBezTo>
                  <a:cubicBezTo>
                    <a:pt x="10597" y="7234"/>
                    <a:pt x="10400" y="7159"/>
                    <a:pt x="10191" y="7234"/>
                  </a:cubicBezTo>
                  <a:cubicBezTo>
                    <a:pt x="10099" y="7320"/>
                    <a:pt x="9994" y="7566"/>
                    <a:pt x="10099" y="7652"/>
                  </a:cubicBezTo>
                  <a:cubicBezTo>
                    <a:pt x="10099" y="7812"/>
                    <a:pt x="10191" y="7887"/>
                    <a:pt x="10296" y="7973"/>
                  </a:cubicBezTo>
                  <a:cubicBezTo>
                    <a:pt x="10296" y="8134"/>
                    <a:pt x="10400" y="8305"/>
                    <a:pt x="10400" y="8380"/>
                  </a:cubicBezTo>
                  <a:cubicBezTo>
                    <a:pt x="10400" y="8466"/>
                    <a:pt x="10400" y="8541"/>
                    <a:pt x="10492" y="8541"/>
                  </a:cubicBezTo>
                  <a:cubicBezTo>
                    <a:pt x="10597" y="8541"/>
                    <a:pt x="10793" y="8380"/>
                    <a:pt x="10793" y="8305"/>
                  </a:cubicBezTo>
                  <a:cubicBezTo>
                    <a:pt x="10898" y="7887"/>
                    <a:pt x="10898" y="7887"/>
                    <a:pt x="10898" y="7887"/>
                  </a:cubicBezTo>
                  <a:close/>
                  <a:moveTo>
                    <a:pt x="14003" y="6988"/>
                  </a:moveTo>
                  <a:cubicBezTo>
                    <a:pt x="13793" y="6495"/>
                    <a:pt x="14094" y="6174"/>
                    <a:pt x="14199" y="5767"/>
                  </a:cubicBezTo>
                  <a:cubicBezTo>
                    <a:pt x="14304" y="5521"/>
                    <a:pt x="14500" y="5521"/>
                    <a:pt x="14199" y="5360"/>
                  </a:cubicBezTo>
                  <a:cubicBezTo>
                    <a:pt x="14094" y="5189"/>
                    <a:pt x="13898" y="4942"/>
                    <a:pt x="13898" y="4782"/>
                  </a:cubicBezTo>
                  <a:cubicBezTo>
                    <a:pt x="13400" y="4782"/>
                    <a:pt x="13597" y="5681"/>
                    <a:pt x="13597" y="5928"/>
                  </a:cubicBezTo>
                  <a:cubicBezTo>
                    <a:pt x="13492" y="6088"/>
                    <a:pt x="13400" y="6667"/>
                    <a:pt x="13400" y="6741"/>
                  </a:cubicBezTo>
                  <a:cubicBezTo>
                    <a:pt x="13191" y="6913"/>
                    <a:pt x="12798" y="6741"/>
                    <a:pt x="12693" y="6581"/>
                  </a:cubicBezTo>
                  <a:cubicBezTo>
                    <a:pt x="12496" y="6335"/>
                    <a:pt x="12601" y="6741"/>
                    <a:pt x="12601" y="6827"/>
                  </a:cubicBezTo>
                  <a:cubicBezTo>
                    <a:pt x="12693" y="7073"/>
                    <a:pt x="12889" y="7234"/>
                    <a:pt x="12994" y="7405"/>
                  </a:cubicBezTo>
                  <a:cubicBezTo>
                    <a:pt x="13099" y="7566"/>
                    <a:pt x="13099" y="7887"/>
                    <a:pt x="13099" y="8059"/>
                  </a:cubicBezTo>
                  <a:cubicBezTo>
                    <a:pt x="13400" y="8059"/>
                    <a:pt x="13701" y="8134"/>
                    <a:pt x="14003" y="8134"/>
                  </a:cubicBezTo>
                  <a:cubicBezTo>
                    <a:pt x="14003" y="7812"/>
                    <a:pt x="13898" y="7566"/>
                    <a:pt x="13898" y="7234"/>
                  </a:cubicBezTo>
                  <a:cubicBezTo>
                    <a:pt x="14003" y="6988"/>
                    <a:pt x="14003" y="6988"/>
                    <a:pt x="14003" y="6988"/>
                  </a:cubicBezTo>
                  <a:close/>
                  <a:moveTo>
                    <a:pt x="10597" y="2897"/>
                  </a:moveTo>
                  <a:cubicBezTo>
                    <a:pt x="10296" y="2736"/>
                    <a:pt x="9588" y="2490"/>
                    <a:pt x="9392" y="2244"/>
                  </a:cubicBezTo>
                  <a:cubicBezTo>
                    <a:pt x="9300" y="2169"/>
                    <a:pt x="9588" y="2083"/>
                    <a:pt x="9693" y="1922"/>
                  </a:cubicBezTo>
                  <a:cubicBezTo>
                    <a:pt x="9693" y="1762"/>
                    <a:pt x="9693" y="1516"/>
                    <a:pt x="9693" y="1344"/>
                  </a:cubicBezTo>
                  <a:cubicBezTo>
                    <a:pt x="9497" y="1344"/>
                    <a:pt x="9091" y="1922"/>
                    <a:pt x="8894" y="1997"/>
                  </a:cubicBezTo>
                  <a:cubicBezTo>
                    <a:pt x="8396" y="2169"/>
                    <a:pt x="8095" y="1922"/>
                    <a:pt x="7597" y="1922"/>
                  </a:cubicBezTo>
                  <a:cubicBezTo>
                    <a:pt x="7597" y="2083"/>
                    <a:pt x="8187" y="2415"/>
                    <a:pt x="8187" y="2651"/>
                  </a:cubicBezTo>
                  <a:cubicBezTo>
                    <a:pt x="8396" y="3143"/>
                    <a:pt x="7990" y="3390"/>
                    <a:pt x="8593" y="3722"/>
                  </a:cubicBezTo>
                  <a:cubicBezTo>
                    <a:pt x="8999" y="3882"/>
                    <a:pt x="9300" y="4535"/>
                    <a:pt x="9392" y="3968"/>
                  </a:cubicBezTo>
                  <a:cubicBezTo>
                    <a:pt x="9588" y="3229"/>
                    <a:pt x="10296" y="3475"/>
                    <a:pt x="10793" y="3797"/>
                  </a:cubicBezTo>
                  <a:cubicBezTo>
                    <a:pt x="11291" y="4128"/>
                    <a:pt x="11200" y="4535"/>
                    <a:pt x="11396" y="5028"/>
                  </a:cubicBezTo>
                  <a:cubicBezTo>
                    <a:pt x="11501" y="5028"/>
                    <a:pt x="11592" y="4621"/>
                    <a:pt x="11697" y="4535"/>
                  </a:cubicBezTo>
                  <a:cubicBezTo>
                    <a:pt x="11894" y="4375"/>
                    <a:pt x="12300" y="4128"/>
                    <a:pt x="11789" y="3882"/>
                  </a:cubicBezTo>
                  <a:cubicBezTo>
                    <a:pt x="11501" y="3722"/>
                    <a:pt x="11200" y="3390"/>
                    <a:pt x="11095" y="3068"/>
                  </a:cubicBezTo>
                  <a:cubicBezTo>
                    <a:pt x="10597" y="2897"/>
                    <a:pt x="10597" y="2897"/>
                    <a:pt x="10597" y="2897"/>
                  </a:cubicBezTo>
                  <a:close/>
                  <a:moveTo>
                    <a:pt x="11501" y="1590"/>
                  </a:moveTo>
                  <a:cubicBezTo>
                    <a:pt x="11396" y="1922"/>
                    <a:pt x="11396" y="1922"/>
                    <a:pt x="11396" y="1922"/>
                  </a:cubicBezTo>
                  <a:cubicBezTo>
                    <a:pt x="10990" y="2415"/>
                    <a:pt x="11095" y="1430"/>
                    <a:pt x="10702" y="1344"/>
                  </a:cubicBezTo>
                  <a:cubicBezTo>
                    <a:pt x="10702" y="1269"/>
                    <a:pt x="10597" y="1184"/>
                    <a:pt x="10702" y="1098"/>
                  </a:cubicBezTo>
                  <a:cubicBezTo>
                    <a:pt x="10793" y="937"/>
                    <a:pt x="10898" y="862"/>
                    <a:pt x="10990" y="777"/>
                  </a:cubicBezTo>
                  <a:cubicBezTo>
                    <a:pt x="11095" y="616"/>
                    <a:pt x="11200" y="284"/>
                    <a:pt x="11501" y="284"/>
                  </a:cubicBezTo>
                  <a:cubicBezTo>
                    <a:pt x="11592" y="530"/>
                    <a:pt x="11592" y="691"/>
                    <a:pt x="11396" y="862"/>
                  </a:cubicBezTo>
                  <a:cubicBezTo>
                    <a:pt x="11291" y="1023"/>
                    <a:pt x="11291" y="1430"/>
                    <a:pt x="11501" y="1590"/>
                  </a:cubicBezTo>
                  <a:close/>
                  <a:moveTo>
                    <a:pt x="20696" y="2736"/>
                  </a:moveTo>
                  <a:cubicBezTo>
                    <a:pt x="20002" y="2897"/>
                    <a:pt x="18993" y="4289"/>
                    <a:pt x="18299" y="4289"/>
                  </a:cubicBezTo>
                  <a:cubicBezTo>
                    <a:pt x="16898" y="4289"/>
                    <a:pt x="18299" y="3636"/>
                    <a:pt x="18299" y="2983"/>
                  </a:cubicBezTo>
                  <a:cubicBezTo>
                    <a:pt x="17998" y="3068"/>
                    <a:pt x="17906" y="3315"/>
                    <a:pt x="17395" y="3315"/>
                  </a:cubicBezTo>
                  <a:cubicBezTo>
                    <a:pt x="17199" y="3315"/>
                    <a:pt x="17395" y="3636"/>
                    <a:pt x="17395" y="3797"/>
                  </a:cubicBezTo>
                  <a:cubicBezTo>
                    <a:pt x="17304" y="4128"/>
                    <a:pt x="17094" y="4128"/>
                    <a:pt x="16793" y="4214"/>
                  </a:cubicBezTo>
                  <a:cubicBezTo>
                    <a:pt x="16190" y="4460"/>
                    <a:pt x="16098" y="4782"/>
                    <a:pt x="15902" y="5114"/>
                  </a:cubicBezTo>
                  <a:cubicBezTo>
                    <a:pt x="15797" y="5435"/>
                    <a:pt x="15195" y="5521"/>
                    <a:pt x="15195" y="5681"/>
                  </a:cubicBezTo>
                  <a:cubicBezTo>
                    <a:pt x="15195" y="5842"/>
                    <a:pt x="15195" y="6667"/>
                    <a:pt x="15391" y="6420"/>
                  </a:cubicBezTo>
                  <a:cubicBezTo>
                    <a:pt x="15601" y="6013"/>
                    <a:pt x="16295" y="4942"/>
                    <a:pt x="17002" y="5114"/>
                  </a:cubicBezTo>
                  <a:cubicBezTo>
                    <a:pt x="17304" y="5189"/>
                    <a:pt x="17395" y="5028"/>
                    <a:pt x="17605" y="4942"/>
                  </a:cubicBezTo>
                  <a:cubicBezTo>
                    <a:pt x="18103" y="4707"/>
                    <a:pt x="18194" y="5274"/>
                    <a:pt x="18600" y="4707"/>
                  </a:cubicBezTo>
                  <a:cubicBezTo>
                    <a:pt x="18902" y="4375"/>
                    <a:pt x="18993" y="4375"/>
                    <a:pt x="19399" y="4214"/>
                  </a:cubicBezTo>
                  <a:cubicBezTo>
                    <a:pt x="19897" y="3968"/>
                    <a:pt x="19897" y="3636"/>
                    <a:pt x="20500" y="3636"/>
                  </a:cubicBezTo>
                  <a:cubicBezTo>
                    <a:pt x="21495" y="3636"/>
                    <a:pt x="20997" y="3561"/>
                    <a:pt x="20801" y="3068"/>
                  </a:cubicBezTo>
                  <a:cubicBezTo>
                    <a:pt x="20696" y="2736"/>
                    <a:pt x="20696" y="2736"/>
                    <a:pt x="20696" y="2736"/>
                  </a:cubicBezTo>
                  <a:close/>
                  <a:moveTo>
                    <a:pt x="20395" y="777"/>
                  </a:moveTo>
                  <a:cubicBezTo>
                    <a:pt x="20500" y="777"/>
                    <a:pt x="20500" y="691"/>
                    <a:pt x="20500" y="616"/>
                  </a:cubicBezTo>
                  <a:cubicBezTo>
                    <a:pt x="20604" y="530"/>
                    <a:pt x="20604" y="123"/>
                    <a:pt x="20801" y="123"/>
                  </a:cubicBezTo>
                  <a:cubicBezTo>
                    <a:pt x="20997" y="123"/>
                    <a:pt x="21102" y="123"/>
                    <a:pt x="21299" y="38"/>
                  </a:cubicBezTo>
                  <a:cubicBezTo>
                    <a:pt x="21299" y="38"/>
                    <a:pt x="21600" y="-48"/>
                    <a:pt x="21600" y="38"/>
                  </a:cubicBezTo>
                  <a:cubicBezTo>
                    <a:pt x="21600" y="38"/>
                    <a:pt x="21495" y="123"/>
                    <a:pt x="21404" y="198"/>
                  </a:cubicBezTo>
                  <a:cubicBezTo>
                    <a:pt x="21299" y="284"/>
                    <a:pt x="21102" y="370"/>
                    <a:pt x="21102" y="445"/>
                  </a:cubicBezTo>
                  <a:cubicBezTo>
                    <a:pt x="21102" y="616"/>
                    <a:pt x="21404" y="862"/>
                    <a:pt x="21207" y="1023"/>
                  </a:cubicBezTo>
                  <a:cubicBezTo>
                    <a:pt x="20997" y="1269"/>
                    <a:pt x="20801" y="937"/>
                    <a:pt x="20500" y="1023"/>
                  </a:cubicBezTo>
                  <a:lnTo>
                    <a:pt x="20395" y="777"/>
                  </a:ln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8" name="Shape 2533">
              <a:extLst>
                <a:ext uri="{FF2B5EF4-FFF2-40B4-BE49-F238E27FC236}">
                  <a16:creationId xmlns:a16="http://schemas.microsoft.com/office/drawing/2014/main" id="{75C6D582-3B14-70E1-F7EB-733DE928B42F}"/>
                </a:ext>
              </a:extLst>
            </p:cNvPr>
            <p:cNvSpPr/>
            <p:nvPr/>
          </p:nvSpPr>
          <p:spPr>
            <a:xfrm>
              <a:off x="4367908" y="30377"/>
              <a:ext cx="714811" cy="1048522"/>
            </a:xfrm>
            <a:custGeom>
              <a:avLst/>
              <a:gdLst/>
              <a:ahLst/>
              <a:cxnLst>
                <a:cxn ang="0">
                  <a:pos x="wd2" y="hd2"/>
                </a:cxn>
                <a:cxn ang="5400000">
                  <a:pos x="wd2" y="hd2"/>
                </a:cxn>
                <a:cxn ang="10800000">
                  <a:pos x="wd2" y="hd2"/>
                </a:cxn>
                <a:cxn ang="16200000">
                  <a:pos x="wd2" y="hd2"/>
                </a:cxn>
              </a:cxnLst>
              <a:rect l="0" t="0" r="r" b="b"/>
              <a:pathLst>
                <a:path w="21338" h="21556" extrusionOk="0">
                  <a:moveTo>
                    <a:pt x="469" y="16101"/>
                  </a:moveTo>
                  <a:cubicBezTo>
                    <a:pt x="469" y="15997"/>
                    <a:pt x="318" y="15893"/>
                    <a:pt x="248" y="15837"/>
                  </a:cubicBezTo>
                  <a:cubicBezTo>
                    <a:pt x="168" y="15782"/>
                    <a:pt x="-64" y="15733"/>
                    <a:pt x="17" y="15622"/>
                  </a:cubicBezTo>
                  <a:cubicBezTo>
                    <a:pt x="87" y="15574"/>
                    <a:pt x="168" y="15518"/>
                    <a:pt x="248" y="15463"/>
                  </a:cubicBezTo>
                  <a:cubicBezTo>
                    <a:pt x="318" y="15359"/>
                    <a:pt x="318" y="15359"/>
                    <a:pt x="399" y="15303"/>
                  </a:cubicBezTo>
                  <a:cubicBezTo>
                    <a:pt x="550" y="15199"/>
                    <a:pt x="781" y="15255"/>
                    <a:pt x="862" y="15359"/>
                  </a:cubicBezTo>
                  <a:cubicBezTo>
                    <a:pt x="1083" y="15574"/>
                    <a:pt x="1013" y="15733"/>
                    <a:pt x="1013" y="15941"/>
                  </a:cubicBezTo>
                  <a:cubicBezTo>
                    <a:pt x="1013" y="16052"/>
                    <a:pt x="1013" y="16101"/>
                    <a:pt x="1013" y="16156"/>
                  </a:cubicBezTo>
                  <a:cubicBezTo>
                    <a:pt x="1013" y="16315"/>
                    <a:pt x="701" y="16211"/>
                    <a:pt x="631" y="16211"/>
                  </a:cubicBezTo>
                  <a:cubicBezTo>
                    <a:pt x="469" y="16101"/>
                    <a:pt x="469" y="16101"/>
                    <a:pt x="469" y="16101"/>
                  </a:cubicBezTo>
                  <a:close/>
                  <a:moveTo>
                    <a:pt x="19775" y="3020"/>
                  </a:moveTo>
                  <a:cubicBezTo>
                    <a:pt x="19926" y="2708"/>
                    <a:pt x="20389" y="2549"/>
                    <a:pt x="20620" y="2285"/>
                  </a:cubicBezTo>
                  <a:cubicBezTo>
                    <a:pt x="20852" y="1911"/>
                    <a:pt x="19926" y="1966"/>
                    <a:pt x="20006" y="1911"/>
                  </a:cubicBezTo>
                  <a:cubicBezTo>
                    <a:pt x="20077" y="1855"/>
                    <a:pt x="20459" y="1807"/>
                    <a:pt x="20620" y="1751"/>
                  </a:cubicBezTo>
                  <a:cubicBezTo>
                    <a:pt x="20922" y="1703"/>
                    <a:pt x="20540" y="1384"/>
                    <a:pt x="20389" y="1329"/>
                  </a:cubicBezTo>
                  <a:cubicBezTo>
                    <a:pt x="20389" y="1273"/>
                    <a:pt x="21536" y="1488"/>
                    <a:pt x="21073" y="961"/>
                  </a:cubicBezTo>
                  <a:cubicBezTo>
                    <a:pt x="21003" y="802"/>
                    <a:pt x="20459" y="691"/>
                    <a:pt x="21073" y="587"/>
                  </a:cubicBezTo>
                  <a:cubicBezTo>
                    <a:pt x="21466" y="587"/>
                    <a:pt x="21385" y="483"/>
                    <a:pt x="21073" y="379"/>
                  </a:cubicBezTo>
                  <a:cubicBezTo>
                    <a:pt x="20308" y="109"/>
                    <a:pt x="20308" y="109"/>
                    <a:pt x="20308" y="109"/>
                  </a:cubicBezTo>
                  <a:cubicBezTo>
                    <a:pt x="19926" y="5"/>
                    <a:pt x="19926" y="746"/>
                    <a:pt x="19694" y="802"/>
                  </a:cubicBezTo>
                  <a:cubicBezTo>
                    <a:pt x="19694" y="642"/>
                    <a:pt x="19694" y="483"/>
                    <a:pt x="19694" y="379"/>
                  </a:cubicBezTo>
                  <a:cubicBezTo>
                    <a:pt x="19694" y="323"/>
                    <a:pt x="19694" y="-44"/>
                    <a:pt x="19543" y="5"/>
                  </a:cubicBezTo>
                  <a:cubicBezTo>
                    <a:pt x="19312" y="60"/>
                    <a:pt x="19080" y="427"/>
                    <a:pt x="19000" y="587"/>
                  </a:cubicBezTo>
                  <a:cubicBezTo>
                    <a:pt x="18849" y="746"/>
                    <a:pt x="18466" y="1010"/>
                    <a:pt x="18466" y="1114"/>
                  </a:cubicBezTo>
                  <a:cubicBezTo>
                    <a:pt x="18466" y="1169"/>
                    <a:pt x="18617" y="1329"/>
                    <a:pt x="18617" y="1433"/>
                  </a:cubicBezTo>
                  <a:cubicBezTo>
                    <a:pt x="18698" y="1543"/>
                    <a:pt x="18698" y="1703"/>
                    <a:pt x="18617" y="1807"/>
                  </a:cubicBezTo>
                  <a:cubicBezTo>
                    <a:pt x="18617" y="2174"/>
                    <a:pt x="18154" y="2389"/>
                    <a:pt x="18305" y="2757"/>
                  </a:cubicBezTo>
                  <a:cubicBezTo>
                    <a:pt x="18386" y="2916"/>
                    <a:pt x="18084" y="2757"/>
                    <a:pt x="18154" y="2916"/>
                  </a:cubicBezTo>
                  <a:cubicBezTo>
                    <a:pt x="18154" y="3020"/>
                    <a:pt x="18235" y="3131"/>
                    <a:pt x="18154" y="3235"/>
                  </a:cubicBezTo>
                  <a:cubicBezTo>
                    <a:pt x="18084" y="3339"/>
                    <a:pt x="18003" y="3339"/>
                    <a:pt x="18084" y="3450"/>
                  </a:cubicBezTo>
                  <a:cubicBezTo>
                    <a:pt x="18235" y="3713"/>
                    <a:pt x="18305" y="3713"/>
                    <a:pt x="18698" y="3554"/>
                  </a:cubicBezTo>
                  <a:cubicBezTo>
                    <a:pt x="18849" y="3498"/>
                    <a:pt x="19080" y="3498"/>
                    <a:pt x="19312" y="3554"/>
                  </a:cubicBezTo>
                  <a:cubicBezTo>
                    <a:pt x="19382" y="3602"/>
                    <a:pt x="19543" y="3658"/>
                    <a:pt x="19614" y="3658"/>
                  </a:cubicBezTo>
                  <a:cubicBezTo>
                    <a:pt x="19775" y="3658"/>
                    <a:pt x="20157" y="3602"/>
                    <a:pt x="20238" y="3498"/>
                  </a:cubicBezTo>
                  <a:cubicBezTo>
                    <a:pt x="20308" y="3450"/>
                    <a:pt x="19775" y="3290"/>
                    <a:pt x="19775" y="3179"/>
                  </a:cubicBezTo>
                  <a:cubicBezTo>
                    <a:pt x="19775" y="3020"/>
                    <a:pt x="19775" y="3020"/>
                    <a:pt x="19775" y="3020"/>
                  </a:cubicBezTo>
                  <a:close/>
                  <a:moveTo>
                    <a:pt x="17470" y="6257"/>
                  </a:moveTo>
                  <a:cubicBezTo>
                    <a:pt x="17470" y="6361"/>
                    <a:pt x="17470" y="6361"/>
                    <a:pt x="17470" y="6361"/>
                  </a:cubicBezTo>
                  <a:cubicBezTo>
                    <a:pt x="17470" y="6521"/>
                    <a:pt x="17238" y="6625"/>
                    <a:pt x="17007" y="6680"/>
                  </a:cubicBezTo>
                  <a:cubicBezTo>
                    <a:pt x="16846" y="6784"/>
                    <a:pt x="17158" y="7047"/>
                    <a:pt x="17238" y="7151"/>
                  </a:cubicBezTo>
                  <a:cubicBezTo>
                    <a:pt x="17389" y="7366"/>
                    <a:pt x="17158" y="7845"/>
                    <a:pt x="16695" y="7845"/>
                  </a:cubicBezTo>
                  <a:cubicBezTo>
                    <a:pt x="16544" y="7845"/>
                    <a:pt x="16081" y="7685"/>
                    <a:pt x="16000" y="7734"/>
                  </a:cubicBezTo>
                  <a:cubicBezTo>
                    <a:pt x="15849" y="7789"/>
                    <a:pt x="16081" y="7893"/>
                    <a:pt x="16000" y="8004"/>
                  </a:cubicBezTo>
                  <a:cubicBezTo>
                    <a:pt x="15386" y="7734"/>
                    <a:pt x="15004" y="7685"/>
                    <a:pt x="14923" y="7103"/>
                  </a:cubicBezTo>
                  <a:cubicBezTo>
                    <a:pt x="14923" y="6992"/>
                    <a:pt x="14772" y="6888"/>
                    <a:pt x="14772" y="6729"/>
                  </a:cubicBezTo>
                  <a:cubicBezTo>
                    <a:pt x="14702" y="6569"/>
                    <a:pt x="14702" y="6361"/>
                    <a:pt x="14702" y="6146"/>
                  </a:cubicBezTo>
                  <a:cubicBezTo>
                    <a:pt x="14702" y="5723"/>
                    <a:pt x="14309" y="5619"/>
                    <a:pt x="14470" y="5141"/>
                  </a:cubicBezTo>
                  <a:cubicBezTo>
                    <a:pt x="14621" y="4878"/>
                    <a:pt x="14923" y="4559"/>
                    <a:pt x="15004" y="4295"/>
                  </a:cubicBezTo>
                  <a:cubicBezTo>
                    <a:pt x="15084" y="4032"/>
                    <a:pt x="15386" y="4240"/>
                    <a:pt x="15467" y="4081"/>
                  </a:cubicBezTo>
                  <a:cubicBezTo>
                    <a:pt x="15618" y="3817"/>
                    <a:pt x="15537" y="3450"/>
                    <a:pt x="15618" y="3179"/>
                  </a:cubicBezTo>
                  <a:cubicBezTo>
                    <a:pt x="15849" y="2757"/>
                    <a:pt x="15618" y="2493"/>
                    <a:pt x="16393" y="2597"/>
                  </a:cubicBezTo>
                  <a:cubicBezTo>
                    <a:pt x="16624" y="2597"/>
                    <a:pt x="16775" y="2493"/>
                    <a:pt x="16926" y="2493"/>
                  </a:cubicBezTo>
                  <a:cubicBezTo>
                    <a:pt x="17923" y="2653"/>
                    <a:pt x="17389" y="3179"/>
                    <a:pt x="17691" y="3602"/>
                  </a:cubicBezTo>
                  <a:cubicBezTo>
                    <a:pt x="17772" y="3762"/>
                    <a:pt x="17772" y="3921"/>
                    <a:pt x="17772" y="4081"/>
                  </a:cubicBezTo>
                  <a:cubicBezTo>
                    <a:pt x="17772" y="4240"/>
                    <a:pt x="17772" y="4399"/>
                    <a:pt x="17852" y="4503"/>
                  </a:cubicBezTo>
                  <a:cubicBezTo>
                    <a:pt x="18003" y="4774"/>
                    <a:pt x="17389" y="4559"/>
                    <a:pt x="17238" y="4455"/>
                  </a:cubicBezTo>
                  <a:cubicBezTo>
                    <a:pt x="17077" y="4399"/>
                    <a:pt x="16926" y="4081"/>
                    <a:pt x="16775" y="4081"/>
                  </a:cubicBezTo>
                  <a:cubicBezTo>
                    <a:pt x="16695" y="4081"/>
                    <a:pt x="16695" y="4081"/>
                    <a:pt x="16695" y="4081"/>
                  </a:cubicBezTo>
                  <a:cubicBezTo>
                    <a:pt x="16695" y="4191"/>
                    <a:pt x="17077" y="4718"/>
                    <a:pt x="17158" y="4774"/>
                  </a:cubicBezTo>
                  <a:cubicBezTo>
                    <a:pt x="17309" y="4878"/>
                    <a:pt x="17540" y="4982"/>
                    <a:pt x="17309" y="5141"/>
                  </a:cubicBezTo>
                  <a:cubicBezTo>
                    <a:pt x="17238" y="5245"/>
                    <a:pt x="16926" y="5245"/>
                    <a:pt x="16846" y="5301"/>
                  </a:cubicBezTo>
                  <a:cubicBezTo>
                    <a:pt x="16695" y="5405"/>
                    <a:pt x="17238" y="5619"/>
                    <a:pt x="17389" y="5668"/>
                  </a:cubicBezTo>
                  <a:cubicBezTo>
                    <a:pt x="17621" y="5883"/>
                    <a:pt x="17621" y="6042"/>
                    <a:pt x="17470" y="6257"/>
                  </a:cubicBezTo>
                  <a:close/>
                  <a:moveTo>
                    <a:pt x="19080" y="5987"/>
                  </a:moveTo>
                  <a:cubicBezTo>
                    <a:pt x="19000" y="5779"/>
                    <a:pt x="18849" y="5619"/>
                    <a:pt x="18768" y="5405"/>
                  </a:cubicBezTo>
                  <a:cubicBezTo>
                    <a:pt x="18768" y="5301"/>
                    <a:pt x="18537" y="5086"/>
                    <a:pt x="18537" y="5037"/>
                  </a:cubicBezTo>
                  <a:cubicBezTo>
                    <a:pt x="18617" y="4982"/>
                    <a:pt x="18849" y="4822"/>
                    <a:pt x="18929" y="4822"/>
                  </a:cubicBezTo>
                  <a:cubicBezTo>
                    <a:pt x="19231" y="4822"/>
                    <a:pt x="19312" y="5086"/>
                    <a:pt x="19614" y="4774"/>
                  </a:cubicBezTo>
                  <a:cubicBezTo>
                    <a:pt x="19775" y="4663"/>
                    <a:pt x="20238" y="4774"/>
                    <a:pt x="20389" y="4822"/>
                  </a:cubicBezTo>
                  <a:cubicBezTo>
                    <a:pt x="20389" y="4926"/>
                    <a:pt x="20459" y="5037"/>
                    <a:pt x="20459" y="5141"/>
                  </a:cubicBezTo>
                  <a:cubicBezTo>
                    <a:pt x="20540" y="5245"/>
                    <a:pt x="20691" y="5301"/>
                    <a:pt x="20691" y="5405"/>
                  </a:cubicBezTo>
                  <a:cubicBezTo>
                    <a:pt x="20771" y="5405"/>
                    <a:pt x="20852" y="5245"/>
                    <a:pt x="21003" y="5197"/>
                  </a:cubicBezTo>
                  <a:cubicBezTo>
                    <a:pt x="21073" y="5141"/>
                    <a:pt x="21234" y="5086"/>
                    <a:pt x="21304" y="5086"/>
                  </a:cubicBezTo>
                  <a:cubicBezTo>
                    <a:pt x="21304" y="5405"/>
                    <a:pt x="21003" y="5619"/>
                    <a:pt x="21003" y="5883"/>
                  </a:cubicBezTo>
                  <a:cubicBezTo>
                    <a:pt x="21003" y="6306"/>
                    <a:pt x="20459" y="5938"/>
                    <a:pt x="20308" y="5779"/>
                  </a:cubicBezTo>
                  <a:cubicBezTo>
                    <a:pt x="20077" y="5668"/>
                    <a:pt x="20006" y="5723"/>
                    <a:pt x="19775" y="5668"/>
                  </a:cubicBezTo>
                  <a:cubicBezTo>
                    <a:pt x="19543" y="5564"/>
                    <a:pt x="19543" y="5564"/>
                    <a:pt x="19543" y="5564"/>
                  </a:cubicBezTo>
                  <a:cubicBezTo>
                    <a:pt x="19161" y="5509"/>
                    <a:pt x="19845" y="5987"/>
                    <a:pt x="19845" y="6042"/>
                  </a:cubicBezTo>
                  <a:cubicBezTo>
                    <a:pt x="19926" y="6146"/>
                    <a:pt x="19312" y="6361"/>
                    <a:pt x="19161" y="6098"/>
                  </a:cubicBezTo>
                  <a:cubicBezTo>
                    <a:pt x="19080" y="5987"/>
                    <a:pt x="19080" y="5987"/>
                    <a:pt x="19080" y="5987"/>
                  </a:cubicBezTo>
                  <a:close/>
                  <a:moveTo>
                    <a:pt x="9317" y="8053"/>
                  </a:moveTo>
                  <a:cubicBezTo>
                    <a:pt x="10011" y="8053"/>
                    <a:pt x="9699" y="8163"/>
                    <a:pt x="9699" y="8475"/>
                  </a:cubicBezTo>
                  <a:cubicBezTo>
                    <a:pt x="9699" y="8850"/>
                    <a:pt x="10082" y="8427"/>
                    <a:pt x="10162" y="8316"/>
                  </a:cubicBezTo>
                  <a:cubicBezTo>
                    <a:pt x="10162" y="8267"/>
                    <a:pt x="10233" y="7893"/>
                    <a:pt x="10313" y="7949"/>
                  </a:cubicBezTo>
                  <a:cubicBezTo>
                    <a:pt x="10313" y="8053"/>
                    <a:pt x="10464" y="8635"/>
                    <a:pt x="10545" y="8690"/>
                  </a:cubicBezTo>
                  <a:cubicBezTo>
                    <a:pt x="10776" y="8898"/>
                    <a:pt x="10313" y="9162"/>
                    <a:pt x="10625" y="9432"/>
                  </a:cubicBezTo>
                  <a:cubicBezTo>
                    <a:pt x="10857" y="9640"/>
                    <a:pt x="10927" y="9536"/>
                    <a:pt x="11239" y="9591"/>
                  </a:cubicBezTo>
                  <a:cubicBezTo>
                    <a:pt x="11239" y="9695"/>
                    <a:pt x="11088" y="9799"/>
                    <a:pt x="11088" y="9959"/>
                  </a:cubicBezTo>
                  <a:cubicBezTo>
                    <a:pt x="11159" y="10063"/>
                    <a:pt x="11239" y="10222"/>
                    <a:pt x="11008" y="10174"/>
                  </a:cubicBezTo>
                  <a:cubicBezTo>
                    <a:pt x="10545" y="10118"/>
                    <a:pt x="10313" y="10333"/>
                    <a:pt x="10394" y="10645"/>
                  </a:cubicBezTo>
                  <a:cubicBezTo>
                    <a:pt x="10394" y="11123"/>
                    <a:pt x="11622" y="11179"/>
                    <a:pt x="11622" y="10701"/>
                  </a:cubicBezTo>
                  <a:cubicBezTo>
                    <a:pt x="11622" y="10493"/>
                    <a:pt x="11853" y="10063"/>
                    <a:pt x="11622" y="9959"/>
                  </a:cubicBezTo>
                  <a:cubicBezTo>
                    <a:pt x="11622" y="9910"/>
                    <a:pt x="11471" y="9751"/>
                    <a:pt x="11541" y="9695"/>
                  </a:cubicBezTo>
                  <a:cubicBezTo>
                    <a:pt x="11702" y="9640"/>
                    <a:pt x="11853" y="9591"/>
                    <a:pt x="11934" y="9481"/>
                  </a:cubicBezTo>
                  <a:cubicBezTo>
                    <a:pt x="12155" y="9273"/>
                    <a:pt x="12085" y="8898"/>
                    <a:pt x="12316" y="8635"/>
                  </a:cubicBezTo>
                  <a:cubicBezTo>
                    <a:pt x="12467" y="8427"/>
                    <a:pt x="12699" y="8427"/>
                    <a:pt x="12467" y="8163"/>
                  </a:cubicBezTo>
                  <a:cubicBezTo>
                    <a:pt x="12236" y="8053"/>
                    <a:pt x="12316" y="8053"/>
                    <a:pt x="12316" y="7893"/>
                  </a:cubicBezTo>
                  <a:cubicBezTo>
                    <a:pt x="12316" y="7734"/>
                    <a:pt x="12548" y="7311"/>
                    <a:pt x="12387" y="7207"/>
                  </a:cubicBezTo>
                  <a:cubicBezTo>
                    <a:pt x="12316" y="7103"/>
                    <a:pt x="11934" y="6943"/>
                    <a:pt x="12236" y="6833"/>
                  </a:cubicBezTo>
                  <a:cubicBezTo>
                    <a:pt x="12699" y="6625"/>
                    <a:pt x="12699" y="6729"/>
                    <a:pt x="12699" y="6361"/>
                  </a:cubicBezTo>
                  <a:cubicBezTo>
                    <a:pt x="12699" y="5987"/>
                    <a:pt x="12004" y="5827"/>
                    <a:pt x="12548" y="5668"/>
                  </a:cubicBezTo>
                  <a:cubicBezTo>
                    <a:pt x="12850" y="5619"/>
                    <a:pt x="12769" y="5405"/>
                    <a:pt x="12850" y="5245"/>
                  </a:cubicBezTo>
                  <a:cubicBezTo>
                    <a:pt x="12850" y="5086"/>
                    <a:pt x="12930" y="4663"/>
                    <a:pt x="12699" y="4774"/>
                  </a:cubicBezTo>
                  <a:cubicBezTo>
                    <a:pt x="12004" y="4982"/>
                    <a:pt x="12387" y="4926"/>
                    <a:pt x="12316" y="5301"/>
                  </a:cubicBezTo>
                  <a:cubicBezTo>
                    <a:pt x="12004" y="5301"/>
                    <a:pt x="11541" y="5141"/>
                    <a:pt x="11239" y="5141"/>
                  </a:cubicBezTo>
                  <a:cubicBezTo>
                    <a:pt x="11088" y="5086"/>
                    <a:pt x="10625" y="5509"/>
                    <a:pt x="10696" y="5619"/>
                  </a:cubicBezTo>
                  <a:cubicBezTo>
                    <a:pt x="10696" y="5883"/>
                    <a:pt x="10776" y="5883"/>
                    <a:pt x="10545" y="6146"/>
                  </a:cubicBezTo>
                  <a:cubicBezTo>
                    <a:pt x="10313" y="6257"/>
                    <a:pt x="9931" y="6521"/>
                    <a:pt x="9931" y="6680"/>
                  </a:cubicBezTo>
                  <a:cubicBezTo>
                    <a:pt x="9931" y="6943"/>
                    <a:pt x="10464" y="7311"/>
                    <a:pt x="10464" y="7470"/>
                  </a:cubicBezTo>
                  <a:cubicBezTo>
                    <a:pt x="10313" y="7470"/>
                    <a:pt x="9468" y="6833"/>
                    <a:pt x="9387" y="6784"/>
                  </a:cubicBezTo>
                  <a:cubicBezTo>
                    <a:pt x="9387" y="6680"/>
                    <a:pt x="9387" y="6410"/>
                    <a:pt x="9236" y="6410"/>
                  </a:cubicBezTo>
                  <a:cubicBezTo>
                    <a:pt x="9085" y="6410"/>
                    <a:pt x="8773" y="6729"/>
                    <a:pt x="8703" y="6833"/>
                  </a:cubicBezTo>
                  <a:cubicBezTo>
                    <a:pt x="8622" y="6992"/>
                    <a:pt x="8552" y="7311"/>
                    <a:pt x="8552" y="7526"/>
                  </a:cubicBezTo>
                  <a:cubicBezTo>
                    <a:pt x="8320" y="7574"/>
                    <a:pt x="8240" y="7311"/>
                    <a:pt x="8008" y="7470"/>
                  </a:cubicBezTo>
                  <a:cubicBezTo>
                    <a:pt x="7857" y="7574"/>
                    <a:pt x="7857" y="7630"/>
                    <a:pt x="7857" y="7789"/>
                  </a:cubicBezTo>
                  <a:cubicBezTo>
                    <a:pt x="7777" y="7949"/>
                    <a:pt x="7696" y="8004"/>
                    <a:pt x="7928" y="8108"/>
                  </a:cubicBezTo>
                  <a:cubicBezTo>
                    <a:pt x="8159" y="8212"/>
                    <a:pt x="8391" y="8004"/>
                    <a:pt x="8552" y="7949"/>
                  </a:cubicBezTo>
                  <a:cubicBezTo>
                    <a:pt x="8773" y="7893"/>
                    <a:pt x="9005" y="7949"/>
                    <a:pt x="9166" y="8004"/>
                  </a:cubicBezTo>
                  <a:cubicBezTo>
                    <a:pt x="9317" y="8053"/>
                    <a:pt x="9317" y="8053"/>
                    <a:pt x="9317" y="8053"/>
                  </a:cubicBezTo>
                  <a:close/>
                  <a:moveTo>
                    <a:pt x="14390" y="18804"/>
                  </a:moveTo>
                  <a:cubicBezTo>
                    <a:pt x="14621" y="18541"/>
                    <a:pt x="13544" y="18166"/>
                    <a:pt x="14158" y="17799"/>
                  </a:cubicBezTo>
                  <a:cubicBezTo>
                    <a:pt x="14309" y="17743"/>
                    <a:pt x="14541" y="17743"/>
                    <a:pt x="14702" y="17688"/>
                  </a:cubicBezTo>
                  <a:cubicBezTo>
                    <a:pt x="14702" y="17639"/>
                    <a:pt x="14541" y="17480"/>
                    <a:pt x="14470" y="17425"/>
                  </a:cubicBezTo>
                  <a:cubicBezTo>
                    <a:pt x="14390" y="17369"/>
                    <a:pt x="14390" y="17210"/>
                    <a:pt x="14390" y="17161"/>
                  </a:cubicBezTo>
                  <a:cubicBezTo>
                    <a:pt x="14390" y="16898"/>
                    <a:pt x="14239" y="16683"/>
                    <a:pt x="14239" y="16364"/>
                  </a:cubicBezTo>
                  <a:cubicBezTo>
                    <a:pt x="14309" y="16315"/>
                    <a:pt x="14470" y="16156"/>
                    <a:pt x="14470" y="16101"/>
                  </a:cubicBezTo>
                  <a:cubicBezTo>
                    <a:pt x="14541" y="15997"/>
                    <a:pt x="14390" y="15941"/>
                    <a:pt x="14470" y="15837"/>
                  </a:cubicBezTo>
                  <a:cubicBezTo>
                    <a:pt x="14702" y="15622"/>
                    <a:pt x="15084" y="15678"/>
                    <a:pt x="15084" y="15359"/>
                  </a:cubicBezTo>
                  <a:cubicBezTo>
                    <a:pt x="15084" y="15199"/>
                    <a:pt x="15155" y="15040"/>
                    <a:pt x="15084" y="14881"/>
                  </a:cubicBezTo>
                  <a:cubicBezTo>
                    <a:pt x="15084" y="14728"/>
                    <a:pt x="14702" y="14673"/>
                    <a:pt x="14772" y="14513"/>
                  </a:cubicBezTo>
                  <a:cubicBezTo>
                    <a:pt x="14923" y="14250"/>
                    <a:pt x="15084" y="14194"/>
                    <a:pt x="14702" y="13986"/>
                  </a:cubicBezTo>
                  <a:cubicBezTo>
                    <a:pt x="14541" y="13875"/>
                    <a:pt x="14470" y="13875"/>
                    <a:pt x="14309" y="13716"/>
                  </a:cubicBezTo>
                  <a:cubicBezTo>
                    <a:pt x="14309" y="13612"/>
                    <a:pt x="14088" y="13508"/>
                    <a:pt x="14239" y="13404"/>
                  </a:cubicBezTo>
                  <a:cubicBezTo>
                    <a:pt x="14309" y="13293"/>
                    <a:pt x="14470" y="13245"/>
                    <a:pt x="14541" y="13134"/>
                  </a:cubicBezTo>
                  <a:cubicBezTo>
                    <a:pt x="14772" y="12870"/>
                    <a:pt x="14702" y="13245"/>
                    <a:pt x="15004" y="13349"/>
                  </a:cubicBezTo>
                  <a:cubicBezTo>
                    <a:pt x="15155" y="13349"/>
                    <a:pt x="15316" y="13189"/>
                    <a:pt x="15386" y="13134"/>
                  </a:cubicBezTo>
                  <a:cubicBezTo>
                    <a:pt x="15386" y="12870"/>
                    <a:pt x="15849" y="12926"/>
                    <a:pt x="15849" y="12822"/>
                  </a:cubicBezTo>
                  <a:cubicBezTo>
                    <a:pt x="16000" y="12551"/>
                    <a:pt x="15537" y="12662"/>
                    <a:pt x="15316" y="12503"/>
                  </a:cubicBezTo>
                  <a:cubicBezTo>
                    <a:pt x="15084" y="12343"/>
                    <a:pt x="15930" y="11969"/>
                    <a:pt x="16161" y="11969"/>
                  </a:cubicBezTo>
                  <a:cubicBezTo>
                    <a:pt x="16393" y="11969"/>
                    <a:pt x="16232" y="11706"/>
                    <a:pt x="16232" y="11602"/>
                  </a:cubicBezTo>
                  <a:cubicBezTo>
                    <a:pt x="16312" y="11387"/>
                    <a:pt x="15849" y="11546"/>
                    <a:pt x="15618" y="11498"/>
                  </a:cubicBezTo>
                  <a:cubicBezTo>
                    <a:pt x="15235" y="11387"/>
                    <a:pt x="15316" y="11338"/>
                    <a:pt x="14853" y="11338"/>
                  </a:cubicBezTo>
                  <a:cubicBezTo>
                    <a:pt x="14853" y="11227"/>
                    <a:pt x="14923" y="11019"/>
                    <a:pt x="15084" y="10964"/>
                  </a:cubicBezTo>
                  <a:cubicBezTo>
                    <a:pt x="15386" y="10915"/>
                    <a:pt x="16161" y="11123"/>
                    <a:pt x="16312" y="10805"/>
                  </a:cubicBezTo>
                  <a:cubicBezTo>
                    <a:pt x="16393" y="10645"/>
                    <a:pt x="16393" y="10278"/>
                    <a:pt x="16393" y="10118"/>
                  </a:cubicBezTo>
                  <a:cubicBezTo>
                    <a:pt x="16081" y="10118"/>
                    <a:pt x="15930" y="10174"/>
                    <a:pt x="15698" y="10333"/>
                  </a:cubicBezTo>
                  <a:cubicBezTo>
                    <a:pt x="15386" y="10597"/>
                    <a:pt x="15769" y="10063"/>
                    <a:pt x="15769" y="10014"/>
                  </a:cubicBezTo>
                  <a:cubicBezTo>
                    <a:pt x="16000" y="9799"/>
                    <a:pt x="16846" y="8954"/>
                    <a:pt x="16846" y="8794"/>
                  </a:cubicBezTo>
                  <a:cubicBezTo>
                    <a:pt x="16463" y="8794"/>
                    <a:pt x="15930" y="9321"/>
                    <a:pt x="15849" y="9536"/>
                  </a:cubicBezTo>
                  <a:cubicBezTo>
                    <a:pt x="15769" y="9751"/>
                    <a:pt x="14923" y="10437"/>
                    <a:pt x="14923" y="9799"/>
                  </a:cubicBezTo>
                  <a:cubicBezTo>
                    <a:pt x="14923" y="9432"/>
                    <a:pt x="14541" y="9591"/>
                    <a:pt x="14158" y="9481"/>
                  </a:cubicBezTo>
                  <a:cubicBezTo>
                    <a:pt x="14088" y="9481"/>
                    <a:pt x="14309" y="9217"/>
                    <a:pt x="14309" y="9162"/>
                  </a:cubicBezTo>
                  <a:cubicBezTo>
                    <a:pt x="14541" y="9009"/>
                    <a:pt x="14923" y="8586"/>
                    <a:pt x="14621" y="8427"/>
                  </a:cubicBezTo>
                  <a:cubicBezTo>
                    <a:pt x="14239" y="8267"/>
                    <a:pt x="14390" y="8163"/>
                    <a:pt x="14309" y="7949"/>
                  </a:cubicBezTo>
                  <a:cubicBezTo>
                    <a:pt x="14158" y="7526"/>
                    <a:pt x="13856" y="7893"/>
                    <a:pt x="13625" y="8053"/>
                  </a:cubicBezTo>
                  <a:cubicBezTo>
                    <a:pt x="13544" y="8163"/>
                    <a:pt x="13464" y="8053"/>
                    <a:pt x="13313" y="8053"/>
                  </a:cubicBezTo>
                  <a:cubicBezTo>
                    <a:pt x="13162" y="8053"/>
                    <a:pt x="13162" y="8267"/>
                    <a:pt x="13081" y="8316"/>
                  </a:cubicBezTo>
                  <a:cubicBezTo>
                    <a:pt x="12699" y="8635"/>
                    <a:pt x="13625" y="8690"/>
                    <a:pt x="13393" y="8850"/>
                  </a:cubicBezTo>
                  <a:cubicBezTo>
                    <a:pt x="12930" y="9113"/>
                    <a:pt x="12467" y="8794"/>
                    <a:pt x="12387" y="9432"/>
                  </a:cubicBezTo>
                  <a:cubicBezTo>
                    <a:pt x="12236" y="9799"/>
                    <a:pt x="11853" y="10278"/>
                    <a:pt x="12467" y="10541"/>
                  </a:cubicBezTo>
                  <a:cubicBezTo>
                    <a:pt x="12930" y="10756"/>
                    <a:pt x="12699" y="10645"/>
                    <a:pt x="12467" y="10805"/>
                  </a:cubicBezTo>
                  <a:cubicBezTo>
                    <a:pt x="12155" y="11019"/>
                    <a:pt x="12155" y="11338"/>
                    <a:pt x="11702" y="11546"/>
                  </a:cubicBezTo>
                  <a:cubicBezTo>
                    <a:pt x="11159" y="11761"/>
                    <a:pt x="10776" y="11283"/>
                    <a:pt x="10394" y="11283"/>
                  </a:cubicBezTo>
                  <a:cubicBezTo>
                    <a:pt x="10394" y="11387"/>
                    <a:pt x="10545" y="11706"/>
                    <a:pt x="10233" y="11761"/>
                  </a:cubicBezTo>
                  <a:cubicBezTo>
                    <a:pt x="10082" y="11761"/>
                    <a:pt x="9850" y="11657"/>
                    <a:pt x="9619" y="11657"/>
                  </a:cubicBezTo>
                  <a:cubicBezTo>
                    <a:pt x="9468" y="11657"/>
                    <a:pt x="9236" y="11969"/>
                    <a:pt x="9005" y="12025"/>
                  </a:cubicBezTo>
                  <a:cubicBezTo>
                    <a:pt x="8552" y="12288"/>
                    <a:pt x="8320" y="11921"/>
                    <a:pt x="7857" y="11865"/>
                  </a:cubicBezTo>
                  <a:cubicBezTo>
                    <a:pt x="7626" y="11921"/>
                    <a:pt x="6086" y="11969"/>
                    <a:pt x="6700" y="12343"/>
                  </a:cubicBezTo>
                  <a:cubicBezTo>
                    <a:pt x="6931" y="12503"/>
                    <a:pt x="6851" y="12551"/>
                    <a:pt x="6700" y="12766"/>
                  </a:cubicBezTo>
                  <a:cubicBezTo>
                    <a:pt x="6619" y="13030"/>
                    <a:pt x="6700" y="13453"/>
                    <a:pt x="7082" y="13557"/>
                  </a:cubicBezTo>
                  <a:cubicBezTo>
                    <a:pt x="7243" y="13612"/>
                    <a:pt x="7475" y="13612"/>
                    <a:pt x="7545" y="13716"/>
                  </a:cubicBezTo>
                  <a:cubicBezTo>
                    <a:pt x="7928" y="14354"/>
                    <a:pt x="8320" y="13557"/>
                    <a:pt x="8552" y="14090"/>
                  </a:cubicBezTo>
                  <a:cubicBezTo>
                    <a:pt x="8622" y="14305"/>
                    <a:pt x="8854" y="14194"/>
                    <a:pt x="9005" y="14035"/>
                  </a:cubicBezTo>
                  <a:cubicBezTo>
                    <a:pt x="9166" y="13931"/>
                    <a:pt x="9387" y="13827"/>
                    <a:pt x="9548" y="13667"/>
                  </a:cubicBezTo>
                  <a:cubicBezTo>
                    <a:pt x="9548" y="13667"/>
                    <a:pt x="9548" y="13667"/>
                    <a:pt x="9619" y="13667"/>
                  </a:cubicBezTo>
                  <a:cubicBezTo>
                    <a:pt x="9619" y="13986"/>
                    <a:pt x="9317" y="14035"/>
                    <a:pt x="9005" y="14194"/>
                  </a:cubicBezTo>
                  <a:cubicBezTo>
                    <a:pt x="8934" y="14305"/>
                    <a:pt x="8854" y="14458"/>
                    <a:pt x="8934" y="14513"/>
                  </a:cubicBezTo>
                  <a:cubicBezTo>
                    <a:pt x="9005" y="14728"/>
                    <a:pt x="9236" y="14617"/>
                    <a:pt x="9468" y="14673"/>
                  </a:cubicBezTo>
                  <a:cubicBezTo>
                    <a:pt x="9780" y="14881"/>
                    <a:pt x="9548" y="14936"/>
                    <a:pt x="10011" y="15040"/>
                  </a:cubicBezTo>
                  <a:cubicBezTo>
                    <a:pt x="10082" y="15040"/>
                    <a:pt x="10464" y="15303"/>
                    <a:pt x="10464" y="15359"/>
                  </a:cubicBezTo>
                  <a:cubicBezTo>
                    <a:pt x="10464" y="15303"/>
                    <a:pt x="10394" y="14777"/>
                    <a:pt x="10625" y="14777"/>
                  </a:cubicBezTo>
                  <a:cubicBezTo>
                    <a:pt x="10776" y="14832"/>
                    <a:pt x="11088" y="15151"/>
                    <a:pt x="11159" y="14936"/>
                  </a:cubicBezTo>
                  <a:cubicBezTo>
                    <a:pt x="11239" y="14728"/>
                    <a:pt x="11159" y="14513"/>
                    <a:pt x="11390" y="14409"/>
                  </a:cubicBezTo>
                  <a:cubicBezTo>
                    <a:pt x="11541" y="14250"/>
                    <a:pt x="11702" y="14409"/>
                    <a:pt x="11934" y="14354"/>
                  </a:cubicBezTo>
                  <a:cubicBezTo>
                    <a:pt x="12236" y="14250"/>
                    <a:pt x="12548" y="13875"/>
                    <a:pt x="12769" y="13667"/>
                  </a:cubicBezTo>
                  <a:cubicBezTo>
                    <a:pt x="13001" y="13404"/>
                    <a:pt x="12930" y="13771"/>
                    <a:pt x="12930" y="13875"/>
                  </a:cubicBezTo>
                  <a:cubicBezTo>
                    <a:pt x="12930" y="14194"/>
                    <a:pt x="13081" y="14409"/>
                    <a:pt x="13081" y="14673"/>
                  </a:cubicBezTo>
                  <a:cubicBezTo>
                    <a:pt x="13081" y="14991"/>
                    <a:pt x="12930" y="15359"/>
                    <a:pt x="13001" y="15678"/>
                  </a:cubicBezTo>
                  <a:cubicBezTo>
                    <a:pt x="13001" y="15782"/>
                    <a:pt x="12850" y="16052"/>
                    <a:pt x="12850" y="16156"/>
                  </a:cubicBezTo>
                  <a:cubicBezTo>
                    <a:pt x="13313" y="15941"/>
                    <a:pt x="13313" y="15941"/>
                    <a:pt x="13313" y="15941"/>
                  </a:cubicBezTo>
                  <a:cubicBezTo>
                    <a:pt x="13464" y="16101"/>
                    <a:pt x="13162" y="16946"/>
                    <a:pt x="13001" y="17161"/>
                  </a:cubicBezTo>
                  <a:cubicBezTo>
                    <a:pt x="12769" y="17903"/>
                    <a:pt x="12769" y="17903"/>
                    <a:pt x="12769" y="17903"/>
                  </a:cubicBezTo>
                  <a:cubicBezTo>
                    <a:pt x="12618" y="18166"/>
                    <a:pt x="12387" y="18381"/>
                    <a:pt x="12316" y="18645"/>
                  </a:cubicBezTo>
                  <a:cubicBezTo>
                    <a:pt x="12236" y="19012"/>
                    <a:pt x="12467" y="19275"/>
                    <a:pt x="12467" y="19650"/>
                  </a:cubicBezTo>
                  <a:cubicBezTo>
                    <a:pt x="12467" y="19809"/>
                    <a:pt x="12155" y="19754"/>
                    <a:pt x="12004" y="19809"/>
                  </a:cubicBezTo>
                  <a:cubicBezTo>
                    <a:pt x="11773" y="19865"/>
                    <a:pt x="12085" y="20287"/>
                    <a:pt x="11702" y="20391"/>
                  </a:cubicBezTo>
                  <a:cubicBezTo>
                    <a:pt x="11541" y="20447"/>
                    <a:pt x="11390" y="20391"/>
                    <a:pt x="11541" y="20551"/>
                  </a:cubicBezTo>
                  <a:cubicBezTo>
                    <a:pt x="11702" y="20710"/>
                    <a:pt x="11702" y="21182"/>
                    <a:pt x="12004" y="21022"/>
                  </a:cubicBezTo>
                  <a:cubicBezTo>
                    <a:pt x="12548" y="20710"/>
                    <a:pt x="12699" y="21022"/>
                    <a:pt x="12930" y="21341"/>
                  </a:cubicBezTo>
                  <a:cubicBezTo>
                    <a:pt x="12930" y="21397"/>
                    <a:pt x="13081" y="21556"/>
                    <a:pt x="13232" y="21556"/>
                  </a:cubicBezTo>
                  <a:cubicBezTo>
                    <a:pt x="13232" y="21556"/>
                    <a:pt x="13162" y="21293"/>
                    <a:pt x="13162" y="21237"/>
                  </a:cubicBezTo>
                  <a:cubicBezTo>
                    <a:pt x="13162" y="21182"/>
                    <a:pt x="13313" y="21022"/>
                    <a:pt x="13393" y="20918"/>
                  </a:cubicBezTo>
                  <a:cubicBezTo>
                    <a:pt x="13464" y="20655"/>
                    <a:pt x="13232" y="20336"/>
                    <a:pt x="13313" y="20128"/>
                  </a:cubicBezTo>
                  <a:cubicBezTo>
                    <a:pt x="13544" y="19650"/>
                    <a:pt x="13464" y="19490"/>
                    <a:pt x="13464" y="19067"/>
                  </a:cubicBezTo>
                  <a:cubicBezTo>
                    <a:pt x="13464" y="18589"/>
                    <a:pt x="14007" y="18963"/>
                    <a:pt x="14309" y="18908"/>
                  </a:cubicBezTo>
                  <a:cubicBezTo>
                    <a:pt x="14390" y="18804"/>
                    <a:pt x="14390" y="18804"/>
                    <a:pt x="14390" y="18804"/>
                  </a:cubicBezTo>
                  <a:close/>
                  <a:moveTo>
                    <a:pt x="15849" y="15518"/>
                  </a:moveTo>
                  <a:cubicBezTo>
                    <a:pt x="16000" y="15359"/>
                    <a:pt x="15537" y="15040"/>
                    <a:pt x="15537" y="14832"/>
                  </a:cubicBezTo>
                  <a:cubicBezTo>
                    <a:pt x="15537" y="14777"/>
                    <a:pt x="15537" y="14569"/>
                    <a:pt x="15698" y="14617"/>
                  </a:cubicBezTo>
                  <a:cubicBezTo>
                    <a:pt x="15849" y="14728"/>
                    <a:pt x="16000" y="14832"/>
                    <a:pt x="16161" y="14832"/>
                  </a:cubicBezTo>
                  <a:cubicBezTo>
                    <a:pt x="16312" y="14832"/>
                    <a:pt x="16695" y="14513"/>
                    <a:pt x="16624" y="14832"/>
                  </a:cubicBezTo>
                  <a:cubicBezTo>
                    <a:pt x="16624" y="15095"/>
                    <a:pt x="16544" y="15095"/>
                    <a:pt x="16926" y="15151"/>
                  </a:cubicBezTo>
                  <a:cubicBezTo>
                    <a:pt x="17077" y="15199"/>
                    <a:pt x="17077" y="15303"/>
                    <a:pt x="17309" y="15303"/>
                  </a:cubicBezTo>
                  <a:cubicBezTo>
                    <a:pt x="17540" y="15303"/>
                    <a:pt x="17540" y="15303"/>
                    <a:pt x="17540" y="15463"/>
                  </a:cubicBezTo>
                  <a:cubicBezTo>
                    <a:pt x="17540" y="15574"/>
                    <a:pt x="17540" y="15782"/>
                    <a:pt x="17309" y="15678"/>
                  </a:cubicBezTo>
                  <a:cubicBezTo>
                    <a:pt x="17077" y="15518"/>
                    <a:pt x="17007" y="15199"/>
                    <a:pt x="16775" y="15518"/>
                  </a:cubicBezTo>
                  <a:cubicBezTo>
                    <a:pt x="16695" y="15678"/>
                    <a:pt x="16544" y="15782"/>
                    <a:pt x="16624" y="15941"/>
                  </a:cubicBezTo>
                  <a:cubicBezTo>
                    <a:pt x="16624" y="16156"/>
                    <a:pt x="16463" y="16523"/>
                    <a:pt x="16161" y="16211"/>
                  </a:cubicBezTo>
                  <a:cubicBezTo>
                    <a:pt x="16081" y="16101"/>
                    <a:pt x="16081" y="15997"/>
                    <a:pt x="15930" y="15941"/>
                  </a:cubicBezTo>
                  <a:cubicBezTo>
                    <a:pt x="15769" y="15893"/>
                    <a:pt x="15618" y="15782"/>
                    <a:pt x="15769" y="15622"/>
                  </a:cubicBezTo>
                  <a:cubicBezTo>
                    <a:pt x="15849" y="15518"/>
                    <a:pt x="15849" y="15518"/>
                    <a:pt x="15849" y="15518"/>
                  </a:cubicBezTo>
                  <a:close/>
                  <a:moveTo>
                    <a:pt x="17923" y="11387"/>
                  </a:moveTo>
                  <a:cubicBezTo>
                    <a:pt x="17772" y="11498"/>
                    <a:pt x="17470" y="11442"/>
                    <a:pt x="17309" y="11338"/>
                  </a:cubicBezTo>
                  <a:cubicBezTo>
                    <a:pt x="17158" y="11179"/>
                    <a:pt x="17470" y="11123"/>
                    <a:pt x="17470" y="11019"/>
                  </a:cubicBezTo>
                  <a:cubicBezTo>
                    <a:pt x="17540" y="10915"/>
                    <a:pt x="17621" y="10756"/>
                    <a:pt x="17691" y="10645"/>
                  </a:cubicBezTo>
                  <a:cubicBezTo>
                    <a:pt x="17852" y="10597"/>
                    <a:pt x="17923" y="10597"/>
                    <a:pt x="18084" y="10493"/>
                  </a:cubicBezTo>
                  <a:cubicBezTo>
                    <a:pt x="18154" y="10437"/>
                    <a:pt x="18235" y="10333"/>
                    <a:pt x="18305" y="10278"/>
                  </a:cubicBezTo>
                  <a:cubicBezTo>
                    <a:pt x="18386" y="10222"/>
                    <a:pt x="18466" y="10278"/>
                    <a:pt x="18537" y="10278"/>
                  </a:cubicBezTo>
                  <a:cubicBezTo>
                    <a:pt x="18698" y="10278"/>
                    <a:pt x="18768" y="10222"/>
                    <a:pt x="18849" y="10222"/>
                  </a:cubicBezTo>
                  <a:cubicBezTo>
                    <a:pt x="19161" y="10174"/>
                    <a:pt x="19231" y="10174"/>
                    <a:pt x="19000" y="10333"/>
                  </a:cubicBezTo>
                  <a:cubicBezTo>
                    <a:pt x="18849" y="10493"/>
                    <a:pt x="18617" y="10645"/>
                    <a:pt x="18466" y="10805"/>
                  </a:cubicBezTo>
                  <a:cubicBezTo>
                    <a:pt x="18305" y="10964"/>
                    <a:pt x="18154" y="11123"/>
                    <a:pt x="18003" y="11283"/>
                  </a:cubicBezTo>
                  <a:lnTo>
                    <a:pt x="17923" y="11387"/>
                  </a:lnTo>
                  <a:close/>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sp>
          <p:nvSpPr>
            <p:cNvPr id="579" name="Shape 2534">
              <a:extLst>
                <a:ext uri="{FF2B5EF4-FFF2-40B4-BE49-F238E27FC236}">
                  <a16:creationId xmlns:a16="http://schemas.microsoft.com/office/drawing/2014/main" id="{92F16F6F-B309-B5EB-30DF-7693401F2792}"/>
                </a:ext>
              </a:extLst>
            </p:cNvPr>
            <p:cNvSpPr/>
            <p:nvPr/>
          </p:nvSpPr>
          <p:spPr>
            <a:xfrm>
              <a:off x="2353086" y="1692592"/>
              <a:ext cx="591282" cy="649892"/>
            </a:xfrm>
            <a:custGeom>
              <a:avLst/>
              <a:gdLst/>
              <a:ahLst/>
              <a:cxnLst>
                <a:cxn ang="0">
                  <a:pos x="wd2" y="hd2"/>
                </a:cxn>
                <a:cxn ang="5400000">
                  <a:pos x="wd2" y="hd2"/>
                </a:cxn>
                <a:cxn ang="10800000">
                  <a:pos x="wd2" y="hd2"/>
                </a:cxn>
                <a:cxn ang="16200000">
                  <a:pos x="wd2" y="hd2"/>
                </a:cxn>
              </a:cxnLst>
              <a:rect l="0" t="0" r="r" b="b"/>
              <a:pathLst>
                <a:path w="21600" h="21375" extrusionOk="0">
                  <a:moveTo>
                    <a:pt x="849" y="21375"/>
                  </a:moveTo>
                  <a:cubicBezTo>
                    <a:pt x="1316" y="21297"/>
                    <a:pt x="1697" y="21042"/>
                    <a:pt x="2165" y="21042"/>
                  </a:cubicBezTo>
                  <a:cubicBezTo>
                    <a:pt x="2251" y="21042"/>
                    <a:pt x="2349" y="21209"/>
                    <a:pt x="2448" y="21209"/>
                  </a:cubicBezTo>
                  <a:cubicBezTo>
                    <a:pt x="3100" y="21120"/>
                    <a:pt x="3567" y="20787"/>
                    <a:pt x="4133" y="20698"/>
                  </a:cubicBezTo>
                  <a:cubicBezTo>
                    <a:pt x="4318" y="20698"/>
                    <a:pt x="4318" y="20953"/>
                    <a:pt x="4514" y="20953"/>
                  </a:cubicBezTo>
                  <a:cubicBezTo>
                    <a:pt x="4982" y="21042"/>
                    <a:pt x="5449" y="20953"/>
                    <a:pt x="5917" y="20865"/>
                  </a:cubicBezTo>
                  <a:cubicBezTo>
                    <a:pt x="6298" y="20787"/>
                    <a:pt x="6667" y="20443"/>
                    <a:pt x="7134" y="20365"/>
                  </a:cubicBezTo>
                  <a:cubicBezTo>
                    <a:pt x="7417" y="20277"/>
                    <a:pt x="7799" y="20443"/>
                    <a:pt x="8082" y="20365"/>
                  </a:cubicBezTo>
                  <a:cubicBezTo>
                    <a:pt x="8364" y="20277"/>
                    <a:pt x="8733" y="20110"/>
                    <a:pt x="8832" y="19855"/>
                  </a:cubicBezTo>
                  <a:cubicBezTo>
                    <a:pt x="9016" y="19434"/>
                    <a:pt x="8647" y="19012"/>
                    <a:pt x="8549" y="18579"/>
                  </a:cubicBezTo>
                  <a:cubicBezTo>
                    <a:pt x="8549" y="18324"/>
                    <a:pt x="8266" y="17991"/>
                    <a:pt x="8463" y="17814"/>
                  </a:cubicBezTo>
                  <a:cubicBezTo>
                    <a:pt x="9016" y="17481"/>
                    <a:pt x="9865" y="17647"/>
                    <a:pt x="10320" y="17137"/>
                  </a:cubicBezTo>
                  <a:cubicBezTo>
                    <a:pt x="10886" y="16638"/>
                    <a:pt x="10505" y="15706"/>
                    <a:pt x="11071" y="15196"/>
                  </a:cubicBezTo>
                  <a:cubicBezTo>
                    <a:pt x="11636" y="14685"/>
                    <a:pt x="12584" y="14597"/>
                    <a:pt x="13334" y="14597"/>
                  </a:cubicBezTo>
                  <a:cubicBezTo>
                    <a:pt x="13801" y="14519"/>
                    <a:pt x="14269" y="15107"/>
                    <a:pt x="14650" y="15018"/>
                  </a:cubicBezTo>
                  <a:cubicBezTo>
                    <a:pt x="15118" y="14940"/>
                    <a:pt x="15302" y="14430"/>
                    <a:pt x="15585" y="14086"/>
                  </a:cubicBezTo>
                  <a:cubicBezTo>
                    <a:pt x="15585" y="14086"/>
                    <a:pt x="15585" y="13332"/>
                    <a:pt x="15585" y="13154"/>
                  </a:cubicBezTo>
                  <a:cubicBezTo>
                    <a:pt x="15585" y="12988"/>
                    <a:pt x="15585" y="11890"/>
                    <a:pt x="15585" y="11890"/>
                  </a:cubicBezTo>
                  <a:cubicBezTo>
                    <a:pt x="15683" y="11634"/>
                    <a:pt x="16052" y="11468"/>
                    <a:pt x="15966" y="11291"/>
                  </a:cubicBezTo>
                  <a:cubicBezTo>
                    <a:pt x="15683" y="10869"/>
                    <a:pt x="14650" y="10869"/>
                    <a:pt x="14650" y="10359"/>
                  </a:cubicBezTo>
                  <a:cubicBezTo>
                    <a:pt x="14552" y="9859"/>
                    <a:pt x="15769" y="9771"/>
                    <a:pt x="15868" y="9260"/>
                  </a:cubicBezTo>
                  <a:cubicBezTo>
                    <a:pt x="15868" y="8928"/>
                    <a:pt x="14835" y="9183"/>
                    <a:pt x="14736" y="8839"/>
                  </a:cubicBezTo>
                  <a:cubicBezTo>
                    <a:pt x="14650" y="8417"/>
                    <a:pt x="15118" y="7985"/>
                    <a:pt x="15487" y="7652"/>
                  </a:cubicBezTo>
                  <a:cubicBezTo>
                    <a:pt x="15769" y="7485"/>
                    <a:pt x="16237" y="7729"/>
                    <a:pt x="16520" y="7563"/>
                  </a:cubicBezTo>
                  <a:cubicBezTo>
                    <a:pt x="16901" y="7308"/>
                    <a:pt x="16901" y="6720"/>
                    <a:pt x="17270" y="6465"/>
                  </a:cubicBezTo>
                  <a:cubicBezTo>
                    <a:pt x="17553" y="6298"/>
                    <a:pt x="17934" y="6132"/>
                    <a:pt x="18217" y="6210"/>
                  </a:cubicBezTo>
                  <a:cubicBezTo>
                    <a:pt x="18586" y="6376"/>
                    <a:pt x="18586" y="6886"/>
                    <a:pt x="18968" y="7053"/>
                  </a:cubicBezTo>
                  <a:cubicBezTo>
                    <a:pt x="19152" y="7141"/>
                    <a:pt x="19152" y="6720"/>
                    <a:pt x="19251" y="6720"/>
                  </a:cubicBezTo>
                  <a:cubicBezTo>
                    <a:pt x="19718" y="6720"/>
                    <a:pt x="20001" y="7230"/>
                    <a:pt x="20370" y="7230"/>
                  </a:cubicBezTo>
                  <a:cubicBezTo>
                    <a:pt x="20751" y="7230"/>
                    <a:pt x="20936" y="6809"/>
                    <a:pt x="21219" y="6631"/>
                  </a:cubicBezTo>
                  <a:cubicBezTo>
                    <a:pt x="21317" y="6553"/>
                    <a:pt x="21600" y="6465"/>
                    <a:pt x="21600" y="6298"/>
                  </a:cubicBezTo>
                  <a:cubicBezTo>
                    <a:pt x="21600" y="6132"/>
                    <a:pt x="21317" y="6043"/>
                    <a:pt x="21120" y="6043"/>
                  </a:cubicBezTo>
                  <a:cubicBezTo>
                    <a:pt x="20936" y="5954"/>
                    <a:pt x="20653" y="6210"/>
                    <a:pt x="20468" y="6132"/>
                  </a:cubicBezTo>
                  <a:cubicBezTo>
                    <a:pt x="20185" y="6043"/>
                    <a:pt x="19816" y="5954"/>
                    <a:pt x="19620" y="5699"/>
                  </a:cubicBezTo>
                  <a:cubicBezTo>
                    <a:pt x="19435" y="5366"/>
                    <a:pt x="19903" y="5022"/>
                    <a:pt x="19718" y="4679"/>
                  </a:cubicBezTo>
                  <a:cubicBezTo>
                    <a:pt x="19435" y="4257"/>
                    <a:pt x="18685" y="4257"/>
                    <a:pt x="18586" y="3835"/>
                  </a:cubicBezTo>
                  <a:cubicBezTo>
                    <a:pt x="18402" y="3247"/>
                    <a:pt x="18968" y="2737"/>
                    <a:pt x="19066" y="2227"/>
                  </a:cubicBezTo>
                  <a:cubicBezTo>
                    <a:pt x="19066" y="1716"/>
                    <a:pt x="18968" y="1805"/>
                    <a:pt x="18869" y="1295"/>
                  </a:cubicBezTo>
                  <a:cubicBezTo>
                    <a:pt x="18217" y="1128"/>
                    <a:pt x="17467" y="785"/>
                    <a:pt x="16901" y="785"/>
                  </a:cubicBezTo>
                  <a:cubicBezTo>
                    <a:pt x="15868" y="1128"/>
                    <a:pt x="15400" y="1128"/>
                    <a:pt x="14453" y="1805"/>
                  </a:cubicBezTo>
                  <a:cubicBezTo>
                    <a:pt x="13703" y="2316"/>
                    <a:pt x="12485" y="1716"/>
                    <a:pt x="11735" y="1461"/>
                  </a:cubicBezTo>
                  <a:cubicBezTo>
                    <a:pt x="10788" y="1206"/>
                    <a:pt x="8266" y="-225"/>
                    <a:pt x="7516" y="30"/>
                  </a:cubicBezTo>
                  <a:cubicBezTo>
                    <a:pt x="6581" y="452"/>
                    <a:pt x="5449" y="785"/>
                    <a:pt x="4514" y="785"/>
                  </a:cubicBezTo>
                  <a:cubicBezTo>
                    <a:pt x="4699" y="1384"/>
                    <a:pt x="4514" y="2138"/>
                    <a:pt x="3567" y="2138"/>
                  </a:cubicBezTo>
                  <a:cubicBezTo>
                    <a:pt x="2534" y="2138"/>
                    <a:pt x="2251" y="1805"/>
                    <a:pt x="2251" y="2826"/>
                  </a:cubicBezTo>
                  <a:cubicBezTo>
                    <a:pt x="2067" y="2826"/>
                    <a:pt x="2067" y="2138"/>
                    <a:pt x="1784" y="2138"/>
                  </a:cubicBezTo>
                  <a:cubicBezTo>
                    <a:pt x="1218" y="2138"/>
                    <a:pt x="750" y="2227"/>
                    <a:pt x="185" y="2482"/>
                  </a:cubicBezTo>
                  <a:cubicBezTo>
                    <a:pt x="185" y="2482"/>
                    <a:pt x="98" y="2571"/>
                    <a:pt x="0" y="2571"/>
                  </a:cubicBezTo>
                  <a:cubicBezTo>
                    <a:pt x="185" y="3247"/>
                    <a:pt x="283" y="3924"/>
                    <a:pt x="566" y="4512"/>
                  </a:cubicBezTo>
                  <a:cubicBezTo>
                    <a:pt x="652" y="4767"/>
                    <a:pt x="1132" y="4934"/>
                    <a:pt x="1218" y="5278"/>
                  </a:cubicBezTo>
                  <a:cubicBezTo>
                    <a:pt x="1316" y="5622"/>
                    <a:pt x="1132" y="6043"/>
                    <a:pt x="1132" y="6376"/>
                  </a:cubicBezTo>
                  <a:cubicBezTo>
                    <a:pt x="1132" y="6553"/>
                    <a:pt x="1415" y="6631"/>
                    <a:pt x="1415" y="6809"/>
                  </a:cubicBezTo>
                  <a:cubicBezTo>
                    <a:pt x="1599" y="7397"/>
                    <a:pt x="1599" y="8073"/>
                    <a:pt x="1599" y="8750"/>
                  </a:cubicBezTo>
                  <a:cubicBezTo>
                    <a:pt x="1599" y="9005"/>
                    <a:pt x="1316" y="9349"/>
                    <a:pt x="1599" y="9604"/>
                  </a:cubicBezTo>
                  <a:cubicBezTo>
                    <a:pt x="1784" y="9859"/>
                    <a:pt x="2349" y="9937"/>
                    <a:pt x="2718" y="9859"/>
                  </a:cubicBezTo>
                  <a:cubicBezTo>
                    <a:pt x="3001" y="9859"/>
                    <a:pt x="2915" y="9349"/>
                    <a:pt x="3198" y="9260"/>
                  </a:cubicBezTo>
                  <a:cubicBezTo>
                    <a:pt x="3666" y="9094"/>
                    <a:pt x="4231" y="9260"/>
                    <a:pt x="4699" y="9183"/>
                  </a:cubicBezTo>
                  <a:cubicBezTo>
                    <a:pt x="4982" y="9094"/>
                    <a:pt x="5080" y="8750"/>
                    <a:pt x="5351" y="8839"/>
                  </a:cubicBezTo>
                  <a:cubicBezTo>
                    <a:pt x="5634" y="8928"/>
                    <a:pt x="5732" y="9427"/>
                    <a:pt x="6015" y="9682"/>
                  </a:cubicBezTo>
                  <a:cubicBezTo>
                    <a:pt x="6298" y="9859"/>
                    <a:pt x="6765" y="9771"/>
                    <a:pt x="6950" y="10026"/>
                  </a:cubicBezTo>
                  <a:cubicBezTo>
                    <a:pt x="7331" y="10447"/>
                    <a:pt x="7614" y="10869"/>
                    <a:pt x="7516" y="11379"/>
                  </a:cubicBezTo>
                  <a:cubicBezTo>
                    <a:pt x="7417" y="11978"/>
                    <a:pt x="6765" y="12400"/>
                    <a:pt x="6384" y="12910"/>
                  </a:cubicBezTo>
                  <a:cubicBezTo>
                    <a:pt x="6101" y="13332"/>
                    <a:pt x="5548" y="13587"/>
                    <a:pt x="5548" y="14009"/>
                  </a:cubicBezTo>
                  <a:cubicBezTo>
                    <a:pt x="5548" y="14341"/>
                    <a:pt x="6298" y="14175"/>
                    <a:pt x="6384" y="14430"/>
                  </a:cubicBezTo>
                  <a:cubicBezTo>
                    <a:pt x="6581" y="14940"/>
                    <a:pt x="6101" y="15528"/>
                    <a:pt x="6200" y="15961"/>
                  </a:cubicBezTo>
                  <a:cubicBezTo>
                    <a:pt x="6298" y="16205"/>
                    <a:pt x="6765" y="16039"/>
                    <a:pt x="6765" y="16205"/>
                  </a:cubicBezTo>
                  <a:cubicBezTo>
                    <a:pt x="6851" y="16549"/>
                    <a:pt x="6667" y="16882"/>
                    <a:pt x="6581" y="17226"/>
                  </a:cubicBezTo>
                  <a:cubicBezTo>
                    <a:pt x="6482" y="17481"/>
                    <a:pt x="6581" y="17903"/>
                    <a:pt x="6298" y="18069"/>
                  </a:cubicBezTo>
                  <a:cubicBezTo>
                    <a:pt x="5917" y="18324"/>
                    <a:pt x="5265" y="17991"/>
                    <a:pt x="4797" y="18324"/>
                  </a:cubicBezTo>
                  <a:cubicBezTo>
                    <a:pt x="4514" y="18502"/>
                    <a:pt x="4699" y="18923"/>
                    <a:pt x="4514" y="19178"/>
                  </a:cubicBezTo>
                  <a:cubicBezTo>
                    <a:pt x="4133" y="19511"/>
                    <a:pt x="3752" y="19766"/>
                    <a:pt x="3383" y="19855"/>
                  </a:cubicBezTo>
                  <a:cubicBezTo>
                    <a:pt x="3001" y="20022"/>
                    <a:pt x="2632" y="19766"/>
                    <a:pt x="2349" y="19933"/>
                  </a:cubicBezTo>
                  <a:cubicBezTo>
                    <a:pt x="1784" y="20277"/>
                    <a:pt x="1316" y="20865"/>
                    <a:pt x="849" y="21375"/>
                  </a:cubicBezTo>
                </a:path>
              </a:pathLst>
            </a:custGeom>
            <a:grpFill/>
            <a:ln w="6350" cap="flat">
              <a:solidFill>
                <a:schemeClr val="bg2"/>
              </a:solidFill>
              <a:prstDash val="solid"/>
              <a:bevel/>
            </a:ln>
            <a:effectLst/>
          </p:spPr>
          <p:txBody>
            <a:bodyPr lIns="22860" tIns="22860" rIns="22860" bIns="22860" anchor="ctr"/>
            <a:lstStyle/>
            <a:p>
              <a:pPr defTabSz="914217">
                <a:defRPr sz="3600">
                  <a:solidFill>
                    <a:srgbClr val="7F7F7F"/>
                  </a:solidFill>
                  <a:uFill>
                    <a:solidFill>
                      <a:srgbClr val="7F7F7F"/>
                    </a:solidFill>
                  </a:uFill>
                  <a:latin typeface="Lato Regular"/>
                  <a:ea typeface="Lato Regular"/>
                  <a:cs typeface="Lato Regular"/>
                  <a:sym typeface="Lato Regular"/>
                </a:defRPr>
              </a:pPr>
              <a:endParaRPr sz="3600" b="0" i="0">
                <a:solidFill>
                  <a:srgbClr val="7F7F7F"/>
                </a:solidFill>
                <a:uFill>
                  <a:solidFill>
                    <a:srgbClr val="7F7F7F"/>
                  </a:solidFill>
                </a:uFill>
                <a:latin typeface="DM Sans" pitchFamily="2" charset="77"/>
                <a:ea typeface="Lato Regular"/>
                <a:cs typeface="Lato Regular"/>
                <a:sym typeface="Lato Regular"/>
              </a:endParaRPr>
            </a:p>
          </p:txBody>
        </p:sp>
      </p:grpSp>
      <p:sp>
        <p:nvSpPr>
          <p:cNvPr id="6" name="Text Placeholder 7">
            <a:extLst>
              <a:ext uri="{FF2B5EF4-FFF2-40B4-BE49-F238E27FC236}">
                <a16:creationId xmlns:a16="http://schemas.microsoft.com/office/drawing/2014/main" id="{E1887C89-6697-09F2-E88B-7C5DA51C90D3}"/>
              </a:ext>
            </a:extLst>
          </p:cNvPr>
          <p:cNvSpPr>
            <a:spLocks noGrp="1"/>
          </p:cNvSpPr>
          <p:nvPr>
            <p:ph type="body" sz="quarter" idx="21"/>
          </p:nvPr>
        </p:nvSpPr>
        <p:spPr>
          <a:xfrm>
            <a:off x="465138" y="2861585"/>
            <a:ext cx="3798887" cy="137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0949762E-B8E2-B70B-B2CB-4CD92B7E01AF}"/>
              </a:ext>
            </a:extLst>
          </p:cNvPr>
          <p:cNvSpPr>
            <a:spLocks noGrp="1"/>
          </p:cNvSpPr>
          <p:nvPr>
            <p:ph type="body" sz="quarter" idx="22"/>
          </p:nvPr>
        </p:nvSpPr>
        <p:spPr>
          <a:xfrm>
            <a:off x="465138" y="4841306"/>
            <a:ext cx="3798887" cy="137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Inhaltsplatzhalter 18">
            <a:extLst>
              <a:ext uri="{FF2B5EF4-FFF2-40B4-BE49-F238E27FC236}">
                <a16:creationId xmlns:a16="http://schemas.microsoft.com/office/drawing/2014/main" id="{CBED5D70-8B9B-099A-5C58-9179438C0B7E}"/>
              </a:ext>
            </a:extLst>
          </p:cNvPr>
          <p:cNvSpPr>
            <a:spLocks noGrp="1"/>
          </p:cNvSpPr>
          <p:nvPr>
            <p:ph sz="quarter" idx="13" hasCustomPrompt="1"/>
          </p:nvPr>
        </p:nvSpPr>
        <p:spPr>
          <a:xfrm>
            <a:off x="442913" y="897608"/>
            <a:ext cx="3833417" cy="317138"/>
          </a:xfrm>
        </p:spPr>
        <p:txBody>
          <a:bodyPr wrap="square">
            <a:spAutoFit/>
          </a:bodyPr>
          <a:lstStyle>
            <a:lvl1pPr rtl="0">
              <a:defRPr sz="1600">
                <a:solidFill>
                  <a:schemeClr val="accent1"/>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9" name="Title 8">
            <a:extLst>
              <a:ext uri="{FF2B5EF4-FFF2-40B4-BE49-F238E27FC236}">
                <a16:creationId xmlns:a16="http://schemas.microsoft.com/office/drawing/2014/main" id="{34078CE8-1AE2-9462-E158-4D6D9F7ED068}"/>
              </a:ext>
            </a:extLst>
          </p:cNvPr>
          <p:cNvSpPr>
            <a:spLocks noGrp="1"/>
          </p:cNvSpPr>
          <p:nvPr>
            <p:ph type="title" hasCustomPrompt="1"/>
          </p:nvPr>
        </p:nvSpPr>
        <p:spPr/>
        <p:txBody>
          <a:bodyPr/>
          <a:lstStyle/>
          <a:p>
            <a:r>
              <a:rPr lang="en-US"/>
              <a:t>Map of UK</a:t>
            </a:r>
          </a:p>
        </p:txBody>
      </p:sp>
      <p:pic>
        <p:nvPicPr>
          <p:cNvPr id="5" name="Picture 5">
            <a:extLst>
              <a:ext uri="{FF2B5EF4-FFF2-40B4-BE49-F238E27FC236}">
                <a16:creationId xmlns:a16="http://schemas.microsoft.com/office/drawing/2014/main" id="{D8367D28-3E08-FDF0-2E6C-7BF0AC70CCB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1455626" y="365126"/>
            <a:ext cx="271037" cy="271037"/>
          </a:xfrm>
          <a:prstGeom prst="rect">
            <a:avLst/>
          </a:prstGeom>
        </p:spPr>
      </p:pic>
    </p:spTree>
    <p:extLst>
      <p:ext uri="{BB962C8B-B14F-4D97-AF65-F5344CB8AC3E}">
        <p14:creationId xmlns:p14="http://schemas.microsoft.com/office/powerpoint/2010/main" val="314836723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D11210C-854A-8B65-FB85-D5290B0B02CD}"/>
              </a:ext>
            </a:extLst>
          </p:cNvPr>
          <p:cNvPicPr>
            <a:picLocks noChangeAspect="1"/>
          </p:cNvPicPr>
          <p:nvPr userDrawn="1"/>
        </p:nvPicPr>
        <p:blipFill>
          <a:blip r:embed="rId3"/>
          <a:srcRect t="4237" b="4237"/>
          <a:stretch/>
        </p:blipFill>
        <p:spPr>
          <a:xfrm>
            <a:off x="0" y="-1"/>
            <a:ext cx="12192000" cy="6858001"/>
          </a:xfrm>
          <a:prstGeom prst="rect">
            <a:avLst/>
          </a:prstGeom>
        </p:spPr>
      </p:pic>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382C324-9915-A8FC-D142-CB2782C9F2F8}"/>
              </a:ext>
            </a:extLst>
          </p:cNvPr>
          <p:cNvSpPr txBox="1"/>
          <p:nvPr userDrawn="1"/>
        </p:nvSpPr>
        <p:spPr>
          <a:xfrm>
            <a:off x="349845" y="612844"/>
            <a:ext cx="4160236" cy="5632311"/>
          </a:xfrm>
          <a:prstGeom prst="rect">
            <a:avLst/>
          </a:prstGeom>
          <a:noFill/>
        </p:spPr>
        <p:txBody>
          <a:bodyPr wrap="square" rtlCol="0" anchor="ctr">
            <a:spAutoFit/>
          </a:bodyPr>
          <a:lstStyle/>
          <a:p>
            <a:r>
              <a:rPr lang="en-US" sz="3600" b="1">
                <a:solidFill>
                  <a:schemeClr val="accent4"/>
                </a:solidFill>
                <a:latin typeface="Aleo" pitchFamily="2" charset="77"/>
              </a:rPr>
              <a:t>Thank You</a:t>
            </a:r>
          </a:p>
          <a:p>
            <a:pPr rtl="1"/>
            <a:r>
              <a:rPr lang="ar-AE" sz="3600" b="1">
                <a:solidFill>
                  <a:schemeClr val="accent4"/>
                </a:solidFill>
                <a:latin typeface="Aleo" pitchFamily="2" charset="77"/>
              </a:rPr>
              <a:t>شكرا</a:t>
            </a:r>
          </a:p>
          <a:p>
            <a:r>
              <a:rPr lang="en-US" sz="3600" b="1" i="1" u="none" strike="noStrike">
                <a:solidFill>
                  <a:schemeClr val="accent4"/>
                </a:solidFill>
                <a:effectLst/>
                <a:latin typeface="Aleo" pitchFamily="2" charset="77"/>
              </a:rPr>
              <a:t>Merci</a:t>
            </a:r>
            <a:endParaRPr lang="en-US" sz="3600" b="1">
              <a:solidFill>
                <a:schemeClr val="accent4"/>
              </a:solidFill>
              <a:latin typeface="Aleo" pitchFamily="2" charset="77"/>
            </a:endParaRPr>
          </a:p>
          <a:p>
            <a:r>
              <a:rPr lang="en-US" sz="3600" b="1">
                <a:solidFill>
                  <a:schemeClr val="accent4"/>
                </a:solidFill>
                <a:latin typeface="Aleo" pitchFamily="2" charset="77"/>
              </a:rPr>
              <a:t>Gracias</a:t>
            </a:r>
          </a:p>
          <a:p>
            <a:r>
              <a:rPr lang="ko-KR" altLang="en-US" sz="3600" b="1">
                <a:solidFill>
                  <a:schemeClr val="accent4"/>
                </a:solidFill>
                <a:latin typeface="Aleo" pitchFamily="2" charset="77"/>
              </a:rPr>
              <a:t>고맙습니다</a:t>
            </a:r>
          </a:p>
          <a:p>
            <a:r>
              <a:rPr lang="az-Cyrl-AZ" sz="3600" b="1">
                <a:solidFill>
                  <a:schemeClr val="accent4"/>
                </a:solidFill>
                <a:latin typeface="+mj-lt"/>
              </a:rPr>
              <a:t>Спасибо</a:t>
            </a:r>
            <a:endParaRPr lang="en-US" sz="3600" b="1">
              <a:solidFill>
                <a:schemeClr val="accent4"/>
              </a:solidFill>
              <a:latin typeface="Aleo" pitchFamily="2" charset="77"/>
            </a:endParaRPr>
          </a:p>
          <a:p>
            <a:r>
              <a:rPr lang="en-US" altLang="ko-KR" sz="3600" b="1">
                <a:solidFill>
                  <a:schemeClr val="accent4"/>
                </a:solidFill>
                <a:latin typeface="Aleo" pitchFamily="2" charset="77"/>
              </a:rPr>
              <a:t>Danke</a:t>
            </a:r>
            <a:endParaRPr lang="ko-KR" altLang="en-US" sz="3600" b="1">
              <a:solidFill>
                <a:schemeClr val="accent4"/>
              </a:solidFill>
              <a:latin typeface="Aleo" pitchFamily="2" charset="77"/>
            </a:endParaRPr>
          </a:p>
          <a:p>
            <a:r>
              <a:rPr lang="en-US" sz="3600" b="1" err="1">
                <a:solidFill>
                  <a:schemeClr val="accent4"/>
                </a:solidFill>
                <a:latin typeface="Aleo" pitchFamily="2" charset="77"/>
              </a:rPr>
              <a:t>Terima</a:t>
            </a:r>
            <a:r>
              <a:rPr lang="en-US" sz="3600" b="1">
                <a:solidFill>
                  <a:schemeClr val="accent4"/>
                </a:solidFill>
                <a:latin typeface="Aleo" pitchFamily="2" charset="77"/>
              </a:rPr>
              <a:t> Kasih</a:t>
            </a:r>
          </a:p>
          <a:p>
            <a:r>
              <a:rPr lang="hi-IN" sz="3600" b="1">
                <a:solidFill>
                  <a:schemeClr val="accent4"/>
                </a:solidFill>
                <a:latin typeface="Aleo" pitchFamily="2" charset="77"/>
              </a:rPr>
              <a:t>धन्यवाद</a:t>
            </a:r>
            <a:endParaRPr lang="en-US" sz="3600" b="1">
              <a:solidFill>
                <a:schemeClr val="accent4"/>
              </a:solidFill>
              <a:latin typeface="Aleo" pitchFamily="2" charset="77"/>
            </a:endParaRPr>
          </a:p>
          <a:p>
            <a:r>
              <a:rPr lang="en-US" sz="3600" b="1" i="1" u="none" strike="noStrike">
                <a:solidFill>
                  <a:schemeClr val="accent4"/>
                </a:solidFill>
                <a:effectLst/>
                <a:latin typeface="Aleo" pitchFamily="2" charset="77"/>
              </a:rPr>
              <a:t>Grazie</a:t>
            </a:r>
            <a:endParaRPr lang="hi-IN" sz="3600" b="1">
              <a:solidFill>
                <a:schemeClr val="accent4"/>
              </a:solidFill>
              <a:latin typeface="Aleo" pitchFamily="2" charset="77"/>
            </a:endParaRPr>
          </a:p>
        </p:txBody>
      </p:sp>
      <p:sp>
        <p:nvSpPr>
          <p:cNvPr id="8" name="TextBox 7">
            <a:extLst>
              <a:ext uri="{FF2B5EF4-FFF2-40B4-BE49-F238E27FC236}">
                <a16:creationId xmlns:a16="http://schemas.microsoft.com/office/drawing/2014/main" id="{BB192D64-71AA-C6CB-A947-127A8F35183A}"/>
              </a:ext>
            </a:extLst>
          </p:cNvPr>
          <p:cNvSpPr txBox="1"/>
          <p:nvPr userDrawn="1"/>
        </p:nvSpPr>
        <p:spPr>
          <a:xfrm>
            <a:off x="9952661" y="6390322"/>
            <a:ext cx="1889494" cy="215444"/>
          </a:xfrm>
          <a:prstGeom prst="rect">
            <a:avLst/>
          </a:prstGeom>
          <a:noFill/>
        </p:spPr>
        <p:txBody>
          <a:bodyPr wrap="square">
            <a:spAutoFit/>
          </a:bodyPr>
          <a:lstStyle/>
          <a:p>
            <a:r>
              <a:rPr lang="en-US" sz="800">
                <a:solidFill>
                  <a:schemeClr val="tx1"/>
                </a:solidFill>
              </a:rPr>
              <a:t>©2025 Ontinue All Rights Reserved.</a:t>
            </a:r>
          </a:p>
        </p:txBody>
      </p:sp>
      <p:pic>
        <p:nvPicPr>
          <p:cNvPr id="9" name="Graphic 8">
            <a:extLst>
              <a:ext uri="{FF2B5EF4-FFF2-40B4-BE49-F238E27FC236}">
                <a16:creationId xmlns:a16="http://schemas.microsoft.com/office/drawing/2014/main" id="{D9CB5EB8-91CF-15DA-1F6D-388054C0C2FD}"/>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10055340" y="5981202"/>
            <a:ext cx="1552750" cy="322052"/>
          </a:xfrm>
          <a:prstGeom prst="rect">
            <a:avLst/>
          </a:prstGeom>
        </p:spPr>
      </p:pic>
    </p:spTree>
    <p:extLst>
      <p:ext uri="{BB962C8B-B14F-4D97-AF65-F5344CB8AC3E}">
        <p14:creationId xmlns:p14="http://schemas.microsoft.com/office/powerpoint/2010/main" val="1491861669"/>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2949ED1-7952-3608-1226-8A9537C3BE7F}"/>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Tree>
    <p:extLst>
      <p:ext uri="{BB962C8B-B14F-4D97-AF65-F5344CB8AC3E}">
        <p14:creationId xmlns:p14="http://schemas.microsoft.com/office/powerpoint/2010/main" val="132371861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ounded Rectangle 10">
            <a:extLst>
              <a:ext uri="{FF2B5EF4-FFF2-40B4-BE49-F238E27FC236}">
                <a16:creationId xmlns:a16="http://schemas.microsoft.com/office/drawing/2014/main" id="{E66D8F33-E2BF-ECA0-22A1-FFFAD20736F9}"/>
              </a:ext>
            </a:extLst>
          </p:cNvPr>
          <p:cNvSpPr/>
          <p:nvPr userDrawn="1"/>
        </p:nvSpPr>
        <p:spPr>
          <a:xfrm>
            <a:off x="6818490" y="662013"/>
            <a:ext cx="5017293" cy="574485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graphicFrame>
        <p:nvGraphicFramePr>
          <p:cNvPr id="4" name="think-cell data - do not delete" hidden="1">
            <a:extLst>
              <a:ext uri="{FF2B5EF4-FFF2-40B4-BE49-F238E27FC236}">
                <a16:creationId xmlns:a16="http://schemas.microsoft.com/office/drawing/2014/main" id="{881EC3A2-1E5E-BA02-1760-AAAFCE576359}"/>
              </a:ext>
            </a:extLst>
          </p:cNvPr>
          <p:cNvGraphicFramePr>
            <a:graphicFrameLocks noChangeAspect="1"/>
          </p:cNvGraphicFramePr>
          <p:nvPr userDrawn="1">
            <p:custDataLst>
              <p:tags r:id="rId1"/>
            </p:custDataLst>
            <p:extLst>
              <p:ext uri="{D42A27DB-BD31-4B8C-83A1-F6EECF244321}">
                <p14:modId xmlns:p14="http://schemas.microsoft.com/office/powerpoint/2010/main" val="195330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4" name="think-cell data - do not delete" hidden="1">
                        <a:extLst>
                          <a:ext uri="{FF2B5EF4-FFF2-40B4-BE49-F238E27FC236}">
                            <a16:creationId xmlns:a16="http://schemas.microsoft.com/office/drawing/2014/main" id="{881EC3A2-1E5E-BA02-1760-AAAFCE576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2C6977E8-8CF5-418C-49D1-D550B90768E0}"/>
              </a:ext>
            </a:extLst>
          </p:cNvPr>
          <p:cNvSpPr>
            <a:spLocks noGrp="1"/>
          </p:cNvSpPr>
          <p:nvPr>
            <p:ph type="title" hasCustomPrompt="1"/>
          </p:nvPr>
        </p:nvSpPr>
        <p:spPr>
          <a:xfrm>
            <a:off x="442911" y="2529550"/>
            <a:ext cx="5461177" cy="2009781"/>
          </a:xfrm>
        </p:spPr>
        <p:txBody>
          <a:bodyPr vert="horz" anchor="t"/>
          <a:lstStyle>
            <a:lvl1pPr algn="l" rtl="0">
              <a:defRPr sz="4800" b="1" i="0">
                <a:solidFill>
                  <a:schemeClr val="tx1"/>
                </a:solidFill>
                <a:latin typeface="Aleo SemiBold" pitchFamily="2" charset="77"/>
              </a:defRPr>
            </a:lvl1pPr>
          </a:lstStyle>
          <a:p>
            <a:r>
              <a:rPr lang="en-US"/>
              <a:t>This is a divider slide with large image</a:t>
            </a:r>
          </a:p>
        </p:txBody>
      </p:sp>
      <p:sp>
        <p:nvSpPr>
          <p:cNvPr id="3" name="Text Placeholder 43">
            <a:extLst>
              <a:ext uri="{FF2B5EF4-FFF2-40B4-BE49-F238E27FC236}">
                <a16:creationId xmlns:a16="http://schemas.microsoft.com/office/drawing/2014/main" id="{CE8C2B8E-5072-D8B2-848F-E2C366D81AD8}"/>
              </a:ext>
            </a:extLst>
          </p:cNvPr>
          <p:cNvSpPr>
            <a:spLocks noGrp="1"/>
          </p:cNvSpPr>
          <p:nvPr>
            <p:ph type="body" sz="quarter" idx="15" hasCustomPrompt="1"/>
          </p:nvPr>
        </p:nvSpPr>
        <p:spPr>
          <a:xfrm>
            <a:off x="442912" y="2186041"/>
            <a:ext cx="5461176" cy="215444"/>
          </a:xfrm>
        </p:spPr>
        <p:txBody>
          <a:bodyPr/>
          <a:lstStyle>
            <a:lvl1pPr>
              <a:defRPr sz="1400">
                <a:solidFill>
                  <a:schemeClr val="accent3"/>
                </a:solidFill>
                <a:latin typeface="DM Sans" pitchFamily="2" charset="77"/>
              </a:defRPr>
            </a:lvl1pPr>
          </a:lstStyle>
          <a:p>
            <a:r>
              <a:rPr lang="en-US"/>
              <a:t>SECTION TITLE GOES HERE</a:t>
            </a:r>
          </a:p>
        </p:txBody>
      </p:sp>
      <p:sp>
        <p:nvSpPr>
          <p:cNvPr id="10" name="Picture Placeholder 9">
            <a:extLst>
              <a:ext uri="{FF2B5EF4-FFF2-40B4-BE49-F238E27FC236}">
                <a16:creationId xmlns:a16="http://schemas.microsoft.com/office/drawing/2014/main" id="{0886749E-F2EB-0B35-00B3-26706517E02B}"/>
              </a:ext>
            </a:extLst>
          </p:cNvPr>
          <p:cNvSpPr>
            <a:spLocks noGrp="1"/>
          </p:cNvSpPr>
          <p:nvPr>
            <p:ph type="pic" sz="quarter" idx="16"/>
          </p:nvPr>
        </p:nvSpPr>
        <p:spPr>
          <a:xfrm>
            <a:off x="6705601" y="577769"/>
            <a:ext cx="4991100" cy="5716210"/>
          </a:xfrm>
          <a:prstGeom prst="roundRect">
            <a:avLst/>
          </a:prstGeom>
        </p:spPr>
        <p:txBody>
          <a:bodyPr/>
          <a:lstStyle/>
          <a:p>
            <a:endParaRPr lang="en-US"/>
          </a:p>
        </p:txBody>
      </p:sp>
    </p:spTree>
    <p:extLst>
      <p:ext uri="{BB962C8B-B14F-4D97-AF65-F5344CB8AC3E}">
        <p14:creationId xmlns:p14="http://schemas.microsoft.com/office/powerpoint/2010/main" val="696853783"/>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95597A78-51F0-D65B-523A-0C318E41854D}"/>
              </a:ext>
            </a:extLst>
          </p:cNvPr>
          <p:cNvSpPr>
            <a:spLocks noGrp="1"/>
          </p:cNvSpPr>
          <p:nvPr>
            <p:ph type="pic" sz="quarter" idx="14"/>
          </p:nvPr>
        </p:nvSpPr>
        <p:spPr>
          <a:xfrm>
            <a:off x="0" y="0"/>
            <a:ext cx="12192000" cy="4939989"/>
          </a:xfrm>
        </p:spPr>
        <p:txBody>
          <a:bodyPr/>
          <a:lstStyle/>
          <a:p>
            <a:endParaRPr lang="en-US"/>
          </a:p>
        </p:txBody>
      </p:sp>
      <p:sp>
        <p:nvSpPr>
          <p:cNvPr id="6" name="Titel 9">
            <a:extLst>
              <a:ext uri="{FF2B5EF4-FFF2-40B4-BE49-F238E27FC236}">
                <a16:creationId xmlns:a16="http://schemas.microsoft.com/office/drawing/2014/main" id="{FC08ABD5-6ED5-D4AE-CBE5-14CE7E2F0C04}"/>
              </a:ext>
            </a:extLst>
          </p:cNvPr>
          <p:cNvSpPr>
            <a:spLocks noGrp="1"/>
          </p:cNvSpPr>
          <p:nvPr>
            <p:ph type="title" hasCustomPrompt="1"/>
          </p:nvPr>
        </p:nvSpPr>
        <p:spPr>
          <a:xfrm>
            <a:off x="442912" y="5778551"/>
            <a:ext cx="10727113" cy="595163"/>
          </a:xfrm>
        </p:spPr>
        <p:txBody>
          <a:bodyPr vert="horz"/>
          <a:lstStyle>
            <a:lvl1pPr rtl="0">
              <a:defRPr sz="4200" b="1" i="0">
                <a:solidFill>
                  <a:schemeClr val="tx2"/>
                </a:solidFill>
                <a:latin typeface="Aleo SemiBold" pitchFamily="2" charset="77"/>
              </a:defRPr>
            </a:lvl1pPr>
          </a:lstStyle>
          <a:p>
            <a:r>
              <a:rPr lang="en-US"/>
              <a:t>This is a Custom Divider Slide</a:t>
            </a:r>
          </a:p>
        </p:txBody>
      </p:sp>
      <p:sp>
        <p:nvSpPr>
          <p:cNvPr id="7" name="Inhaltsplatzhalter 18">
            <a:extLst>
              <a:ext uri="{FF2B5EF4-FFF2-40B4-BE49-F238E27FC236}">
                <a16:creationId xmlns:a16="http://schemas.microsoft.com/office/drawing/2014/main" id="{84D26D4B-53A9-A16C-368A-C2D36A8FC8CC}"/>
              </a:ext>
            </a:extLst>
          </p:cNvPr>
          <p:cNvSpPr>
            <a:spLocks noGrp="1"/>
          </p:cNvSpPr>
          <p:nvPr>
            <p:ph sz="quarter" idx="13" hasCustomPrompt="1"/>
          </p:nvPr>
        </p:nvSpPr>
        <p:spPr>
          <a:xfrm>
            <a:off x="442913" y="5418813"/>
            <a:ext cx="10727112" cy="215444"/>
          </a:xfrm>
        </p:spPr>
        <p:txBody>
          <a:bodyPr wrap="square">
            <a:spAutoFit/>
          </a:bodyPr>
          <a:lstStyle>
            <a:lvl1pPr rtl="0">
              <a:defRPr sz="14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a:t>SECTION TITLE GOES HERE</a:t>
            </a:r>
          </a:p>
        </p:txBody>
      </p:sp>
      <p:sp>
        <p:nvSpPr>
          <p:cNvPr id="12" name="Rectangle 11">
            <a:extLst>
              <a:ext uri="{FF2B5EF4-FFF2-40B4-BE49-F238E27FC236}">
                <a16:creationId xmlns:a16="http://schemas.microsoft.com/office/drawing/2014/main" id="{C440567A-A067-E987-95B6-1DBB038A6B94}"/>
              </a:ext>
            </a:extLst>
          </p:cNvPr>
          <p:cNvSpPr/>
          <p:nvPr userDrawn="1"/>
        </p:nvSpPr>
        <p:spPr>
          <a:xfrm rot="16200000">
            <a:off x="6029091" y="-1089104"/>
            <a:ext cx="133813" cy="12192000"/>
          </a:xfrm>
          <a:prstGeom prst="rect">
            <a:avLst/>
          </a:prstGeom>
          <a:gradFill>
            <a:gsLst>
              <a:gs pos="0">
                <a:schemeClr val="accent4"/>
              </a:gs>
              <a:gs pos="51000">
                <a:schemeClr val="accent1"/>
              </a:gs>
              <a:gs pos="100000">
                <a:schemeClr val="accent2"/>
              </a:gs>
            </a:gsLst>
            <a:lin ang="5400000" scaled="0"/>
          </a:gradFill>
          <a:ln>
            <a:noFill/>
          </a:ln>
          <a:effectLst>
            <a:outerShdw blurRad="419624" dist="101600" dir="5400000" sx="100175" sy="100175" algn="t" rotWithShape="0">
              <a:schemeClr val="accent1">
                <a:alpha val="29767"/>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2" name="Graphic 1">
            <a:extLst>
              <a:ext uri="{FF2B5EF4-FFF2-40B4-BE49-F238E27FC236}">
                <a16:creationId xmlns:a16="http://schemas.microsoft.com/office/drawing/2014/main" id="{D2E48547-F92C-F2B6-CBEF-A59FCAA2A44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64095" y="5940613"/>
            <a:ext cx="254097" cy="271037"/>
          </a:xfrm>
          <a:prstGeom prst="rect">
            <a:avLst/>
          </a:prstGeom>
        </p:spPr>
      </p:pic>
    </p:spTree>
    <p:extLst>
      <p:ext uri="{BB962C8B-B14F-4D97-AF65-F5344CB8AC3E}">
        <p14:creationId xmlns:p14="http://schemas.microsoft.com/office/powerpoint/2010/main" val="12670086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Left, Image Right, ">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6DC000B-7DC2-488D-E547-26E696605E72}"/>
              </a:ext>
            </a:extLst>
          </p:cNvPr>
          <p:cNvGraphicFramePr>
            <a:graphicFrameLocks noChangeAspect="1"/>
          </p:cNvGraphicFramePr>
          <p:nvPr userDrawn="1">
            <p:custDataLst>
              <p:tags r:id="rId1"/>
            </p:custDataLst>
            <p:extLst>
              <p:ext uri="{D42A27DB-BD31-4B8C-83A1-F6EECF244321}">
                <p14:modId xmlns:p14="http://schemas.microsoft.com/office/powerpoint/2010/main" val="182463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26DC000B-7DC2-488D-E547-26E696605E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Picture Placeholder 23">
            <a:extLst>
              <a:ext uri="{FF2B5EF4-FFF2-40B4-BE49-F238E27FC236}">
                <a16:creationId xmlns:a16="http://schemas.microsoft.com/office/drawing/2014/main" id="{236D318A-4294-DB3A-0F79-70449F4BF544}"/>
              </a:ext>
            </a:extLst>
          </p:cNvPr>
          <p:cNvSpPr>
            <a:spLocks noGrp="1"/>
          </p:cNvSpPr>
          <p:nvPr>
            <p:ph type="pic" sz="quarter" idx="14"/>
          </p:nvPr>
        </p:nvSpPr>
        <p:spPr>
          <a:xfrm>
            <a:off x="7543742" y="0"/>
            <a:ext cx="4648258" cy="6858000"/>
          </a:xfrm>
        </p:spPr>
        <p:txBody>
          <a:bodyPr/>
          <a:lstStyle/>
          <a:p>
            <a:endParaRPr lang="en-US"/>
          </a:p>
        </p:txBody>
      </p:sp>
      <p:sp>
        <p:nvSpPr>
          <p:cNvPr id="5" name="Rectangle 4">
            <a:extLst>
              <a:ext uri="{FF2B5EF4-FFF2-40B4-BE49-F238E27FC236}">
                <a16:creationId xmlns:a16="http://schemas.microsoft.com/office/drawing/2014/main" id="{3E64F303-A284-6404-7436-7C7C2B3C24F5}"/>
              </a:ext>
            </a:extLst>
          </p:cNvPr>
          <p:cNvSpPr/>
          <p:nvPr userDrawn="1"/>
        </p:nvSpPr>
        <p:spPr>
          <a:xfrm>
            <a:off x="7428063" y="8626"/>
            <a:ext cx="115679" cy="6858000"/>
          </a:xfrm>
          <a:prstGeom prst="rect">
            <a:avLst/>
          </a:prstGeom>
          <a:gradFill>
            <a:gsLst>
              <a:gs pos="0">
                <a:schemeClr val="accent4"/>
              </a:gs>
              <a:gs pos="51000">
                <a:schemeClr val="accent1"/>
              </a:gs>
              <a:gs pos="100000">
                <a:schemeClr val="accent2"/>
              </a:gs>
            </a:gsLst>
            <a:lin ang="5400000" scaled="0"/>
          </a:gradFill>
          <a:ln>
            <a:noFill/>
          </a:ln>
          <a:effectLst>
            <a:outerShdw blurRad="419100" dist="88900" dir="10800000" algn="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Inhaltsplatzhalter 18">
            <a:extLst>
              <a:ext uri="{FF2B5EF4-FFF2-40B4-BE49-F238E27FC236}">
                <a16:creationId xmlns:a16="http://schemas.microsoft.com/office/drawing/2014/main" id="{1D327B7B-C4AD-EBA0-1FF0-AF8DD18630D9}"/>
              </a:ext>
            </a:extLst>
          </p:cNvPr>
          <p:cNvSpPr>
            <a:spLocks noGrp="1"/>
          </p:cNvSpPr>
          <p:nvPr>
            <p:ph sz="quarter" idx="13" hasCustomPrompt="1"/>
          </p:nvPr>
        </p:nvSpPr>
        <p:spPr>
          <a:xfrm>
            <a:off x="442913" y="900768"/>
            <a:ext cx="6484098" cy="246221"/>
          </a:xfrm>
        </p:spPr>
        <p:txBody>
          <a:bodyPr wrap="square">
            <a:spAutoFit/>
          </a:bodyPr>
          <a:lstStyle>
            <a:lvl1pPr rtl="0">
              <a:defRPr sz="1600">
                <a:solidFill>
                  <a:schemeClr val="accent3"/>
                </a:solidFill>
              </a:defRPr>
            </a:lvl1pPr>
            <a:lvl2pPr marL="0" indent="0">
              <a:buNone/>
              <a:defRPr sz="2000">
                <a:solidFill>
                  <a:srgbClr val="16123F"/>
                </a:solidFill>
              </a:defRPr>
            </a:lvl2pPr>
            <a:lvl3pPr>
              <a:defRPr sz="2000">
                <a:solidFill>
                  <a:srgbClr val="16123F"/>
                </a:solidFill>
              </a:defRPr>
            </a:lvl3pPr>
            <a:lvl4pPr>
              <a:defRPr sz="2000">
                <a:solidFill>
                  <a:srgbClr val="16123F"/>
                </a:solidFill>
              </a:defRPr>
            </a:lvl4pPr>
            <a:lvl5pPr>
              <a:defRPr sz="2000">
                <a:solidFill>
                  <a:srgbClr val="16123F"/>
                </a:solidFill>
              </a:defRPr>
            </a:lvl5pPr>
          </a:lstStyle>
          <a:p>
            <a:pPr lvl="0"/>
            <a:r>
              <a:rPr lang="en-US" err="1"/>
              <a:t>Subheadline</a:t>
            </a:r>
            <a:r>
              <a:rPr lang="en-US"/>
              <a:t> copy goes here</a:t>
            </a:r>
          </a:p>
        </p:txBody>
      </p:sp>
      <p:sp>
        <p:nvSpPr>
          <p:cNvPr id="8" name="Inhaltsplatzhalter 18">
            <a:extLst>
              <a:ext uri="{FF2B5EF4-FFF2-40B4-BE49-F238E27FC236}">
                <a16:creationId xmlns:a16="http://schemas.microsoft.com/office/drawing/2014/main" id="{29BEC051-26CE-9CBA-1A36-F03698BE379A}"/>
              </a:ext>
            </a:extLst>
          </p:cNvPr>
          <p:cNvSpPr>
            <a:spLocks noGrp="1"/>
          </p:cNvSpPr>
          <p:nvPr>
            <p:ph sz="quarter" idx="12"/>
          </p:nvPr>
        </p:nvSpPr>
        <p:spPr>
          <a:xfrm>
            <a:off x="442914" y="1377108"/>
            <a:ext cx="6484097" cy="4931617"/>
          </a:xfrm>
        </p:spPr>
        <p:txBody>
          <a:bodyPr>
            <a:noAutofit/>
          </a:bodyPr>
          <a:lstStyle>
            <a:lvl1pPr rtl="0">
              <a:defRPr sz="1400">
                <a:solidFill>
                  <a:schemeClr val="tx1"/>
                </a:solidFill>
              </a:defRPr>
            </a:lvl1pPr>
            <a:lvl2pPr marL="179388" indent="-179388" rtl="0">
              <a:buClr>
                <a:schemeClr val="accent3"/>
              </a:buClr>
              <a:buFont typeface="Wingdings" pitchFamily="2" charset="2"/>
              <a:buChar char="§"/>
              <a:defRPr sz="1400">
                <a:solidFill>
                  <a:schemeClr val="tx1"/>
                </a:solidFill>
              </a:defRPr>
            </a:lvl2pPr>
            <a:lvl3pPr marL="358775" indent="-179388" rtl="0">
              <a:buClr>
                <a:schemeClr val="accent3"/>
              </a:buClr>
              <a:buFont typeface="Wingdings" pitchFamily="2" charset="2"/>
              <a:buChar char="§"/>
              <a:defRPr sz="1400">
                <a:solidFill>
                  <a:schemeClr val="tx1"/>
                </a:solidFill>
              </a:defRPr>
            </a:lvl3pPr>
            <a:lvl4pPr marL="536575" indent="-177800" rtl="0">
              <a:buClr>
                <a:schemeClr val="accent3"/>
              </a:buClr>
              <a:buFont typeface="Wingdings" pitchFamily="2" charset="2"/>
              <a:buChar char="§"/>
              <a:defRPr sz="1400">
                <a:solidFill>
                  <a:schemeClr val="tx1"/>
                </a:solidFill>
              </a:defRPr>
            </a:lvl4pPr>
            <a:lvl5pPr marL="715963" indent="-173038" rtl="0">
              <a:buClr>
                <a:schemeClr val="accent3"/>
              </a:buClr>
              <a:buFont typeface="Wingdings" pitchFamily="2" charset="2"/>
              <a:buChar cha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2599852B-5CB0-994B-7E48-193493A7373C}"/>
              </a:ext>
            </a:extLst>
          </p:cNvPr>
          <p:cNvSpPr>
            <a:spLocks noGrp="1"/>
          </p:cNvSpPr>
          <p:nvPr>
            <p:ph type="title" hasCustomPrompt="1"/>
          </p:nvPr>
        </p:nvSpPr>
        <p:spPr>
          <a:xfrm>
            <a:off x="442912" y="365922"/>
            <a:ext cx="6484097" cy="505844"/>
          </a:xfrm>
        </p:spPr>
        <p:txBody>
          <a:bodyPr/>
          <a:lstStyle/>
          <a:p>
            <a:r>
              <a:rPr lang="en-US"/>
              <a:t>Headline copy goes here</a:t>
            </a:r>
          </a:p>
        </p:txBody>
      </p:sp>
    </p:spTree>
    <p:extLst>
      <p:ext uri="{BB962C8B-B14F-4D97-AF65-F5344CB8AC3E}">
        <p14:creationId xmlns:p14="http://schemas.microsoft.com/office/powerpoint/2010/main" val="965403951"/>
      </p:ext>
    </p:extLst>
  </p:cSld>
  <p:clrMapOvr>
    <a:masterClrMapping/>
  </p:clrMapOvr>
  <p:extLst>
    <p:ext uri="{DCECCB84-F9BA-43D5-87BE-67443E8EF086}">
      <p15:sldGuideLst xmlns:p15="http://schemas.microsoft.com/office/powerpoint/2012/main">
        <p15:guide id="1" pos="3727">
          <p15:clr>
            <a:srgbClr val="FBAE40"/>
          </p15:clr>
        </p15:guide>
        <p15:guide id="2" pos="3953">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image" Target="../media/image10.png"/><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theme" Target="../theme/theme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8"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28FD225-94F0-0608-C5F3-6AB39D7CBD37}"/>
              </a:ext>
            </a:extLst>
          </p:cNvPr>
          <p:cNvPicPr>
            <a:picLocks noChangeAspect="1"/>
          </p:cNvPicPr>
          <p:nvPr userDrawn="1"/>
        </p:nvPicPr>
        <p:blipFill>
          <a:blip r:embed="rId40"/>
          <a:srcRect/>
          <a:stretch/>
        </p:blipFill>
        <p:spPr>
          <a:xfrm>
            <a:off x="0" y="0"/>
            <a:ext cx="12192000" cy="6858000"/>
          </a:xfrm>
          <a:prstGeom prst="rect">
            <a:avLst/>
          </a:prstGeom>
        </p:spPr>
      </p:pic>
      <p:graphicFrame>
        <p:nvGraphicFramePr>
          <p:cNvPr id="5" name="think-cell data - do not delete" hidden="1">
            <a:extLst>
              <a:ext uri="{FF2B5EF4-FFF2-40B4-BE49-F238E27FC236}">
                <a16:creationId xmlns:a16="http://schemas.microsoft.com/office/drawing/2014/main" id="{C392EB78-FFC2-84C5-AFE4-27594FD65D08}"/>
              </a:ext>
            </a:extLst>
          </p:cNvPr>
          <p:cNvGraphicFramePr>
            <a:graphicFrameLocks noChangeAspect="1"/>
          </p:cNvGraphicFramePr>
          <p:nvPr userDrawn="1">
            <p:custDataLst>
              <p:tags r:id="rId39"/>
            </p:custDataLst>
            <p:extLst>
              <p:ext uri="{D42A27DB-BD31-4B8C-83A1-F6EECF244321}">
                <p14:modId xmlns:p14="http://schemas.microsoft.com/office/powerpoint/2010/main" val="3431406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1" imgW="306" imgH="306" progId="TCLayout.ActiveDocument.1">
                  <p:embed/>
                </p:oleObj>
              </mc:Choice>
              <mc:Fallback>
                <p:oleObj name="think-cell Folie" r:id="rId41" imgW="306" imgH="306" progId="TCLayout.ActiveDocument.1">
                  <p:embed/>
                  <p:pic>
                    <p:nvPicPr>
                      <p:cNvPr id="5" name="think-cell data - do not delete" hidden="1">
                        <a:extLst>
                          <a:ext uri="{FF2B5EF4-FFF2-40B4-BE49-F238E27FC236}">
                            <a16:creationId xmlns:a16="http://schemas.microsoft.com/office/drawing/2014/main" id="{C392EB78-FFC2-84C5-AFE4-27594FD65D08}"/>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AE1F349-D890-129A-50D3-7A51B5D11664}"/>
              </a:ext>
            </a:extLst>
          </p:cNvPr>
          <p:cNvSpPr>
            <a:spLocks noGrp="1"/>
          </p:cNvSpPr>
          <p:nvPr>
            <p:ph type="title"/>
          </p:nvPr>
        </p:nvSpPr>
        <p:spPr>
          <a:xfrm>
            <a:off x="442912" y="365922"/>
            <a:ext cx="10756030" cy="505844"/>
          </a:xfrm>
          <a:prstGeom prst="rect">
            <a:avLst/>
          </a:prstGeom>
        </p:spPr>
        <p:txBody>
          <a:bodyPr vert="horz" wrap="square" lIns="0" tIns="0" rIns="0" bIns="0" rtlCol="0" anchor="t">
            <a:spAutoFit/>
          </a:bodyPr>
          <a:lstStyle/>
          <a:p>
            <a:r>
              <a:rPr lang="en-US"/>
              <a:t>Add a Headline Here</a:t>
            </a:r>
          </a:p>
        </p:txBody>
      </p:sp>
      <p:sp>
        <p:nvSpPr>
          <p:cNvPr id="3" name="Text Placeholder 2">
            <a:extLst>
              <a:ext uri="{FF2B5EF4-FFF2-40B4-BE49-F238E27FC236}">
                <a16:creationId xmlns:a16="http://schemas.microsoft.com/office/drawing/2014/main" id="{1B98B855-CF6F-60CD-1C25-F25C8AAE2445}"/>
              </a:ext>
            </a:extLst>
          </p:cNvPr>
          <p:cNvSpPr>
            <a:spLocks noGrp="1"/>
          </p:cNvSpPr>
          <p:nvPr>
            <p:ph type="body" idx="1"/>
          </p:nvPr>
        </p:nvSpPr>
        <p:spPr>
          <a:xfrm>
            <a:off x="442912" y="1592263"/>
            <a:ext cx="11306175" cy="977191"/>
          </a:xfrm>
          <a:prstGeom prst="rect">
            <a:avLst/>
          </a:prstGeom>
        </p:spPr>
        <p:txBody>
          <a:bodyPr vert="horz" wrap="square" lIns="0" tIns="0" rIns="0" bIns="0" rtlCol="0" anchor="t">
            <a:spAutoFit/>
          </a:bodyPr>
          <a:lstStyle/>
          <a:p>
            <a:pPr lvl="0"/>
            <a:r>
              <a:rPr lang="en-US"/>
              <a:t>Click to edit Master text styles</a:t>
            </a:r>
          </a:p>
          <a:p>
            <a:pPr lvl="2"/>
            <a:r>
              <a:rPr lang="en-US"/>
              <a:t>Second level</a:t>
            </a:r>
          </a:p>
          <a:p>
            <a:pPr lvl="3"/>
            <a:r>
              <a:rPr lang="en-US"/>
              <a:t>Third level</a:t>
            </a:r>
          </a:p>
          <a:p>
            <a:pPr lvl="4"/>
            <a:r>
              <a:rPr lang="en-US"/>
              <a:t>Fourth level</a:t>
            </a:r>
          </a:p>
        </p:txBody>
      </p:sp>
      <p:sp>
        <p:nvSpPr>
          <p:cNvPr id="6" name="Slide Number Placeholder 5">
            <a:extLst>
              <a:ext uri="{FF2B5EF4-FFF2-40B4-BE49-F238E27FC236}">
                <a16:creationId xmlns:a16="http://schemas.microsoft.com/office/drawing/2014/main" id="{57D77C4E-12E8-BDA0-58E4-F15300690591}"/>
              </a:ext>
            </a:extLst>
          </p:cNvPr>
          <p:cNvSpPr>
            <a:spLocks noGrp="1"/>
          </p:cNvSpPr>
          <p:nvPr>
            <p:ph type="sldNum" sz="quarter" idx="4"/>
          </p:nvPr>
        </p:nvSpPr>
        <p:spPr>
          <a:xfrm>
            <a:off x="9122688" y="6984286"/>
            <a:ext cx="2743200" cy="153888"/>
          </a:xfrm>
          <a:prstGeom prst="rect">
            <a:avLst/>
          </a:prstGeom>
        </p:spPr>
        <p:txBody>
          <a:bodyPr vert="horz" lIns="0" tIns="0" rIns="0" bIns="0" rtlCol="0" anchor="ctr">
            <a:spAutoFit/>
          </a:bodyPr>
          <a:lstStyle>
            <a:lvl1pPr algn="r" rtl="0">
              <a:defRPr sz="1000">
                <a:solidFill>
                  <a:schemeClr val="tx1"/>
                </a:solidFill>
                <a:latin typeface="+mn-lt"/>
              </a:defRPr>
            </a:lvl1pPr>
          </a:lstStyle>
          <a:p>
            <a:fld id="{5B4D52F7-6CDF-3B46-A902-777D482A250E}" type="slidenum">
              <a:rPr lang="en-US" smtClean="0"/>
              <a:pPr/>
              <a:t>‹#›</a:t>
            </a:fld>
            <a:endParaRPr lang="en-US"/>
          </a:p>
        </p:txBody>
      </p:sp>
    </p:spTree>
    <p:extLst>
      <p:ext uri="{BB962C8B-B14F-4D97-AF65-F5344CB8AC3E}">
        <p14:creationId xmlns:p14="http://schemas.microsoft.com/office/powerpoint/2010/main" val="2905065299"/>
      </p:ext>
    </p:extLst>
  </p:cSld>
  <p:clrMap bg1="dk1" tx1="lt1" bg2="dk2" tx2="lt2" accent1="accent1" accent2="accent2" accent3="accent3" accent4="accent4" accent5="accent5" accent6="accent6" hlink="hlink" folHlink="folHlink"/>
  <p:sldLayoutIdLst>
    <p:sldLayoutId id="2147483718" r:id="rId1"/>
    <p:sldLayoutId id="2147483739" r:id="rId2"/>
    <p:sldLayoutId id="2147483744" r:id="rId3"/>
    <p:sldLayoutId id="2147483745" r:id="rId4"/>
    <p:sldLayoutId id="2147483746" r:id="rId5"/>
    <p:sldLayoutId id="2147483762" r:id="rId6"/>
    <p:sldLayoutId id="2147483725" r:id="rId7"/>
    <p:sldLayoutId id="2147483733" r:id="rId8"/>
    <p:sldLayoutId id="2147483724" r:id="rId9"/>
    <p:sldLayoutId id="2147483799" r:id="rId10"/>
    <p:sldLayoutId id="2147483720" r:id="rId11"/>
    <p:sldLayoutId id="2147483721" r:id="rId12"/>
    <p:sldLayoutId id="2147483736" r:id="rId13"/>
    <p:sldLayoutId id="2147483737" r:id="rId14"/>
    <p:sldLayoutId id="2147483751" r:id="rId15"/>
    <p:sldLayoutId id="2147483752" r:id="rId16"/>
    <p:sldLayoutId id="2147483753" r:id="rId17"/>
    <p:sldLayoutId id="2147483750" r:id="rId18"/>
    <p:sldLayoutId id="2147483749" r:id="rId19"/>
    <p:sldLayoutId id="2147483735" r:id="rId20"/>
    <p:sldLayoutId id="2147483748" r:id="rId21"/>
    <p:sldLayoutId id="2147483741" r:id="rId22"/>
    <p:sldLayoutId id="2147483747" r:id="rId23"/>
    <p:sldLayoutId id="2147483755" r:id="rId24"/>
    <p:sldLayoutId id="2147483756" r:id="rId25"/>
    <p:sldLayoutId id="2147483757" r:id="rId26"/>
    <p:sldLayoutId id="2147483758" r:id="rId27"/>
    <p:sldLayoutId id="2147483759" r:id="rId28"/>
    <p:sldLayoutId id="2147483760" r:id="rId29"/>
    <p:sldLayoutId id="2147483761" r:id="rId30"/>
    <p:sldLayoutId id="2147483740" r:id="rId31"/>
    <p:sldLayoutId id="2147483742" r:id="rId32"/>
    <p:sldLayoutId id="2147483738" r:id="rId33"/>
    <p:sldLayoutId id="2147483802" r:id="rId34"/>
    <p:sldLayoutId id="2147483803" r:id="rId35"/>
    <p:sldLayoutId id="2147483805" r:id="rId36"/>
    <p:sldLayoutId id="2147483806" r:id="rId37"/>
  </p:sldLayoutIdLst>
  <p:hf hdr="0" dt="0"/>
  <p:txStyles>
    <p:titleStyle>
      <a:lvl1pPr algn="l" defTabSz="914400" rtl="0" eaLnBrk="1" latinLnBrk="0" hangingPunct="1">
        <a:lnSpc>
          <a:spcPct val="90000"/>
        </a:lnSpc>
        <a:spcBef>
          <a:spcPct val="0"/>
        </a:spcBef>
        <a:buNone/>
        <a:defRPr sz="3600" b="1" i="0" kern="1200">
          <a:solidFill>
            <a:schemeClr val="tx1"/>
          </a:solidFill>
          <a:latin typeface="Aleo SemiBold" pitchFamily="2" charset="77"/>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400" b="0" i="0" kern="1200">
          <a:solidFill>
            <a:schemeClr val="tx1"/>
          </a:solidFill>
          <a:latin typeface="+mn-lt"/>
          <a:ea typeface="+mn-ea"/>
          <a:cs typeface="+mn-cs"/>
        </a:defRPr>
      </a:lvl1pPr>
      <a:lvl2pPr marL="285750" indent="-285750" algn="l" defTabSz="914400" rtl="0" eaLnBrk="1" latinLnBrk="0" hangingPunct="1">
        <a:lnSpc>
          <a:spcPct val="100000"/>
        </a:lnSpc>
        <a:spcBef>
          <a:spcPts val="300"/>
        </a:spcBef>
        <a:buSzPct val="100000"/>
        <a:buFont typeface="Arial" panose="020B0604020202020204" pitchFamily="34" charset="0"/>
        <a:buChar char="•"/>
        <a:defRPr sz="1400" b="0" i="0" kern="1200">
          <a:solidFill>
            <a:schemeClr val="tx1"/>
          </a:solidFill>
          <a:latin typeface="+mn-lt"/>
          <a:ea typeface="+mn-ea"/>
          <a:cs typeface="+mn-cs"/>
        </a:defRPr>
      </a:lvl2pPr>
      <a:lvl3pPr marL="465137" indent="-285750" algn="l" defTabSz="914400" rtl="0" eaLnBrk="1" latinLnBrk="0" hangingPunct="1">
        <a:lnSpc>
          <a:spcPct val="100000"/>
        </a:lnSpc>
        <a:spcBef>
          <a:spcPts val="300"/>
        </a:spcBef>
        <a:buClr>
          <a:schemeClr val="accent3"/>
        </a:buClr>
        <a:buFont typeface="Wingdings" pitchFamily="2" charset="2"/>
        <a:buChar char="§"/>
        <a:defRPr sz="1400" b="0" i="0" kern="1200">
          <a:solidFill>
            <a:schemeClr val="tx1"/>
          </a:solidFill>
          <a:latin typeface="+mn-lt"/>
          <a:ea typeface="+mn-ea"/>
          <a:cs typeface="+mn-cs"/>
        </a:defRPr>
      </a:lvl3pPr>
      <a:lvl4pPr marL="644525" indent="-285750" algn="l" defTabSz="914400" rtl="0" eaLnBrk="1" latinLnBrk="0" hangingPunct="1">
        <a:lnSpc>
          <a:spcPct val="100000"/>
        </a:lnSpc>
        <a:spcBef>
          <a:spcPts val="300"/>
        </a:spcBef>
        <a:buClr>
          <a:schemeClr val="accent3"/>
        </a:buClr>
        <a:buFont typeface="Wingdings" pitchFamily="2" charset="2"/>
        <a:buChar char="§"/>
        <a:defRPr sz="1400" b="0" i="0" kern="1200">
          <a:solidFill>
            <a:schemeClr val="tx1"/>
          </a:solidFill>
          <a:latin typeface="+mn-lt"/>
          <a:ea typeface="+mn-ea"/>
          <a:cs typeface="+mn-cs"/>
        </a:defRPr>
      </a:lvl4pPr>
      <a:lvl5pPr marL="828675" indent="-285750" algn="l" defTabSz="914400" rtl="0" eaLnBrk="1" latinLnBrk="0" hangingPunct="1">
        <a:lnSpc>
          <a:spcPct val="100000"/>
        </a:lnSpc>
        <a:spcBef>
          <a:spcPts val="300"/>
        </a:spcBef>
        <a:buClr>
          <a:schemeClr val="accent3"/>
        </a:buClr>
        <a:buFont typeface="Wingdings" pitchFamily="2" charset="2"/>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3" userDrawn="1">
          <p15:clr>
            <a:srgbClr val="F26B43"/>
          </p15:clr>
        </p15:guide>
        <p15:guide id="2" pos="279" userDrawn="1">
          <p15:clr>
            <a:srgbClr val="F26B43"/>
          </p15:clr>
        </p15:guide>
        <p15:guide id="3" pos="7401" userDrawn="1">
          <p15:clr>
            <a:srgbClr val="F26B43"/>
          </p15:clr>
        </p15:guide>
        <p15:guide id="4" orient="horz" pos="397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A close up of a white and blue background&#10;&#10;Description automatically generated">
            <a:extLst>
              <a:ext uri="{FF2B5EF4-FFF2-40B4-BE49-F238E27FC236}">
                <a16:creationId xmlns:a16="http://schemas.microsoft.com/office/drawing/2014/main" id="{C176D5F1-5BD5-A3CF-DD49-B9117583800F}"/>
              </a:ext>
            </a:extLst>
          </p:cNvPr>
          <p:cNvPicPr>
            <a:picLocks noChangeAspect="1"/>
          </p:cNvPicPr>
          <p:nvPr userDrawn="1"/>
        </p:nvPicPr>
        <p:blipFill>
          <a:blip r:embed="rId34"/>
          <a:stretch>
            <a:fillRect/>
          </a:stretch>
        </p:blipFill>
        <p:spPr>
          <a:xfrm>
            <a:off x="0" y="0"/>
            <a:ext cx="12192000" cy="6858000"/>
          </a:xfrm>
          <a:prstGeom prst="rect">
            <a:avLst/>
          </a:prstGeom>
        </p:spPr>
      </p:pic>
      <p:sp>
        <p:nvSpPr>
          <p:cNvPr id="2" name="Title Placeholder 1">
            <a:extLst>
              <a:ext uri="{FF2B5EF4-FFF2-40B4-BE49-F238E27FC236}">
                <a16:creationId xmlns:a16="http://schemas.microsoft.com/office/drawing/2014/main" id="{7EE08107-4F44-C3A9-2B89-D5275DD4DBD3}"/>
              </a:ext>
            </a:extLst>
          </p:cNvPr>
          <p:cNvSpPr>
            <a:spLocks noGrp="1"/>
          </p:cNvSpPr>
          <p:nvPr>
            <p:ph type="title"/>
          </p:nvPr>
        </p:nvSpPr>
        <p:spPr>
          <a:xfrm>
            <a:off x="465337" y="365126"/>
            <a:ext cx="10752560" cy="506942"/>
          </a:xfrm>
          <a:prstGeom prst="rect">
            <a:avLst/>
          </a:prstGeom>
        </p:spPr>
        <p:txBody>
          <a:bodyPr vert="horz" lIns="0" tIns="0" rIns="0" bIns="0" rtlCol="0" anchor="t">
            <a:noAutofit/>
          </a:bodyPr>
          <a:lstStyle/>
          <a:p>
            <a:r>
              <a:rPr lang="en-US"/>
              <a:t>Add a Headline Here</a:t>
            </a:r>
          </a:p>
        </p:txBody>
      </p:sp>
      <p:sp>
        <p:nvSpPr>
          <p:cNvPr id="3" name="Text Placeholder 2">
            <a:extLst>
              <a:ext uri="{FF2B5EF4-FFF2-40B4-BE49-F238E27FC236}">
                <a16:creationId xmlns:a16="http://schemas.microsoft.com/office/drawing/2014/main" id="{B1EA1021-85F3-9995-BDF5-93CB40902A4F}"/>
              </a:ext>
            </a:extLst>
          </p:cNvPr>
          <p:cNvSpPr>
            <a:spLocks noGrp="1"/>
          </p:cNvSpPr>
          <p:nvPr>
            <p:ph type="body" idx="1"/>
          </p:nvPr>
        </p:nvSpPr>
        <p:spPr>
          <a:xfrm>
            <a:off x="465337" y="1387695"/>
            <a:ext cx="11137778" cy="478926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4260500"/>
      </p:ext>
    </p:extLst>
  </p:cSld>
  <p:clrMap bg1="lt1" tx1="dk1" bg2="lt2" tx2="dk2" accent1="accent1" accent2="accent2" accent3="accent3" accent4="accent4" accent5="accent5" accent6="accent6" hlink="hlink" folHlink="folHlink"/>
  <p:sldLayoutIdLst>
    <p:sldLayoutId id="2147483765" r:id="rId1"/>
    <p:sldLayoutId id="2147483767" r:id="rId2"/>
    <p:sldLayoutId id="2147483768" r:id="rId3"/>
    <p:sldLayoutId id="2147483770" r:id="rId4"/>
    <p:sldLayoutId id="2147483771" r:id="rId5"/>
    <p:sldLayoutId id="2147483773" r:id="rId6"/>
    <p:sldLayoutId id="2147483772" r:id="rId7"/>
    <p:sldLayoutId id="2147483774" r:id="rId8"/>
    <p:sldLayoutId id="2147483775" r:id="rId9"/>
    <p:sldLayoutId id="2147483800"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 id="2147483793" r:id="rId28"/>
    <p:sldLayoutId id="2147483794" r:id="rId29"/>
    <p:sldLayoutId id="2147483795" r:id="rId30"/>
    <p:sldLayoutId id="2147483798" r:id="rId31"/>
    <p:sldLayoutId id="2147483796" r:id="rId32"/>
  </p:sldLayoutIdLst>
  <p:txStyles>
    <p:titleStyle>
      <a:lvl1pPr algn="l" defTabSz="914400" rtl="0" eaLnBrk="1" latinLnBrk="0" hangingPunct="1">
        <a:lnSpc>
          <a:spcPct val="80000"/>
        </a:lnSpc>
        <a:spcBef>
          <a:spcPct val="0"/>
        </a:spcBef>
        <a:buNone/>
        <a:defRPr sz="3600" b="1" i="0" kern="1200">
          <a:solidFill>
            <a:schemeClr val="accent4"/>
          </a:solidFill>
          <a:latin typeface="Aleo SemiBold" pitchFamily="2" charset="77"/>
          <a:ea typeface="+mj-ea"/>
          <a:cs typeface="+mj-cs"/>
        </a:defRPr>
      </a:lvl1pPr>
    </p:titleStyle>
    <p:bodyStyle>
      <a:lvl1pPr marL="0" indent="0" algn="l" defTabSz="914400" rtl="0" eaLnBrk="1" latinLnBrk="0" hangingPunct="1">
        <a:lnSpc>
          <a:spcPct val="90000"/>
        </a:lnSpc>
        <a:spcBef>
          <a:spcPts val="1000"/>
        </a:spcBef>
        <a:buClr>
          <a:schemeClr val="accent1"/>
        </a:buClr>
        <a:buFont typeface="Wingdings" pitchFamily="2" charset="2"/>
        <a:buNone/>
        <a:defRPr sz="1400" kern="1200">
          <a:solidFill>
            <a:schemeClr val="tx1"/>
          </a:solidFill>
          <a:latin typeface="DM Sans" pitchFamily="2" charset="77"/>
          <a:ea typeface="+mn-ea"/>
          <a:cs typeface="+mn-cs"/>
        </a:defRPr>
      </a:lvl1pPr>
      <a:lvl2pPr marL="6858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2pPr>
      <a:lvl3pPr marL="11430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3pPr>
      <a:lvl4pPr marL="16002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4pPr>
      <a:lvl5pPr marL="2057400" indent="-228600" algn="l" defTabSz="914400" rtl="0" eaLnBrk="1" latinLnBrk="0" hangingPunct="1">
        <a:lnSpc>
          <a:spcPct val="90000"/>
        </a:lnSpc>
        <a:spcBef>
          <a:spcPts val="500"/>
        </a:spcBef>
        <a:buClr>
          <a:schemeClr val="accent1"/>
        </a:buClr>
        <a:buFont typeface="Wingdings" pitchFamily="2" charset="2"/>
        <a:buChar char="§"/>
        <a:defRPr sz="1400" kern="1200">
          <a:solidFill>
            <a:schemeClr val="tx1"/>
          </a:solidFill>
          <a:latin typeface="DM Sans"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20.xml"/><Relationship Id="rId5" Type="http://schemas.openxmlformats.org/officeDocument/2006/relationships/image" Target="../media/image5.sv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2.xml"/><Relationship Id="rId1" Type="http://schemas.openxmlformats.org/officeDocument/2006/relationships/slideLayout" Target="../slideLayouts/slideLayout20.xml"/><Relationship Id="rId5" Type="http://schemas.openxmlformats.org/officeDocument/2006/relationships/image" Target="../media/image5.sv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4.xml"/><Relationship Id="rId1" Type="http://schemas.openxmlformats.org/officeDocument/2006/relationships/slideLayout" Target="../slideLayouts/slideLayout20.xml"/><Relationship Id="rId5" Type="http://schemas.openxmlformats.org/officeDocument/2006/relationships/image" Target="../media/image5.sv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20.xml"/><Relationship Id="rId5" Type="http://schemas.openxmlformats.org/officeDocument/2006/relationships/image" Target="../media/image5.svg"/><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7.xml"/><Relationship Id="rId1" Type="http://schemas.openxmlformats.org/officeDocument/2006/relationships/tags" Target="../tags/tag63.x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0.xml"/><Relationship Id="rId1" Type="http://schemas.openxmlformats.org/officeDocument/2006/relationships/slideLayout" Target="../slideLayouts/slideLayout20.xml"/><Relationship Id="rId5" Type="http://schemas.openxmlformats.org/officeDocument/2006/relationships/image" Target="../media/image5.sv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3" Type="http://schemas.microsoft.com/office/2007/relationships/hdphoto" Target="../media/hdphoto6.wdp"/><Relationship Id="rId18" Type="http://schemas.openxmlformats.org/officeDocument/2006/relationships/image" Target="../media/image34.png"/><Relationship Id="rId26" Type="http://schemas.openxmlformats.org/officeDocument/2006/relationships/image" Target="../media/image38.png"/><Relationship Id="rId39" Type="http://schemas.openxmlformats.org/officeDocument/2006/relationships/image" Target="../media/image45.svg"/><Relationship Id="rId21" Type="http://schemas.microsoft.com/office/2007/relationships/hdphoto" Target="../media/hdphoto10.wdp"/><Relationship Id="rId34" Type="http://schemas.openxmlformats.org/officeDocument/2006/relationships/image" Target="../media/image42.png"/><Relationship Id="rId42" Type="http://schemas.openxmlformats.org/officeDocument/2006/relationships/image" Target="../media/image47.png"/><Relationship Id="rId47" Type="http://schemas.openxmlformats.org/officeDocument/2006/relationships/image" Target="../media/image50.png"/><Relationship Id="rId50" Type="http://schemas.microsoft.com/office/2007/relationships/hdphoto" Target="../media/hdphoto22.wdp"/><Relationship Id="rId7" Type="http://schemas.microsoft.com/office/2007/relationships/hdphoto" Target="../media/hdphoto3.wdp"/><Relationship Id="rId2" Type="http://schemas.openxmlformats.org/officeDocument/2006/relationships/image" Target="../media/image26.png"/><Relationship Id="rId16" Type="http://schemas.openxmlformats.org/officeDocument/2006/relationships/image" Target="../media/image33.png"/><Relationship Id="rId29" Type="http://schemas.microsoft.com/office/2007/relationships/hdphoto" Target="../media/hdphoto14.wdp"/><Relationship Id="rId11" Type="http://schemas.microsoft.com/office/2007/relationships/hdphoto" Target="../media/hdphoto5.wdp"/><Relationship Id="rId24" Type="http://schemas.openxmlformats.org/officeDocument/2006/relationships/image" Target="../media/image37.png"/><Relationship Id="rId32" Type="http://schemas.openxmlformats.org/officeDocument/2006/relationships/image" Target="../media/image41.png"/><Relationship Id="rId37" Type="http://schemas.microsoft.com/office/2007/relationships/hdphoto" Target="../media/hdphoto18.wdp"/><Relationship Id="rId40" Type="http://schemas.openxmlformats.org/officeDocument/2006/relationships/image" Target="../media/image46.png"/><Relationship Id="rId45" Type="http://schemas.openxmlformats.org/officeDocument/2006/relationships/image" Target="../media/image49.png"/><Relationship Id="rId5" Type="http://schemas.microsoft.com/office/2007/relationships/hdphoto" Target="../media/hdphoto2.wdp"/><Relationship Id="rId15" Type="http://schemas.microsoft.com/office/2007/relationships/hdphoto" Target="../media/hdphoto7.wdp"/><Relationship Id="rId23" Type="http://schemas.microsoft.com/office/2007/relationships/hdphoto" Target="../media/hdphoto11.wdp"/><Relationship Id="rId28" Type="http://schemas.openxmlformats.org/officeDocument/2006/relationships/image" Target="../media/image39.png"/><Relationship Id="rId36" Type="http://schemas.openxmlformats.org/officeDocument/2006/relationships/image" Target="../media/image43.png"/><Relationship Id="rId49" Type="http://schemas.openxmlformats.org/officeDocument/2006/relationships/image" Target="../media/image52.png"/><Relationship Id="rId10" Type="http://schemas.openxmlformats.org/officeDocument/2006/relationships/image" Target="../media/image30.png"/><Relationship Id="rId19" Type="http://schemas.microsoft.com/office/2007/relationships/hdphoto" Target="../media/hdphoto9.wdp"/><Relationship Id="rId31" Type="http://schemas.microsoft.com/office/2007/relationships/hdphoto" Target="../media/hdphoto15.wdp"/><Relationship Id="rId44" Type="http://schemas.microsoft.com/office/2007/relationships/hdphoto" Target="../media/hdphoto20.wdp"/><Relationship Id="rId4" Type="http://schemas.openxmlformats.org/officeDocument/2006/relationships/image" Target="../media/image27.png"/><Relationship Id="rId9" Type="http://schemas.microsoft.com/office/2007/relationships/hdphoto" Target="../media/hdphoto4.wdp"/><Relationship Id="rId14" Type="http://schemas.openxmlformats.org/officeDocument/2006/relationships/image" Target="../media/image32.png"/><Relationship Id="rId22" Type="http://schemas.openxmlformats.org/officeDocument/2006/relationships/image" Target="../media/image36.png"/><Relationship Id="rId27" Type="http://schemas.microsoft.com/office/2007/relationships/hdphoto" Target="../media/hdphoto13.wdp"/><Relationship Id="rId30" Type="http://schemas.openxmlformats.org/officeDocument/2006/relationships/image" Target="../media/image40.png"/><Relationship Id="rId35" Type="http://schemas.microsoft.com/office/2007/relationships/hdphoto" Target="../media/hdphoto17.wdp"/><Relationship Id="rId43" Type="http://schemas.openxmlformats.org/officeDocument/2006/relationships/image" Target="../media/image48.png"/><Relationship Id="rId48" Type="http://schemas.openxmlformats.org/officeDocument/2006/relationships/image" Target="../media/image51.svg"/><Relationship Id="rId8" Type="http://schemas.openxmlformats.org/officeDocument/2006/relationships/image" Target="../media/image29.png"/><Relationship Id="rId51" Type="http://schemas.openxmlformats.org/officeDocument/2006/relationships/image" Target="../media/image53.png"/><Relationship Id="rId3" Type="http://schemas.microsoft.com/office/2007/relationships/hdphoto" Target="../media/hdphoto1.wdp"/><Relationship Id="rId12" Type="http://schemas.openxmlformats.org/officeDocument/2006/relationships/image" Target="../media/image31.png"/><Relationship Id="rId17" Type="http://schemas.microsoft.com/office/2007/relationships/hdphoto" Target="../media/hdphoto8.wdp"/><Relationship Id="rId25" Type="http://schemas.microsoft.com/office/2007/relationships/hdphoto" Target="../media/hdphoto12.wdp"/><Relationship Id="rId33" Type="http://schemas.microsoft.com/office/2007/relationships/hdphoto" Target="../media/hdphoto16.wdp"/><Relationship Id="rId38" Type="http://schemas.openxmlformats.org/officeDocument/2006/relationships/image" Target="../media/image44.png"/><Relationship Id="rId46" Type="http://schemas.microsoft.com/office/2007/relationships/hdphoto" Target="../media/hdphoto21.wdp"/><Relationship Id="rId20" Type="http://schemas.openxmlformats.org/officeDocument/2006/relationships/image" Target="../media/image35.png"/><Relationship Id="rId41" Type="http://schemas.microsoft.com/office/2007/relationships/hdphoto" Target="../media/hdphoto19.wdp"/><Relationship Id="rId1" Type="http://schemas.openxmlformats.org/officeDocument/2006/relationships/slideLayout" Target="../slideLayouts/slideLayout31.xml"/><Relationship Id="rId6" Type="http://schemas.openxmlformats.org/officeDocument/2006/relationships/image" Target="../media/image28.png"/></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Layout" Target="../slideLayouts/slideLayout11.xml"/><Relationship Id="rId6" Type="http://schemas.openxmlformats.org/officeDocument/2006/relationships/image" Target="../media/image58.jpeg"/><Relationship Id="rId5" Type="http://schemas.openxmlformats.org/officeDocument/2006/relationships/image" Target="../media/image57.png"/><Relationship Id="rId4"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4.xml"/><Relationship Id="rId1" Type="http://schemas.openxmlformats.org/officeDocument/2006/relationships/slideLayout" Target="../slideLayouts/slideLayout20.xml"/><Relationship Id="rId5" Type="http://schemas.openxmlformats.org/officeDocument/2006/relationships/image" Target="../media/image5.sv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20.xml"/><Relationship Id="rId5" Type="http://schemas.openxmlformats.org/officeDocument/2006/relationships/image" Target="../media/image5.sv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47AFBD-35ED-9218-F151-8AFC212026D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3E232DC-8123-49D8-38AD-5174907BA420}"/>
              </a:ext>
            </a:extLst>
          </p:cNvPr>
          <p:cNvSpPr>
            <a:spLocks noGrp="1"/>
          </p:cNvSpPr>
          <p:nvPr>
            <p:ph type="ctrTitle"/>
          </p:nvPr>
        </p:nvSpPr>
        <p:spPr>
          <a:xfrm>
            <a:off x="617132" y="2918861"/>
            <a:ext cx="9857828" cy="1681229"/>
          </a:xfrm>
        </p:spPr>
        <p:txBody>
          <a:bodyPr/>
          <a:lstStyle/>
          <a:p>
            <a:r>
              <a:rPr lang="en-US" sz="6000" dirty="0">
                <a:latin typeface="Aleo"/>
              </a:rPr>
              <a:t>Threat Intelligence Report</a:t>
            </a:r>
          </a:p>
        </p:txBody>
      </p:sp>
      <p:sp>
        <p:nvSpPr>
          <p:cNvPr id="2" name="Title 3">
            <a:extLst>
              <a:ext uri="{FF2B5EF4-FFF2-40B4-BE49-F238E27FC236}">
                <a16:creationId xmlns:a16="http://schemas.microsoft.com/office/drawing/2014/main" id="{92EF8FC6-9668-B475-DF6C-FC2AC44B72FB}"/>
              </a:ext>
            </a:extLst>
          </p:cNvPr>
          <p:cNvSpPr txBox="1">
            <a:spLocks/>
          </p:cNvSpPr>
          <p:nvPr/>
        </p:nvSpPr>
        <p:spPr>
          <a:xfrm>
            <a:off x="617132" y="3759475"/>
            <a:ext cx="9857828" cy="45345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800" b="0" i="0" kern="1200">
                <a:solidFill>
                  <a:schemeClr val="tx1"/>
                </a:solidFill>
                <a:latin typeface="Aleo SemiBold" pitchFamily="2" charset="77"/>
                <a:ea typeface="+mj-ea"/>
                <a:cs typeface="+mj-cs"/>
              </a:defRPr>
            </a:lvl1pPr>
          </a:lstStyle>
          <a:p>
            <a:r>
              <a:rPr lang="de-DE" sz="3200" dirty="0">
                <a:solidFill>
                  <a:schemeClr val="accent3"/>
                </a:solidFill>
                <a:latin typeface="Aleo"/>
              </a:rPr>
              <a:t>Trends und Verteidigungsstrategien für CISOs</a:t>
            </a:r>
            <a:endParaRPr lang="en-US" sz="3200" dirty="0">
              <a:solidFill>
                <a:schemeClr val="accent3"/>
              </a:solidFill>
              <a:latin typeface="Aleo"/>
            </a:endParaRPr>
          </a:p>
        </p:txBody>
      </p:sp>
    </p:spTree>
    <p:extLst>
      <p:ext uri="{BB962C8B-B14F-4D97-AF65-F5344CB8AC3E}">
        <p14:creationId xmlns:p14="http://schemas.microsoft.com/office/powerpoint/2010/main" val="335173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024EE9-B686-80B8-0845-C147443C23D9}"/>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B1A1D3EE-BCAB-8764-0F83-67FB9B3FEF6F}"/>
              </a:ext>
            </a:extLst>
          </p:cNvPr>
          <p:cNvPicPr>
            <a:picLocks noChangeAspect="1"/>
          </p:cNvPicPr>
          <p:nvPr/>
        </p:nvPicPr>
        <p:blipFill>
          <a:blip r:embed="rId3">
            <a:alphaModFix amt="18000"/>
          </a:blip>
          <a:srcRect l="4133" r="4133"/>
          <a:stretch/>
        </p:blipFill>
        <p:spPr>
          <a:xfrm>
            <a:off x="0" y="0"/>
            <a:ext cx="12192000" cy="6858001"/>
          </a:xfrm>
          <a:prstGeom prst="rect">
            <a:avLst/>
          </a:prstGeom>
        </p:spPr>
      </p:pic>
      <p:sp>
        <p:nvSpPr>
          <p:cNvPr id="3" name="Title 2">
            <a:extLst>
              <a:ext uri="{FF2B5EF4-FFF2-40B4-BE49-F238E27FC236}">
                <a16:creationId xmlns:a16="http://schemas.microsoft.com/office/drawing/2014/main" id="{7F11399D-EACA-061F-B7FF-7794E4FB5E56}"/>
              </a:ext>
            </a:extLst>
          </p:cNvPr>
          <p:cNvSpPr>
            <a:spLocks noGrp="1"/>
          </p:cNvSpPr>
          <p:nvPr>
            <p:ph type="title"/>
          </p:nvPr>
        </p:nvSpPr>
        <p:spPr>
          <a:xfrm>
            <a:off x="2024701" y="3056308"/>
            <a:ext cx="8142598" cy="1477328"/>
          </a:xfrm>
        </p:spPr>
        <p:txBody>
          <a:bodyPr/>
          <a:lstStyle/>
          <a:p>
            <a:r>
              <a:rPr lang="en-US" sz="4800" dirty="0"/>
              <a:t>Leveraging Built-in Microsoft Tools</a:t>
            </a:r>
          </a:p>
        </p:txBody>
      </p:sp>
      <p:sp>
        <p:nvSpPr>
          <p:cNvPr id="4" name="Text Placeholder 3">
            <a:extLst>
              <a:ext uri="{FF2B5EF4-FFF2-40B4-BE49-F238E27FC236}">
                <a16:creationId xmlns:a16="http://schemas.microsoft.com/office/drawing/2014/main" id="{C34A987E-55BB-1658-3C79-74624C1F0B49}"/>
              </a:ext>
            </a:extLst>
          </p:cNvPr>
          <p:cNvSpPr>
            <a:spLocks noGrp="1"/>
          </p:cNvSpPr>
          <p:nvPr>
            <p:ph type="body" sz="quarter" idx="10"/>
          </p:nvPr>
        </p:nvSpPr>
        <p:spPr>
          <a:xfrm>
            <a:off x="1244600" y="2730426"/>
            <a:ext cx="9702800" cy="215444"/>
          </a:xfrm>
        </p:spPr>
        <p:txBody>
          <a:bodyPr/>
          <a:lstStyle/>
          <a:p>
            <a:r>
              <a:rPr lang="en-US" dirty="0"/>
              <a:t>#3</a:t>
            </a:r>
          </a:p>
        </p:txBody>
      </p:sp>
      <p:pic>
        <p:nvPicPr>
          <p:cNvPr id="5" name="Graphic 4">
            <a:extLst>
              <a:ext uri="{FF2B5EF4-FFF2-40B4-BE49-F238E27FC236}">
                <a16:creationId xmlns:a16="http://schemas.microsoft.com/office/drawing/2014/main" id="{E68579DD-95BC-CA87-5207-0EF044A417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63622" y="5861785"/>
            <a:ext cx="1264753" cy="267956"/>
          </a:xfrm>
          <a:prstGeom prst="rect">
            <a:avLst/>
          </a:prstGeom>
        </p:spPr>
      </p:pic>
    </p:spTree>
    <p:extLst>
      <p:ext uri="{BB962C8B-B14F-4D97-AF65-F5344CB8AC3E}">
        <p14:creationId xmlns:p14="http://schemas.microsoft.com/office/powerpoint/2010/main" val="32096761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E7EDE0-18BF-670F-D220-CFB0E7534AE6}"/>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2FB208AD-FE56-E669-CF3F-4B7559010E09}"/>
              </a:ext>
            </a:extLst>
          </p:cNvPr>
          <p:cNvSpPr txBox="1"/>
          <p:nvPr/>
        </p:nvSpPr>
        <p:spPr>
          <a:xfrm>
            <a:off x="-434340" y="3853501"/>
            <a:ext cx="6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600" b="0" i="0" u="none" strike="noStrike" kern="1200" cap="none" spc="0" normalizeH="0" baseline="0" noProof="0" err="1">
              <a:ln>
                <a:noFill/>
              </a:ln>
              <a:solidFill>
                <a:srgbClr val="73718A"/>
              </a:solidFill>
              <a:effectLst/>
              <a:uLnTx/>
              <a:uFillTx/>
              <a:latin typeface="DM Sans"/>
              <a:ea typeface="+mn-ea"/>
              <a:cs typeface="+mn-cs"/>
            </a:endParaRPr>
          </a:p>
        </p:txBody>
      </p:sp>
      <p:sp>
        <p:nvSpPr>
          <p:cNvPr id="2" name="Title 1">
            <a:extLst>
              <a:ext uri="{FF2B5EF4-FFF2-40B4-BE49-F238E27FC236}">
                <a16:creationId xmlns:a16="http://schemas.microsoft.com/office/drawing/2014/main" id="{2113E7F9-6D5D-AB68-7C61-8689D2D5573B}"/>
              </a:ext>
            </a:extLst>
          </p:cNvPr>
          <p:cNvSpPr>
            <a:spLocks noGrp="1"/>
          </p:cNvSpPr>
          <p:nvPr>
            <p:ph type="title"/>
          </p:nvPr>
        </p:nvSpPr>
        <p:spPr>
          <a:xfrm>
            <a:off x="534691" y="356872"/>
            <a:ext cx="10752614" cy="505844"/>
          </a:xfrm>
        </p:spPr>
        <p:txBody>
          <a:bodyPr/>
          <a:lstStyle/>
          <a:p>
            <a:r>
              <a:rPr lang="en-US" sz="3600" dirty="0"/>
              <a:t>Leveraging Built-in Microsoft Tools</a:t>
            </a:r>
            <a:endParaRPr lang="en-US" dirty="0"/>
          </a:p>
        </p:txBody>
      </p:sp>
      <p:pic>
        <p:nvPicPr>
          <p:cNvPr id="5" name="Picture 4">
            <a:extLst>
              <a:ext uri="{FF2B5EF4-FFF2-40B4-BE49-F238E27FC236}">
                <a16:creationId xmlns:a16="http://schemas.microsoft.com/office/drawing/2014/main" id="{DE25DBB1-F0ED-7C75-2D7C-2C45F80FFC5A}"/>
              </a:ext>
            </a:extLst>
          </p:cNvPr>
          <p:cNvPicPr>
            <a:picLocks noChangeAspect="1"/>
          </p:cNvPicPr>
          <p:nvPr/>
        </p:nvPicPr>
        <p:blipFill>
          <a:blip r:embed="rId3"/>
          <a:srcRect l="1925" t="2087" r="2084" b="1338"/>
          <a:stretch/>
        </p:blipFill>
        <p:spPr>
          <a:xfrm>
            <a:off x="4570991" y="1593568"/>
            <a:ext cx="3036784" cy="451986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Rectangle 5">
            <a:extLst>
              <a:ext uri="{FF2B5EF4-FFF2-40B4-BE49-F238E27FC236}">
                <a16:creationId xmlns:a16="http://schemas.microsoft.com/office/drawing/2014/main" id="{6F5840D8-7D7D-C658-5535-06F673CC3C91}"/>
              </a:ext>
            </a:extLst>
          </p:cNvPr>
          <p:cNvSpPr/>
          <p:nvPr/>
        </p:nvSpPr>
        <p:spPr>
          <a:xfrm>
            <a:off x="8548224" y="1593568"/>
            <a:ext cx="2993152" cy="4519866"/>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7" name="Rectangle 6">
            <a:extLst>
              <a:ext uri="{FF2B5EF4-FFF2-40B4-BE49-F238E27FC236}">
                <a16:creationId xmlns:a16="http://schemas.microsoft.com/office/drawing/2014/main" id="{D0228343-AB78-FCD0-6084-300F78CD4477}"/>
              </a:ext>
            </a:extLst>
          </p:cNvPr>
          <p:cNvSpPr/>
          <p:nvPr/>
        </p:nvSpPr>
        <p:spPr>
          <a:xfrm>
            <a:off x="640124" y="1593568"/>
            <a:ext cx="2993152" cy="4519866"/>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8" name="Rectangle 7">
            <a:extLst>
              <a:ext uri="{FF2B5EF4-FFF2-40B4-BE49-F238E27FC236}">
                <a16:creationId xmlns:a16="http://schemas.microsoft.com/office/drawing/2014/main" id="{09A115FE-069D-F7F9-C862-1954BDBFB023}"/>
              </a:ext>
            </a:extLst>
          </p:cNvPr>
          <p:cNvSpPr/>
          <p:nvPr/>
        </p:nvSpPr>
        <p:spPr>
          <a:xfrm>
            <a:off x="650624" y="2481844"/>
            <a:ext cx="2985385" cy="461665"/>
          </a:xfrm>
          <a:prstGeom prst="rect">
            <a:avLst/>
          </a:prstGeom>
          <a:noFill/>
          <a:ln w="12700" cap="flat" cmpd="sng" algn="ctr">
            <a:noFill/>
            <a:prstDash val="solid"/>
            <a:miter lim="800000"/>
          </a:ln>
          <a:effectLst/>
        </p:spPr>
        <p:txBody>
          <a:bodyPr rtlCol="0" anchor="ctr">
            <a:spAutoFit/>
          </a:bodyPr>
          <a:lstStyle/>
          <a:p>
            <a:pPr lvl="0" algn="ctr">
              <a:defRPr/>
            </a:pPr>
            <a:r>
              <a:rPr lang="en-US" sz="2400" b="1" kern="0" dirty="0" err="1">
                <a:solidFill>
                  <a:srgbClr val="2CD9C5"/>
                </a:solidFill>
              </a:rPr>
              <a:t>QuickAssist</a:t>
            </a:r>
            <a:endParaRPr lang="en-US" sz="2400" b="1" kern="0" dirty="0">
              <a:solidFill>
                <a:srgbClr val="2CD9C5"/>
              </a:solidFill>
            </a:endParaRPr>
          </a:p>
        </p:txBody>
      </p:sp>
      <p:sp>
        <p:nvSpPr>
          <p:cNvPr id="9" name="Rectangle 8">
            <a:extLst>
              <a:ext uri="{FF2B5EF4-FFF2-40B4-BE49-F238E27FC236}">
                <a16:creationId xmlns:a16="http://schemas.microsoft.com/office/drawing/2014/main" id="{704D3653-4848-07E5-C5A0-F266E9872919}"/>
              </a:ext>
            </a:extLst>
          </p:cNvPr>
          <p:cNvSpPr/>
          <p:nvPr/>
        </p:nvSpPr>
        <p:spPr>
          <a:xfrm>
            <a:off x="8560592" y="2481598"/>
            <a:ext cx="2974573" cy="461665"/>
          </a:xfrm>
          <a:prstGeom prst="rect">
            <a:avLst/>
          </a:prstGeom>
          <a:noFill/>
          <a:ln w="12700" cap="flat" cmpd="sng" algn="ctr">
            <a:noFill/>
            <a:prstDash val="solid"/>
            <a:miter lim="800000"/>
          </a:ln>
          <a:effectLst/>
        </p:spPr>
        <p:txBody>
          <a:bodyPr rtlCol="0" anchor="ctr">
            <a:spAutoFit/>
          </a:bodyPr>
          <a:lstStyle/>
          <a:p>
            <a:pPr lvl="0" algn="ctr">
              <a:defRPr/>
            </a:pPr>
            <a:r>
              <a:rPr lang="en-US" sz="2400" b="1" kern="0" dirty="0">
                <a:solidFill>
                  <a:srgbClr val="2CD9C5"/>
                </a:solidFill>
              </a:rPr>
              <a:t>Windows Hello</a:t>
            </a:r>
            <a:endParaRPr kumimoji="0" lang="en-US" sz="2400" b="1" i="0" u="none" strike="noStrike" kern="0" cap="none" spc="0" normalizeH="0" baseline="0" noProof="0" dirty="0">
              <a:ln>
                <a:noFill/>
              </a:ln>
              <a:solidFill>
                <a:srgbClr val="2CD9C5"/>
              </a:solidFill>
              <a:effectLst/>
              <a:uLnTx/>
              <a:uFillTx/>
              <a:latin typeface="DM Sans"/>
            </a:endParaRPr>
          </a:p>
        </p:txBody>
      </p:sp>
      <p:sp>
        <p:nvSpPr>
          <p:cNvPr id="10" name="Rectangle 9">
            <a:extLst>
              <a:ext uri="{FF2B5EF4-FFF2-40B4-BE49-F238E27FC236}">
                <a16:creationId xmlns:a16="http://schemas.microsoft.com/office/drawing/2014/main" id="{3C5D050C-06D6-8FC6-7F6A-EEF8B7DAC6C4}"/>
              </a:ext>
            </a:extLst>
          </p:cNvPr>
          <p:cNvSpPr/>
          <p:nvPr/>
        </p:nvSpPr>
        <p:spPr>
          <a:xfrm>
            <a:off x="8775399" y="3711330"/>
            <a:ext cx="2546146" cy="2062103"/>
          </a:xfrm>
          <a:prstGeom prst="rect">
            <a:avLst/>
          </a:prstGeom>
          <a:noFill/>
          <a:ln w="12700" cap="flat" cmpd="sng" algn="ctr">
            <a:noFill/>
            <a:prstDash val="solid"/>
            <a:miter lim="800000"/>
          </a:ln>
          <a:effectLst/>
        </p:spPr>
        <p:txBody>
          <a:bodyPr wrap="square" rtlCol="0" anchor="t">
            <a:spAutoFit/>
          </a:bodyPr>
          <a:lstStyle/>
          <a:p>
            <a:pPr lvl="0" algn="ctr">
              <a:defRPr/>
            </a:pPr>
            <a:r>
              <a:rPr lang="en-GB" sz="1600" kern="0" dirty="0">
                <a:solidFill>
                  <a:srgbClr val="FFFFFF"/>
                </a:solidFill>
                <a:latin typeface="DM Sans" pitchFamily="2" charset="77"/>
                <a:ea typeface="ヒラギノ角ゴ Pro W3" charset="0"/>
                <a:cs typeface="Arial" panose="020B0604020202020204" pitchFamily="34" charset="0"/>
              </a:rPr>
              <a:t>While Windows Hello resists phishing by binding authentication to a device, attackers have found bypasses, compromising persistence and MFA security.</a:t>
            </a:r>
            <a:endParaRPr kumimoji="0" lang="en-US" sz="1600" u="none" strike="noStrike" kern="0" cap="none" spc="0" normalizeH="0" baseline="0" noProof="0" dirty="0">
              <a:ln>
                <a:noFill/>
              </a:ln>
              <a:solidFill>
                <a:srgbClr val="FFFFFF"/>
              </a:solidFill>
              <a:effectLst/>
              <a:uLnTx/>
              <a:uFillTx/>
              <a:latin typeface="DM Sans" pitchFamily="2" charset="77"/>
              <a:ea typeface="ヒラギノ角ゴ Pro W3" charset="0"/>
              <a:cs typeface="Arial" panose="020B0604020202020204" pitchFamily="34" charset="0"/>
            </a:endParaRPr>
          </a:p>
        </p:txBody>
      </p:sp>
      <p:sp>
        <p:nvSpPr>
          <p:cNvPr id="11" name="Rectangle 10">
            <a:extLst>
              <a:ext uri="{FF2B5EF4-FFF2-40B4-BE49-F238E27FC236}">
                <a16:creationId xmlns:a16="http://schemas.microsoft.com/office/drawing/2014/main" id="{45AC273D-1708-42EF-F126-F8638EE1D603}"/>
              </a:ext>
            </a:extLst>
          </p:cNvPr>
          <p:cNvSpPr/>
          <p:nvPr/>
        </p:nvSpPr>
        <p:spPr>
          <a:xfrm>
            <a:off x="877460" y="3711330"/>
            <a:ext cx="2546146" cy="1569660"/>
          </a:xfrm>
          <a:prstGeom prst="rect">
            <a:avLst/>
          </a:prstGeom>
          <a:noFill/>
          <a:ln w="12700" cap="flat" cmpd="sng" algn="ctr">
            <a:noFill/>
            <a:prstDash val="solid"/>
            <a:miter lim="800000"/>
          </a:ln>
          <a:effectLst/>
        </p:spPr>
        <p:txBody>
          <a:bodyPr wrap="square" rtlCol="0" anchor="t">
            <a:spAutoFit/>
          </a:bodyPr>
          <a:lstStyle/>
          <a:p>
            <a:pPr lvl="0" algn="ctr">
              <a:defRPr/>
            </a:pPr>
            <a:r>
              <a:rPr lang="en-GB" sz="1600" dirty="0"/>
              <a:t>A built-in Windows tool for remote support, can be abused by attackers using social engineering to gain control of user devices.</a:t>
            </a:r>
            <a:endParaRPr kumimoji="0" lang="en-US" sz="1600" b="0" i="0" u="none" strike="noStrike" kern="0" cap="none" spc="0" normalizeH="0" baseline="0" noProof="0" dirty="0">
              <a:ln>
                <a:noFill/>
              </a:ln>
              <a:solidFill>
                <a:srgbClr val="FFFFFF"/>
              </a:solidFill>
              <a:effectLst/>
              <a:uLnTx/>
              <a:uFillTx/>
              <a:latin typeface="DM Sans" pitchFamily="2" charset="77"/>
              <a:ea typeface="+mn-ea"/>
              <a:cs typeface="+mn-cs"/>
            </a:endParaRPr>
          </a:p>
        </p:txBody>
      </p:sp>
    </p:spTree>
    <p:extLst>
      <p:ext uri="{BB962C8B-B14F-4D97-AF65-F5344CB8AC3E}">
        <p14:creationId xmlns:p14="http://schemas.microsoft.com/office/powerpoint/2010/main" val="2187071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p:bldP spid="9" grpId="0"/>
      <p:bldP spid="10" grpId="0"/>
      <p:bldP spid="11" grpId="0"/>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59A83F9-3F11-B009-9D1F-4DE88FF01965}"/>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28D0951C-ACD3-B623-9896-97F4F5B9259F}"/>
              </a:ext>
            </a:extLst>
          </p:cNvPr>
          <p:cNvPicPr>
            <a:picLocks noChangeAspect="1"/>
          </p:cNvPicPr>
          <p:nvPr/>
        </p:nvPicPr>
        <p:blipFill>
          <a:blip r:embed="rId3">
            <a:alphaModFix amt="18000"/>
          </a:blip>
          <a:srcRect l="4133" r="4133"/>
          <a:stretch/>
        </p:blipFill>
        <p:spPr>
          <a:xfrm>
            <a:off x="0" y="0"/>
            <a:ext cx="12192000" cy="6858001"/>
          </a:xfrm>
          <a:prstGeom prst="rect">
            <a:avLst/>
          </a:prstGeom>
        </p:spPr>
      </p:pic>
      <p:sp>
        <p:nvSpPr>
          <p:cNvPr id="3" name="Title 2">
            <a:extLst>
              <a:ext uri="{FF2B5EF4-FFF2-40B4-BE49-F238E27FC236}">
                <a16:creationId xmlns:a16="http://schemas.microsoft.com/office/drawing/2014/main" id="{74E41064-D85C-D5F4-E2F2-CA52A6505564}"/>
              </a:ext>
            </a:extLst>
          </p:cNvPr>
          <p:cNvSpPr>
            <a:spLocks noGrp="1"/>
          </p:cNvSpPr>
          <p:nvPr>
            <p:ph type="title"/>
          </p:nvPr>
        </p:nvSpPr>
        <p:spPr>
          <a:xfrm>
            <a:off x="2024701" y="3056308"/>
            <a:ext cx="8142598" cy="738664"/>
          </a:xfrm>
        </p:spPr>
        <p:txBody>
          <a:bodyPr/>
          <a:lstStyle/>
          <a:p>
            <a:r>
              <a:rPr lang="en-US" sz="4800" dirty="0"/>
              <a:t>Phishing</a:t>
            </a:r>
          </a:p>
        </p:txBody>
      </p:sp>
      <p:sp>
        <p:nvSpPr>
          <p:cNvPr id="4" name="Text Placeholder 3">
            <a:extLst>
              <a:ext uri="{FF2B5EF4-FFF2-40B4-BE49-F238E27FC236}">
                <a16:creationId xmlns:a16="http://schemas.microsoft.com/office/drawing/2014/main" id="{831E05EA-B0E2-B54A-D72B-04C778EAF14C}"/>
              </a:ext>
            </a:extLst>
          </p:cNvPr>
          <p:cNvSpPr>
            <a:spLocks noGrp="1"/>
          </p:cNvSpPr>
          <p:nvPr>
            <p:ph type="body" sz="quarter" idx="10"/>
          </p:nvPr>
        </p:nvSpPr>
        <p:spPr>
          <a:xfrm>
            <a:off x="1244600" y="2730426"/>
            <a:ext cx="9702800" cy="215444"/>
          </a:xfrm>
        </p:spPr>
        <p:txBody>
          <a:bodyPr/>
          <a:lstStyle/>
          <a:p>
            <a:r>
              <a:rPr lang="en-US" dirty="0"/>
              <a:t>#4</a:t>
            </a:r>
          </a:p>
        </p:txBody>
      </p:sp>
      <p:pic>
        <p:nvPicPr>
          <p:cNvPr id="5" name="Graphic 4">
            <a:extLst>
              <a:ext uri="{FF2B5EF4-FFF2-40B4-BE49-F238E27FC236}">
                <a16:creationId xmlns:a16="http://schemas.microsoft.com/office/drawing/2014/main" id="{748A3FBB-03DF-BFBF-B791-C2C0A18B45E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63622" y="5861785"/>
            <a:ext cx="1264753" cy="267956"/>
          </a:xfrm>
          <a:prstGeom prst="rect">
            <a:avLst/>
          </a:prstGeom>
        </p:spPr>
      </p:pic>
    </p:spTree>
    <p:extLst>
      <p:ext uri="{BB962C8B-B14F-4D97-AF65-F5344CB8AC3E}">
        <p14:creationId xmlns:p14="http://schemas.microsoft.com/office/powerpoint/2010/main" val="15888630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1AB25E0-9A88-CE89-05E0-9E4FB2A470F4}"/>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AD69D63F-FF23-2C6F-67C4-EDCEDB759C9D}"/>
              </a:ext>
            </a:extLst>
          </p:cNvPr>
          <p:cNvSpPr txBox="1"/>
          <p:nvPr/>
        </p:nvSpPr>
        <p:spPr>
          <a:xfrm>
            <a:off x="-434340" y="3853501"/>
            <a:ext cx="6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600" b="0" i="0" u="none" strike="noStrike" kern="1200" cap="none" spc="0" normalizeH="0" baseline="0" noProof="0" err="1">
              <a:ln>
                <a:noFill/>
              </a:ln>
              <a:solidFill>
                <a:srgbClr val="73718A"/>
              </a:solidFill>
              <a:effectLst/>
              <a:uLnTx/>
              <a:uFillTx/>
              <a:latin typeface="DM Sans"/>
              <a:ea typeface="+mn-ea"/>
              <a:cs typeface="+mn-cs"/>
            </a:endParaRPr>
          </a:p>
        </p:txBody>
      </p:sp>
      <p:sp>
        <p:nvSpPr>
          <p:cNvPr id="2" name="Title 1">
            <a:extLst>
              <a:ext uri="{FF2B5EF4-FFF2-40B4-BE49-F238E27FC236}">
                <a16:creationId xmlns:a16="http://schemas.microsoft.com/office/drawing/2014/main" id="{CFAB8B92-842F-C735-29C5-29C6002261A5}"/>
              </a:ext>
            </a:extLst>
          </p:cNvPr>
          <p:cNvSpPr>
            <a:spLocks noGrp="1"/>
          </p:cNvSpPr>
          <p:nvPr>
            <p:ph type="title"/>
          </p:nvPr>
        </p:nvSpPr>
        <p:spPr>
          <a:xfrm>
            <a:off x="534691" y="356872"/>
            <a:ext cx="10752614" cy="505844"/>
          </a:xfrm>
        </p:spPr>
        <p:txBody>
          <a:bodyPr/>
          <a:lstStyle/>
          <a:p>
            <a:r>
              <a:rPr lang="en-US" sz="3600" dirty="0"/>
              <a:t>Phishing</a:t>
            </a:r>
            <a:endParaRPr lang="en-US" dirty="0"/>
          </a:p>
        </p:txBody>
      </p:sp>
      <p:pic>
        <p:nvPicPr>
          <p:cNvPr id="6" name="Picture 5">
            <a:extLst>
              <a:ext uri="{FF2B5EF4-FFF2-40B4-BE49-F238E27FC236}">
                <a16:creationId xmlns:a16="http://schemas.microsoft.com/office/drawing/2014/main" id="{FF6E85EC-F699-B0C2-4707-391F47DAAC7E}"/>
              </a:ext>
            </a:extLst>
          </p:cNvPr>
          <p:cNvPicPr>
            <a:picLocks noChangeAspect="1"/>
          </p:cNvPicPr>
          <p:nvPr/>
        </p:nvPicPr>
        <p:blipFill>
          <a:blip r:embed="rId3"/>
          <a:srcRect l="1298" t="1043" r="917" b="1679"/>
          <a:stretch/>
        </p:blipFill>
        <p:spPr>
          <a:xfrm>
            <a:off x="7757291" y="2037080"/>
            <a:ext cx="4218970" cy="310896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Rectangle 4">
            <a:extLst>
              <a:ext uri="{FF2B5EF4-FFF2-40B4-BE49-F238E27FC236}">
                <a16:creationId xmlns:a16="http://schemas.microsoft.com/office/drawing/2014/main" id="{40F8948A-9565-8377-73FA-DBCA086901A8}"/>
              </a:ext>
            </a:extLst>
          </p:cNvPr>
          <p:cNvSpPr/>
          <p:nvPr/>
        </p:nvSpPr>
        <p:spPr>
          <a:xfrm>
            <a:off x="203243" y="1766288"/>
            <a:ext cx="7231669" cy="830997"/>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7" name="Rectangle 6">
            <a:extLst>
              <a:ext uri="{FF2B5EF4-FFF2-40B4-BE49-F238E27FC236}">
                <a16:creationId xmlns:a16="http://schemas.microsoft.com/office/drawing/2014/main" id="{F439A3B8-5024-F7DB-1C44-CE3AF1362BD6}"/>
              </a:ext>
            </a:extLst>
          </p:cNvPr>
          <p:cNvSpPr/>
          <p:nvPr/>
        </p:nvSpPr>
        <p:spPr>
          <a:xfrm>
            <a:off x="671242" y="1950953"/>
            <a:ext cx="6320405" cy="461665"/>
          </a:xfrm>
          <a:prstGeom prst="rect">
            <a:avLst/>
          </a:prstGeom>
          <a:noFill/>
          <a:ln w="12700" cap="flat" cmpd="sng" algn="ctr">
            <a:noFill/>
            <a:prstDash val="solid"/>
            <a:miter lim="800000"/>
          </a:ln>
          <a:effectLst/>
        </p:spPr>
        <p:txBody>
          <a:bodyPr wrap="square" rtlCol="0" anchor="ctr">
            <a:spAutoFit/>
          </a:bodyPr>
          <a:lstStyle/>
          <a:p>
            <a:pPr lvl="0" algn="ctr">
              <a:defRPr/>
            </a:pPr>
            <a:r>
              <a:rPr lang="en-GB" sz="2400" b="1" kern="0" dirty="0">
                <a:solidFill>
                  <a:srgbClr val="2CD9C5"/>
                </a:solidFill>
              </a:rPr>
              <a:t>Using legit sites for the first landing page</a:t>
            </a:r>
            <a:endParaRPr lang="en-US" sz="2400" b="1" kern="0" dirty="0">
              <a:solidFill>
                <a:srgbClr val="2CD9C5"/>
              </a:solidFill>
            </a:endParaRPr>
          </a:p>
        </p:txBody>
      </p:sp>
      <p:sp>
        <p:nvSpPr>
          <p:cNvPr id="14" name="Rectangle 13">
            <a:extLst>
              <a:ext uri="{FF2B5EF4-FFF2-40B4-BE49-F238E27FC236}">
                <a16:creationId xmlns:a16="http://schemas.microsoft.com/office/drawing/2014/main" id="{66B00483-22CB-5904-17DE-5FA5D47DC719}"/>
              </a:ext>
            </a:extLst>
          </p:cNvPr>
          <p:cNvSpPr/>
          <p:nvPr/>
        </p:nvSpPr>
        <p:spPr>
          <a:xfrm>
            <a:off x="215611" y="3186221"/>
            <a:ext cx="7231669" cy="830997"/>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15" name="Rectangle 14">
            <a:extLst>
              <a:ext uri="{FF2B5EF4-FFF2-40B4-BE49-F238E27FC236}">
                <a16:creationId xmlns:a16="http://schemas.microsoft.com/office/drawing/2014/main" id="{1EFA14C9-537D-D987-31C1-2A64659AF469}"/>
              </a:ext>
            </a:extLst>
          </p:cNvPr>
          <p:cNvSpPr/>
          <p:nvPr/>
        </p:nvSpPr>
        <p:spPr>
          <a:xfrm>
            <a:off x="658874" y="3370886"/>
            <a:ext cx="6320405" cy="461665"/>
          </a:xfrm>
          <a:prstGeom prst="rect">
            <a:avLst/>
          </a:prstGeom>
          <a:noFill/>
          <a:ln w="12700" cap="flat" cmpd="sng" algn="ctr">
            <a:noFill/>
            <a:prstDash val="solid"/>
            <a:miter lim="800000"/>
          </a:ln>
          <a:effectLst/>
        </p:spPr>
        <p:txBody>
          <a:bodyPr wrap="square" rtlCol="0" anchor="ctr">
            <a:spAutoFit/>
          </a:bodyPr>
          <a:lstStyle/>
          <a:p>
            <a:pPr lvl="0" algn="ctr">
              <a:defRPr/>
            </a:pPr>
            <a:r>
              <a:rPr lang="en-GB" sz="2400" b="1" kern="0" dirty="0">
                <a:solidFill>
                  <a:srgbClr val="2CD9C5"/>
                </a:solidFill>
              </a:rPr>
              <a:t>Using ‘</a:t>
            </a:r>
            <a:r>
              <a:rPr lang="en-GB" sz="2400" b="1" kern="0" dirty="0" err="1">
                <a:solidFill>
                  <a:srgbClr val="2CD9C5"/>
                </a:solidFill>
              </a:rPr>
              <a:t>noreply</a:t>
            </a:r>
            <a:r>
              <a:rPr lang="en-GB" sz="2400" b="1" kern="0" dirty="0">
                <a:solidFill>
                  <a:srgbClr val="2CD9C5"/>
                </a:solidFill>
              </a:rPr>
              <a:t>’ sender addresses</a:t>
            </a:r>
          </a:p>
        </p:txBody>
      </p:sp>
      <p:sp>
        <p:nvSpPr>
          <p:cNvPr id="16" name="Rectangle 15">
            <a:extLst>
              <a:ext uri="{FF2B5EF4-FFF2-40B4-BE49-F238E27FC236}">
                <a16:creationId xmlns:a16="http://schemas.microsoft.com/office/drawing/2014/main" id="{EEBBB01C-0471-1A38-B351-B54CE071DB7E}"/>
              </a:ext>
            </a:extLst>
          </p:cNvPr>
          <p:cNvSpPr/>
          <p:nvPr/>
        </p:nvSpPr>
        <p:spPr>
          <a:xfrm>
            <a:off x="190875" y="4606155"/>
            <a:ext cx="7256405" cy="830997"/>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17" name="Rectangle 16">
            <a:extLst>
              <a:ext uri="{FF2B5EF4-FFF2-40B4-BE49-F238E27FC236}">
                <a16:creationId xmlns:a16="http://schemas.microsoft.com/office/drawing/2014/main" id="{F1686BC4-F81E-6B01-8E1D-50FA6F3F7B6D}"/>
              </a:ext>
            </a:extLst>
          </p:cNvPr>
          <p:cNvSpPr/>
          <p:nvPr/>
        </p:nvSpPr>
        <p:spPr>
          <a:xfrm>
            <a:off x="457243" y="4790820"/>
            <a:ext cx="6898597" cy="461665"/>
          </a:xfrm>
          <a:prstGeom prst="rect">
            <a:avLst/>
          </a:prstGeom>
          <a:noFill/>
          <a:ln w="12700" cap="flat" cmpd="sng" algn="ctr">
            <a:noFill/>
            <a:prstDash val="solid"/>
            <a:miter lim="800000"/>
          </a:ln>
          <a:effectLst/>
        </p:spPr>
        <p:txBody>
          <a:bodyPr wrap="square" rtlCol="0" anchor="ctr">
            <a:spAutoFit/>
          </a:bodyPr>
          <a:lstStyle/>
          <a:p>
            <a:pPr lvl="0" algn="ctr">
              <a:defRPr/>
            </a:pPr>
            <a:r>
              <a:rPr lang="en-GB" sz="2400" b="1" kern="0" dirty="0">
                <a:solidFill>
                  <a:srgbClr val="2CD9C5"/>
                </a:solidFill>
              </a:rPr>
              <a:t>Using legitimate domains to redirect users</a:t>
            </a:r>
          </a:p>
        </p:txBody>
      </p:sp>
    </p:spTree>
    <p:extLst>
      <p:ext uri="{BB962C8B-B14F-4D97-AF65-F5344CB8AC3E}">
        <p14:creationId xmlns:p14="http://schemas.microsoft.com/office/powerpoint/2010/main" val="4047157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p:bldP spid="14" grpId="0" animBg="1"/>
      <p:bldP spid="15" grpId="0"/>
      <p:bldP spid="16" grpId="0" animBg="1"/>
      <p:bldP spid="1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3AC17B-9DB6-0350-4987-C3FBB904AFAE}"/>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7A42C833-A0DC-0678-1B72-F1FA99B53BCD}"/>
              </a:ext>
            </a:extLst>
          </p:cNvPr>
          <p:cNvPicPr>
            <a:picLocks noChangeAspect="1"/>
          </p:cNvPicPr>
          <p:nvPr/>
        </p:nvPicPr>
        <p:blipFill>
          <a:blip r:embed="rId3">
            <a:alphaModFix amt="18000"/>
          </a:blip>
          <a:srcRect l="4133" r="4133"/>
          <a:stretch/>
        </p:blipFill>
        <p:spPr>
          <a:xfrm>
            <a:off x="0" y="0"/>
            <a:ext cx="12192000" cy="6858001"/>
          </a:xfrm>
          <a:prstGeom prst="rect">
            <a:avLst/>
          </a:prstGeom>
        </p:spPr>
      </p:pic>
      <p:sp>
        <p:nvSpPr>
          <p:cNvPr id="3" name="Title 2">
            <a:extLst>
              <a:ext uri="{FF2B5EF4-FFF2-40B4-BE49-F238E27FC236}">
                <a16:creationId xmlns:a16="http://schemas.microsoft.com/office/drawing/2014/main" id="{28DE1887-378E-090E-70FA-32E037688A00}"/>
              </a:ext>
            </a:extLst>
          </p:cNvPr>
          <p:cNvSpPr>
            <a:spLocks noGrp="1"/>
          </p:cNvSpPr>
          <p:nvPr>
            <p:ph type="title"/>
          </p:nvPr>
        </p:nvSpPr>
        <p:spPr>
          <a:xfrm>
            <a:off x="2024701" y="3056308"/>
            <a:ext cx="8142598" cy="738664"/>
          </a:xfrm>
        </p:spPr>
        <p:txBody>
          <a:bodyPr/>
          <a:lstStyle/>
          <a:p>
            <a:r>
              <a:rPr lang="en-US" sz="4800" dirty="0"/>
              <a:t>Vishing</a:t>
            </a:r>
          </a:p>
        </p:txBody>
      </p:sp>
      <p:sp>
        <p:nvSpPr>
          <p:cNvPr id="4" name="Text Placeholder 3">
            <a:extLst>
              <a:ext uri="{FF2B5EF4-FFF2-40B4-BE49-F238E27FC236}">
                <a16:creationId xmlns:a16="http://schemas.microsoft.com/office/drawing/2014/main" id="{D6C77DBA-D487-E801-905C-2D14371BADD3}"/>
              </a:ext>
            </a:extLst>
          </p:cNvPr>
          <p:cNvSpPr>
            <a:spLocks noGrp="1"/>
          </p:cNvSpPr>
          <p:nvPr>
            <p:ph type="body" sz="quarter" idx="10"/>
          </p:nvPr>
        </p:nvSpPr>
        <p:spPr>
          <a:xfrm>
            <a:off x="1244600" y="2730426"/>
            <a:ext cx="9702800" cy="215444"/>
          </a:xfrm>
        </p:spPr>
        <p:txBody>
          <a:bodyPr/>
          <a:lstStyle/>
          <a:p>
            <a:r>
              <a:rPr lang="en-US" dirty="0"/>
              <a:t>#4</a:t>
            </a:r>
          </a:p>
        </p:txBody>
      </p:sp>
      <p:pic>
        <p:nvPicPr>
          <p:cNvPr id="5" name="Graphic 4">
            <a:extLst>
              <a:ext uri="{FF2B5EF4-FFF2-40B4-BE49-F238E27FC236}">
                <a16:creationId xmlns:a16="http://schemas.microsoft.com/office/drawing/2014/main" id="{774D494B-E218-2B13-8097-137D0EFA6C3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63622" y="5861785"/>
            <a:ext cx="1264753" cy="267956"/>
          </a:xfrm>
          <a:prstGeom prst="rect">
            <a:avLst/>
          </a:prstGeom>
        </p:spPr>
      </p:pic>
    </p:spTree>
    <p:extLst>
      <p:ext uri="{BB962C8B-B14F-4D97-AF65-F5344CB8AC3E}">
        <p14:creationId xmlns:p14="http://schemas.microsoft.com/office/powerpoint/2010/main" val="9587819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44D282-38AD-1BA9-FA3D-DA0A4F69288E}"/>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9CB02E4D-D501-4914-E26E-D64271C2DA2B}"/>
              </a:ext>
            </a:extLst>
          </p:cNvPr>
          <p:cNvSpPr txBox="1"/>
          <p:nvPr/>
        </p:nvSpPr>
        <p:spPr>
          <a:xfrm>
            <a:off x="-434340" y="3853501"/>
            <a:ext cx="6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600" b="0" i="0" u="none" strike="noStrike" kern="1200" cap="none" spc="0" normalizeH="0" baseline="0" noProof="0" err="1">
              <a:ln>
                <a:noFill/>
              </a:ln>
              <a:solidFill>
                <a:srgbClr val="73718A"/>
              </a:solidFill>
              <a:effectLst/>
              <a:uLnTx/>
              <a:uFillTx/>
              <a:latin typeface="DM Sans"/>
              <a:ea typeface="+mn-ea"/>
              <a:cs typeface="+mn-cs"/>
            </a:endParaRPr>
          </a:p>
        </p:txBody>
      </p:sp>
      <p:sp>
        <p:nvSpPr>
          <p:cNvPr id="2" name="Title 1">
            <a:extLst>
              <a:ext uri="{FF2B5EF4-FFF2-40B4-BE49-F238E27FC236}">
                <a16:creationId xmlns:a16="http://schemas.microsoft.com/office/drawing/2014/main" id="{7AE85CEE-6BD0-A4C9-5A4B-C4E3A8B8015D}"/>
              </a:ext>
            </a:extLst>
          </p:cNvPr>
          <p:cNvSpPr>
            <a:spLocks noGrp="1"/>
          </p:cNvSpPr>
          <p:nvPr>
            <p:ph type="title"/>
          </p:nvPr>
        </p:nvSpPr>
        <p:spPr>
          <a:xfrm>
            <a:off x="534691" y="356872"/>
            <a:ext cx="10752614" cy="505844"/>
          </a:xfrm>
        </p:spPr>
        <p:txBody>
          <a:bodyPr/>
          <a:lstStyle/>
          <a:p>
            <a:r>
              <a:rPr lang="en-US" sz="3600" dirty="0"/>
              <a:t>Vishing</a:t>
            </a:r>
            <a:endParaRPr lang="en-US" dirty="0"/>
          </a:p>
        </p:txBody>
      </p:sp>
      <p:pic>
        <p:nvPicPr>
          <p:cNvPr id="5" name="Picture 4">
            <a:extLst>
              <a:ext uri="{FF2B5EF4-FFF2-40B4-BE49-F238E27FC236}">
                <a16:creationId xmlns:a16="http://schemas.microsoft.com/office/drawing/2014/main" id="{8FD67C04-A033-8517-9DC3-44485B1617D7}"/>
              </a:ext>
            </a:extLst>
          </p:cNvPr>
          <p:cNvPicPr>
            <a:picLocks noChangeAspect="1"/>
          </p:cNvPicPr>
          <p:nvPr/>
        </p:nvPicPr>
        <p:blipFill>
          <a:blip r:embed="rId3"/>
          <a:srcRect l="2394" t="2036" r="1436" b="3549"/>
          <a:stretch/>
        </p:blipFill>
        <p:spPr>
          <a:xfrm>
            <a:off x="7304319" y="2062480"/>
            <a:ext cx="4684481" cy="352552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ectangle 6">
            <a:extLst>
              <a:ext uri="{FF2B5EF4-FFF2-40B4-BE49-F238E27FC236}">
                <a16:creationId xmlns:a16="http://schemas.microsoft.com/office/drawing/2014/main" id="{A0869BAE-6A00-F419-4337-FA3877C49BBC}"/>
              </a:ext>
            </a:extLst>
          </p:cNvPr>
          <p:cNvSpPr/>
          <p:nvPr/>
        </p:nvSpPr>
        <p:spPr>
          <a:xfrm>
            <a:off x="3973588" y="1593568"/>
            <a:ext cx="2993152" cy="4519866"/>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8" name="Rectangle 7">
            <a:extLst>
              <a:ext uri="{FF2B5EF4-FFF2-40B4-BE49-F238E27FC236}">
                <a16:creationId xmlns:a16="http://schemas.microsoft.com/office/drawing/2014/main" id="{230D9D15-0BD4-2CB9-ECE6-32A256E67BE5}"/>
              </a:ext>
            </a:extLst>
          </p:cNvPr>
          <p:cNvSpPr/>
          <p:nvPr/>
        </p:nvSpPr>
        <p:spPr>
          <a:xfrm>
            <a:off x="640124" y="1593568"/>
            <a:ext cx="2993152" cy="4519866"/>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9" name="Rectangle 8">
            <a:extLst>
              <a:ext uri="{FF2B5EF4-FFF2-40B4-BE49-F238E27FC236}">
                <a16:creationId xmlns:a16="http://schemas.microsoft.com/office/drawing/2014/main" id="{DD570471-AD5F-A01E-BCAC-1CFBCA1AFD67}"/>
              </a:ext>
            </a:extLst>
          </p:cNvPr>
          <p:cNvSpPr/>
          <p:nvPr/>
        </p:nvSpPr>
        <p:spPr>
          <a:xfrm>
            <a:off x="650624" y="2481844"/>
            <a:ext cx="2985385" cy="461665"/>
          </a:xfrm>
          <a:prstGeom prst="rect">
            <a:avLst/>
          </a:prstGeom>
          <a:noFill/>
          <a:ln w="12700" cap="flat" cmpd="sng" algn="ctr">
            <a:noFill/>
            <a:prstDash val="solid"/>
            <a:miter lim="800000"/>
          </a:ln>
          <a:effectLst/>
        </p:spPr>
        <p:txBody>
          <a:bodyPr rtlCol="0" anchor="ctr">
            <a:spAutoFit/>
          </a:bodyPr>
          <a:lstStyle/>
          <a:p>
            <a:pPr lvl="0" algn="ctr">
              <a:defRPr/>
            </a:pPr>
            <a:r>
              <a:rPr lang="en-US" sz="2400" b="1" kern="0" dirty="0">
                <a:solidFill>
                  <a:srgbClr val="2CD9C5"/>
                </a:solidFill>
              </a:rPr>
              <a:t>Email bombing</a:t>
            </a:r>
          </a:p>
        </p:txBody>
      </p:sp>
      <p:sp>
        <p:nvSpPr>
          <p:cNvPr id="10" name="Rectangle 9">
            <a:extLst>
              <a:ext uri="{FF2B5EF4-FFF2-40B4-BE49-F238E27FC236}">
                <a16:creationId xmlns:a16="http://schemas.microsoft.com/office/drawing/2014/main" id="{AEBC2895-9AFD-1D73-9CF7-3B5261830E24}"/>
              </a:ext>
            </a:extLst>
          </p:cNvPr>
          <p:cNvSpPr/>
          <p:nvPr/>
        </p:nvSpPr>
        <p:spPr>
          <a:xfrm>
            <a:off x="3985956" y="2481598"/>
            <a:ext cx="2974573" cy="461665"/>
          </a:xfrm>
          <a:prstGeom prst="rect">
            <a:avLst/>
          </a:prstGeom>
          <a:noFill/>
          <a:ln w="12700" cap="flat" cmpd="sng" algn="ctr">
            <a:noFill/>
            <a:prstDash val="solid"/>
            <a:miter lim="800000"/>
          </a:ln>
          <a:effectLst/>
        </p:spPr>
        <p:txBody>
          <a:bodyPr rtlCol="0" anchor="ctr">
            <a:spAutoFit/>
          </a:bodyPr>
          <a:lstStyle/>
          <a:p>
            <a:pPr lvl="0" algn="ctr">
              <a:defRPr/>
            </a:pPr>
            <a:r>
              <a:rPr lang="en-US" sz="2400" b="1" kern="0" dirty="0">
                <a:solidFill>
                  <a:srgbClr val="2CD9C5"/>
                </a:solidFill>
              </a:rPr>
              <a:t>Malvertising</a:t>
            </a:r>
            <a:endParaRPr kumimoji="0" lang="en-US" sz="2400" b="1" i="0" u="none" strike="noStrike" kern="0" cap="none" spc="0" normalizeH="0" baseline="0" noProof="0" dirty="0">
              <a:ln>
                <a:noFill/>
              </a:ln>
              <a:solidFill>
                <a:srgbClr val="2CD9C5"/>
              </a:solidFill>
              <a:effectLst/>
              <a:uLnTx/>
              <a:uFillTx/>
              <a:latin typeface="DM Sans"/>
            </a:endParaRPr>
          </a:p>
        </p:txBody>
      </p:sp>
      <p:sp>
        <p:nvSpPr>
          <p:cNvPr id="11" name="Rectangle 10">
            <a:extLst>
              <a:ext uri="{FF2B5EF4-FFF2-40B4-BE49-F238E27FC236}">
                <a16:creationId xmlns:a16="http://schemas.microsoft.com/office/drawing/2014/main" id="{B71C00D0-FD69-FA21-29E0-1AD5528BD8D4}"/>
              </a:ext>
            </a:extLst>
          </p:cNvPr>
          <p:cNvSpPr/>
          <p:nvPr/>
        </p:nvSpPr>
        <p:spPr>
          <a:xfrm>
            <a:off x="4200763" y="3711330"/>
            <a:ext cx="2546146" cy="1569660"/>
          </a:xfrm>
          <a:prstGeom prst="rect">
            <a:avLst/>
          </a:prstGeom>
          <a:noFill/>
          <a:ln w="12700" cap="flat" cmpd="sng" algn="ctr">
            <a:noFill/>
            <a:prstDash val="solid"/>
            <a:miter lim="800000"/>
          </a:ln>
          <a:effectLst/>
        </p:spPr>
        <p:txBody>
          <a:bodyPr wrap="square" rtlCol="0" anchor="t">
            <a:spAutoFit/>
          </a:bodyPr>
          <a:lstStyle/>
          <a:p>
            <a:pPr lvl="0" algn="ctr">
              <a:defRPr/>
            </a:pPr>
            <a:r>
              <a:rPr lang="en-GB" sz="1600" kern="0" dirty="0" err="1">
                <a:solidFill>
                  <a:srgbClr val="FFFFFF"/>
                </a:solidFill>
                <a:latin typeface="DM Sans" pitchFamily="2" charset="77"/>
                <a:ea typeface="ヒラギノ角ゴ Pro W3" charset="0"/>
                <a:cs typeface="Arial" panose="020B0604020202020204" pitchFamily="34" charset="0"/>
              </a:rPr>
              <a:t>Ontinue</a:t>
            </a:r>
            <a:r>
              <a:rPr lang="en-GB" sz="1600" kern="0" dirty="0">
                <a:solidFill>
                  <a:srgbClr val="FFFFFF"/>
                </a:solidFill>
                <a:latin typeface="DM Sans" pitchFamily="2" charset="77"/>
                <a:ea typeface="ヒラギノ角ゴ Pro W3" charset="0"/>
                <a:cs typeface="Arial" panose="020B0604020202020204" pitchFamily="34" charset="0"/>
              </a:rPr>
              <a:t> sees users lured by malicious ads to fake "Microsoft Support" pages, then tricked into installing remote access software.</a:t>
            </a:r>
            <a:endParaRPr kumimoji="0" lang="en-US" sz="1600" u="none" strike="noStrike" kern="0" cap="none" spc="0" normalizeH="0" baseline="0" noProof="0" dirty="0">
              <a:ln>
                <a:noFill/>
              </a:ln>
              <a:solidFill>
                <a:srgbClr val="FFFFFF"/>
              </a:solidFill>
              <a:effectLst/>
              <a:uLnTx/>
              <a:uFillTx/>
              <a:latin typeface="DM Sans" pitchFamily="2" charset="77"/>
              <a:ea typeface="ヒラギノ角ゴ Pro W3" charset="0"/>
              <a:cs typeface="Arial" panose="020B0604020202020204" pitchFamily="34" charset="0"/>
            </a:endParaRPr>
          </a:p>
        </p:txBody>
      </p:sp>
      <p:sp>
        <p:nvSpPr>
          <p:cNvPr id="12" name="Rectangle 11">
            <a:extLst>
              <a:ext uri="{FF2B5EF4-FFF2-40B4-BE49-F238E27FC236}">
                <a16:creationId xmlns:a16="http://schemas.microsoft.com/office/drawing/2014/main" id="{E4C2F783-9497-2960-39F4-7C7E6DD3925D}"/>
              </a:ext>
            </a:extLst>
          </p:cNvPr>
          <p:cNvSpPr/>
          <p:nvPr/>
        </p:nvSpPr>
        <p:spPr>
          <a:xfrm>
            <a:off x="877460" y="3711330"/>
            <a:ext cx="2546146" cy="1815882"/>
          </a:xfrm>
          <a:prstGeom prst="rect">
            <a:avLst/>
          </a:prstGeom>
          <a:noFill/>
          <a:ln w="12700" cap="flat" cmpd="sng" algn="ctr">
            <a:noFill/>
            <a:prstDash val="solid"/>
            <a:miter lim="800000"/>
          </a:ln>
          <a:effectLst/>
        </p:spPr>
        <p:txBody>
          <a:bodyPr wrap="square" rtlCol="0" anchor="t">
            <a:spAutoFit/>
          </a:bodyPr>
          <a:lstStyle/>
          <a:p>
            <a:pPr lvl="0" algn="ctr">
              <a:defRPr/>
            </a:pPr>
            <a:r>
              <a:rPr lang="en-GB" sz="1600" dirty="0"/>
              <a:t>Attackers flood inboxes with junk, then impersonate Help Desk, calling victims and requesting remote access under the guise of fixing the issue.</a:t>
            </a:r>
            <a:endParaRPr kumimoji="0" lang="en-US" sz="1600" b="0" i="0" u="none" strike="noStrike" kern="0" cap="none" spc="0" normalizeH="0" baseline="0" noProof="0" dirty="0">
              <a:ln>
                <a:noFill/>
              </a:ln>
              <a:solidFill>
                <a:srgbClr val="FFFFFF"/>
              </a:solidFill>
              <a:effectLst/>
              <a:uLnTx/>
              <a:uFillTx/>
              <a:latin typeface="DM Sans" pitchFamily="2" charset="77"/>
              <a:ea typeface="+mn-ea"/>
              <a:cs typeface="+mn-cs"/>
            </a:endParaRPr>
          </a:p>
        </p:txBody>
      </p:sp>
    </p:spTree>
    <p:extLst>
      <p:ext uri="{BB962C8B-B14F-4D97-AF65-F5344CB8AC3E}">
        <p14:creationId xmlns:p14="http://schemas.microsoft.com/office/powerpoint/2010/main" val="3835430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5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p:bldP spid="10" grpId="0"/>
      <p:bldP spid="11" grpId="0"/>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CFF76-D589-30AB-85D7-CB80F9DFB8EA}"/>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E2BC9ED2-1309-80BB-AB1D-FEFC67BE31AA}"/>
              </a:ext>
            </a:extLst>
          </p:cNvPr>
          <p:cNvSpPr txBox="1"/>
          <p:nvPr/>
        </p:nvSpPr>
        <p:spPr>
          <a:xfrm>
            <a:off x="-434340" y="3853501"/>
            <a:ext cx="6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600" b="0" i="0" u="none" strike="noStrike" kern="1200" cap="none" spc="0" normalizeH="0" baseline="0" noProof="0" err="1">
              <a:ln>
                <a:noFill/>
              </a:ln>
              <a:solidFill>
                <a:srgbClr val="73718A"/>
              </a:solidFill>
              <a:effectLst/>
              <a:uLnTx/>
              <a:uFillTx/>
              <a:latin typeface="DM Sans"/>
              <a:ea typeface="+mn-ea"/>
              <a:cs typeface="+mn-cs"/>
            </a:endParaRPr>
          </a:p>
        </p:txBody>
      </p:sp>
      <p:sp>
        <p:nvSpPr>
          <p:cNvPr id="2" name="Title 1">
            <a:extLst>
              <a:ext uri="{FF2B5EF4-FFF2-40B4-BE49-F238E27FC236}">
                <a16:creationId xmlns:a16="http://schemas.microsoft.com/office/drawing/2014/main" id="{771AED84-20EE-2E9E-480E-532F0BB5D038}"/>
              </a:ext>
            </a:extLst>
          </p:cNvPr>
          <p:cNvSpPr>
            <a:spLocks noGrp="1"/>
          </p:cNvSpPr>
          <p:nvPr>
            <p:ph type="title"/>
          </p:nvPr>
        </p:nvSpPr>
        <p:spPr>
          <a:xfrm>
            <a:off x="534691" y="356872"/>
            <a:ext cx="10752614" cy="505844"/>
          </a:xfrm>
        </p:spPr>
        <p:txBody>
          <a:bodyPr/>
          <a:lstStyle/>
          <a:p>
            <a:r>
              <a:rPr lang="en-US" sz="3600" dirty="0"/>
              <a:t>Vishing</a:t>
            </a:r>
            <a:endParaRPr lang="en-US" dirty="0"/>
          </a:p>
        </p:txBody>
      </p:sp>
      <p:sp>
        <p:nvSpPr>
          <p:cNvPr id="3" name="Rectangle 2">
            <a:extLst>
              <a:ext uri="{FF2B5EF4-FFF2-40B4-BE49-F238E27FC236}">
                <a16:creationId xmlns:a16="http://schemas.microsoft.com/office/drawing/2014/main" id="{A2534A0A-4130-AB17-AEF3-92A110044FE0}"/>
              </a:ext>
            </a:extLst>
          </p:cNvPr>
          <p:cNvSpPr/>
          <p:nvPr/>
        </p:nvSpPr>
        <p:spPr>
          <a:xfrm>
            <a:off x="4791196" y="2065382"/>
            <a:ext cx="2993152" cy="2147835"/>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4" name="Rectangle 3">
            <a:extLst>
              <a:ext uri="{FF2B5EF4-FFF2-40B4-BE49-F238E27FC236}">
                <a16:creationId xmlns:a16="http://schemas.microsoft.com/office/drawing/2014/main" id="{479B04D0-E7F6-CEC2-5843-72BE7F22B587}"/>
              </a:ext>
            </a:extLst>
          </p:cNvPr>
          <p:cNvSpPr/>
          <p:nvPr/>
        </p:nvSpPr>
        <p:spPr>
          <a:xfrm>
            <a:off x="4784985" y="2582730"/>
            <a:ext cx="2985385" cy="1077218"/>
          </a:xfrm>
          <a:prstGeom prst="rect">
            <a:avLst/>
          </a:prstGeom>
          <a:noFill/>
          <a:ln w="12700" cap="flat" cmpd="sng" algn="ctr">
            <a:noFill/>
            <a:prstDash val="solid"/>
            <a:miter lim="800000"/>
          </a:ln>
          <a:effectLst/>
        </p:spPr>
        <p:txBody>
          <a:bodyPr rtlCol="0" anchor="ctr">
            <a:spAutoFit/>
          </a:bodyPr>
          <a:lstStyle/>
          <a:p>
            <a:pPr lvl="0" algn="ctr">
              <a:defRPr/>
            </a:pPr>
            <a:r>
              <a:rPr lang="en-US" sz="4800" kern="0" dirty="0">
                <a:solidFill>
                  <a:srgbClr val="2CD9C5"/>
                </a:solidFill>
                <a:latin typeface="Aleo Medium" pitchFamily="2" charset="0"/>
              </a:rPr>
              <a:t>1633%</a:t>
            </a:r>
            <a:r>
              <a:rPr kumimoji="0" lang="en-US" sz="4800" b="0" i="0" u="none" strike="noStrike" kern="0" cap="none" spc="0" normalizeH="0" baseline="0" noProof="0" dirty="0">
                <a:ln>
                  <a:noFill/>
                </a:ln>
                <a:solidFill>
                  <a:srgbClr val="2CD9C5"/>
                </a:solidFill>
                <a:effectLst/>
                <a:uLnTx/>
                <a:uFillTx/>
                <a:latin typeface="Aleo Medium" pitchFamily="2" charset="0"/>
                <a:ea typeface="+mn-ea"/>
                <a:cs typeface="+mn-cs"/>
              </a:rPr>
              <a:t> </a:t>
            </a:r>
            <a:br>
              <a:rPr kumimoji="0" lang="en-US" sz="2800" b="0" i="0" u="none" strike="noStrike" kern="0" cap="none" spc="0" normalizeH="0" baseline="0" noProof="0" dirty="0">
                <a:ln>
                  <a:noFill/>
                </a:ln>
                <a:solidFill>
                  <a:srgbClr val="2CD9C5"/>
                </a:solidFill>
                <a:effectLst/>
                <a:uLnTx/>
                <a:uFillTx/>
                <a:latin typeface="Aleo Medium" pitchFamily="2" charset="0"/>
                <a:ea typeface="+mn-ea"/>
                <a:cs typeface="+mn-cs"/>
              </a:rPr>
            </a:br>
            <a:r>
              <a:rPr kumimoji="0" lang="en-US" sz="1600" b="0" i="0" u="none" strike="noStrike" kern="0" cap="none" spc="0" normalizeH="0" baseline="0" noProof="0" dirty="0">
                <a:ln>
                  <a:noFill/>
                </a:ln>
                <a:effectLst/>
                <a:uLnTx/>
                <a:uFillTx/>
                <a:latin typeface="DM Sans"/>
                <a:ea typeface="+mn-ea"/>
                <a:cs typeface="+mn-cs"/>
              </a:rPr>
              <a:t>More attacks</a:t>
            </a:r>
            <a:endParaRPr kumimoji="0" lang="en-US" sz="2800" b="0" i="0" u="none" strike="noStrike" kern="0" cap="none" spc="0" normalizeH="0" baseline="0" noProof="0" dirty="0">
              <a:ln>
                <a:noFill/>
              </a:ln>
              <a:effectLst/>
              <a:uLnTx/>
              <a:uFillTx/>
              <a:latin typeface="DM Sans"/>
              <a:ea typeface="+mn-ea"/>
              <a:cs typeface="+mn-cs"/>
            </a:endParaRPr>
          </a:p>
        </p:txBody>
      </p:sp>
      <p:sp>
        <p:nvSpPr>
          <p:cNvPr id="6" name="TextBox 5">
            <a:extLst>
              <a:ext uri="{FF2B5EF4-FFF2-40B4-BE49-F238E27FC236}">
                <a16:creationId xmlns:a16="http://schemas.microsoft.com/office/drawing/2014/main" id="{8B1E6976-23B8-AE58-511B-C9BE03A125DA}"/>
              </a:ext>
            </a:extLst>
          </p:cNvPr>
          <p:cNvSpPr txBox="1"/>
          <p:nvPr/>
        </p:nvSpPr>
        <p:spPr>
          <a:xfrm>
            <a:off x="3553097" y="4624251"/>
            <a:ext cx="5721532" cy="430887"/>
          </a:xfrm>
          <a:prstGeom prst="rect">
            <a:avLst/>
          </a:prstGeom>
          <a:noFill/>
        </p:spPr>
        <p:txBody>
          <a:bodyPr wrap="square" lIns="0" tIns="0" rIns="0" bIns="0" rtlCol="0">
            <a:spAutoFit/>
          </a:bodyPr>
          <a:lstStyle/>
          <a:p>
            <a:pPr algn="ctr"/>
            <a:r>
              <a:rPr lang="en-GB" sz="2800" dirty="0"/>
              <a:t>compared to last quarter</a:t>
            </a:r>
            <a:endParaRPr lang="en-CH" sz="2800" dirty="0" err="1"/>
          </a:p>
        </p:txBody>
      </p:sp>
    </p:spTree>
    <p:extLst>
      <p:ext uri="{BB962C8B-B14F-4D97-AF65-F5344CB8AC3E}">
        <p14:creationId xmlns:p14="http://schemas.microsoft.com/office/powerpoint/2010/main" val="1213929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6" grpId="0"/>
    </p:bld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B2F0824-328A-2459-12A0-626CDE9195DD}"/>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48A9CFD9-90DB-1220-9627-DE5E58E002A0}"/>
              </a:ext>
            </a:extLst>
          </p:cNvPr>
          <p:cNvPicPr>
            <a:picLocks noChangeAspect="1"/>
          </p:cNvPicPr>
          <p:nvPr/>
        </p:nvPicPr>
        <p:blipFill>
          <a:blip r:embed="rId3">
            <a:alphaModFix amt="18000"/>
          </a:blip>
          <a:srcRect l="4133" r="4133"/>
          <a:stretch/>
        </p:blipFill>
        <p:spPr>
          <a:xfrm>
            <a:off x="0" y="0"/>
            <a:ext cx="12192000" cy="6858001"/>
          </a:xfrm>
          <a:prstGeom prst="rect">
            <a:avLst/>
          </a:prstGeom>
        </p:spPr>
      </p:pic>
      <p:sp>
        <p:nvSpPr>
          <p:cNvPr id="3" name="Title 2">
            <a:extLst>
              <a:ext uri="{FF2B5EF4-FFF2-40B4-BE49-F238E27FC236}">
                <a16:creationId xmlns:a16="http://schemas.microsoft.com/office/drawing/2014/main" id="{FD01619C-59AF-6937-F9DA-3B8AEB7DDB67}"/>
              </a:ext>
            </a:extLst>
          </p:cNvPr>
          <p:cNvSpPr>
            <a:spLocks noGrp="1"/>
          </p:cNvSpPr>
          <p:nvPr>
            <p:ph type="title"/>
          </p:nvPr>
        </p:nvSpPr>
        <p:spPr>
          <a:xfrm>
            <a:off x="2024701" y="3056308"/>
            <a:ext cx="8142598" cy="738664"/>
          </a:xfrm>
        </p:spPr>
        <p:txBody>
          <a:bodyPr/>
          <a:lstStyle/>
          <a:p>
            <a:r>
              <a:rPr lang="en-US" sz="4800" dirty="0"/>
              <a:t>Zero-day Development</a:t>
            </a:r>
          </a:p>
        </p:txBody>
      </p:sp>
      <p:sp>
        <p:nvSpPr>
          <p:cNvPr id="4" name="Text Placeholder 3">
            <a:extLst>
              <a:ext uri="{FF2B5EF4-FFF2-40B4-BE49-F238E27FC236}">
                <a16:creationId xmlns:a16="http://schemas.microsoft.com/office/drawing/2014/main" id="{F5ED71A0-F552-DC9B-226D-865C4BCA93A1}"/>
              </a:ext>
            </a:extLst>
          </p:cNvPr>
          <p:cNvSpPr>
            <a:spLocks noGrp="1"/>
          </p:cNvSpPr>
          <p:nvPr>
            <p:ph type="body" sz="quarter" idx="10"/>
          </p:nvPr>
        </p:nvSpPr>
        <p:spPr>
          <a:xfrm>
            <a:off x="1244600" y="2730426"/>
            <a:ext cx="9702800" cy="215444"/>
          </a:xfrm>
        </p:spPr>
        <p:txBody>
          <a:bodyPr/>
          <a:lstStyle/>
          <a:p>
            <a:r>
              <a:rPr lang="en-US" dirty="0"/>
              <a:t>#6</a:t>
            </a:r>
          </a:p>
        </p:txBody>
      </p:sp>
      <p:pic>
        <p:nvPicPr>
          <p:cNvPr id="5" name="Graphic 4">
            <a:extLst>
              <a:ext uri="{FF2B5EF4-FFF2-40B4-BE49-F238E27FC236}">
                <a16:creationId xmlns:a16="http://schemas.microsoft.com/office/drawing/2014/main" id="{291D15ED-20A3-DEBF-AF45-1205F06FED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63622" y="5861785"/>
            <a:ext cx="1264753" cy="267956"/>
          </a:xfrm>
          <a:prstGeom prst="rect">
            <a:avLst/>
          </a:prstGeom>
        </p:spPr>
      </p:pic>
    </p:spTree>
    <p:extLst>
      <p:ext uri="{BB962C8B-B14F-4D97-AF65-F5344CB8AC3E}">
        <p14:creationId xmlns:p14="http://schemas.microsoft.com/office/powerpoint/2010/main" val="4779229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CE872A6-04A2-1879-F8DC-644E87A893D8}"/>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39729698-5937-F50D-3299-7FD95AC0DB93}"/>
              </a:ext>
            </a:extLst>
          </p:cNvPr>
          <p:cNvSpPr txBox="1"/>
          <p:nvPr/>
        </p:nvSpPr>
        <p:spPr>
          <a:xfrm>
            <a:off x="-434340" y="3853501"/>
            <a:ext cx="6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600" b="0" i="0" u="none" strike="noStrike" kern="1200" cap="none" spc="0" normalizeH="0" baseline="0" noProof="0" err="1">
              <a:ln>
                <a:noFill/>
              </a:ln>
              <a:solidFill>
                <a:srgbClr val="73718A"/>
              </a:solidFill>
              <a:effectLst/>
              <a:uLnTx/>
              <a:uFillTx/>
              <a:latin typeface="DM Sans"/>
              <a:ea typeface="+mn-ea"/>
              <a:cs typeface="+mn-cs"/>
            </a:endParaRPr>
          </a:p>
        </p:txBody>
      </p:sp>
      <p:sp>
        <p:nvSpPr>
          <p:cNvPr id="2" name="Title 1">
            <a:extLst>
              <a:ext uri="{FF2B5EF4-FFF2-40B4-BE49-F238E27FC236}">
                <a16:creationId xmlns:a16="http://schemas.microsoft.com/office/drawing/2014/main" id="{443EEEE9-7A96-134E-5A50-9F8051FC5522}"/>
              </a:ext>
            </a:extLst>
          </p:cNvPr>
          <p:cNvSpPr>
            <a:spLocks noGrp="1"/>
          </p:cNvSpPr>
          <p:nvPr>
            <p:ph type="title"/>
          </p:nvPr>
        </p:nvSpPr>
        <p:spPr>
          <a:xfrm>
            <a:off x="534691" y="356872"/>
            <a:ext cx="10752614" cy="505844"/>
          </a:xfrm>
        </p:spPr>
        <p:txBody>
          <a:bodyPr/>
          <a:lstStyle/>
          <a:p>
            <a:r>
              <a:rPr lang="en-US" sz="3600" dirty="0"/>
              <a:t>Zero-day Development</a:t>
            </a:r>
            <a:endParaRPr lang="en-US" dirty="0"/>
          </a:p>
        </p:txBody>
      </p:sp>
      <p:sp>
        <p:nvSpPr>
          <p:cNvPr id="3" name="Rectangle 2">
            <a:extLst>
              <a:ext uri="{FF2B5EF4-FFF2-40B4-BE49-F238E27FC236}">
                <a16:creationId xmlns:a16="http://schemas.microsoft.com/office/drawing/2014/main" id="{F149FDFE-3FEB-4753-B771-A5EF36371229}"/>
              </a:ext>
            </a:extLst>
          </p:cNvPr>
          <p:cNvSpPr/>
          <p:nvPr/>
        </p:nvSpPr>
        <p:spPr>
          <a:xfrm>
            <a:off x="720484" y="1114397"/>
            <a:ext cx="5920014" cy="4546174"/>
          </a:xfrm>
          <a:prstGeom prst="rect">
            <a:avLst/>
          </a:prstGeom>
          <a:noFill/>
          <a:ln w="12700" cap="flat" cmpd="sng" algn="ctr">
            <a:noFill/>
            <a:prstDash val="solid"/>
            <a:miter lim="800000"/>
          </a:ln>
          <a:effectLst/>
        </p:spPr>
        <p:txBody>
          <a:bodyPr lIns="0" rIns="0" rtlCol="0" anchor="ctr"/>
          <a:lstStyle/>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i="1" u="none" strike="noStrike" kern="0" cap="none" spc="0" normalizeH="0" baseline="0" noProof="0" dirty="0">
                <a:ln>
                  <a:noFill/>
                </a:ln>
                <a:solidFill>
                  <a:srgbClr val="FFFFFF"/>
                </a:solidFill>
                <a:effectLst/>
                <a:uLnTx/>
                <a:uFillTx/>
                <a:latin typeface="DM Sans" pitchFamily="2" charset="77"/>
              </a:rPr>
              <a:t>Email bombing</a:t>
            </a: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400" i="1" kern="0" dirty="0">
                <a:solidFill>
                  <a:srgbClr val="FFFFFF"/>
                </a:solidFill>
                <a:latin typeface="DM Sans" pitchFamily="2" charset="77"/>
              </a:rPr>
              <a:t>Malvertising</a:t>
            </a:r>
            <a:endParaRPr kumimoji="0" lang="en-GB" sz="2400" i="1" u="none" strike="noStrike" kern="0" cap="none" spc="0" normalizeH="0" baseline="0" noProof="0" dirty="0">
              <a:ln>
                <a:noFill/>
              </a:ln>
              <a:solidFill>
                <a:srgbClr val="FFFFFF"/>
              </a:solidFill>
              <a:effectLst/>
              <a:uLnTx/>
              <a:uFillTx/>
              <a:latin typeface="DM Sans" pitchFamily="2" charset="77"/>
            </a:endParaRPr>
          </a:p>
          <a:p>
            <a:pPr marL="342900" marR="0" lvl="0" indent="-3429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1" i="1" u="none" strike="noStrike" kern="0" cap="none" spc="0" normalizeH="0" baseline="0" noProof="0" dirty="0">
              <a:ln>
                <a:noFill/>
              </a:ln>
              <a:solidFill>
                <a:srgbClr val="FFFFFF"/>
              </a:solidFill>
              <a:effectLst/>
              <a:uLnTx/>
              <a:uFillTx/>
              <a:latin typeface="DM Sans" pitchFamily="2" charset="77"/>
            </a:endParaRPr>
          </a:p>
        </p:txBody>
      </p:sp>
      <p:pic>
        <p:nvPicPr>
          <p:cNvPr id="5" name="Picture 4">
            <a:extLst>
              <a:ext uri="{FF2B5EF4-FFF2-40B4-BE49-F238E27FC236}">
                <a16:creationId xmlns:a16="http://schemas.microsoft.com/office/drawing/2014/main" id="{CC3D1D8C-859C-51BC-7852-8BD167CC3731}"/>
              </a:ext>
            </a:extLst>
          </p:cNvPr>
          <p:cNvPicPr>
            <a:picLocks noChangeAspect="1"/>
          </p:cNvPicPr>
          <p:nvPr/>
        </p:nvPicPr>
        <p:blipFill>
          <a:blip r:embed="rId3"/>
          <a:srcRect/>
          <a:stretch/>
        </p:blipFill>
        <p:spPr>
          <a:xfrm>
            <a:off x="6292300" y="1607128"/>
            <a:ext cx="5179216" cy="3560711"/>
          </a:xfrm>
          <a:prstGeom prst="rect">
            <a:avLst/>
          </a:prstGeom>
        </p:spPr>
      </p:pic>
    </p:spTree>
    <p:extLst>
      <p:ext uri="{BB962C8B-B14F-4D97-AF65-F5344CB8AC3E}">
        <p14:creationId xmlns:p14="http://schemas.microsoft.com/office/powerpoint/2010/main" val="1025955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DD87B4-A597-5CB2-435A-6E1D38AAEE84}"/>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BBC3F1BA-79FF-4E22-09A3-5FF0248E374D}"/>
              </a:ext>
            </a:extLst>
          </p:cNvPr>
          <p:cNvSpPr>
            <a:spLocks noGrp="1"/>
          </p:cNvSpPr>
          <p:nvPr>
            <p:ph type="title"/>
          </p:nvPr>
        </p:nvSpPr>
        <p:spPr>
          <a:xfrm>
            <a:off x="442912" y="5778551"/>
            <a:ext cx="10727113" cy="680186"/>
          </a:xfrm>
        </p:spPr>
        <p:txBody>
          <a:bodyPr/>
          <a:lstStyle/>
          <a:p>
            <a:r>
              <a:rPr lang="en-US" sz="4800" dirty="0"/>
              <a:t>Rising Threats</a:t>
            </a:r>
          </a:p>
        </p:txBody>
      </p:sp>
      <p:pic>
        <p:nvPicPr>
          <p:cNvPr id="6" name="Picture Placeholder 5">
            <a:extLst>
              <a:ext uri="{FF2B5EF4-FFF2-40B4-BE49-F238E27FC236}">
                <a16:creationId xmlns:a16="http://schemas.microsoft.com/office/drawing/2014/main" id="{974CAA14-2E28-A717-C988-3A0DCDF546CD}"/>
              </a:ext>
            </a:extLst>
          </p:cNvPr>
          <p:cNvPicPr>
            <a:picLocks noGrp="1" noChangeAspect="1"/>
          </p:cNvPicPr>
          <p:nvPr>
            <p:ph type="pic" sz="quarter" idx="14"/>
          </p:nvPr>
        </p:nvPicPr>
        <p:blipFill>
          <a:blip r:embed="rId3">
            <a:alphaModFix/>
          </a:blip>
          <a:srcRect t="10736" b="10736"/>
          <a:stretch/>
        </p:blipFill>
        <p:spPr>
          <a:prstGeom prst="rect">
            <a:avLst/>
          </a:prstGeom>
        </p:spPr>
      </p:pic>
    </p:spTree>
    <p:extLst>
      <p:ext uri="{BB962C8B-B14F-4D97-AF65-F5344CB8AC3E}">
        <p14:creationId xmlns:p14="http://schemas.microsoft.com/office/powerpoint/2010/main" val="26676173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EBD37-2628-F999-88D3-B42D09C382EF}"/>
            </a:ext>
          </a:extLst>
        </p:cNvPr>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3CE743E-601D-7E75-F070-0D71C46A97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5" progId="TCLayout.ActiveDocument.1">
                  <p:embed/>
                </p:oleObj>
              </mc:Choice>
              <mc:Fallback>
                <p:oleObj name="think-cell Slide" r:id="rId4" imgW="344" imgH="345" progId="TCLayout.ActiveDocument.1">
                  <p:embed/>
                  <p:pic>
                    <p:nvPicPr>
                      <p:cNvPr id="14" name="think-cell data - do not delete" hidden="1">
                        <a:extLst>
                          <a:ext uri="{FF2B5EF4-FFF2-40B4-BE49-F238E27FC236}">
                            <a16:creationId xmlns:a16="http://schemas.microsoft.com/office/drawing/2014/main" id="{63CE743E-601D-7E75-F070-0D71C46A97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Bildplatzhalter 4">
            <a:extLst>
              <a:ext uri="{FF2B5EF4-FFF2-40B4-BE49-F238E27FC236}">
                <a16:creationId xmlns:a16="http://schemas.microsoft.com/office/drawing/2014/main" id="{F2027B8D-DA25-6411-2EDC-A81E2086E1B6}"/>
              </a:ext>
            </a:extLst>
          </p:cNvPr>
          <p:cNvPicPr>
            <a:picLocks noGrp="1" noChangeAspect="1"/>
          </p:cNvPicPr>
          <p:nvPr>
            <p:ph type="pic" sz="quarter" idx="14"/>
          </p:nvPr>
        </p:nvPicPr>
        <p:blipFill>
          <a:blip r:embed="rId6">
            <a:alphaModFix amt="10000"/>
          </a:blip>
          <a:srcRect t="10755" b="10755"/>
          <a:stretch>
            <a:fillRect/>
          </a:stretch>
        </p:blipFill>
        <p:spPr>
          <a:prstGeom prst="rect">
            <a:avLst/>
          </a:prstGeom>
        </p:spPr>
      </p:pic>
      <p:sp>
        <p:nvSpPr>
          <p:cNvPr id="2" name="Rectangle 1">
            <a:extLst>
              <a:ext uri="{FF2B5EF4-FFF2-40B4-BE49-F238E27FC236}">
                <a16:creationId xmlns:a16="http://schemas.microsoft.com/office/drawing/2014/main" id="{738E0F06-744A-9E46-8B67-EB2EEB6DA6D4}"/>
              </a:ext>
            </a:extLst>
          </p:cNvPr>
          <p:cNvSpPr/>
          <p:nvPr/>
        </p:nvSpPr>
        <p:spPr>
          <a:xfrm>
            <a:off x="0" y="4939989"/>
            <a:ext cx="12192000" cy="1273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err="1"/>
          </a:p>
        </p:txBody>
      </p:sp>
      <p:sp>
        <p:nvSpPr>
          <p:cNvPr id="3" name="Titel 6">
            <a:extLst>
              <a:ext uri="{FF2B5EF4-FFF2-40B4-BE49-F238E27FC236}">
                <a16:creationId xmlns:a16="http://schemas.microsoft.com/office/drawing/2014/main" id="{D91559EE-B0DA-66B3-16D4-DACAEE331D0A}"/>
              </a:ext>
            </a:extLst>
          </p:cNvPr>
          <p:cNvSpPr txBox="1">
            <a:spLocks/>
          </p:cNvSpPr>
          <p:nvPr/>
        </p:nvSpPr>
        <p:spPr>
          <a:xfrm>
            <a:off x="442912" y="5275176"/>
            <a:ext cx="11336338" cy="1177925"/>
          </a:xfrm>
          <a:prstGeom prst="rect">
            <a:avLst/>
          </a:prstGeom>
        </p:spPr>
        <p:txBody>
          <a:bodyPr vert="horz" wrap="square" lIns="0" tIns="0" rIns="0" bIns="0" rtlCol="0" anchor="ctr">
            <a:noAutofit/>
          </a:bodyPr>
          <a:lstStyle>
            <a:lvl1pPr algn="l" defTabSz="914400" rtl="0" eaLnBrk="1" latinLnBrk="0" hangingPunct="1">
              <a:lnSpc>
                <a:spcPct val="90000"/>
              </a:lnSpc>
              <a:spcBef>
                <a:spcPct val="0"/>
              </a:spcBef>
              <a:buNone/>
              <a:defRPr sz="4200" b="1" i="0" kern="1200">
                <a:solidFill>
                  <a:schemeClr val="tx2"/>
                </a:solidFill>
                <a:latin typeface="Aleo Black" pitchFamily="2" charset="77"/>
                <a:ea typeface="+mj-ea"/>
                <a:cs typeface="+mj-cs"/>
              </a:defRPr>
            </a:lvl1pPr>
          </a:lstStyle>
          <a:p>
            <a:r>
              <a:rPr lang="en-US" b="0">
                <a:latin typeface="Aleo SemiBold" pitchFamily="2" charset="0"/>
              </a:rPr>
              <a:t>Agenda</a:t>
            </a:r>
            <a:endParaRPr lang="en-US" b="0">
              <a:solidFill>
                <a:srgbClr val="00B0F0"/>
              </a:solidFill>
              <a:latin typeface="Aleo SemiBold" pitchFamily="2" charset="0"/>
            </a:endParaRPr>
          </a:p>
        </p:txBody>
      </p:sp>
      <p:sp>
        <p:nvSpPr>
          <p:cNvPr id="4" name="Rectangle 3">
            <a:extLst>
              <a:ext uri="{FF2B5EF4-FFF2-40B4-BE49-F238E27FC236}">
                <a16:creationId xmlns:a16="http://schemas.microsoft.com/office/drawing/2014/main" id="{DC5BA9D8-CE6A-0B84-B127-FF92C5805CF2}"/>
              </a:ext>
            </a:extLst>
          </p:cNvPr>
          <p:cNvSpPr/>
          <p:nvPr/>
        </p:nvSpPr>
        <p:spPr>
          <a:xfrm>
            <a:off x="720484" y="1114397"/>
            <a:ext cx="6605602" cy="2891546"/>
          </a:xfrm>
          <a:prstGeom prst="rect">
            <a:avLst/>
          </a:prstGeom>
          <a:noFill/>
          <a:ln w="12700" cap="flat" cmpd="sng" algn="ctr">
            <a:noFill/>
            <a:prstDash val="solid"/>
            <a:miter lim="800000"/>
          </a:ln>
          <a:effectLst/>
        </p:spPr>
        <p:txBody>
          <a:bodyPr lIns="0" rIns="0" rtlCol="0" anchor="ctr"/>
          <a:lstStyle/>
          <a:p>
            <a:pPr marL="342900" marR="0" lvl="0" indent="-342900" defTabSz="914400" eaLnBrk="1" fontAlgn="auto" latinLnBrk="0" hangingPunct="1">
              <a:lnSpc>
                <a:spcPct val="100000"/>
              </a:lnSpc>
              <a:spcBef>
                <a:spcPts val="1800"/>
              </a:spcBef>
              <a:spcAft>
                <a:spcPts val="0"/>
              </a:spcAft>
              <a:buClrTx/>
              <a:buSzTx/>
              <a:buFont typeface="Wingdings" pitchFamily="2" charset="2"/>
              <a:buChar char="v"/>
              <a:tabLst/>
              <a:defRPr/>
            </a:pPr>
            <a:r>
              <a:rPr kumimoji="0" lang="en-US" sz="3200" b="0" i="0" u="none" strike="noStrike" kern="0" cap="none" spc="0" normalizeH="0" baseline="0" noProof="0" dirty="0">
                <a:ln>
                  <a:noFill/>
                </a:ln>
                <a:solidFill>
                  <a:srgbClr val="FFFFFF"/>
                </a:solidFill>
                <a:effectLst/>
                <a:uLnTx/>
                <a:uFillTx/>
                <a:latin typeface="DM Sans" pitchFamily="2" charset="77"/>
              </a:rPr>
              <a:t> Cyber Trends to Watch</a:t>
            </a:r>
          </a:p>
          <a:p>
            <a:pPr marL="342900" marR="0" lvl="0" indent="-342900" defTabSz="914400" eaLnBrk="1" fontAlgn="auto" latinLnBrk="0" hangingPunct="1">
              <a:lnSpc>
                <a:spcPct val="100000"/>
              </a:lnSpc>
              <a:spcBef>
                <a:spcPts val="1800"/>
              </a:spcBef>
              <a:spcAft>
                <a:spcPts val="0"/>
              </a:spcAft>
              <a:buClrTx/>
              <a:buSzTx/>
              <a:buFont typeface="Wingdings" pitchFamily="2" charset="2"/>
              <a:buChar char="v"/>
              <a:tabLst/>
              <a:defRPr/>
            </a:pPr>
            <a:r>
              <a:rPr kumimoji="0" lang="en-US" sz="3200" b="0" i="0" u="none" strike="noStrike" kern="0" cap="none" spc="0" normalizeH="0" baseline="0" noProof="0" dirty="0">
                <a:ln>
                  <a:noFill/>
                </a:ln>
                <a:solidFill>
                  <a:srgbClr val="FFFFFF"/>
                </a:solidFill>
                <a:effectLst/>
                <a:uLnTx/>
                <a:uFillTx/>
                <a:latin typeface="DM Sans" pitchFamily="2" charset="77"/>
              </a:rPr>
              <a:t> Threat Spotlights</a:t>
            </a:r>
          </a:p>
          <a:p>
            <a:pPr marL="342900" marR="0" lvl="0" indent="-342900" defTabSz="914400" eaLnBrk="1" fontAlgn="auto" latinLnBrk="0" hangingPunct="1">
              <a:lnSpc>
                <a:spcPct val="100000"/>
              </a:lnSpc>
              <a:spcBef>
                <a:spcPts val="1800"/>
              </a:spcBef>
              <a:spcAft>
                <a:spcPts val="0"/>
              </a:spcAft>
              <a:buClrTx/>
              <a:buSzTx/>
              <a:buFont typeface="Wingdings" pitchFamily="2" charset="2"/>
              <a:buChar char="v"/>
              <a:tabLst/>
              <a:defRPr/>
            </a:pPr>
            <a:r>
              <a:rPr lang="en-US" sz="3200" kern="0" dirty="0">
                <a:solidFill>
                  <a:srgbClr val="FFFFFF"/>
                </a:solidFill>
                <a:latin typeface="DM Sans" pitchFamily="2" charset="77"/>
              </a:rPr>
              <a:t> Rising Threats</a:t>
            </a:r>
            <a:endParaRPr kumimoji="0" lang="en-US" sz="3200" b="0" i="0" u="none" strike="noStrike" kern="0" cap="none" spc="0" normalizeH="0" baseline="0" noProof="0" dirty="0">
              <a:ln>
                <a:noFill/>
              </a:ln>
              <a:solidFill>
                <a:srgbClr val="FFFFFF"/>
              </a:solidFill>
              <a:effectLst/>
              <a:uLnTx/>
              <a:uFillTx/>
              <a:latin typeface="DM Sans" pitchFamily="2" charset="77"/>
            </a:endParaRPr>
          </a:p>
        </p:txBody>
      </p:sp>
    </p:spTree>
    <p:extLst>
      <p:ext uri="{BB962C8B-B14F-4D97-AF65-F5344CB8AC3E}">
        <p14:creationId xmlns:p14="http://schemas.microsoft.com/office/powerpoint/2010/main" val="290377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7E684D-8717-9C5C-B809-E7CC0B282401}"/>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FB4B5210-C47A-640B-6520-DD442D1D413B}"/>
              </a:ext>
            </a:extLst>
          </p:cNvPr>
          <p:cNvPicPr>
            <a:picLocks noChangeAspect="1"/>
          </p:cNvPicPr>
          <p:nvPr/>
        </p:nvPicPr>
        <p:blipFill>
          <a:blip r:embed="rId3">
            <a:alphaModFix amt="18000"/>
          </a:blip>
          <a:srcRect l="4133" r="4133"/>
          <a:stretch/>
        </p:blipFill>
        <p:spPr>
          <a:xfrm>
            <a:off x="0" y="0"/>
            <a:ext cx="12192000" cy="6858001"/>
          </a:xfrm>
          <a:prstGeom prst="rect">
            <a:avLst/>
          </a:prstGeom>
        </p:spPr>
      </p:pic>
      <p:sp>
        <p:nvSpPr>
          <p:cNvPr id="3" name="Title 2">
            <a:extLst>
              <a:ext uri="{FF2B5EF4-FFF2-40B4-BE49-F238E27FC236}">
                <a16:creationId xmlns:a16="http://schemas.microsoft.com/office/drawing/2014/main" id="{4378011E-D8D4-79AE-216F-61DC60879F45}"/>
              </a:ext>
            </a:extLst>
          </p:cNvPr>
          <p:cNvSpPr>
            <a:spLocks noGrp="1"/>
          </p:cNvSpPr>
          <p:nvPr>
            <p:ph type="title"/>
          </p:nvPr>
        </p:nvSpPr>
        <p:spPr>
          <a:xfrm>
            <a:off x="2024701" y="3056308"/>
            <a:ext cx="8142598" cy="738664"/>
          </a:xfrm>
        </p:spPr>
        <p:txBody>
          <a:bodyPr/>
          <a:lstStyle/>
          <a:p>
            <a:r>
              <a:rPr lang="en-GB" sz="4800" dirty="0"/>
              <a:t>Rise in IoT &amp; OT Threats</a:t>
            </a:r>
            <a:endParaRPr lang="en-US" sz="4800" dirty="0"/>
          </a:p>
        </p:txBody>
      </p:sp>
      <p:sp>
        <p:nvSpPr>
          <p:cNvPr id="4" name="Text Placeholder 3">
            <a:extLst>
              <a:ext uri="{FF2B5EF4-FFF2-40B4-BE49-F238E27FC236}">
                <a16:creationId xmlns:a16="http://schemas.microsoft.com/office/drawing/2014/main" id="{3345EA32-2C1A-FAE3-0E5F-B218055CB978}"/>
              </a:ext>
            </a:extLst>
          </p:cNvPr>
          <p:cNvSpPr>
            <a:spLocks noGrp="1"/>
          </p:cNvSpPr>
          <p:nvPr>
            <p:ph type="body" sz="quarter" idx="10"/>
          </p:nvPr>
        </p:nvSpPr>
        <p:spPr>
          <a:xfrm>
            <a:off x="1244600" y="2730426"/>
            <a:ext cx="9702800" cy="215444"/>
          </a:xfrm>
        </p:spPr>
        <p:txBody>
          <a:bodyPr/>
          <a:lstStyle/>
          <a:p>
            <a:r>
              <a:rPr lang="en-US" dirty="0"/>
              <a:t>#5</a:t>
            </a:r>
          </a:p>
        </p:txBody>
      </p:sp>
      <p:pic>
        <p:nvPicPr>
          <p:cNvPr id="5" name="Graphic 4">
            <a:extLst>
              <a:ext uri="{FF2B5EF4-FFF2-40B4-BE49-F238E27FC236}">
                <a16:creationId xmlns:a16="http://schemas.microsoft.com/office/drawing/2014/main" id="{1E4B8388-B801-3D77-ECE5-DB4A2C56AB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63622" y="5861785"/>
            <a:ext cx="1264753" cy="267956"/>
          </a:xfrm>
          <a:prstGeom prst="rect">
            <a:avLst/>
          </a:prstGeom>
        </p:spPr>
      </p:pic>
    </p:spTree>
    <p:extLst>
      <p:ext uri="{BB962C8B-B14F-4D97-AF65-F5344CB8AC3E}">
        <p14:creationId xmlns:p14="http://schemas.microsoft.com/office/powerpoint/2010/main" val="1866788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6BA172-699E-6768-8170-FE3CBE7AE0B2}"/>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B6135F11-D841-7D3A-B190-2B5EF5830467}"/>
              </a:ext>
            </a:extLst>
          </p:cNvPr>
          <p:cNvSpPr txBox="1"/>
          <p:nvPr/>
        </p:nvSpPr>
        <p:spPr>
          <a:xfrm>
            <a:off x="-434340" y="3853501"/>
            <a:ext cx="6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600" b="0" i="0" u="none" strike="noStrike" kern="1200" cap="none" spc="0" normalizeH="0" baseline="0" noProof="0" err="1">
              <a:ln>
                <a:noFill/>
              </a:ln>
              <a:solidFill>
                <a:srgbClr val="73718A"/>
              </a:solidFill>
              <a:effectLst/>
              <a:uLnTx/>
              <a:uFillTx/>
              <a:latin typeface="DM Sans"/>
              <a:ea typeface="+mn-ea"/>
              <a:cs typeface="+mn-cs"/>
            </a:endParaRPr>
          </a:p>
        </p:txBody>
      </p:sp>
      <p:sp>
        <p:nvSpPr>
          <p:cNvPr id="2" name="Title 1">
            <a:extLst>
              <a:ext uri="{FF2B5EF4-FFF2-40B4-BE49-F238E27FC236}">
                <a16:creationId xmlns:a16="http://schemas.microsoft.com/office/drawing/2014/main" id="{5589B34A-52D7-A243-6DA9-51C0C9163805}"/>
              </a:ext>
            </a:extLst>
          </p:cNvPr>
          <p:cNvSpPr>
            <a:spLocks noGrp="1"/>
          </p:cNvSpPr>
          <p:nvPr>
            <p:ph type="title"/>
          </p:nvPr>
        </p:nvSpPr>
        <p:spPr>
          <a:xfrm>
            <a:off x="534691" y="356872"/>
            <a:ext cx="10752614" cy="505844"/>
          </a:xfrm>
        </p:spPr>
        <p:txBody>
          <a:bodyPr/>
          <a:lstStyle/>
          <a:p>
            <a:r>
              <a:rPr lang="en-GB" dirty="0"/>
              <a:t>Rise in IoT &amp; OT Threats</a:t>
            </a:r>
            <a:endParaRPr lang="en-US" dirty="0"/>
          </a:p>
        </p:txBody>
      </p:sp>
      <p:sp>
        <p:nvSpPr>
          <p:cNvPr id="4" name="Rectangle 3">
            <a:extLst>
              <a:ext uri="{FF2B5EF4-FFF2-40B4-BE49-F238E27FC236}">
                <a16:creationId xmlns:a16="http://schemas.microsoft.com/office/drawing/2014/main" id="{F20BBCE9-23F1-B7E4-A4C2-F1F447BB968D}"/>
              </a:ext>
            </a:extLst>
          </p:cNvPr>
          <p:cNvSpPr/>
          <p:nvPr/>
        </p:nvSpPr>
        <p:spPr>
          <a:xfrm>
            <a:off x="4465772" y="1593568"/>
            <a:ext cx="2993152" cy="4519866"/>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6" name="Rectangle 5">
            <a:extLst>
              <a:ext uri="{FF2B5EF4-FFF2-40B4-BE49-F238E27FC236}">
                <a16:creationId xmlns:a16="http://schemas.microsoft.com/office/drawing/2014/main" id="{0163AE90-B8E6-E54C-4E24-B20A92DD7D5C}"/>
              </a:ext>
            </a:extLst>
          </p:cNvPr>
          <p:cNvSpPr/>
          <p:nvPr/>
        </p:nvSpPr>
        <p:spPr>
          <a:xfrm>
            <a:off x="640124" y="1593568"/>
            <a:ext cx="2993152" cy="4519866"/>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7" name="Rectangle 6">
            <a:extLst>
              <a:ext uri="{FF2B5EF4-FFF2-40B4-BE49-F238E27FC236}">
                <a16:creationId xmlns:a16="http://schemas.microsoft.com/office/drawing/2014/main" id="{DE639B20-241C-C6FF-4A1D-B1D38E87F64A}"/>
              </a:ext>
            </a:extLst>
          </p:cNvPr>
          <p:cNvSpPr/>
          <p:nvPr/>
        </p:nvSpPr>
        <p:spPr>
          <a:xfrm>
            <a:off x="650624" y="2297178"/>
            <a:ext cx="2985385" cy="830997"/>
          </a:xfrm>
          <a:prstGeom prst="rect">
            <a:avLst/>
          </a:prstGeom>
          <a:noFill/>
          <a:ln w="12700" cap="flat" cmpd="sng" algn="ctr">
            <a:noFill/>
            <a:prstDash val="solid"/>
            <a:miter lim="800000"/>
          </a:ln>
          <a:effectLst/>
        </p:spPr>
        <p:txBody>
          <a:bodyPr rtlCol="0" anchor="ctr">
            <a:spAutoFit/>
          </a:bodyPr>
          <a:lstStyle/>
          <a:p>
            <a:pPr lvl="0" algn="ctr">
              <a:defRPr/>
            </a:pPr>
            <a:r>
              <a:rPr lang="en-US" sz="2400" b="1" kern="0" dirty="0">
                <a:solidFill>
                  <a:srgbClr val="2CD9C5"/>
                </a:solidFill>
              </a:rPr>
              <a:t>Consumer and Proprietary Collide</a:t>
            </a:r>
          </a:p>
        </p:txBody>
      </p:sp>
      <p:sp>
        <p:nvSpPr>
          <p:cNvPr id="8" name="Rectangle 7">
            <a:extLst>
              <a:ext uri="{FF2B5EF4-FFF2-40B4-BE49-F238E27FC236}">
                <a16:creationId xmlns:a16="http://schemas.microsoft.com/office/drawing/2014/main" id="{C20F36E5-74CC-24E6-1B2C-DC180B15EC01}"/>
              </a:ext>
            </a:extLst>
          </p:cNvPr>
          <p:cNvSpPr/>
          <p:nvPr/>
        </p:nvSpPr>
        <p:spPr>
          <a:xfrm>
            <a:off x="4478140" y="2481598"/>
            <a:ext cx="2974573" cy="461665"/>
          </a:xfrm>
          <a:prstGeom prst="rect">
            <a:avLst/>
          </a:prstGeom>
          <a:noFill/>
          <a:ln w="12700" cap="flat" cmpd="sng" algn="ctr">
            <a:noFill/>
            <a:prstDash val="solid"/>
            <a:miter lim="800000"/>
          </a:ln>
          <a:effectLst/>
        </p:spPr>
        <p:txBody>
          <a:bodyPr rtlCol="0" anchor="ctr">
            <a:spAutoFit/>
          </a:bodyPr>
          <a:lstStyle/>
          <a:p>
            <a:pPr lvl="0" algn="ctr">
              <a:defRPr/>
            </a:pPr>
            <a:r>
              <a:rPr lang="en-US" sz="2400" b="1" kern="0" dirty="0">
                <a:solidFill>
                  <a:srgbClr val="2CD9C5"/>
                </a:solidFill>
              </a:rPr>
              <a:t>Abuse of IoT/OT</a:t>
            </a:r>
            <a:endParaRPr kumimoji="0" lang="en-US" sz="2400" b="1" i="0" u="none" strike="noStrike" kern="0" cap="none" spc="0" normalizeH="0" baseline="0" noProof="0" dirty="0">
              <a:ln>
                <a:noFill/>
              </a:ln>
              <a:solidFill>
                <a:srgbClr val="2CD9C5"/>
              </a:solidFill>
              <a:effectLst/>
              <a:uLnTx/>
              <a:uFillTx/>
              <a:latin typeface="DM Sans"/>
            </a:endParaRPr>
          </a:p>
        </p:txBody>
      </p:sp>
      <p:sp>
        <p:nvSpPr>
          <p:cNvPr id="9" name="Rectangle 8">
            <a:extLst>
              <a:ext uri="{FF2B5EF4-FFF2-40B4-BE49-F238E27FC236}">
                <a16:creationId xmlns:a16="http://schemas.microsoft.com/office/drawing/2014/main" id="{9A01E12E-9101-F13F-B37A-028A9EFCD181}"/>
              </a:ext>
            </a:extLst>
          </p:cNvPr>
          <p:cNvSpPr/>
          <p:nvPr/>
        </p:nvSpPr>
        <p:spPr>
          <a:xfrm>
            <a:off x="4692947" y="3711330"/>
            <a:ext cx="2546146" cy="2062103"/>
          </a:xfrm>
          <a:prstGeom prst="rect">
            <a:avLst/>
          </a:prstGeom>
          <a:noFill/>
          <a:ln w="12700" cap="flat" cmpd="sng" algn="ctr">
            <a:noFill/>
            <a:prstDash val="solid"/>
            <a:miter lim="800000"/>
          </a:ln>
          <a:effectLst/>
        </p:spPr>
        <p:txBody>
          <a:bodyPr wrap="square" rtlCol="0" anchor="t">
            <a:spAutoFit/>
          </a:bodyPr>
          <a:lstStyle/>
          <a:p>
            <a:pPr lvl="0" algn="ctr">
              <a:defRPr/>
            </a:pPr>
            <a:r>
              <a:rPr lang="en-GB" sz="1600" kern="0" dirty="0">
                <a:solidFill>
                  <a:srgbClr val="FFFFFF"/>
                </a:solidFill>
                <a:latin typeface="DM Sans" pitchFamily="2" charset="77"/>
                <a:ea typeface="ヒラギノ角ゴ Pro W3" charset="0"/>
                <a:cs typeface="Arial" panose="020B0604020202020204" pitchFamily="34" charset="0"/>
              </a:rPr>
              <a:t>Low-priced IoT devices often have insecure firmware, making them vulnerable to command injection, remote code execution, and privilege escalation attacks due to direct data handling.</a:t>
            </a:r>
            <a:endParaRPr kumimoji="0" lang="en-US" sz="1600" u="none" strike="noStrike" kern="0" cap="none" spc="0" normalizeH="0" baseline="0" noProof="0" dirty="0">
              <a:ln>
                <a:noFill/>
              </a:ln>
              <a:solidFill>
                <a:srgbClr val="FFFFFF"/>
              </a:solidFill>
              <a:effectLst/>
              <a:uLnTx/>
              <a:uFillTx/>
              <a:latin typeface="DM Sans" pitchFamily="2" charset="77"/>
              <a:ea typeface="ヒラギノ角ゴ Pro W3" charset="0"/>
              <a:cs typeface="Arial" panose="020B0604020202020204" pitchFamily="34" charset="0"/>
            </a:endParaRPr>
          </a:p>
        </p:txBody>
      </p:sp>
      <p:sp>
        <p:nvSpPr>
          <p:cNvPr id="10" name="Rectangle 9">
            <a:extLst>
              <a:ext uri="{FF2B5EF4-FFF2-40B4-BE49-F238E27FC236}">
                <a16:creationId xmlns:a16="http://schemas.microsoft.com/office/drawing/2014/main" id="{CD51DEFC-812B-006C-F622-B1F4D9E4A304}"/>
              </a:ext>
            </a:extLst>
          </p:cNvPr>
          <p:cNvSpPr/>
          <p:nvPr/>
        </p:nvSpPr>
        <p:spPr>
          <a:xfrm>
            <a:off x="877460" y="3711330"/>
            <a:ext cx="2546146" cy="2062103"/>
          </a:xfrm>
          <a:prstGeom prst="rect">
            <a:avLst/>
          </a:prstGeom>
          <a:noFill/>
          <a:ln w="12700" cap="flat" cmpd="sng" algn="ctr">
            <a:noFill/>
            <a:prstDash val="solid"/>
            <a:miter lim="800000"/>
          </a:ln>
          <a:effectLst/>
        </p:spPr>
        <p:txBody>
          <a:bodyPr wrap="square" rtlCol="0" anchor="t">
            <a:spAutoFit/>
          </a:bodyPr>
          <a:lstStyle/>
          <a:p>
            <a:pPr lvl="0" algn="ctr">
              <a:defRPr/>
            </a:pPr>
            <a:r>
              <a:rPr lang="en-GB" sz="1600" dirty="0"/>
              <a:t>Consumer IoT shares hardware/software with OT and can operate autonomously. They increasingly appear on corporate networks due to remote work and ease of deployment.</a:t>
            </a:r>
            <a:endParaRPr kumimoji="0" lang="en-US" sz="1600" b="0" i="0" u="none" strike="noStrike" kern="0" cap="none" spc="0" normalizeH="0" baseline="0" noProof="0" dirty="0">
              <a:ln>
                <a:noFill/>
              </a:ln>
              <a:solidFill>
                <a:srgbClr val="FFFFFF"/>
              </a:solidFill>
              <a:effectLst/>
              <a:uLnTx/>
              <a:uFillTx/>
              <a:latin typeface="DM Sans" pitchFamily="2" charset="77"/>
              <a:ea typeface="+mn-ea"/>
              <a:cs typeface="+mn-cs"/>
            </a:endParaRPr>
          </a:p>
        </p:txBody>
      </p:sp>
      <p:sp>
        <p:nvSpPr>
          <p:cNvPr id="11" name="Rectangle 10">
            <a:extLst>
              <a:ext uri="{FF2B5EF4-FFF2-40B4-BE49-F238E27FC236}">
                <a16:creationId xmlns:a16="http://schemas.microsoft.com/office/drawing/2014/main" id="{65A7A098-49DF-86D9-9563-3853BBCBC177}"/>
              </a:ext>
            </a:extLst>
          </p:cNvPr>
          <p:cNvSpPr/>
          <p:nvPr/>
        </p:nvSpPr>
        <p:spPr>
          <a:xfrm>
            <a:off x="8294153" y="1593568"/>
            <a:ext cx="2993152" cy="4519866"/>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12" name="Rectangle 11">
            <a:extLst>
              <a:ext uri="{FF2B5EF4-FFF2-40B4-BE49-F238E27FC236}">
                <a16:creationId xmlns:a16="http://schemas.microsoft.com/office/drawing/2014/main" id="{D90C9AAB-C549-C42B-B488-A548BD330D7D}"/>
              </a:ext>
            </a:extLst>
          </p:cNvPr>
          <p:cNvSpPr/>
          <p:nvPr/>
        </p:nvSpPr>
        <p:spPr>
          <a:xfrm>
            <a:off x="8306521" y="2296932"/>
            <a:ext cx="2974573" cy="830997"/>
          </a:xfrm>
          <a:prstGeom prst="rect">
            <a:avLst/>
          </a:prstGeom>
          <a:noFill/>
          <a:ln w="12700" cap="flat" cmpd="sng" algn="ctr">
            <a:noFill/>
            <a:prstDash val="solid"/>
            <a:miter lim="800000"/>
          </a:ln>
          <a:effectLst/>
        </p:spPr>
        <p:txBody>
          <a:bodyPr rtlCol="0" anchor="ctr">
            <a:spAutoFit/>
          </a:bodyPr>
          <a:lstStyle/>
          <a:p>
            <a:pPr lvl="0" algn="ctr">
              <a:defRPr/>
            </a:pPr>
            <a:r>
              <a:rPr lang="en-US" sz="2400" b="1" kern="0" dirty="0">
                <a:solidFill>
                  <a:srgbClr val="2CD9C5"/>
                </a:solidFill>
              </a:rPr>
              <a:t>Recent IoT/OT Attacks</a:t>
            </a:r>
            <a:endParaRPr kumimoji="0" lang="en-US" sz="2400" b="1" i="0" u="none" strike="noStrike" kern="0" cap="none" spc="0" normalizeH="0" baseline="0" noProof="0" dirty="0">
              <a:ln>
                <a:noFill/>
              </a:ln>
              <a:solidFill>
                <a:srgbClr val="2CD9C5"/>
              </a:solidFill>
              <a:effectLst/>
              <a:uLnTx/>
              <a:uFillTx/>
              <a:latin typeface="DM Sans"/>
            </a:endParaRPr>
          </a:p>
        </p:txBody>
      </p:sp>
      <p:sp>
        <p:nvSpPr>
          <p:cNvPr id="13" name="Rectangle 12">
            <a:extLst>
              <a:ext uri="{FF2B5EF4-FFF2-40B4-BE49-F238E27FC236}">
                <a16:creationId xmlns:a16="http://schemas.microsoft.com/office/drawing/2014/main" id="{0B738E10-FC8E-8B6B-9E4B-2DB21401C512}"/>
              </a:ext>
            </a:extLst>
          </p:cNvPr>
          <p:cNvSpPr/>
          <p:nvPr/>
        </p:nvSpPr>
        <p:spPr>
          <a:xfrm>
            <a:off x="8521328" y="3711330"/>
            <a:ext cx="2546146" cy="1815882"/>
          </a:xfrm>
          <a:prstGeom prst="rect">
            <a:avLst/>
          </a:prstGeom>
          <a:noFill/>
          <a:ln w="12700" cap="flat" cmpd="sng" algn="ctr">
            <a:noFill/>
            <a:prstDash val="solid"/>
            <a:miter lim="800000"/>
          </a:ln>
          <a:effectLst/>
        </p:spPr>
        <p:txBody>
          <a:bodyPr wrap="square" rtlCol="0" anchor="t">
            <a:spAutoFit/>
          </a:bodyPr>
          <a:lstStyle/>
          <a:p>
            <a:pPr lvl="0" algn="ctr">
              <a:defRPr/>
            </a:pPr>
            <a:r>
              <a:rPr lang="en-GB" sz="1600" kern="0" dirty="0">
                <a:solidFill>
                  <a:srgbClr val="FFFFFF"/>
                </a:solidFill>
                <a:latin typeface="DM Sans" pitchFamily="2" charset="77"/>
                <a:ea typeface="ヒラギノ角ゴ Pro W3" charset="0"/>
                <a:cs typeface="Arial" panose="020B0604020202020204" pitchFamily="34" charset="0"/>
              </a:rPr>
              <a:t> From large-scale </a:t>
            </a:r>
          </a:p>
          <a:p>
            <a:pPr lvl="0" algn="ctr">
              <a:defRPr/>
            </a:pPr>
            <a:r>
              <a:rPr lang="en-GB" sz="1600" kern="0" dirty="0">
                <a:solidFill>
                  <a:srgbClr val="FFFFFF"/>
                </a:solidFill>
                <a:latin typeface="DM Sans" pitchFamily="2" charset="77"/>
                <a:ea typeface="ヒラギノ角ゴ Pro W3" charset="0"/>
                <a:cs typeface="Arial" panose="020B0604020202020204" pitchFamily="34" charset="0"/>
              </a:rPr>
              <a:t>botnets leveraging unpatched IoT devices to sophisticated nation-state actors </a:t>
            </a:r>
          </a:p>
          <a:p>
            <a:pPr lvl="0" algn="ctr">
              <a:defRPr/>
            </a:pPr>
            <a:r>
              <a:rPr lang="en-GB" sz="1600" kern="0" dirty="0">
                <a:solidFill>
                  <a:srgbClr val="FFFFFF"/>
                </a:solidFill>
                <a:latin typeface="DM Sans" pitchFamily="2" charset="77"/>
                <a:ea typeface="ヒラギノ角ゴ Pro W3" charset="0"/>
                <a:cs typeface="Arial" panose="020B0604020202020204" pitchFamily="34" charset="0"/>
              </a:rPr>
              <a:t>targeting industrial control systems.</a:t>
            </a:r>
            <a:endParaRPr kumimoji="0" lang="en-US" sz="1600" u="none" strike="noStrike" kern="0" cap="none" spc="0" normalizeH="0" baseline="0" noProof="0" dirty="0">
              <a:ln>
                <a:noFill/>
              </a:ln>
              <a:solidFill>
                <a:srgbClr val="FFFFFF"/>
              </a:solidFill>
              <a:effectLst/>
              <a:uLnTx/>
              <a:uFillTx/>
              <a:latin typeface="DM Sans" pitchFamily="2" charset="77"/>
              <a:ea typeface="ヒラギノ角ゴ Pro W3" charset="0"/>
              <a:cs typeface="Arial" panose="020B0604020202020204" pitchFamily="34" charset="0"/>
            </a:endParaRPr>
          </a:p>
        </p:txBody>
      </p:sp>
    </p:spTree>
    <p:extLst>
      <p:ext uri="{BB962C8B-B14F-4D97-AF65-F5344CB8AC3E}">
        <p14:creationId xmlns:p14="http://schemas.microsoft.com/office/powerpoint/2010/main" val="23479871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fade">
                                      <p:cBhvr>
                                        <p:cTn id="24" dur="500"/>
                                        <p:tgtEl>
                                          <p:spTgt spid="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p:bldP spid="8" grpId="0"/>
      <p:bldP spid="9" grpId="0"/>
      <p:bldP spid="10" grpId="0"/>
      <p:bldP spid="11" grpId="0" animBg="1"/>
      <p:bldP spid="12" grpId="0"/>
      <p:bldP spid="1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0B1A55-F1C6-A7B8-01B7-0F1D2493FA3B}"/>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F614410C-F60A-2570-EDE6-8E830EC442CD}"/>
              </a:ext>
            </a:extLst>
          </p:cNvPr>
          <p:cNvSpPr>
            <a:spLocks noGrp="1"/>
          </p:cNvSpPr>
          <p:nvPr>
            <p:ph type="title"/>
          </p:nvPr>
        </p:nvSpPr>
        <p:spPr>
          <a:xfrm>
            <a:off x="442912" y="5778551"/>
            <a:ext cx="10727113" cy="680186"/>
          </a:xfrm>
        </p:spPr>
        <p:txBody>
          <a:bodyPr/>
          <a:lstStyle/>
          <a:p>
            <a:r>
              <a:rPr lang="en-US" sz="4800" dirty="0"/>
              <a:t>Getting Cyber Serious</a:t>
            </a:r>
          </a:p>
        </p:txBody>
      </p:sp>
      <p:pic>
        <p:nvPicPr>
          <p:cNvPr id="6" name="Picture Placeholder 5">
            <a:extLst>
              <a:ext uri="{FF2B5EF4-FFF2-40B4-BE49-F238E27FC236}">
                <a16:creationId xmlns:a16="http://schemas.microsoft.com/office/drawing/2014/main" id="{42BCCB84-0858-D2DB-219A-AC36CB81C162}"/>
              </a:ext>
            </a:extLst>
          </p:cNvPr>
          <p:cNvPicPr>
            <a:picLocks noGrp="1" noChangeAspect="1"/>
          </p:cNvPicPr>
          <p:nvPr>
            <p:ph type="pic" sz="quarter" idx="14"/>
          </p:nvPr>
        </p:nvPicPr>
        <p:blipFill>
          <a:blip r:embed="rId3">
            <a:alphaModFix/>
          </a:blip>
          <a:srcRect t="10736" b="10736"/>
          <a:stretch/>
        </p:blipFill>
        <p:spPr>
          <a:prstGeom prst="rect">
            <a:avLst/>
          </a:prstGeom>
        </p:spPr>
      </p:pic>
    </p:spTree>
    <p:extLst>
      <p:ext uri="{BB962C8B-B14F-4D97-AF65-F5344CB8AC3E}">
        <p14:creationId xmlns:p14="http://schemas.microsoft.com/office/powerpoint/2010/main" val="37699623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1988-97F6-80EF-3D42-73BBC16F3ABA}"/>
              </a:ext>
            </a:extLst>
          </p:cNvPr>
          <p:cNvSpPr>
            <a:spLocks noGrp="1"/>
          </p:cNvSpPr>
          <p:nvPr>
            <p:ph type="title"/>
          </p:nvPr>
        </p:nvSpPr>
        <p:spPr/>
        <p:txBody>
          <a:bodyPr/>
          <a:lstStyle/>
          <a:p>
            <a:r>
              <a:rPr lang="en-US" dirty="0"/>
              <a:t>Getting Cyber Serious</a:t>
            </a:r>
          </a:p>
        </p:txBody>
      </p:sp>
      <p:sp>
        <p:nvSpPr>
          <p:cNvPr id="13" name="TextBox 12">
            <a:extLst>
              <a:ext uri="{FF2B5EF4-FFF2-40B4-BE49-F238E27FC236}">
                <a16:creationId xmlns:a16="http://schemas.microsoft.com/office/drawing/2014/main" id="{3D285C7B-0F47-46AA-98DE-CCB355C4E90C}"/>
              </a:ext>
            </a:extLst>
          </p:cNvPr>
          <p:cNvSpPr txBox="1"/>
          <p:nvPr/>
        </p:nvSpPr>
        <p:spPr>
          <a:xfrm>
            <a:off x="8234014" y="2418901"/>
            <a:ext cx="1854000"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leo SemiBold" pitchFamily="2" charset="77"/>
                <a:ea typeface="+mn-ea"/>
                <a:cs typeface="+mn-cs"/>
              </a:rPr>
              <a:t>Monitor and Secure Built-in System Tools</a:t>
            </a:r>
            <a:r>
              <a:rPr kumimoji="0" lang="en-US" sz="1800" b="0" i="0" u="none" strike="noStrike" kern="1200" cap="none" spc="0" normalizeH="0" baseline="0" noProof="0" dirty="0">
                <a:ln>
                  <a:noFill/>
                </a:ln>
                <a:solidFill>
                  <a:srgbClr val="FFFFFF"/>
                </a:solidFill>
                <a:effectLst/>
                <a:uLnTx/>
                <a:uFillTx/>
                <a:latin typeface="Aleo SemiBold" pitchFamily="2" charset="77"/>
                <a:ea typeface="+mn-ea"/>
                <a:cs typeface="+mn-cs"/>
              </a:rPr>
              <a:t> </a:t>
            </a:r>
          </a:p>
        </p:txBody>
      </p:sp>
      <p:sp>
        <p:nvSpPr>
          <p:cNvPr id="14" name="TextBox 13">
            <a:extLst>
              <a:ext uri="{FF2B5EF4-FFF2-40B4-BE49-F238E27FC236}">
                <a16:creationId xmlns:a16="http://schemas.microsoft.com/office/drawing/2014/main" id="{5EA88C9D-986C-E1BF-7FDA-F1595AFECCCD}"/>
              </a:ext>
            </a:extLst>
          </p:cNvPr>
          <p:cNvSpPr txBox="1"/>
          <p:nvPr/>
        </p:nvSpPr>
        <p:spPr>
          <a:xfrm>
            <a:off x="8234014" y="4652508"/>
            <a:ext cx="1854000"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leo SemiBold" pitchFamily="2" charset="77"/>
                <a:ea typeface="+mn-ea"/>
                <a:cs typeface="+mn-cs"/>
              </a:rPr>
              <a:t>Improve Incident Respon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leo SemiBold" pitchFamily="2" charset="77"/>
                <a:ea typeface="+mn-ea"/>
                <a:cs typeface="+mn-cs"/>
              </a:rPr>
              <a:t>and Threat Hunting</a:t>
            </a:r>
            <a:endParaRPr kumimoji="0" lang="en-US" sz="1800" b="0" i="0" u="none" strike="noStrike" kern="1200" cap="none" spc="0" normalizeH="0" baseline="0" noProof="0" dirty="0">
              <a:ln>
                <a:noFill/>
              </a:ln>
              <a:solidFill>
                <a:srgbClr val="FFFFFF"/>
              </a:solidFill>
              <a:effectLst/>
              <a:uLnTx/>
              <a:uFillTx/>
              <a:latin typeface="Aleo SemiBold" pitchFamily="2" charset="77"/>
              <a:ea typeface="+mn-ea"/>
              <a:cs typeface="+mn-cs"/>
            </a:endParaRPr>
          </a:p>
        </p:txBody>
      </p:sp>
      <p:sp>
        <p:nvSpPr>
          <p:cNvPr id="15" name="TextBox 14">
            <a:extLst>
              <a:ext uri="{FF2B5EF4-FFF2-40B4-BE49-F238E27FC236}">
                <a16:creationId xmlns:a16="http://schemas.microsoft.com/office/drawing/2014/main" id="{87D9F73A-CB3F-81B1-FD08-661853A6B8E3}"/>
              </a:ext>
            </a:extLst>
          </p:cNvPr>
          <p:cNvSpPr txBox="1"/>
          <p:nvPr/>
        </p:nvSpPr>
        <p:spPr>
          <a:xfrm>
            <a:off x="5161009" y="4729451"/>
            <a:ext cx="1854000"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leo SemiBold" pitchFamily="2" charset="77"/>
                <a:ea typeface="+mn-ea"/>
                <a:cs typeface="+mn-cs"/>
              </a:rPr>
              <a:t>Enhance Web and Email Security</a:t>
            </a:r>
            <a:endParaRPr kumimoji="0" lang="en-US" sz="1800" b="0" i="0" u="none" strike="noStrike" kern="1200" cap="none" spc="0" normalizeH="0" baseline="0" noProof="0" dirty="0">
              <a:ln>
                <a:noFill/>
              </a:ln>
              <a:solidFill>
                <a:srgbClr val="FFFFFF"/>
              </a:solidFill>
              <a:effectLst/>
              <a:uLnTx/>
              <a:uFillTx/>
              <a:latin typeface="Aleo SemiBold" pitchFamily="2" charset="77"/>
              <a:ea typeface="+mn-ea"/>
              <a:cs typeface="+mn-cs"/>
            </a:endParaRPr>
          </a:p>
        </p:txBody>
      </p:sp>
      <p:sp>
        <p:nvSpPr>
          <p:cNvPr id="16" name="TextBox 15">
            <a:extLst>
              <a:ext uri="{FF2B5EF4-FFF2-40B4-BE49-F238E27FC236}">
                <a16:creationId xmlns:a16="http://schemas.microsoft.com/office/drawing/2014/main" id="{CFC6B4AC-748C-7137-DD4A-7B594A893602}"/>
              </a:ext>
            </a:extLst>
          </p:cNvPr>
          <p:cNvSpPr txBox="1"/>
          <p:nvPr/>
        </p:nvSpPr>
        <p:spPr>
          <a:xfrm>
            <a:off x="2095995" y="4652508"/>
            <a:ext cx="1854000" cy="98488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leo SemiBold" pitchFamily="2" charset="77"/>
                <a:ea typeface="+mn-ea"/>
                <a:cs typeface="+mn-cs"/>
              </a:rPr>
              <a:t>Implement Rapid Patch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leo SemiBold" pitchFamily="2" charset="77"/>
                <a:ea typeface="+mn-ea"/>
                <a:cs typeface="+mn-cs"/>
              </a:rPr>
              <a:t>and Vulnerability Management</a:t>
            </a:r>
            <a:endParaRPr kumimoji="0" lang="en-US" sz="1600" b="0" i="0" u="none" strike="noStrike" kern="1200" cap="none" spc="0" normalizeH="0" baseline="0" noProof="0" dirty="0">
              <a:ln>
                <a:noFill/>
              </a:ln>
              <a:solidFill>
                <a:srgbClr val="FFFFFF"/>
              </a:solidFill>
              <a:effectLst/>
              <a:uLnTx/>
              <a:uFillTx/>
              <a:latin typeface="Aleo SemiBold" pitchFamily="2" charset="77"/>
              <a:ea typeface="+mn-ea"/>
              <a:cs typeface="+mn-cs"/>
            </a:endParaRPr>
          </a:p>
        </p:txBody>
      </p:sp>
      <p:sp>
        <p:nvSpPr>
          <p:cNvPr id="11" name="TextBox 10">
            <a:extLst>
              <a:ext uri="{FF2B5EF4-FFF2-40B4-BE49-F238E27FC236}">
                <a16:creationId xmlns:a16="http://schemas.microsoft.com/office/drawing/2014/main" id="{941085B2-2335-F5C4-39E6-1800B50028AA}"/>
              </a:ext>
            </a:extLst>
          </p:cNvPr>
          <p:cNvSpPr txBox="1"/>
          <p:nvPr/>
        </p:nvSpPr>
        <p:spPr>
          <a:xfrm>
            <a:off x="2095995" y="2313148"/>
            <a:ext cx="1854000"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latin typeface="Aleo SemiBold" pitchFamily="2" charset="0"/>
              </a:rPr>
              <a:t>Strengthen Ransomware </a:t>
            </a:r>
            <a:r>
              <a:rPr lang="en-GB" dirty="0" err="1">
                <a:latin typeface="Aleo SemiBold" pitchFamily="2" charset="0"/>
              </a:rPr>
              <a:t>Defenses</a:t>
            </a:r>
            <a:endParaRPr kumimoji="0" lang="en-US" sz="1800" i="0" u="none" strike="noStrike" kern="1200" cap="none" spc="0" normalizeH="0" baseline="0" noProof="0" dirty="0">
              <a:ln>
                <a:noFill/>
              </a:ln>
              <a:solidFill>
                <a:srgbClr val="FFFFFF"/>
              </a:solidFill>
              <a:effectLst/>
              <a:uLnTx/>
              <a:uFillTx/>
              <a:latin typeface="Aleo SemiBold" pitchFamily="2" charset="0"/>
            </a:endParaRPr>
          </a:p>
        </p:txBody>
      </p:sp>
      <p:sp>
        <p:nvSpPr>
          <p:cNvPr id="18" name="Rounded Rectangle 17">
            <a:extLst>
              <a:ext uri="{FF2B5EF4-FFF2-40B4-BE49-F238E27FC236}">
                <a16:creationId xmlns:a16="http://schemas.microsoft.com/office/drawing/2014/main" id="{CBADF621-6E29-F4DE-18A3-665718F10DE3}"/>
              </a:ext>
            </a:extLst>
          </p:cNvPr>
          <p:cNvSpPr/>
          <p:nvPr/>
        </p:nvSpPr>
        <p:spPr>
          <a:xfrm>
            <a:off x="1909316" y="1713049"/>
            <a:ext cx="2243340" cy="2031197"/>
          </a:xfrm>
          <a:prstGeom prst="roundRect">
            <a:avLst/>
          </a:prstGeom>
          <a:noFill/>
          <a:ln>
            <a:gradFill>
              <a:gsLst>
                <a:gs pos="0">
                  <a:schemeClr val="accent1"/>
                </a:gs>
                <a:gs pos="49000">
                  <a:schemeClr val="accent3"/>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a:ea typeface="+mn-ea"/>
              <a:cs typeface="+mn-cs"/>
            </a:endParaRPr>
          </a:p>
        </p:txBody>
      </p:sp>
      <p:sp>
        <p:nvSpPr>
          <p:cNvPr id="12" name="TextBox 11">
            <a:extLst>
              <a:ext uri="{FF2B5EF4-FFF2-40B4-BE49-F238E27FC236}">
                <a16:creationId xmlns:a16="http://schemas.microsoft.com/office/drawing/2014/main" id="{DACDBEE3-F0EE-FC9C-7FE5-EB8A9C39BCD9}"/>
              </a:ext>
            </a:extLst>
          </p:cNvPr>
          <p:cNvSpPr txBox="1"/>
          <p:nvPr/>
        </p:nvSpPr>
        <p:spPr>
          <a:xfrm>
            <a:off x="5169000" y="2313147"/>
            <a:ext cx="1854000"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a:latin typeface="Aleo SemiBold" pitchFamily="2" charset="0"/>
              </a:rPr>
              <a:t>Secure Authentication Methods</a:t>
            </a:r>
            <a:endParaRPr kumimoji="0" lang="en-US" sz="1800" b="0" i="0" u="none" strike="noStrike" kern="1200" cap="none" spc="0" normalizeH="0" baseline="0" noProof="0" dirty="0">
              <a:ln>
                <a:noFill/>
              </a:ln>
              <a:solidFill>
                <a:srgbClr val="FFFFFF"/>
              </a:solidFill>
              <a:effectLst/>
              <a:uLnTx/>
              <a:uFillTx/>
              <a:latin typeface="Aleo SemiBold" pitchFamily="2" charset="0"/>
            </a:endParaRPr>
          </a:p>
        </p:txBody>
      </p:sp>
      <p:sp>
        <p:nvSpPr>
          <p:cNvPr id="19" name="Rounded Rectangle 18">
            <a:extLst>
              <a:ext uri="{FF2B5EF4-FFF2-40B4-BE49-F238E27FC236}">
                <a16:creationId xmlns:a16="http://schemas.microsoft.com/office/drawing/2014/main" id="{2F8B07B9-D38B-B840-CF70-ECAFED2B5FC9}"/>
              </a:ext>
            </a:extLst>
          </p:cNvPr>
          <p:cNvSpPr/>
          <p:nvPr/>
        </p:nvSpPr>
        <p:spPr>
          <a:xfrm>
            <a:off x="4974330" y="1726442"/>
            <a:ext cx="2243340" cy="2031197"/>
          </a:xfrm>
          <a:prstGeom prst="roundRect">
            <a:avLst/>
          </a:prstGeom>
          <a:noFill/>
          <a:ln>
            <a:gradFill>
              <a:gsLst>
                <a:gs pos="0">
                  <a:schemeClr val="accent1"/>
                </a:gs>
                <a:gs pos="49000">
                  <a:schemeClr val="accent3"/>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a:ea typeface="+mn-ea"/>
              <a:cs typeface="+mn-cs"/>
            </a:endParaRPr>
          </a:p>
        </p:txBody>
      </p:sp>
      <p:sp>
        <p:nvSpPr>
          <p:cNvPr id="22" name="Rounded Rectangle 21">
            <a:extLst>
              <a:ext uri="{FF2B5EF4-FFF2-40B4-BE49-F238E27FC236}">
                <a16:creationId xmlns:a16="http://schemas.microsoft.com/office/drawing/2014/main" id="{4EEA492A-1A05-1E33-854D-DED18A0F8948}"/>
              </a:ext>
            </a:extLst>
          </p:cNvPr>
          <p:cNvSpPr/>
          <p:nvPr/>
        </p:nvSpPr>
        <p:spPr>
          <a:xfrm>
            <a:off x="8039344" y="1714508"/>
            <a:ext cx="2243340" cy="2031197"/>
          </a:xfrm>
          <a:prstGeom prst="roundRect">
            <a:avLst/>
          </a:prstGeom>
          <a:noFill/>
          <a:ln>
            <a:gradFill>
              <a:gsLst>
                <a:gs pos="0">
                  <a:schemeClr val="accent1"/>
                </a:gs>
                <a:gs pos="49000">
                  <a:schemeClr val="accent3"/>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a:ea typeface="+mn-ea"/>
              <a:cs typeface="+mn-cs"/>
            </a:endParaRPr>
          </a:p>
        </p:txBody>
      </p:sp>
      <p:sp>
        <p:nvSpPr>
          <p:cNvPr id="23" name="Rounded Rectangle 22">
            <a:extLst>
              <a:ext uri="{FF2B5EF4-FFF2-40B4-BE49-F238E27FC236}">
                <a16:creationId xmlns:a16="http://schemas.microsoft.com/office/drawing/2014/main" id="{637D7F64-9EA4-9B9F-8C98-7385F152A13B}"/>
              </a:ext>
            </a:extLst>
          </p:cNvPr>
          <p:cNvSpPr/>
          <p:nvPr/>
        </p:nvSpPr>
        <p:spPr>
          <a:xfrm>
            <a:off x="8039344" y="4095683"/>
            <a:ext cx="2243340" cy="2031197"/>
          </a:xfrm>
          <a:prstGeom prst="roundRect">
            <a:avLst/>
          </a:prstGeom>
          <a:noFill/>
          <a:ln>
            <a:gradFill>
              <a:gsLst>
                <a:gs pos="0">
                  <a:schemeClr val="accent1"/>
                </a:gs>
                <a:gs pos="49000">
                  <a:schemeClr val="accent3"/>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a:ea typeface="+mn-ea"/>
              <a:cs typeface="+mn-cs"/>
            </a:endParaRPr>
          </a:p>
        </p:txBody>
      </p:sp>
      <p:sp>
        <p:nvSpPr>
          <p:cNvPr id="24" name="Rounded Rectangle 23">
            <a:extLst>
              <a:ext uri="{FF2B5EF4-FFF2-40B4-BE49-F238E27FC236}">
                <a16:creationId xmlns:a16="http://schemas.microsoft.com/office/drawing/2014/main" id="{3F477387-BE2A-4A8C-9E14-2D5E0F856F1E}"/>
              </a:ext>
            </a:extLst>
          </p:cNvPr>
          <p:cNvSpPr/>
          <p:nvPr/>
        </p:nvSpPr>
        <p:spPr>
          <a:xfrm>
            <a:off x="4974330" y="4095682"/>
            <a:ext cx="2243340" cy="2031197"/>
          </a:xfrm>
          <a:prstGeom prst="roundRect">
            <a:avLst/>
          </a:prstGeom>
          <a:noFill/>
          <a:ln>
            <a:gradFill>
              <a:gsLst>
                <a:gs pos="0">
                  <a:schemeClr val="accent1"/>
                </a:gs>
                <a:gs pos="49000">
                  <a:schemeClr val="accent3"/>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a:ea typeface="+mn-ea"/>
              <a:cs typeface="+mn-cs"/>
            </a:endParaRPr>
          </a:p>
        </p:txBody>
      </p:sp>
      <p:sp>
        <p:nvSpPr>
          <p:cNvPr id="25" name="Rounded Rectangle 24">
            <a:extLst>
              <a:ext uri="{FF2B5EF4-FFF2-40B4-BE49-F238E27FC236}">
                <a16:creationId xmlns:a16="http://schemas.microsoft.com/office/drawing/2014/main" id="{CFBB034F-545D-96EB-6D08-E8A0DE0CB92D}"/>
              </a:ext>
            </a:extLst>
          </p:cNvPr>
          <p:cNvSpPr/>
          <p:nvPr/>
        </p:nvSpPr>
        <p:spPr>
          <a:xfrm>
            <a:off x="1903343" y="4095682"/>
            <a:ext cx="2243340" cy="2031197"/>
          </a:xfrm>
          <a:prstGeom prst="roundRect">
            <a:avLst/>
          </a:prstGeom>
          <a:noFill/>
          <a:ln>
            <a:gradFill>
              <a:gsLst>
                <a:gs pos="0">
                  <a:schemeClr val="accent1"/>
                </a:gs>
                <a:gs pos="49000">
                  <a:schemeClr val="accent3"/>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DM Sans"/>
              <a:ea typeface="+mn-ea"/>
              <a:cs typeface="+mn-cs"/>
            </a:endParaRPr>
          </a:p>
        </p:txBody>
      </p:sp>
    </p:spTree>
    <p:extLst>
      <p:ext uri="{BB962C8B-B14F-4D97-AF65-F5344CB8AC3E}">
        <p14:creationId xmlns:p14="http://schemas.microsoft.com/office/powerpoint/2010/main" val="257043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BDF6E8F-301B-BCF6-F60E-40B72787788D}"/>
              </a:ext>
            </a:extLst>
          </p:cNvPr>
          <p:cNvSpPr>
            <a:spLocks noGrp="1"/>
          </p:cNvSpPr>
          <p:nvPr>
            <p:ph type="title"/>
          </p:nvPr>
        </p:nvSpPr>
        <p:spPr/>
        <p:txBody>
          <a:bodyPr/>
          <a:lstStyle/>
          <a:p>
            <a:r>
              <a:rPr lang="en-US" sz="4800"/>
              <a:t>Company Overview</a:t>
            </a:r>
          </a:p>
        </p:txBody>
      </p:sp>
      <p:sp>
        <p:nvSpPr>
          <p:cNvPr id="3" name="Content Placeholder 2">
            <a:extLst>
              <a:ext uri="{FF2B5EF4-FFF2-40B4-BE49-F238E27FC236}">
                <a16:creationId xmlns:a16="http://schemas.microsoft.com/office/drawing/2014/main" id="{F42C45D8-A1CD-E580-067A-E86DE7048F16}"/>
              </a:ext>
            </a:extLst>
          </p:cNvPr>
          <p:cNvSpPr>
            <a:spLocks noGrp="1"/>
          </p:cNvSpPr>
          <p:nvPr>
            <p:ph sz="quarter" idx="13"/>
          </p:nvPr>
        </p:nvSpPr>
        <p:spPr/>
        <p:txBody>
          <a:bodyPr/>
          <a:lstStyle/>
          <a:p>
            <a:endParaRPr lang="en-US"/>
          </a:p>
        </p:txBody>
      </p:sp>
      <p:pic>
        <p:nvPicPr>
          <p:cNvPr id="6" name="Picture Placeholder 5" descr="A group of men smiling&#10;&#10;Description automatically generated">
            <a:extLst>
              <a:ext uri="{FF2B5EF4-FFF2-40B4-BE49-F238E27FC236}">
                <a16:creationId xmlns:a16="http://schemas.microsoft.com/office/drawing/2014/main" id="{FF9152A4-AAD2-7B71-DEB3-37A09D689CA4}"/>
              </a:ext>
            </a:extLst>
          </p:cNvPr>
          <p:cNvPicPr>
            <a:picLocks noGrp="1" noChangeAspect="1"/>
          </p:cNvPicPr>
          <p:nvPr>
            <p:ph type="pic" sz="quarter" idx="14"/>
          </p:nvPr>
        </p:nvPicPr>
        <p:blipFill rotWithShape="1">
          <a:blip r:embed="rId3">
            <a:alphaModFix/>
          </a:blip>
          <a:srcRect t="19578" b="19578"/>
          <a:stretch/>
        </p:blipFill>
        <p:spPr>
          <a:prstGeom prst="rect">
            <a:avLst/>
          </a:prstGeom>
        </p:spPr>
      </p:pic>
    </p:spTree>
    <p:extLst>
      <p:ext uri="{BB962C8B-B14F-4D97-AF65-F5344CB8AC3E}">
        <p14:creationId xmlns:p14="http://schemas.microsoft.com/office/powerpoint/2010/main" val="3616015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D95463A-D3E7-068B-DBB6-0B8474459335}"/>
              </a:ext>
            </a:extLst>
          </p:cNvPr>
          <p:cNvSpPr/>
          <p:nvPr/>
        </p:nvSpPr>
        <p:spPr>
          <a:xfrm>
            <a:off x="129013" y="1101827"/>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B8019808-53F8-AA40-E2A9-A18DD2152AA7}"/>
              </a:ext>
            </a:extLst>
          </p:cNvPr>
          <p:cNvSpPr/>
          <p:nvPr/>
        </p:nvSpPr>
        <p:spPr>
          <a:xfrm>
            <a:off x="2450078" y="664665"/>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5F4C393-02FB-8AD2-CEAA-0955C7F9237B}"/>
              </a:ext>
            </a:extLst>
          </p:cNvPr>
          <p:cNvSpPr/>
          <p:nvPr/>
        </p:nvSpPr>
        <p:spPr>
          <a:xfrm>
            <a:off x="4709438" y="664665"/>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8FE44077-A645-27FF-3C9C-7C894EF0E994}"/>
              </a:ext>
            </a:extLst>
          </p:cNvPr>
          <p:cNvSpPr/>
          <p:nvPr/>
        </p:nvSpPr>
        <p:spPr>
          <a:xfrm>
            <a:off x="6968798" y="664665"/>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EB5C8D4C-2602-7571-D774-B01468E8E7C9}"/>
              </a:ext>
            </a:extLst>
          </p:cNvPr>
          <p:cNvSpPr/>
          <p:nvPr/>
        </p:nvSpPr>
        <p:spPr>
          <a:xfrm>
            <a:off x="9581890" y="688075"/>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A13EF19-F6EE-D441-5CD7-E0F7D2F80674}"/>
              </a:ext>
            </a:extLst>
          </p:cNvPr>
          <p:cNvSpPr/>
          <p:nvPr/>
        </p:nvSpPr>
        <p:spPr>
          <a:xfrm>
            <a:off x="129013" y="3082736"/>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D8BED63-0AEC-905F-3E7D-D831ADEDF511}"/>
              </a:ext>
            </a:extLst>
          </p:cNvPr>
          <p:cNvSpPr/>
          <p:nvPr/>
        </p:nvSpPr>
        <p:spPr>
          <a:xfrm>
            <a:off x="2450078" y="2645574"/>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D22745D0-0129-A26F-728B-21BC2896DDF8}"/>
              </a:ext>
            </a:extLst>
          </p:cNvPr>
          <p:cNvSpPr/>
          <p:nvPr/>
        </p:nvSpPr>
        <p:spPr>
          <a:xfrm>
            <a:off x="4709438" y="2645574"/>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F765694-FF9F-795D-B48F-4CB4E56E35E6}"/>
              </a:ext>
            </a:extLst>
          </p:cNvPr>
          <p:cNvSpPr/>
          <p:nvPr/>
        </p:nvSpPr>
        <p:spPr>
          <a:xfrm>
            <a:off x="6968798" y="2645574"/>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B67A219-4550-3EA5-C135-05932EF6784E}"/>
              </a:ext>
            </a:extLst>
          </p:cNvPr>
          <p:cNvSpPr/>
          <p:nvPr/>
        </p:nvSpPr>
        <p:spPr>
          <a:xfrm>
            <a:off x="9581890" y="2668984"/>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8F4CF5B-4DEC-314F-73B1-304EF2DACA7D}"/>
              </a:ext>
            </a:extLst>
          </p:cNvPr>
          <p:cNvSpPr/>
          <p:nvPr/>
        </p:nvSpPr>
        <p:spPr>
          <a:xfrm>
            <a:off x="129013" y="4266513"/>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ED8374C-1454-A7BD-151B-DAA94EF498CE}"/>
              </a:ext>
            </a:extLst>
          </p:cNvPr>
          <p:cNvSpPr/>
          <p:nvPr/>
        </p:nvSpPr>
        <p:spPr>
          <a:xfrm>
            <a:off x="2450078" y="3883141"/>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E8CD2D2-95DB-FA0A-AF46-3F2775BC4FE0}"/>
              </a:ext>
            </a:extLst>
          </p:cNvPr>
          <p:cNvSpPr/>
          <p:nvPr/>
        </p:nvSpPr>
        <p:spPr>
          <a:xfrm>
            <a:off x="4709438" y="3883141"/>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EEFFF97-EE9D-4640-384B-3E40E2957E30}"/>
              </a:ext>
            </a:extLst>
          </p:cNvPr>
          <p:cNvSpPr/>
          <p:nvPr/>
        </p:nvSpPr>
        <p:spPr>
          <a:xfrm>
            <a:off x="6968798" y="3883141"/>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A4CBDA6F-A8B8-9653-8E72-2881930A267E}"/>
              </a:ext>
            </a:extLst>
          </p:cNvPr>
          <p:cNvSpPr/>
          <p:nvPr/>
        </p:nvSpPr>
        <p:spPr>
          <a:xfrm>
            <a:off x="9581890" y="3906551"/>
            <a:ext cx="2464519" cy="14667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0" descr="Südzucker – Wikipedia">
            <a:extLst>
              <a:ext uri="{FF2B5EF4-FFF2-40B4-BE49-F238E27FC236}">
                <a16:creationId xmlns:a16="http://schemas.microsoft.com/office/drawing/2014/main" id="{B617A696-5263-64A4-B7DB-527C1C3CFC01}"/>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820392" y="422867"/>
            <a:ext cx="1987515" cy="737037"/>
          </a:xfrm>
          <a:prstGeom prst="rect">
            <a:avLst/>
          </a:prstGeom>
          <a:noFill/>
          <a:ln>
            <a:noFill/>
          </a:ln>
        </p:spPr>
      </p:pic>
      <p:pic>
        <p:nvPicPr>
          <p:cNvPr id="21" name="Picture 10">
            <a:extLst>
              <a:ext uri="{FF2B5EF4-FFF2-40B4-BE49-F238E27FC236}">
                <a16:creationId xmlns:a16="http://schemas.microsoft.com/office/drawing/2014/main" id="{226A59BD-F7C7-EDCC-53F8-6DABD599C789}"/>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974338" y="634701"/>
            <a:ext cx="1987515" cy="337722"/>
          </a:xfrm>
          <a:prstGeom prst="rect">
            <a:avLst/>
          </a:prstGeom>
          <a:noFill/>
          <a:ln>
            <a:noFill/>
          </a:ln>
        </p:spPr>
      </p:pic>
      <p:pic>
        <p:nvPicPr>
          <p:cNvPr id="22" name="Picture 12">
            <a:extLst>
              <a:ext uri="{FF2B5EF4-FFF2-40B4-BE49-F238E27FC236}">
                <a16:creationId xmlns:a16="http://schemas.microsoft.com/office/drawing/2014/main" id="{B429DD1F-48DC-A974-7456-D69EF0561C7A}"/>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242807" y="570257"/>
            <a:ext cx="1987515" cy="442530"/>
          </a:xfrm>
          <a:prstGeom prst="rect">
            <a:avLst/>
          </a:prstGeom>
          <a:noFill/>
          <a:ln>
            <a:noFill/>
          </a:ln>
        </p:spPr>
      </p:pic>
      <p:pic>
        <p:nvPicPr>
          <p:cNvPr id="24" name="Picture 8">
            <a:extLst>
              <a:ext uri="{FF2B5EF4-FFF2-40B4-BE49-F238E27FC236}">
                <a16:creationId xmlns:a16="http://schemas.microsoft.com/office/drawing/2014/main" id="{5004CE2C-3F83-FF41-E4F4-07486F46D1C5}"/>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820392" y="3094657"/>
            <a:ext cx="1987515" cy="715505"/>
          </a:xfrm>
          <a:prstGeom prst="rect">
            <a:avLst/>
          </a:prstGeom>
          <a:noFill/>
          <a:ln>
            <a:noFill/>
          </a:ln>
        </p:spPr>
      </p:pic>
      <p:pic>
        <p:nvPicPr>
          <p:cNvPr id="25" name="Picture 6">
            <a:extLst>
              <a:ext uri="{FF2B5EF4-FFF2-40B4-BE49-F238E27FC236}">
                <a16:creationId xmlns:a16="http://schemas.microsoft.com/office/drawing/2014/main" id="{156FBD7D-2B0D-851B-F347-C2DA75B1A8C7}"/>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998232" y="1824496"/>
            <a:ext cx="1987515" cy="538029"/>
          </a:xfrm>
          <a:prstGeom prst="rect">
            <a:avLst/>
          </a:prstGeom>
          <a:noFill/>
          <a:ln>
            <a:noFill/>
          </a:ln>
        </p:spPr>
      </p:pic>
      <p:pic>
        <p:nvPicPr>
          <p:cNvPr id="26" name="Picture 20">
            <a:extLst>
              <a:ext uri="{FF2B5EF4-FFF2-40B4-BE49-F238E27FC236}">
                <a16:creationId xmlns:a16="http://schemas.microsoft.com/office/drawing/2014/main" id="{F221999C-B48A-8051-9D2C-3EF2CFAB992A}"/>
              </a:ext>
            </a:extLst>
          </p:cNvPr>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67514" y="4596378"/>
            <a:ext cx="1987515" cy="414066"/>
          </a:xfrm>
          <a:prstGeom prst="rect">
            <a:avLst/>
          </a:prstGeom>
          <a:noFill/>
          <a:ln>
            <a:noFill/>
          </a:ln>
        </p:spPr>
      </p:pic>
      <p:pic>
        <p:nvPicPr>
          <p:cNvPr id="27" name="Picture 14">
            <a:extLst>
              <a:ext uri="{FF2B5EF4-FFF2-40B4-BE49-F238E27FC236}">
                <a16:creationId xmlns:a16="http://schemas.microsoft.com/office/drawing/2014/main" id="{5429D5ED-7EDE-ECCC-1D7A-4E1E305F581C}"/>
              </a:ext>
            </a:extLst>
          </p:cNvPr>
          <p:cNvPicPr>
            <a:picLocks noChangeAspect="1" noChangeArrowheads="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67515" y="3220030"/>
            <a:ext cx="1987515" cy="337723"/>
          </a:xfrm>
          <a:prstGeom prst="rect">
            <a:avLst/>
          </a:prstGeom>
          <a:noFill/>
          <a:ln>
            <a:noFill/>
          </a:ln>
        </p:spPr>
      </p:pic>
      <p:pic>
        <p:nvPicPr>
          <p:cNvPr id="28" name="Picture 8">
            <a:extLst>
              <a:ext uri="{FF2B5EF4-FFF2-40B4-BE49-F238E27FC236}">
                <a16:creationId xmlns:a16="http://schemas.microsoft.com/office/drawing/2014/main" id="{2362C249-B565-A14B-5B78-0CC430C5FE05}"/>
              </a:ext>
            </a:extLst>
          </p:cNvPr>
          <p:cNvPicPr>
            <a:picLocks noChangeAspect="1" noChangeArrowheads="1"/>
          </p:cNvPicPr>
          <p:nvPr/>
        </p:nvPicPr>
        <p:blipFill>
          <a:blip r:embed="rId16">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966403" y="4555168"/>
            <a:ext cx="1987515" cy="496879"/>
          </a:xfrm>
          <a:prstGeom prst="rect">
            <a:avLst/>
          </a:prstGeom>
          <a:noFill/>
          <a:ln>
            <a:noFill/>
          </a:ln>
        </p:spPr>
      </p:pic>
      <p:pic>
        <p:nvPicPr>
          <p:cNvPr id="29" name="Picture 2">
            <a:extLst>
              <a:ext uri="{FF2B5EF4-FFF2-40B4-BE49-F238E27FC236}">
                <a16:creationId xmlns:a16="http://schemas.microsoft.com/office/drawing/2014/main" id="{71A9D064-8886-539E-B9C5-0A8CA7F9CA98}"/>
              </a:ext>
            </a:extLst>
          </p:cNvPr>
          <p:cNvPicPr>
            <a:picLocks noChangeAspect="1" noChangeArrowheads="1"/>
          </p:cNvPicPr>
          <p:nvPr/>
        </p:nvPicPr>
        <p:blipFill>
          <a:blip r:embed="rId18">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816497" y="4519687"/>
            <a:ext cx="1987515" cy="625755"/>
          </a:xfrm>
          <a:prstGeom prst="rect">
            <a:avLst/>
          </a:prstGeom>
          <a:noFill/>
          <a:ln>
            <a:noFill/>
          </a:ln>
        </p:spPr>
      </p:pic>
      <p:pic>
        <p:nvPicPr>
          <p:cNvPr id="30" name="Picture 18">
            <a:extLst>
              <a:ext uri="{FF2B5EF4-FFF2-40B4-BE49-F238E27FC236}">
                <a16:creationId xmlns:a16="http://schemas.microsoft.com/office/drawing/2014/main" id="{97EDC15A-4690-6EF2-DBAF-FB862D217AA4}"/>
              </a:ext>
            </a:extLst>
          </p:cNvPr>
          <p:cNvPicPr>
            <a:picLocks noChangeAspect="1" noChangeArrowheads="1"/>
          </p:cNvPicPr>
          <p:nvPr/>
        </p:nvPicPr>
        <p:blipFill rotWithShape="1">
          <a:blip r:embed="rId20">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rcRect t="77475"/>
          <a:stretch/>
        </p:blipFill>
        <p:spPr bwMode="auto">
          <a:xfrm>
            <a:off x="7237545" y="4554717"/>
            <a:ext cx="1987515" cy="486746"/>
          </a:xfrm>
          <a:prstGeom prst="rect">
            <a:avLst/>
          </a:prstGeom>
          <a:noFill/>
          <a:ln>
            <a:noFill/>
          </a:ln>
        </p:spPr>
      </p:pic>
      <p:pic>
        <p:nvPicPr>
          <p:cNvPr id="31" name="Picture 16">
            <a:extLst>
              <a:ext uri="{FF2B5EF4-FFF2-40B4-BE49-F238E27FC236}">
                <a16:creationId xmlns:a16="http://schemas.microsoft.com/office/drawing/2014/main" id="{A1103A9A-8004-D686-8165-698011650379}"/>
              </a:ext>
            </a:extLst>
          </p:cNvPr>
          <p:cNvPicPr>
            <a:picLocks noChangeAspect="1" noChangeArrowheads="1"/>
          </p:cNvPicPr>
          <p:nvPr/>
        </p:nvPicPr>
        <p:blipFill>
          <a:blip r:embed="rId22">
            <a:extLst>
              <a:ext uri="{BEBA8EAE-BF5A-486C-A8C5-ECC9F3942E4B}">
                <a14:imgProps xmlns:a14="http://schemas.microsoft.com/office/drawing/2010/main">
                  <a14:imgLayer r:embed="rId2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67515" y="5832018"/>
            <a:ext cx="1987515" cy="611005"/>
          </a:xfrm>
          <a:prstGeom prst="rect">
            <a:avLst/>
          </a:prstGeom>
          <a:noFill/>
          <a:ln>
            <a:noFill/>
          </a:ln>
        </p:spPr>
      </p:pic>
      <p:pic>
        <p:nvPicPr>
          <p:cNvPr id="32" name="Picture 31" descr="A blue and black rectangle&#10;&#10;Description automatically generated">
            <a:extLst>
              <a:ext uri="{FF2B5EF4-FFF2-40B4-BE49-F238E27FC236}">
                <a16:creationId xmlns:a16="http://schemas.microsoft.com/office/drawing/2014/main" id="{EF504DBA-5D08-24A4-359B-A018A3047D6F}"/>
              </a:ext>
            </a:extLst>
          </p:cNvPr>
          <p:cNvPicPr>
            <a:picLocks noChangeAspect="1"/>
          </p:cNvPicPr>
          <p:nvPr/>
        </p:nvPicPr>
        <p:blipFill rotWithShape="1">
          <a:blip r:embed="rId24">
            <a:extLst>
              <a:ext uri="{BEBA8EAE-BF5A-486C-A8C5-ECC9F3942E4B}">
                <a14:imgProps xmlns:a14="http://schemas.microsoft.com/office/drawing/2010/main">
                  <a14:imgLayer r:embed="rId25">
                    <a14:imgEffect>
                      <a14:brightnessContrast bright="100000"/>
                    </a14:imgEffect>
                  </a14:imgLayer>
                </a14:imgProps>
              </a:ext>
            </a:extLst>
          </a:blip>
          <a:srcRect b="80357"/>
          <a:stretch/>
        </p:blipFill>
        <p:spPr>
          <a:xfrm>
            <a:off x="2715122" y="605875"/>
            <a:ext cx="1987515" cy="390401"/>
          </a:xfrm>
          <a:prstGeom prst="rect">
            <a:avLst/>
          </a:prstGeom>
          <a:noFill/>
          <a:ln>
            <a:noFill/>
          </a:ln>
        </p:spPr>
      </p:pic>
      <p:pic>
        <p:nvPicPr>
          <p:cNvPr id="33" name="Picture 32" descr="A black and white logo&#10;&#10;Description automatically generated">
            <a:extLst>
              <a:ext uri="{FF2B5EF4-FFF2-40B4-BE49-F238E27FC236}">
                <a16:creationId xmlns:a16="http://schemas.microsoft.com/office/drawing/2014/main" id="{54B710B9-1165-C367-FB0A-82B203AA8513}"/>
              </a:ext>
            </a:extLst>
          </p:cNvPr>
          <p:cNvPicPr>
            <a:picLocks noChangeAspect="1"/>
          </p:cNvPicPr>
          <p:nvPr/>
        </p:nvPicPr>
        <p:blipFill rotWithShape="1">
          <a:blip r:embed="rId26">
            <a:extLst>
              <a:ext uri="{BEBA8EAE-BF5A-486C-A8C5-ECC9F3942E4B}">
                <a14:imgProps xmlns:a14="http://schemas.microsoft.com/office/drawing/2010/main">
                  <a14:imgLayer r:embed="rId27">
                    <a14:imgEffect>
                      <a14:brightnessContrast bright="100000"/>
                    </a14:imgEffect>
                  </a14:imgLayer>
                </a14:imgProps>
              </a:ext>
            </a:extLst>
          </a:blip>
          <a:srcRect l="29150"/>
          <a:stretch/>
        </p:blipFill>
        <p:spPr>
          <a:xfrm>
            <a:off x="9816497" y="5835058"/>
            <a:ext cx="1995304" cy="668860"/>
          </a:xfrm>
          <a:prstGeom prst="rect">
            <a:avLst/>
          </a:prstGeom>
          <a:noFill/>
          <a:ln>
            <a:noFill/>
          </a:ln>
        </p:spPr>
      </p:pic>
      <p:grpSp>
        <p:nvGrpSpPr>
          <p:cNvPr id="34" name="Group 33">
            <a:extLst>
              <a:ext uri="{FF2B5EF4-FFF2-40B4-BE49-F238E27FC236}">
                <a16:creationId xmlns:a16="http://schemas.microsoft.com/office/drawing/2014/main" id="{180C9281-83AA-3774-9CCD-5E38400D34E7}"/>
              </a:ext>
            </a:extLst>
          </p:cNvPr>
          <p:cNvGrpSpPr>
            <a:grpSpLocks noChangeAspect="1"/>
          </p:cNvGrpSpPr>
          <p:nvPr/>
        </p:nvGrpSpPr>
        <p:grpSpPr>
          <a:xfrm>
            <a:off x="7300146" y="2260523"/>
            <a:ext cx="1987515" cy="2308084"/>
            <a:chOff x="7411574" y="2889099"/>
            <a:chExt cx="1813745" cy="2106287"/>
          </a:xfrm>
          <a:noFill/>
        </p:grpSpPr>
        <p:pic>
          <p:nvPicPr>
            <p:cNvPr id="35" name="Picture 34" descr="A red and black logo&#10;&#10;Description automatically generated">
              <a:extLst>
                <a:ext uri="{FF2B5EF4-FFF2-40B4-BE49-F238E27FC236}">
                  <a16:creationId xmlns:a16="http://schemas.microsoft.com/office/drawing/2014/main" id="{C72713B4-7691-D0A4-826A-95CA56B49624}"/>
                </a:ext>
              </a:extLst>
            </p:cNvPr>
            <p:cNvPicPr>
              <a:picLocks noChangeAspect="1"/>
            </p:cNvPicPr>
            <p:nvPr/>
          </p:nvPicPr>
          <p:blipFill>
            <a:blip r:embed="rId28">
              <a:extLst>
                <a:ext uri="{BEBA8EAE-BF5A-486C-A8C5-ECC9F3942E4B}">
                  <a14:imgProps xmlns:a14="http://schemas.microsoft.com/office/drawing/2010/main">
                    <a14:imgLayer r:embed="rId29">
                      <a14:imgEffect>
                        <a14:brightnessContrast bright="100000"/>
                      </a14:imgEffect>
                    </a14:imgLayer>
                  </a14:imgProps>
                </a:ext>
              </a:extLst>
            </a:blip>
            <a:stretch>
              <a:fillRect/>
            </a:stretch>
          </p:blipFill>
          <p:spPr>
            <a:xfrm>
              <a:off x="7425319" y="2889099"/>
              <a:ext cx="1800000" cy="1800000"/>
            </a:xfrm>
            <a:prstGeom prst="rect">
              <a:avLst/>
            </a:prstGeom>
            <a:grpFill/>
            <a:ln>
              <a:noFill/>
            </a:ln>
          </p:spPr>
        </p:pic>
        <p:pic>
          <p:nvPicPr>
            <p:cNvPr id="36" name="Picture 4" descr="Saturn Logo PNG Transparent &amp; SVG Vector - Freebie Supply">
              <a:extLst>
                <a:ext uri="{FF2B5EF4-FFF2-40B4-BE49-F238E27FC236}">
                  <a16:creationId xmlns:a16="http://schemas.microsoft.com/office/drawing/2014/main" id="{AB8E25F3-68F6-BA66-7751-2CFBA14ACC65}"/>
                </a:ext>
              </a:extLst>
            </p:cNvPr>
            <p:cNvPicPr>
              <a:picLocks noChangeAspect="1" noChangeArrowheads="1"/>
            </p:cNvPicPr>
            <p:nvPr/>
          </p:nvPicPr>
          <p:blipFill>
            <a:blip r:embed="rId30">
              <a:extLst>
                <a:ext uri="{BEBA8EAE-BF5A-486C-A8C5-ECC9F3942E4B}">
                  <a14:imgProps xmlns:a14="http://schemas.microsoft.com/office/drawing/2010/main">
                    <a14:imgLayer r:embed="rId3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11574" y="3195386"/>
              <a:ext cx="1800000" cy="1800000"/>
            </a:xfrm>
            <a:prstGeom prst="rect">
              <a:avLst/>
            </a:prstGeom>
            <a:grpFill/>
            <a:ln>
              <a:noFill/>
            </a:ln>
          </p:spPr>
        </p:pic>
      </p:grpSp>
      <p:pic>
        <p:nvPicPr>
          <p:cNvPr id="2" name="Picture 1" descr="A red and black logo&#10;&#10;Description automatically generated">
            <a:extLst>
              <a:ext uri="{FF2B5EF4-FFF2-40B4-BE49-F238E27FC236}">
                <a16:creationId xmlns:a16="http://schemas.microsoft.com/office/drawing/2014/main" id="{F3BA7CE9-0C6F-C61E-5B3F-CD90AFE81349}"/>
              </a:ext>
            </a:extLst>
          </p:cNvPr>
          <p:cNvPicPr>
            <a:picLocks noChangeAspect="1"/>
          </p:cNvPicPr>
          <p:nvPr/>
        </p:nvPicPr>
        <p:blipFill>
          <a:blip r:embed="rId32">
            <a:extLst>
              <a:ext uri="{BEBA8EAE-BF5A-486C-A8C5-ECC9F3942E4B}">
                <a14:imgProps xmlns:a14="http://schemas.microsoft.com/office/drawing/2010/main">
                  <a14:imgLayer r:embed="rId33">
                    <a14:imgEffect>
                      <a14:brightnessContrast bright="100000"/>
                    </a14:imgEffect>
                  </a14:imgLayer>
                </a14:imgProps>
              </a:ext>
            </a:extLst>
          </a:blip>
          <a:stretch>
            <a:fillRect/>
          </a:stretch>
        </p:blipFill>
        <p:spPr>
          <a:xfrm>
            <a:off x="338723" y="1551982"/>
            <a:ext cx="2025605" cy="1125336"/>
          </a:xfrm>
          <a:prstGeom prst="rect">
            <a:avLst/>
          </a:prstGeom>
        </p:spPr>
      </p:pic>
      <p:pic>
        <p:nvPicPr>
          <p:cNvPr id="3" name="Picture 2">
            <a:extLst>
              <a:ext uri="{FF2B5EF4-FFF2-40B4-BE49-F238E27FC236}">
                <a16:creationId xmlns:a16="http://schemas.microsoft.com/office/drawing/2014/main" id="{522622D2-D91F-B587-045B-53DD67A3A107}"/>
              </a:ext>
            </a:extLst>
          </p:cNvPr>
          <p:cNvPicPr>
            <a:picLocks noChangeAspect="1"/>
          </p:cNvPicPr>
          <p:nvPr/>
        </p:nvPicPr>
        <p:blipFill>
          <a:blip r:embed="rId34">
            <a:extLst>
              <a:ext uri="{BEBA8EAE-BF5A-486C-A8C5-ECC9F3942E4B}">
                <a14:imgProps xmlns:a14="http://schemas.microsoft.com/office/drawing/2010/main">
                  <a14:imgLayer r:embed="rId35">
                    <a14:imgEffect>
                      <a14:brightnessContrast bright="100000"/>
                    </a14:imgEffect>
                  </a14:imgLayer>
                </a14:imgProps>
              </a:ext>
            </a:extLst>
          </a:blip>
          <a:stretch>
            <a:fillRect/>
          </a:stretch>
        </p:blipFill>
        <p:spPr>
          <a:xfrm>
            <a:off x="9908568" y="1967154"/>
            <a:ext cx="1811162" cy="307756"/>
          </a:xfrm>
          <a:prstGeom prst="rect">
            <a:avLst/>
          </a:prstGeom>
        </p:spPr>
      </p:pic>
      <p:pic>
        <p:nvPicPr>
          <p:cNvPr id="4" name="Picture 34" descr="KEMET – A YAGEO Company">
            <a:extLst>
              <a:ext uri="{FF2B5EF4-FFF2-40B4-BE49-F238E27FC236}">
                <a16:creationId xmlns:a16="http://schemas.microsoft.com/office/drawing/2014/main" id="{19F4AE39-7FF9-BABF-D314-35356E44E8E1}"/>
              </a:ext>
            </a:extLst>
          </p:cNvPr>
          <p:cNvPicPr>
            <a:picLocks noChangeAspect="1" noChangeArrowheads="1"/>
          </p:cNvPicPr>
          <p:nvPr/>
        </p:nvPicPr>
        <p:blipFill>
          <a:blip r:embed="rId36">
            <a:extLst>
              <a:ext uri="{BEBA8EAE-BF5A-486C-A8C5-ECC9F3942E4B}">
                <a14:imgProps xmlns:a14="http://schemas.microsoft.com/office/drawing/2010/main">
                  <a14:imgLayer r:embed="rId3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486708" y="1782169"/>
            <a:ext cx="1698415" cy="721384"/>
          </a:xfrm>
          <a:prstGeom prst="rect">
            <a:avLst/>
          </a:prstGeom>
          <a:noFill/>
          <a:extLst>
            <a:ext uri="{909E8E84-426E-40DD-AFC4-6F175D3DCCD1}">
              <a14:hiddenFill xmlns:a14="http://schemas.microsoft.com/office/drawing/2010/main">
                <a:solidFill>
                  <a:srgbClr val="FFFFFF"/>
                </a:solidFill>
              </a14:hiddenFill>
            </a:ext>
          </a:extLst>
        </p:spPr>
      </p:pic>
      <p:pic>
        <p:nvPicPr>
          <p:cNvPr id="37" name="Graphic 36">
            <a:extLst>
              <a:ext uri="{FF2B5EF4-FFF2-40B4-BE49-F238E27FC236}">
                <a16:creationId xmlns:a16="http://schemas.microsoft.com/office/drawing/2014/main" id="{B4613C55-03A1-5FE0-84F0-DF4B086CD786}"/>
              </a:ext>
            </a:extLst>
          </p:cNvPr>
          <p:cNvPicPr>
            <a:picLocks noChangeAspect="1"/>
          </p:cNvPicPr>
          <p:nvPr/>
        </p:nvPicPr>
        <p:blipFill>
          <a:blip r:embed="rId38">
            <a:lum bright="100000"/>
            <a:extLst>
              <a:ext uri="{96DAC541-7B7A-43D3-8B79-37D633B846F1}">
                <asvg:svgBlip xmlns:asvg="http://schemas.microsoft.com/office/drawing/2016/SVG/main" r:embed="rId39"/>
              </a:ext>
            </a:extLst>
          </a:blip>
          <a:stretch>
            <a:fillRect/>
          </a:stretch>
        </p:blipFill>
        <p:spPr>
          <a:xfrm>
            <a:off x="2922009" y="1839332"/>
            <a:ext cx="1553674" cy="538607"/>
          </a:xfrm>
          <a:prstGeom prst="rect">
            <a:avLst/>
          </a:prstGeom>
        </p:spPr>
      </p:pic>
      <p:pic>
        <p:nvPicPr>
          <p:cNvPr id="38" name="Picture 2" descr="Service Lösungen für Sicherheit, Gesundheit &amp; Hygiene | CWS">
            <a:extLst>
              <a:ext uri="{FF2B5EF4-FFF2-40B4-BE49-F238E27FC236}">
                <a16:creationId xmlns:a16="http://schemas.microsoft.com/office/drawing/2014/main" id="{9686B880-896B-6029-6E23-B538B1079ECF}"/>
              </a:ext>
            </a:extLst>
          </p:cNvPr>
          <p:cNvPicPr>
            <a:picLocks noChangeAspect="1" noChangeArrowheads="1"/>
          </p:cNvPicPr>
          <p:nvPr/>
        </p:nvPicPr>
        <p:blipFill>
          <a:blip r:embed="rId40">
            <a:extLst>
              <a:ext uri="{BEBA8EAE-BF5A-486C-A8C5-ECC9F3942E4B}">
                <a14:imgProps xmlns:a14="http://schemas.microsoft.com/office/drawing/2010/main">
                  <a14:imgLayer r:embed="rId41">
                    <a14:imgEffect>
                      <a14:backgroundRemoval t="10000" b="90000" l="10000" r="90000">
                        <a14:foregroundMark x1="27078" y1="37500" x2="19952" y2="39167"/>
                        <a14:foregroundMark x1="43943" y1="59167" x2="45368" y2="53333"/>
                        <a14:backgroundMark x1="38242" y1="45833" x2="38242" y2="45833"/>
                        <a14:backgroundMark x1="37055" y1="45000" x2="38717" y2="54167"/>
                        <a14:backgroundMark x1="38242" y1="40833" x2="38242" y2="40833"/>
                        <a14:backgroundMark x1="38242" y1="37500" x2="38242" y2="37500"/>
                        <a14:backgroundMark x1="38242" y1="45000" x2="38242" y2="45000"/>
                        <a14:backgroundMark x1="38005" y1="39167" x2="37767" y2="50833"/>
                        <a14:backgroundMark x1="37767" y1="46667" x2="38480" y2="40833"/>
                        <a14:backgroundMark x1="38005" y1="37500" x2="38242" y2="42500"/>
                      </a14:backgroundRemoval>
                    </a14:imgEffect>
                    <a14:imgEffect>
                      <a14:saturation sat="0"/>
                    </a14:imgEffect>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316777" y="4414178"/>
            <a:ext cx="2731120" cy="77846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A purple logo with black background&#10;&#10;Description automatically generated">
            <a:extLst>
              <a:ext uri="{FF2B5EF4-FFF2-40B4-BE49-F238E27FC236}">
                <a16:creationId xmlns:a16="http://schemas.microsoft.com/office/drawing/2014/main" id="{E62D0F7B-4589-4E5E-8C85-1C6D47DC36F1}"/>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471455" y="356596"/>
            <a:ext cx="1779634" cy="75822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1" descr="A red and grey logo&#10;&#10;Description automatically generated">
            <a:extLst>
              <a:ext uri="{FF2B5EF4-FFF2-40B4-BE49-F238E27FC236}">
                <a16:creationId xmlns:a16="http://schemas.microsoft.com/office/drawing/2014/main" id="{D7DD2234-35AE-BAB2-5FED-2C1DD2F8872F}"/>
              </a:ext>
            </a:extLst>
          </p:cNvPr>
          <p:cNvPicPr>
            <a:picLocks noChangeAspect="1"/>
          </p:cNvPicPr>
          <p:nvPr/>
        </p:nvPicPr>
        <p:blipFill>
          <a:blip r:embed="rId43">
            <a:extLst>
              <a:ext uri="{BEBA8EAE-BF5A-486C-A8C5-ECC9F3942E4B}">
                <a14:imgProps xmlns:a14="http://schemas.microsoft.com/office/drawing/2010/main">
                  <a14:imgLayer r:embed="rId44">
                    <a14:imgEffect>
                      <a14:brightnessContrast bright="100000"/>
                    </a14:imgEffect>
                  </a14:imgLayer>
                </a14:imgProps>
              </a:ext>
            </a:extLst>
          </a:blip>
          <a:stretch>
            <a:fillRect/>
          </a:stretch>
        </p:blipFill>
        <p:spPr>
          <a:xfrm>
            <a:off x="2793277" y="5941273"/>
            <a:ext cx="1944325" cy="557564"/>
          </a:xfrm>
          <a:prstGeom prst="rect">
            <a:avLst/>
          </a:prstGeom>
        </p:spPr>
      </p:pic>
      <p:pic>
        <p:nvPicPr>
          <p:cNvPr id="43" name="Picture 22" descr="American Software logo in transparent PNG format">
            <a:extLst>
              <a:ext uri="{FF2B5EF4-FFF2-40B4-BE49-F238E27FC236}">
                <a16:creationId xmlns:a16="http://schemas.microsoft.com/office/drawing/2014/main" id="{945F4C5A-1666-5B7C-F398-683BF87DE8AD}"/>
              </a:ext>
            </a:extLst>
          </p:cNvPr>
          <p:cNvPicPr>
            <a:picLocks noChangeAspect="1" noChangeArrowheads="1"/>
          </p:cNvPicPr>
          <p:nvPr/>
        </p:nvPicPr>
        <p:blipFill>
          <a:blip r:embed="rId45">
            <a:extLst>
              <a:ext uri="{BEBA8EAE-BF5A-486C-A8C5-ECC9F3942E4B}">
                <a14:imgProps xmlns:a14="http://schemas.microsoft.com/office/drawing/2010/main">
                  <a14:imgLayer r:embed="rId4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227322" y="5974653"/>
            <a:ext cx="1737857" cy="396449"/>
          </a:xfrm>
          <a:prstGeom prst="rect">
            <a:avLst/>
          </a:prstGeom>
          <a:noFill/>
          <a:extLst>
            <a:ext uri="{909E8E84-426E-40DD-AFC4-6F175D3DCCD1}">
              <a14:hiddenFill xmlns:a14="http://schemas.microsoft.com/office/drawing/2010/main">
                <a:solidFill>
                  <a:srgbClr val="FFFFFF"/>
                </a:solidFill>
              </a14:hiddenFill>
            </a:ext>
          </a:extLst>
        </p:spPr>
      </p:pic>
      <p:pic>
        <p:nvPicPr>
          <p:cNvPr id="44" name="Graphic 43">
            <a:extLst>
              <a:ext uri="{FF2B5EF4-FFF2-40B4-BE49-F238E27FC236}">
                <a16:creationId xmlns:a16="http://schemas.microsoft.com/office/drawing/2014/main" id="{34A4060A-2BA6-96F3-F7B7-8420BB5ECE09}"/>
              </a:ext>
            </a:extLst>
          </p:cNvPr>
          <p:cNvPicPr>
            <a:picLocks noChangeAspect="1"/>
          </p:cNvPicPr>
          <p:nvPr/>
        </p:nvPicPr>
        <p:blipFill>
          <a:blip r:embed="rId47">
            <a:lum bright="100000"/>
            <a:extLst>
              <a:ext uri="{96DAC541-7B7A-43D3-8B79-37D633B846F1}">
                <asvg:svgBlip xmlns:asvg="http://schemas.microsoft.com/office/drawing/2016/SVG/main" r:embed="rId48"/>
              </a:ext>
            </a:extLst>
          </a:blip>
          <a:stretch>
            <a:fillRect/>
          </a:stretch>
        </p:blipFill>
        <p:spPr>
          <a:xfrm>
            <a:off x="7427033" y="5746413"/>
            <a:ext cx="1737857" cy="734095"/>
          </a:xfrm>
          <a:prstGeom prst="rect">
            <a:avLst/>
          </a:prstGeom>
        </p:spPr>
      </p:pic>
      <p:pic>
        <p:nvPicPr>
          <p:cNvPr id="46" name="Picture 2">
            <a:extLst>
              <a:ext uri="{FF2B5EF4-FFF2-40B4-BE49-F238E27FC236}">
                <a16:creationId xmlns:a16="http://schemas.microsoft.com/office/drawing/2014/main" id="{70F93A6F-69F3-AF85-6C5E-6EEC266B54FA}"/>
              </a:ext>
            </a:extLst>
          </p:cNvPr>
          <p:cNvPicPr>
            <a:picLocks noChangeAspect="1" noChangeArrowheads="1"/>
          </p:cNvPicPr>
          <p:nvPr/>
        </p:nvPicPr>
        <p:blipFill rotWithShape="1">
          <a:blip r:embed="rId49">
            <a:alphaModFix/>
            <a:lum bright="70000" contrast="-70000"/>
            <a:extLst>
              <a:ext uri="{BEBA8EAE-BF5A-486C-A8C5-ECC9F3942E4B}">
                <a14:imgProps xmlns:a14="http://schemas.microsoft.com/office/drawing/2010/main">
                  <a14:imgLayer r:embed="rId50">
                    <a14:imgEffect>
                      <a14:colorTemperature colorTemp="4700"/>
                    </a14:imgEffect>
                    <a14:imgEffect>
                      <a14:saturation sat="0"/>
                    </a14:imgEffect>
                    <a14:imgEffect>
                      <a14:brightnessContrast bright="40000" contrast="-40000"/>
                    </a14:imgEffect>
                  </a14:imgLayer>
                </a14:imgProps>
              </a:ext>
              <a:ext uri="{28A0092B-C50C-407E-A947-70E740481C1C}">
                <a14:useLocalDpi xmlns:a14="http://schemas.microsoft.com/office/drawing/2010/main" val="0"/>
              </a:ext>
            </a:extLst>
          </a:blip>
          <a:srcRect l="16652"/>
          <a:stretch/>
        </p:blipFill>
        <p:spPr bwMode="auto">
          <a:xfrm>
            <a:off x="4938752" y="3250521"/>
            <a:ext cx="2192209" cy="35274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0CB7444-02AF-C80E-72A7-AEA8E54E35E4}"/>
              </a:ext>
            </a:extLst>
          </p:cNvPr>
          <p:cNvPicPr>
            <a:picLocks noChangeAspect="1" noChangeArrowheads="1"/>
          </p:cNvPicPr>
          <p:nvPr/>
        </p:nvPicPr>
        <p:blipFill>
          <a:blip r:embed="rId51">
            <a:biLevel thresh="25000"/>
            <a:extLst>
              <a:ext uri="{28A0092B-C50C-407E-A947-70E740481C1C}">
                <a14:useLocalDpi xmlns:a14="http://schemas.microsoft.com/office/drawing/2010/main" val="0"/>
              </a:ext>
            </a:extLst>
          </a:blip>
          <a:srcRect/>
          <a:stretch>
            <a:fillRect/>
          </a:stretch>
        </p:blipFill>
        <p:spPr bwMode="auto">
          <a:xfrm>
            <a:off x="2889260" y="3260382"/>
            <a:ext cx="1639237" cy="3073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55480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234728A-8729-77CE-F54F-A8A39EE6952C}"/>
              </a:ext>
            </a:extLst>
          </p:cNvPr>
          <p:cNvSpPr>
            <a:spLocks noGrp="1"/>
          </p:cNvSpPr>
          <p:nvPr>
            <p:ph type="title"/>
          </p:nvPr>
        </p:nvSpPr>
        <p:spPr/>
        <p:txBody>
          <a:bodyPr/>
          <a:lstStyle/>
          <a:p>
            <a:r>
              <a:rPr lang="en-US"/>
              <a:t>Ontinue in Numbers</a:t>
            </a:r>
          </a:p>
        </p:txBody>
      </p:sp>
      <p:pic>
        <p:nvPicPr>
          <p:cNvPr id="7" name="Picture 6" descr="Free The Imperial Abbey of Fraumunster in Zurich, Switzerland Stock Photo">
            <a:extLst>
              <a:ext uri="{FF2B5EF4-FFF2-40B4-BE49-F238E27FC236}">
                <a16:creationId xmlns:a16="http://schemas.microsoft.com/office/drawing/2014/main" id="{0178269D-1DDF-CCF7-60AF-A74D78F565D2}"/>
              </a:ext>
            </a:extLst>
          </p:cNvPr>
          <p:cNvPicPr>
            <a:picLocks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047139" y="2280061"/>
            <a:ext cx="2232000" cy="199440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5A9AC6E9-8D88-6EEE-90A8-571377382B0F}"/>
              </a:ext>
            </a:extLst>
          </p:cNvPr>
          <p:cNvSpPr txBox="1"/>
          <p:nvPr/>
        </p:nvSpPr>
        <p:spPr>
          <a:xfrm>
            <a:off x="6515989" y="4157913"/>
            <a:ext cx="184731" cy="369332"/>
          </a:xfrm>
          <a:prstGeom prst="rect">
            <a:avLst/>
          </a:prstGeom>
          <a:noFill/>
        </p:spPr>
        <p:txBody>
          <a:bodyPr wrap="none" rtlCol="0">
            <a:spAutoFit/>
          </a:bodyPr>
          <a:lstStyle/>
          <a:p>
            <a:endParaRPr lang="en-GB"/>
          </a:p>
        </p:txBody>
      </p:sp>
      <p:sp>
        <p:nvSpPr>
          <p:cNvPr id="9" name="Rectangle 8">
            <a:extLst>
              <a:ext uri="{FF2B5EF4-FFF2-40B4-BE49-F238E27FC236}">
                <a16:creationId xmlns:a16="http://schemas.microsoft.com/office/drawing/2014/main" id="{C21E2A77-809E-E160-20C9-2F89B39D65D5}"/>
              </a:ext>
            </a:extLst>
          </p:cNvPr>
          <p:cNvSpPr/>
          <p:nvPr/>
        </p:nvSpPr>
        <p:spPr>
          <a:xfrm>
            <a:off x="5047139" y="2280998"/>
            <a:ext cx="2232000" cy="1993463"/>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6400" tIns="45720" rIns="86400" bIns="45720" rtlCol="0" anchor="ctr"/>
          <a:lstStyle/>
          <a:p>
            <a:pPr algn="ctr">
              <a:spcBef>
                <a:spcPct val="0"/>
              </a:spcBef>
              <a:spcAft>
                <a:spcPct val="0"/>
              </a:spcAft>
            </a:pPr>
            <a:r>
              <a:rPr lang="en-GB" sz="3600">
                <a:solidFill>
                  <a:schemeClr val="tx1"/>
                </a:solidFill>
                <a:latin typeface="DM Sans"/>
                <a:cs typeface="Arial"/>
              </a:rPr>
              <a:t>Zürich</a:t>
            </a:r>
          </a:p>
          <a:p>
            <a:pPr algn="ctr">
              <a:spcBef>
                <a:spcPct val="0"/>
              </a:spcBef>
              <a:spcAft>
                <a:spcPct val="0"/>
              </a:spcAft>
            </a:pPr>
            <a:r>
              <a:rPr lang="en-GB" sz="3600">
                <a:solidFill>
                  <a:schemeClr val="tx1"/>
                </a:solidFill>
                <a:latin typeface="DM Sans"/>
                <a:cs typeface="Arial"/>
              </a:rPr>
              <a:t>EMEA HQ</a:t>
            </a:r>
          </a:p>
        </p:txBody>
      </p:sp>
      <p:sp>
        <p:nvSpPr>
          <p:cNvPr id="10" name="Rectangle 9">
            <a:extLst>
              <a:ext uri="{FF2B5EF4-FFF2-40B4-BE49-F238E27FC236}">
                <a16:creationId xmlns:a16="http://schemas.microsoft.com/office/drawing/2014/main" id="{9B393356-96B8-9ABF-E57D-242843916CE3}"/>
              </a:ext>
            </a:extLst>
          </p:cNvPr>
          <p:cNvSpPr/>
          <p:nvPr/>
        </p:nvSpPr>
        <p:spPr>
          <a:xfrm>
            <a:off x="2755958" y="2288883"/>
            <a:ext cx="2232000" cy="1994862"/>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6400" tIns="45720" rIns="86400" bIns="45720" rtlCol="0" anchor="ctr"/>
          <a:lstStyle/>
          <a:p>
            <a:pPr algn="ctr">
              <a:spcBef>
                <a:spcPct val="0"/>
              </a:spcBef>
              <a:spcAft>
                <a:spcPct val="0"/>
              </a:spcAft>
              <a:defRPr/>
            </a:pPr>
            <a:r>
              <a:rPr lang="en-GB" sz="4800">
                <a:solidFill>
                  <a:schemeClr val="tx1"/>
                </a:solidFill>
                <a:latin typeface="DM Sans"/>
                <a:cs typeface="Arial"/>
              </a:rPr>
              <a:t>740k+</a:t>
            </a:r>
          </a:p>
          <a:p>
            <a:pPr algn="ctr">
              <a:spcBef>
                <a:spcPct val="0"/>
              </a:spcBef>
              <a:spcAft>
                <a:spcPct val="0"/>
              </a:spcAft>
              <a:defRPr/>
            </a:pPr>
            <a:r>
              <a:rPr lang="en-GB">
                <a:solidFill>
                  <a:schemeClr val="tx1"/>
                </a:solidFill>
                <a:latin typeface="DM Sans"/>
                <a:cs typeface="Arial"/>
              </a:rPr>
              <a:t>Protected users</a:t>
            </a:r>
          </a:p>
        </p:txBody>
      </p:sp>
      <p:sp>
        <p:nvSpPr>
          <p:cNvPr id="11" name="Rectangle 10">
            <a:extLst>
              <a:ext uri="{FF2B5EF4-FFF2-40B4-BE49-F238E27FC236}">
                <a16:creationId xmlns:a16="http://schemas.microsoft.com/office/drawing/2014/main" id="{FE306416-55CC-8024-9416-238D9B547156}"/>
              </a:ext>
            </a:extLst>
          </p:cNvPr>
          <p:cNvSpPr/>
          <p:nvPr/>
        </p:nvSpPr>
        <p:spPr>
          <a:xfrm>
            <a:off x="7338320" y="2279830"/>
            <a:ext cx="2232000" cy="1994862"/>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GB" sz="5400">
                <a:solidFill>
                  <a:schemeClr val="tx1"/>
                </a:solidFill>
                <a:latin typeface="DM Sans" pitchFamily="2" charset="77"/>
                <a:cs typeface="Arial"/>
              </a:rPr>
              <a:t>30</a:t>
            </a:r>
            <a:r>
              <a:rPr lang="en-GB">
                <a:solidFill>
                  <a:schemeClr val="tx1"/>
                </a:solidFill>
                <a:latin typeface="DM Sans" pitchFamily="2" charset="77"/>
                <a:cs typeface="Arial"/>
              </a:rPr>
              <a:t> </a:t>
            </a:r>
            <a:r>
              <a:rPr lang="en-GB" sz="2800">
                <a:solidFill>
                  <a:schemeClr val="tx1"/>
                </a:solidFill>
                <a:latin typeface="DM Sans" pitchFamily="2" charset="77"/>
                <a:cs typeface="Arial"/>
              </a:rPr>
              <a:t>years</a:t>
            </a:r>
            <a:endParaRPr lang="en-GB" sz="5400">
              <a:solidFill>
                <a:schemeClr val="tx1"/>
              </a:solidFill>
              <a:latin typeface="DM Sans" pitchFamily="2" charset="77"/>
              <a:cs typeface="Arial"/>
            </a:endParaRPr>
          </a:p>
          <a:p>
            <a:pPr algn="ctr">
              <a:spcBef>
                <a:spcPct val="0"/>
              </a:spcBef>
              <a:spcAft>
                <a:spcPct val="0"/>
              </a:spcAft>
              <a:defRPr/>
            </a:pPr>
            <a:r>
              <a:rPr lang="en-GB">
                <a:solidFill>
                  <a:schemeClr val="tx1"/>
                </a:solidFill>
                <a:latin typeface="DM Sans" pitchFamily="2" charset="77"/>
                <a:cs typeface="Arial"/>
              </a:rPr>
              <a:t>Of experience</a:t>
            </a:r>
            <a:endParaRPr lang="en-GB">
              <a:solidFill>
                <a:schemeClr val="tx1"/>
              </a:solidFill>
            </a:endParaRPr>
          </a:p>
        </p:txBody>
      </p:sp>
      <p:sp>
        <p:nvSpPr>
          <p:cNvPr id="12" name="Rectangle 11">
            <a:extLst>
              <a:ext uri="{FF2B5EF4-FFF2-40B4-BE49-F238E27FC236}">
                <a16:creationId xmlns:a16="http://schemas.microsoft.com/office/drawing/2014/main" id="{470BC3F1-2CA7-69A9-10D6-2EA9816E473B}"/>
              </a:ext>
            </a:extLst>
          </p:cNvPr>
          <p:cNvSpPr/>
          <p:nvPr/>
        </p:nvSpPr>
        <p:spPr>
          <a:xfrm>
            <a:off x="5047139" y="4334439"/>
            <a:ext cx="2232000" cy="1994862"/>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GB" sz="5400">
                <a:solidFill>
                  <a:schemeClr val="tx1"/>
                </a:solidFill>
                <a:latin typeface="DM Sans" pitchFamily="2" charset="77"/>
                <a:cs typeface="Arial"/>
              </a:rPr>
              <a:t>7</a:t>
            </a:r>
          </a:p>
          <a:p>
            <a:pPr algn="ctr">
              <a:spcBef>
                <a:spcPct val="0"/>
              </a:spcBef>
              <a:spcAft>
                <a:spcPct val="0"/>
              </a:spcAft>
              <a:defRPr/>
            </a:pPr>
            <a:r>
              <a:rPr lang="en-GB">
                <a:solidFill>
                  <a:schemeClr val="tx1"/>
                </a:solidFill>
                <a:latin typeface="DM Sans" pitchFamily="2" charset="77"/>
                <a:cs typeface="Arial"/>
              </a:rPr>
              <a:t>Locations</a:t>
            </a:r>
            <a:endParaRPr lang="en-GB">
              <a:solidFill>
                <a:schemeClr val="tx1"/>
              </a:solidFill>
            </a:endParaRPr>
          </a:p>
        </p:txBody>
      </p:sp>
      <p:sp>
        <p:nvSpPr>
          <p:cNvPr id="13" name="Rectangle 12">
            <a:extLst>
              <a:ext uri="{FF2B5EF4-FFF2-40B4-BE49-F238E27FC236}">
                <a16:creationId xmlns:a16="http://schemas.microsoft.com/office/drawing/2014/main" id="{782D259A-DF5A-3B9C-3F41-14E8C4ED747C}"/>
              </a:ext>
            </a:extLst>
          </p:cNvPr>
          <p:cNvSpPr/>
          <p:nvPr/>
        </p:nvSpPr>
        <p:spPr>
          <a:xfrm>
            <a:off x="2755958" y="4334439"/>
            <a:ext cx="2232000" cy="1994862"/>
          </a:xfrm>
          <a:prstGeom prst="rect">
            <a:avLst/>
          </a:prstGeom>
          <a:solidFill>
            <a:schemeClr val="accent1">
              <a:alpha val="19886"/>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GB" sz="5400">
                <a:solidFill>
                  <a:schemeClr val="tx1"/>
                </a:solidFill>
                <a:latin typeface="DM Sans" pitchFamily="2" charset="77"/>
                <a:cs typeface="Arial"/>
              </a:rPr>
              <a:t>215+</a:t>
            </a:r>
            <a:br>
              <a:rPr lang="en-GB" sz="5400">
                <a:solidFill>
                  <a:schemeClr val="tx1"/>
                </a:solidFill>
                <a:latin typeface="DM Sans" pitchFamily="2" charset="77"/>
                <a:cs typeface="Arial"/>
              </a:rPr>
            </a:br>
            <a:r>
              <a:rPr lang="en-GB">
                <a:solidFill>
                  <a:schemeClr val="tx1"/>
                </a:solidFill>
                <a:latin typeface="DM Sans" pitchFamily="2" charset="77"/>
                <a:cs typeface="Arial"/>
              </a:rPr>
              <a:t>Customers</a:t>
            </a:r>
          </a:p>
        </p:txBody>
      </p:sp>
      <p:sp>
        <p:nvSpPr>
          <p:cNvPr id="14" name="Rectangle 13">
            <a:extLst>
              <a:ext uri="{FF2B5EF4-FFF2-40B4-BE49-F238E27FC236}">
                <a16:creationId xmlns:a16="http://schemas.microsoft.com/office/drawing/2014/main" id="{1F0F0346-7568-B237-8627-17556F079830}"/>
              </a:ext>
            </a:extLst>
          </p:cNvPr>
          <p:cNvSpPr/>
          <p:nvPr/>
        </p:nvSpPr>
        <p:spPr>
          <a:xfrm>
            <a:off x="459022" y="4334439"/>
            <a:ext cx="2232000" cy="1994862"/>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spcBef>
                <a:spcPct val="0"/>
              </a:spcBef>
              <a:spcAft>
                <a:spcPct val="0"/>
              </a:spcAft>
              <a:defRPr/>
            </a:pPr>
            <a:r>
              <a:rPr lang="en-GB" sz="5400">
                <a:solidFill>
                  <a:schemeClr val="tx1"/>
                </a:solidFill>
                <a:latin typeface="DM Sans"/>
                <a:cs typeface="Arial"/>
              </a:rPr>
              <a:t>60+</a:t>
            </a:r>
          </a:p>
          <a:p>
            <a:pPr algn="ctr">
              <a:spcBef>
                <a:spcPct val="0"/>
              </a:spcBef>
              <a:spcAft>
                <a:spcPct val="0"/>
              </a:spcAft>
              <a:defRPr/>
            </a:pPr>
            <a:r>
              <a:rPr lang="en-GB">
                <a:solidFill>
                  <a:schemeClr val="tx1"/>
                </a:solidFill>
                <a:latin typeface="DM Sans" pitchFamily="2" charset="77"/>
                <a:cs typeface="Arial"/>
              </a:rPr>
              <a:t>SOC-experts</a:t>
            </a:r>
            <a:endParaRPr lang="en-GB">
              <a:solidFill>
                <a:schemeClr val="tx1"/>
              </a:solidFill>
            </a:endParaRPr>
          </a:p>
        </p:txBody>
      </p:sp>
      <p:sp>
        <p:nvSpPr>
          <p:cNvPr id="15" name="Rectangle 14">
            <a:extLst>
              <a:ext uri="{FF2B5EF4-FFF2-40B4-BE49-F238E27FC236}">
                <a16:creationId xmlns:a16="http://schemas.microsoft.com/office/drawing/2014/main" id="{3EDE7828-C720-C75E-AC24-6D1580F8105E}"/>
              </a:ext>
            </a:extLst>
          </p:cNvPr>
          <p:cNvSpPr/>
          <p:nvPr/>
        </p:nvSpPr>
        <p:spPr>
          <a:xfrm>
            <a:off x="7338320" y="4334439"/>
            <a:ext cx="2232000" cy="1994862"/>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342000" rtlCol="0" anchor="ctr"/>
          <a:lstStyle/>
          <a:p>
            <a:pPr algn="ctr">
              <a:spcBef>
                <a:spcPct val="0"/>
              </a:spcBef>
              <a:spcAft>
                <a:spcPct val="0"/>
              </a:spcAft>
              <a:defRPr/>
            </a:pPr>
            <a:r>
              <a:rPr lang="en-GB" sz="5400">
                <a:solidFill>
                  <a:schemeClr val="tx1"/>
                </a:solidFill>
                <a:latin typeface="DM Sans" pitchFamily="2" charset="77"/>
                <a:cs typeface="Arial"/>
              </a:rPr>
              <a:t>24/7</a:t>
            </a:r>
          </a:p>
          <a:p>
            <a:pPr algn="ctr">
              <a:spcBef>
                <a:spcPct val="0"/>
              </a:spcBef>
              <a:spcAft>
                <a:spcPct val="0"/>
              </a:spcAft>
              <a:defRPr/>
            </a:pPr>
            <a:r>
              <a:rPr lang="en-GB">
                <a:solidFill>
                  <a:schemeClr val="tx1"/>
                </a:solidFill>
                <a:latin typeface="DM Sans" pitchFamily="2" charset="77"/>
                <a:cs typeface="Arial"/>
              </a:rPr>
              <a:t>Managed Cyber Security</a:t>
            </a:r>
            <a:endParaRPr lang="en-GB">
              <a:solidFill>
                <a:schemeClr val="tx1"/>
              </a:solidFill>
            </a:endParaRPr>
          </a:p>
        </p:txBody>
      </p:sp>
      <p:sp>
        <p:nvSpPr>
          <p:cNvPr id="16" name="Rectangle 15">
            <a:extLst>
              <a:ext uri="{FF2B5EF4-FFF2-40B4-BE49-F238E27FC236}">
                <a16:creationId xmlns:a16="http://schemas.microsoft.com/office/drawing/2014/main" id="{9C89497F-7F7B-4D83-5884-EC6B732EE27D}"/>
              </a:ext>
            </a:extLst>
          </p:cNvPr>
          <p:cNvSpPr/>
          <p:nvPr/>
        </p:nvSpPr>
        <p:spPr>
          <a:xfrm>
            <a:off x="459022" y="2279830"/>
            <a:ext cx="2232000" cy="1994862"/>
          </a:xfrm>
          <a:prstGeom prst="rect">
            <a:avLst/>
          </a:prstGeom>
          <a:solidFill>
            <a:schemeClr val="accent1">
              <a:alpha val="2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6400" tIns="45720" rIns="86400" bIns="45720" rtlCol="0" anchor="ctr"/>
          <a:lstStyle/>
          <a:p>
            <a:pPr algn="ctr">
              <a:spcBef>
                <a:spcPct val="0"/>
              </a:spcBef>
              <a:spcAft>
                <a:spcPct val="0"/>
              </a:spcAft>
              <a:defRPr/>
            </a:pPr>
            <a:r>
              <a:rPr lang="en-GB" sz="5400">
                <a:solidFill>
                  <a:schemeClr val="tx1"/>
                </a:solidFill>
                <a:latin typeface="DM Sans"/>
                <a:cs typeface="Arial"/>
              </a:rPr>
              <a:t>230+</a:t>
            </a:r>
          </a:p>
          <a:p>
            <a:pPr algn="ctr">
              <a:spcBef>
                <a:spcPct val="0"/>
              </a:spcBef>
              <a:spcAft>
                <a:spcPct val="0"/>
              </a:spcAft>
              <a:defRPr/>
            </a:pPr>
            <a:r>
              <a:rPr lang="en-GB">
                <a:solidFill>
                  <a:schemeClr val="tx1"/>
                </a:solidFill>
                <a:latin typeface="DM Sans" pitchFamily="2" charset="77"/>
                <a:cs typeface="Arial"/>
              </a:rPr>
              <a:t>Employees</a:t>
            </a:r>
            <a:endParaRPr lang="en-GB">
              <a:solidFill>
                <a:schemeClr val="tx1"/>
              </a:solidFill>
              <a:latin typeface="DM Sans" pitchFamily="2" charset="77"/>
            </a:endParaRPr>
          </a:p>
        </p:txBody>
      </p:sp>
      <p:pic>
        <p:nvPicPr>
          <p:cNvPr id="17" name="Picture 16" descr="A picture containing text, circle, font, graphics&#10;&#10;Description automatically generated">
            <a:extLst>
              <a:ext uri="{FF2B5EF4-FFF2-40B4-BE49-F238E27FC236}">
                <a16:creationId xmlns:a16="http://schemas.microsoft.com/office/drawing/2014/main" id="{F6EA84DD-D1E4-4F43-8003-E7D1F7DF6D3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05286" y="1367417"/>
            <a:ext cx="1700828" cy="1700828"/>
          </a:xfrm>
          <a:prstGeom prst="rect">
            <a:avLst/>
          </a:prstGeom>
        </p:spPr>
      </p:pic>
      <p:pic>
        <p:nvPicPr>
          <p:cNvPr id="18" name="Picture 17" descr="A picture containing text, screenshot, font, graphic design&#10;&#10;Description automatically generated">
            <a:extLst>
              <a:ext uri="{FF2B5EF4-FFF2-40B4-BE49-F238E27FC236}">
                <a16:creationId xmlns:a16="http://schemas.microsoft.com/office/drawing/2014/main" id="{250A2E1F-AD71-AD71-E8F5-488DEE18313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067559" y="3286314"/>
            <a:ext cx="1376282" cy="1376282"/>
          </a:xfrm>
          <a:prstGeom prst="rect">
            <a:avLst/>
          </a:prstGeom>
        </p:spPr>
      </p:pic>
      <p:pic>
        <p:nvPicPr>
          <p:cNvPr id="19" name="Picture 18" descr="Graphical user interface, application&#10;&#10;Description automatically generated">
            <a:extLst>
              <a:ext uri="{FF2B5EF4-FFF2-40B4-BE49-F238E27FC236}">
                <a16:creationId xmlns:a16="http://schemas.microsoft.com/office/drawing/2014/main" id="{E6E0B519-6FDD-C2CB-2D43-3162C02D111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06037" y="5323085"/>
            <a:ext cx="1899327" cy="949664"/>
          </a:xfrm>
          <a:prstGeom prst="rect">
            <a:avLst/>
          </a:prstGeom>
          <a:solidFill>
            <a:srgbClr val="FFFFFF"/>
          </a:solidFill>
        </p:spPr>
      </p:pic>
      <p:pic>
        <p:nvPicPr>
          <p:cNvPr id="20" name="Picture 2" descr="Schweiz Flagge , schweizerische Flagge , Schweiz Fahne auf  Nationalflaggen.de">
            <a:extLst>
              <a:ext uri="{FF2B5EF4-FFF2-40B4-BE49-F238E27FC236}">
                <a16:creationId xmlns:a16="http://schemas.microsoft.com/office/drawing/2014/main" id="{9B93B258-1BCF-D97B-4985-8AC4CF7CAC19}"/>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930730" y="2385329"/>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528588C8-37C0-070F-5B2F-B5966A629C67}"/>
              </a:ext>
            </a:extLst>
          </p:cNvPr>
          <p:cNvSpPr/>
          <p:nvPr/>
        </p:nvSpPr>
        <p:spPr>
          <a:xfrm>
            <a:off x="459022" y="1455055"/>
            <a:ext cx="4528936" cy="784300"/>
          </a:xfrm>
          <a:prstGeom prst="rect">
            <a:avLst/>
          </a:prstGeom>
          <a:solidFill>
            <a:schemeClr val="accent1">
              <a:alpha val="59746"/>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GB" sz="2800">
                <a:solidFill>
                  <a:schemeClr val="tx1"/>
                </a:solidFill>
                <a:latin typeface="DM Sans" pitchFamily="2" charset="77"/>
                <a:cs typeface="Arial"/>
              </a:rPr>
              <a:t>24x7 Security Operations</a:t>
            </a:r>
            <a:endParaRPr lang="en-GB" sz="1000">
              <a:solidFill>
                <a:schemeClr val="tx1"/>
              </a:solidFill>
              <a:latin typeface="DM Sans" pitchFamily="2" charset="77"/>
              <a:cs typeface="Arial"/>
            </a:endParaRPr>
          </a:p>
        </p:txBody>
      </p:sp>
      <p:sp>
        <p:nvSpPr>
          <p:cNvPr id="22" name="Rectangle 21">
            <a:extLst>
              <a:ext uri="{FF2B5EF4-FFF2-40B4-BE49-F238E27FC236}">
                <a16:creationId xmlns:a16="http://schemas.microsoft.com/office/drawing/2014/main" id="{6FC88090-03B8-30E5-5CF5-B33663272610}"/>
              </a:ext>
            </a:extLst>
          </p:cNvPr>
          <p:cNvSpPr/>
          <p:nvPr/>
        </p:nvSpPr>
        <p:spPr>
          <a:xfrm>
            <a:off x="5047139" y="1455055"/>
            <a:ext cx="4523181" cy="762776"/>
          </a:xfrm>
          <a:prstGeom prst="rect">
            <a:avLst/>
          </a:prstGeom>
          <a:solidFill>
            <a:schemeClr val="accent1">
              <a:alpha val="59746"/>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0"/>
              </a:spcBef>
              <a:spcAft>
                <a:spcPct val="0"/>
              </a:spcAft>
              <a:defRPr/>
            </a:pPr>
            <a:r>
              <a:rPr lang="en-GB" sz="2800">
                <a:solidFill>
                  <a:schemeClr val="tx1"/>
                </a:solidFill>
                <a:latin typeface="DM Sans" pitchFamily="2" charset="77"/>
                <a:cs typeface="Arial"/>
              </a:rPr>
              <a:t>Consulting Services</a:t>
            </a:r>
            <a:endParaRPr lang="en-GB" sz="1000">
              <a:solidFill>
                <a:schemeClr val="tx1"/>
              </a:solidFill>
              <a:latin typeface="DM Sans" pitchFamily="2" charset="77"/>
              <a:cs typeface="Arial"/>
            </a:endParaRPr>
          </a:p>
        </p:txBody>
      </p:sp>
    </p:spTree>
    <p:extLst>
      <p:ext uri="{BB962C8B-B14F-4D97-AF65-F5344CB8AC3E}">
        <p14:creationId xmlns:p14="http://schemas.microsoft.com/office/powerpoint/2010/main" val="2955123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278D2C-649A-33CE-27B6-149C6B465C87}"/>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D4A7A238-4DE9-8007-C334-ED03495FAD7B}"/>
              </a:ext>
            </a:extLst>
          </p:cNvPr>
          <p:cNvSpPr txBox="1">
            <a:spLocks/>
          </p:cNvSpPr>
          <p:nvPr/>
        </p:nvSpPr>
        <p:spPr>
          <a:xfrm>
            <a:off x="0" y="1694581"/>
            <a:ext cx="12192000" cy="1120820"/>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800" b="0" i="0" kern="1200">
                <a:solidFill>
                  <a:schemeClr val="tx1"/>
                </a:solidFill>
                <a:latin typeface="Aleo SemiBold" pitchFamily="2" charset="77"/>
                <a:ea typeface="+mj-ea"/>
                <a:cs typeface="+mj-cs"/>
              </a:defRPr>
            </a:lvl1pPr>
          </a:lstStyle>
          <a:p>
            <a:pPr algn="ctr"/>
            <a:r>
              <a:rPr lang="en-US" sz="4000" i="1" dirty="0">
                <a:latin typeface="Aleo"/>
              </a:rPr>
              <a:t>Find the full</a:t>
            </a:r>
          </a:p>
          <a:p>
            <a:pPr algn="ctr"/>
            <a:r>
              <a:rPr lang="en-US" sz="4000" b="1" i="1" dirty="0">
                <a:latin typeface="Aleo"/>
              </a:rPr>
              <a:t>2H 2024 Threat Intelligence Report </a:t>
            </a:r>
            <a:r>
              <a:rPr lang="en-US" sz="4000" i="1" dirty="0">
                <a:latin typeface="Aleo"/>
              </a:rPr>
              <a:t>below</a:t>
            </a:r>
          </a:p>
        </p:txBody>
      </p:sp>
      <p:pic>
        <p:nvPicPr>
          <p:cNvPr id="8" name="Picture 7">
            <a:extLst>
              <a:ext uri="{FF2B5EF4-FFF2-40B4-BE49-F238E27FC236}">
                <a16:creationId xmlns:a16="http://schemas.microsoft.com/office/drawing/2014/main" id="{AC33C1B1-81A4-37D1-2F89-3D7BFF12233E}"/>
              </a:ext>
            </a:extLst>
          </p:cNvPr>
          <p:cNvPicPr>
            <a:picLocks noChangeAspect="1"/>
          </p:cNvPicPr>
          <p:nvPr/>
        </p:nvPicPr>
        <p:blipFill>
          <a:blip r:embed="rId3"/>
          <a:stretch>
            <a:fillRect/>
          </a:stretch>
        </p:blipFill>
        <p:spPr>
          <a:xfrm>
            <a:off x="4777622" y="3474156"/>
            <a:ext cx="2636756" cy="2640304"/>
          </a:xfrm>
          <a:prstGeom prst="rect">
            <a:avLst/>
          </a:prstGeom>
        </p:spPr>
      </p:pic>
    </p:spTree>
    <p:extLst>
      <p:ext uri="{BB962C8B-B14F-4D97-AF65-F5344CB8AC3E}">
        <p14:creationId xmlns:p14="http://schemas.microsoft.com/office/powerpoint/2010/main" val="2251044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FC3170-7841-DAE7-BA8F-C8CFA789853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139577E-7A78-5E62-6291-D37C66D898FA}"/>
              </a:ext>
            </a:extLst>
          </p:cNvPr>
          <p:cNvSpPr>
            <a:spLocks noGrp="1"/>
          </p:cNvSpPr>
          <p:nvPr>
            <p:ph type="ctrTitle"/>
          </p:nvPr>
        </p:nvSpPr>
        <p:spPr>
          <a:xfrm>
            <a:off x="0" y="2301641"/>
            <a:ext cx="12192000" cy="1020279"/>
          </a:xfrm>
        </p:spPr>
        <p:txBody>
          <a:bodyPr/>
          <a:lstStyle/>
          <a:p>
            <a:pPr algn="ctr"/>
            <a:r>
              <a:rPr lang="en-US" sz="7200" dirty="0">
                <a:latin typeface="Aleo"/>
              </a:rPr>
              <a:t>Thank you</a:t>
            </a:r>
            <a:r>
              <a:rPr lang="en-GB" sz="7200" dirty="0">
                <a:latin typeface="Aleo"/>
              </a:rPr>
              <a:t>!</a:t>
            </a:r>
            <a:endParaRPr lang="en-US" sz="7200" dirty="0">
              <a:latin typeface="Aleo"/>
            </a:endParaRPr>
          </a:p>
        </p:txBody>
      </p:sp>
      <p:sp>
        <p:nvSpPr>
          <p:cNvPr id="3" name="Title 3">
            <a:extLst>
              <a:ext uri="{FF2B5EF4-FFF2-40B4-BE49-F238E27FC236}">
                <a16:creationId xmlns:a16="http://schemas.microsoft.com/office/drawing/2014/main" id="{1956F1E1-A334-A8D3-52F6-374E973FC12B}"/>
              </a:ext>
            </a:extLst>
          </p:cNvPr>
          <p:cNvSpPr txBox="1">
            <a:spLocks/>
          </p:cNvSpPr>
          <p:nvPr/>
        </p:nvSpPr>
        <p:spPr>
          <a:xfrm>
            <a:off x="0" y="4162179"/>
            <a:ext cx="12192000" cy="566822"/>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4800" b="0" i="0" kern="1200">
                <a:solidFill>
                  <a:schemeClr val="tx1"/>
                </a:solidFill>
                <a:latin typeface="Aleo SemiBold" pitchFamily="2" charset="77"/>
                <a:ea typeface="+mj-ea"/>
                <a:cs typeface="+mj-cs"/>
              </a:defRPr>
            </a:lvl1pPr>
          </a:lstStyle>
          <a:p>
            <a:pPr algn="ctr"/>
            <a:r>
              <a:rPr lang="en-US" sz="4000" i="1" dirty="0">
                <a:latin typeface="Aleo"/>
              </a:rPr>
              <a:t>Visit us at our booth (A15) anytime. </a:t>
            </a:r>
          </a:p>
        </p:txBody>
      </p:sp>
      <p:pic>
        <p:nvPicPr>
          <p:cNvPr id="2" name="Picture 1">
            <a:extLst>
              <a:ext uri="{FF2B5EF4-FFF2-40B4-BE49-F238E27FC236}">
                <a16:creationId xmlns:a16="http://schemas.microsoft.com/office/drawing/2014/main" id="{81637552-7DEA-4F77-9944-FB6FEDC6CBE3}"/>
              </a:ext>
            </a:extLst>
          </p:cNvPr>
          <p:cNvPicPr>
            <a:picLocks noChangeAspect="1"/>
          </p:cNvPicPr>
          <p:nvPr/>
        </p:nvPicPr>
        <p:blipFill>
          <a:blip r:embed="rId3"/>
          <a:stretch>
            <a:fillRect/>
          </a:stretch>
        </p:blipFill>
        <p:spPr>
          <a:xfrm>
            <a:off x="598528" y="1273881"/>
            <a:ext cx="1916796" cy="1919375"/>
          </a:xfrm>
          <a:prstGeom prst="rect">
            <a:avLst/>
          </a:prstGeom>
        </p:spPr>
      </p:pic>
    </p:spTree>
    <p:extLst>
      <p:ext uri="{BB962C8B-B14F-4D97-AF65-F5344CB8AC3E}">
        <p14:creationId xmlns:p14="http://schemas.microsoft.com/office/powerpoint/2010/main" val="67073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549D65-E001-4115-4EA2-794CB31DC12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C9408E10-D367-5A4D-C674-18D993BFDE55}"/>
              </a:ext>
            </a:extLst>
          </p:cNvPr>
          <p:cNvSpPr>
            <a:spLocks noGrp="1"/>
          </p:cNvSpPr>
          <p:nvPr>
            <p:ph type="title"/>
          </p:nvPr>
        </p:nvSpPr>
        <p:spPr>
          <a:xfrm>
            <a:off x="442912" y="5778551"/>
            <a:ext cx="10727113" cy="680186"/>
          </a:xfrm>
        </p:spPr>
        <p:txBody>
          <a:bodyPr/>
          <a:lstStyle/>
          <a:p>
            <a:r>
              <a:rPr lang="en-US" sz="4800" dirty="0"/>
              <a:t>Cyber Trends to Watch</a:t>
            </a:r>
          </a:p>
        </p:txBody>
      </p:sp>
      <p:pic>
        <p:nvPicPr>
          <p:cNvPr id="6" name="Picture Placeholder 5">
            <a:extLst>
              <a:ext uri="{FF2B5EF4-FFF2-40B4-BE49-F238E27FC236}">
                <a16:creationId xmlns:a16="http://schemas.microsoft.com/office/drawing/2014/main" id="{13E10189-07FB-7077-80F9-12F2385D7257}"/>
              </a:ext>
            </a:extLst>
          </p:cNvPr>
          <p:cNvPicPr>
            <a:picLocks noGrp="1" noChangeAspect="1"/>
          </p:cNvPicPr>
          <p:nvPr>
            <p:ph type="pic" sz="quarter" idx="14"/>
          </p:nvPr>
        </p:nvPicPr>
        <p:blipFill>
          <a:blip r:embed="rId3">
            <a:alphaModFix/>
          </a:blip>
          <a:srcRect t="10736" b="10736"/>
          <a:stretch/>
        </p:blipFill>
        <p:spPr>
          <a:prstGeom prst="rect">
            <a:avLst/>
          </a:prstGeom>
        </p:spPr>
      </p:pic>
    </p:spTree>
    <p:extLst>
      <p:ext uri="{BB962C8B-B14F-4D97-AF65-F5344CB8AC3E}">
        <p14:creationId xmlns:p14="http://schemas.microsoft.com/office/powerpoint/2010/main" val="33093250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002AB2-DBD3-DC50-075D-6E0D563BDB69}"/>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B3A9EB0B-3810-0397-82E5-7A7336DBCA18}"/>
              </a:ext>
            </a:extLst>
          </p:cNvPr>
          <p:cNvPicPr>
            <a:picLocks noChangeAspect="1"/>
          </p:cNvPicPr>
          <p:nvPr/>
        </p:nvPicPr>
        <p:blipFill>
          <a:blip r:embed="rId3">
            <a:alphaModFix amt="18000"/>
          </a:blip>
          <a:srcRect l="4133" r="4133"/>
          <a:stretch/>
        </p:blipFill>
        <p:spPr>
          <a:xfrm>
            <a:off x="0" y="0"/>
            <a:ext cx="12192000" cy="6858001"/>
          </a:xfrm>
          <a:prstGeom prst="rect">
            <a:avLst/>
          </a:prstGeom>
        </p:spPr>
      </p:pic>
      <p:sp>
        <p:nvSpPr>
          <p:cNvPr id="3" name="Title 2">
            <a:extLst>
              <a:ext uri="{FF2B5EF4-FFF2-40B4-BE49-F238E27FC236}">
                <a16:creationId xmlns:a16="http://schemas.microsoft.com/office/drawing/2014/main" id="{C498CA0F-D867-BD0B-C9AE-C6E1D7BE2652}"/>
              </a:ext>
            </a:extLst>
          </p:cNvPr>
          <p:cNvSpPr>
            <a:spLocks noGrp="1"/>
          </p:cNvSpPr>
          <p:nvPr>
            <p:ph type="title"/>
          </p:nvPr>
        </p:nvSpPr>
        <p:spPr>
          <a:xfrm>
            <a:off x="2024701" y="3056308"/>
            <a:ext cx="8142598" cy="738664"/>
          </a:xfrm>
        </p:spPr>
        <p:txBody>
          <a:bodyPr/>
          <a:lstStyle/>
          <a:p>
            <a:r>
              <a:rPr lang="en-US" sz="4800" dirty="0"/>
              <a:t>Ransomware</a:t>
            </a:r>
          </a:p>
        </p:txBody>
      </p:sp>
      <p:sp>
        <p:nvSpPr>
          <p:cNvPr id="4" name="Text Placeholder 3">
            <a:extLst>
              <a:ext uri="{FF2B5EF4-FFF2-40B4-BE49-F238E27FC236}">
                <a16:creationId xmlns:a16="http://schemas.microsoft.com/office/drawing/2014/main" id="{4C55BEA4-B2EF-F95C-668A-06A5EAF40344}"/>
              </a:ext>
            </a:extLst>
          </p:cNvPr>
          <p:cNvSpPr>
            <a:spLocks noGrp="1"/>
          </p:cNvSpPr>
          <p:nvPr>
            <p:ph type="body" sz="quarter" idx="10"/>
          </p:nvPr>
        </p:nvSpPr>
        <p:spPr>
          <a:xfrm>
            <a:off x="1244600" y="2730426"/>
            <a:ext cx="9702800" cy="215444"/>
          </a:xfrm>
        </p:spPr>
        <p:txBody>
          <a:bodyPr/>
          <a:lstStyle/>
          <a:p>
            <a:r>
              <a:rPr lang="en-US" dirty="0"/>
              <a:t>#1</a:t>
            </a:r>
          </a:p>
        </p:txBody>
      </p:sp>
      <p:pic>
        <p:nvPicPr>
          <p:cNvPr id="5" name="Graphic 4">
            <a:extLst>
              <a:ext uri="{FF2B5EF4-FFF2-40B4-BE49-F238E27FC236}">
                <a16:creationId xmlns:a16="http://schemas.microsoft.com/office/drawing/2014/main" id="{D88128CE-6643-DF36-9027-9F8CDA52E0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63622" y="5861785"/>
            <a:ext cx="1264753" cy="267956"/>
          </a:xfrm>
          <a:prstGeom prst="rect">
            <a:avLst/>
          </a:prstGeom>
        </p:spPr>
      </p:pic>
    </p:spTree>
    <p:extLst>
      <p:ext uri="{BB962C8B-B14F-4D97-AF65-F5344CB8AC3E}">
        <p14:creationId xmlns:p14="http://schemas.microsoft.com/office/powerpoint/2010/main" val="5671105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5D5985-463E-6B38-9C68-DC7D171B5CCC}"/>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86E988EC-1FE6-CA76-C77E-2BA69C0B01EB}"/>
              </a:ext>
            </a:extLst>
          </p:cNvPr>
          <p:cNvSpPr txBox="1"/>
          <p:nvPr/>
        </p:nvSpPr>
        <p:spPr>
          <a:xfrm>
            <a:off x="429260" y="2536776"/>
            <a:ext cx="6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600" b="0" i="0" u="none" strike="noStrike" kern="1200" cap="none" spc="0" normalizeH="0" baseline="0" noProof="0" err="1">
              <a:ln>
                <a:noFill/>
              </a:ln>
              <a:solidFill>
                <a:srgbClr val="73718A"/>
              </a:solidFill>
              <a:effectLst/>
              <a:uLnTx/>
              <a:uFillTx/>
              <a:latin typeface="DM Sans"/>
              <a:ea typeface="+mn-ea"/>
              <a:cs typeface="+mn-cs"/>
            </a:endParaRPr>
          </a:p>
        </p:txBody>
      </p:sp>
      <p:sp>
        <p:nvSpPr>
          <p:cNvPr id="2" name="Title 1">
            <a:extLst>
              <a:ext uri="{FF2B5EF4-FFF2-40B4-BE49-F238E27FC236}">
                <a16:creationId xmlns:a16="http://schemas.microsoft.com/office/drawing/2014/main" id="{FBE8201A-7859-629B-F6EF-B5B61E1F7B47}"/>
              </a:ext>
            </a:extLst>
          </p:cNvPr>
          <p:cNvSpPr>
            <a:spLocks noGrp="1"/>
          </p:cNvSpPr>
          <p:nvPr>
            <p:ph type="title"/>
          </p:nvPr>
        </p:nvSpPr>
        <p:spPr>
          <a:xfrm>
            <a:off x="534691" y="356872"/>
            <a:ext cx="10752614" cy="505844"/>
          </a:xfrm>
        </p:spPr>
        <p:txBody>
          <a:bodyPr/>
          <a:lstStyle/>
          <a:p>
            <a:r>
              <a:rPr lang="en-US" dirty="0"/>
              <a:t>Ransomware</a:t>
            </a:r>
          </a:p>
        </p:txBody>
      </p:sp>
      <p:graphicFrame>
        <p:nvGraphicFramePr>
          <p:cNvPr id="6" name="Table 5">
            <a:extLst>
              <a:ext uri="{FF2B5EF4-FFF2-40B4-BE49-F238E27FC236}">
                <a16:creationId xmlns:a16="http://schemas.microsoft.com/office/drawing/2014/main" id="{DCF0A63C-492F-A2CA-31B6-49FB16A0B7D3}"/>
              </a:ext>
            </a:extLst>
          </p:cNvPr>
          <p:cNvGraphicFramePr>
            <a:graphicFrameLocks noGrp="1"/>
          </p:cNvGraphicFramePr>
          <p:nvPr>
            <p:extLst>
              <p:ext uri="{D42A27DB-BD31-4B8C-83A1-F6EECF244321}">
                <p14:modId xmlns:p14="http://schemas.microsoft.com/office/powerpoint/2010/main" val="2308183494"/>
              </p:ext>
            </p:extLst>
          </p:nvPr>
        </p:nvGraphicFramePr>
        <p:xfrm>
          <a:off x="7518400" y="2535242"/>
          <a:ext cx="3373120" cy="2560320"/>
        </p:xfrm>
        <a:graphic>
          <a:graphicData uri="http://schemas.openxmlformats.org/drawingml/2006/table">
            <a:tbl>
              <a:tblPr firstRow="1" bandRow="1">
                <a:tableStyleId>{B301B821-A1FF-4177-AEE7-76D212191A09}</a:tableStyleId>
              </a:tblPr>
              <a:tblGrid>
                <a:gridCol w="1198880">
                  <a:extLst>
                    <a:ext uri="{9D8B030D-6E8A-4147-A177-3AD203B41FA5}">
                      <a16:colId xmlns:a16="http://schemas.microsoft.com/office/drawing/2014/main" val="2820544834"/>
                    </a:ext>
                  </a:extLst>
                </a:gridCol>
                <a:gridCol w="2174240">
                  <a:extLst>
                    <a:ext uri="{9D8B030D-6E8A-4147-A177-3AD203B41FA5}">
                      <a16:colId xmlns:a16="http://schemas.microsoft.com/office/drawing/2014/main" val="4125778196"/>
                    </a:ext>
                  </a:extLst>
                </a:gridCol>
              </a:tblGrid>
              <a:tr h="370840">
                <a:tc>
                  <a:txBody>
                    <a:bodyPr/>
                    <a:lstStyle/>
                    <a:p>
                      <a:pPr algn="r"/>
                      <a:r>
                        <a:rPr lang="en-GB" sz="2400" dirty="0">
                          <a:solidFill>
                            <a:schemeClr val="tx1"/>
                          </a:solidFill>
                        </a:rPr>
                        <a:t>Year</a:t>
                      </a:r>
                      <a:endParaRPr lang="en-CH" sz="2400" dirty="0">
                        <a:solidFill>
                          <a:schemeClr val="tx1"/>
                        </a:solidFill>
                      </a:endParaRPr>
                    </a:p>
                  </a:txBody>
                  <a:tcPr/>
                </a:tc>
                <a:tc>
                  <a:txBody>
                    <a:bodyPr/>
                    <a:lstStyle/>
                    <a:p>
                      <a:pPr algn="r"/>
                      <a:r>
                        <a:rPr lang="en-GB" sz="2400" dirty="0">
                          <a:solidFill>
                            <a:schemeClr val="tx1"/>
                          </a:solidFill>
                        </a:rPr>
                        <a:t>Estimated Ransom Payments</a:t>
                      </a:r>
                      <a:endParaRPr lang="en-CH" sz="2400" dirty="0">
                        <a:solidFill>
                          <a:schemeClr val="tx1"/>
                        </a:solidFill>
                      </a:endParaRPr>
                    </a:p>
                  </a:txBody>
                  <a:tcPr/>
                </a:tc>
                <a:extLst>
                  <a:ext uri="{0D108BD9-81ED-4DB2-BD59-A6C34878D82A}">
                    <a16:rowId xmlns:a16="http://schemas.microsoft.com/office/drawing/2014/main" val="2124010147"/>
                  </a:ext>
                </a:extLst>
              </a:tr>
              <a:tr h="370840">
                <a:tc>
                  <a:txBody>
                    <a:bodyPr/>
                    <a:lstStyle/>
                    <a:p>
                      <a:pPr algn="r"/>
                      <a:r>
                        <a:rPr lang="en-GB" sz="2400" dirty="0"/>
                        <a:t>2024</a:t>
                      </a:r>
                      <a:endParaRPr lang="en-CH" sz="2400" dirty="0"/>
                    </a:p>
                  </a:txBody>
                  <a:tcPr/>
                </a:tc>
                <a:tc>
                  <a:txBody>
                    <a:bodyPr/>
                    <a:lstStyle/>
                    <a:p>
                      <a:pPr algn="r"/>
                      <a:r>
                        <a:rPr lang="en-GB" sz="2400" dirty="0"/>
                        <a:t>$814 mil</a:t>
                      </a:r>
                      <a:endParaRPr lang="en-CH" sz="2400" dirty="0"/>
                    </a:p>
                  </a:txBody>
                  <a:tcPr/>
                </a:tc>
                <a:extLst>
                  <a:ext uri="{0D108BD9-81ED-4DB2-BD59-A6C34878D82A}">
                    <a16:rowId xmlns:a16="http://schemas.microsoft.com/office/drawing/2014/main" val="1414148482"/>
                  </a:ext>
                </a:extLst>
              </a:tr>
              <a:tr h="370840">
                <a:tc>
                  <a:txBody>
                    <a:bodyPr/>
                    <a:lstStyle/>
                    <a:p>
                      <a:pPr algn="r"/>
                      <a:r>
                        <a:rPr lang="en-GB" sz="2400" dirty="0"/>
                        <a:t>2023</a:t>
                      </a:r>
                      <a:endParaRPr lang="en-CH" sz="2400" dirty="0"/>
                    </a:p>
                  </a:txBody>
                  <a:tcPr/>
                </a:tc>
                <a:tc>
                  <a:txBody>
                    <a:bodyPr/>
                    <a:lstStyle/>
                    <a:p>
                      <a:pPr algn="r"/>
                      <a:r>
                        <a:rPr lang="en-GB" sz="2400" dirty="0"/>
                        <a:t>$1250 mil</a:t>
                      </a:r>
                      <a:endParaRPr lang="en-CH" sz="2400" dirty="0"/>
                    </a:p>
                  </a:txBody>
                  <a:tcPr/>
                </a:tc>
                <a:extLst>
                  <a:ext uri="{0D108BD9-81ED-4DB2-BD59-A6C34878D82A}">
                    <a16:rowId xmlns:a16="http://schemas.microsoft.com/office/drawing/2014/main" val="264089266"/>
                  </a:ext>
                </a:extLst>
              </a:tr>
              <a:tr h="370840">
                <a:tc>
                  <a:txBody>
                    <a:bodyPr/>
                    <a:lstStyle/>
                    <a:p>
                      <a:pPr algn="r"/>
                      <a:r>
                        <a:rPr lang="en-GB" sz="2400" dirty="0"/>
                        <a:t>2022</a:t>
                      </a:r>
                      <a:endParaRPr lang="en-CH" sz="2400" dirty="0"/>
                    </a:p>
                  </a:txBody>
                  <a:tcPr/>
                </a:tc>
                <a:tc>
                  <a:txBody>
                    <a:bodyPr/>
                    <a:lstStyle/>
                    <a:p>
                      <a:pPr algn="r"/>
                      <a:r>
                        <a:rPr lang="en-GB" sz="2400" dirty="0"/>
                        <a:t>$666 mil</a:t>
                      </a:r>
                      <a:endParaRPr lang="en-CH" sz="2400" dirty="0"/>
                    </a:p>
                  </a:txBody>
                  <a:tcPr/>
                </a:tc>
                <a:extLst>
                  <a:ext uri="{0D108BD9-81ED-4DB2-BD59-A6C34878D82A}">
                    <a16:rowId xmlns:a16="http://schemas.microsoft.com/office/drawing/2014/main" val="3647654589"/>
                  </a:ext>
                </a:extLst>
              </a:tr>
            </a:tbl>
          </a:graphicData>
        </a:graphic>
      </p:graphicFrame>
      <p:sp>
        <p:nvSpPr>
          <p:cNvPr id="7" name="TextBox 6">
            <a:extLst>
              <a:ext uri="{FF2B5EF4-FFF2-40B4-BE49-F238E27FC236}">
                <a16:creationId xmlns:a16="http://schemas.microsoft.com/office/drawing/2014/main" id="{C07FBA9D-74E3-D641-0077-DB20294B855D}"/>
              </a:ext>
            </a:extLst>
          </p:cNvPr>
          <p:cNvSpPr txBox="1"/>
          <p:nvPr/>
        </p:nvSpPr>
        <p:spPr>
          <a:xfrm>
            <a:off x="7518400" y="5172891"/>
            <a:ext cx="4229463" cy="184666"/>
          </a:xfrm>
          <a:prstGeom prst="rect">
            <a:avLst/>
          </a:prstGeom>
          <a:noFill/>
        </p:spPr>
        <p:txBody>
          <a:bodyPr wrap="square" lIns="0" tIns="0" rIns="0" bIns="0" rtlCol="0">
            <a:spAutoFit/>
          </a:bodyPr>
          <a:lstStyle/>
          <a:p>
            <a:pPr algn="l"/>
            <a:r>
              <a:rPr lang="en-GB" sz="1200" dirty="0">
                <a:solidFill>
                  <a:srgbClr val="73718A"/>
                </a:solidFill>
              </a:rPr>
              <a:t>Source: “The 2025 Crypto Crime Report” by </a:t>
            </a:r>
            <a:r>
              <a:rPr lang="en-GB" sz="1200" dirty="0" err="1">
                <a:solidFill>
                  <a:srgbClr val="73718A"/>
                </a:solidFill>
              </a:rPr>
              <a:t>Chainalysis</a:t>
            </a:r>
            <a:endParaRPr lang="en-CH" sz="1200" dirty="0" err="1">
              <a:solidFill>
                <a:srgbClr val="73718A"/>
              </a:solidFill>
            </a:endParaRPr>
          </a:p>
        </p:txBody>
      </p:sp>
      <p:sp>
        <p:nvSpPr>
          <p:cNvPr id="15" name="Rectangle 14">
            <a:extLst>
              <a:ext uri="{FF2B5EF4-FFF2-40B4-BE49-F238E27FC236}">
                <a16:creationId xmlns:a16="http://schemas.microsoft.com/office/drawing/2014/main" id="{7A93D7F3-6B71-9675-6D29-EBA7581E4F72}"/>
              </a:ext>
            </a:extLst>
          </p:cNvPr>
          <p:cNvSpPr/>
          <p:nvPr/>
        </p:nvSpPr>
        <p:spPr>
          <a:xfrm>
            <a:off x="1595150" y="4039605"/>
            <a:ext cx="2993152" cy="2147835"/>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16" name="Rectangle 15">
            <a:extLst>
              <a:ext uri="{FF2B5EF4-FFF2-40B4-BE49-F238E27FC236}">
                <a16:creationId xmlns:a16="http://schemas.microsoft.com/office/drawing/2014/main" id="{1E66F1D0-BF7C-3DF9-2DA8-6CC1C93138BE}"/>
              </a:ext>
            </a:extLst>
          </p:cNvPr>
          <p:cNvSpPr/>
          <p:nvPr/>
        </p:nvSpPr>
        <p:spPr>
          <a:xfrm>
            <a:off x="1595150" y="1534160"/>
            <a:ext cx="2993152" cy="2147835"/>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17" name="Rectangle 16">
            <a:extLst>
              <a:ext uri="{FF2B5EF4-FFF2-40B4-BE49-F238E27FC236}">
                <a16:creationId xmlns:a16="http://schemas.microsoft.com/office/drawing/2014/main" id="{9956CB0C-B791-BC96-0092-14EE1CAE713F}"/>
              </a:ext>
            </a:extLst>
          </p:cNvPr>
          <p:cNvSpPr/>
          <p:nvPr/>
        </p:nvSpPr>
        <p:spPr>
          <a:xfrm>
            <a:off x="1588939" y="2051508"/>
            <a:ext cx="2985385" cy="1077218"/>
          </a:xfrm>
          <a:prstGeom prst="rect">
            <a:avLst/>
          </a:prstGeom>
          <a:noFill/>
          <a:ln w="12700" cap="flat" cmpd="sng" algn="ctr">
            <a:noFill/>
            <a:prstDash val="solid"/>
            <a:miter lim="800000"/>
          </a:ln>
          <a:effectLst/>
        </p:spPr>
        <p:txBody>
          <a:bodyPr rtlCol="0" anchor="ctr">
            <a:spAutoFit/>
          </a:bodyPr>
          <a:lstStyle/>
          <a:p>
            <a:pPr lvl="0" algn="ctr">
              <a:defRPr/>
            </a:pPr>
            <a:r>
              <a:rPr lang="en-US" sz="4800" kern="0" dirty="0">
                <a:solidFill>
                  <a:srgbClr val="2CD9C5"/>
                </a:solidFill>
                <a:latin typeface="Aleo Medium" pitchFamily="2" charset="0"/>
              </a:rPr>
              <a:t>132%</a:t>
            </a:r>
            <a:r>
              <a:rPr kumimoji="0" lang="en-US" sz="4800" b="0" i="0" u="none" strike="noStrike" kern="0" cap="none" spc="0" normalizeH="0" baseline="0" noProof="0" dirty="0">
                <a:ln>
                  <a:noFill/>
                </a:ln>
                <a:solidFill>
                  <a:srgbClr val="2CD9C5"/>
                </a:solidFill>
                <a:effectLst/>
                <a:uLnTx/>
                <a:uFillTx/>
                <a:latin typeface="Aleo Medium" pitchFamily="2" charset="0"/>
                <a:ea typeface="+mn-ea"/>
                <a:cs typeface="+mn-cs"/>
              </a:rPr>
              <a:t> </a:t>
            </a:r>
            <a:br>
              <a:rPr kumimoji="0" lang="en-US" sz="2800" b="0" i="0" u="none" strike="noStrike" kern="0" cap="none" spc="0" normalizeH="0" baseline="0" noProof="0" dirty="0">
                <a:ln>
                  <a:noFill/>
                </a:ln>
                <a:solidFill>
                  <a:srgbClr val="2CD9C5"/>
                </a:solidFill>
                <a:effectLst/>
                <a:uLnTx/>
                <a:uFillTx/>
                <a:latin typeface="Aleo Medium" pitchFamily="2" charset="0"/>
                <a:ea typeface="+mn-ea"/>
                <a:cs typeface="+mn-cs"/>
              </a:rPr>
            </a:br>
            <a:r>
              <a:rPr kumimoji="0" lang="en-US" sz="1600" b="0" i="0" u="none" strike="noStrike" kern="0" cap="none" spc="0" normalizeH="0" baseline="0" noProof="0" dirty="0">
                <a:ln>
                  <a:noFill/>
                </a:ln>
                <a:effectLst/>
                <a:uLnTx/>
                <a:uFillTx/>
                <a:latin typeface="DM Sans"/>
                <a:ea typeface="+mn-ea"/>
                <a:cs typeface="+mn-cs"/>
              </a:rPr>
              <a:t>More attacks</a:t>
            </a:r>
            <a:endParaRPr kumimoji="0" lang="en-US" sz="2800" b="0" i="0" u="none" strike="noStrike" kern="0" cap="none" spc="0" normalizeH="0" baseline="0" noProof="0" dirty="0">
              <a:ln>
                <a:noFill/>
              </a:ln>
              <a:effectLst/>
              <a:uLnTx/>
              <a:uFillTx/>
              <a:latin typeface="DM Sans"/>
              <a:ea typeface="+mn-ea"/>
              <a:cs typeface="+mn-cs"/>
            </a:endParaRPr>
          </a:p>
        </p:txBody>
      </p:sp>
      <p:sp>
        <p:nvSpPr>
          <p:cNvPr id="18" name="Rectangle 17">
            <a:extLst>
              <a:ext uri="{FF2B5EF4-FFF2-40B4-BE49-F238E27FC236}">
                <a16:creationId xmlns:a16="http://schemas.microsoft.com/office/drawing/2014/main" id="{5054FDCE-8A69-FBEE-71C4-F1A715F05002}"/>
              </a:ext>
            </a:extLst>
          </p:cNvPr>
          <p:cNvSpPr/>
          <p:nvPr/>
        </p:nvSpPr>
        <p:spPr>
          <a:xfrm>
            <a:off x="1604439" y="4556953"/>
            <a:ext cx="2974573" cy="1077218"/>
          </a:xfrm>
          <a:prstGeom prst="rect">
            <a:avLst/>
          </a:prstGeom>
          <a:noFill/>
          <a:ln w="12700" cap="flat" cmpd="sng" algn="ctr">
            <a:noFill/>
            <a:prstDash val="solid"/>
            <a:miter lim="800000"/>
          </a:ln>
          <a:effectLst/>
        </p:spPr>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dirty="0">
                <a:ln>
                  <a:noFill/>
                </a:ln>
                <a:solidFill>
                  <a:srgbClr val="2CD9C5"/>
                </a:solidFill>
                <a:effectLst/>
                <a:uLnTx/>
                <a:uFillTx/>
                <a:latin typeface="Aleo Medium" pitchFamily="2" charset="0"/>
                <a:ea typeface="+mn-ea"/>
                <a:cs typeface="+mn-cs"/>
              </a:rPr>
              <a:t>35%</a:t>
            </a:r>
            <a:r>
              <a:rPr kumimoji="0" lang="en-US" sz="2800" b="0" i="0" u="none" strike="noStrike" kern="0" cap="none" spc="0" normalizeH="0" baseline="0" noProof="0" dirty="0">
                <a:ln>
                  <a:noFill/>
                </a:ln>
                <a:solidFill>
                  <a:srgbClr val="2CD9C5"/>
                </a:solidFill>
                <a:effectLst/>
                <a:uLnTx/>
                <a:uFillTx/>
                <a:latin typeface="Aleo Medium" pitchFamily="2" charset="0"/>
                <a:ea typeface="+mn-ea"/>
                <a:cs typeface="+mn-cs"/>
              </a:rPr>
              <a:t> </a:t>
            </a:r>
            <a:br>
              <a:rPr kumimoji="0" lang="en-US" sz="2800" b="0" i="0" u="none" strike="noStrike" kern="0" cap="none" spc="0" normalizeH="0" baseline="0" noProof="0" dirty="0">
                <a:ln>
                  <a:noFill/>
                </a:ln>
                <a:solidFill>
                  <a:srgbClr val="2CD9C5"/>
                </a:solidFill>
                <a:effectLst/>
                <a:uLnTx/>
                <a:uFillTx/>
                <a:latin typeface="Aleo Medium" pitchFamily="2" charset="0"/>
                <a:ea typeface="+mn-ea"/>
                <a:cs typeface="+mn-cs"/>
              </a:rPr>
            </a:br>
            <a:r>
              <a:rPr kumimoji="0" lang="en-US" sz="1600" b="0" i="0" u="none" strike="noStrike" kern="0" cap="none" spc="0" normalizeH="0" baseline="0" noProof="0" dirty="0">
                <a:ln>
                  <a:noFill/>
                </a:ln>
                <a:effectLst/>
                <a:uLnTx/>
                <a:uFillTx/>
                <a:latin typeface="DM Sans"/>
                <a:ea typeface="+mn-ea"/>
                <a:cs typeface="+mn-cs"/>
              </a:rPr>
              <a:t>Less payments</a:t>
            </a:r>
          </a:p>
        </p:txBody>
      </p:sp>
    </p:spTree>
    <p:extLst>
      <p:ext uri="{BB962C8B-B14F-4D97-AF65-F5344CB8AC3E}">
        <p14:creationId xmlns:p14="http://schemas.microsoft.com/office/powerpoint/2010/main" val="3327041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8"/>
                                        </p:tgtEl>
                                        <p:attrNameLst>
                                          <p:attrName>style.visibility</p:attrName>
                                        </p:attrNameLst>
                                      </p:cBhvr>
                                      <p:to>
                                        <p:strVal val="visible"/>
                                      </p:to>
                                    </p:set>
                                    <p:animEffect transition="in" filter="fade">
                                      <p:cBhvr>
                                        <p:cTn id="18" dur="500"/>
                                        <p:tgtEl>
                                          <p:spTgt spid="1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5" grpId="0" animBg="1"/>
      <p:bldP spid="16" grpId="0" animBg="1"/>
      <p:bldP spid="17" grpId="0"/>
      <p:bldP spid="1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776966-8D61-FB25-899D-1091FAF18310}"/>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02AC51A0-E0C5-B626-B5E6-BC8CB84A342A}"/>
              </a:ext>
            </a:extLst>
          </p:cNvPr>
          <p:cNvSpPr txBox="1"/>
          <p:nvPr/>
        </p:nvSpPr>
        <p:spPr>
          <a:xfrm>
            <a:off x="-434340" y="3853501"/>
            <a:ext cx="6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600" b="0" i="0" u="none" strike="noStrike" kern="1200" cap="none" spc="0" normalizeH="0" baseline="0" noProof="0" err="1">
              <a:ln>
                <a:noFill/>
              </a:ln>
              <a:solidFill>
                <a:srgbClr val="73718A"/>
              </a:solidFill>
              <a:effectLst/>
              <a:uLnTx/>
              <a:uFillTx/>
              <a:latin typeface="DM Sans"/>
              <a:ea typeface="+mn-ea"/>
              <a:cs typeface="+mn-cs"/>
            </a:endParaRPr>
          </a:p>
        </p:txBody>
      </p:sp>
      <p:sp>
        <p:nvSpPr>
          <p:cNvPr id="2" name="Title 1">
            <a:extLst>
              <a:ext uri="{FF2B5EF4-FFF2-40B4-BE49-F238E27FC236}">
                <a16:creationId xmlns:a16="http://schemas.microsoft.com/office/drawing/2014/main" id="{56DE4F6B-B57A-2819-0442-1E620A51C5EB}"/>
              </a:ext>
            </a:extLst>
          </p:cNvPr>
          <p:cNvSpPr>
            <a:spLocks noGrp="1"/>
          </p:cNvSpPr>
          <p:nvPr>
            <p:ph type="title"/>
          </p:nvPr>
        </p:nvSpPr>
        <p:spPr>
          <a:xfrm>
            <a:off x="534691" y="356872"/>
            <a:ext cx="10752614" cy="505844"/>
          </a:xfrm>
        </p:spPr>
        <p:txBody>
          <a:bodyPr/>
          <a:lstStyle/>
          <a:p>
            <a:r>
              <a:rPr lang="en-US" dirty="0"/>
              <a:t>Ransomware</a:t>
            </a:r>
          </a:p>
        </p:txBody>
      </p:sp>
      <p:sp>
        <p:nvSpPr>
          <p:cNvPr id="3" name="Rectangle 2">
            <a:extLst>
              <a:ext uri="{FF2B5EF4-FFF2-40B4-BE49-F238E27FC236}">
                <a16:creationId xmlns:a16="http://schemas.microsoft.com/office/drawing/2014/main" id="{6F021A4D-98C5-8197-749A-7BE47CCF24EE}"/>
              </a:ext>
            </a:extLst>
          </p:cNvPr>
          <p:cNvSpPr/>
          <p:nvPr/>
        </p:nvSpPr>
        <p:spPr>
          <a:xfrm>
            <a:off x="720483" y="1114397"/>
            <a:ext cx="8477879" cy="4546174"/>
          </a:xfrm>
          <a:prstGeom prst="rect">
            <a:avLst/>
          </a:prstGeom>
          <a:noFill/>
          <a:ln w="12700" cap="flat" cmpd="sng" algn="ctr">
            <a:noFill/>
            <a:prstDash val="solid"/>
            <a:miter lim="800000"/>
          </a:ln>
          <a:effectLst/>
        </p:spPr>
        <p:txBody>
          <a:bodyPr lIns="0" rIns="0" rtlCol="0" anchor="ctr"/>
          <a:lstStyle/>
          <a:p>
            <a:pPr marR="0" lvl="0" defTabSz="914400" eaLnBrk="1" fontAlgn="auto" latinLnBrk="0" hangingPunct="1">
              <a:lnSpc>
                <a:spcPct val="100000"/>
              </a:lnSpc>
              <a:spcBef>
                <a:spcPts val="0"/>
              </a:spcBef>
              <a:spcAft>
                <a:spcPts val="0"/>
              </a:spcAft>
              <a:buClrTx/>
              <a:buSzTx/>
              <a:tabLst/>
              <a:defRPr/>
            </a:pPr>
            <a:endParaRPr kumimoji="0" lang="en-US" sz="2400" b="1" i="1" u="none" strike="noStrike" kern="0" cap="none" spc="0" normalizeH="0" baseline="0" noProof="0" dirty="0">
              <a:ln>
                <a:noFill/>
              </a:ln>
              <a:solidFill>
                <a:srgbClr val="FFFFFF"/>
              </a:solidFill>
              <a:effectLst/>
              <a:uLnTx/>
              <a:uFillTx/>
              <a:latin typeface="DM Sans" pitchFamily="2" charset="77"/>
            </a:endParaRPr>
          </a:p>
        </p:txBody>
      </p:sp>
      <p:graphicFrame>
        <p:nvGraphicFramePr>
          <p:cNvPr id="7" name="Table 6">
            <a:extLst>
              <a:ext uri="{FF2B5EF4-FFF2-40B4-BE49-F238E27FC236}">
                <a16:creationId xmlns:a16="http://schemas.microsoft.com/office/drawing/2014/main" id="{050CC5DA-69EE-8D8F-B3A5-27139BE1F84E}"/>
              </a:ext>
            </a:extLst>
          </p:cNvPr>
          <p:cNvGraphicFramePr>
            <a:graphicFrameLocks noGrp="1"/>
          </p:cNvGraphicFramePr>
          <p:nvPr>
            <p:extLst>
              <p:ext uri="{D42A27DB-BD31-4B8C-83A1-F6EECF244321}">
                <p14:modId xmlns:p14="http://schemas.microsoft.com/office/powerpoint/2010/main" val="919047333"/>
              </p:ext>
            </p:extLst>
          </p:nvPr>
        </p:nvGraphicFramePr>
        <p:xfrm>
          <a:off x="720483" y="1821431"/>
          <a:ext cx="5387340" cy="3566160"/>
        </p:xfrm>
        <a:graphic>
          <a:graphicData uri="http://schemas.openxmlformats.org/drawingml/2006/table">
            <a:tbl>
              <a:tblPr firstRow="1" bandRow="1">
                <a:tableStyleId>{5C22544A-7EE6-4342-B048-85BDC9FD1C3A}</a:tableStyleId>
              </a:tblPr>
              <a:tblGrid>
                <a:gridCol w="3568914">
                  <a:extLst>
                    <a:ext uri="{9D8B030D-6E8A-4147-A177-3AD203B41FA5}">
                      <a16:colId xmlns:a16="http://schemas.microsoft.com/office/drawing/2014/main" val="4228898772"/>
                    </a:ext>
                  </a:extLst>
                </a:gridCol>
                <a:gridCol w="1818426">
                  <a:extLst>
                    <a:ext uri="{9D8B030D-6E8A-4147-A177-3AD203B41FA5}">
                      <a16:colId xmlns:a16="http://schemas.microsoft.com/office/drawing/2014/main" val="1082024553"/>
                    </a:ext>
                  </a:extLst>
                </a:gridCol>
              </a:tblGrid>
              <a:tr h="370840">
                <a:tc>
                  <a:txBody>
                    <a:bodyPr/>
                    <a:lstStyle/>
                    <a:p>
                      <a:pPr algn="r"/>
                      <a:r>
                        <a:rPr lang="en-GB" sz="2400" dirty="0"/>
                        <a:t>Sector</a:t>
                      </a:r>
                      <a:endParaRPr lang="en-CH" sz="2400" dirty="0"/>
                    </a:p>
                  </a:txBody>
                  <a:tcPr/>
                </a:tc>
                <a:tc>
                  <a:txBody>
                    <a:bodyPr/>
                    <a:lstStyle/>
                    <a:p>
                      <a:pPr algn="l"/>
                      <a:r>
                        <a:rPr lang="en-GB" sz="2400" dirty="0"/>
                        <a:t>Reported Incidents</a:t>
                      </a:r>
                      <a:endParaRPr lang="en-CH" sz="2400" dirty="0"/>
                    </a:p>
                  </a:txBody>
                  <a:tcPr/>
                </a:tc>
                <a:extLst>
                  <a:ext uri="{0D108BD9-81ED-4DB2-BD59-A6C34878D82A}">
                    <a16:rowId xmlns:a16="http://schemas.microsoft.com/office/drawing/2014/main" val="598532029"/>
                  </a:ext>
                </a:extLst>
              </a:tr>
              <a:tr h="370840">
                <a:tc>
                  <a:txBody>
                    <a:bodyPr/>
                    <a:lstStyle/>
                    <a:p>
                      <a:pPr algn="r"/>
                      <a:r>
                        <a:rPr lang="en-GB" sz="2400" dirty="0"/>
                        <a:t>Manufacturing</a:t>
                      </a:r>
                      <a:endParaRPr lang="en-CH" sz="2400" dirty="0"/>
                    </a:p>
                  </a:txBody>
                  <a:tcPr/>
                </a:tc>
                <a:tc>
                  <a:txBody>
                    <a:bodyPr/>
                    <a:lstStyle/>
                    <a:p>
                      <a:pPr algn="l"/>
                      <a:r>
                        <a:rPr lang="en-CH" sz="2400" dirty="0"/>
                        <a:t>538</a:t>
                      </a:r>
                    </a:p>
                  </a:txBody>
                  <a:tcPr/>
                </a:tc>
                <a:extLst>
                  <a:ext uri="{0D108BD9-81ED-4DB2-BD59-A6C34878D82A}">
                    <a16:rowId xmlns:a16="http://schemas.microsoft.com/office/drawing/2014/main" val="682582782"/>
                  </a:ext>
                </a:extLst>
              </a:tr>
              <a:tr h="370840">
                <a:tc>
                  <a:txBody>
                    <a:bodyPr/>
                    <a:lstStyle/>
                    <a:p>
                      <a:pPr algn="r"/>
                      <a:r>
                        <a:rPr lang="en-GB" sz="2400" dirty="0"/>
                        <a:t>Services</a:t>
                      </a:r>
                      <a:endParaRPr lang="en-CH" sz="2400" dirty="0"/>
                    </a:p>
                  </a:txBody>
                  <a:tcPr/>
                </a:tc>
                <a:tc>
                  <a:txBody>
                    <a:bodyPr/>
                    <a:lstStyle/>
                    <a:p>
                      <a:pPr algn="l"/>
                      <a:r>
                        <a:rPr lang="en-CH" sz="2400" dirty="0"/>
                        <a:t>496</a:t>
                      </a:r>
                    </a:p>
                  </a:txBody>
                  <a:tcPr/>
                </a:tc>
                <a:extLst>
                  <a:ext uri="{0D108BD9-81ED-4DB2-BD59-A6C34878D82A}">
                    <a16:rowId xmlns:a16="http://schemas.microsoft.com/office/drawing/2014/main" val="1106903076"/>
                  </a:ext>
                </a:extLst>
              </a:tr>
              <a:tr h="370840">
                <a:tc>
                  <a:txBody>
                    <a:bodyPr/>
                    <a:lstStyle/>
                    <a:p>
                      <a:pPr algn="r"/>
                      <a:r>
                        <a:rPr lang="en-GB" sz="2400" dirty="0"/>
                        <a:t>Healthcare/Pharma</a:t>
                      </a:r>
                      <a:endParaRPr lang="en-CH" sz="2400" dirty="0"/>
                    </a:p>
                  </a:txBody>
                  <a:tcPr/>
                </a:tc>
                <a:tc>
                  <a:txBody>
                    <a:bodyPr/>
                    <a:lstStyle/>
                    <a:p>
                      <a:pPr algn="l"/>
                      <a:r>
                        <a:rPr lang="en-CH" sz="2400" dirty="0"/>
                        <a:t>406</a:t>
                      </a:r>
                    </a:p>
                  </a:txBody>
                  <a:tcPr/>
                </a:tc>
                <a:extLst>
                  <a:ext uri="{0D108BD9-81ED-4DB2-BD59-A6C34878D82A}">
                    <a16:rowId xmlns:a16="http://schemas.microsoft.com/office/drawing/2014/main" val="2794135411"/>
                  </a:ext>
                </a:extLst>
              </a:tr>
              <a:tr h="370840">
                <a:tc>
                  <a:txBody>
                    <a:bodyPr/>
                    <a:lstStyle/>
                    <a:p>
                      <a:pPr algn="r"/>
                      <a:r>
                        <a:rPr lang="en-GB" sz="2400" dirty="0"/>
                        <a:t>Transport</a:t>
                      </a:r>
                      <a:endParaRPr lang="en-CH" sz="2400" dirty="0"/>
                    </a:p>
                  </a:txBody>
                  <a:tcPr/>
                </a:tc>
                <a:tc>
                  <a:txBody>
                    <a:bodyPr/>
                    <a:lstStyle/>
                    <a:p>
                      <a:pPr algn="l"/>
                      <a:r>
                        <a:rPr lang="en-CH" sz="2400" dirty="0"/>
                        <a:t>372</a:t>
                      </a:r>
                    </a:p>
                  </a:txBody>
                  <a:tcPr/>
                </a:tc>
                <a:extLst>
                  <a:ext uri="{0D108BD9-81ED-4DB2-BD59-A6C34878D82A}">
                    <a16:rowId xmlns:a16="http://schemas.microsoft.com/office/drawing/2014/main" val="3137609369"/>
                  </a:ext>
                </a:extLst>
              </a:tr>
              <a:tr h="370840">
                <a:tc>
                  <a:txBody>
                    <a:bodyPr/>
                    <a:lstStyle/>
                    <a:p>
                      <a:pPr algn="r"/>
                      <a:r>
                        <a:rPr lang="en-GB" sz="2400" dirty="0"/>
                        <a:t>IT/Telecom</a:t>
                      </a:r>
                      <a:endParaRPr lang="en-CH" sz="2400" dirty="0"/>
                    </a:p>
                  </a:txBody>
                  <a:tcPr/>
                </a:tc>
                <a:tc>
                  <a:txBody>
                    <a:bodyPr/>
                    <a:lstStyle/>
                    <a:p>
                      <a:pPr algn="l"/>
                      <a:r>
                        <a:rPr lang="en-CH" sz="2400" dirty="0"/>
                        <a:t>354</a:t>
                      </a:r>
                    </a:p>
                  </a:txBody>
                  <a:tcPr/>
                </a:tc>
                <a:extLst>
                  <a:ext uri="{0D108BD9-81ED-4DB2-BD59-A6C34878D82A}">
                    <a16:rowId xmlns:a16="http://schemas.microsoft.com/office/drawing/2014/main" val="3633656184"/>
                  </a:ext>
                </a:extLst>
              </a:tr>
              <a:tr h="370840">
                <a:tc>
                  <a:txBody>
                    <a:bodyPr/>
                    <a:lstStyle/>
                    <a:p>
                      <a:pPr algn="r"/>
                      <a:r>
                        <a:rPr lang="en-GB" sz="2400" dirty="0"/>
                        <a:t>Government/Society</a:t>
                      </a:r>
                      <a:endParaRPr lang="en-CH" sz="2400" dirty="0"/>
                    </a:p>
                  </a:txBody>
                  <a:tcPr/>
                </a:tc>
                <a:tc>
                  <a:txBody>
                    <a:bodyPr/>
                    <a:lstStyle/>
                    <a:p>
                      <a:pPr algn="l"/>
                      <a:r>
                        <a:rPr lang="en-CH" sz="2400" dirty="0"/>
                        <a:t>274</a:t>
                      </a:r>
                    </a:p>
                  </a:txBody>
                  <a:tcPr/>
                </a:tc>
                <a:extLst>
                  <a:ext uri="{0D108BD9-81ED-4DB2-BD59-A6C34878D82A}">
                    <a16:rowId xmlns:a16="http://schemas.microsoft.com/office/drawing/2014/main" val="4121220054"/>
                  </a:ext>
                </a:extLst>
              </a:tr>
            </a:tbl>
          </a:graphicData>
        </a:graphic>
      </p:graphicFrame>
      <p:sp>
        <p:nvSpPr>
          <p:cNvPr id="8" name="TextBox 7">
            <a:extLst>
              <a:ext uri="{FF2B5EF4-FFF2-40B4-BE49-F238E27FC236}">
                <a16:creationId xmlns:a16="http://schemas.microsoft.com/office/drawing/2014/main" id="{9B14DBE9-FF05-D64D-5A4F-90A70FD9948E}"/>
              </a:ext>
            </a:extLst>
          </p:cNvPr>
          <p:cNvSpPr txBox="1"/>
          <p:nvPr/>
        </p:nvSpPr>
        <p:spPr>
          <a:xfrm>
            <a:off x="720483" y="5520062"/>
            <a:ext cx="5080469" cy="184666"/>
          </a:xfrm>
          <a:prstGeom prst="rect">
            <a:avLst/>
          </a:prstGeom>
          <a:noFill/>
        </p:spPr>
        <p:txBody>
          <a:bodyPr wrap="square" lIns="0" tIns="0" rIns="0" bIns="0" rtlCol="0">
            <a:spAutoFit/>
          </a:bodyPr>
          <a:lstStyle/>
          <a:p>
            <a:pPr algn="l"/>
            <a:r>
              <a:rPr lang="en-GB" sz="1200" dirty="0">
                <a:solidFill>
                  <a:srgbClr val="73718A"/>
                </a:solidFill>
              </a:rPr>
              <a:t>Source: Ecrime.ch</a:t>
            </a:r>
            <a:endParaRPr lang="en-CH" sz="1200" dirty="0" err="1">
              <a:solidFill>
                <a:srgbClr val="73718A"/>
              </a:solidFill>
            </a:endParaRPr>
          </a:p>
        </p:txBody>
      </p:sp>
      <p:graphicFrame>
        <p:nvGraphicFramePr>
          <p:cNvPr id="9" name="Table 8">
            <a:extLst>
              <a:ext uri="{FF2B5EF4-FFF2-40B4-BE49-F238E27FC236}">
                <a16:creationId xmlns:a16="http://schemas.microsoft.com/office/drawing/2014/main" id="{167523D0-70A0-5EAD-43AE-627E8ADABF1D}"/>
              </a:ext>
            </a:extLst>
          </p:cNvPr>
          <p:cNvGraphicFramePr>
            <a:graphicFrameLocks noGrp="1"/>
          </p:cNvGraphicFramePr>
          <p:nvPr>
            <p:extLst>
              <p:ext uri="{D42A27DB-BD31-4B8C-83A1-F6EECF244321}">
                <p14:modId xmlns:p14="http://schemas.microsoft.com/office/powerpoint/2010/main" val="3362607154"/>
              </p:ext>
            </p:extLst>
          </p:nvPr>
        </p:nvGraphicFramePr>
        <p:xfrm>
          <a:off x="7165969" y="2507231"/>
          <a:ext cx="4305548" cy="2194560"/>
        </p:xfrm>
        <a:graphic>
          <a:graphicData uri="http://schemas.openxmlformats.org/drawingml/2006/table">
            <a:tbl>
              <a:tblPr firstRow="1" bandRow="1">
                <a:tableStyleId>{5C22544A-7EE6-4342-B048-85BDC9FD1C3A}</a:tableStyleId>
              </a:tblPr>
              <a:tblGrid>
                <a:gridCol w="2720588">
                  <a:extLst>
                    <a:ext uri="{9D8B030D-6E8A-4147-A177-3AD203B41FA5}">
                      <a16:colId xmlns:a16="http://schemas.microsoft.com/office/drawing/2014/main" val="4228898772"/>
                    </a:ext>
                  </a:extLst>
                </a:gridCol>
                <a:gridCol w="1584960">
                  <a:extLst>
                    <a:ext uri="{9D8B030D-6E8A-4147-A177-3AD203B41FA5}">
                      <a16:colId xmlns:a16="http://schemas.microsoft.com/office/drawing/2014/main" val="1082024553"/>
                    </a:ext>
                  </a:extLst>
                </a:gridCol>
              </a:tblGrid>
              <a:tr h="370840">
                <a:tc>
                  <a:txBody>
                    <a:bodyPr/>
                    <a:lstStyle/>
                    <a:p>
                      <a:pPr algn="r"/>
                      <a:r>
                        <a:rPr lang="en-GB" sz="2400" dirty="0"/>
                        <a:t>Company Size</a:t>
                      </a:r>
                      <a:endParaRPr lang="en-CH" sz="2400" dirty="0"/>
                    </a:p>
                  </a:txBody>
                  <a:tcPr/>
                </a:tc>
                <a:tc>
                  <a:txBody>
                    <a:bodyPr/>
                    <a:lstStyle/>
                    <a:p>
                      <a:pPr algn="l"/>
                      <a:r>
                        <a:rPr lang="en-GB" sz="2400"/>
                        <a:t>Reported Incidents</a:t>
                      </a:r>
                      <a:endParaRPr lang="en-CH" sz="2400" dirty="0"/>
                    </a:p>
                  </a:txBody>
                  <a:tcPr/>
                </a:tc>
                <a:extLst>
                  <a:ext uri="{0D108BD9-81ED-4DB2-BD59-A6C34878D82A}">
                    <a16:rowId xmlns:a16="http://schemas.microsoft.com/office/drawing/2014/main" val="598532029"/>
                  </a:ext>
                </a:extLst>
              </a:tr>
              <a:tr h="370840">
                <a:tc>
                  <a:txBody>
                    <a:bodyPr/>
                    <a:lstStyle/>
                    <a:p>
                      <a:pPr algn="r"/>
                      <a:r>
                        <a:rPr lang="en-GB" sz="2400" dirty="0"/>
                        <a:t>50 employees</a:t>
                      </a:r>
                      <a:endParaRPr lang="en-CH" sz="2400" dirty="0"/>
                    </a:p>
                  </a:txBody>
                  <a:tcPr/>
                </a:tc>
                <a:tc>
                  <a:txBody>
                    <a:bodyPr/>
                    <a:lstStyle/>
                    <a:p>
                      <a:pPr algn="l"/>
                      <a:r>
                        <a:rPr lang="en-CH" sz="2400" dirty="0"/>
                        <a:t>1,589</a:t>
                      </a:r>
                    </a:p>
                  </a:txBody>
                  <a:tcPr/>
                </a:tc>
                <a:extLst>
                  <a:ext uri="{0D108BD9-81ED-4DB2-BD59-A6C34878D82A}">
                    <a16:rowId xmlns:a16="http://schemas.microsoft.com/office/drawing/2014/main" val="682582782"/>
                  </a:ext>
                </a:extLst>
              </a:tr>
              <a:tr h="370840">
                <a:tc>
                  <a:txBody>
                    <a:bodyPr/>
                    <a:lstStyle/>
                    <a:p>
                      <a:pPr algn="r"/>
                      <a:r>
                        <a:rPr lang="en-GB" sz="2400" dirty="0"/>
                        <a:t>200 employees</a:t>
                      </a:r>
                      <a:endParaRPr lang="en-CH" sz="2400" dirty="0"/>
                    </a:p>
                  </a:txBody>
                  <a:tcPr/>
                </a:tc>
                <a:tc>
                  <a:txBody>
                    <a:bodyPr/>
                    <a:lstStyle/>
                    <a:p>
                      <a:pPr algn="l"/>
                      <a:r>
                        <a:rPr lang="en-CH" sz="2400" dirty="0"/>
                        <a:t>846</a:t>
                      </a:r>
                    </a:p>
                  </a:txBody>
                  <a:tcPr/>
                </a:tc>
                <a:extLst>
                  <a:ext uri="{0D108BD9-81ED-4DB2-BD59-A6C34878D82A}">
                    <a16:rowId xmlns:a16="http://schemas.microsoft.com/office/drawing/2014/main" val="1106903076"/>
                  </a:ext>
                </a:extLst>
              </a:tr>
              <a:tr h="370840">
                <a:tc>
                  <a:txBody>
                    <a:bodyPr/>
                    <a:lstStyle/>
                    <a:p>
                      <a:pPr algn="r"/>
                      <a:r>
                        <a:rPr lang="en-GB" sz="2400" dirty="0"/>
                        <a:t>1,000 employees</a:t>
                      </a:r>
                      <a:endParaRPr lang="en-CH" sz="2400" dirty="0"/>
                    </a:p>
                  </a:txBody>
                  <a:tcPr/>
                </a:tc>
                <a:tc>
                  <a:txBody>
                    <a:bodyPr/>
                    <a:lstStyle/>
                    <a:p>
                      <a:pPr algn="l"/>
                      <a:r>
                        <a:rPr lang="en-CH" sz="2400" dirty="0"/>
                        <a:t>513</a:t>
                      </a:r>
                    </a:p>
                  </a:txBody>
                  <a:tcPr/>
                </a:tc>
                <a:extLst>
                  <a:ext uri="{0D108BD9-81ED-4DB2-BD59-A6C34878D82A}">
                    <a16:rowId xmlns:a16="http://schemas.microsoft.com/office/drawing/2014/main" val="2794135411"/>
                  </a:ext>
                </a:extLst>
              </a:tr>
            </a:tbl>
          </a:graphicData>
        </a:graphic>
      </p:graphicFrame>
      <p:sp>
        <p:nvSpPr>
          <p:cNvPr id="10" name="TextBox 9">
            <a:extLst>
              <a:ext uri="{FF2B5EF4-FFF2-40B4-BE49-F238E27FC236}">
                <a16:creationId xmlns:a16="http://schemas.microsoft.com/office/drawing/2014/main" id="{4C37F5B2-84C5-3B1F-8A0E-E5827FBAF9DB}"/>
              </a:ext>
            </a:extLst>
          </p:cNvPr>
          <p:cNvSpPr txBox="1"/>
          <p:nvPr/>
        </p:nvSpPr>
        <p:spPr>
          <a:xfrm>
            <a:off x="7178114" y="4768806"/>
            <a:ext cx="5080469" cy="184666"/>
          </a:xfrm>
          <a:prstGeom prst="rect">
            <a:avLst/>
          </a:prstGeom>
          <a:noFill/>
        </p:spPr>
        <p:txBody>
          <a:bodyPr wrap="square" lIns="0" tIns="0" rIns="0" bIns="0" rtlCol="0">
            <a:spAutoFit/>
          </a:bodyPr>
          <a:lstStyle/>
          <a:p>
            <a:pPr algn="l"/>
            <a:r>
              <a:rPr lang="en-GB" sz="1200" dirty="0">
                <a:solidFill>
                  <a:srgbClr val="73718A"/>
                </a:solidFill>
              </a:rPr>
              <a:t>Source: Ecrime.ch</a:t>
            </a:r>
            <a:endParaRPr lang="en-CH" sz="1200" dirty="0" err="1">
              <a:solidFill>
                <a:srgbClr val="73718A"/>
              </a:solidFill>
            </a:endParaRPr>
          </a:p>
        </p:txBody>
      </p:sp>
    </p:spTree>
    <p:extLst>
      <p:ext uri="{BB962C8B-B14F-4D97-AF65-F5344CB8AC3E}">
        <p14:creationId xmlns:p14="http://schemas.microsoft.com/office/powerpoint/2010/main" val="11618457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F2D717-7A14-8246-734D-60BDE5B42996}"/>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A6D3E0AC-D9DD-CB9F-242B-C26F9D725E75}"/>
              </a:ext>
            </a:extLst>
          </p:cNvPr>
          <p:cNvPicPr>
            <a:picLocks noChangeAspect="1"/>
          </p:cNvPicPr>
          <p:nvPr/>
        </p:nvPicPr>
        <p:blipFill>
          <a:blip r:embed="rId3">
            <a:alphaModFix amt="18000"/>
          </a:blip>
          <a:srcRect l="4133" r="4133"/>
          <a:stretch/>
        </p:blipFill>
        <p:spPr>
          <a:xfrm>
            <a:off x="0" y="0"/>
            <a:ext cx="12192000" cy="6858001"/>
          </a:xfrm>
          <a:prstGeom prst="rect">
            <a:avLst/>
          </a:prstGeom>
        </p:spPr>
      </p:pic>
      <p:sp>
        <p:nvSpPr>
          <p:cNvPr id="3" name="Title 2">
            <a:extLst>
              <a:ext uri="{FF2B5EF4-FFF2-40B4-BE49-F238E27FC236}">
                <a16:creationId xmlns:a16="http://schemas.microsoft.com/office/drawing/2014/main" id="{387CE053-0ACC-0AC3-2EBA-5B0ECF64B6DB}"/>
              </a:ext>
            </a:extLst>
          </p:cNvPr>
          <p:cNvSpPr>
            <a:spLocks noGrp="1"/>
          </p:cNvSpPr>
          <p:nvPr>
            <p:ph type="title"/>
          </p:nvPr>
        </p:nvSpPr>
        <p:spPr>
          <a:xfrm>
            <a:off x="2024701" y="3056308"/>
            <a:ext cx="8142598" cy="1477328"/>
          </a:xfrm>
        </p:spPr>
        <p:txBody>
          <a:bodyPr/>
          <a:lstStyle/>
          <a:p>
            <a:r>
              <a:rPr lang="en-US" sz="4800" dirty="0"/>
              <a:t>Malware Delivery Mechanisms</a:t>
            </a:r>
          </a:p>
        </p:txBody>
      </p:sp>
      <p:sp>
        <p:nvSpPr>
          <p:cNvPr id="4" name="Text Placeholder 3">
            <a:extLst>
              <a:ext uri="{FF2B5EF4-FFF2-40B4-BE49-F238E27FC236}">
                <a16:creationId xmlns:a16="http://schemas.microsoft.com/office/drawing/2014/main" id="{C61E9D72-367D-1460-A123-D5A02694686D}"/>
              </a:ext>
            </a:extLst>
          </p:cNvPr>
          <p:cNvSpPr>
            <a:spLocks noGrp="1"/>
          </p:cNvSpPr>
          <p:nvPr>
            <p:ph type="body" sz="quarter" idx="10"/>
          </p:nvPr>
        </p:nvSpPr>
        <p:spPr>
          <a:xfrm>
            <a:off x="1244600" y="2730426"/>
            <a:ext cx="9702800" cy="215444"/>
          </a:xfrm>
        </p:spPr>
        <p:txBody>
          <a:bodyPr/>
          <a:lstStyle/>
          <a:p>
            <a:r>
              <a:rPr lang="en-US" dirty="0"/>
              <a:t>#2</a:t>
            </a:r>
          </a:p>
        </p:txBody>
      </p:sp>
      <p:pic>
        <p:nvPicPr>
          <p:cNvPr id="5" name="Graphic 4">
            <a:extLst>
              <a:ext uri="{FF2B5EF4-FFF2-40B4-BE49-F238E27FC236}">
                <a16:creationId xmlns:a16="http://schemas.microsoft.com/office/drawing/2014/main" id="{86B5DFA5-6CBC-B096-78BA-9945A548B9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463622" y="5861785"/>
            <a:ext cx="1264753" cy="267956"/>
          </a:xfrm>
          <a:prstGeom prst="rect">
            <a:avLst/>
          </a:prstGeom>
        </p:spPr>
      </p:pic>
    </p:spTree>
    <p:extLst>
      <p:ext uri="{BB962C8B-B14F-4D97-AF65-F5344CB8AC3E}">
        <p14:creationId xmlns:p14="http://schemas.microsoft.com/office/powerpoint/2010/main" val="4161911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F3DD09-A281-4E97-6184-5BB94B86BA43}"/>
            </a:ext>
          </a:extLst>
        </p:cNvPr>
        <p:cNvGrpSpPr/>
        <p:nvPr/>
      </p:nvGrpSpPr>
      <p:grpSpPr>
        <a:xfrm>
          <a:off x="0" y="0"/>
          <a:ext cx="0" cy="0"/>
          <a:chOff x="0" y="0"/>
          <a:chExt cx="0" cy="0"/>
        </a:xfrm>
      </p:grpSpPr>
      <p:sp>
        <p:nvSpPr>
          <p:cNvPr id="55" name="TextBox 54">
            <a:extLst>
              <a:ext uri="{FF2B5EF4-FFF2-40B4-BE49-F238E27FC236}">
                <a16:creationId xmlns:a16="http://schemas.microsoft.com/office/drawing/2014/main" id="{644D68BF-60D6-AC3E-6353-BB40A799F13A}"/>
              </a:ext>
            </a:extLst>
          </p:cNvPr>
          <p:cNvSpPr txBox="1"/>
          <p:nvPr/>
        </p:nvSpPr>
        <p:spPr>
          <a:xfrm>
            <a:off x="-434340" y="3853501"/>
            <a:ext cx="65" cy="246221"/>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H" sz="1600" b="0" i="0" u="none" strike="noStrike" kern="1200" cap="none" spc="0" normalizeH="0" baseline="0" noProof="0" err="1">
              <a:ln>
                <a:noFill/>
              </a:ln>
              <a:solidFill>
                <a:srgbClr val="73718A"/>
              </a:solidFill>
              <a:effectLst/>
              <a:uLnTx/>
              <a:uFillTx/>
              <a:latin typeface="DM Sans"/>
              <a:ea typeface="+mn-ea"/>
              <a:cs typeface="+mn-cs"/>
            </a:endParaRPr>
          </a:p>
        </p:txBody>
      </p:sp>
      <p:sp>
        <p:nvSpPr>
          <p:cNvPr id="2" name="Title 1">
            <a:extLst>
              <a:ext uri="{FF2B5EF4-FFF2-40B4-BE49-F238E27FC236}">
                <a16:creationId xmlns:a16="http://schemas.microsoft.com/office/drawing/2014/main" id="{5E3749AE-E5D8-F20C-65F5-7D586F6F1536}"/>
              </a:ext>
            </a:extLst>
          </p:cNvPr>
          <p:cNvSpPr>
            <a:spLocks noGrp="1"/>
          </p:cNvSpPr>
          <p:nvPr>
            <p:ph type="title"/>
          </p:nvPr>
        </p:nvSpPr>
        <p:spPr>
          <a:xfrm>
            <a:off x="534691" y="356872"/>
            <a:ext cx="10752614" cy="505844"/>
          </a:xfrm>
        </p:spPr>
        <p:txBody>
          <a:bodyPr/>
          <a:lstStyle/>
          <a:p>
            <a:r>
              <a:rPr lang="en-US" dirty="0"/>
              <a:t>Malware Delivery Mechanisms</a:t>
            </a:r>
          </a:p>
        </p:txBody>
      </p:sp>
      <p:sp>
        <p:nvSpPr>
          <p:cNvPr id="6" name="Rectangle 5">
            <a:extLst>
              <a:ext uri="{FF2B5EF4-FFF2-40B4-BE49-F238E27FC236}">
                <a16:creationId xmlns:a16="http://schemas.microsoft.com/office/drawing/2014/main" id="{4471B81A-4E84-1D3D-F740-F31FA3A053F7}"/>
              </a:ext>
            </a:extLst>
          </p:cNvPr>
          <p:cNvSpPr/>
          <p:nvPr/>
        </p:nvSpPr>
        <p:spPr>
          <a:xfrm>
            <a:off x="3973588" y="1593568"/>
            <a:ext cx="2993152" cy="4519866"/>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7" name="Rectangle 6">
            <a:extLst>
              <a:ext uri="{FF2B5EF4-FFF2-40B4-BE49-F238E27FC236}">
                <a16:creationId xmlns:a16="http://schemas.microsoft.com/office/drawing/2014/main" id="{8B7EE0ED-FBAF-13D3-3C48-BDE5337C6BD8}"/>
              </a:ext>
            </a:extLst>
          </p:cNvPr>
          <p:cNvSpPr/>
          <p:nvPr/>
        </p:nvSpPr>
        <p:spPr>
          <a:xfrm>
            <a:off x="640124" y="1593568"/>
            <a:ext cx="2993152" cy="4519866"/>
          </a:xfrm>
          <a:prstGeom prst="rect">
            <a:avLst/>
          </a:prstGeom>
          <a:gradFill flip="none" rotWithShape="1">
            <a:gsLst>
              <a:gs pos="0">
                <a:schemeClr val="accent4">
                  <a:alpha val="30000"/>
                </a:schemeClr>
              </a:gs>
              <a:gs pos="54000">
                <a:schemeClr val="accent1">
                  <a:alpha val="30000"/>
                </a:schemeClr>
              </a:gs>
              <a:gs pos="100000">
                <a:schemeClr val="accent2">
                  <a:alpha val="30000"/>
                </a:schemeClr>
              </a:gs>
            </a:gsLst>
            <a:lin ang="2700000" scaled="1"/>
            <a:tileRect/>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DM Sans"/>
              <a:ea typeface="+mn-ea"/>
              <a:cs typeface="+mn-cs"/>
            </a:endParaRPr>
          </a:p>
        </p:txBody>
      </p:sp>
      <p:sp>
        <p:nvSpPr>
          <p:cNvPr id="9" name="Rectangle 8">
            <a:extLst>
              <a:ext uri="{FF2B5EF4-FFF2-40B4-BE49-F238E27FC236}">
                <a16:creationId xmlns:a16="http://schemas.microsoft.com/office/drawing/2014/main" id="{9F88D4F2-DACD-639A-71ED-204CEF4DBEC3}"/>
              </a:ext>
            </a:extLst>
          </p:cNvPr>
          <p:cNvSpPr/>
          <p:nvPr/>
        </p:nvSpPr>
        <p:spPr>
          <a:xfrm>
            <a:off x="650624" y="2297178"/>
            <a:ext cx="2985385" cy="830997"/>
          </a:xfrm>
          <a:prstGeom prst="rect">
            <a:avLst/>
          </a:prstGeom>
          <a:noFill/>
          <a:ln w="12700" cap="flat" cmpd="sng" algn="ctr">
            <a:noFill/>
            <a:prstDash val="solid"/>
            <a:miter lim="800000"/>
          </a:ln>
          <a:effectLst/>
        </p:spPr>
        <p:txBody>
          <a:bodyPr rtlCol="0" anchor="ctr">
            <a:spAutoFit/>
          </a:bodyPr>
          <a:lstStyle/>
          <a:p>
            <a:pPr lvl="0" algn="ctr">
              <a:defRPr/>
            </a:pPr>
            <a:r>
              <a:rPr lang="en-US" sz="2400" b="1" kern="0" dirty="0">
                <a:solidFill>
                  <a:srgbClr val="2CD9C5"/>
                </a:solidFill>
              </a:rPr>
              <a:t>Browser Extensions</a:t>
            </a:r>
          </a:p>
        </p:txBody>
      </p:sp>
      <p:sp>
        <p:nvSpPr>
          <p:cNvPr id="11" name="Rectangle 10">
            <a:extLst>
              <a:ext uri="{FF2B5EF4-FFF2-40B4-BE49-F238E27FC236}">
                <a16:creationId xmlns:a16="http://schemas.microsoft.com/office/drawing/2014/main" id="{B79EC93E-5296-1CA4-557E-39349B8AA4A0}"/>
              </a:ext>
            </a:extLst>
          </p:cNvPr>
          <p:cNvSpPr/>
          <p:nvPr/>
        </p:nvSpPr>
        <p:spPr>
          <a:xfrm>
            <a:off x="3985956" y="2481598"/>
            <a:ext cx="2974573" cy="461665"/>
          </a:xfrm>
          <a:prstGeom prst="rect">
            <a:avLst/>
          </a:prstGeom>
          <a:noFill/>
          <a:ln w="12700" cap="flat" cmpd="sng" algn="ctr">
            <a:noFill/>
            <a:prstDash val="solid"/>
            <a:miter lim="800000"/>
          </a:ln>
          <a:effectLst/>
        </p:spPr>
        <p:txBody>
          <a:bodyPr rtlCol="0" anchor="ctr">
            <a:spAutoFit/>
          </a:bodyPr>
          <a:lstStyle/>
          <a:p>
            <a:pPr lvl="0" algn="ctr">
              <a:defRPr/>
            </a:pPr>
            <a:r>
              <a:rPr lang="en-US" sz="2400" b="1" kern="0" dirty="0">
                <a:solidFill>
                  <a:srgbClr val="2CD9C5"/>
                </a:solidFill>
              </a:rPr>
              <a:t>Malvertising</a:t>
            </a:r>
            <a:endParaRPr kumimoji="0" lang="en-US" sz="2400" b="1" i="0" u="none" strike="noStrike" kern="0" cap="none" spc="0" normalizeH="0" baseline="0" noProof="0" dirty="0">
              <a:ln>
                <a:noFill/>
              </a:ln>
              <a:solidFill>
                <a:srgbClr val="2CD9C5"/>
              </a:solidFill>
              <a:effectLst/>
              <a:uLnTx/>
              <a:uFillTx/>
              <a:latin typeface="DM Sans"/>
            </a:endParaRPr>
          </a:p>
        </p:txBody>
      </p:sp>
      <p:sp>
        <p:nvSpPr>
          <p:cNvPr id="13" name="Rectangle 12">
            <a:extLst>
              <a:ext uri="{FF2B5EF4-FFF2-40B4-BE49-F238E27FC236}">
                <a16:creationId xmlns:a16="http://schemas.microsoft.com/office/drawing/2014/main" id="{C7CEF275-F8AB-222D-4E55-6E00C3A21F11}"/>
              </a:ext>
            </a:extLst>
          </p:cNvPr>
          <p:cNvSpPr/>
          <p:nvPr/>
        </p:nvSpPr>
        <p:spPr>
          <a:xfrm>
            <a:off x="4200763" y="3711330"/>
            <a:ext cx="2546146" cy="1323439"/>
          </a:xfrm>
          <a:prstGeom prst="rect">
            <a:avLst/>
          </a:prstGeom>
          <a:noFill/>
          <a:ln w="12700" cap="flat" cmpd="sng" algn="ctr">
            <a:noFill/>
            <a:prstDash val="solid"/>
            <a:miter lim="800000"/>
          </a:ln>
          <a:effectLst/>
        </p:spPr>
        <p:txBody>
          <a:bodyPr wrap="square" rtlCol="0" anchor="t">
            <a:spAutoFit/>
          </a:bodyPr>
          <a:lstStyle/>
          <a:p>
            <a:pPr lvl="0" algn="ctr">
              <a:defRPr/>
            </a:pPr>
            <a:r>
              <a:rPr lang="en-GB" sz="1600" kern="0" dirty="0">
                <a:solidFill>
                  <a:srgbClr val="FFFFFF"/>
                </a:solidFill>
                <a:latin typeface="DM Sans" pitchFamily="2" charset="77"/>
                <a:ea typeface="ヒラギノ角ゴ Pro W3" charset="0"/>
                <a:cs typeface="Arial" panose="020B0604020202020204" pitchFamily="34" charset="0"/>
              </a:rPr>
              <a:t>Malvertising tricks users into running harmful PowerShell via copy-pasted commands in the 'Run' dialog.</a:t>
            </a:r>
            <a:endParaRPr kumimoji="0" lang="en-US" sz="1600" u="none" strike="noStrike" kern="0" cap="none" spc="0" normalizeH="0" baseline="0" noProof="0" dirty="0">
              <a:ln>
                <a:noFill/>
              </a:ln>
              <a:solidFill>
                <a:srgbClr val="FFFFFF"/>
              </a:solidFill>
              <a:effectLst/>
              <a:uLnTx/>
              <a:uFillTx/>
              <a:latin typeface="DM Sans" pitchFamily="2" charset="77"/>
              <a:ea typeface="ヒラギノ角ゴ Pro W3" charset="0"/>
              <a:cs typeface="Arial" panose="020B0604020202020204" pitchFamily="34" charset="0"/>
            </a:endParaRPr>
          </a:p>
        </p:txBody>
      </p:sp>
      <p:sp>
        <p:nvSpPr>
          <p:cNvPr id="14" name="Rectangle 13">
            <a:extLst>
              <a:ext uri="{FF2B5EF4-FFF2-40B4-BE49-F238E27FC236}">
                <a16:creationId xmlns:a16="http://schemas.microsoft.com/office/drawing/2014/main" id="{797181FA-D694-2A93-BDC0-68D1B40EF1F0}"/>
              </a:ext>
            </a:extLst>
          </p:cNvPr>
          <p:cNvSpPr/>
          <p:nvPr/>
        </p:nvSpPr>
        <p:spPr>
          <a:xfrm>
            <a:off x="877460" y="3711330"/>
            <a:ext cx="2546146" cy="1569660"/>
          </a:xfrm>
          <a:prstGeom prst="rect">
            <a:avLst/>
          </a:prstGeom>
          <a:noFill/>
          <a:ln w="12700" cap="flat" cmpd="sng" algn="ctr">
            <a:noFill/>
            <a:prstDash val="solid"/>
            <a:miter lim="800000"/>
          </a:ln>
          <a:effectLst/>
        </p:spPr>
        <p:txBody>
          <a:bodyPr wrap="square" rtlCol="0" anchor="t">
            <a:spAutoFit/>
          </a:bodyPr>
          <a:lstStyle/>
          <a:p>
            <a:pPr lvl="0" algn="ctr">
              <a:defRPr/>
            </a:pPr>
            <a:r>
              <a:rPr lang="en-GB" sz="1600" dirty="0"/>
              <a:t>(Chrome) browser extensions exploited to deliver persistent info-stealing malware, surviving reimaging via profile reimport.</a:t>
            </a:r>
            <a:endParaRPr kumimoji="0" lang="en-US" sz="1600" b="0" i="0" u="none" strike="noStrike" kern="0" cap="none" spc="0" normalizeH="0" baseline="0" noProof="0" dirty="0">
              <a:ln>
                <a:noFill/>
              </a:ln>
              <a:solidFill>
                <a:srgbClr val="FFFFFF"/>
              </a:solidFill>
              <a:effectLst/>
              <a:uLnTx/>
              <a:uFillTx/>
              <a:latin typeface="DM Sans" pitchFamily="2" charset="77"/>
              <a:ea typeface="+mn-ea"/>
              <a:cs typeface="+mn-cs"/>
            </a:endParaRPr>
          </a:p>
        </p:txBody>
      </p:sp>
      <p:pic>
        <p:nvPicPr>
          <p:cNvPr id="15" name="Picture 14">
            <a:extLst>
              <a:ext uri="{FF2B5EF4-FFF2-40B4-BE49-F238E27FC236}">
                <a16:creationId xmlns:a16="http://schemas.microsoft.com/office/drawing/2014/main" id="{C5C2467C-0A9E-375F-4C6A-AB752AFF2B0F}"/>
              </a:ext>
            </a:extLst>
          </p:cNvPr>
          <p:cNvPicPr>
            <a:picLocks noChangeAspect="1"/>
          </p:cNvPicPr>
          <p:nvPr/>
        </p:nvPicPr>
        <p:blipFill>
          <a:blip r:embed="rId3"/>
          <a:srcRect l="1619" t="2300" r="55341" b="17902"/>
          <a:stretch/>
        </p:blipFill>
        <p:spPr>
          <a:xfrm>
            <a:off x="7716317" y="77017"/>
            <a:ext cx="3581488" cy="352613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6" name="Picture 15">
            <a:extLst>
              <a:ext uri="{FF2B5EF4-FFF2-40B4-BE49-F238E27FC236}">
                <a16:creationId xmlns:a16="http://schemas.microsoft.com/office/drawing/2014/main" id="{98F58D73-F9C3-C773-BE26-DC7C1249A3EC}"/>
              </a:ext>
            </a:extLst>
          </p:cNvPr>
          <p:cNvPicPr>
            <a:picLocks noChangeAspect="1"/>
          </p:cNvPicPr>
          <p:nvPr/>
        </p:nvPicPr>
        <p:blipFill>
          <a:blip r:embed="rId3"/>
          <a:srcRect l="45813" t="22287" r="932" b="3154"/>
          <a:stretch/>
        </p:blipFill>
        <p:spPr>
          <a:xfrm>
            <a:off x="7576527" y="3724519"/>
            <a:ext cx="4111070" cy="305646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1533537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500"/>
                                        <p:tgtEl>
                                          <p:spTgt spid="13"/>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cTn>
                              </p:par>
                            </p:childTnLst>
                          </p:cTn>
                        </p:par>
                        <p:par>
                          <p:cTn id="29" fill="hold">
                            <p:stCondLst>
                              <p:cond delay="1000"/>
                            </p:stCondLst>
                            <p:childTnLst>
                              <p:par>
                                <p:cTn id="30" presetID="10" presetClass="entr" presetSubtype="0" fill="hold" nodeType="after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p:bldP spid="11" grpId="0"/>
      <p:bldP spid="13" grpId="0"/>
      <p:bldP spid="1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8161EE-21F3-C6FA-B6E4-C4952CD52A75}"/>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0BB55FA-03B2-87FB-92A8-314895320CE7}"/>
              </a:ext>
            </a:extLst>
          </p:cNvPr>
          <p:cNvSpPr>
            <a:spLocks noGrp="1"/>
          </p:cNvSpPr>
          <p:nvPr>
            <p:ph type="title"/>
          </p:nvPr>
        </p:nvSpPr>
        <p:spPr>
          <a:xfrm>
            <a:off x="442912" y="5778551"/>
            <a:ext cx="10727113" cy="680186"/>
          </a:xfrm>
        </p:spPr>
        <p:txBody>
          <a:bodyPr/>
          <a:lstStyle/>
          <a:p>
            <a:r>
              <a:rPr lang="en-US" sz="4800" dirty="0"/>
              <a:t>Threat Spotlights</a:t>
            </a:r>
          </a:p>
        </p:txBody>
      </p:sp>
      <p:pic>
        <p:nvPicPr>
          <p:cNvPr id="6" name="Picture Placeholder 5">
            <a:extLst>
              <a:ext uri="{FF2B5EF4-FFF2-40B4-BE49-F238E27FC236}">
                <a16:creationId xmlns:a16="http://schemas.microsoft.com/office/drawing/2014/main" id="{221E9A66-247E-C90F-9840-72EDE30C89DD}"/>
              </a:ext>
            </a:extLst>
          </p:cNvPr>
          <p:cNvPicPr>
            <a:picLocks noGrp="1" noChangeAspect="1"/>
          </p:cNvPicPr>
          <p:nvPr>
            <p:ph type="pic" sz="quarter" idx="14"/>
          </p:nvPr>
        </p:nvPicPr>
        <p:blipFill>
          <a:blip r:embed="rId3">
            <a:alphaModFix/>
          </a:blip>
          <a:srcRect t="10736" b="10736"/>
          <a:stretch/>
        </p:blipFill>
        <p:spPr>
          <a:prstGeom prst="rect">
            <a:avLst/>
          </a:prstGeom>
        </p:spPr>
      </p:pic>
    </p:spTree>
    <p:extLst>
      <p:ext uri="{BB962C8B-B14F-4D97-AF65-F5344CB8AC3E}">
        <p14:creationId xmlns:p14="http://schemas.microsoft.com/office/powerpoint/2010/main" val="416358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rk Mode">
  <a:themeElements>
    <a:clrScheme name="Ontinue 2025">
      <a:dk1>
        <a:srgbClr val="170334"/>
      </a:dk1>
      <a:lt1>
        <a:srgbClr val="FFFFFF"/>
      </a:lt1>
      <a:dk2>
        <a:srgbClr val="170334"/>
      </a:dk2>
      <a:lt2>
        <a:srgbClr val="FFFFFF"/>
      </a:lt2>
      <a:accent1>
        <a:srgbClr val="7046FF"/>
      </a:accent1>
      <a:accent2>
        <a:srgbClr val="DF34DA"/>
      </a:accent2>
      <a:accent3>
        <a:srgbClr val="2CD9C5"/>
      </a:accent3>
      <a:accent4>
        <a:srgbClr val="4303A9"/>
      </a:accent4>
      <a:accent5>
        <a:srgbClr val="DDD8F3"/>
      </a:accent5>
      <a:accent6>
        <a:srgbClr val="F3D9F3"/>
      </a:accent6>
      <a:hlink>
        <a:srgbClr val="DF34DA"/>
      </a:hlink>
      <a:folHlink>
        <a:srgbClr val="73718A"/>
      </a:folHlink>
    </a:clrScheme>
    <a:fontScheme name="ontinue">
      <a:majorFont>
        <a:latin typeface="DM Sans"/>
        <a:ea typeface=""/>
        <a:cs typeface=""/>
      </a:majorFont>
      <a:minorFont>
        <a:latin typeface="DM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600" dirty="0" err="1" smtClean="0">
            <a:solidFill>
              <a:srgbClr val="73718A"/>
            </a:solidFill>
          </a:defRPr>
        </a:defPPr>
      </a:lstStyle>
    </a:txDef>
  </a:objectDefaults>
  <a:extraClrSchemeLst/>
  <a:custClrLst>
    <a:custClr name="Jam">
      <a:srgbClr val="9E2E97"/>
    </a:custClr>
    <a:custClr name="Jam">
      <a:srgbClr val="A65DA8"/>
    </a:custClr>
    <a:custClr name="Jam">
      <a:srgbClr val="BB85BD"/>
    </a:custClr>
    <a:custClr name="Jam">
      <a:srgbClr val="D1ADD2"/>
    </a:custClr>
    <a:custClr name="Jam">
      <a:srgbClr val="E8D6E9"/>
    </a:custClr>
    <a:custClr name="Jam">
      <a:srgbClr val="F3EAF4"/>
    </a:custClr>
    <a:custClr name="White">
      <a:srgbClr val="FFFFFF"/>
    </a:custClr>
    <a:custClr name="White">
      <a:srgbClr val="FFFFFF"/>
    </a:custClr>
    <a:custClr name="White">
      <a:srgbClr val="FFFFFF"/>
    </a:custClr>
    <a:custClr name="White">
      <a:srgbClr val="FFFFFF"/>
    </a:custClr>
    <a:custClr name="Tiffany">
      <a:srgbClr val="26A7BA"/>
    </a:custClr>
    <a:custClr name="Tiffany">
      <a:srgbClr val="6DB7C6"/>
    </a:custClr>
    <a:custClr name="Tiffany">
      <a:srgbClr val="8FC8D4"/>
    </a:custClr>
    <a:custClr name="Tiffany">
      <a:srgbClr val="B3DBE2"/>
    </a:custClr>
    <a:custClr name="Tiffany">
      <a:srgbClr val="D9ECF0"/>
    </a:custClr>
    <a:custClr name="Tiffany">
      <a:srgbClr val="EBF6F8"/>
    </a:custClr>
    <a:custClr name="White">
      <a:srgbClr val="FFFFFF"/>
    </a:custClr>
    <a:custClr name="White">
      <a:srgbClr val="FFFFFF"/>
    </a:custClr>
    <a:custClr name="White">
      <a:srgbClr val="FFFFFF"/>
    </a:custClr>
    <a:custClr name="White">
      <a:srgbClr val="FFFFFF"/>
    </a:custClr>
    <a:custClr name="Night-Sky">
      <a:srgbClr val="16123F"/>
    </a:custClr>
    <a:custClr name="Night-Sky">
      <a:srgbClr val="444162"/>
    </a:custClr>
    <a:custClr name="Night-Sky">
      <a:srgbClr val="73718A"/>
    </a:custClr>
    <a:custClr name="Night-Sky">
      <a:srgbClr val="A2A0B1"/>
    </a:custClr>
    <a:custClr name="Night-Sky">
      <a:srgbClr val="D0D0D8"/>
    </a:custClr>
    <a:custClr name="Night-Sky">
      <a:srgbClr val="E8E7EC"/>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25_romans deck2" id="{FDBE953D-91C1-D04F-8EEF-768354E329AF}" vid="{0F141A46-3C4E-6A4B-A2CB-8D5B02679B79}"/>
    </a:ext>
  </a:extLst>
</a:theme>
</file>

<file path=ppt/theme/theme2.xml><?xml version="1.0" encoding="utf-8"?>
<a:theme xmlns:a="http://schemas.openxmlformats.org/drawingml/2006/main" name="White Mode">
  <a:themeElements>
    <a:clrScheme name="Ontinue 2025">
      <a:dk1>
        <a:srgbClr val="170334"/>
      </a:dk1>
      <a:lt1>
        <a:srgbClr val="FFFFFF"/>
      </a:lt1>
      <a:dk2>
        <a:srgbClr val="170334"/>
      </a:dk2>
      <a:lt2>
        <a:srgbClr val="FFFFFF"/>
      </a:lt2>
      <a:accent1>
        <a:srgbClr val="653FEE"/>
      </a:accent1>
      <a:accent2>
        <a:srgbClr val="DF34DA"/>
      </a:accent2>
      <a:accent3>
        <a:srgbClr val="2CD9C5"/>
      </a:accent3>
      <a:accent4>
        <a:srgbClr val="4303A9"/>
      </a:accent4>
      <a:accent5>
        <a:srgbClr val="DDD8F3"/>
      </a:accent5>
      <a:accent6>
        <a:srgbClr val="F3D9F3"/>
      </a:accent6>
      <a:hlink>
        <a:srgbClr val="DF34DA"/>
      </a:hlink>
      <a:folHlink>
        <a:srgbClr val="73718A"/>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25_romans deck2" id="{FDBE953D-91C1-D04F-8EEF-768354E329AF}" vid="{91C0FDF1-AB3B-5544-9184-C62C2F62ABBF}"/>
    </a:ext>
  </a:extLst>
</a:theme>
</file>

<file path=ppt/theme/theme3.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A907B2534753418892434B7BA188F5" ma:contentTypeVersion="16" ma:contentTypeDescription="Create a new document." ma:contentTypeScope="" ma:versionID="9b5b48a726de176bf37c0334c0b7e989">
  <xsd:schema xmlns:xsd="http://www.w3.org/2001/XMLSchema" xmlns:xs="http://www.w3.org/2001/XMLSchema" xmlns:p="http://schemas.microsoft.com/office/2006/metadata/properties" xmlns:ns2="025332fe-81bc-4de7-b338-35480c6b5095" xmlns:ns3="ee4da0fc-cb4d-4f00-84ff-899cc7748738" targetNamespace="http://schemas.microsoft.com/office/2006/metadata/properties" ma:root="true" ma:fieldsID="3fc3e3c1dc63a7c2adcd883dc3182a12" ns2:_="" ns3:_="">
    <xsd:import namespace="025332fe-81bc-4de7-b338-35480c6b5095"/>
    <xsd:import namespace="ee4da0fc-cb4d-4f00-84ff-899cc774873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ObjectDetectorVersions"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5332fe-81bc-4de7-b338-35480c6b5095" elementFormDefault="qualified">
    <xsd:import namespace="http://schemas.microsoft.com/office/2006/documentManagement/types"/>
    <xsd:import namespace="http://schemas.microsoft.com/office/infopath/2007/PartnerControls"/>
    <xsd:element name="SharedWithUsers" ma:index="8"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c8caf59e-2a68-4110-af56-1d9975ca411f}" ma:internalName="TaxCatchAll" ma:showField="CatchAllData" ma:web="025332fe-81bc-4de7-b338-35480c6b5095">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e4da0fc-cb4d-4f00-84ff-899cc774873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5594764f-d321-4920-a606-14d9bec6086d"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025332fe-81bc-4de7-b338-35480c6b5095" xsi:nil="true"/>
    <lcf76f155ced4ddcb4097134ff3c332f xmlns="ee4da0fc-cb4d-4f00-84ff-899cc7748738">
      <Terms xmlns="http://schemas.microsoft.com/office/infopath/2007/PartnerControls"/>
    </lcf76f155ced4ddcb4097134ff3c332f>
    <SharedWithUsers xmlns="025332fe-81bc-4de7-b338-35480c6b5095">
      <UserInfo>
        <DisplayName>Besucher von Ontinue Universe</DisplayName>
        <AccountId>4</AccountId>
        <AccountType/>
      </UserInfo>
    </SharedWithUsers>
  </documentManagement>
</p:properties>
</file>

<file path=customXml/itemProps1.xml><?xml version="1.0" encoding="utf-8"?>
<ds:datastoreItem xmlns:ds="http://schemas.openxmlformats.org/officeDocument/2006/customXml" ds:itemID="{80879DCB-757E-4129-A7D9-11E3473B31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5332fe-81bc-4de7-b338-35480c6b5095"/>
    <ds:schemaRef ds:uri="ee4da0fc-cb4d-4f00-84ff-899cc77487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02B6BD8-35E0-461F-A0C6-AE83B384E596}">
  <ds:schemaRefs>
    <ds:schemaRef ds:uri="http://schemas.microsoft.com/sharepoint/v3/contenttype/forms"/>
  </ds:schemaRefs>
</ds:datastoreItem>
</file>

<file path=customXml/itemProps3.xml><?xml version="1.0" encoding="utf-8"?>
<ds:datastoreItem xmlns:ds="http://schemas.openxmlformats.org/officeDocument/2006/customXml" ds:itemID="{9E0014DD-56D8-4D92-B81D-1407CD80DB79}">
  <ds:schemaRefs>
    <ds:schemaRef ds:uri="35b20214-c3c1-4826-ab74-7c4c899971ba"/>
    <ds:schemaRef ds:uri="9cc0e5c0-bf1d-406b-9fe4-6ab0f2b1782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025332fe-81bc-4de7-b338-35480c6b5095"/>
    <ds:schemaRef ds:uri="ee4da0fc-cb4d-4f00-84ff-899cc7748738"/>
  </ds:schemaRefs>
</ds:datastoreItem>
</file>

<file path=docProps/app.xml><?xml version="1.0" encoding="utf-8"?>
<Properties xmlns="http://schemas.openxmlformats.org/officeDocument/2006/extended-properties" xmlns:vt="http://schemas.openxmlformats.org/officeDocument/2006/docPropsVTypes">
  <Template/>
  <TotalTime>0</TotalTime>
  <Words>2881</Words>
  <Application>Microsoft Office PowerPoint</Application>
  <PresentationFormat>Widescreen</PresentationFormat>
  <Paragraphs>286</Paragraphs>
  <Slides>28</Slides>
  <Notes>26</Notes>
  <HiddenSlides>7</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28</vt:i4>
      </vt:variant>
    </vt:vector>
  </HeadingPairs>
  <TitlesOfParts>
    <vt:vector size="40" baseType="lpstr">
      <vt:lpstr>Wingdings</vt:lpstr>
      <vt:lpstr>Aleo Medium</vt:lpstr>
      <vt:lpstr>Roboto</vt:lpstr>
      <vt:lpstr>Arial</vt:lpstr>
      <vt:lpstr>Aleo</vt:lpstr>
      <vt:lpstr>Calibri</vt:lpstr>
      <vt:lpstr>Aleo SemiBold</vt:lpstr>
      <vt:lpstr>DM Sans</vt:lpstr>
      <vt:lpstr>Dark Mode</vt:lpstr>
      <vt:lpstr>White Mode</vt:lpstr>
      <vt:lpstr>think-cell Folie</vt:lpstr>
      <vt:lpstr>think-cell Slide</vt:lpstr>
      <vt:lpstr>Threat Intelligence Report</vt:lpstr>
      <vt:lpstr>PowerPoint Presentation</vt:lpstr>
      <vt:lpstr>Cyber Trends to Watch</vt:lpstr>
      <vt:lpstr>Ransomware</vt:lpstr>
      <vt:lpstr>Ransomware</vt:lpstr>
      <vt:lpstr>Ransomware</vt:lpstr>
      <vt:lpstr>Malware Delivery Mechanisms</vt:lpstr>
      <vt:lpstr>Malware Delivery Mechanisms</vt:lpstr>
      <vt:lpstr>Threat Spotlights</vt:lpstr>
      <vt:lpstr>Leveraging Built-in Microsoft Tools</vt:lpstr>
      <vt:lpstr>Leveraging Built-in Microsoft Tools</vt:lpstr>
      <vt:lpstr>Phishing</vt:lpstr>
      <vt:lpstr>Phishing</vt:lpstr>
      <vt:lpstr>Vishing</vt:lpstr>
      <vt:lpstr>Vishing</vt:lpstr>
      <vt:lpstr>Vishing</vt:lpstr>
      <vt:lpstr>Zero-day Development</vt:lpstr>
      <vt:lpstr>Zero-day Development</vt:lpstr>
      <vt:lpstr>Rising Threats</vt:lpstr>
      <vt:lpstr>Rise in IoT &amp; OT Threats</vt:lpstr>
      <vt:lpstr>Rise in IoT &amp; OT Threats</vt:lpstr>
      <vt:lpstr>Getting Cyber Serious</vt:lpstr>
      <vt:lpstr>Getting Cyber Serious</vt:lpstr>
      <vt:lpstr>Company Overview</vt:lpstr>
      <vt:lpstr>PowerPoint Presentation</vt:lpstr>
      <vt:lpstr>Ontinue in Numbers</vt:lpstr>
      <vt:lpstr>PowerPoint Presentation</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subject/>
  <dc:creator>Alberto Martinez</dc:creator>
  <cp:keywords/>
  <dc:description/>
  <cp:lastModifiedBy>Yannick Horvat</cp:lastModifiedBy>
  <cp:revision>2</cp:revision>
  <dcterms:created xsi:type="dcterms:W3CDTF">2024-02-23T22:48:10Z</dcterms:created>
  <dcterms:modified xsi:type="dcterms:W3CDTF">2025-05-09T16:05:0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135800</vt:r8>
  </property>
  <property fmtid="{D5CDD505-2E9C-101B-9397-08002B2CF9AE}" pid="3" name="_ExtendedDescription">
    <vt:lpwstr/>
  </property>
  <property fmtid="{D5CDD505-2E9C-101B-9397-08002B2CF9AE}" pid="4" name="MediaServiceImageTags">
    <vt:lpwstr/>
  </property>
  <property fmtid="{D5CDD505-2E9C-101B-9397-08002B2CF9AE}" pid="5" name="MSIP_Label_defa4170-0d19-0005-0004-bc88714345d2_Enabled">
    <vt:lpwstr>true</vt:lpwstr>
  </property>
  <property fmtid="{D5CDD505-2E9C-101B-9397-08002B2CF9AE}" pid="6" name="MSIP_Label_defa4170-0d19-0005-0004-bc88714345d2_SetDate">
    <vt:lpwstr>2024-02-23T22:50:52Z</vt:lpwstr>
  </property>
  <property fmtid="{D5CDD505-2E9C-101B-9397-08002B2CF9AE}" pid="7" name="MSIP_Label_defa4170-0d19-0005-0004-bc88714345d2_Method">
    <vt:lpwstr>Standard</vt:lpwstr>
  </property>
  <property fmtid="{D5CDD505-2E9C-101B-9397-08002B2CF9AE}" pid="8" name="MSIP_Label_defa4170-0d19-0005-0004-bc88714345d2_Name">
    <vt:lpwstr>defa4170-0d19-0005-0004-bc88714345d2</vt:lpwstr>
  </property>
  <property fmtid="{D5CDD505-2E9C-101B-9397-08002B2CF9AE}" pid="9" name="MSIP_Label_defa4170-0d19-0005-0004-bc88714345d2_SiteId">
    <vt:lpwstr>f0ee8740-91f2-48ba-a8e5-73d381b3aa8d</vt:lpwstr>
  </property>
  <property fmtid="{D5CDD505-2E9C-101B-9397-08002B2CF9AE}" pid="10" name="MSIP_Label_defa4170-0d19-0005-0004-bc88714345d2_ActionId">
    <vt:lpwstr>d90c8e9b-b64e-40a6-bb03-4b9c036d66e6</vt:lpwstr>
  </property>
  <property fmtid="{D5CDD505-2E9C-101B-9397-08002B2CF9AE}" pid="11" name="MSIP_Label_defa4170-0d19-0005-0004-bc88714345d2_ContentBits">
    <vt:lpwstr>0</vt:lpwstr>
  </property>
  <property fmtid="{D5CDD505-2E9C-101B-9397-08002B2CF9AE}" pid="12" name="ContentTypeId">
    <vt:lpwstr>0x0101009CA907B2534753418892434B7BA188F5</vt:lpwstr>
  </property>
</Properties>
</file>